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9.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4"/>
  </p:sldMasterIdLst>
  <p:notesMasterIdLst>
    <p:notesMasterId r:id="rId53"/>
  </p:notesMasterIdLst>
  <p:sldIdLst>
    <p:sldId id="275" r:id="rId5"/>
    <p:sldId id="276" r:id="rId6"/>
    <p:sldId id="332" r:id="rId7"/>
    <p:sldId id="328" r:id="rId8"/>
    <p:sldId id="329" r:id="rId9"/>
    <p:sldId id="327" r:id="rId10"/>
    <p:sldId id="333" r:id="rId11"/>
    <p:sldId id="337" r:id="rId12"/>
    <p:sldId id="340" r:id="rId13"/>
    <p:sldId id="331" r:id="rId14"/>
    <p:sldId id="336" r:id="rId15"/>
    <p:sldId id="342" r:id="rId16"/>
    <p:sldId id="343" r:id="rId17"/>
    <p:sldId id="341" r:id="rId18"/>
    <p:sldId id="330" r:id="rId19"/>
    <p:sldId id="338" r:id="rId20"/>
    <p:sldId id="339" r:id="rId21"/>
    <p:sldId id="334" r:id="rId22"/>
    <p:sldId id="335" r:id="rId23"/>
    <p:sldId id="277" r:id="rId24"/>
    <p:sldId id="278" r:id="rId25"/>
    <p:sldId id="307" r:id="rId26"/>
    <p:sldId id="308" r:id="rId27"/>
    <p:sldId id="311" r:id="rId28"/>
    <p:sldId id="281" r:id="rId29"/>
    <p:sldId id="283" r:id="rId30"/>
    <p:sldId id="282" r:id="rId31"/>
    <p:sldId id="315" r:id="rId32"/>
    <p:sldId id="287" r:id="rId33"/>
    <p:sldId id="316" r:id="rId34"/>
    <p:sldId id="317" r:id="rId35"/>
    <p:sldId id="309" r:id="rId36"/>
    <p:sldId id="290" r:id="rId37"/>
    <p:sldId id="295" r:id="rId38"/>
    <p:sldId id="286" r:id="rId39"/>
    <p:sldId id="293" r:id="rId40"/>
    <p:sldId id="312" r:id="rId41"/>
    <p:sldId id="303" r:id="rId42"/>
    <p:sldId id="296" r:id="rId43"/>
    <p:sldId id="302" r:id="rId44"/>
    <p:sldId id="297" r:id="rId45"/>
    <p:sldId id="322" r:id="rId46"/>
    <p:sldId id="323" r:id="rId47"/>
    <p:sldId id="310" r:id="rId48"/>
    <p:sldId id="326" r:id="rId49"/>
    <p:sldId id="324" r:id="rId50"/>
    <p:sldId id="304" r:id="rId51"/>
    <p:sldId id="325" r:id="rId52"/>
  </p:sldIdLst>
  <p:sldSz cx="9144000" cy="5143500" type="screen16x9"/>
  <p:notesSz cx="6858000" cy="9144000"/>
  <p:embeddedFontLst>
    <p:embeddedFont>
      <p:font typeface="Helvetica Neue" panose="02000503000000020004" pitchFamily="2" charset="0"/>
      <p:regular r:id="rId54"/>
      <p:bold r:id="rId55"/>
      <p:italic r:id="rId56"/>
      <p:boldItalic r:id="rId57"/>
    </p:embeddedFont>
    <p:embeddedFont>
      <p:font typeface="Helvetica Neue Light" panose="02000403000000020004" pitchFamily="2" charset="0"/>
      <p:regular r:id="rId58"/>
      <p:bold r:id="rId59"/>
      <p:italic r:id="rId60"/>
      <p:boldItalic r:id="rId61"/>
    </p:embeddedFont>
    <p:embeddedFont>
      <p:font typeface="Libre Franklin" pitchFamily="2" charset="77"/>
      <p:regular r:id="rId62"/>
      <p:bold r:id="rId63"/>
      <p:italic r:id="rId64"/>
      <p:boldItalic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B55E841C-EFBD-1547-A975-073AA6B9C661}">
          <p14:sldIdLst>
            <p14:sldId id="275"/>
            <p14:sldId id="276"/>
            <p14:sldId id="332"/>
            <p14:sldId id="328"/>
            <p14:sldId id="329"/>
            <p14:sldId id="327"/>
            <p14:sldId id="333"/>
            <p14:sldId id="337"/>
            <p14:sldId id="340"/>
            <p14:sldId id="331"/>
            <p14:sldId id="336"/>
            <p14:sldId id="342"/>
            <p14:sldId id="343"/>
            <p14:sldId id="341"/>
            <p14:sldId id="330"/>
            <p14:sldId id="338"/>
          </p14:sldIdLst>
        </p14:section>
        <p14:section name="Graveyard + Template" id="{D725D45D-54D1-8244-885F-37EBBF65DCB6}">
          <p14:sldIdLst>
            <p14:sldId id="339"/>
            <p14:sldId id="334"/>
            <p14:sldId id="335"/>
            <p14:sldId id="277"/>
            <p14:sldId id="278"/>
            <p14:sldId id="307"/>
            <p14:sldId id="308"/>
            <p14:sldId id="311"/>
            <p14:sldId id="281"/>
            <p14:sldId id="283"/>
            <p14:sldId id="282"/>
            <p14:sldId id="315"/>
            <p14:sldId id="287"/>
            <p14:sldId id="316"/>
            <p14:sldId id="317"/>
            <p14:sldId id="309"/>
            <p14:sldId id="290"/>
            <p14:sldId id="295"/>
            <p14:sldId id="286"/>
            <p14:sldId id="293"/>
            <p14:sldId id="312"/>
            <p14:sldId id="303"/>
            <p14:sldId id="296"/>
            <p14:sldId id="302"/>
            <p14:sldId id="297"/>
            <p14:sldId id="322"/>
            <p14:sldId id="323"/>
            <p14:sldId id="310"/>
            <p14:sldId id="326"/>
            <p14:sldId id="324"/>
            <p14:sldId id="304"/>
            <p14:sldId id="325"/>
          </p14:sldIdLst>
        </p14:section>
      </p14:sectionLst>
    </p:ext>
    <p:ext uri="{EFAFB233-063F-42B5-8137-9DF3F51BA10A}">
      <p15:sldGuideLst xmlns:p15="http://schemas.microsoft.com/office/powerpoint/2012/main">
        <p15:guide id="1">
          <p15:clr>
            <a:srgbClr val="9AA0A6"/>
          </p15:clr>
        </p15:guide>
        <p15:guide id="2" orient="horz" pos="16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B7E107-7D01-68CE-FC22-27EB040F18AD}" name="Lu, Sam" initials="SL" userId="S::samlu.hba2025@ivey.ca::6d5844dc-a68e-4d00-a6a3-cc639f454913" providerId="AD"/>
  <p188:author id="{976A30DB-1901-D423-FC27-E900FF9C3266}" name="Wang, Ray" initials="" userId="S::rwang.hba2025@ivey.ca::cfe2d318-9fa7-40fc-8aca-31a86688ad1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5B050"/>
    <a:srgbClr val="459261"/>
    <a:srgbClr val="777777"/>
    <a:srgbClr val="08CD65"/>
    <a:srgbClr val="F5F2EC"/>
    <a:srgbClr val="C00000"/>
    <a:srgbClr val="FFC000"/>
    <a:srgbClr val="00B050"/>
    <a:srgbClr val="469262"/>
    <a:srgbClr val="EDEE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BC9A1F-8AC7-2D41-AF75-9A68AEFDC1EE}" v="40" dt="2024-04-22T02:10:49.348"/>
  </p1510:revLst>
</p1510:revInfo>
</file>

<file path=ppt/tableStyles.xml><?xml version="1.0" encoding="utf-8"?>
<a:tblStyleLst xmlns:a="http://schemas.openxmlformats.org/drawingml/2006/main" def="{6785C02C-F971-4D22-8EFD-A4F33D4478E0}">
  <a:tblStyle styleId="{6785C02C-F971-4D22-8EFD-A4F33D4478E0}"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49"/>
    <p:restoredTop sz="94609"/>
  </p:normalViewPr>
  <p:slideViewPr>
    <p:cSldViewPr snapToGrid="0">
      <p:cViewPr varScale="1">
        <p:scale>
          <a:sx n="202" d="100"/>
          <a:sy n="202" d="100"/>
        </p:scale>
        <p:origin x="1328" y="152"/>
      </p:cViewPr>
      <p:guideLst>
        <p:guide/>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0.fntdata"/><Relationship Id="rId6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font" Target="fonts/font8.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6.fntdata"/><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4.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7.fntdata"/><Relationship Id="rId65" Type="http://schemas.openxmlformats.org/officeDocument/2006/relationships/font" Target="fonts/font12.fntdata"/><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2.fntdata"/><Relationship Id="rId7" Type="http://schemas.openxmlformats.org/officeDocument/2006/relationships/slide" Target="slides/slide3.xml"/><Relationship Id="rId7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ymond Wang" userId="ce9510f2-0ff1-43b1-8c85-3569a959adbb" providerId="ADAL" clId="{18BC9A1F-8AC7-2D41-AF75-9A68AEFDC1EE}"/>
    <pc:docChg chg="undo redo custSel addSld delSld modSld sldOrd modSection">
      <pc:chgData name="Raymond Wang" userId="ce9510f2-0ff1-43b1-8c85-3569a959adbb" providerId="ADAL" clId="{18BC9A1F-8AC7-2D41-AF75-9A68AEFDC1EE}" dt="2024-04-22T02:12:12.151" v="6281" actId="20577"/>
      <pc:docMkLst>
        <pc:docMk/>
      </pc:docMkLst>
      <pc:sldChg chg="modSp mod">
        <pc:chgData name="Raymond Wang" userId="ce9510f2-0ff1-43b1-8c85-3569a959adbb" providerId="ADAL" clId="{18BC9A1F-8AC7-2D41-AF75-9A68AEFDC1EE}" dt="2024-04-17T17:40:28.529" v="3597" actId="114"/>
        <pc:sldMkLst>
          <pc:docMk/>
          <pc:sldMk cId="2416722491" sldId="275"/>
        </pc:sldMkLst>
        <pc:spChg chg="mod">
          <ac:chgData name="Raymond Wang" userId="ce9510f2-0ff1-43b1-8c85-3569a959adbb" providerId="ADAL" clId="{18BC9A1F-8AC7-2D41-AF75-9A68AEFDC1EE}" dt="2024-04-17T17:40:28.529" v="3597" actId="114"/>
          <ac:spMkLst>
            <pc:docMk/>
            <pc:sldMk cId="2416722491" sldId="275"/>
            <ac:spMk id="25" creationId="{635DDDB0-E513-23CE-AD3D-852E121558F5}"/>
          </ac:spMkLst>
        </pc:spChg>
      </pc:sldChg>
      <pc:sldChg chg="modSp mod">
        <pc:chgData name="Raymond Wang" userId="ce9510f2-0ff1-43b1-8c85-3569a959adbb" providerId="ADAL" clId="{18BC9A1F-8AC7-2D41-AF75-9A68AEFDC1EE}" dt="2024-04-17T17:43:32.310" v="3638" actId="20577"/>
        <pc:sldMkLst>
          <pc:docMk/>
          <pc:sldMk cId="3949844763" sldId="276"/>
        </pc:sldMkLst>
        <pc:spChg chg="mod">
          <ac:chgData name="Raymond Wang" userId="ce9510f2-0ff1-43b1-8c85-3569a959adbb" providerId="ADAL" clId="{18BC9A1F-8AC7-2D41-AF75-9A68AEFDC1EE}" dt="2024-04-17T17:43:32.310" v="3638" actId="20577"/>
          <ac:spMkLst>
            <pc:docMk/>
            <pc:sldMk cId="3949844763" sldId="276"/>
            <ac:spMk id="3" creationId="{D1AE9145-D3E6-BD88-E1A5-9F34ADE0C0D6}"/>
          </ac:spMkLst>
        </pc:spChg>
      </pc:sldChg>
      <pc:sldChg chg="modSp mod">
        <pc:chgData name="Raymond Wang" userId="ce9510f2-0ff1-43b1-8c85-3569a959adbb" providerId="ADAL" clId="{18BC9A1F-8AC7-2D41-AF75-9A68AEFDC1EE}" dt="2024-04-17T16:48:15.683" v="1945" actId="20577"/>
        <pc:sldMkLst>
          <pc:docMk/>
          <pc:sldMk cId="2617118781" sldId="327"/>
        </pc:sldMkLst>
        <pc:spChg chg="mod">
          <ac:chgData name="Raymond Wang" userId="ce9510f2-0ff1-43b1-8c85-3569a959adbb" providerId="ADAL" clId="{18BC9A1F-8AC7-2D41-AF75-9A68AEFDC1EE}" dt="2024-04-17T16:48:15.683" v="1945" actId="20577"/>
          <ac:spMkLst>
            <pc:docMk/>
            <pc:sldMk cId="2617118781" sldId="327"/>
            <ac:spMk id="29" creationId="{17EC1A9F-4849-BCFB-618E-76F5682839EA}"/>
          </ac:spMkLst>
        </pc:spChg>
      </pc:sldChg>
      <pc:sldChg chg="modSp mod">
        <pc:chgData name="Raymond Wang" userId="ce9510f2-0ff1-43b1-8c85-3569a959adbb" providerId="ADAL" clId="{18BC9A1F-8AC7-2D41-AF75-9A68AEFDC1EE}" dt="2024-04-17T17:41:04.998" v="3601" actId="20577"/>
        <pc:sldMkLst>
          <pc:docMk/>
          <pc:sldMk cId="2623911099" sldId="329"/>
        </pc:sldMkLst>
        <pc:spChg chg="mod">
          <ac:chgData name="Raymond Wang" userId="ce9510f2-0ff1-43b1-8c85-3569a959adbb" providerId="ADAL" clId="{18BC9A1F-8AC7-2D41-AF75-9A68AEFDC1EE}" dt="2024-04-17T17:41:04.998" v="3601" actId="20577"/>
          <ac:spMkLst>
            <pc:docMk/>
            <pc:sldMk cId="2623911099" sldId="329"/>
            <ac:spMk id="6" creationId="{CF851181-2D47-ABA7-A8E7-FAC1A83F449F}"/>
          </ac:spMkLst>
        </pc:spChg>
      </pc:sldChg>
      <pc:sldChg chg="modSp mod">
        <pc:chgData name="Raymond Wang" userId="ce9510f2-0ff1-43b1-8c85-3569a959adbb" providerId="ADAL" clId="{18BC9A1F-8AC7-2D41-AF75-9A68AEFDC1EE}" dt="2024-04-22T02:12:12.151" v="6281" actId="20577"/>
        <pc:sldMkLst>
          <pc:docMk/>
          <pc:sldMk cId="1856198430" sldId="330"/>
        </pc:sldMkLst>
        <pc:spChg chg="mod">
          <ac:chgData name="Raymond Wang" userId="ce9510f2-0ff1-43b1-8c85-3569a959adbb" providerId="ADAL" clId="{18BC9A1F-8AC7-2D41-AF75-9A68AEFDC1EE}" dt="2024-04-22T02:12:12.151" v="6281" actId="20577"/>
          <ac:spMkLst>
            <pc:docMk/>
            <pc:sldMk cId="1856198430" sldId="330"/>
            <ac:spMk id="28" creationId="{788370A5-A783-C798-AAE7-3E28E11CBA74}"/>
          </ac:spMkLst>
        </pc:spChg>
        <pc:picChg chg="mod">
          <ac:chgData name="Raymond Wang" userId="ce9510f2-0ff1-43b1-8c85-3569a959adbb" providerId="ADAL" clId="{18BC9A1F-8AC7-2D41-AF75-9A68AEFDC1EE}" dt="2024-04-22T02:11:41.369" v="6271" actId="1076"/>
          <ac:picMkLst>
            <pc:docMk/>
            <pc:sldMk cId="1856198430" sldId="330"/>
            <ac:picMk id="3" creationId="{E9E3AA12-1B3F-42A7-C0AC-D39DA3015B3A}"/>
          </ac:picMkLst>
        </pc:picChg>
      </pc:sldChg>
      <pc:sldChg chg="modSp mod ord">
        <pc:chgData name="Raymond Wang" userId="ce9510f2-0ff1-43b1-8c85-3569a959adbb" providerId="ADAL" clId="{18BC9A1F-8AC7-2D41-AF75-9A68AEFDC1EE}" dt="2024-04-17T18:22:31.778" v="6010" actId="20577"/>
        <pc:sldMkLst>
          <pc:docMk/>
          <pc:sldMk cId="2962657194" sldId="331"/>
        </pc:sldMkLst>
        <pc:spChg chg="mod">
          <ac:chgData name="Raymond Wang" userId="ce9510f2-0ff1-43b1-8c85-3569a959adbb" providerId="ADAL" clId="{18BC9A1F-8AC7-2D41-AF75-9A68AEFDC1EE}" dt="2024-04-17T17:43:08.307" v="3615" actId="20577"/>
          <ac:spMkLst>
            <pc:docMk/>
            <pc:sldMk cId="2962657194" sldId="331"/>
            <ac:spMk id="4" creationId="{3A78D307-2EAC-FE7F-B8DA-042F7C758DBA}"/>
          </ac:spMkLst>
        </pc:spChg>
        <pc:spChg chg="mod">
          <ac:chgData name="Raymond Wang" userId="ce9510f2-0ff1-43b1-8c85-3569a959adbb" providerId="ADAL" clId="{18BC9A1F-8AC7-2D41-AF75-9A68AEFDC1EE}" dt="2024-04-17T18:22:31.778" v="6010" actId="20577"/>
          <ac:spMkLst>
            <pc:docMk/>
            <pc:sldMk cId="2962657194" sldId="331"/>
            <ac:spMk id="9" creationId="{3C781649-D80F-D1F9-89F2-7AAA7A2BC218}"/>
          </ac:spMkLst>
        </pc:spChg>
        <pc:picChg chg="mod">
          <ac:chgData name="Raymond Wang" userId="ce9510f2-0ff1-43b1-8c85-3569a959adbb" providerId="ADAL" clId="{18BC9A1F-8AC7-2D41-AF75-9A68AEFDC1EE}" dt="2024-04-17T17:43:43.528" v="3639" actId="14100"/>
          <ac:picMkLst>
            <pc:docMk/>
            <pc:sldMk cId="2962657194" sldId="331"/>
            <ac:picMk id="2" creationId="{DBD21D0B-8916-BE45-FA84-FFCD5BD8F68B}"/>
          </ac:picMkLst>
        </pc:picChg>
      </pc:sldChg>
      <pc:sldChg chg="modSp mod">
        <pc:chgData name="Raymond Wang" userId="ce9510f2-0ff1-43b1-8c85-3569a959adbb" providerId="ADAL" clId="{18BC9A1F-8AC7-2D41-AF75-9A68AEFDC1EE}" dt="2024-04-17T17:43:27.083" v="3637" actId="20577"/>
        <pc:sldMkLst>
          <pc:docMk/>
          <pc:sldMk cId="2552426160" sldId="336"/>
        </pc:sldMkLst>
        <pc:spChg chg="mod">
          <ac:chgData name="Raymond Wang" userId="ce9510f2-0ff1-43b1-8c85-3569a959adbb" providerId="ADAL" clId="{18BC9A1F-8AC7-2D41-AF75-9A68AEFDC1EE}" dt="2024-04-17T17:43:27.083" v="3637" actId="20577"/>
          <ac:spMkLst>
            <pc:docMk/>
            <pc:sldMk cId="2552426160" sldId="336"/>
            <ac:spMk id="25" creationId="{635DDDB0-E513-23CE-AD3D-852E121558F5}"/>
          </ac:spMkLst>
        </pc:spChg>
      </pc:sldChg>
      <pc:sldChg chg="addSp delSp modSp mod">
        <pc:chgData name="Raymond Wang" userId="ce9510f2-0ff1-43b1-8c85-3569a959adbb" providerId="ADAL" clId="{18BC9A1F-8AC7-2D41-AF75-9A68AEFDC1EE}" dt="2024-04-22T02:10:19.301" v="6234" actId="20577"/>
        <pc:sldMkLst>
          <pc:docMk/>
          <pc:sldMk cId="1699159194" sldId="337"/>
        </pc:sldMkLst>
        <pc:spChg chg="mod">
          <ac:chgData name="Raymond Wang" userId="ce9510f2-0ff1-43b1-8c85-3569a959adbb" providerId="ADAL" clId="{18BC9A1F-8AC7-2D41-AF75-9A68AEFDC1EE}" dt="2024-04-22T02:10:19.301" v="6234" actId="20577"/>
          <ac:spMkLst>
            <pc:docMk/>
            <pc:sldMk cId="1699159194" sldId="337"/>
            <ac:spMk id="4" creationId="{AAD0BF89-BEF6-9D91-8DE9-87609E9E9B21}"/>
          </ac:spMkLst>
        </pc:spChg>
        <pc:spChg chg="mod">
          <ac:chgData name="Raymond Wang" userId="ce9510f2-0ff1-43b1-8c85-3569a959adbb" providerId="ADAL" clId="{18BC9A1F-8AC7-2D41-AF75-9A68AEFDC1EE}" dt="2024-04-17T16:50:12.648" v="1977" actId="20577"/>
          <ac:spMkLst>
            <pc:docMk/>
            <pc:sldMk cId="1699159194" sldId="337"/>
            <ac:spMk id="19" creationId="{266BE406-4F2C-9033-39F4-DF8E5E2459A3}"/>
          </ac:spMkLst>
        </pc:spChg>
        <pc:cxnChg chg="add mod">
          <ac:chgData name="Raymond Wang" userId="ce9510f2-0ff1-43b1-8c85-3569a959adbb" providerId="ADAL" clId="{18BC9A1F-8AC7-2D41-AF75-9A68AEFDC1EE}" dt="2024-04-17T13:21:30.262" v="63" actId="14100"/>
          <ac:cxnSpMkLst>
            <pc:docMk/>
            <pc:sldMk cId="1699159194" sldId="337"/>
            <ac:cxnSpMk id="2" creationId="{81BA281B-2686-6371-7796-1D9901CEC344}"/>
          </ac:cxnSpMkLst>
        </pc:cxnChg>
        <pc:cxnChg chg="add mod">
          <ac:chgData name="Raymond Wang" userId="ce9510f2-0ff1-43b1-8c85-3569a959adbb" providerId="ADAL" clId="{18BC9A1F-8AC7-2D41-AF75-9A68AEFDC1EE}" dt="2024-04-17T13:21:56.867" v="66" actId="14100"/>
          <ac:cxnSpMkLst>
            <pc:docMk/>
            <pc:sldMk cId="1699159194" sldId="337"/>
            <ac:cxnSpMk id="6" creationId="{1377B99F-467A-6F1C-9F13-01A74EF1DC93}"/>
          </ac:cxnSpMkLst>
        </pc:cxnChg>
        <pc:cxnChg chg="add mod">
          <ac:chgData name="Raymond Wang" userId="ce9510f2-0ff1-43b1-8c85-3569a959adbb" providerId="ADAL" clId="{18BC9A1F-8AC7-2D41-AF75-9A68AEFDC1EE}" dt="2024-04-17T14:21:42.341" v="1729" actId="1076"/>
          <ac:cxnSpMkLst>
            <pc:docMk/>
            <pc:sldMk cId="1699159194" sldId="337"/>
            <ac:cxnSpMk id="10" creationId="{21E4F352-1BB7-0BC9-BDD0-8FEA16672854}"/>
          </ac:cxnSpMkLst>
        </pc:cxnChg>
        <pc:cxnChg chg="del mod">
          <ac:chgData name="Raymond Wang" userId="ce9510f2-0ff1-43b1-8c85-3569a959adbb" providerId="ADAL" clId="{18BC9A1F-8AC7-2D41-AF75-9A68AEFDC1EE}" dt="2024-04-17T13:21:22.437" v="60" actId="478"/>
          <ac:cxnSpMkLst>
            <pc:docMk/>
            <pc:sldMk cId="1699159194" sldId="337"/>
            <ac:cxnSpMk id="21" creationId="{CD05E510-987F-67F1-1571-58523253F682}"/>
          </ac:cxnSpMkLst>
        </pc:cxnChg>
        <pc:cxnChg chg="mod">
          <ac:chgData name="Raymond Wang" userId="ce9510f2-0ff1-43b1-8c85-3569a959adbb" providerId="ADAL" clId="{18BC9A1F-8AC7-2D41-AF75-9A68AEFDC1EE}" dt="2024-04-17T14:21:40.778" v="1728" actId="1076"/>
          <ac:cxnSpMkLst>
            <pc:docMk/>
            <pc:sldMk cId="1699159194" sldId="337"/>
            <ac:cxnSpMk id="22" creationId="{E45C7CF6-6768-DB34-28CE-912065BC05E3}"/>
          </ac:cxnSpMkLst>
        </pc:cxnChg>
        <pc:cxnChg chg="del mod">
          <ac:chgData name="Raymond Wang" userId="ce9510f2-0ff1-43b1-8c85-3569a959adbb" providerId="ADAL" clId="{18BC9A1F-8AC7-2D41-AF75-9A68AEFDC1EE}" dt="2024-04-17T14:20:48.024" v="1721" actId="478"/>
          <ac:cxnSpMkLst>
            <pc:docMk/>
            <pc:sldMk cId="1699159194" sldId="337"/>
            <ac:cxnSpMk id="28" creationId="{C3505AF2-4A89-3EBD-6F0E-AF46A6544467}"/>
          </ac:cxnSpMkLst>
        </pc:cxnChg>
      </pc:sldChg>
      <pc:sldChg chg="modSp mod">
        <pc:chgData name="Raymond Wang" userId="ce9510f2-0ff1-43b1-8c85-3569a959adbb" providerId="ADAL" clId="{18BC9A1F-8AC7-2D41-AF75-9A68AEFDC1EE}" dt="2024-04-22T02:11:30.377" v="6270" actId="20577"/>
        <pc:sldMkLst>
          <pc:docMk/>
          <pc:sldMk cId="1850369703" sldId="338"/>
        </pc:sldMkLst>
        <pc:spChg chg="mod">
          <ac:chgData name="Raymond Wang" userId="ce9510f2-0ff1-43b1-8c85-3569a959adbb" providerId="ADAL" clId="{18BC9A1F-8AC7-2D41-AF75-9A68AEFDC1EE}" dt="2024-04-22T02:11:30.377" v="6270" actId="20577"/>
          <ac:spMkLst>
            <pc:docMk/>
            <pc:sldMk cId="1850369703" sldId="338"/>
            <ac:spMk id="27" creationId="{D20EDF0C-051A-03F5-EF72-E98173621B7E}"/>
          </ac:spMkLst>
        </pc:spChg>
      </pc:sldChg>
      <pc:sldChg chg="add del ord">
        <pc:chgData name="Raymond Wang" userId="ce9510f2-0ff1-43b1-8c85-3569a959adbb" providerId="ADAL" clId="{18BC9A1F-8AC7-2D41-AF75-9A68AEFDC1EE}" dt="2024-04-17T17:42:22.136" v="3605" actId="20578"/>
        <pc:sldMkLst>
          <pc:docMk/>
          <pc:sldMk cId="2195311350" sldId="339"/>
        </pc:sldMkLst>
      </pc:sldChg>
      <pc:sldChg chg="addSp delSp modSp mod">
        <pc:chgData name="Raymond Wang" userId="ce9510f2-0ff1-43b1-8c85-3569a959adbb" providerId="ADAL" clId="{18BC9A1F-8AC7-2D41-AF75-9A68AEFDC1EE}" dt="2024-04-22T02:10:23.248" v="6235" actId="6549"/>
        <pc:sldMkLst>
          <pc:docMk/>
          <pc:sldMk cId="2161296887" sldId="340"/>
        </pc:sldMkLst>
        <pc:spChg chg="mod">
          <ac:chgData name="Raymond Wang" userId="ce9510f2-0ff1-43b1-8c85-3569a959adbb" providerId="ADAL" clId="{18BC9A1F-8AC7-2D41-AF75-9A68AEFDC1EE}" dt="2024-04-22T02:10:23.248" v="6235" actId="6549"/>
          <ac:spMkLst>
            <pc:docMk/>
            <pc:sldMk cId="2161296887" sldId="340"/>
            <ac:spMk id="4" creationId="{AAD0BF89-BEF6-9D91-8DE9-87609E9E9B21}"/>
          </ac:spMkLst>
        </pc:spChg>
        <pc:spChg chg="mod">
          <ac:chgData name="Raymond Wang" userId="ce9510f2-0ff1-43b1-8c85-3569a959adbb" providerId="ADAL" clId="{18BC9A1F-8AC7-2D41-AF75-9A68AEFDC1EE}" dt="2024-04-17T14:13:18.134" v="1378" actId="20577"/>
          <ac:spMkLst>
            <pc:docMk/>
            <pc:sldMk cId="2161296887" sldId="340"/>
            <ac:spMk id="9" creationId="{5F433FD3-A0C8-78CB-5CD1-6B2A1F912B76}"/>
          </ac:spMkLst>
        </pc:spChg>
        <pc:spChg chg="mod">
          <ac:chgData name="Raymond Wang" userId="ce9510f2-0ff1-43b1-8c85-3569a959adbb" providerId="ADAL" clId="{18BC9A1F-8AC7-2D41-AF75-9A68AEFDC1EE}" dt="2024-04-17T14:27:42.119" v="1848" actId="20577"/>
          <ac:spMkLst>
            <pc:docMk/>
            <pc:sldMk cId="2161296887" sldId="340"/>
            <ac:spMk id="12" creationId="{0DF48D9C-D4EB-B5AA-F8B0-A2D91AB5D6D5}"/>
          </ac:spMkLst>
        </pc:spChg>
        <pc:spChg chg="mod">
          <ac:chgData name="Raymond Wang" userId="ce9510f2-0ff1-43b1-8c85-3569a959adbb" providerId="ADAL" clId="{18BC9A1F-8AC7-2D41-AF75-9A68AEFDC1EE}" dt="2024-04-17T16:52:57.605" v="2013" actId="20577"/>
          <ac:spMkLst>
            <pc:docMk/>
            <pc:sldMk cId="2161296887" sldId="340"/>
            <ac:spMk id="13" creationId="{BC7E756C-675F-620D-984D-A63CA213A7B8}"/>
          </ac:spMkLst>
        </pc:spChg>
        <pc:spChg chg="mod">
          <ac:chgData name="Raymond Wang" userId="ce9510f2-0ff1-43b1-8c85-3569a959adbb" providerId="ADAL" clId="{18BC9A1F-8AC7-2D41-AF75-9A68AEFDC1EE}" dt="2024-04-17T16:52:55.535" v="1999" actId="20577"/>
          <ac:spMkLst>
            <pc:docMk/>
            <pc:sldMk cId="2161296887" sldId="340"/>
            <ac:spMk id="18" creationId="{E48E573A-40A7-BC28-2345-81D04C98ED5C}"/>
          </ac:spMkLst>
        </pc:spChg>
        <pc:cxnChg chg="add mod">
          <ac:chgData name="Raymond Wang" userId="ce9510f2-0ff1-43b1-8c85-3569a959adbb" providerId="ADAL" clId="{18BC9A1F-8AC7-2D41-AF75-9A68AEFDC1EE}" dt="2024-04-17T14:21:50.406" v="1731"/>
          <ac:cxnSpMkLst>
            <pc:docMk/>
            <pc:sldMk cId="2161296887" sldId="340"/>
            <ac:cxnSpMk id="2" creationId="{4BB429A0-262E-79D9-7016-C8B62652DD8E}"/>
          </ac:cxnSpMkLst>
        </pc:cxnChg>
        <pc:cxnChg chg="add mod">
          <ac:chgData name="Raymond Wang" userId="ce9510f2-0ff1-43b1-8c85-3569a959adbb" providerId="ADAL" clId="{18BC9A1F-8AC7-2D41-AF75-9A68AEFDC1EE}" dt="2024-04-17T14:21:50.406" v="1731"/>
          <ac:cxnSpMkLst>
            <pc:docMk/>
            <pc:sldMk cId="2161296887" sldId="340"/>
            <ac:cxnSpMk id="3" creationId="{27E9F007-EA5A-6D7F-C47B-968688B27D58}"/>
          </ac:cxnSpMkLst>
        </pc:cxnChg>
        <pc:cxnChg chg="add mod">
          <ac:chgData name="Raymond Wang" userId="ce9510f2-0ff1-43b1-8c85-3569a959adbb" providerId="ADAL" clId="{18BC9A1F-8AC7-2D41-AF75-9A68AEFDC1EE}" dt="2024-04-17T14:22:45.115" v="1747" actId="1035"/>
          <ac:cxnSpMkLst>
            <pc:docMk/>
            <pc:sldMk cId="2161296887" sldId="340"/>
            <ac:cxnSpMk id="5" creationId="{962990B0-932E-B4B1-A95F-DF174DCB6AFB}"/>
          </ac:cxnSpMkLst>
        </pc:cxnChg>
        <pc:cxnChg chg="add mod">
          <ac:chgData name="Raymond Wang" userId="ce9510f2-0ff1-43b1-8c85-3569a959adbb" providerId="ADAL" clId="{18BC9A1F-8AC7-2D41-AF75-9A68AEFDC1EE}" dt="2024-04-17T14:22:46.684" v="1749" actId="14100"/>
          <ac:cxnSpMkLst>
            <pc:docMk/>
            <pc:sldMk cId="2161296887" sldId="340"/>
            <ac:cxnSpMk id="6" creationId="{1E8D511F-D76B-C2A9-556C-A4C03EDAB3B3}"/>
          </ac:cxnSpMkLst>
        </pc:cxnChg>
        <pc:cxnChg chg="del mod">
          <ac:chgData name="Raymond Wang" userId="ce9510f2-0ff1-43b1-8c85-3569a959adbb" providerId="ADAL" clId="{18BC9A1F-8AC7-2D41-AF75-9A68AEFDC1EE}" dt="2024-04-17T14:21:45.145" v="1730" actId="478"/>
          <ac:cxnSpMkLst>
            <pc:docMk/>
            <pc:sldMk cId="2161296887" sldId="340"/>
            <ac:cxnSpMk id="22" creationId="{E45C7CF6-6768-DB34-28CE-912065BC05E3}"/>
          </ac:cxnSpMkLst>
        </pc:cxnChg>
        <pc:cxnChg chg="del mod">
          <ac:chgData name="Raymond Wang" userId="ce9510f2-0ff1-43b1-8c85-3569a959adbb" providerId="ADAL" clId="{18BC9A1F-8AC7-2D41-AF75-9A68AEFDC1EE}" dt="2024-04-17T14:21:57.176" v="1732" actId="478"/>
          <ac:cxnSpMkLst>
            <pc:docMk/>
            <pc:sldMk cId="2161296887" sldId="340"/>
            <ac:cxnSpMk id="25" creationId="{575F247E-4B3B-19F5-E6BF-776A9929D721}"/>
          </ac:cxnSpMkLst>
        </pc:cxnChg>
      </pc:sldChg>
      <pc:sldChg chg="addSp delSp modSp mod">
        <pc:chgData name="Raymond Wang" userId="ce9510f2-0ff1-43b1-8c85-3569a959adbb" providerId="ADAL" clId="{18BC9A1F-8AC7-2D41-AF75-9A68AEFDC1EE}" dt="2024-04-17T18:53:22.260" v="6066" actId="20577"/>
        <pc:sldMkLst>
          <pc:docMk/>
          <pc:sldMk cId="2774998626" sldId="341"/>
        </pc:sldMkLst>
        <pc:spChg chg="add del">
          <ac:chgData name="Raymond Wang" userId="ce9510f2-0ff1-43b1-8c85-3569a959adbb" providerId="ADAL" clId="{18BC9A1F-8AC7-2D41-AF75-9A68AEFDC1EE}" dt="2024-04-17T18:21:13.228" v="5948" actId="22"/>
          <ac:spMkLst>
            <pc:docMk/>
            <pc:sldMk cId="2774998626" sldId="341"/>
            <ac:spMk id="3" creationId="{A0D076AC-09B5-BB66-E2D2-B4131C0D17EA}"/>
          </ac:spMkLst>
        </pc:spChg>
        <pc:spChg chg="mod">
          <ac:chgData name="Raymond Wang" userId="ce9510f2-0ff1-43b1-8c85-3569a959adbb" providerId="ADAL" clId="{18BC9A1F-8AC7-2D41-AF75-9A68AEFDC1EE}" dt="2024-04-17T18:21:50.341" v="6000" actId="20577"/>
          <ac:spMkLst>
            <pc:docMk/>
            <pc:sldMk cId="2774998626" sldId="341"/>
            <ac:spMk id="4" creationId="{5E022F00-B499-CE84-B669-F91E6AB6B760}"/>
          </ac:spMkLst>
        </pc:spChg>
        <pc:spChg chg="mod">
          <ac:chgData name="Raymond Wang" userId="ce9510f2-0ff1-43b1-8c85-3569a959adbb" providerId="ADAL" clId="{18BC9A1F-8AC7-2D41-AF75-9A68AEFDC1EE}" dt="2024-04-17T17:30:04.555" v="3081" actId="20577"/>
          <ac:spMkLst>
            <pc:docMk/>
            <pc:sldMk cId="2774998626" sldId="341"/>
            <ac:spMk id="9" creationId="{6AE846CA-7EBA-E9D5-B25E-E1168B540899}"/>
          </ac:spMkLst>
        </pc:spChg>
        <pc:spChg chg="mod">
          <ac:chgData name="Raymond Wang" userId="ce9510f2-0ff1-43b1-8c85-3569a959adbb" providerId="ADAL" clId="{18BC9A1F-8AC7-2D41-AF75-9A68AEFDC1EE}" dt="2024-04-17T18:21:20.505" v="5951" actId="113"/>
          <ac:spMkLst>
            <pc:docMk/>
            <pc:sldMk cId="2774998626" sldId="341"/>
            <ac:spMk id="70" creationId="{A81ED0F6-8451-2FCD-3D0D-9FB62C7A3CA9}"/>
          </ac:spMkLst>
        </pc:spChg>
        <pc:spChg chg="mod">
          <ac:chgData name="Raymond Wang" userId="ce9510f2-0ff1-43b1-8c85-3569a959adbb" providerId="ADAL" clId="{18BC9A1F-8AC7-2D41-AF75-9A68AEFDC1EE}" dt="2024-04-17T18:21:22.840" v="5952" actId="113"/>
          <ac:spMkLst>
            <pc:docMk/>
            <pc:sldMk cId="2774998626" sldId="341"/>
            <ac:spMk id="71" creationId="{F3B291B7-1EC0-E2E3-FDC8-E7DB9DF74327}"/>
          </ac:spMkLst>
        </pc:spChg>
        <pc:spChg chg="mod">
          <ac:chgData name="Raymond Wang" userId="ce9510f2-0ff1-43b1-8c85-3569a959adbb" providerId="ADAL" clId="{18BC9A1F-8AC7-2D41-AF75-9A68AEFDC1EE}" dt="2024-04-17T18:21:38.985" v="5958" actId="255"/>
          <ac:spMkLst>
            <pc:docMk/>
            <pc:sldMk cId="2774998626" sldId="341"/>
            <ac:spMk id="72" creationId="{B87F8CEE-0E71-CEAA-B76A-43B014019D9A}"/>
          </ac:spMkLst>
        </pc:spChg>
        <pc:spChg chg="mod">
          <ac:chgData name="Raymond Wang" userId="ce9510f2-0ff1-43b1-8c85-3569a959adbb" providerId="ADAL" clId="{18BC9A1F-8AC7-2D41-AF75-9A68AEFDC1EE}" dt="2024-04-17T18:20:41.619" v="5942" actId="20577"/>
          <ac:spMkLst>
            <pc:docMk/>
            <pc:sldMk cId="2774998626" sldId="341"/>
            <ac:spMk id="73" creationId="{EF2449FE-2D0A-1D06-1225-FE07FD618F90}"/>
          </ac:spMkLst>
        </pc:spChg>
        <pc:spChg chg="mod">
          <ac:chgData name="Raymond Wang" userId="ce9510f2-0ff1-43b1-8c85-3569a959adbb" providerId="ADAL" clId="{18BC9A1F-8AC7-2D41-AF75-9A68AEFDC1EE}" dt="2024-04-17T18:18:54.395" v="5695" actId="20577"/>
          <ac:spMkLst>
            <pc:docMk/>
            <pc:sldMk cId="2774998626" sldId="341"/>
            <ac:spMk id="74" creationId="{8A19256B-18E8-0251-DDA9-2658E025FEF5}"/>
          </ac:spMkLst>
        </pc:spChg>
        <pc:spChg chg="mod">
          <ac:chgData name="Raymond Wang" userId="ce9510f2-0ff1-43b1-8c85-3569a959adbb" providerId="ADAL" clId="{18BC9A1F-8AC7-2D41-AF75-9A68AEFDC1EE}" dt="2024-04-17T18:53:22.260" v="6066" actId="20577"/>
          <ac:spMkLst>
            <pc:docMk/>
            <pc:sldMk cId="2774998626" sldId="341"/>
            <ac:spMk id="75" creationId="{CA755F9C-71B8-D354-2214-BA607A06C3B2}"/>
          </ac:spMkLst>
        </pc:spChg>
        <pc:spChg chg="mod">
          <ac:chgData name="Raymond Wang" userId="ce9510f2-0ff1-43b1-8c85-3569a959adbb" providerId="ADAL" clId="{18BC9A1F-8AC7-2D41-AF75-9A68AEFDC1EE}" dt="2024-04-17T18:18:20.277" v="5588" actId="1076"/>
          <ac:spMkLst>
            <pc:docMk/>
            <pc:sldMk cId="2774998626" sldId="341"/>
            <ac:spMk id="76" creationId="{64C5BDE3-7B54-5FD9-9234-DE9EC1F1B742}"/>
          </ac:spMkLst>
        </pc:spChg>
        <pc:spChg chg="mod">
          <ac:chgData name="Raymond Wang" userId="ce9510f2-0ff1-43b1-8c85-3569a959adbb" providerId="ADAL" clId="{18BC9A1F-8AC7-2D41-AF75-9A68AEFDC1EE}" dt="2024-04-17T17:29:40.425" v="3032" actId="1076"/>
          <ac:spMkLst>
            <pc:docMk/>
            <pc:sldMk cId="2774998626" sldId="341"/>
            <ac:spMk id="77" creationId="{C9E8E6F6-00C4-B2F3-EFB4-354DA6CE284A}"/>
          </ac:spMkLst>
        </pc:spChg>
        <pc:spChg chg="mod">
          <ac:chgData name="Raymond Wang" userId="ce9510f2-0ff1-43b1-8c85-3569a959adbb" providerId="ADAL" clId="{18BC9A1F-8AC7-2D41-AF75-9A68AEFDC1EE}" dt="2024-04-17T18:18:21.560" v="5589" actId="1076"/>
          <ac:spMkLst>
            <pc:docMk/>
            <pc:sldMk cId="2774998626" sldId="341"/>
            <ac:spMk id="78" creationId="{5CE2D278-C877-F1CC-17EE-E6404E592E18}"/>
          </ac:spMkLst>
        </pc:spChg>
        <pc:spChg chg="mod">
          <ac:chgData name="Raymond Wang" userId="ce9510f2-0ff1-43b1-8c85-3569a959adbb" providerId="ADAL" clId="{18BC9A1F-8AC7-2D41-AF75-9A68AEFDC1EE}" dt="2024-04-17T17:29:05.358" v="2953" actId="20577"/>
          <ac:spMkLst>
            <pc:docMk/>
            <pc:sldMk cId="2774998626" sldId="341"/>
            <ac:spMk id="82" creationId="{18627825-02D8-C8DB-E3A3-EA4014AAC710}"/>
          </ac:spMkLst>
        </pc:spChg>
        <pc:spChg chg="mod">
          <ac:chgData name="Raymond Wang" userId="ce9510f2-0ff1-43b1-8c85-3569a959adbb" providerId="ADAL" clId="{18BC9A1F-8AC7-2D41-AF75-9A68AEFDC1EE}" dt="2024-04-17T17:29:48.139" v="3044" actId="1076"/>
          <ac:spMkLst>
            <pc:docMk/>
            <pc:sldMk cId="2774998626" sldId="341"/>
            <ac:spMk id="84" creationId="{064DBC03-57D7-8FEC-8EE1-6B1A881285AA}"/>
          </ac:spMkLst>
        </pc:spChg>
        <pc:spChg chg="mod">
          <ac:chgData name="Raymond Wang" userId="ce9510f2-0ff1-43b1-8c85-3569a959adbb" providerId="ADAL" clId="{18BC9A1F-8AC7-2D41-AF75-9A68AEFDC1EE}" dt="2024-04-17T16:54:18.024" v="2029" actId="1076"/>
          <ac:spMkLst>
            <pc:docMk/>
            <pc:sldMk cId="2774998626" sldId="341"/>
            <ac:spMk id="85" creationId="{D81E361C-79EE-CC75-1F14-51E05C46AF5E}"/>
          </ac:spMkLst>
        </pc:spChg>
      </pc:sldChg>
      <pc:sldChg chg="addSp delSp modSp add mod">
        <pc:chgData name="Raymond Wang" userId="ce9510f2-0ff1-43b1-8c85-3569a959adbb" providerId="ADAL" clId="{18BC9A1F-8AC7-2D41-AF75-9A68AEFDC1EE}" dt="2024-04-22T02:11:00.402" v="6248" actId="20577"/>
        <pc:sldMkLst>
          <pc:docMk/>
          <pc:sldMk cId="194028170" sldId="342"/>
        </pc:sldMkLst>
        <pc:spChg chg="add del mod">
          <ac:chgData name="Raymond Wang" userId="ce9510f2-0ff1-43b1-8c85-3569a959adbb" providerId="ADAL" clId="{18BC9A1F-8AC7-2D41-AF75-9A68AEFDC1EE}" dt="2024-04-22T02:10:52.512" v="6238"/>
          <ac:spMkLst>
            <pc:docMk/>
            <pc:sldMk cId="194028170" sldId="342"/>
            <ac:spMk id="2" creationId="{5E266E7D-6094-1D62-716B-055FAF2EE4A2}"/>
          </ac:spMkLst>
        </pc:spChg>
        <pc:spChg chg="del">
          <ac:chgData name="Raymond Wang" userId="ce9510f2-0ff1-43b1-8c85-3569a959adbb" providerId="ADAL" clId="{18BC9A1F-8AC7-2D41-AF75-9A68AEFDC1EE}" dt="2024-04-17T17:38:45.389" v="3594" actId="478"/>
          <ac:spMkLst>
            <pc:docMk/>
            <pc:sldMk cId="194028170" sldId="342"/>
            <ac:spMk id="2" creationId="{72DA57A5-8F55-0D56-E4E6-25A08D2A4373}"/>
          </ac:spMkLst>
        </pc:spChg>
        <pc:spChg chg="add mod">
          <ac:chgData name="Raymond Wang" userId="ce9510f2-0ff1-43b1-8c85-3569a959adbb" providerId="ADAL" clId="{18BC9A1F-8AC7-2D41-AF75-9A68AEFDC1EE}" dt="2024-04-22T02:11:00.402" v="6248" actId="20577"/>
          <ac:spMkLst>
            <pc:docMk/>
            <pc:sldMk cId="194028170" sldId="342"/>
            <ac:spMk id="3" creationId="{E8FCF72E-6EDC-0A48-7F80-3309048F1579}"/>
          </ac:spMkLst>
        </pc:spChg>
        <pc:spChg chg="mod">
          <ac:chgData name="Raymond Wang" userId="ce9510f2-0ff1-43b1-8c85-3569a959adbb" providerId="ADAL" clId="{18BC9A1F-8AC7-2D41-AF75-9A68AEFDC1EE}" dt="2024-04-17T17:54:22.648" v="4682" actId="20577"/>
          <ac:spMkLst>
            <pc:docMk/>
            <pc:sldMk cId="194028170" sldId="342"/>
            <ac:spMk id="4" creationId="{4D8CBD2C-D861-BDBC-BC11-54DF44EAB4ED}"/>
          </ac:spMkLst>
        </pc:spChg>
        <pc:spChg chg="add del">
          <ac:chgData name="Raymond Wang" userId="ce9510f2-0ff1-43b1-8c85-3569a959adbb" providerId="ADAL" clId="{18BC9A1F-8AC7-2D41-AF75-9A68AEFDC1EE}" dt="2024-04-17T17:56:21.619" v="5007" actId="22"/>
          <ac:spMkLst>
            <pc:docMk/>
            <pc:sldMk cId="194028170" sldId="342"/>
            <ac:spMk id="6" creationId="{766DB5A6-DA98-386E-058E-F02BA4C88606}"/>
          </ac:spMkLst>
        </pc:spChg>
        <pc:spChg chg="mod">
          <ac:chgData name="Raymond Wang" userId="ce9510f2-0ff1-43b1-8c85-3569a959adbb" providerId="ADAL" clId="{18BC9A1F-8AC7-2D41-AF75-9A68AEFDC1EE}" dt="2024-04-17T17:25:29.044" v="2507" actId="20577"/>
          <ac:spMkLst>
            <pc:docMk/>
            <pc:sldMk cId="194028170" sldId="342"/>
            <ac:spMk id="9" creationId="{796AE6FD-F773-C1A2-37BA-DC321CC33E78}"/>
          </ac:spMkLst>
        </pc:spChg>
        <pc:spChg chg="mod">
          <ac:chgData name="Raymond Wang" userId="ce9510f2-0ff1-43b1-8c85-3569a959adbb" providerId="ADAL" clId="{18BC9A1F-8AC7-2D41-AF75-9A68AEFDC1EE}" dt="2024-04-17T18:16:48.655" v="5385" actId="20577"/>
          <ac:spMkLst>
            <pc:docMk/>
            <pc:sldMk cId="194028170" sldId="342"/>
            <ac:spMk id="17" creationId="{8A2861A9-272D-9B63-482D-FB1B79BD27DD}"/>
          </ac:spMkLst>
        </pc:spChg>
        <pc:spChg chg="mod">
          <ac:chgData name="Raymond Wang" userId="ce9510f2-0ff1-43b1-8c85-3569a959adbb" providerId="ADAL" clId="{18BC9A1F-8AC7-2D41-AF75-9A68AEFDC1EE}" dt="2024-04-17T17:25:53.857" v="2513" actId="255"/>
          <ac:spMkLst>
            <pc:docMk/>
            <pc:sldMk cId="194028170" sldId="342"/>
            <ac:spMk id="18" creationId="{122F53CC-86C8-6881-1206-1472CEE33AA4}"/>
          </ac:spMkLst>
        </pc:spChg>
        <pc:spChg chg="mod">
          <ac:chgData name="Raymond Wang" userId="ce9510f2-0ff1-43b1-8c85-3569a959adbb" providerId="ADAL" clId="{18BC9A1F-8AC7-2D41-AF75-9A68AEFDC1EE}" dt="2024-04-17T18:16:31.403" v="5383" actId="20577"/>
          <ac:spMkLst>
            <pc:docMk/>
            <pc:sldMk cId="194028170" sldId="342"/>
            <ac:spMk id="34" creationId="{730A310A-D0CE-96CE-9C0E-64D456D2887B}"/>
          </ac:spMkLst>
        </pc:spChg>
        <pc:spChg chg="mod">
          <ac:chgData name="Raymond Wang" userId="ce9510f2-0ff1-43b1-8c85-3569a959adbb" providerId="ADAL" clId="{18BC9A1F-8AC7-2D41-AF75-9A68AEFDC1EE}" dt="2024-04-17T17:26:01.105" v="2515" actId="20577"/>
          <ac:spMkLst>
            <pc:docMk/>
            <pc:sldMk cId="194028170" sldId="342"/>
            <ac:spMk id="35" creationId="{73E5F735-5A3B-109C-7A30-6DAC24102950}"/>
          </ac:spMkLst>
        </pc:spChg>
        <pc:spChg chg="mod">
          <ac:chgData name="Raymond Wang" userId="ce9510f2-0ff1-43b1-8c85-3569a959adbb" providerId="ADAL" clId="{18BC9A1F-8AC7-2D41-AF75-9A68AEFDC1EE}" dt="2024-04-17T18:15:02.526" v="5226" actId="20577"/>
          <ac:spMkLst>
            <pc:docMk/>
            <pc:sldMk cId="194028170" sldId="342"/>
            <ac:spMk id="37" creationId="{7EB90D71-A9BE-9749-BDAF-E3998BC59E6E}"/>
          </ac:spMkLst>
        </pc:spChg>
        <pc:spChg chg="mod">
          <ac:chgData name="Raymond Wang" userId="ce9510f2-0ff1-43b1-8c85-3569a959adbb" providerId="ADAL" clId="{18BC9A1F-8AC7-2D41-AF75-9A68AEFDC1EE}" dt="2024-04-17T18:15:06.474" v="5237" actId="20577"/>
          <ac:spMkLst>
            <pc:docMk/>
            <pc:sldMk cId="194028170" sldId="342"/>
            <ac:spMk id="38" creationId="{F70C0DBC-9069-EE9B-6BD9-DE1C8F575B16}"/>
          </ac:spMkLst>
        </pc:spChg>
      </pc:sldChg>
      <pc:sldChg chg="addSp delSp modSp add del mod">
        <pc:chgData name="Raymond Wang" userId="ce9510f2-0ff1-43b1-8c85-3569a959adbb" providerId="ADAL" clId="{18BC9A1F-8AC7-2D41-AF75-9A68AEFDC1EE}" dt="2024-04-17T18:16:51.605" v="5386" actId="2696"/>
        <pc:sldMkLst>
          <pc:docMk/>
          <pc:sldMk cId="1859369567" sldId="343"/>
        </pc:sldMkLst>
        <pc:spChg chg="del">
          <ac:chgData name="Raymond Wang" userId="ce9510f2-0ff1-43b1-8c85-3569a959adbb" providerId="ADAL" clId="{18BC9A1F-8AC7-2D41-AF75-9A68AEFDC1EE}" dt="2024-04-17T17:57:48.199" v="5157" actId="478"/>
          <ac:spMkLst>
            <pc:docMk/>
            <pc:sldMk cId="1859369567" sldId="343"/>
            <ac:spMk id="3" creationId="{E8FCF72E-6EDC-0A48-7F80-3309048F1579}"/>
          </ac:spMkLst>
        </pc:spChg>
        <pc:spChg chg="mod">
          <ac:chgData name="Raymond Wang" userId="ce9510f2-0ff1-43b1-8c85-3569a959adbb" providerId="ADAL" clId="{18BC9A1F-8AC7-2D41-AF75-9A68AEFDC1EE}" dt="2024-04-17T17:56:56.857" v="5107" actId="20577"/>
          <ac:spMkLst>
            <pc:docMk/>
            <pc:sldMk cId="1859369567" sldId="343"/>
            <ac:spMk id="4" creationId="{4D8CBD2C-D861-BDBC-BC11-54DF44EAB4ED}"/>
          </ac:spMkLst>
        </pc:spChg>
        <pc:spChg chg="add mod">
          <ac:chgData name="Raymond Wang" userId="ce9510f2-0ff1-43b1-8c85-3569a959adbb" providerId="ADAL" clId="{18BC9A1F-8AC7-2D41-AF75-9A68AEFDC1EE}" dt="2024-04-17T17:58:00.573" v="5168" actId="1076"/>
          <ac:spMkLst>
            <pc:docMk/>
            <pc:sldMk cId="1859369567" sldId="343"/>
            <ac:spMk id="8" creationId="{29EB3D74-E69F-8365-7949-B12EA6576FF2}"/>
          </ac:spMkLst>
        </pc:spChg>
        <pc:spChg chg="mod">
          <ac:chgData name="Raymond Wang" userId="ce9510f2-0ff1-43b1-8c85-3569a959adbb" providerId="ADAL" clId="{18BC9A1F-8AC7-2D41-AF75-9A68AEFDC1EE}" dt="2024-04-17T17:57:04.533" v="5155" actId="20577"/>
          <ac:spMkLst>
            <pc:docMk/>
            <pc:sldMk cId="1859369567" sldId="343"/>
            <ac:spMk id="9" creationId="{796AE6FD-F773-C1A2-37BA-DC321CC33E78}"/>
          </ac:spMkLst>
        </pc:spChg>
        <pc:spChg chg="add mod">
          <ac:chgData name="Raymond Wang" userId="ce9510f2-0ff1-43b1-8c85-3569a959adbb" providerId="ADAL" clId="{18BC9A1F-8AC7-2D41-AF75-9A68AEFDC1EE}" dt="2024-04-17T17:58:00.573" v="5168" actId="1076"/>
          <ac:spMkLst>
            <pc:docMk/>
            <pc:sldMk cId="1859369567" sldId="343"/>
            <ac:spMk id="10" creationId="{B995145A-3468-6815-A811-1AAE3835C77A}"/>
          </ac:spMkLst>
        </pc:spChg>
        <pc:spChg chg="add mod">
          <ac:chgData name="Raymond Wang" userId="ce9510f2-0ff1-43b1-8c85-3569a959adbb" providerId="ADAL" clId="{18BC9A1F-8AC7-2D41-AF75-9A68AEFDC1EE}" dt="2024-04-17T17:58:00.573" v="5168" actId="1076"/>
          <ac:spMkLst>
            <pc:docMk/>
            <pc:sldMk cId="1859369567" sldId="343"/>
            <ac:spMk id="11" creationId="{1DF16AC5-0DF2-B0A3-68E1-2C53C46668C9}"/>
          </ac:spMkLst>
        </pc:spChg>
        <pc:spChg chg="del">
          <ac:chgData name="Raymond Wang" userId="ce9510f2-0ff1-43b1-8c85-3569a959adbb" providerId="ADAL" clId="{18BC9A1F-8AC7-2D41-AF75-9A68AEFDC1EE}" dt="2024-04-17T17:56:35.702" v="5014" actId="478"/>
          <ac:spMkLst>
            <pc:docMk/>
            <pc:sldMk cId="1859369567" sldId="343"/>
            <ac:spMk id="34" creationId="{730A310A-D0CE-96CE-9C0E-64D456D2887B}"/>
          </ac:spMkLst>
        </pc:spChg>
        <pc:spChg chg="del">
          <ac:chgData name="Raymond Wang" userId="ce9510f2-0ff1-43b1-8c85-3569a959adbb" providerId="ADAL" clId="{18BC9A1F-8AC7-2D41-AF75-9A68AEFDC1EE}" dt="2024-04-17T17:56:31.279" v="5012" actId="478"/>
          <ac:spMkLst>
            <pc:docMk/>
            <pc:sldMk cId="1859369567" sldId="343"/>
            <ac:spMk id="35" creationId="{73E5F735-5A3B-109C-7A30-6DAC24102950}"/>
          </ac:spMkLst>
        </pc:spChg>
        <pc:spChg chg="del">
          <ac:chgData name="Raymond Wang" userId="ce9510f2-0ff1-43b1-8c85-3569a959adbb" providerId="ADAL" clId="{18BC9A1F-8AC7-2D41-AF75-9A68AEFDC1EE}" dt="2024-04-17T17:56:34.740" v="5013" actId="478"/>
          <ac:spMkLst>
            <pc:docMk/>
            <pc:sldMk cId="1859369567" sldId="343"/>
            <ac:spMk id="37" creationId="{7EB90D71-A9BE-9749-BDAF-E3998BC59E6E}"/>
          </ac:spMkLst>
        </pc:spChg>
        <pc:spChg chg="del">
          <ac:chgData name="Raymond Wang" userId="ce9510f2-0ff1-43b1-8c85-3569a959adbb" providerId="ADAL" clId="{18BC9A1F-8AC7-2D41-AF75-9A68AEFDC1EE}" dt="2024-04-17T17:56:31.279" v="5012" actId="478"/>
          <ac:spMkLst>
            <pc:docMk/>
            <pc:sldMk cId="1859369567" sldId="343"/>
            <ac:spMk id="38" creationId="{F70C0DBC-9069-EE9B-6BD9-DE1C8F575B16}"/>
          </ac:spMkLst>
        </pc:spChg>
        <pc:graphicFrameChg chg="add mod modGraphic">
          <ac:chgData name="Raymond Wang" userId="ce9510f2-0ff1-43b1-8c85-3569a959adbb" providerId="ADAL" clId="{18BC9A1F-8AC7-2D41-AF75-9A68AEFDC1EE}" dt="2024-04-17T18:00:05.904" v="5194" actId="20577"/>
          <ac:graphicFrameMkLst>
            <pc:docMk/>
            <pc:sldMk cId="1859369567" sldId="343"/>
            <ac:graphicFrameMk id="2" creationId="{01ACE335-966A-30C7-C704-5C3F5210CCEE}"/>
          </ac:graphicFrameMkLst>
        </pc:graphicFrameChg>
        <pc:graphicFrameChg chg="add mod modGraphic">
          <ac:chgData name="Raymond Wang" userId="ce9510f2-0ff1-43b1-8c85-3569a959adbb" providerId="ADAL" clId="{18BC9A1F-8AC7-2D41-AF75-9A68AEFDC1EE}" dt="2024-04-17T18:00:14.126" v="5197" actId="1076"/>
          <ac:graphicFrameMkLst>
            <pc:docMk/>
            <pc:sldMk cId="1859369567" sldId="343"/>
            <ac:graphicFrameMk id="5" creationId="{B2610A5C-F95C-15F9-1C33-BF843B255DC8}"/>
          </ac:graphicFrameMkLst>
        </pc:graphicFrameChg>
        <pc:graphicFrameChg chg="add mod">
          <ac:chgData name="Raymond Wang" userId="ce9510f2-0ff1-43b1-8c85-3569a959adbb" providerId="ADAL" clId="{18BC9A1F-8AC7-2D41-AF75-9A68AEFDC1EE}" dt="2024-04-17T17:58:00.573" v="5168" actId="1076"/>
          <ac:graphicFrameMkLst>
            <pc:docMk/>
            <pc:sldMk cId="1859369567" sldId="343"/>
            <ac:graphicFrameMk id="6" creationId="{F4A984AA-9EA0-FD26-56F6-C576FC5EFB67}"/>
          </ac:graphicFrameMkLst>
        </pc:graphicFrameChg>
        <pc:graphicFrameChg chg="add mod">
          <ac:chgData name="Raymond Wang" userId="ce9510f2-0ff1-43b1-8c85-3569a959adbb" providerId="ADAL" clId="{18BC9A1F-8AC7-2D41-AF75-9A68AEFDC1EE}" dt="2024-04-17T17:58:00.573" v="5168" actId="1076"/>
          <ac:graphicFrameMkLst>
            <pc:docMk/>
            <pc:sldMk cId="1859369567" sldId="343"/>
            <ac:graphicFrameMk id="7" creationId="{CF9DF2E2-D419-AE15-F34A-4B7B45C2007D}"/>
          </ac:graphicFrameMkLst>
        </pc:graphicFrameChg>
        <pc:picChg chg="add mod">
          <ac:chgData name="Raymond Wang" userId="ce9510f2-0ff1-43b1-8c85-3569a959adbb" providerId="ADAL" clId="{18BC9A1F-8AC7-2D41-AF75-9A68AEFDC1EE}" dt="2024-04-17T17:58:00.573" v="5168" actId="1076"/>
          <ac:picMkLst>
            <pc:docMk/>
            <pc:sldMk cId="1859369567" sldId="343"/>
            <ac:picMk id="12" creationId="{775B6A63-1ECF-1365-5FE5-5B8B76B6925E}"/>
          </ac:picMkLst>
        </pc:picChg>
        <pc:picChg chg="add mod">
          <ac:chgData name="Raymond Wang" userId="ce9510f2-0ff1-43b1-8c85-3569a959adbb" providerId="ADAL" clId="{18BC9A1F-8AC7-2D41-AF75-9A68AEFDC1EE}" dt="2024-04-17T17:58:00.573" v="5168" actId="1076"/>
          <ac:picMkLst>
            <pc:docMk/>
            <pc:sldMk cId="1859369567" sldId="343"/>
            <ac:picMk id="13" creationId="{A5B414D8-721B-BBA4-EC7B-4E80D9088CF5}"/>
          </ac:picMkLst>
        </pc:picChg>
        <pc:picChg chg="add mod">
          <ac:chgData name="Raymond Wang" userId="ce9510f2-0ff1-43b1-8c85-3569a959adbb" providerId="ADAL" clId="{18BC9A1F-8AC7-2D41-AF75-9A68AEFDC1EE}" dt="2024-04-17T17:58:00.573" v="5168" actId="1076"/>
          <ac:picMkLst>
            <pc:docMk/>
            <pc:sldMk cId="1859369567" sldId="343"/>
            <ac:picMk id="14" creationId="{9B56C1BC-83CC-86F0-DF22-1089682BB988}"/>
          </ac:picMkLst>
        </pc:picChg>
        <pc:picChg chg="add mod">
          <ac:chgData name="Raymond Wang" userId="ce9510f2-0ff1-43b1-8c85-3569a959adbb" providerId="ADAL" clId="{18BC9A1F-8AC7-2D41-AF75-9A68AEFDC1EE}" dt="2024-04-17T17:58:00.573" v="5168" actId="1076"/>
          <ac:picMkLst>
            <pc:docMk/>
            <pc:sldMk cId="1859369567" sldId="343"/>
            <ac:picMk id="19" creationId="{D717FD27-9EE9-1F54-724E-DB1B9A2A05E5}"/>
          </ac:picMkLst>
        </pc:picChg>
        <pc:picChg chg="del">
          <ac:chgData name="Raymond Wang" userId="ce9510f2-0ff1-43b1-8c85-3569a959adbb" providerId="ADAL" clId="{18BC9A1F-8AC7-2D41-AF75-9A68AEFDC1EE}" dt="2024-04-17T17:56:31.279" v="5012" actId="478"/>
          <ac:picMkLst>
            <pc:docMk/>
            <pc:sldMk cId="1859369567" sldId="343"/>
            <ac:picMk id="21" creationId="{28204212-7546-5F25-57D4-55A67F56CFE4}"/>
          </ac:picMkLst>
        </pc:picChg>
        <pc:picChg chg="del">
          <ac:chgData name="Raymond Wang" userId="ce9510f2-0ff1-43b1-8c85-3569a959adbb" providerId="ADAL" clId="{18BC9A1F-8AC7-2D41-AF75-9A68AEFDC1EE}" dt="2024-04-17T17:56:31.279" v="5012" actId="478"/>
          <ac:picMkLst>
            <pc:docMk/>
            <pc:sldMk cId="1859369567" sldId="343"/>
            <ac:picMk id="26" creationId="{C26BEC59-9006-8B44-B119-626169671864}"/>
          </ac:picMkLst>
        </pc:picChg>
      </pc:sldChg>
      <pc:sldChg chg="delSp modSp add mod">
        <pc:chgData name="Raymond Wang" userId="ce9510f2-0ff1-43b1-8c85-3569a959adbb" providerId="ADAL" clId="{18BC9A1F-8AC7-2D41-AF75-9A68AEFDC1EE}" dt="2024-04-17T19:34:55.717" v="6221" actId="478"/>
        <pc:sldMkLst>
          <pc:docMk/>
          <pc:sldMk cId="4024851239" sldId="343"/>
        </pc:sldMkLst>
        <pc:spChg chg="del">
          <ac:chgData name="Raymond Wang" userId="ce9510f2-0ff1-43b1-8c85-3569a959adbb" providerId="ADAL" clId="{18BC9A1F-8AC7-2D41-AF75-9A68AEFDC1EE}" dt="2024-04-17T19:34:55.717" v="6221" actId="478"/>
          <ac:spMkLst>
            <pc:docMk/>
            <pc:sldMk cId="4024851239" sldId="343"/>
            <ac:spMk id="3" creationId="{E8FCF72E-6EDC-0A48-7F80-3309048F1579}"/>
          </ac:spMkLst>
        </pc:spChg>
        <pc:spChg chg="mod">
          <ac:chgData name="Raymond Wang" userId="ce9510f2-0ff1-43b1-8c85-3569a959adbb" providerId="ADAL" clId="{18BC9A1F-8AC7-2D41-AF75-9A68AEFDC1EE}" dt="2024-04-17T19:34:23.936" v="6110" actId="20577"/>
          <ac:spMkLst>
            <pc:docMk/>
            <pc:sldMk cId="4024851239" sldId="343"/>
            <ac:spMk id="4" creationId="{4D8CBD2C-D861-BDBC-BC11-54DF44EAB4ED}"/>
          </ac:spMkLst>
        </pc:spChg>
        <pc:spChg chg="mod">
          <ac:chgData name="Raymond Wang" userId="ce9510f2-0ff1-43b1-8c85-3569a959adbb" providerId="ADAL" clId="{18BC9A1F-8AC7-2D41-AF75-9A68AEFDC1EE}" dt="2024-04-17T19:34:51.015" v="6220" actId="20577"/>
          <ac:spMkLst>
            <pc:docMk/>
            <pc:sldMk cId="4024851239" sldId="343"/>
            <ac:spMk id="9" creationId="{796AE6FD-F773-C1A2-37BA-DC321CC33E78}"/>
          </ac:spMkLst>
        </pc:spChg>
        <pc:spChg chg="del">
          <ac:chgData name="Raymond Wang" userId="ce9510f2-0ff1-43b1-8c85-3569a959adbb" providerId="ADAL" clId="{18BC9A1F-8AC7-2D41-AF75-9A68AEFDC1EE}" dt="2024-04-17T19:34:55.717" v="6221" actId="478"/>
          <ac:spMkLst>
            <pc:docMk/>
            <pc:sldMk cId="4024851239" sldId="343"/>
            <ac:spMk id="17" creationId="{8A2861A9-272D-9B63-482D-FB1B79BD27DD}"/>
          </ac:spMkLst>
        </pc:spChg>
        <pc:spChg chg="del">
          <ac:chgData name="Raymond Wang" userId="ce9510f2-0ff1-43b1-8c85-3569a959adbb" providerId="ADAL" clId="{18BC9A1F-8AC7-2D41-AF75-9A68AEFDC1EE}" dt="2024-04-17T19:34:55.717" v="6221" actId="478"/>
          <ac:spMkLst>
            <pc:docMk/>
            <pc:sldMk cId="4024851239" sldId="343"/>
            <ac:spMk id="18" creationId="{122F53CC-86C8-6881-1206-1472CEE33AA4}"/>
          </ac:spMkLst>
        </pc:spChg>
        <pc:spChg chg="del">
          <ac:chgData name="Raymond Wang" userId="ce9510f2-0ff1-43b1-8c85-3569a959adbb" providerId="ADAL" clId="{18BC9A1F-8AC7-2D41-AF75-9A68AEFDC1EE}" dt="2024-04-17T19:34:55.717" v="6221" actId="478"/>
          <ac:spMkLst>
            <pc:docMk/>
            <pc:sldMk cId="4024851239" sldId="343"/>
            <ac:spMk id="34" creationId="{730A310A-D0CE-96CE-9C0E-64D456D2887B}"/>
          </ac:spMkLst>
        </pc:spChg>
        <pc:spChg chg="del">
          <ac:chgData name="Raymond Wang" userId="ce9510f2-0ff1-43b1-8c85-3569a959adbb" providerId="ADAL" clId="{18BC9A1F-8AC7-2D41-AF75-9A68AEFDC1EE}" dt="2024-04-17T19:34:55.717" v="6221" actId="478"/>
          <ac:spMkLst>
            <pc:docMk/>
            <pc:sldMk cId="4024851239" sldId="343"/>
            <ac:spMk id="35" creationId="{73E5F735-5A3B-109C-7A30-6DAC24102950}"/>
          </ac:spMkLst>
        </pc:spChg>
        <pc:spChg chg="del">
          <ac:chgData name="Raymond Wang" userId="ce9510f2-0ff1-43b1-8c85-3569a959adbb" providerId="ADAL" clId="{18BC9A1F-8AC7-2D41-AF75-9A68AEFDC1EE}" dt="2024-04-17T19:34:55.717" v="6221" actId="478"/>
          <ac:spMkLst>
            <pc:docMk/>
            <pc:sldMk cId="4024851239" sldId="343"/>
            <ac:spMk id="37" creationId="{7EB90D71-A9BE-9749-BDAF-E3998BC59E6E}"/>
          </ac:spMkLst>
        </pc:spChg>
        <pc:spChg chg="del">
          <ac:chgData name="Raymond Wang" userId="ce9510f2-0ff1-43b1-8c85-3569a959adbb" providerId="ADAL" clId="{18BC9A1F-8AC7-2D41-AF75-9A68AEFDC1EE}" dt="2024-04-17T19:34:55.717" v="6221" actId="478"/>
          <ac:spMkLst>
            <pc:docMk/>
            <pc:sldMk cId="4024851239" sldId="343"/>
            <ac:spMk id="38" creationId="{F70C0DBC-9069-EE9B-6BD9-DE1C8F575B16}"/>
          </ac:spMkLst>
        </pc:spChg>
        <pc:picChg chg="del">
          <ac:chgData name="Raymond Wang" userId="ce9510f2-0ff1-43b1-8c85-3569a959adbb" providerId="ADAL" clId="{18BC9A1F-8AC7-2D41-AF75-9A68AEFDC1EE}" dt="2024-04-17T19:34:55.717" v="6221" actId="478"/>
          <ac:picMkLst>
            <pc:docMk/>
            <pc:sldMk cId="4024851239" sldId="343"/>
            <ac:picMk id="15" creationId="{0306317F-B60A-2DB4-9140-8F51677C7FFA}"/>
          </ac:picMkLst>
        </pc:picChg>
        <pc:picChg chg="del">
          <ac:chgData name="Raymond Wang" userId="ce9510f2-0ff1-43b1-8c85-3569a959adbb" providerId="ADAL" clId="{18BC9A1F-8AC7-2D41-AF75-9A68AEFDC1EE}" dt="2024-04-17T19:34:55.717" v="6221" actId="478"/>
          <ac:picMkLst>
            <pc:docMk/>
            <pc:sldMk cId="4024851239" sldId="343"/>
            <ac:picMk id="21" creationId="{28204212-7546-5F25-57D4-55A67F56CFE4}"/>
          </ac:picMkLst>
        </pc:picChg>
        <pc:picChg chg="del">
          <ac:chgData name="Raymond Wang" userId="ce9510f2-0ff1-43b1-8c85-3569a959adbb" providerId="ADAL" clId="{18BC9A1F-8AC7-2D41-AF75-9A68AEFDC1EE}" dt="2024-04-17T19:34:55.717" v="6221" actId="478"/>
          <ac:picMkLst>
            <pc:docMk/>
            <pc:sldMk cId="4024851239" sldId="343"/>
            <ac:picMk id="26" creationId="{C26BEC59-9006-8B44-B119-626169671864}"/>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Sam-l\Downloads\aaa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am-l\Downloads\aaa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am-l\data\cities.csv"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am-l\data\cities.csv"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am-l\Downloads\Good_Copy_Working_Fil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Sam-l\Downloads\Good_Copy_Working_Fil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Sam-l\data\city_regression_data.csv"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Sam-l\data\city_regression_data.csv"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1" Type="http://schemas.openxmlformats.org/officeDocument/2006/relationships/oleObject" Target="file:///C:\Users\Sam-l\data\city_regression_data.csv"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CA">
                <a:latin typeface="Helvetica Neue" panose="020B0604020202020204" charset="0"/>
              </a:rPr>
              <a:t>Starbucks stores by Zip Code GD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Q$1</c:f>
              <c:strCache>
                <c:ptCount val="1"/>
                <c:pt idx="0">
                  <c:v>Starbucks stores</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1!$N$2:$N$29153</c:f>
              <c:numCache>
                <c:formatCode>0</c:formatCode>
                <c:ptCount val="29152"/>
                <c:pt idx="0">
                  <c:v>6762056</c:v>
                </c:pt>
                <c:pt idx="1">
                  <c:v>14716311</c:v>
                </c:pt>
                <c:pt idx="2">
                  <c:v>2727216</c:v>
                </c:pt>
                <c:pt idx="3">
                  <c:v>5118448</c:v>
                </c:pt>
                <c:pt idx="4">
                  <c:v>11209224</c:v>
                </c:pt>
                <c:pt idx="5">
                  <c:v>4813710</c:v>
                </c:pt>
                <c:pt idx="6">
                  <c:v>1876590</c:v>
                </c:pt>
                <c:pt idx="7">
                  <c:v>1013404</c:v>
                </c:pt>
                <c:pt idx="8">
                  <c:v>9236640</c:v>
                </c:pt>
                <c:pt idx="9">
                  <c:v>2700490</c:v>
                </c:pt>
                <c:pt idx="10">
                  <c:v>7414246</c:v>
                </c:pt>
                <c:pt idx="11">
                  <c:v>6431260</c:v>
                </c:pt>
                <c:pt idx="12">
                  <c:v>1915100</c:v>
                </c:pt>
                <c:pt idx="13">
                  <c:v>4862480</c:v>
                </c:pt>
                <c:pt idx="14">
                  <c:v>1511808</c:v>
                </c:pt>
                <c:pt idx="15">
                  <c:v>2623608</c:v>
                </c:pt>
                <c:pt idx="16">
                  <c:v>1357312</c:v>
                </c:pt>
                <c:pt idx="17">
                  <c:v>5931761</c:v>
                </c:pt>
                <c:pt idx="18">
                  <c:v>105068796</c:v>
                </c:pt>
                <c:pt idx="19">
                  <c:v>357169524</c:v>
                </c:pt>
                <c:pt idx="20">
                  <c:v>561523090</c:v>
                </c:pt>
                <c:pt idx="21">
                  <c:v>43760448</c:v>
                </c:pt>
                <c:pt idx="22">
                  <c:v>264044370</c:v>
                </c:pt>
                <c:pt idx="23">
                  <c:v>15661066</c:v>
                </c:pt>
                <c:pt idx="24">
                  <c:v>687280887</c:v>
                </c:pt>
                <c:pt idx="25">
                  <c:v>85378074</c:v>
                </c:pt>
                <c:pt idx="26">
                  <c:v>232558980</c:v>
                </c:pt>
                <c:pt idx="27">
                  <c:v>82886291</c:v>
                </c:pt>
                <c:pt idx="28">
                  <c:v>407108327</c:v>
                </c:pt>
                <c:pt idx="29">
                  <c:v>195719964</c:v>
                </c:pt>
                <c:pt idx="30">
                  <c:v>326380671</c:v>
                </c:pt>
                <c:pt idx="31">
                  <c:v>8020188</c:v>
                </c:pt>
                <c:pt idx="32">
                  <c:v>190893255</c:v>
                </c:pt>
                <c:pt idx="33">
                  <c:v>154196016</c:v>
                </c:pt>
                <c:pt idx="34">
                  <c:v>194074104</c:v>
                </c:pt>
                <c:pt idx="35">
                  <c:v>585296694</c:v>
                </c:pt>
                <c:pt idx="36">
                  <c:v>38896495</c:v>
                </c:pt>
                <c:pt idx="37">
                  <c:v>129956400</c:v>
                </c:pt>
                <c:pt idx="38">
                  <c:v>38372500</c:v>
                </c:pt>
                <c:pt idx="39">
                  <c:v>62074026</c:v>
                </c:pt>
                <c:pt idx="40">
                  <c:v>160864587</c:v>
                </c:pt>
                <c:pt idx="41">
                  <c:v>424830100</c:v>
                </c:pt>
                <c:pt idx="42">
                  <c:v>192664500</c:v>
                </c:pt>
                <c:pt idx="43">
                  <c:v>362932728</c:v>
                </c:pt>
                <c:pt idx="44">
                  <c:v>105548800</c:v>
                </c:pt>
                <c:pt idx="45">
                  <c:v>171186690</c:v>
                </c:pt>
                <c:pt idx="46">
                  <c:v>222527075</c:v>
                </c:pt>
                <c:pt idx="47">
                  <c:v>57057819</c:v>
                </c:pt>
                <c:pt idx="48">
                  <c:v>425819315</c:v>
                </c:pt>
                <c:pt idx="49">
                  <c:v>394322256</c:v>
                </c:pt>
                <c:pt idx="50">
                  <c:v>200938521</c:v>
                </c:pt>
                <c:pt idx="51">
                  <c:v>216745155</c:v>
                </c:pt>
                <c:pt idx="52">
                  <c:v>445467724</c:v>
                </c:pt>
                <c:pt idx="53">
                  <c:v>381967380</c:v>
                </c:pt>
                <c:pt idx="54">
                  <c:v>264015346</c:v>
                </c:pt>
                <c:pt idx="55">
                  <c:v>369282288</c:v>
                </c:pt>
                <c:pt idx="56">
                  <c:v>278788212</c:v>
                </c:pt>
                <c:pt idx="57">
                  <c:v>104313230</c:v>
                </c:pt>
                <c:pt idx="58">
                  <c:v>63173682</c:v>
                </c:pt>
                <c:pt idx="59">
                  <c:v>455388464</c:v>
                </c:pt>
                <c:pt idx="60">
                  <c:v>637383222</c:v>
                </c:pt>
                <c:pt idx="61">
                  <c:v>291489469</c:v>
                </c:pt>
                <c:pt idx="62">
                  <c:v>288691875</c:v>
                </c:pt>
                <c:pt idx="63">
                  <c:v>63407162</c:v>
                </c:pt>
                <c:pt idx="64">
                  <c:v>268235236</c:v>
                </c:pt>
                <c:pt idx="65">
                  <c:v>97809110</c:v>
                </c:pt>
                <c:pt idx="66">
                  <c:v>151050231</c:v>
                </c:pt>
                <c:pt idx="67">
                  <c:v>14843331</c:v>
                </c:pt>
                <c:pt idx="68">
                  <c:v>401223125</c:v>
                </c:pt>
                <c:pt idx="69">
                  <c:v>152067664</c:v>
                </c:pt>
                <c:pt idx="70">
                  <c:v>193466350</c:v>
                </c:pt>
                <c:pt idx="71">
                  <c:v>245807464</c:v>
                </c:pt>
                <c:pt idx="72">
                  <c:v>153340455</c:v>
                </c:pt>
                <c:pt idx="73">
                  <c:v>150379212</c:v>
                </c:pt>
                <c:pt idx="74">
                  <c:v>1139532048</c:v>
                </c:pt>
                <c:pt idx="75">
                  <c:v>917321137</c:v>
                </c:pt>
                <c:pt idx="76">
                  <c:v>397101437</c:v>
                </c:pt>
                <c:pt idx="77">
                  <c:v>653556660</c:v>
                </c:pt>
                <c:pt idx="78">
                  <c:v>347055406</c:v>
                </c:pt>
                <c:pt idx="79">
                  <c:v>105302142</c:v>
                </c:pt>
                <c:pt idx="80">
                  <c:v>138420596</c:v>
                </c:pt>
                <c:pt idx="81">
                  <c:v>603780000</c:v>
                </c:pt>
                <c:pt idx="82">
                  <c:v>376639480</c:v>
                </c:pt>
                <c:pt idx="83">
                  <c:v>388228016</c:v>
                </c:pt>
                <c:pt idx="84">
                  <c:v>11946940</c:v>
                </c:pt>
                <c:pt idx="85">
                  <c:v>40802380</c:v>
                </c:pt>
                <c:pt idx="86">
                  <c:v>525402341</c:v>
                </c:pt>
                <c:pt idx="87">
                  <c:v>192015474</c:v>
                </c:pt>
                <c:pt idx="88">
                  <c:v>354635712</c:v>
                </c:pt>
                <c:pt idx="89">
                  <c:v>218877561</c:v>
                </c:pt>
                <c:pt idx="90">
                  <c:v>50478362</c:v>
                </c:pt>
                <c:pt idx="91">
                  <c:v>263910833</c:v>
                </c:pt>
                <c:pt idx="92">
                  <c:v>299782549</c:v>
                </c:pt>
                <c:pt idx="93">
                  <c:v>363559500</c:v>
                </c:pt>
                <c:pt idx="94">
                  <c:v>403991704</c:v>
                </c:pt>
                <c:pt idx="95">
                  <c:v>151932200</c:v>
                </c:pt>
                <c:pt idx="96">
                  <c:v>205185283</c:v>
                </c:pt>
                <c:pt idx="97">
                  <c:v>16909620</c:v>
                </c:pt>
                <c:pt idx="98">
                  <c:v>414993512</c:v>
                </c:pt>
                <c:pt idx="99">
                  <c:v>831453504</c:v>
                </c:pt>
                <c:pt idx="100">
                  <c:v>165110766</c:v>
                </c:pt>
                <c:pt idx="101">
                  <c:v>111521070</c:v>
                </c:pt>
                <c:pt idx="102">
                  <c:v>279861325</c:v>
                </c:pt>
                <c:pt idx="103">
                  <c:v>371157564</c:v>
                </c:pt>
                <c:pt idx="104">
                  <c:v>582927840</c:v>
                </c:pt>
                <c:pt idx="105">
                  <c:v>244389421</c:v>
                </c:pt>
                <c:pt idx="106">
                  <c:v>408997724</c:v>
                </c:pt>
                <c:pt idx="107">
                  <c:v>237732040</c:v>
                </c:pt>
                <c:pt idx="108">
                  <c:v>9124115</c:v>
                </c:pt>
                <c:pt idx="109">
                  <c:v>660727854</c:v>
                </c:pt>
                <c:pt idx="110">
                  <c:v>80109181</c:v>
                </c:pt>
                <c:pt idx="111">
                  <c:v>239142616</c:v>
                </c:pt>
                <c:pt idx="112">
                  <c:v>128347245</c:v>
                </c:pt>
                <c:pt idx="113">
                  <c:v>84128960</c:v>
                </c:pt>
                <c:pt idx="114">
                  <c:v>219228156</c:v>
                </c:pt>
                <c:pt idx="115">
                  <c:v>233911800</c:v>
                </c:pt>
                <c:pt idx="116">
                  <c:v>403365885</c:v>
                </c:pt>
                <c:pt idx="117">
                  <c:v>263578629</c:v>
                </c:pt>
                <c:pt idx="118">
                  <c:v>426454336</c:v>
                </c:pt>
                <c:pt idx="119">
                  <c:v>274638438</c:v>
                </c:pt>
                <c:pt idx="120">
                  <c:v>598678640</c:v>
                </c:pt>
                <c:pt idx="121">
                  <c:v>70798104</c:v>
                </c:pt>
                <c:pt idx="122">
                  <c:v>2130101760</c:v>
                </c:pt>
                <c:pt idx="123">
                  <c:v>380859696</c:v>
                </c:pt>
                <c:pt idx="124">
                  <c:v>1002756062</c:v>
                </c:pt>
                <c:pt idx="125">
                  <c:v>3346242</c:v>
                </c:pt>
                <c:pt idx="126">
                  <c:v>67608338</c:v>
                </c:pt>
                <c:pt idx="127">
                  <c:v>901194180</c:v>
                </c:pt>
                <c:pt idx="128">
                  <c:v>840046888</c:v>
                </c:pt>
                <c:pt idx="129">
                  <c:v>515981934</c:v>
                </c:pt>
                <c:pt idx="130">
                  <c:v>715826332</c:v>
                </c:pt>
                <c:pt idx="131">
                  <c:v>550010736</c:v>
                </c:pt>
                <c:pt idx="132">
                  <c:v>199852037</c:v>
                </c:pt>
                <c:pt idx="133">
                  <c:v>41169728</c:v>
                </c:pt>
                <c:pt idx="134">
                  <c:v>480990312</c:v>
                </c:pt>
                <c:pt idx="135">
                  <c:v>143008200</c:v>
                </c:pt>
                <c:pt idx="136">
                  <c:v>1194716343</c:v>
                </c:pt>
                <c:pt idx="137">
                  <c:v>366909408</c:v>
                </c:pt>
                <c:pt idx="138">
                  <c:v>1019014155</c:v>
                </c:pt>
                <c:pt idx="139">
                  <c:v>498656128</c:v>
                </c:pt>
                <c:pt idx="140">
                  <c:v>184131900</c:v>
                </c:pt>
                <c:pt idx="141">
                  <c:v>490616024</c:v>
                </c:pt>
                <c:pt idx="142">
                  <c:v>445306635</c:v>
                </c:pt>
                <c:pt idx="143">
                  <c:v>934605126</c:v>
                </c:pt>
                <c:pt idx="144">
                  <c:v>640547493</c:v>
                </c:pt>
                <c:pt idx="145">
                  <c:v>1040297210</c:v>
                </c:pt>
                <c:pt idx="146">
                  <c:v>186903735</c:v>
                </c:pt>
                <c:pt idx="147">
                  <c:v>671425658</c:v>
                </c:pt>
                <c:pt idx="148">
                  <c:v>50299942</c:v>
                </c:pt>
                <c:pt idx="149">
                  <c:v>28016955</c:v>
                </c:pt>
                <c:pt idx="150">
                  <c:v>169198722</c:v>
                </c:pt>
                <c:pt idx="151">
                  <c:v>39979440</c:v>
                </c:pt>
                <c:pt idx="152">
                  <c:v>17961375</c:v>
                </c:pt>
                <c:pt idx="153">
                  <c:v>651046875</c:v>
                </c:pt>
                <c:pt idx="154">
                  <c:v>993154400</c:v>
                </c:pt>
                <c:pt idx="155">
                  <c:v>66493228</c:v>
                </c:pt>
                <c:pt idx="156">
                  <c:v>40929008</c:v>
                </c:pt>
                <c:pt idx="157">
                  <c:v>732684798</c:v>
                </c:pt>
                <c:pt idx="158">
                  <c:v>745440113</c:v>
                </c:pt>
                <c:pt idx="159">
                  <c:v>94070919</c:v>
                </c:pt>
                <c:pt idx="160">
                  <c:v>20710836</c:v>
                </c:pt>
                <c:pt idx="161">
                  <c:v>566973814</c:v>
                </c:pt>
                <c:pt idx="162">
                  <c:v>47098112</c:v>
                </c:pt>
                <c:pt idx="163">
                  <c:v>17622198</c:v>
                </c:pt>
                <c:pt idx="164">
                  <c:v>300981450</c:v>
                </c:pt>
                <c:pt idx="165">
                  <c:v>90932310</c:v>
                </c:pt>
                <c:pt idx="166">
                  <c:v>269555860</c:v>
                </c:pt>
                <c:pt idx="167">
                  <c:v>222727680</c:v>
                </c:pt>
                <c:pt idx="168">
                  <c:v>26624686</c:v>
                </c:pt>
                <c:pt idx="169">
                  <c:v>115876189</c:v>
                </c:pt>
                <c:pt idx="170">
                  <c:v>92017565</c:v>
                </c:pt>
                <c:pt idx="171">
                  <c:v>962401552</c:v>
                </c:pt>
                <c:pt idx="172">
                  <c:v>93027088</c:v>
                </c:pt>
                <c:pt idx="173">
                  <c:v>56861032</c:v>
                </c:pt>
                <c:pt idx="174">
                  <c:v>97028568</c:v>
                </c:pt>
                <c:pt idx="175">
                  <c:v>791453728</c:v>
                </c:pt>
                <c:pt idx="176">
                  <c:v>341063010</c:v>
                </c:pt>
                <c:pt idx="177">
                  <c:v>721948540</c:v>
                </c:pt>
                <c:pt idx="178">
                  <c:v>433235066</c:v>
                </c:pt>
                <c:pt idx="179">
                  <c:v>63163125</c:v>
                </c:pt>
                <c:pt idx="180">
                  <c:v>315574188</c:v>
                </c:pt>
                <c:pt idx="181">
                  <c:v>25967184</c:v>
                </c:pt>
                <c:pt idx="182">
                  <c:v>52034654</c:v>
                </c:pt>
                <c:pt idx="183">
                  <c:v>58225272</c:v>
                </c:pt>
                <c:pt idx="184">
                  <c:v>294828738</c:v>
                </c:pt>
                <c:pt idx="185">
                  <c:v>812917024</c:v>
                </c:pt>
                <c:pt idx="186">
                  <c:v>412063488</c:v>
                </c:pt>
                <c:pt idx="187">
                  <c:v>71597315</c:v>
                </c:pt>
                <c:pt idx="188">
                  <c:v>73264548</c:v>
                </c:pt>
                <c:pt idx="189">
                  <c:v>339961878</c:v>
                </c:pt>
                <c:pt idx="190">
                  <c:v>79231220</c:v>
                </c:pt>
                <c:pt idx="191">
                  <c:v>3462404</c:v>
                </c:pt>
                <c:pt idx="192">
                  <c:v>1524136808</c:v>
                </c:pt>
                <c:pt idx="193">
                  <c:v>23077740</c:v>
                </c:pt>
                <c:pt idx="194">
                  <c:v>1105234796</c:v>
                </c:pt>
                <c:pt idx="195">
                  <c:v>49646240</c:v>
                </c:pt>
                <c:pt idx="196">
                  <c:v>8581580</c:v>
                </c:pt>
                <c:pt idx="197">
                  <c:v>790172373</c:v>
                </c:pt>
                <c:pt idx="198">
                  <c:v>116461466</c:v>
                </c:pt>
                <c:pt idx="199">
                  <c:v>52047030</c:v>
                </c:pt>
                <c:pt idx="200">
                  <c:v>64887066</c:v>
                </c:pt>
                <c:pt idx="201">
                  <c:v>517047616</c:v>
                </c:pt>
                <c:pt idx="202">
                  <c:v>3803172</c:v>
                </c:pt>
                <c:pt idx="203">
                  <c:v>193106158</c:v>
                </c:pt>
                <c:pt idx="204">
                  <c:v>1027777035</c:v>
                </c:pt>
                <c:pt idx="205">
                  <c:v>211551810</c:v>
                </c:pt>
                <c:pt idx="206">
                  <c:v>607663287</c:v>
                </c:pt>
                <c:pt idx="207">
                  <c:v>509398022</c:v>
                </c:pt>
                <c:pt idx="208">
                  <c:v>511498130</c:v>
                </c:pt>
                <c:pt idx="209">
                  <c:v>341163360</c:v>
                </c:pt>
                <c:pt idx="210">
                  <c:v>111207584</c:v>
                </c:pt>
                <c:pt idx="211">
                  <c:v>218254638</c:v>
                </c:pt>
                <c:pt idx="212">
                  <c:v>211511728</c:v>
                </c:pt>
                <c:pt idx="213">
                  <c:v>1616191808</c:v>
                </c:pt>
                <c:pt idx="214">
                  <c:v>267500688</c:v>
                </c:pt>
                <c:pt idx="215">
                  <c:v>18342016</c:v>
                </c:pt>
                <c:pt idx="216">
                  <c:v>23397440</c:v>
                </c:pt>
                <c:pt idx="217">
                  <c:v>112512331</c:v>
                </c:pt>
                <c:pt idx="218">
                  <c:v>124584549</c:v>
                </c:pt>
                <c:pt idx="219">
                  <c:v>280211544</c:v>
                </c:pt>
                <c:pt idx="220">
                  <c:v>372085714</c:v>
                </c:pt>
                <c:pt idx="221">
                  <c:v>88242720</c:v>
                </c:pt>
                <c:pt idx="222">
                  <c:v>84078720</c:v>
                </c:pt>
                <c:pt idx="223">
                  <c:v>90465801</c:v>
                </c:pt>
                <c:pt idx="224">
                  <c:v>218734728</c:v>
                </c:pt>
                <c:pt idx="225">
                  <c:v>234604812</c:v>
                </c:pt>
                <c:pt idx="226">
                  <c:v>6449440</c:v>
                </c:pt>
                <c:pt idx="227">
                  <c:v>4843504</c:v>
                </c:pt>
                <c:pt idx="228">
                  <c:v>54909625</c:v>
                </c:pt>
                <c:pt idx="229">
                  <c:v>479603960</c:v>
                </c:pt>
                <c:pt idx="230">
                  <c:v>47534718</c:v>
                </c:pt>
                <c:pt idx="231">
                  <c:v>61015680</c:v>
                </c:pt>
                <c:pt idx="232">
                  <c:v>31818039</c:v>
                </c:pt>
                <c:pt idx="233">
                  <c:v>22726440</c:v>
                </c:pt>
                <c:pt idx="234">
                  <c:v>166439952</c:v>
                </c:pt>
                <c:pt idx="235">
                  <c:v>7618919</c:v>
                </c:pt>
                <c:pt idx="236">
                  <c:v>35883588</c:v>
                </c:pt>
                <c:pt idx="237">
                  <c:v>71779040</c:v>
                </c:pt>
                <c:pt idx="238">
                  <c:v>12220400</c:v>
                </c:pt>
                <c:pt idx="239">
                  <c:v>56235917</c:v>
                </c:pt>
                <c:pt idx="240">
                  <c:v>291999015</c:v>
                </c:pt>
                <c:pt idx="241">
                  <c:v>50276172</c:v>
                </c:pt>
                <c:pt idx="242">
                  <c:v>557984700</c:v>
                </c:pt>
                <c:pt idx="243">
                  <c:v>66628672</c:v>
                </c:pt>
                <c:pt idx="244">
                  <c:v>406695350</c:v>
                </c:pt>
                <c:pt idx="245">
                  <c:v>55984203</c:v>
                </c:pt>
                <c:pt idx="246">
                  <c:v>62457702</c:v>
                </c:pt>
                <c:pt idx="247">
                  <c:v>95842430</c:v>
                </c:pt>
                <c:pt idx="248">
                  <c:v>34172061</c:v>
                </c:pt>
                <c:pt idx="249">
                  <c:v>4623000</c:v>
                </c:pt>
                <c:pt idx="250">
                  <c:v>55476303</c:v>
                </c:pt>
                <c:pt idx="251">
                  <c:v>20192220</c:v>
                </c:pt>
                <c:pt idx="252">
                  <c:v>23417124</c:v>
                </c:pt>
                <c:pt idx="253">
                  <c:v>4045392</c:v>
                </c:pt>
                <c:pt idx="254">
                  <c:v>96003972</c:v>
                </c:pt>
                <c:pt idx="255">
                  <c:v>58939412</c:v>
                </c:pt>
                <c:pt idx="256">
                  <c:v>37998478</c:v>
                </c:pt>
                <c:pt idx="257">
                  <c:v>120106408</c:v>
                </c:pt>
                <c:pt idx="258">
                  <c:v>209896059</c:v>
                </c:pt>
                <c:pt idx="259">
                  <c:v>44334400</c:v>
                </c:pt>
                <c:pt idx="260">
                  <c:v>15201556</c:v>
                </c:pt>
                <c:pt idx="261">
                  <c:v>10191429</c:v>
                </c:pt>
                <c:pt idx="262">
                  <c:v>53390798</c:v>
                </c:pt>
                <c:pt idx="263">
                  <c:v>139983690</c:v>
                </c:pt>
                <c:pt idx="264">
                  <c:v>272617155</c:v>
                </c:pt>
                <c:pt idx="265">
                  <c:v>124092010</c:v>
                </c:pt>
                <c:pt idx="266">
                  <c:v>152524952</c:v>
                </c:pt>
                <c:pt idx="267">
                  <c:v>29530787</c:v>
                </c:pt>
                <c:pt idx="268">
                  <c:v>26777442</c:v>
                </c:pt>
                <c:pt idx="269">
                  <c:v>1236998415</c:v>
                </c:pt>
                <c:pt idx="270">
                  <c:v>267971842</c:v>
                </c:pt>
                <c:pt idx="271">
                  <c:v>149520754</c:v>
                </c:pt>
                <c:pt idx="272">
                  <c:v>413444160</c:v>
                </c:pt>
                <c:pt idx="273">
                  <c:v>50790600</c:v>
                </c:pt>
                <c:pt idx="274">
                  <c:v>147448294</c:v>
                </c:pt>
                <c:pt idx="275">
                  <c:v>637375032</c:v>
                </c:pt>
                <c:pt idx="276">
                  <c:v>728076720</c:v>
                </c:pt>
                <c:pt idx="277">
                  <c:v>365118528</c:v>
                </c:pt>
                <c:pt idx="278">
                  <c:v>176291830</c:v>
                </c:pt>
                <c:pt idx="279">
                  <c:v>1718356024</c:v>
                </c:pt>
                <c:pt idx="280">
                  <c:v>590942592</c:v>
                </c:pt>
                <c:pt idx="281">
                  <c:v>520379046</c:v>
                </c:pt>
                <c:pt idx="282">
                  <c:v>565298830</c:v>
                </c:pt>
                <c:pt idx="283">
                  <c:v>297078670</c:v>
                </c:pt>
                <c:pt idx="284">
                  <c:v>185019918</c:v>
                </c:pt>
                <c:pt idx="285">
                  <c:v>332605697</c:v>
                </c:pt>
                <c:pt idx="286">
                  <c:v>384027854</c:v>
                </c:pt>
                <c:pt idx="287">
                  <c:v>79851720</c:v>
                </c:pt>
                <c:pt idx="288">
                  <c:v>353101842</c:v>
                </c:pt>
                <c:pt idx="289">
                  <c:v>727417152</c:v>
                </c:pt>
                <c:pt idx="290">
                  <c:v>180404088</c:v>
                </c:pt>
                <c:pt idx="291">
                  <c:v>398615230</c:v>
                </c:pt>
                <c:pt idx="292">
                  <c:v>287009996</c:v>
                </c:pt>
                <c:pt idx="293">
                  <c:v>133175070</c:v>
                </c:pt>
                <c:pt idx="294">
                  <c:v>564203208</c:v>
                </c:pt>
                <c:pt idx="295">
                  <c:v>612314845</c:v>
                </c:pt>
                <c:pt idx="296">
                  <c:v>77596550</c:v>
                </c:pt>
                <c:pt idx="297">
                  <c:v>458647046</c:v>
                </c:pt>
                <c:pt idx="298">
                  <c:v>128273920</c:v>
                </c:pt>
                <c:pt idx="299">
                  <c:v>430027104</c:v>
                </c:pt>
                <c:pt idx="300">
                  <c:v>850755258</c:v>
                </c:pt>
                <c:pt idx="301">
                  <c:v>115508428</c:v>
                </c:pt>
                <c:pt idx="302">
                  <c:v>137874640</c:v>
                </c:pt>
                <c:pt idx="303">
                  <c:v>336542951</c:v>
                </c:pt>
                <c:pt idx="304">
                  <c:v>215471200</c:v>
                </c:pt>
                <c:pt idx="305">
                  <c:v>612563835</c:v>
                </c:pt>
                <c:pt idx="306">
                  <c:v>139575525</c:v>
                </c:pt>
                <c:pt idx="307">
                  <c:v>43296270</c:v>
                </c:pt>
                <c:pt idx="308">
                  <c:v>1151412996</c:v>
                </c:pt>
                <c:pt idx="309">
                  <c:v>295744815</c:v>
                </c:pt>
                <c:pt idx="310">
                  <c:v>179815202</c:v>
                </c:pt>
                <c:pt idx="311">
                  <c:v>333402396</c:v>
                </c:pt>
                <c:pt idx="312">
                  <c:v>65355642</c:v>
                </c:pt>
                <c:pt idx="313">
                  <c:v>449846400</c:v>
                </c:pt>
                <c:pt idx="314">
                  <c:v>215505642</c:v>
                </c:pt>
                <c:pt idx="315">
                  <c:v>109832256</c:v>
                </c:pt>
                <c:pt idx="316">
                  <c:v>413610092</c:v>
                </c:pt>
                <c:pt idx="317">
                  <c:v>2010058176</c:v>
                </c:pt>
                <c:pt idx="318">
                  <c:v>491465226</c:v>
                </c:pt>
                <c:pt idx="319">
                  <c:v>236772372</c:v>
                </c:pt>
                <c:pt idx="320">
                  <c:v>465687242</c:v>
                </c:pt>
                <c:pt idx="321">
                  <c:v>472083808</c:v>
                </c:pt>
                <c:pt idx="322">
                  <c:v>311190300</c:v>
                </c:pt>
                <c:pt idx="323">
                  <c:v>448461717</c:v>
                </c:pt>
                <c:pt idx="324">
                  <c:v>672469826</c:v>
                </c:pt>
                <c:pt idx="325">
                  <c:v>647197716</c:v>
                </c:pt>
                <c:pt idx="326">
                  <c:v>368227106</c:v>
                </c:pt>
                <c:pt idx="327">
                  <c:v>1263194100</c:v>
                </c:pt>
                <c:pt idx="328">
                  <c:v>333308832</c:v>
                </c:pt>
                <c:pt idx="329">
                  <c:v>185100240</c:v>
                </c:pt>
                <c:pt idx="330">
                  <c:v>409747545</c:v>
                </c:pt>
                <c:pt idx="331">
                  <c:v>511015512</c:v>
                </c:pt>
                <c:pt idx="332">
                  <c:v>1002928344</c:v>
                </c:pt>
                <c:pt idx="333">
                  <c:v>537620616</c:v>
                </c:pt>
                <c:pt idx="334">
                  <c:v>1319105193</c:v>
                </c:pt>
                <c:pt idx="335">
                  <c:v>777698018</c:v>
                </c:pt>
                <c:pt idx="336">
                  <c:v>861733026</c:v>
                </c:pt>
                <c:pt idx="337">
                  <c:v>282531568</c:v>
                </c:pt>
                <c:pt idx="338">
                  <c:v>106928320</c:v>
                </c:pt>
                <c:pt idx="339">
                  <c:v>726834192</c:v>
                </c:pt>
                <c:pt idx="340">
                  <c:v>447750732</c:v>
                </c:pt>
                <c:pt idx="341">
                  <c:v>86943537</c:v>
                </c:pt>
                <c:pt idx="342">
                  <c:v>237409176</c:v>
                </c:pt>
                <c:pt idx="343">
                  <c:v>1970911404</c:v>
                </c:pt>
                <c:pt idx="344">
                  <c:v>1490893080</c:v>
                </c:pt>
                <c:pt idx="345">
                  <c:v>41606352</c:v>
                </c:pt>
                <c:pt idx="346">
                  <c:v>373850380</c:v>
                </c:pt>
                <c:pt idx="347">
                  <c:v>1527102372</c:v>
                </c:pt>
                <c:pt idx="348">
                  <c:v>1103331888</c:v>
                </c:pt>
                <c:pt idx="349">
                  <c:v>1058705080</c:v>
                </c:pt>
                <c:pt idx="350">
                  <c:v>368461638</c:v>
                </c:pt>
                <c:pt idx="351">
                  <c:v>475365600</c:v>
                </c:pt>
                <c:pt idx="352">
                  <c:v>1504994322</c:v>
                </c:pt>
                <c:pt idx="353">
                  <c:v>47069735</c:v>
                </c:pt>
                <c:pt idx="354">
                  <c:v>958376708</c:v>
                </c:pt>
                <c:pt idx="355">
                  <c:v>271664776</c:v>
                </c:pt>
                <c:pt idx="356">
                  <c:v>1580992512</c:v>
                </c:pt>
                <c:pt idx="357">
                  <c:v>971359185</c:v>
                </c:pt>
                <c:pt idx="358">
                  <c:v>1844605672</c:v>
                </c:pt>
                <c:pt idx="359">
                  <c:v>587051535</c:v>
                </c:pt>
                <c:pt idx="360">
                  <c:v>319498476</c:v>
                </c:pt>
                <c:pt idx="361">
                  <c:v>1230085395</c:v>
                </c:pt>
                <c:pt idx="362">
                  <c:v>2147483647</c:v>
                </c:pt>
                <c:pt idx="363">
                  <c:v>415219080</c:v>
                </c:pt>
                <c:pt idx="364">
                  <c:v>792874616</c:v>
                </c:pt>
                <c:pt idx="365">
                  <c:v>597004584</c:v>
                </c:pt>
                <c:pt idx="366">
                  <c:v>447102558</c:v>
                </c:pt>
                <c:pt idx="367">
                  <c:v>1619561664</c:v>
                </c:pt>
                <c:pt idx="368">
                  <c:v>1205136124</c:v>
                </c:pt>
                <c:pt idx="369">
                  <c:v>2045167344</c:v>
                </c:pt>
                <c:pt idx="370">
                  <c:v>1557289342</c:v>
                </c:pt>
                <c:pt idx="371">
                  <c:v>2147483647</c:v>
                </c:pt>
                <c:pt idx="372">
                  <c:v>1537350192</c:v>
                </c:pt>
                <c:pt idx="373">
                  <c:v>1479466725</c:v>
                </c:pt>
                <c:pt idx="374">
                  <c:v>1342123900</c:v>
                </c:pt>
                <c:pt idx="375">
                  <c:v>211708368</c:v>
                </c:pt>
                <c:pt idx="376">
                  <c:v>967330931</c:v>
                </c:pt>
                <c:pt idx="377">
                  <c:v>871796205</c:v>
                </c:pt>
                <c:pt idx="378">
                  <c:v>468631345</c:v>
                </c:pt>
                <c:pt idx="379">
                  <c:v>343065744</c:v>
                </c:pt>
                <c:pt idx="380">
                  <c:v>587203474</c:v>
                </c:pt>
                <c:pt idx="381">
                  <c:v>1083923091</c:v>
                </c:pt>
                <c:pt idx="382">
                  <c:v>796646688</c:v>
                </c:pt>
                <c:pt idx="383">
                  <c:v>2028953448</c:v>
                </c:pt>
                <c:pt idx="384">
                  <c:v>1794504528</c:v>
                </c:pt>
                <c:pt idx="385">
                  <c:v>407278256</c:v>
                </c:pt>
                <c:pt idx="386">
                  <c:v>1048514544</c:v>
                </c:pt>
                <c:pt idx="387">
                  <c:v>1206751488</c:v>
                </c:pt>
                <c:pt idx="388">
                  <c:v>804619497</c:v>
                </c:pt>
                <c:pt idx="389">
                  <c:v>286154403</c:v>
                </c:pt>
                <c:pt idx="390">
                  <c:v>465822956</c:v>
                </c:pt>
                <c:pt idx="391">
                  <c:v>449551475</c:v>
                </c:pt>
                <c:pt idx="392">
                  <c:v>1002528488</c:v>
                </c:pt>
                <c:pt idx="393">
                  <c:v>1517121648</c:v>
                </c:pt>
                <c:pt idx="394">
                  <c:v>1543664361</c:v>
                </c:pt>
                <c:pt idx="395">
                  <c:v>620186007</c:v>
                </c:pt>
                <c:pt idx="396">
                  <c:v>1559774865</c:v>
                </c:pt>
                <c:pt idx="397">
                  <c:v>1522345760</c:v>
                </c:pt>
                <c:pt idx="398">
                  <c:v>1290924152</c:v>
                </c:pt>
                <c:pt idx="399">
                  <c:v>2061501424</c:v>
                </c:pt>
                <c:pt idx="400">
                  <c:v>52279290</c:v>
                </c:pt>
                <c:pt idx="401">
                  <c:v>1330376558</c:v>
                </c:pt>
                <c:pt idx="402">
                  <c:v>772684536</c:v>
                </c:pt>
                <c:pt idx="403">
                  <c:v>746933220</c:v>
                </c:pt>
                <c:pt idx="404">
                  <c:v>1201165701</c:v>
                </c:pt>
                <c:pt idx="405">
                  <c:v>956003761</c:v>
                </c:pt>
                <c:pt idx="406">
                  <c:v>245613894</c:v>
                </c:pt>
                <c:pt idx="407">
                  <c:v>827259246</c:v>
                </c:pt>
                <c:pt idx="408">
                  <c:v>2010767255</c:v>
                </c:pt>
                <c:pt idx="409">
                  <c:v>696767155</c:v>
                </c:pt>
                <c:pt idx="410">
                  <c:v>247040976</c:v>
                </c:pt>
                <c:pt idx="411">
                  <c:v>1378799748</c:v>
                </c:pt>
                <c:pt idx="412">
                  <c:v>189642090</c:v>
                </c:pt>
                <c:pt idx="413">
                  <c:v>1387591168</c:v>
                </c:pt>
                <c:pt idx="414">
                  <c:v>920213760</c:v>
                </c:pt>
                <c:pt idx="415">
                  <c:v>874718181</c:v>
                </c:pt>
                <c:pt idx="416">
                  <c:v>450698560</c:v>
                </c:pt>
                <c:pt idx="417">
                  <c:v>1659905075</c:v>
                </c:pt>
                <c:pt idx="418">
                  <c:v>584962896</c:v>
                </c:pt>
                <c:pt idx="419">
                  <c:v>1205603446</c:v>
                </c:pt>
                <c:pt idx="420">
                  <c:v>236778689</c:v>
                </c:pt>
                <c:pt idx="421">
                  <c:v>455061705</c:v>
                </c:pt>
                <c:pt idx="422">
                  <c:v>2147483647</c:v>
                </c:pt>
                <c:pt idx="423">
                  <c:v>78425514</c:v>
                </c:pt>
                <c:pt idx="424">
                  <c:v>378150265</c:v>
                </c:pt>
                <c:pt idx="425">
                  <c:v>374572062</c:v>
                </c:pt>
                <c:pt idx="426">
                  <c:v>1865652892</c:v>
                </c:pt>
                <c:pt idx="427">
                  <c:v>381975500</c:v>
                </c:pt>
                <c:pt idx="428">
                  <c:v>365565030</c:v>
                </c:pt>
                <c:pt idx="429">
                  <c:v>244408247</c:v>
                </c:pt>
                <c:pt idx="430">
                  <c:v>308576041</c:v>
                </c:pt>
                <c:pt idx="431">
                  <c:v>753975000</c:v>
                </c:pt>
                <c:pt idx="432">
                  <c:v>1446741400</c:v>
                </c:pt>
                <c:pt idx="433">
                  <c:v>767045136</c:v>
                </c:pt>
                <c:pt idx="434">
                  <c:v>1446383232</c:v>
                </c:pt>
                <c:pt idx="435">
                  <c:v>771791624</c:v>
                </c:pt>
                <c:pt idx="436">
                  <c:v>272664778</c:v>
                </c:pt>
                <c:pt idx="437">
                  <c:v>1054266382</c:v>
                </c:pt>
                <c:pt idx="438">
                  <c:v>1808405494</c:v>
                </c:pt>
                <c:pt idx="439">
                  <c:v>2147483647</c:v>
                </c:pt>
                <c:pt idx="440">
                  <c:v>635082480</c:v>
                </c:pt>
                <c:pt idx="441">
                  <c:v>12647523</c:v>
                </c:pt>
                <c:pt idx="442">
                  <c:v>1300468813</c:v>
                </c:pt>
                <c:pt idx="443">
                  <c:v>1328977254</c:v>
                </c:pt>
                <c:pt idx="444">
                  <c:v>1124132126</c:v>
                </c:pt>
                <c:pt idx="445">
                  <c:v>864629784</c:v>
                </c:pt>
                <c:pt idx="446">
                  <c:v>440058582</c:v>
                </c:pt>
                <c:pt idx="447">
                  <c:v>573245169</c:v>
                </c:pt>
                <c:pt idx="448">
                  <c:v>732879387</c:v>
                </c:pt>
                <c:pt idx="449">
                  <c:v>1692275310</c:v>
                </c:pt>
                <c:pt idx="450">
                  <c:v>1412571548</c:v>
                </c:pt>
                <c:pt idx="451">
                  <c:v>1300691840</c:v>
                </c:pt>
                <c:pt idx="452">
                  <c:v>74504224</c:v>
                </c:pt>
                <c:pt idx="453">
                  <c:v>1290438387</c:v>
                </c:pt>
                <c:pt idx="454">
                  <c:v>1162726854</c:v>
                </c:pt>
                <c:pt idx="455">
                  <c:v>1210083552</c:v>
                </c:pt>
                <c:pt idx="456">
                  <c:v>746305280</c:v>
                </c:pt>
                <c:pt idx="457">
                  <c:v>532207470</c:v>
                </c:pt>
                <c:pt idx="458">
                  <c:v>406097032</c:v>
                </c:pt>
                <c:pt idx="459">
                  <c:v>402198014</c:v>
                </c:pt>
                <c:pt idx="460">
                  <c:v>525372990</c:v>
                </c:pt>
                <c:pt idx="461">
                  <c:v>563689175</c:v>
                </c:pt>
                <c:pt idx="462">
                  <c:v>1248549588</c:v>
                </c:pt>
                <c:pt idx="463">
                  <c:v>828135085</c:v>
                </c:pt>
                <c:pt idx="464">
                  <c:v>2147483647</c:v>
                </c:pt>
                <c:pt idx="465">
                  <c:v>1967478689</c:v>
                </c:pt>
                <c:pt idx="466">
                  <c:v>704736927</c:v>
                </c:pt>
                <c:pt idx="467">
                  <c:v>337602315</c:v>
                </c:pt>
                <c:pt idx="468">
                  <c:v>756347824</c:v>
                </c:pt>
                <c:pt idx="469">
                  <c:v>896420232</c:v>
                </c:pt>
                <c:pt idx="470">
                  <c:v>1777881465</c:v>
                </c:pt>
                <c:pt idx="471">
                  <c:v>1174194120</c:v>
                </c:pt>
                <c:pt idx="472">
                  <c:v>765999290</c:v>
                </c:pt>
                <c:pt idx="473">
                  <c:v>2147483647</c:v>
                </c:pt>
                <c:pt idx="474">
                  <c:v>1671885350</c:v>
                </c:pt>
                <c:pt idx="475">
                  <c:v>1651233494</c:v>
                </c:pt>
                <c:pt idx="476">
                  <c:v>2147483647</c:v>
                </c:pt>
                <c:pt idx="477">
                  <c:v>1451346300</c:v>
                </c:pt>
                <c:pt idx="478">
                  <c:v>1578075135</c:v>
                </c:pt>
                <c:pt idx="479">
                  <c:v>699109164</c:v>
                </c:pt>
                <c:pt idx="480">
                  <c:v>2033358600</c:v>
                </c:pt>
                <c:pt idx="481">
                  <c:v>1361587608</c:v>
                </c:pt>
                <c:pt idx="482">
                  <c:v>2147483647</c:v>
                </c:pt>
                <c:pt idx="483">
                  <c:v>2147483647</c:v>
                </c:pt>
                <c:pt idx="484">
                  <c:v>1503106486</c:v>
                </c:pt>
                <c:pt idx="485">
                  <c:v>866772306</c:v>
                </c:pt>
                <c:pt idx="486">
                  <c:v>400557758</c:v>
                </c:pt>
                <c:pt idx="487">
                  <c:v>1607553884</c:v>
                </c:pt>
                <c:pt idx="488">
                  <c:v>1656225428</c:v>
                </c:pt>
                <c:pt idx="489">
                  <c:v>1334744541</c:v>
                </c:pt>
                <c:pt idx="490">
                  <c:v>2147483647</c:v>
                </c:pt>
                <c:pt idx="491">
                  <c:v>1502623629</c:v>
                </c:pt>
                <c:pt idx="492">
                  <c:v>1044487155</c:v>
                </c:pt>
                <c:pt idx="493">
                  <c:v>1961346357</c:v>
                </c:pt>
                <c:pt idx="494">
                  <c:v>932755382</c:v>
                </c:pt>
                <c:pt idx="495">
                  <c:v>2147483647</c:v>
                </c:pt>
                <c:pt idx="496">
                  <c:v>2147483647</c:v>
                </c:pt>
                <c:pt idx="497">
                  <c:v>864524052</c:v>
                </c:pt>
                <c:pt idx="498">
                  <c:v>1049504246</c:v>
                </c:pt>
                <c:pt idx="499">
                  <c:v>1711261740</c:v>
                </c:pt>
                <c:pt idx="500">
                  <c:v>1253883484</c:v>
                </c:pt>
                <c:pt idx="501">
                  <c:v>2030100224</c:v>
                </c:pt>
                <c:pt idx="502">
                  <c:v>1718951394</c:v>
                </c:pt>
                <c:pt idx="503">
                  <c:v>759334875</c:v>
                </c:pt>
                <c:pt idx="504">
                  <c:v>635213282</c:v>
                </c:pt>
                <c:pt idx="505">
                  <c:v>891476271</c:v>
                </c:pt>
                <c:pt idx="506">
                  <c:v>366110976</c:v>
                </c:pt>
                <c:pt idx="507">
                  <c:v>150624726</c:v>
                </c:pt>
                <c:pt idx="508">
                  <c:v>779081056</c:v>
                </c:pt>
                <c:pt idx="509">
                  <c:v>686895979</c:v>
                </c:pt>
                <c:pt idx="510">
                  <c:v>1981965104</c:v>
                </c:pt>
                <c:pt idx="511">
                  <c:v>1160007696</c:v>
                </c:pt>
                <c:pt idx="512">
                  <c:v>191324832</c:v>
                </c:pt>
                <c:pt idx="513">
                  <c:v>1106719537</c:v>
                </c:pt>
                <c:pt idx="514">
                  <c:v>421480640</c:v>
                </c:pt>
                <c:pt idx="515">
                  <c:v>1127684028</c:v>
                </c:pt>
                <c:pt idx="516">
                  <c:v>710215840</c:v>
                </c:pt>
                <c:pt idx="517">
                  <c:v>327310300</c:v>
                </c:pt>
                <c:pt idx="518">
                  <c:v>868854112</c:v>
                </c:pt>
                <c:pt idx="519">
                  <c:v>529351900</c:v>
                </c:pt>
                <c:pt idx="520">
                  <c:v>457574700</c:v>
                </c:pt>
                <c:pt idx="521">
                  <c:v>1048200974</c:v>
                </c:pt>
                <c:pt idx="522">
                  <c:v>537576406</c:v>
                </c:pt>
                <c:pt idx="523">
                  <c:v>6367200</c:v>
                </c:pt>
                <c:pt idx="524">
                  <c:v>756792113</c:v>
                </c:pt>
                <c:pt idx="525">
                  <c:v>712728978</c:v>
                </c:pt>
                <c:pt idx="526">
                  <c:v>977658195</c:v>
                </c:pt>
                <c:pt idx="527">
                  <c:v>2147483647</c:v>
                </c:pt>
                <c:pt idx="528">
                  <c:v>662528352</c:v>
                </c:pt>
                <c:pt idx="529">
                  <c:v>138299782</c:v>
                </c:pt>
                <c:pt idx="530">
                  <c:v>1359978592</c:v>
                </c:pt>
                <c:pt idx="531">
                  <c:v>681748878</c:v>
                </c:pt>
                <c:pt idx="532">
                  <c:v>624279852</c:v>
                </c:pt>
                <c:pt idx="533">
                  <c:v>343666820</c:v>
                </c:pt>
                <c:pt idx="534">
                  <c:v>604499084</c:v>
                </c:pt>
                <c:pt idx="535">
                  <c:v>1556627466</c:v>
                </c:pt>
                <c:pt idx="536">
                  <c:v>1703134563</c:v>
                </c:pt>
                <c:pt idx="537">
                  <c:v>1914003000</c:v>
                </c:pt>
                <c:pt idx="538">
                  <c:v>2147483647</c:v>
                </c:pt>
                <c:pt idx="539">
                  <c:v>1048779672</c:v>
                </c:pt>
                <c:pt idx="540">
                  <c:v>651603820</c:v>
                </c:pt>
                <c:pt idx="541">
                  <c:v>1420435290</c:v>
                </c:pt>
                <c:pt idx="542">
                  <c:v>887350070</c:v>
                </c:pt>
                <c:pt idx="543">
                  <c:v>1683171112</c:v>
                </c:pt>
                <c:pt idx="544">
                  <c:v>697600896</c:v>
                </c:pt>
                <c:pt idx="545">
                  <c:v>588469716</c:v>
                </c:pt>
                <c:pt idx="546">
                  <c:v>90877304</c:v>
                </c:pt>
                <c:pt idx="547">
                  <c:v>211210160</c:v>
                </c:pt>
                <c:pt idx="548">
                  <c:v>1089712272</c:v>
                </c:pt>
                <c:pt idx="549">
                  <c:v>592295080</c:v>
                </c:pt>
                <c:pt idx="550">
                  <c:v>1569996580</c:v>
                </c:pt>
                <c:pt idx="551">
                  <c:v>650363663</c:v>
                </c:pt>
                <c:pt idx="552">
                  <c:v>2147483647</c:v>
                </c:pt>
                <c:pt idx="553">
                  <c:v>1802053704</c:v>
                </c:pt>
                <c:pt idx="554">
                  <c:v>1341895095</c:v>
                </c:pt>
                <c:pt idx="555">
                  <c:v>2147483647</c:v>
                </c:pt>
                <c:pt idx="556">
                  <c:v>1713475152</c:v>
                </c:pt>
                <c:pt idx="557">
                  <c:v>1107747803</c:v>
                </c:pt>
                <c:pt idx="558">
                  <c:v>1820079160</c:v>
                </c:pt>
                <c:pt idx="559">
                  <c:v>1246329357</c:v>
                </c:pt>
                <c:pt idx="560">
                  <c:v>935984900</c:v>
                </c:pt>
                <c:pt idx="561">
                  <c:v>550314000</c:v>
                </c:pt>
                <c:pt idx="562">
                  <c:v>84846730</c:v>
                </c:pt>
                <c:pt idx="563">
                  <c:v>133807086</c:v>
                </c:pt>
                <c:pt idx="564">
                  <c:v>930257046</c:v>
                </c:pt>
                <c:pt idx="565">
                  <c:v>377534096</c:v>
                </c:pt>
                <c:pt idx="566">
                  <c:v>157662608</c:v>
                </c:pt>
                <c:pt idx="567">
                  <c:v>153227370</c:v>
                </c:pt>
                <c:pt idx="568">
                  <c:v>497842218</c:v>
                </c:pt>
                <c:pt idx="569">
                  <c:v>54063920</c:v>
                </c:pt>
                <c:pt idx="570">
                  <c:v>611512241</c:v>
                </c:pt>
                <c:pt idx="571">
                  <c:v>150533696</c:v>
                </c:pt>
                <c:pt idx="572">
                  <c:v>106917540</c:v>
                </c:pt>
                <c:pt idx="573">
                  <c:v>74156247</c:v>
                </c:pt>
                <c:pt idx="574">
                  <c:v>167879898</c:v>
                </c:pt>
                <c:pt idx="575">
                  <c:v>29703800</c:v>
                </c:pt>
                <c:pt idx="576">
                  <c:v>160775172</c:v>
                </c:pt>
                <c:pt idx="577">
                  <c:v>527807245</c:v>
                </c:pt>
                <c:pt idx="578">
                  <c:v>352766116</c:v>
                </c:pt>
                <c:pt idx="579">
                  <c:v>425544336</c:v>
                </c:pt>
                <c:pt idx="580">
                  <c:v>124477587</c:v>
                </c:pt>
                <c:pt idx="581">
                  <c:v>168571800</c:v>
                </c:pt>
                <c:pt idx="582">
                  <c:v>546081338</c:v>
                </c:pt>
                <c:pt idx="583">
                  <c:v>169053168</c:v>
                </c:pt>
                <c:pt idx="584">
                  <c:v>507009205</c:v>
                </c:pt>
                <c:pt idx="585">
                  <c:v>572415784</c:v>
                </c:pt>
                <c:pt idx="586">
                  <c:v>298763768</c:v>
                </c:pt>
                <c:pt idx="587">
                  <c:v>131676320</c:v>
                </c:pt>
                <c:pt idx="588">
                  <c:v>19248606</c:v>
                </c:pt>
                <c:pt idx="589">
                  <c:v>170222186</c:v>
                </c:pt>
                <c:pt idx="590">
                  <c:v>126338752</c:v>
                </c:pt>
                <c:pt idx="591">
                  <c:v>257951475</c:v>
                </c:pt>
                <c:pt idx="592">
                  <c:v>165839223</c:v>
                </c:pt>
                <c:pt idx="593">
                  <c:v>442702300</c:v>
                </c:pt>
                <c:pt idx="594">
                  <c:v>105337344</c:v>
                </c:pt>
                <c:pt idx="595">
                  <c:v>371139256</c:v>
                </c:pt>
                <c:pt idx="596">
                  <c:v>705801273</c:v>
                </c:pt>
                <c:pt idx="597">
                  <c:v>70812912</c:v>
                </c:pt>
                <c:pt idx="598">
                  <c:v>392016317</c:v>
                </c:pt>
                <c:pt idx="599">
                  <c:v>246131022</c:v>
                </c:pt>
                <c:pt idx="600">
                  <c:v>245427312</c:v>
                </c:pt>
                <c:pt idx="601">
                  <c:v>62858745</c:v>
                </c:pt>
                <c:pt idx="602">
                  <c:v>49069140</c:v>
                </c:pt>
                <c:pt idx="603">
                  <c:v>268372320</c:v>
                </c:pt>
                <c:pt idx="604">
                  <c:v>36142544</c:v>
                </c:pt>
                <c:pt idx="605">
                  <c:v>388552534</c:v>
                </c:pt>
                <c:pt idx="606">
                  <c:v>32952975</c:v>
                </c:pt>
                <c:pt idx="607">
                  <c:v>159293036</c:v>
                </c:pt>
                <c:pt idx="608">
                  <c:v>119105524</c:v>
                </c:pt>
                <c:pt idx="609">
                  <c:v>84822451</c:v>
                </c:pt>
                <c:pt idx="610">
                  <c:v>48816868</c:v>
                </c:pt>
                <c:pt idx="611">
                  <c:v>328933198</c:v>
                </c:pt>
                <c:pt idx="612">
                  <c:v>397778472</c:v>
                </c:pt>
                <c:pt idx="613">
                  <c:v>190713635</c:v>
                </c:pt>
                <c:pt idx="614">
                  <c:v>1809380412</c:v>
                </c:pt>
                <c:pt idx="615">
                  <c:v>157892961</c:v>
                </c:pt>
                <c:pt idx="616">
                  <c:v>219114720</c:v>
                </c:pt>
                <c:pt idx="617">
                  <c:v>267884396</c:v>
                </c:pt>
                <c:pt idx="618">
                  <c:v>788204656</c:v>
                </c:pt>
                <c:pt idx="619">
                  <c:v>973141608</c:v>
                </c:pt>
                <c:pt idx="620">
                  <c:v>678502260</c:v>
                </c:pt>
                <c:pt idx="621">
                  <c:v>476114779</c:v>
                </c:pt>
                <c:pt idx="622">
                  <c:v>506888547</c:v>
                </c:pt>
                <c:pt idx="623">
                  <c:v>186785056</c:v>
                </c:pt>
                <c:pt idx="624">
                  <c:v>669448164</c:v>
                </c:pt>
                <c:pt idx="625">
                  <c:v>319808738</c:v>
                </c:pt>
                <c:pt idx="626">
                  <c:v>437837862</c:v>
                </c:pt>
                <c:pt idx="627">
                  <c:v>1251322432</c:v>
                </c:pt>
                <c:pt idx="628">
                  <c:v>411257700</c:v>
                </c:pt>
                <c:pt idx="629">
                  <c:v>308873358</c:v>
                </c:pt>
                <c:pt idx="630">
                  <c:v>824413414</c:v>
                </c:pt>
                <c:pt idx="631">
                  <c:v>352061290</c:v>
                </c:pt>
                <c:pt idx="632">
                  <c:v>755202661</c:v>
                </c:pt>
                <c:pt idx="633">
                  <c:v>628620102</c:v>
                </c:pt>
                <c:pt idx="634">
                  <c:v>1360578450</c:v>
                </c:pt>
                <c:pt idx="635">
                  <c:v>499215248</c:v>
                </c:pt>
                <c:pt idx="636">
                  <c:v>97992528</c:v>
                </c:pt>
                <c:pt idx="637">
                  <c:v>179156640</c:v>
                </c:pt>
                <c:pt idx="638">
                  <c:v>861927381</c:v>
                </c:pt>
                <c:pt idx="639">
                  <c:v>699966000</c:v>
                </c:pt>
                <c:pt idx="640">
                  <c:v>554644686</c:v>
                </c:pt>
                <c:pt idx="641">
                  <c:v>292545008</c:v>
                </c:pt>
                <c:pt idx="642">
                  <c:v>741242358</c:v>
                </c:pt>
                <c:pt idx="643">
                  <c:v>743536992</c:v>
                </c:pt>
                <c:pt idx="644">
                  <c:v>292225778</c:v>
                </c:pt>
                <c:pt idx="645">
                  <c:v>1696035000</c:v>
                </c:pt>
                <c:pt idx="646">
                  <c:v>721036050</c:v>
                </c:pt>
                <c:pt idx="647">
                  <c:v>106360018</c:v>
                </c:pt>
                <c:pt idx="648">
                  <c:v>1178065824</c:v>
                </c:pt>
                <c:pt idx="649">
                  <c:v>36450108</c:v>
                </c:pt>
                <c:pt idx="650">
                  <c:v>69152651</c:v>
                </c:pt>
                <c:pt idx="651">
                  <c:v>897440940</c:v>
                </c:pt>
                <c:pt idx="652">
                  <c:v>397062069</c:v>
                </c:pt>
                <c:pt idx="653">
                  <c:v>297565276</c:v>
                </c:pt>
                <c:pt idx="654">
                  <c:v>1360031265</c:v>
                </c:pt>
                <c:pt idx="655">
                  <c:v>303196824</c:v>
                </c:pt>
                <c:pt idx="656">
                  <c:v>1352221767</c:v>
                </c:pt>
                <c:pt idx="657">
                  <c:v>228360916</c:v>
                </c:pt>
                <c:pt idx="658">
                  <c:v>199044000</c:v>
                </c:pt>
                <c:pt idx="659">
                  <c:v>24334626</c:v>
                </c:pt>
                <c:pt idx="660">
                  <c:v>88304344</c:v>
                </c:pt>
                <c:pt idx="661">
                  <c:v>354022809</c:v>
                </c:pt>
                <c:pt idx="662">
                  <c:v>262983303</c:v>
                </c:pt>
                <c:pt idx="663">
                  <c:v>205477608</c:v>
                </c:pt>
                <c:pt idx="664">
                  <c:v>220609496</c:v>
                </c:pt>
                <c:pt idx="665">
                  <c:v>395786235</c:v>
                </c:pt>
                <c:pt idx="666">
                  <c:v>287469032</c:v>
                </c:pt>
                <c:pt idx="667">
                  <c:v>93644040</c:v>
                </c:pt>
                <c:pt idx="668">
                  <c:v>50154528</c:v>
                </c:pt>
                <c:pt idx="669">
                  <c:v>1144013738</c:v>
                </c:pt>
                <c:pt idx="670">
                  <c:v>784054960</c:v>
                </c:pt>
                <c:pt idx="671">
                  <c:v>1159810203</c:v>
                </c:pt>
                <c:pt idx="672">
                  <c:v>383310415</c:v>
                </c:pt>
                <c:pt idx="673">
                  <c:v>25507088</c:v>
                </c:pt>
                <c:pt idx="674">
                  <c:v>252289212</c:v>
                </c:pt>
                <c:pt idx="675">
                  <c:v>1249989734</c:v>
                </c:pt>
                <c:pt idx="676">
                  <c:v>913944177</c:v>
                </c:pt>
                <c:pt idx="677">
                  <c:v>357145038</c:v>
                </c:pt>
                <c:pt idx="678">
                  <c:v>1613901900</c:v>
                </c:pt>
                <c:pt idx="679">
                  <c:v>844479732</c:v>
                </c:pt>
                <c:pt idx="680">
                  <c:v>939308272</c:v>
                </c:pt>
                <c:pt idx="681">
                  <c:v>348740740</c:v>
                </c:pt>
                <c:pt idx="682">
                  <c:v>13408494</c:v>
                </c:pt>
                <c:pt idx="683">
                  <c:v>687400803</c:v>
                </c:pt>
                <c:pt idx="684">
                  <c:v>1105206472</c:v>
                </c:pt>
                <c:pt idx="685">
                  <c:v>76338938</c:v>
                </c:pt>
                <c:pt idx="686">
                  <c:v>598787268</c:v>
                </c:pt>
                <c:pt idx="687">
                  <c:v>471241768</c:v>
                </c:pt>
                <c:pt idx="688">
                  <c:v>1147234112</c:v>
                </c:pt>
                <c:pt idx="689">
                  <c:v>794708460</c:v>
                </c:pt>
                <c:pt idx="690">
                  <c:v>1109671836</c:v>
                </c:pt>
                <c:pt idx="691">
                  <c:v>1049340960</c:v>
                </c:pt>
                <c:pt idx="692">
                  <c:v>280610109</c:v>
                </c:pt>
                <c:pt idx="693">
                  <c:v>1105858630</c:v>
                </c:pt>
                <c:pt idx="694">
                  <c:v>27271740</c:v>
                </c:pt>
                <c:pt idx="695">
                  <c:v>1104636722</c:v>
                </c:pt>
                <c:pt idx="696">
                  <c:v>502786845</c:v>
                </c:pt>
                <c:pt idx="697">
                  <c:v>57639725</c:v>
                </c:pt>
                <c:pt idx="698">
                  <c:v>486394531</c:v>
                </c:pt>
                <c:pt idx="699">
                  <c:v>955576584</c:v>
                </c:pt>
                <c:pt idx="700">
                  <c:v>715280998</c:v>
                </c:pt>
                <c:pt idx="701">
                  <c:v>1780460015</c:v>
                </c:pt>
                <c:pt idx="702">
                  <c:v>551452188</c:v>
                </c:pt>
                <c:pt idx="703">
                  <c:v>1224500140</c:v>
                </c:pt>
                <c:pt idx="704">
                  <c:v>918727166</c:v>
                </c:pt>
                <c:pt idx="705">
                  <c:v>779049040</c:v>
                </c:pt>
                <c:pt idx="706">
                  <c:v>577080513</c:v>
                </c:pt>
                <c:pt idx="707">
                  <c:v>706090374</c:v>
                </c:pt>
                <c:pt idx="708">
                  <c:v>618261504</c:v>
                </c:pt>
                <c:pt idx="709">
                  <c:v>412369816</c:v>
                </c:pt>
                <c:pt idx="710">
                  <c:v>505239424</c:v>
                </c:pt>
                <c:pt idx="711">
                  <c:v>1002237185</c:v>
                </c:pt>
                <c:pt idx="712">
                  <c:v>1207481236</c:v>
                </c:pt>
                <c:pt idx="713">
                  <c:v>651686943</c:v>
                </c:pt>
                <c:pt idx="714">
                  <c:v>783147816</c:v>
                </c:pt>
                <c:pt idx="715">
                  <c:v>309392928</c:v>
                </c:pt>
                <c:pt idx="716">
                  <c:v>296820288</c:v>
                </c:pt>
                <c:pt idx="717">
                  <c:v>187514131</c:v>
                </c:pt>
                <c:pt idx="718">
                  <c:v>251589402</c:v>
                </c:pt>
                <c:pt idx="719">
                  <c:v>218741878</c:v>
                </c:pt>
                <c:pt idx="720">
                  <c:v>1368112128</c:v>
                </c:pt>
                <c:pt idx="721">
                  <c:v>292239724</c:v>
                </c:pt>
                <c:pt idx="722">
                  <c:v>74138640</c:v>
                </c:pt>
                <c:pt idx="723">
                  <c:v>194165244</c:v>
                </c:pt>
                <c:pt idx="724">
                  <c:v>611133864</c:v>
                </c:pt>
                <c:pt idx="725">
                  <c:v>161847296</c:v>
                </c:pt>
                <c:pt idx="726">
                  <c:v>83240535</c:v>
                </c:pt>
                <c:pt idx="727">
                  <c:v>131831460</c:v>
                </c:pt>
                <c:pt idx="728">
                  <c:v>660747230</c:v>
                </c:pt>
                <c:pt idx="729">
                  <c:v>1264620344</c:v>
                </c:pt>
                <c:pt idx="730">
                  <c:v>398488869</c:v>
                </c:pt>
                <c:pt idx="731">
                  <c:v>1244502285</c:v>
                </c:pt>
                <c:pt idx="732">
                  <c:v>1302043093</c:v>
                </c:pt>
                <c:pt idx="733">
                  <c:v>650090644</c:v>
                </c:pt>
                <c:pt idx="734">
                  <c:v>145472379</c:v>
                </c:pt>
                <c:pt idx="735">
                  <c:v>974373764</c:v>
                </c:pt>
                <c:pt idx="736">
                  <c:v>1411245240</c:v>
                </c:pt>
                <c:pt idx="737">
                  <c:v>779166131</c:v>
                </c:pt>
                <c:pt idx="738">
                  <c:v>620308755</c:v>
                </c:pt>
                <c:pt idx="739">
                  <c:v>301024000</c:v>
                </c:pt>
                <c:pt idx="740">
                  <c:v>179288432</c:v>
                </c:pt>
                <c:pt idx="741">
                  <c:v>648414492</c:v>
                </c:pt>
                <c:pt idx="742">
                  <c:v>381082858</c:v>
                </c:pt>
                <c:pt idx="743">
                  <c:v>1381425780</c:v>
                </c:pt>
                <c:pt idx="744">
                  <c:v>71481040</c:v>
                </c:pt>
                <c:pt idx="745">
                  <c:v>52862670</c:v>
                </c:pt>
                <c:pt idx="746">
                  <c:v>178350101</c:v>
                </c:pt>
                <c:pt idx="747">
                  <c:v>1025530677</c:v>
                </c:pt>
                <c:pt idx="748">
                  <c:v>171048385</c:v>
                </c:pt>
                <c:pt idx="749">
                  <c:v>1039480200</c:v>
                </c:pt>
                <c:pt idx="750">
                  <c:v>1173506520</c:v>
                </c:pt>
                <c:pt idx="751">
                  <c:v>1376537175</c:v>
                </c:pt>
                <c:pt idx="752">
                  <c:v>594885420</c:v>
                </c:pt>
                <c:pt idx="753">
                  <c:v>391368465</c:v>
                </c:pt>
                <c:pt idx="754">
                  <c:v>1416877668</c:v>
                </c:pt>
                <c:pt idx="755">
                  <c:v>12522906</c:v>
                </c:pt>
                <c:pt idx="756">
                  <c:v>85113718</c:v>
                </c:pt>
                <c:pt idx="757">
                  <c:v>60832416</c:v>
                </c:pt>
                <c:pt idx="758">
                  <c:v>45989425</c:v>
                </c:pt>
                <c:pt idx="759">
                  <c:v>261584964</c:v>
                </c:pt>
                <c:pt idx="760">
                  <c:v>108865854</c:v>
                </c:pt>
                <c:pt idx="761">
                  <c:v>184551066</c:v>
                </c:pt>
                <c:pt idx="762">
                  <c:v>103391832</c:v>
                </c:pt>
                <c:pt idx="763">
                  <c:v>109534500</c:v>
                </c:pt>
                <c:pt idx="764">
                  <c:v>123099735</c:v>
                </c:pt>
                <c:pt idx="765">
                  <c:v>37834752</c:v>
                </c:pt>
                <c:pt idx="766">
                  <c:v>123850008</c:v>
                </c:pt>
                <c:pt idx="767">
                  <c:v>308597617</c:v>
                </c:pt>
                <c:pt idx="768">
                  <c:v>46336136</c:v>
                </c:pt>
                <c:pt idx="769">
                  <c:v>11155400</c:v>
                </c:pt>
                <c:pt idx="770">
                  <c:v>184157604</c:v>
                </c:pt>
                <c:pt idx="771">
                  <c:v>295103322</c:v>
                </c:pt>
                <c:pt idx="772">
                  <c:v>81576236</c:v>
                </c:pt>
                <c:pt idx="773">
                  <c:v>38530841</c:v>
                </c:pt>
                <c:pt idx="774">
                  <c:v>43843969</c:v>
                </c:pt>
                <c:pt idx="775">
                  <c:v>9159060</c:v>
                </c:pt>
                <c:pt idx="776">
                  <c:v>194828672</c:v>
                </c:pt>
                <c:pt idx="777">
                  <c:v>28238830</c:v>
                </c:pt>
                <c:pt idx="778">
                  <c:v>278414379</c:v>
                </c:pt>
                <c:pt idx="779">
                  <c:v>84297895</c:v>
                </c:pt>
                <c:pt idx="780">
                  <c:v>572148494</c:v>
                </c:pt>
                <c:pt idx="781">
                  <c:v>382410948</c:v>
                </c:pt>
                <c:pt idx="782">
                  <c:v>43202368</c:v>
                </c:pt>
                <c:pt idx="783">
                  <c:v>282580119</c:v>
                </c:pt>
                <c:pt idx="784">
                  <c:v>259615485</c:v>
                </c:pt>
                <c:pt idx="785">
                  <c:v>95429066</c:v>
                </c:pt>
                <c:pt idx="786">
                  <c:v>82448538</c:v>
                </c:pt>
                <c:pt idx="787">
                  <c:v>194236838</c:v>
                </c:pt>
                <c:pt idx="788">
                  <c:v>111402576</c:v>
                </c:pt>
                <c:pt idx="789">
                  <c:v>13909667</c:v>
                </c:pt>
                <c:pt idx="790">
                  <c:v>45456775</c:v>
                </c:pt>
                <c:pt idx="791">
                  <c:v>190958274</c:v>
                </c:pt>
                <c:pt idx="792">
                  <c:v>45846525</c:v>
                </c:pt>
                <c:pt idx="793">
                  <c:v>131203133</c:v>
                </c:pt>
                <c:pt idx="794">
                  <c:v>172908008</c:v>
                </c:pt>
                <c:pt idx="795">
                  <c:v>60763950</c:v>
                </c:pt>
                <c:pt idx="796">
                  <c:v>52605977</c:v>
                </c:pt>
                <c:pt idx="797">
                  <c:v>110488320</c:v>
                </c:pt>
                <c:pt idx="798">
                  <c:v>15649315</c:v>
                </c:pt>
                <c:pt idx="799">
                  <c:v>418254018</c:v>
                </c:pt>
                <c:pt idx="800">
                  <c:v>274961538</c:v>
                </c:pt>
                <c:pt idx="801">
                  <c:v>111668475</c:v>
                </c:pt>
                <c:pt idx="802">
                  <c:v>23532471</c:v>
                </c:pt>
                <c:pt idx="803">
                  <c:v>45420696</c:v>
                </c:pt>
                <c:pt idx="804">
                  <c:v>385770498</c:v>
                </c:pt>
                <c:pt idx="805">
                  <c:v>40345100</c:v>
                </c:pt>
                <c:pt idx="806">
                  <c:v>23266656</c:v>
                </c:pt>
                <c:pt idx="807">
                  <c:v>92939740</c:v>
                </c:pt>
                <c:pt idx="808">
                  <c:v>84740625</c:v>
                </c:pt>
                <c:pt idx="809">
                  <c:v>215442984</c:v>
                </c:pt>
                <c:pt idx="810">
                  <c:v>1275167361</c:v>
                </c:pt>
                <c:pt idx="811">
                  <c:v>574245460</c:v>
                </c:pt>
                <c:pt idx="812">
                  <c:v>458656578</c:v>
                </c:pt>
                <c:pt idx="813">
                  <c:v>190449408</c:v>
                </c:pt>
                <c:pt idx="814">
                  <c:v>807781480</c:v>
                </c:pt>
                <c:pt idx="815">
                  <c:v>107936271</c:v>
                </c:pt>
                <c:pt idx="816">
                  <c:v>56466925</c:v>
                </c:pt>
                <c:pt idx="817">
                  <c:v>70985268</c:v>
                </c:pt>
                <c:pt idx="818">
                  <c:v>25850643</c:v>
                </c:pt>
                <c:pt idx="819">
                  <c:v>228739221</c:v>
                </c:pt>
                <c:pt idx="820">
                  <c:v>97075140</c:v>
                </c:pt>
                <c:pt idx="821">
                  <c:v>25127608</c:v>
                </c:pt>
                <c:pt idx="822">
                  <c:v>81328414</c:v>
                </c:pt>
                <c:pt idx="823">
                  <c:v>52962518</c:v>
                </c:pt>
                <c:pt idx="824">
                  <c:v>128693400</c:v>
                </c:pt>
                <c:pt idx="825">
                  <c:v>196741120</c:v>
                </c:pt>
                <c:pt idx="826">
                  <c:v>102067316</c:v>
                </c:pt>
                <c:pt idx="827">
                  <c:v>27892305</c:v>
                </c:pt>
                <c:pt idx="828">
                  <c:v>35190207</c:v>
                </c:pt>
                <c:pt idx="829">
                  <c:v>375905284</c:v>
                </c:pt>
                <c:pt idx="830">
                  <c:v>185347877</c:v>
                </c:pt>
                <c:pt idx="831">
                  <c:v>77178750</c:v>
                </c:pt>
                <c:pt idx="832">
                  <c:v>34198640</c:v>
                </c:pt>
                <c:pt idx="833">
                  <c:v>53389754</c:v>
                </c:pt>
                <c:pt idx="834">
                  <c:v>61754504</c:v>
                </c:pt>
                <c:pt idx="835">
                  <c:v>82580586</c:v>
                </c:pt>
                <c:pt idx="836">
                  <c:v>140563488</c:v>
                </c:pt>
                <c:pt idx="837">
                  <c:v>279123442</c:v>
                </c:pt>
                <c:pt idx="838">
                  <c:v>224370951</c:v>
                </c:pt>
                <c:pt idx="839">
                  <c:v>75486734</c:v>
                </c:pt>
                <c:pt idx="840">
                  <c:v>102774496</c:v>
                </c:pt>
                <c:pt idx="841">
                  <c:v>12581478</c:v>
                </c:pt>
                <c:pt idx="842">
                  <c:v>53036753</c:v>
                </c:pt>
                <c:pt idx="843">
                  <c:v>126575097</c:v>
                </c:pt>
                <c:pt idx="844">
                  <c:v>53361198</c:v>
                </c:pt>
                <c:pt idx="845">
                  <c:v>36261126</c:v>
                </c:pt>
                <c:pt idx="846">
                  <c:v>108411030</c:v>
                </c:pt>
                <c:pt idx="847">
                  <c:v>82344912</c:v>
                </c:pt>
                <c:pt idx="848">
                  <c:v>50717520</c:v>
                </c:pt>
                <c:pt idx="849">
                  <c:v>52316815</c:v>
                </c:pt>
                <c:pt idx="850">
                  <c:v>22441166</c:v>
                </c:pt>
                <c:pt idx="851">
                  <c:v>37861312</c:v>
                </c:pt>
                <c:pt idx="852">
                  <c:v>16286047</c:v>
                </c:pt>
                <c:pt idx="853">
                  <c:v>30070944</c:v>
                </c:pt>
                <c:pt idx="854">
                  <c:v>10565851</c:v>
                </c:pt>
                <c:pt idx="855">
                  <c:v>109266678</c:v>
                </c:pt>
                <c:pt idx="856">
                  <c:v>9255000</c:v>
                </c:pt>
                <c:pt idx="857">
                  <c:v>95853313</c:v>
                </c:pt>
                <c:pt idx="858">
                  <c:v>129774640</c:v>
                </c:pt>
                <c:pt idx="859">
                  <c:v>24414410</c:v>
                </c:pt>
                <c:pt idx="860">
                  <c:v>8835156</c:v>
                </c:pt>
                <c:pt idx="861">
                  <c:v>115309211</c:v>
                </c:pt>
                <c:pt idx="862">
                  <c:v>21430920</c:v>
                </c:pt>
                <c:pt idx="863">
                  <c:v>33463106</c:v>
                </c:pt>
                <c:pt idx="864">
                  <c:v>143101574</c:v>
                </c:pt>
                <c:pt idx="865">
                  <c:v>358059042</c:v>
                </c:pt>
                <c:pt idx="866">
                  <c:v>70049910</c:v>
                </c:pt>
                <c:pt idx="867">
                  <c:v>243642168</c:v>
                </c:pt>
                <c:pt idx="868">
                  <c:v>52162341</c:v>
                </c:pt>
                <c:pt idx="869">
                  <c:v>22250823</c:v>
                </c:pt>
                <c:pt idx="870">
                  <c:v>179896275</c:v>
                </c:pt>
                <c:pt idx="871">
                  <c:v>514347712</c:v>
                </c:pt>
                <c:pt idx="872">
                  <c:v>16010456</c:v>
                </c:pt>
                <c:pt idx="873">
                  <c:v>445462112</c:v>
                </c:pt>
                <c:pt idx="874">
                  <c:v>117231282</c:v>
                </c:pt>
                <c:pt idx="875">
                  <c:v>31771845</c:v>
                </c:pt>
                <c:pt idx="876">
                  <c:v>28155264</c:v>
                </c:pt>
                <c:pt idx="877">
                  <c:v>232798986</c:v>
                </c:pt>
                <c:pt idx="878">
                  <c:v>40413135</c:v>
                </c:pt>
                <c:pt idx="879">
                  <c:v>62977742</c:v>
                </c:pt>
                <c:pt idx="880">
                  <c:v>31154504</c:v>
                </c:pt>
                <c:pt idx="881">
                  <c:v>94125552</c:v>
                </c:pt>
                <c:pt idx="882">
                  <c:v>125319721</c:v>
                </c:pt>
                <c:pt idx="883">
                  <c:v>172372112</c:v>
                </c:pt>
                <c:pt idx="884">
                  <c:v>54827718</c:v>
                </c:pt>
                <c:pt idx="885">
                  <c:v>1410098301</c:v>
                </c:pt>
                <c:pt idx="886">
                  <c:v>134087350</c:v>
                </c:pt>
                <c:pt idx="887">
                  <c:v>116809083</c:v>
                </c:pt>
                <c:pt idx="888">
                  <c:v>403975663</c:v>
                </c:pt>
                <c:pt idx="889">
                  <c:v>47577600</c:v>
                </c:pt>
                <c:pt idx="890">
                  <c:v>115708307</c:v>
                </c:pt>
                <c:pt idx="891">
                  <c:v>69139965</c:v>
                </c:pt>
                <c:pt idx="892">
                  <c:v>50036616</c:v>
                </c:pt>
                <c:pt idx="893">
                  <c:v>19691545</c:v>
                </c:pt>
                <c:pt idx="894">
                  <c:v>126052992</c:v>
                </c:pt>
                <c:pt idx="895">
                  <c:v>182783405</c:v>
                </c:pt>
                <c:pt idx="896">
                  <c:v>1543251888</c:v>
                </c:pt>
                <c:pt idx="897">
                  <c:v>111750003</c:v>
                </c:pt>
                <c:pt idx="898">
                  <c:v>359927568</c:v>
                </c:pt>
                <c:pt idx="899">
                  <c:v>389997663</c:v>
                </c:pt>
                <c:pt idx="900">
                  <c:v>139481430</c:v>
                </c:pt>
                <c:pt idx="901">
                  <c:v>156703281</c:v>
                </c:pt>
                <c:pt idx="902">
                  <c:v>55968886</c:v>
                </c:pt>
                <c:pt idx="903">
                  <c:v>18726945</c:v>
                </c:pt>
                <c:pt idx="904">
                  <c:v>1182709206</c:v>
                </c:pt>
                <c:pt idx="905">
                  <c:v>211364790</c:v>
                </c:pt>
                <c:pt idx="906">
                  <c:v>47486685</c:v>
                </c:pt>
                <c:pt idx="907">
                  <c:v>71331120</c:v>
                </c:pt>
                <c:pt idx="908">
                  <c:v>87066546</c:v>
                </c:pt>
                <c:pt idx="909">
                  <c:v>137000298</c:v>
                </c:pt>
                <c:pt idx="910">
                  <c:v>244344546</c:v>
                </c:pt>
                <c:pt idx="911">
                  <c:v>328693376</c:v>
                </c:pt>
                <c:pt idx="912">
                  <c:v>869051887</c:v>
                </c:pt>
                <c:pt idx="913">
                  <c:v>149470461</c:v>
                </c:pt>
                <c:pt idx="914">
                  <c:v>53330430</c:v>
                </c:pt>
                <c:pt idx="915">
                  <c:v>44838416</c:v>
                </c:pt>
                <c:pt idx="916">
                  <c:v>42629298</c:v>
                </c:pt>
                <c:pt idx="917">
                  <c:v>303147340</c:v>
                </c:pt>
                <c:pt idx="918">
                  <c:v>56241729</c:v>
                </c:pt>
                <c:pt idx="919">
                  <c:v>138783456</c:v>
                </c:pt>
                <c:pt idx="920">
                  <c:v>11240040</c:v>
                </c:pt>
                <c:pt idx="921">
                  <c:v>38825391</c:v>
                </c:pt>
                <c:pt idx="922">
                  <c:v>106693845</c:v>
                </c:pt>
                <c:pt idx="923">
                  <c:v>105382290</c:v>
                </c:pt>
                <c:pt idx="924">
                  <c:v>127159214</c:v>
                </c:pt>
                <c:pt idx="925">
                  <c:v>444971510</c:v>
                </c:pt>
                <c:pt idx="926">
                  <c:v>252917468</c:v>
                </c:pt>
                <c:pt idx="927">
                  <c:v>126721872</c:v>
                </c:pt>
                <c:pt idx="928">
                  <c:v>227628845</c:v>
                </c:pt>
                <c:pt idx="929">
                  <c:v>310614408</c:v>
                </c:pt>
                <c:pt idx="930">
                  <c:v>98460940</c:v>
                </c:pt>
                <c:pt idx="931">
                  <c:v>350466684</c:v>
                </c:pt>
                <c:pt idx="932">
                  <c:v>820630188</c:v>
                </c:pt>
                <c:pt idx="933">
                  <c:v>205989024</c:v>
                </c:pt>
                <c:pt idx="934">
                  <c:v>99433200</c:v>
                </c:pt>
                <c:pt idx="935">
                  <c:v>425394010</c:v>
                </c:pt>
                <c:pt idx="936">
                  <c:v>39743529</c:v>
                </c:pt>
                <c:pt idx="937">
                  <c:v>172857240</c:v>
                </c:pt>
                <c:pt idx="938">
                  <c:v>251496828</c:v>
                </c:pt>
                <c:pt idx="939">
                  <c:v>436754199</c:v>
                </c:pt>
                <c:pt idx="940">
                  <c:v>40449374</c:v>
                </c:pt>
                <c:pt idx="941">
                  <c:v>406151420</c:v>
                </c:pt>
                <c:pt idx="942">
                  <c:v>44452989</c:v>
                </c:pt>
                <c:pt idx="943">
                  <c:v>18703216</c:v>
                </c:pt>
                <c:pt idx="944">
                  <c:v>171838569</c:v>
                </c:pt>
                <c:pt idx="945">
                  <c:v>474758698</c:v>
                </c:pt>
                <c:pt idx="946">
                  <c:v>31522489</c:v>
                </c:pt>
                <c:pt idx="947">
                  <c:v>61959360</c:v>
                </c:pt>
                <c:pt idx="948">
                  <c:v>260287090</c:v>
                </c:pt>
                <c:pt idx="949">
                  <c:v>283114564</c:v>
                </c:pt>
                <c:pt idx="950">
                  <c:v>179620903</c:v>
                </c:pt>
                <c:pt idx="951">
                  <c:v>279170240</c:v>
                </c:pt>
                <c:pt idx="952">
                  <c:v>362891988</c:v>
                </c:pt>
                <c:pt idx="953">
                  <c:v>103149196</c:v>
                </c:pt>
                <c:pt idx="954">
                  <c:v>187458944</c:v>
                </c:pt>
                <c:pt idx="955">
                  <c:v>76358135</c:v>
                </c:pt>
                <c:pt idx="956">
                  <c:v>321000372</c:v>
                </c:pt>
                <c:pt idx="957">
                  <c:v>570402513</c:v>
                </c:pt>
                <c:pt idx="958">
                  <c:v>94445366</c:v>
                </c:pt>
                <c:pt idx="959">
                  <c:v>248487327</c:v>
                </c:pt>
                <c:pt idx="960">
                  <c:v>806040783</c:v>
                </c:pt>
                <c:pt idx="961">
                  <c:v>112221876</c:v>
                </c:pt>
                <c:pt idx="962">
                  <c:v>184541245</c:v>
                </c:pt>
                <c:pt idx="963">
                  <c:v>42275545</c:v>
                </c:pt>
                <c:pt idx="964">
                  <c:v>827775952</c:v>
                </c:pt>
                <c:pt idx="965">
                  <c:v>129036800</c:v>
                </c:pt>
                <c:pt idx="966">
                  <c:v>26598046</c:v>
                </c:pt>
                <c:pt idx="967">
                  <c:v>50160000</c:v>
                </c:pt>
                <c:pt idx="968">
                  <c:v>376600051</c:v>
                </c:pt>
                <c:pt idx="969">
                  <c:v>37535359</c:v>
                </c:pt>
                <c:pt idx="970">
                  <c:v>14500283</c:v>
                </c:pt>
                <c:pt idx="971">
                  <c:v>214311240</c:v>
                </c:pt>
                <c:pt idx="972">
                  <c:v>64774952</c:v>
                </c:pt>
                <c:pt idx="973">
                  <c:v>87678150</c:v>
                </c:pt>
                <c:pt idx="974">
                  <c:v>390725978</c:v>
                </c:pt>
                <c:pt idx="975">
                  <c:v>97344828</c:v>
                </c:pt>
                <c:pt idx="976">
                  <c:v>699044816</c:v>
                </c:pt>
                <c:pt idx="977">
                  <c:v>343990648</c:v>
                </c:pt>
                <c:pt idx="978">
                  <c:v>88217740</c:v>
                </c:pt>
                <c:pt idx="979">
                  <c:v>37564811</c:v>
                </c:pt>
                <c:pt idx="980">
                  <c:v>170676698</c:v>
                </c:pt>
                <c:pt idx="981">
                  <c:v>533180074</c:v>
                </c:pt>
                <c:pt idx="982">
                  <c:v>351885930</c:v>
                </c:pt>
                <c:pt idx="983">
                  <c:v>51293673</c:v>
                </c:pt>
                <c:pt idx="984">
                  <c:v>88725499</c:v>
                </c:pt>
                <c:pt idx="985">
                  <c:v>131279984</c:v>
                </c:pt>
                <c:pt idx="986">
                  <c:v>12601368</c:v>
                </c:pt>
                <c:pt idx="987">
                  <c:v>51240400</c:v>
                </c:pt>
                <c:pt idx="988">
                  <c:v>147477108</c:v>
                </c:pt>
                <c:pt idx="989">
                  <c:v>2139111</c:v>
                </c:pt>
                <c:pt idx="990">
                  <c:v>81782944</c:v>
                </c:pt>
                <c:pt idx="991">
                  <c:v>738456432</c:v>
                </c:pt>
                <c:pt idx="992">
                  <c:v>30953508</c:v>
                </c:pt>
                <c:pt idx="993">
                  <c:v>379077539</c:v>
                </c:pt>
                <c:pt idx="994">
                  <c:v>44756376</c:v>
                </c:pt>
                <c:pt idx="995">
                  <c:v>29218356</c:v>
                </c:pt>
                <c:pt idx="996">
                  <c:v>63191910</c:v>
                </c:pt>
                <c:pt idx="997">
                  <c:v>35917580</c:v>
                </c:pt>
                <c:pt idx="998">
                  <c:v>226678668</c:v>
                </c:pt>
                <c:pt idx="999">
                  <c:v>816777423</c:v>
                </c:pt>
                <c:pt idx="1000">
                  <c:v>520667761</c:v>
                </c:pt>
                <c:pt idx="1001">
                  <c:v>1226605743</c:v>
                </c:pt>
                <c:pt idx="1002">
                  <c:v>101265736</c:v>
                </c:pt>
                <c:pt idx="1003">
                  <c:v>244328938</c:v>
                </c:pt>
                <c:pt idx="1004">
                  <c:v>174236832</c:v>
                </c:pt>
                <c:pt idx="1005">
                  <c:v>251284160</c:v>
                </c:pt>
                <c:pt idx="1006">
                  <c:v>86477600</c:v>
                </c:pt>
                <c:pt idx="1007">
                  <c:v>349258640</c:v>
                </c:pt>
                <c:pt idx="1008">
                  <c:v>78418956</c:v>
                </c:pt>
                <c:pt idx="1009">
                  <c:v>39254152</c:v>
                </c:pt>
                <c:pt idx="1010">
                  <c:v>12141336</c:v>
                </c:pt>
                <c:pt idx="1011">
                  <c:v>460976000</c:v>
                </c:pt>
                <c:pt idx="1012">
                  <c:v>25720640</c:v>
                </c:pt>
                <c:pt idx="1013">
                  <c:v>714075048</c:v>
                </c:pt>
                <c:pt idx="1014">
                  <c:v>295366400</c:v>
                </c:pt>
                <c:pt idx="1015">
                  <c:v>46351344</c:v>
                </c:pt>
                <c:pt idx="1016">
                  <c:v>478835936</c:v>
                </c:pt>
                <c:pt idx="1017">
                  <c:v>189743253</c:v>
                </c:pt>
                <c:pt idx="1018">
                  <c:v>761724072</c:v>
                </c:pt>
                <c:pt idx="1019">
                  <c:v>707983700</c:v>
                </c:pt>
                <c:pt idx="1020">
                  <c:v>1296139377</c:v>
                </c:pt>
                <c:pt idx="1021">
                  <c:v>882801300</c:v>
                </c:pt>
                <c:pt idx="1022">
                  <c:v>1101928660</c:v>
                </c:pt>
                <c:pt idx="1023">
                  <c:v>667069443</c:v>
                </c:pt>
                <c:pt idx="1024">
                  <c:v>48813716</c:v>
                </c:pt>
                <c:pt idx="1025">
                  <c:v>174357404</c:v>
                </c:pt>
                <c:pt idx="1026">
                  <c:v>816578826</c:v>
                </c:pt>
                <c:pt idx="1027">
                  <c:v>14439880</c:v>
                </c:pt>
                <c:pt idx="1028">
                  <c:v>93117640</c:v>
                </c:pt>
                <c:pt idx="1029">
                  <c:v>36046556</c:v>
                </c:pt>
                <c:pt idx="1030">
                  <c:v>105295614</c:v>
                </c:pt>
                <c:pt idx="1031">
                  <c:v>21292935</c:v>
                </c:pt>
                <c:pt idx="1032">
                  <c:v>159403578</c:v>
                </c:pt>
                <c:pt idx="1033">
                  <c:v>70357504</c:v>
                </c:pt>
                <c:pt idx="1034">
                  <c:v>5608416</c:v>
                </c:pt>
                <c:pt idx="1035">
                  <c:v>177655577</c:v>
                </c:pt>
                <c:pt idx="1036">
                  <c:v>18379095</c:v>
                </c:pt>
                <c:pt idx="1037">
                  <c:v>35839143</c:v>
                </c:pt>
                <c:pt idx="1038">
                  <c:v>145031872</c:v>
                </c:pt>
                <c:pt idx="1039">
                  <c:v>1005675408</c:v>
                </c:pt>
                <c:pt idx="1040">
                  <c:v>141779484</c:v>
                </c:pt>
                <c:pt idx="1041">
                  <c:v>145608344</c:v>
                </c:pt>
                <c:pt idx="1042">
                  <c:v>62493320</c:v>
                </c:pt>
                <c:pt idx="1043">
                  <c:v>56026748</c:v>
                </c:pt>
                <c:pt idx="1044">
                  <c:v>19936228</c:v>
                </c:pt>
                <c:pt idx="1045">
                  <c:v>78704640</c:v>
                </c:pt>
                <c:pt idx="1046">
                  <c:v>54532544</c:v>
                </c:pt>
                <c:pt idx="1047">
                  <c:v>116105112</c:v>
                </c:pt>
                <c:pt idx="1048">
                  <c:v>106627180</c:v>
                </c:pt>
                <c:pt idx="1049">
                  <c:v>205114000</c:v>
                </c:pt>
                <c:pt idx="1050">
                  <c:v>67326273</c:v>
                </c:pt>
                <c:pt idx="1051">
                  <c:v>26401968</c:v>
                </c:pt>
                <c:pt idx="1052">
                  <c:v>132652050</c:v>
                </c:pt>
                <c:pt idx="1053">
                  <c:v>173837600</c:v>
                </c:pt>
                <c:pt idx="1054">
                  <c:v>213160832</c:v>
                </c:pt>
                <c:pt idx="1055">
                  <c:v>18174956</c:v>
                </c:pt>
                <c:pt idx="1056">
                  <c:v>148610576</c:v>
                </c:pt>
                <c:pt idx="1057">
                  <c:v>236543482</c:v>
                </c:pt>
                <c:pt idx="1058">
                  <c:v>127186013</c:v>
                </c:pt>
                <c:pt idx="1059">
                  <c:v>200396958</c:v>
                </c:pt>
                <c:pt idx="1060">
                  <c:v>32967570</c:v>
                </c:pt>
                <c:pt idx="1061">
                  <c:v>9933840</c:v>
                </c:pt>
                <c:pt idx="1062">
                  <c:v>105319164</c:v>
                </c:pt>
                <c:pt idx="1063">
                  <c:v>39018759</c:v>
                </c:pt>
                <c:pt idx="1064">
                  <c:v>48628272</c:v>
                </c:pt>
                <c:pt idx="1065">
                  <c:v>21946947</c:v>
                </c:pt>
                <c:pt idx="1066">
                  <c:v>94582908</c:v>
                </c:pt>
                <c:pt idx="1067">
                  <c:v>786538456</c:v>
                </c:pt>
                <c:pt idx="1068">
                  <c:v>50012184</c:v>
                </c:pt>
                <c:pt idx="1069">
                  <c:v>99492764</c:v>
                </c:pt>
                <c:pt idx="1070">
                  <c:v>409083920</c:v>
                </c:pt>
                <c:pt idx="1071">
                  <c:v>52874712</c:v>
                </c:pt>
                <c:pt idx="1072">
                  <c:v>95228742</c:v>
                </c:pt>
                <c:pt idx="1073">
                  <c:v>85502998</c:v>
                </c:pt>
                <c:pt idx="1074">
                  <c:v>38113600</c:v>
                </c:pt>
                <c:pt idx="1075">
                  <c:v>123311292</c:v>
                </c:pt>
                <c:pt idx="1076">
                  <c:v>100565500</c:v>
                </c:pt>
                <c:pt idx="1077">
                  <c:v>54278630</c:v>
                </c:pt>
                <c:pt idx="1078">
                  <c:v>72413555</c:v>
                </c:pt>
                <c:pt idx="1079">
                  <c:v>65228664</c:v>
                </c:pt>
                <c:pt idx="1080">
                  <c:v>108923220</c:v>
                </c:pt>
                <c:pt idx="1081">
                  <c:v>94198384</c:v>
                </c:pt>
                <c:pt idx="1082">
                  <c:v>171649575</c:v>
                </c:pt>
                <c:pt idx="1083">
                  <c:v>15792756</c:v>
                </c:pt>
                <c:pt idx="1084">
                  <c:v>77716195</c:v>
                </c:pt>
                <c:pt idx="1085">
                  <c:v>198354164</c:v>
                </c:pt>
                <c:pt idx="1086">
                  <c:v>1401967640</c:v>
                </c:pt>
                <c:pt idx="1087">
                  <c:v>19562904</c:v>
                </c:pt>
                <c:pt idx="1088">
                  <c:v>7298200</c:v>
                </c:pt>
                <c:pt idx="1089">
                  <c:v>33566230</c:v>
                </c:pt>
                <c:pt idx="1090">
                  <c:v>45333780</c:v>
                </c:pt>
                <c:pt idx="1091">
                  <c:v>268847334</c:v>
                </c:pt>
                <c:pt idx="1092">
                  <c:v>3849975</c:v>
                </c:pt>
                <c:pt idx="1093">
                  <c:v>44616964</c:v>
                </c:pt>
                <c:pt idx="1094">
                  <c:v>145093104</c:v>
                </c:pt>
                <c:pt idx="1095">
                  <c:v>9004268</c:v>
                </c:pt>
                <c:pt idx="1096">
                  <c:v>34740306</c:v>
                </c:pt>
                <c:pt idx="1097">
                  <c:v>100464168</c:v>
                </c:pt>
                <c:pt idx="1098">
                  <c:v>26744320</c:v>
                </c:pt>
                <c:pt idx="1099">
                  <c:v>36115600</c:v>
                </c:pt>
                <c:pt idx="1100">
                  <c:v>17403120</c:v>
                </c:pt>
                <c:pt idx="1101">
                  <c:v>125139795</c:v>
                </c:pt>
                <c:pt idx="1102">
                  <c:v>71075776</c:v>
                </c:pt>
                <c:pt idx="1103">
                  <c:v>105913598</c:v>
                </c:pt>
                <c:pt idx="1104">
                  <c:v>234621036</c:v>
                </c:pt>
                <c:pt idx="1105">
                  <c:v>38567732</c:v>
                </c:pt>
                <c:pt idx="1106">
                  <c:v>30661136</c:v>
                </c:pt>
                <c:pt idx="1107">
                  <c:v>28869018</c:v>
                </c:pt>
                <c:pt idx="1108">
                  <c:v>32732175</c:v>
                </c:pt>
                <c:pt idx="1109">
                  <c:v>52478268</c:v>
                </c:pt>
                <c:pt idx="1110">
                  <c:v>2439817</c:v>
                </c:pt>
                <c:pt idx="1111">
                  <c:v>52306348</c:v>
                </c:pt>
                <c:pt idx="1112">
                  <c:v>418783447</c:v>
                </c:pt>
                <c:pt idx="1113">
                  <c:v>27908628</c:v>
                </c:pt>
                <c:pt idx="1114">
                  <c:v>29900290</c:v>
                </c:pt>
                <c:pt idx="1115">
                  <c:v>39211571</c:v>
                </c:pt>
                <c:pt idx="1116">
                  <c:v>4648021</c:v>
                </c:pt>
                <c:pt idx="1117">
                  <c:v>14766437</c:v>
                </c:pt>
                <c:pt idx="1118">
                  <c:v>14984320</c:v>
                </c:pt>
                <c:pt idx="1119">
                  <c:v>88835316</c:v>
                </c:pt>
                <c:pt idx="1120">
                  <c:v>132405300</c:v>
                </c:pt>
                <c:pt idx="1121">
                  <c:v>17527918</c:v>
                </c:pt>
                <c:pt idx="1122">
                  <c:v>28405598</c:v>
                </c:pt>
                <c:pt idx="1123">
                  <c:v>76653486</c:v>
                </c:pt>
                <c:pt idx="1124">
                  <c:v>123724179</c:v>
                </c:pt>
                <c:pt idx="1125">
                  <c:v>64087199</c:v>
                </c:pt>
                <c:pt idx="1126">
                  <c:v>13829451</c:v>
                </c:pt>
                <c:pt idx="1127">
                  <c:v>263042537</c:v>
                </c:pt>
                <c:pt idx="1128">
                  <c:v>12915840</c:v>
                </c:pt>
                <c:pt idx="1129">
                  <c:v>66702422</c:v>
                </c:pt>
                <c:pt idx="1130">
                  <c:v>284961600</c:v>
                </c:pt>
                <c:pt idx="1131">
                  <c:v>146254647</c:v>
                </c:pt>
                <c:pt idx="1132">
                  <c:v>12747501</c:v>
                </c:pt>
                <c:pt idx="1133">
                  <c:v>32361615</c:v>
                </c:pt>
                <c:pt idx="1134">
                  <c:v>19012030</c:v>
                </c:pt>
                <c:pt idx="1135">
                  <c:v>5654418</c:v>
                </c:pt>
                <c:pt idx="1136">
                  <c:v>18727432</c:v>
                </c:pt>
                <c:pt idx="1137">
                  <c:v>32188223</c:v>
                </c:pt>
                <c:pt idx="1138">
                  <c:v>7227432</c:v>
                </c:pt>
                <c:pt idx="1139">
                  <c:v>7849590</c:v>
                </c:pt>
                <c:pt idx="1140">
                  <c:v>5162666</c:v>
                </c:pt>
                <c:pt idx="1141">
                  <c:v>1604596</c:v>
                </c:pt>
                <c:pt idx="1142">
                  <c:v>53431868</c:v>
                </c:pt>
                <c:pt idx="1143">
                  <c:v>10323522</c:v>
                </c:pt>
                <c:pt idx="1144">
                  <c:v>141914301</c:v>
                </c:pt>
                <c:pt idx="1145">
                  <c:v>10158387</c:v>
                </c:pt>
                <c:pt idx="1146">
                  <c:v>429821616</c:v>
                </c:pt>
                <c:pt idx="1147">
                  <c:v>26249038</c:v>
                </c:pt>
                <c:pt idx="1148">
                  <c:v>70557300</c:v>
                </c:pt>
                <c:pt idx="1149">
                  <c:v>67222760</c:v>
                </c:pt>
                <c:pt idx="1150">
                  <c:v>63827130</c:v>
                </c:pt>
                <c:pt idx="1151">
                  <c:v>64235850</c:v>
                </c:pt>
                <c:pt idx="1152">
                  <c:v>39949982</c:v>
                </c:pt>
                <c:pt idx="1153">
                  <c:v>43148031</c:v>
                </c:pt>
                <c:pt idx="1154">
                  <c:v>39949966</c:v>
                </c:pt>
                <c:pt idx="1155">
                  <c:v>25856883</c:v>
                </c:pt>
                <c:pt idx="1156">
                  <c:v>89779644</c:v>
                </c:pt>
                <c:pt idx="1157">
                  <c:v>29657850</c:v>
                </c:pt>
                <c:pt idx="1158">
                  <c:v>69691636</c:v>
                </c:pt>
                <c:pt idx="1159">
                  <c:v>56050910</c:v>
                </c:pt>
                <c:pt idx="1160">
                  <c:v>102534640</c:v>
                </c:pt>
                <c:pt idx="1161">
                  <c:v>58607280</c:v>
                </c:pt>
                <c:pt idx="1162">
                  <c:v>31459446</c:v>
                </c:pt>
                <c:pt idx="1163">
                  <c:v>24408575</c:v>
                </c:pt>
                <c:pt idx="1164">
                  <c:v>23460207</c:v>
                </c:pt>
                <c:pt idx="1165">
                  <c:v>175770595</c:v>
                </c:pt>
                <c:pt idx="1166">
                  <c:v>20186802</c:v>
                </c:pt>
                <c:pt idx="1167">
                  <c:v>65495744</c:v>
                </c:pt>
                <c:pt idx="1168">
                  <c:v>14585388</c:v>
                </c:pt>
                <c:pt idx="1169">
                  <c:v>23169076</c:v>
                </c:pt>
                <c:pt idx="1170">
                  <c:v>153308690</c:v>
                </c:pt>
                <c:pt idx="1171">
                  <c:v>110028676</c:v>
                </c:pt>
                <c:pt idx="1172">
                  <c:v>491783684</c:v>
                </c:pt>
                <c:pt idx="1173">
                  <c:v>28336154</c:v>
                </c:pt>
                <c:pt idx="1174">
                  <c:v>48482994</c:v>
                </c:pt>
                <c:pt idx="1175">
                  <c:v>200947872</c:v>
                </c:pt>
                <c:pt idx="1176">
                  <c:v>14063990</c:v>
                </c:pt>
                <c:pt idx="1177">
                  <c:v>23194560</c:v>
                </c:pt>
                <c:pt idx="1178">
                  <c:v>92677160</c:v>
                </c:pt>
                <c:pt idx="1179">
                  <c:v>21665222</c:v>
                </c:pt>
                <c:pt idx="1180">
                  <c:v>24992664</c:v>
                </c:pt>
                <c:pt idx="1181">
                  <c:v>88574720</c:v>
                </c:pt>
                <c:pt idx="1182">
                  <c:v>8073810</c:v>
                </c:pt>
                <c:pt idx="1183">
                  <c:v>18747531</c:v>
                </c:pt>
                <c:pt idx="1184">
                  <c:v>23540388</c:v>
                </c:pt>
                <c:pt idx="1185">
                  <c:v>15336240</c:v>
                </c:pt>
                <c:pt idx="1186">
                  <c:v>63064629</c:v>
                </c:pt>
                <c:pt idx="1187">
                  <c:v>13631683</c:v>
                </c:pt>
                <c:pt idx="1188">
                  <c:v>37060153</c:v>
                </c:pt>
                <c:pt idx="1189">
                  <c:v>34348457</c:v>
                </c:pt>
                <c:pt idx="1190">
                  <c:v>52247268</c:v>
                </c:pt>
                <c:pt idx="1191">
                  <c:v>92121351</c:v>
                </c:pt>
                <c:pt idx="1192">
                  <c:v>6884592</c:v>
                </c:pt>
                <c:pt idx="1193">
                  <c:v>23224960</c:v>
                </c:pt>
                <c:pt idx="1194">
                  <c:v>14567570</c:v>
                </c:pt>
                <c:pt idx="1195">
                  <c:v>32779190</c:v>
                </c:pt>
                <c:pt idx="1196">
                  <c:v>13645401</c:v>
                </c:pt>
                <c:pt idx="1197">
                  <c:v>50763502</c:v>
                </c:pt>
                <c:pt idx="1198">
                  <c:v>19100988</c:v>
                </c:pt>
                <c:pt idx="1199">
                  <c:v>70845884</c:v>
                </c:pt>
                <c:pt idx="1200">
                  <c:v>29594268</c:v>
                </c:pt>
                <c:pt idx="1201">
                  <c:v>10905984</c:v>
                </c:pt>
                <c:pt idx="1202">
                  <c:v>32754960</c:v>
                </c:pt>
                <c:pt idx="1203">
                  <c:v>57235028</c:v>
                </c:pt>
                <c:pt idx="1204">
                  <c:v>29111446</c:v>
                </c:pt>
                <c:pt idx="1205">
                  <c:v>33683606</c:v>
                </c:pt>
                <c:pt idx="1206">
                  <c:v>30409423</c:v>
                </c:pt>
                <c:pt idx="1207">
                  <c:v>39185352</c:v>
                </c:pt>
                <c:pt idx="1208">
                  <c:v>42009000</c:v>
                </c:pt>
                <c:pt idx="1209">
                  <c:v>5583816</c:v>
                </c:pt>
                <c:pt idx="1210">
                  <c:v>19131371</c:v>
                </c:pt>
                <c:pt idx="1211">
                  <c:v>5227656</c:v>
                </c:pt>
                <c:pt idx="1212">
                  <c:v>44339975</c:v>
                </c:pt>
                <c:pt idx="1213">
                  <c:v>130562235</c:v>
                </c:pt>
                <c:pt idx="1214">
                  <c:v>10022679</c:v>
                </c:pt>
                <c:pt idx="1215">
                  <c:v>49302288</c:v>
                </c:pt>
                <c:pt idx="1216">
                  <c:v>41682316</c:v>
                </c:pt>
                <c:pt idx="1217">
                  <c:v>36976086</c:v>
                </c:pt>
                <c:pt idx="1218">
                  <c:v>83967312</c:v>
                </c:pt>
                <c:pt idx="1219">
                  <c:v>18138510</c:v>
                </c:pt>
                <c:pt idx="1220">
                  <c:v>3629670</c:v>
                </c:pt>
                <c:pt idx="1221">
                  <c:v>13012608</c:v>
                </c:pt>
                <c:pt idx="1222">
                  <c:v>16440400</c:v>
                </c:pt>
                <c:pt idx="1223">
                  <c:v>57769024</c:v>
                </c:pt>
                <c:pt idx="1224">
                  <c:v>270527040</c:v>
                </c:pt>
                <c:pt idx="1225">
                  <c:v>34102612</c:v>
                </c:pt>
                <c:pt idx="1226">
                  <c:v>9188400</c:v>
                </c:pt>
                <c:pt idx="1227">
                  <c:v>28392267</c:v>
                </c:pt>
                <c:pt idx="1228">
                  <c:v>10943730</c:v>
                </c:pt>
                <c:pt idx="1229">
                  <c:v>261597217</c:v>
                </c:pt>
                <c:pt idx="1230">
                  <c:v>19454856</c:v>
                </c:pt>
                <c:pt idx="1231">
                  <c:v>35502192</c:v>
                </c:pt>
                <c:pt idx="1232">
                  <c:v>93045927</c:v>
                </c:pt>
                <c:pt idx="1233">
                  <c:v>170250017</c:v>
                </c:pt>
                <c:pt idx="1234">
                  <c:v>20933048</c:v>
                </c:pt>
                <c:pt idx="1235">
                  <c:v>8712144</c:v>
                </c:pt>
                <c:pt idx="1236">
                  <c:v>34819834</c:v>
                </c:pt>
                <c:pt idx="1237">
                  <c:v>41043471</c:v>
                </c:pt>
                <c:pt idx="1238">
                  <c:v>80415050</c:v>
                </c:pt>
                <c:pt idx="1239">
                  <c:v>83304144</c:v>
                </c:pt>
                <c:pt idx="1240">
                  <c:v>33143600</c:v>
                </c:pt>
                <c:pt idx="1241">
                  <c:v>17183619</c:v>
                </c:pt>
                <c:pt idx="1242">
                  <c:v>12622736</c:v>
                </c:pt>
                <c:pt idx="1243">
                  <c:v>12619800</c:v>
                </c:pt>
                <c:pt idx="1244">
                  <c:v>15453840</c:v>
                </c:pt>
                <c:pt idx="1245">
                  <c:v>22929218</c:v>
                </c:pt>
                <c:pt idx="1246">
                  <c:v>12664876</c:v>
                </c:pt>
                <c:pt idx="1247">
                  <c:v>12265268</c:v>
                </c:pt>
                <c:pt idx="1248">
                  <c:v>250367796</c:v>
                </c:pt>
                <c:pt idx="1249">
                  <c:v>30749400</c:v>
                </c:pt>
                <c:pt idx="1250">
                  <c:v>16030595</c:v>
                </c:pt>
                <c:pt idx="1251">
                  <c:v>13560456</c:v>
                </c:pt>
                <c:pt idx="1252">
                  <c:v>20720700</c:v>
                </c:pt>
                <c:pt idx="1253">
                  <c:v>6775248</c:v>
                </c:pt>
                <c:pt idx="1254">
                  <c:v>15500637</c:v>
                </c:pt>
                <c:pt idx="1255">
                  <c:v>19058150</c:v>
                </c:pt>
                <c:pt idx="1256">
                  <c:v>12548043</c:v>
                </c:pt>
                <c:pt idx="1257">
                  <c:v>13429316</c:v>
                </c:pt>
                <c:pt idx="1258">
                  <c:v>48551621</c:v>
                </c:pt>
                <c:pt idx="1259">
                  <c:v>40002377</c:v>
                </c:pt>
                <c:pt idx="1260">
                  <c:v>8863006</c:v>
                </c:pt>
                <c:pt idx="1261">
                  <c:v>206201814</c:v>
                </c:pt>
                <c:pt idx="1262">
                  <c:v>236215539</c:v>
                </c:pt>
                <c:pt idx="1263">
                  <c:v>67558680</c:v>
                </c:pt>
                <c:pt idx="1264">
                  <c:v>28473963</c:v>
                </c:pt>
                <c:pt idx="1265">
                  <c:v>159936832</c:v>
                </c:pt>
                <c:pt idx="1266">
                  <c:v>18801090</c:v>
                </c:pt>
                <c:pt idx="1267">
                  <c:v>67906632</c:v>
                </c:pt>
                <c:pt idx="1268">
                  <c:v>145590632</c:v>
                </c:pt>
                <c:pt idx="1269">
                  <c:v>54497070</c:v>
                </c:pt>
                <c:pt idx="1270">
                  <c:v>37171603</c:v>
                </c:pt>
                <c:pt idx="1271">
                  <c:v>55733700</c:v>
                </c:pt>
                <c:pt idx="1272">
                  <c:v>77780220</c:v>
                </c:pt>
                <c:pt idx="1273">
                  <c:v>113339896</c:v>
                </c:pt>
                <c:pt idx="1274">
                  <c:v>52754665</c:v>
                </c:pt>
                <c:pt idx="1275">
                  <c:v>718714328</c:v>
                </c:pt>
                <c:pt idx="1276">
                  <c:v>57131636</c:v>
                </c:pt>
                <c:pt idx="1277">
                  <c:v>49848682</c:v>
                </c:pt>
                <c:pt idx="1278">
                  <c:v>13445196</c:v>
                </c:pt>
                <c:pt idx="1279">
                  <c:v>311104916</c:v>
                </c:pt>
                <c:pt idx="1280">
                  <c:v>149316048</c:v>
                </c:pt>
                <c:pt idx="1281">
                  <c:v>37228800</c:v>
                </c:pt>
                <c:pt idx="1282">
                  <c:v>45785456</c:v>
                </c:pt>
                <c:pt idx="1283">
                  <c:v>21324296</c:v>
                </c:pt>
                <c:pt idx="1284">
                  <c:v>16374328</c:v>
                </c:pt>
                <c:pt idx="1285">
                  <c:v>56638880</c:v>
                </c:pt>
                <c:pt idx="1286">
                  <c:v>108451160</c:v>
                </c:pt>
                <c:pt idx="1287">
                  <c:v>54364576</c:v>
                </c:pt>
                <c:pt idx="1288">
                  <c:v>15301762</c:v>
                </c:pt>
                <c:pt idx="1289">
                  <c:v>134757610</c:v>
                </c:pt>
                <c:pt idx="1290">
                  <c:v>37652042</c:v>
                </c:pt>
                <c:pt idx="1291">
                  <c:v>6207488</c:v>
                </c:pt>
                <c:pt idx="1292">
                  <c:v>164781218</c:v>
                </c:pt>
                <c:pt idx="1293">
                  <c:v>283918590</c:v>
                </c:pt>
                <c:pt idx="1294">
                  <c:v>21022264</c:v>
                </c:pt>
                <c:pt idx="1295">
                  <c:v>49771608</c:v>
                </c:pt>
                <c:pt idx="1296">
                  <c:v>24373008</c:v>
                </c:pt>
                <c:pt idx="1297">
                  <c:v>43649172</c:v>
                </c:pt>
                <c:pt idx="1298">
                  <c:v>30765520</c:v>
                </c:pt>
                <c:pt idx="1299">
                  <c:v>80782240</c:v>
                </c:pt>
                <c:pt idx="1300">
                  <c:v>21592425</c:v>
                </c:pt>
                <c:pt idx="1301">
                  <c:v>118044150</c:v>
                </c:pt>
                <c:pt idx="1302">
                  <c:v>35530950</c:v>
                </c:pt>
                <c:pt idx="1303">
                  <c:v>56432420</c:v>
                </c:pt>
                <c:pt idx="1304">
                  <c:v>98421900</c:v>
                </c:pt>
                <c:pt idx="1305">
                  <c:v>43005436</c:v>
                </c:pt>
                <c:pt idx="1306">
                  <c:v>20907975</c:v>
                </c:pt>
                <c:pt idx="1307">
                  <c:v>165669590</c:v>
                </c:pt>
                <c:pt idx="1308">
                  <c:v>46601984</c:v>
                </c:pt>
                <c:pt idx="1309">
                  <c:v>18339018</c:v>
                </c:pt>
                <c:pt idx="1310">
                  <c:v>280792054</c:v>
                </c:pt>
                <c:pt idx="1311">
                  <c:v>52844377</c:v>
                </c:pt>
                <c:pt idx="1312">
                  <c:v>41494575</c:v>
                </c:pt>
                <c:pt idx="1313">
                  <c:v>85051764</c:v>
                </c:pt>
                <c:pt idx="1314">
                  <c:v>30258228</c:v>
                </c:pt>
                <c:pt idx="1315">
                  <c:v>57355784</c:v>
                </c:pt>
                <c:pt idx="1316">
                  <c:v>55816891</c:v>
                </c:pt>
                <c:pt idx="1317">
                  <c:v>46849530</c:v>
                </c:pt>
                <c:pt idx="1318">
                  <c:v>80306226</c:v>
                </c:pt>
                <c:pt idx="1319">
                  <c:v>281767112</c:v>
                </c:pt>
                <c:pt idx="1320">
                  <c:v>41634208</c:v>
                </c:pt>
                <c:pt idx="1321">
                  <c:v>22277574</c:v>
                </c:pt>
                <c:pt idx="1322">
                  <c:v>99461698</c:v>
                </c:pt>
                <c:pt idx="1323">
                  <c:v>10119206</c:v>
                </c:pt>
                <c:pt idx="1324">
                  <c:v>45752602</c:v>
                </c:pt>
                <c:pt idx="1325">
                  <c:v>15940671</c:v>
                </c:pt>
                <c:pt idx="1326">
                  <c:v>4504084</c:v>
                </c:pt>
                <c:pt idx="1327">
                  <c:v>43351050</c:v>
                </c:pt>
                <c:pt idx="1328">
                  <c:v>23891752</c:v>
                </c:pt>
                <c:pt idx="1329">
                  <c:v>38625648</c:v>
                </c:pt>
                <c:pt idx="1330">
                  <c:v>159750903</c:v>
                </c:pt>
                <c:pt idx="1331">
                  <c:v>324564000</c:v>
                </c:pt>
                <c:pt idx="1332">
                  <c:v>105177294</c:v>
                </c:pt>
                <c:pt idx="1333">
                  <c:v>90895848</c:v>
                </c:pt>
                <c:pt idx="1334">
                  <c:v>6932030</c:v>
                </c:pt>
                <c:pt idx="1335">
                  <c:v>23301711</c:v>
                </c:pt>
                <c:pt idx="1336">
                  <c:v>56209075</c:v>
                </c:pt>
                <c:pt idx="1337">
                  <c:v>41225250</c:v>
                </c:pt>
                <c:pt idx="1338">
                  <c:v>39958712</c:v>
                </c:pt>
                <c:pt idx="1339">
                  <c:v>38015824</c:v>
                </c:pt>
                <c:pt idx="1340">
                  <c:v>26039708</c:v>
                </c:pt>
                <c:pt idx="1341">
                  <c:v>22087703</c:v>
                </c:pt>
                <c:pt idx="1342">
                  <c:v>52608816</c:v>
                </c:pt>
                <c:pt idx="1343">
                  <c:v>58042472</c:v>
                </c:pt>
                <c:pt idx="1344">
                  <c:v>36861952</c:v>
                </c:pt>
                <c:pt idx="1345">
                  <c:v>114480072</c:v>
                </c:pt>
                <c:pt idx="1346">
                  <c:v>41031876</c:v>
                </c:pt>
                <c:pt idx="1347">
                  <c:v>12260270</c:v>
                </c:pt>
                <c:pt idx="1348">
                  <c:v>209330040</c:v>
                </c:pt>
                <c:pt idx="1349">
                  <c:v>11190810</c:v>
                </c:pt>
                <c:pt idx="1350">
                  <c:v>9018936</c:v>
                </c:pt>
                <c:pt idx="1351">
                  <c:v>154629475</c:v>
                </c:pt>
                <c:pt idx="1352">
                  <c:v>48061700</c:v>
                </c:pt>
                <c:pt idx="1353">
                  <c:v>15157820</c:v>
                </c:pt>
                <c:pt idx="1354">
                  <c:v>35271621</c:v>
                </c:pt>
                <c:pt idx="1355">
                  <c:v>8043306</c:v>
                </c:pt>
                <c:pt idx="1356">
                  <c:v>120125621</c:v>
                </c:pt>
                <c:pt idx="1357">
                  <c:v>23025786</c:v>
                </c:pt>
                <c:pt idx="1358">
                  <c:v>25122981</c:v>
                </c:pt>
                <c:pt idx="1359">
                  <c:v>25086360</c:v>
                </c:pt>
                <c:pt idx="1360">
                  <c:v>50313600</c:v>
                </c:pt>
                <c:pt idx="1361">
                  <c:v>14022000</c:v>
                </c:pt>
                <c:pt idx="1362">
                  <c:v>42640182</c:v>
                </c:pt>
                <c:pt idx="1363">
                  <c:v>29179776</c:v>
                </c:pt>
                <c:pt idx="1364">
                  <c:v>13657326</c:v>
                </c:pt>
                <c:pt idx="1365">
                  <c:v>4205361</c:v>
                </c:pt>
                <c:pt idx="1366">
                  <c:v>16989478</c:v>
                </c:pt>
                <c:pt idx="1367">
                  <c:v>36111435</c:v>
                </c:pt>
                <c:pt idx="1368">
                  <c:v>140893398</c:v>
                </c:pt>
                <c:pt idx="1369">
                  <c:v>201945454</c:v>
                </c:pt>
                <c:pt idx="1370">
                  <c:v>120306326</c:v>
                </c:pt>
                <c:pt idx="1371">
                  <c:v>27331720</c:v>
                </c:pt>
                <c:pt idx="1372">
                  <c:v>156395155</c:v>
                </c:pt>
                <c:pt idx="1373">
                  <c:v>21484288</c:v>
                </c:pt>
                <c:pt idx="1374">
                  <c:v>62523720</c:v>
                </c:pt>
                <c:pt idx="1375">
                  <c:v>88612808</c:v>
                </c:pt>
                <c:pt idx="1376">
                  <c:v>51219945</c:v>
                </c:pt>
                <c:pt idx="1377">
                  <c:v>23777280</c:v>
                </c:pt>
                <c:pt idx="1378">
                  <c:v>26263694</c:v>
                </c:pt>
                <c:pt idx="1379">
                  <c:v>28476441</c:v>
                </c:pt>
                <c:pt idx="1380">
                  <c:v>25028520</c:v>
                </c:pt>
                <c:pt idx="1381">
                  <c:v>257955912</c:v>
                </c:pt>
                <c:pt idx="1382">
                  <c:v>37250070</c:v>
                </c:pt>
                <c:pt idx="1383">
                  <c:v>38601792</c:v>
                </c:pt>
                <c:pt idx="1384">
                  <c:v>435850624</c:v>
                </c:pt>
                <c:pt idx="1385">
                  <c:v>122041536</c:v>
                </c:pt>
                <c:pt idx="1386">
                  <c:v>74207292</c:v>
                </c:pt>
                <c:pt idx="1387">
                  <c:v>13958046</c:v>
                </c:pt>
                <c:pt idx="1388">
                  <c:v>16968425</c:v>
                </c:pt>
                <c:pt idx="1389">
                  <c:v>14946935</c:v>
                </c:pt>
                <c:pt idx="1390">
                  <c:v>177866370</c:v>
                </c:pt>
                <c:pt idx="1391">
                  <c:v>99375408</c:v>
                </c:pt>
                <c:pt idx="1392">
                  <c:v>12278174</c:v>
                </c:pt>
                <c:pt idx="1393">
                  <c:v>69962400</c:v>
                </c:pt>
                <c:pt idx="1394">
                  <c:v>73678940</c:v>
                </c:pt>
                <c:pt idx="1395">
                  <c:v>561982996</c:v>
                </c:pt>
                <c:pt idx="1396">
                  <c:v>23348208</c:v>
                </c:pt>
                <c:pt idx="1397">
                  <c:v>16949387</c:v>
                </c:pt>
                <c:pt idx="1398">
                  <c:v>12827744</c:v>
                </c:pt>
                <c:pt idx="1399">
                  <c:v>34289920</c:v>
                </c:pt>
                <c:pt idx="1400">
                  <c:v>63044370</c:v>
                </c:pt>
                <c:pt idx="1401">
                  <c:v>182157660</c:v>
                </c:pt>
                <c:pt idx="1402">
                  <c:v>27532776</c:v>
                </c:pt>
                <c:pt idx="1403">
                  <c:v>8550216</c:v>
                </c:pt>
                <c:pt idx="1404">
                  <c:v>31598073</c:v>
                </c:pt>
                <c:pt idx="1405">
                  <c:v>66070004</c:v>
                </c:pt>
                <c:pt idx="1406">
                  <c:v>91639236</c:v>
                </c:pt>
                <c:pt idx="1407">
                  <c:v>28081597</c:v>
                </c:pt>
                <c:pt idx="1408">
                  <c:v>29152042</c:v>
                </c:pt>
                <c:pt idx="1409">
                  <c:v>7242606</c:v>
                </c:pt>
                <c:pt idx="1410">
                  <c:v>17182848</c:v>
                </c:pt>
                <c:pt idx="1411">
                  <c:v>13766634</c:v>
                </c:pt>
                <c:pt idx="1412">
                  <c:v>29797236</c:v>
                </c:pt>
                <c:pt idx="1413">
                  <c:v>8275930</c:v>
                </c:pt>
                <c:pt idx="1414">
                  <c:v>75972630</c:v>
                </c:pt>
                <c:pt idx="1415">
                  <c:v>1052644180</c:v>
                </c:pt>
                <c:pt idx="1416">
                  <c:v>983601398</c:v>
                </c:pt>
                <c:pt idx="1417">
                  <c:v>266658000</c:v>
                </c:pt>
                <c:pt idx="1418">
                  <c:v>413668731</c:v>
                </c:pt>
                <c:pt idx="1419">
                  <c:v>60817456</c:v>
                </c:pt>
                <c:pt idx="1420">
                  <c:v>20884262</c:v>
                </c:pt>
                <c:pt idx="1421">
                  <c:v>14318031</c:v>
                </c:pt>
                <c:pt idx="1422">
                  <c:v>242811621</c:v>
                </c:pt>
                <c:pt idx="1423">
                  <c:v>55858250</c:v>
                </c:pt>
                <c:pt idx="1424">
                  <c:v>237694612</c:v>
                </c:pt>
                <c:pt idx="1425">
                  <c:v>671084843</c:v>
                </c:pt>
                <c:pt idx="1426">
                  <c:v>31075584</c:v>
                </c:pt>
                <c:pt idx="1427">
                  <c:v>159746664</c:v>
                </c:pt>
                <c:pt idx="1428">
                  <c:v>1016982810</c:v>
                </c:pt>
                <c:pt idx="1429">
                  <c:v>193174800</c:v>
                </c:pt>
                <c:pt idx="1430">
                  <c:v>47499180</c:v>
                </c:pt>
                <c:pt idx="1431">
                  <c:v>57120984</c:v>
                </c:pt>
                <c:pt idx="1432">
                  <c:v>49424256</c:v>
                </c:pt>
                <c:pt idx="1433">
                  <c:v>101426886</c:v>
                </c:pt>
                <c:pt idx="1434">
                  <c:v>42166551</c:v>
                </c:pt>
                <c:pt idx="1435">
                  <c:v>274224258</c:v>
                </c:pt>
                <c:pt idx="1436">
                  <c:v>71201188</c:v>
                </c:pt>
                <c:pt idx="1437">
                  <c:v>14699982</c:v>
                </c:pt>
                <c:pt idx="1438">
                  <c:v>107829540</c:v>
                </c:pt>
                <c:pt idx="1439">
                  <c:v>297911224</c:v>
                </c:pt>
                <c:pt idx="1440">
                  <c:v>549960988</c:v>
                </c:pt>
                <c:pt idx="1441">
                  <c:v>21361395</c:v>
                </c:pt>
                <c:pt idx="1442">
                  <c:v>85619703</c:v>
                </c:pt>
                <c:pt idx="1443">
                  <c:v>68444640</c:v>
                </c:pt>
                <c:pt idx="1444">
                  <c:v>54625824</c:v>
                </c:pt>
                <c:pt idx="1445">
                  <c:v>74200530</c:v>
                </c:pt>
                <c:pt idx="1446">
                  <c:v>216862116</c:v>
                </c:pt>
                <c:pt idx="1447">
                  <c:v>506701430</c:v>
                </c:pt>
                <c:pt idx="1448">
                  <c:v>452571240</c:v>
                </c:pt>
                <c:pt idx="1449">
                  <c:v>38994750</c:v>
                </c:pt>
                <c:pt idx="1450">
                  <c:v>77384552</c:v>
                </c:pt>
                <c:pt idx="1451">
                  <c:v>50150420</c:v>
                </c:pt>
                <c:pt idx="1452">
                  <c:v>235539040</c:v>
                </c:pt>
                <c:pt idx="1453">
                  <c:v>150765824</c:v>
                </c:pt>
                <c:pt idx="1454">
                  <c:v>215875032</c:v>
                </c:pt>
                <c:pt idx="1455">
                  <c:v>31075200</c:v>
                </c:pt>
                <c:pt idx="1456">
                  <c:v>65882320</c:v>
                </c:pt>
                <c:pt idx="1457">
                  <c:v>554460816</c:v>
                </c:pt>
                <c:pt idx="1458">
                  <c:v>524248152</c:v>
                </c:pt>
                <c:pt idx="1459">
                  <c:v>545520339</c:v>
                </c:pt>
                <c:pt idx="1460">
                  <c:v>31760190</c:v>
                </c:pt>
                <c:pt idx="1461">
                  <c:v>23728638</c:v>
                </c:pt>
                <c:pt idx="1462">
                  <c:v>15752832</c:v>
                </c:pt>
                <c:pt idx="1463">
                  <c:v>38526552</c:v>
                </c:pt>
                <c:pt idx="1464">
                  <c:v>48571201</c:v>
                </c:pt>
                <c:pt idx="1465">
                  <c:v>19710938</c:v>
                </c:pt>
                <c:pt idx="1466">
                  <c:v>16064895</c:v>
                </c:pt>
                <c:pt idx="1467">
                  <c:v>42224134</c:v>
                </c:pt>
                <c:pt idx="1468">
                  <c:v>147183841</c:v>
                </c:pt>
                <c:pt idx="1469">
                  <c:v>83168532</c:v>
                </c:pt>
                <c:pt idx="1470">
                  <c:v>55038375</c:v>
                </c:pt>
                <c:pt idx="1471">
                  <c:v>76664470</c:v>
                </c:pt>
                <c:pt idx="1472">
                  <c:v>241517316</c:v>
                </c:pt>
                <c:pt idx="1473">
                  <c:v>174963063</c:v>
                </c:pt>
                <c:pt idx="1474">
                  <c:v>70220228</c:v>
                </c:pt>
                <c:pt idx="1475">
                  <c:v>22345950</c:v>
                </c:pt>
                <c:pt idx="1476">
                  <c:v>334677904</c:v>
                </c:pt>
                <c:pt idx="1477">
                  <c:v>118779832</c:v>
                </c:pt>
                <c:pt idx="1478">
                  <c:v>91537992</c:v>
                </c:pt>
                <c:pt idx="1479">
                  <c:v>29701826</c:v>
                </c:pt>
                <c:pt idx="1480">
                  <c:v>196234308</c:v>
                </c:pt>
                <c:pt idx="1481">
                  <c:v>122126755</c:v>
                </c:pt>
                <c:pt idx="1482">
                  <c:v>99367835</c:v>
                </c:pt>
                <c:pt idx="1483">
                  <c:v>71580792</c:v>
                </c:pt>
                <c:pt idx="1484">
                  <c:v>4287471</c:v>
                </c:pt>
                <c:pt idx="1485">
                  <c:v>44265540</c:v>
                </c:pt>
                <c:pt idx="1486">
                  <c:v>675487962</c:v>
                </c:pt>
                <c:pt idx="1487">
                  <c:v>13221342</c:v>
                </c:pt>
                <c:pt idx="1488">
                  <c:v>29938064</c:v>
                </c:pt>
                <c:pt idx="1489">
                  <c:v>194400525</c:v>
                </c:pt>
                <c:pt idx="1490">
                  <c:v>39761392</c:v>
                </c:pt>
                <c:pt idx="1491">
                  <c:v>86460108</c:v>
                </c:pt>
                <c:pt idx="1492">
                  <c:v>22080493</c:v>
                </c:pt>
                <c:pt idx="1493">
                  <c:v>26517392</c:v>
                </c:pt>
                <c:pt idx="1494">
                  <c:v>46213128</c:v>
                </c:pt>
                <c:pt idx="1495">
                  <c:v>37260357</c:v>
                </c:pt>
                <c:pt idx="1496">
                  <c:v>24026490</c:v>
                </c:pt>
                <c:pt idx="1497">
                  <c:v>123932392</c:v>
                </c:pt>
                <c:pt idx="1498">
                  <c:v>12580884</c:v>
                </c:pt>
                <c:pt idx="1499">
                  <c:v>9324815</c:v>
                </c:pt>
                <c:pt idx="1500">
                  <c:v>20820150</c:v>
                </c:pt>
                <c:pt idx="1501">
                  <c:v>37060937</c:v>
                </c:pt>
                <c:pt idx="1502">
                  <c:v>340852590</c:v>
                </c:pt>
                <c:pt idx="1503">
                  <c:v>27653916</c:v>
                </c:pt>
                <c:pt idx="1504">
                  <c:v>19739376</c:v>
                </c:pt>
                <c:pt idx="1505">
                  <c:v>71644755</c:v>
                </c:pt>
                <c:pt idx="1506">
                  <c:v>26251540</c:v>
                </c:pt>
                <c:pt idx="1507">
                  <c:v>35382900</c:v>
                </c:pt>
                <c:pt idx="1508">
                  <c:v>13775182</c:v>
                </c:pt>
                <c:pt idx="1509">
                  <c:v>102982075</c:v>
                </c:pt>
                <c:pt idx="1510">
                  <c:v>84568920</c:v>
                </c:pt>
                <c:pt idx="1511">
                  <c:v>51264992</c:v>
                </c:pt>
                <c:pt idx="1512">
                  <c:v>33481512</c:v>
                </c:pt>
                <c:pt idx="1513">
                  <c:v>58819212</c:v>
                </c:pt>
                <c:pt idx="1514">
                  <c:v>52407869</c:v>
                </c:pt>
                <c:pt idx="1515">
                  <c:v>42213652</c:v>
                </c:pt>
                <c:pt idx="1516">
                  <c:v>35538128</c:v>
                </c:pt>
                <c:pt idx="1517">
                  <c:v>72776576</c:v>
                </c:pt>
                <c:pt idx="1518">
                  <c:v>27568564</c:v>
                </c:pt>
                <c:pt idx="1519">
                  <c:v>16807329</c:v>
                </c:pt>
                <c:pt idx="1520">
                  <c:v>11523634</c:v>
                </c:pt>
                <c:pt idx="1521">
                  <c:v>99414000</c:v>
                </c:pt>
                <c:pt idx="1522">
                  <c:v>27200187</c:v>
                </c:pt>
                <c:pt idx="1523">
                  <c:v>258838824</c:v>
                </c:pt>
                <c:pt idx="1524">
                  <c:v>10744032</c:v>
                </c:pt>
                <c:pt idx="1525">
                  <c:v>37028904</c:v>
                </c:pt>
                <c:pt idx="1526">
                  <c:v>45950490</c:v>
                </c:pt>
                <c:pt idx="1527">
                  <c:v>30355456</c:v>
                </c:pt>
                <c:pt idx="1528">
                  <c:v>24725433</c:v>
                </c:pt>
                <c:pt idx="1529">
                  <c:v>14425116</c:v>
                </c:pt>
                <c:pt idx="1530">
                  <c:v>76756834</c:v>
                </c:pt>
                <c:pt idx="1531">
                  <c:v>46050685</c:v>
                </c:pt>
                <c:pt idx="1532">
                  <c:v>43785790</c:v>
                </c:pt>
                <c:pt idx="1533">
                  <c:v>39208273</c:v>
                </c:pt>
                <c:pt idx="1534">
                  <c:v>49202316</c:v>
                </c:pt>
                <c:pt idx="1535">
                  <c:v>7100480</c:v>
                </c:pt>
                <c:pt idx="1536">
                  <c:v>19463092</c:v>
                </c:pt>
                <c:pt idx="1537">
                  <c:v>13684320</c:v>
                </c:pt>
                <c:pt idx="1538">
                  <c:v>16604580</c:v>
                </c:pt>
                <c:pt idx="1539">
                  <c:v>68749035</c:v>
                </c:pt>
                <c:pt idx="1540">
                  <c:v>36470016</c:v>
                </c:pt>
                <c:pt idx="1541">
                  <c:v>37589375</c:v>
                </c:pt>
                <c:pt idx="1542">
                  <c:v>19643456</c:v>
                </c:pt>
                <c:pt idx="1543">
                  <c:v>183427410</c:v>
                </c:pt>
                <c:pt idx="1544">
                  <c:v>40135334</c:v>
                </c:pt>
                <c:pt idx="1545">
                  <c:v>248276043</c:v>
                </c:pt>
                <c:pt idx="1546">
                  <c:v>44069168</c:v>
                </c:pt>
                <c:pt idx="1547">
                  <c:v>6936570</c:v>
                </c:pt>
                <c:pt idx="1548">
                  <c:v>67382541</c:v>
                </c:pt>
                <c:pt idx="1549">
                  <c:v>72305640</c:v>
                </c:pt>
                <c:pt idx="1550">
                  <c:v>15118560</c:v>
                </c:pt>
                <c:pt idx="1551">
                  <c:v>25224101</c:v>
                </c:pt>
                <c:pt idx="1552">
                  <c:v>17862152</c:v>
                </c:pt>
                <c:pt idx="1553">
                  <c:v>38970596</c:v>
                </c:pt>
                <c:pt idx="1554">
                  <c:v>22824474</c:v>
                </c:pt>
                <c:pt idx="1555">
                  <c:v>31183944</c:v>
                </c:pt>
                <c:pt idx="1556">
                  <c:v>18092035</c:v>
                </c:pt>
                <c:pt idx="1557">
                  <c:v>14478643</c:v>
                </c:pt>
                <c:pt idx="1558">
                  <c:v>2947584</c:v>
                </c:pt>
                <c:pt idx="1559">
                  <c:v>24598431</c:v>
                </c:pt>
                <c:pt idx="1560">
                  <c:v>3575040</c:v>
                </c:pt>
                <c:pt idx="1561">
                  <c:v>39719574</c:v>
                </c:pt>
                <c:pt idx="1562">
                  <c:v>32218145</c:v>
                </c:pt>
                <c:pt idx="1563">
                  <c:v>3365376</c:v>
                </c:pt>
                <c:pt idx="1564">
                  <c:v>1509927340</c:v>
                </c:pt>
                <c:pt idx="1565">
                  <c:v>907222140</c:v>
                </c:pt>
                <c:pt idx="1566">
                  <c:v>2147483647</c:v>
                </c:pt>
                <c:pt idx="1567">
                  <c:v>539914914</c:v>
                </c:pt>
                <c:pt idx="1568">
                  <c:v>322505820</c:v>
                </c:pt>
                <c:pt idx="1569">
                  <c:v>90182455</c:v>
                </c:pt>
                <c:pt idx="1570">
                  <c:v>582859602</c:v>
                </c:pt>
                <c:pt idx="1571">
                  <c:v>74010872</c:v>
                </c:pt>
                <c:pt idx="1572">
                  <c:v>69424740</c:v>
                </c:pt>
                <c:pt idx="1573">
                  <c:v>20585880</c:v>
                </c:pt>
                <c:pt idx="1574">
                  <c:v>223112460</c:v>
                </c:pt>
                <c:pt idx="1575">
                  <c:v>76355848</c:v>
                </c:pt>
                <c:pt idx="1576">
                  <c:v>881998038</c:v>
                </c:pt>
                <c:pt idx="1577">
                  <c:v>82299420</c:v>
                </c:pt>
                <c:pt idx="1578">
                  <c:v>1114764580</c:v>
                </c:pt>
                <c:pt idx="1579">
                  <c:v>1842481130</c:v>
                </c:pt>
                <c:pt idx="1580">
                  <c:v>437120886</c:v>
                </c:pt>
                <c:pt idx="1581">
                  <c:v>989902248</c:v>
                </c:pt>
                <c:pt idx="1582">
                  <c:v>119642022</c:v>
                </c:pt>
                <c:pt idx="1583">
                  <c:v>1343242080</c:v>
                </c:pt>
                <c:pt idx="1584">
                  <c:v>996521022</c:v>
                </c:pt>
                <c:pt idx="1585">
                  <c:v>238070996</c:v>
                </c:pt>
                <c:pt idx="1586">
                  <c:v>631459368</c:v>
                </c:pt>
                <c:pt idx="1587">
                  <c:v>291437305</c:v>
                </c:pt>
                <c:pt idx="1588">
                  <c:v>948334926</c:v>
                </c:pt>
                <c:pt idx="1589">
                  <c:v>387067100</c:v>
                </c:pt>
                <c:pt idx="1590">
                  <c:v>77563500</c:v>
                </c:pt>
                <c:pt idx="1591">
                  <c:v>133824656</c:v>
                </c:pt>
                <c:pt idx="1592">
                  <c:v>712147896</c:v>
                </c:pt>
                <c:pt idx="1593">
                  <c:v>160406820</c:v>
                </c:pt>
                <c:pt idx="1594">
                  <c:v>31469334</c:v>
                </c:pt>
                <c:pt idx="1595">
                  <c:v>1184042310</c:v>
                </c:pt>
                <c:pt idx="1596">
                  <c:v>992268004</c:v>
                </c:pt>
                <c:pt idx="1597">
                  <c:v>116215798</c:v>
                </c:pt>
                <c:pt idx="1598">
                  <c:v>182234533</c:v>
                </c:pt>
                <c:pt idx="1599">
                  <c:v>1029121894</c:v>
                </c:pt>
                <c:pt idx="1600">
                  <c:v>476965600</c:v>
                </c:pt>
                <c:pt idx="1601">
                  <c:v>397315560</c:v>
                </c:pt>
                <c:pt idx="1602">
                  <c:v>1500106454</c:v>
                </c:pt>
                <c:pt idx="1603">
                  <c:v>483208284</c:v>
                </c:pt>
                <c:pt idx="1604">
                  <c:v>611270744</c:v>
                </c:pt>
                <c:pt idx="1605">
                  <c:v>57865800</c:v>
                </c:pt>
                <c:pt idx="1606">
                  <c:v>1627846792</c:v>
                </c:pt>
                <c:pt idx="1607">
                  <c:v>830756241</c:v>
                </c:pt>
                <c:pt idx="1608">
                  <c:v>404636148</c:v>
                </c:pt>
                <c:pt idx="1609">
                  <c:v>180635738</c:v>
                </c:pt>
                <c:pt idx="1610">
                  <c:v>219433025</c:v>
                </c:pt>
                <c:pt idx="1611">
                  <c:v>58925282</c:v>
                </c:pt>
                <c:pt idx="1612">
                  <c:v>337789936</c:v>
                </c:pt>
                <c:pt idx="1613">
                  <c:v>202364016</c:v>
                </c:pt>
                <c:pt idx="1614">
                  <c:v>1233959814</c:v>
                </c:pt>
                <c:pt idx="1615">
                  <c:v>512338123</c:v>
                </c:pt>
                <c:pt idx="1616">
                  <c:v>374916872</c:v>
                </c:pt>
                <c:pt idx="1617">
                  <c:v>159059376</c:v>
                </c:pt>
                <c:pt idx="1618">
                  <c:v>629786495</c:v>
                </c:pt>
                <c:pt idx="1619">
                  <c:v>802035552</c:v>
                </c:pt>
                <c:pt idx="1620">
                  <c:v>1422451008</c:v>
                </c:pt>
                <c:pt idx="1621">
                  <c:v>581972078</c:v>
                </c:pt>
                <c:pt idx="1622">
                  <c:v>1338966740</c:v>
                </c:pt>
                <c:pt idx="1623">
                  <c:v>486045125</c:v>
                </c:pt>
                <c:pt idx="1624">
                  <c:v>1301675975</c:v>
                </c:pt>
                <c:pt idx="1625">
                  <c:v>396077607</c:v>
                </c:pt>
                <c:pt idx="1626">
                  <c:v>539060683</c:v>
                </c:pt>
                <c:pt idx="1627">
                  <c:v>1078798916</c:v>
                </c:pt>
                <c:pt idx="1628">
                  <c:v>887527460</c:v>
                </c:pt>
                <c:pt idx="1629">
                  <c:v>797480460</c:v>
                </c:pt>
                <c:pt idx="1630">
                  <c:v>192058740</c:v>
                </c:pt>
                <c:pt idx="1631">
                  <c:v>366012416</c:v>
                </c:pt>
                <c:pt idx="1632">
                  <c:v>207993056</c:v>
                </c:pt>
                <c:pt idx="1633">
                  <c:v>140513018</c:v>
                </c:pt>
                <c:pt idx="1634">
                  <c:v>281662526</c:v>
                </c:pt>
                <c:pt idx="1635">
                  <c:v>76811830</c:v>
                </c:pt>
                <c:pt idx="1636">
                  <c:v>282486816</c:v>
                </c:pt>
                <c:pt idx="1637">
                  <c:v>566496920</c:v>
                </c:pt>
                <c:pt idx="1638">
                  <c:v>340878354</c:v>
                </c:pt>
                <c:pt idx="1639">
                  <c:v>240510556</c:v>
                </c:pt>
                <c:pt idx="1640">
                  <c:v>51586260</c:v>
                </c:pt>
                <c:pt idx="1641">
                  <c:v>11343684</c:v>
                </c:pt>
                <c:pt idx="1642">
                  <c:v>104937546</c:v>
                </c:pt>
                <c:pt idx="1643">
                  <c:v>328529607</c:v>
                </c:pt>
                <c:pt idx="1644">
                  <c:v>342992325</c:v>
                </c:pt>
                <c:pt idx="1645">
                  <c:v>229489304</c:v>
                </c:pt>
                <c:pt idx="1646">
                  <c:v>75558375</c:v>
                </c:pt>
                <c:pt idx="1647">
                  <c:v>177527073</c:v>
                </c:pt>
                <c:pt idx="1648">
                  <c:v>65303221</c:v>
                </c:pt>
                <c:pt idx="1649">
                  <c:v>212361526</c:v>
                </c:pt>
                <c:pt idx="1650">
                  <c:v>291108780</c:v>
                </c:pt>
                <c:pt idx="1651">
                  <c:v>27836532</c:v>
                </c:pt>
                <c:pt idx="1652">
                  <c:v>6772430</c:v>
                </c:pt>
                <c:pt idx="1653">
                  <c:v>10292155</c:v>
                </c:pt>
                <c:pt idx="1654">
                  <c:v>310742895</c:v>
                </c:pt>
                <c:pt idx="1655">
                  <c:v>153150400</c:v>
                </c:pt>
                <c:pt idx="1656">
                  <c:v>227761056</c:v>
                </c:pt>
                <c:pt idx="1657">
                  <c:v>220782868</c:v>
                </c:pt>
                <c:pt idx="1658">
                  <c:v>101942556</c:v>
                </c:pt>
                <c:pt idx="1659">
                  <c:v>362942988</c:v>
                </c:pt>
                <c:pt idx="1660">
                  <c:v>66832958</c:v>
                </c:pt>
                <c:pt idx="1661">
                  <c:v>758765112</c:v>
                </c:pt>
                <c:pt idx="1662">
                  <c:v>120099753</c:v>
                </c:pt>
                <c:pt idx="1663">
                  <c:v>231178944</c:v>
                </c:pt>
                <c:pt idx="1664">
                  <c:v>28697536</c:v>
                </c:pt>
                <c:pt idx="1665">
                  <c:v>380514743</c:v>
                </c:pt>
                <c:pt idx="1666">
                  <c:v>94676626</c:v>
                </c:pt>
                <c:pt idx="1667">
                  <c:v>245811345</c:v>
                </c:pt>
                <c:pt idx="1668">
                  <c:v>383061380</c:v>
                </c:pt>
                <c:pt idx="1669">
                  <c:v>1110307320</c:v>
                </c:pt>
                <c:pt idx="1670">
                  <c:v>575402978</c:v>
                </c:pt>
                <c:pt idx="1671">
                  <c:v>185984898</c:v>
                </c:pt>
                <c:pt idx="1672">
                  <c:v>691325184</c:v>
                </c:pt>
                <c:pt idx="1673">
                  <c:v>545849752</c:v>
                </c:pt>
                <c:pt idx="1674">
                  <c:v>213771636</c:v>
                </c:pt>
                <c:pt idx="1675">
                  <c:v>1242713655</c:v>
                </c:pt>
                <c:pt idx="1676">
                  <c:v>194558574</c:v>
                </c:pt>
                <c:pt idx="1677">
                  <c:v>301916313</c:v>
                </c:pt>
                <c:pt idx="1678">
                  <c:v>783923200</c:v>
                </c:pt>
                <c:pt idx="1679">
                  <c:v>261077804</c:v>
                </c:pt>
                <c:pt idx="1680">
                  <c:v>177228023</c:v>
                </c:pt>
                <c:pt idx="1681">
                  <c:v>89997908</c:v>
                </c:pt>
                <c:pt idx="1682">
                  <c:v>375282635</c:v>
                </c:pt>
                <c:pt idx="1683">
                  <c:v>402717700</c:v>
                </c:pt>
                <c:pt idx="1684">
                  <c:v>75457008</c:v>
                </c:pt>
                <c:pt idx="1685">
                  <c:v>376434168</c:v>
                </c:pt>
                <c:pt idx="1686">
                  <c:v>103205838</c:v>
                </c:pt>
                <c:pt idx="1687">
                  <c:v>724451784</c:v>
                </c:pt>
                <c:pt idx="1688">
                  <c:v>16155419</c:v>
                </c:pt>
                <c:pt idx="1689">
                  <c:v>613484160</c:v>
                </c:pt>
                <c:pt idx="1690">
                  <c:v>299934000</c:v>
                </c:pt>
                <c:pt idx="1691">
                  <c:v>1518298538</c:v>
                </c:pt>
                <c:pt idx="1692">
                  <c:v>31458669</c:v>
                </c:pt>
                <c:pt idx="1693">
                  <c:v>1579050000</c:v>
                </c:pt>
                <c:pt idx="1694">
                  <c:v>171869796</c:v>
                </c:pt>
                <c:pt idx="1695">
                  <c:v>618003000</c:v>
                </c:pt>
                <c:pt idx="1696">
                  <c:v>768832533</c:v>
                </c:pt>
                <c:pt idx="1697">
                  <c:v>685112472</c:v>
                </c:pt>
                <c:pt idx="1698">
                  <c:v>219148191</c:v>
                </c:pt>
                <c:pt idx="1699">
                  <c:v>423203361</c:v>
                </c:pt>
                <c:pt idx="1700">
                  <c:v>317303988</c:v>
                </c:pt>
                <c:pt idx="1701">
                  <c:v>223045050</c:v>
                </c:pt>
                <c:pt idx="1702">
                  <c:v>407688779</c:v>
                </c:pt>
                <c:pt idx="1703">
                  <c:v>301349880</c:v>
                </c:pt>
                <c:pt idx="1704">
                  <c:v>589894197</c:v>
                </c:pt>
                <c:pt idx="1705">
                  <c:v>244594311</c:v>
                </c:pt>
                <c:pt idx="1706">
                  <c:v>1414396615</c:v>
                </c:pt>
                <c:pt idx="1707">
                  <c:v>146730604</c:v>
                </c:pt>
                <c:pt idx="1708">
                  <c:v>289231110</c:v>
                </c:pt>
                <c:pt idx="1709">
                  <c:v>125609540</c:v>
                </c:pt>
                <c:pt idx="1710">
                  <c:v>1247006086</c:v>
                </c:pt>
                <c:pt idx="1711">
                  <c:v>356784372</c:v>
                </c:pt>
                <c:pt idx="1712">
                  <c:v>1196054352</c:v>
                </c:pt>
                <c:pt idx="1713">
                  <c:v>788419696</c:v>
                </c:pt>
                <c:pt idx="1714">
                  <c:v>138344850</c:v>
                </c:pt>
                <c:pt idx="1715">
                  <c:v>22532668</c:v>
                </c:pt>
                <c:pt idx="1716">
                  <c:v>1822542664</c:v>
                </c:pt>
                <c:pt idx="1717">
                  <c:v>1980384509</c:v>
                </c:pt>
                <c:pt idx="1718">
                  <c:v>767199056</c:v>
                </c:pt>
                <c:pt idx="1719">
                  <c:v>23850736</c:v>
                </c:pt>
                <c:pt idx="1720">
                  <c:v>987747190</c:v>
                </c:pt>
                <c:pt idx="1721">
                  <c:v>147185412</c:v>
                </c:pt>
                <c:pt idx="1722">
                  <c:v>953019286</c:v>
                </c:pt>
                <c:pt idx="1723">
                  <c:v>339812642</c:v>
                </c:pt>
                <c:pt idx="1724">
                  <c:v>366537343</c:v>
                </c:pt>
                <c:pt idx="1725">
                  <c:v>1288865424</c:v>
                </c:pt>
                <c:pt idx="1726">
                  <c:v>639376320</c:v>
                </c:pt>
                <c:pt idx="1727">
                  <c:v>811791450</c:v>
                </c:pt>
                <c:pt idx="1728">
                  <c:v>667489753</c:v>
                </c:pt>
                <c:pt idx="1729">
                  <c:v>477095872</c:v>
                </c:pt>
                <c:pt idx="1730">
                  <c:v>461046168</c:v>
                </c:pt>
                <c:pt idx="1731">
                  <c:v>58467712</c:v>
                </c:pt>
                <c:pt idx="1732">
                  <c:v>709829388</c:v>
                </c:pt>
                <c:pt idx="1733">
                  <c:v>689999232</c:v>
                </c:pt>
                <c:pt idx="1734">
                  <c:v>2055639440</c:v>
                </c:pt>
                <c:pt idx="1735">
                  <c:v>1156296435</c:v>
                </c:pt>
                <c:pt idx="1736">
                  <c:v>1683069712</c:v>
                </c:pt>
                <c:pt idx="1737">
                  <c:v>1927477710</c:v>
                </c:pt>
                <c:pt idx="1738">
                  <c:v>377103926</c:v>
                </c:pt>
                <c:pt idx="1739">
                  <c:v>239618764</c:v>
                </c:pt>
                <c:pt idx="1740">
                  <c:v>1607215618</c:v>
                </c:pt>
                <c:pt idx="1741">
                  <c:v>1021370844</c:v>
                </c:pt>
                <c:pt idx="1742">
                  <c:v>898356704</c:v>
                </c:pt>
                <c:pt idx="1743">
                  <c:v>937084140</c:v>
                </c:pt>
                <c:pt idx="1744">
                  <c:v>562675428</c:v>
                </c:pt>
                <c:pt idx="1745">
                  <c:v>1682526156</c:v>
                </c:pt>
                <c:pt idx="1746">
                  <c:v>667669968</c:v>
                </c:pt>
                <c:pt idx="1747">
                  <c:v>694114528</c:v>
                </c:pt>
                <c:pt idx="1748">
                  <c:v>331427460</c:v>
                </c:pt>
                <c:pt idx="1749">
                  <c:v>339606280</c:v>
                </c:pt>
                <c:pt idx="1750">
                  <c:v>632212056</c:v>
                </c:pt>
                <c:pt idx="1751">
                  <c:v>622405326</c:v>
                </c:pt>
                <c:pt idx="1752">
                  <c:v>687009064</c:v>
                </c:pt>
                <c:pt idx="1753">
                  <c:v>1306997125</c:v>
                </c:pt>
                <c:pt idx="1754">
                  <c:v>141043050</c:v>
                </c:pt>
                <c:pt idx="1755">
                  <c:v>290994500</c:v>
                </c:pt>
                <c:pt idx="1756">
                  <c:v>593527890</c:v>
                </c:pt>
                <c:pt idx="1757">
                  <c:v>2014812972</c:v>
                </c:pt>
                <c:pt idx="1758">
                  <c:v>556312838</c:v>
                </c:pt>
                <c:pt idx="1759">
                  <c:v>1398455274</c:v>
                </c:pt>
                <c:pt idx="1760">
                  <c:v>703393925</c:v>
                </c:pt>
                <c:pt idx="1761">
                  <c:v>32601573</c:v>
                </c:pt>
                <c:pt idx="1762">
                  <c:v>686946670</c:v>
                </c:pt>
                <c:pt idx="1763">
                  <c:v>718188800</c:v>
                </c:pt>
                <c:pt idx="1764">
                  <c:v>336865914</c:v>
                </c:pt>
                <c:pt idx="1765">
                  <c:v>957505080</c:v>
                </c:pt>
                <c:pt idx="1766">
                  <c:v>217043996</c:v>
                </c:pt>
                <c:pt idx="1767">
                  <c:v>398442376</c:v>
                </c:pt>
                <c:pt idx="1768">
                  <c:v>742976107</c:v>
                </c:pt>
                <c:pt idx="1769">
                  <c:v>68128452</c:v>
                </c:pt>
                <c:pt idx="1770">
                  <c:v>159843240</c:v>
                </c:pt>
                <c:pt idx="1771">
                  <c:v>143547040</c:v>
                </c:pt>
                <c:pt idx="1772">
                  <c:v>7583212</c:v>
                </c:pt>
                <c:pt idx="1773">
                  <c:v>108664200</c:v>
                </c:pt>
                <c:pt idx="1774">
                  <c:v>38575042</c:v>
                </c:pt>
                <c:pt idx="1775">
                  <c:v>190789185</c:v>
                </c:pt>
                <c:pt idx="1776">
                  <c:v>109114766</c:v>
                </c:pt>
                <c:pt idx="1777">
                  <c:v>305860940</c:v>
                </c:pt>
                <c:pt idx="1778">
                  <c:v>412643282</c:v>
                </c:pt>
                <c:pt idx="1779">
                  <c:v>107089125</c:v>
                </c:pt>
                <c:pt idx="1780">
                  <c:v>1243340356</c:v>
                </c:pt>
                <c:pt idx="1781">
                  <c:v>1192176363</c:v>
                </c:pt>
                <c:pt idx="1782">
                  <c:v>114743848</c:v>
                </c:pt>
                <c:pt idx="1783">
                  <c:v>56340040</c:v>
                </c:pt>
                <c:pt idx="1784">
                  <c:v>334452720</c:v>
                </c:pt>
                <c:pt idx="1785">
                  <c:v>81244725</c:v>
                </c:pt>
                <c:pt idx="1786">
                  <c:v>156379182</c:v>
                </c:pt>
                <c:pt idx="1787">
                  <c:v>323039178</c:v>
                </c:pt>
                <c:pt idx="1788">
                  <c:v>76507670</c:v>
                </c:pt>
                <c:pt idx="1789">
                  <c:v>386196888</c:v>
                </c:pt>
                <c:pt idx="1790">
                  <c:v>363463236</c:v>
                </c:pt>
                <c:pt idx="1791">
                  <c:v>1143317208</c:v>
                </c:pt>
                <c:pt idx="1792">
                  <c:v>287400870</c:v>
                </c:pt>
                <c:pt idx="1793">
                  <c:v>118987120</c:v>
                </c:pt>
                <c:pt idx="1794">
                  <c:v>35394246</c:v>
                </c:pt>
                <c:pt idx="1795">
                  <c:v>564292430</c:v>
                </c:pt>
                <c:pt idx="1796">
                  <c:v>72316628</c:v>
                </c:pt>
                <c:pt idx="1797">
                  <c:v>613274753</c:v>
                </c:pt>
                <c:pt idx="1798">
                  <c:v>944210691</c:v>
                </c:pt>
                <c:pt idx="1799">
                  <c:v>1007737152</c:v>
                </c:pt>
                <c:pt idx="1800">
                  <c:v>683920170</c:v>
                </c:pt>
                <c:pt idx="1801">
                  <c:v>1787539152</c:v>
                </c:pt>
                <c:pt idx="1802">
                  <c:v>1548669210</c:v>
                </c:pt>
                <c:pt idx="1803">
                  <c:v>667713846</c:v>
                </c:pt>
                <c:pt idx="1804">
                  <c:v>2147483647</c:v>
                </c:pt>
                <c:pt idx="1805">
                  <c:v>2147483647</c:v>
                </c:pt>
                <c:pt idx="1806">
                  <c:v>1154048256</c:v>
                </c:pt>
                <c:pt idx="1807">
                  <c:v>2147483647</c:v>
                </c:pt>
                <c:pt idx="1808">
                  <c:v>1763988930</c:v>
                </c:pt>
                <c:pt idx="1809">
                  <c:v>2147483647</c:v>
                </c:pt>
                <c:pt idx="1810">
                  <c:v>1141772370</c:v>
                </c:pt>
                <c:pt idx="1811">
                  <c:v>1529608080</c:v>
                </c:pt>
                <c:pt idx="1812">
                  <c:v>463510724</c:v>
                </c:pt>
                <c:pt idx="1813">
                  <c:v>1294108764</c:v>
                </c:pt>
                <c:pt idx="1814">
                  <c:v>429130600</c:v>
                </c:pt>
                <c:pt idx="1815">
                  <c:v>894359070</c:v>
                </c:pt>
                <c:pt idx="1816">
                  <c:v>2127534951</c:v>
                </c:pt>
                <c:pt idx="1817">
                  <c:v>1001404656</c:v>
                </c:pt>
                <c:pt idx="1818">
                  <c:v>2147483647</c:v>
                </c:pt>
                <c:pt idx="1819">
                  <c:v>1114464000</c:v>
                </c:pt>
                <c:pt idx="1820">
                  <c:v>472101840</c:v>
                </c:pt>
                <c:pt idx="1821">
                  <c:v>668943267</c:v>
                </c:pt>
                <c:pt idx="1822">
                  <c:v>1754430672</c:v>
                </c:pt>
                <c:pt idx="1823">
                  <c:v>560948689</c:v>
                </c:pt>
                <c:pt idx="1824">
                  <c:v>2147483647</c:v>
                </c:pt>
                <c:pt idx="1825">
                  <c:v>1417761908</c:v>
                </c:pt>
                <c:pt idx="1826">
                  <c:v>1297737735</c:v>
                </c:pt>
                <c:pt idx="1827">
                  <c:v>442813602</c:v>
                </c:pt>
                <c:pt idx="1828">
                  <c:v>439283302</c:v>
                </c:pt>
                <c:pt idx="1829">
                  <c:v>453342510</c:v>
                </c:pt>
                <c:pt idx="1830">
                  <c:v>2147483647</c:v>
                </c:pt>
                <c:pt idx="1831">
                  <c:v>2147483647</c:v>
                </c:pt>
                <c:pt idx="1832">
                  <c:v>436314384</c:v>
                </c:pt>
                <c:pt idx="1833">
                  <c:v>815588910</c:v>
                </c:pt>
                <c:pt idx="1834">
                  <c:v>1804583256</c:v>
                </c:pt>
                <c:pt idx="1835">
                  <c:v>756659368</c:v>
                </c:pt>
                <c:pt idx="1836">
                  <c:v>761352183</c:v>
                </c:pt>
                <c:pt idx="1837">
                  <c:v>1224554760</c:v>
                </c:pt>
                <c:pt idx="1838">
                  <c:v>1159935237</c:v>
                </c:pt>
                <c:pt idx="1839">
                  <c:v>602634970</c:v>
                </c:pt>
                <c:pt idx="1840">
                  <c:v>1441225621</c:v>
                </c:pt>
                <c:pt idx="1841">
                  <c:v>212766840</c:v>
                </c:pt>
                <c:pt idx="1842">
                  <c:v>1555660584</c:v>
                </c:pt>
                <c:pt idx="1843">
                  <c:v>991501225</c:v>
                </c:pt>
                <c:pt idx="1844">
                  <c:v>778060063</c:v>
                </c:pt>
                <c:pt idx="1845">
                  <c:v>1108154576</c:v>
                </c:pt>
                <c:pt idx="1846">
                  <c:v>250648986</c:v>
                </c:pt>
                <c:pt idx="1847">
                  <c:v>512811519</c:v>
                </c:pt>
                <c:pt idx="1848">
                  <c:v>523039650</c:v>
                </c:pt>
                <c:pt idx="1849">
                  <c:v>2147483647</c:v>
                </c:pt>
                <c:pt idx="1850">
                  <c:v>1044183312</c:v>
                </c:pt>
                <c:pt idx="1851">
                  <c:v>202631056</c:v>
                </c:pt>
                <c:pt idx="1852">
                  <c:v>776040272</c:v>
                </c:pt>
                <c:pt idx="1853">
                  <c:v>803397287</c:v>
                </c:pt>
                <c:pt idx="1854">
                  <c:v>2147483647</c:v>
                </c:pt>
                <c:pt idx="1855">
                  <c:v>737515080</c:v>
                </c:pt>
                <c:pt idx="1856">
                  <c:v>1326054380</c:v>
                </c:pt>
                <c:pt idx="1857">
                  <c:v>310055965</c:v>
                </c:pt>
                <c:pt idx="1858">
                  <c:v>433141120</c:v>
                </c:pt>
                <c:pt idx="1859">
                  <c:v>495145731</c:v>
                </c:pt>
                <c:pt idx="1860">
                  <c:v>1511710900</c:v>
                </c:pt>
                <c:pt idx="1861">
                  <c:v>2147483647</c:v>
                </c:pt>
                <c:pt idx="1862">
                  <c:v>1697136360</c:v>
                </c:pt>
                <c:pt idx="1863">
                  <c:v>637451900</c:v>
                </c:pt>
                <c:pt idx="1864">
                  <c:v>1943733128</c:v>
                </c:pt>
                <c:pt idx="1865">
                  <c:v>1174016736</c:v>
                </c:pt>
                <c:pt idx="1866">
                  <c:v>1039216608</c:v>
                </c:pt>
                <c:pt idx="1867">
                  <c:v>714143652</c:v>
                </c:pt>
                <c:pt idx="1868">
                  <c:v>446212683</c:v>
                </c:pt>
                <c:pt idx="1869">
                  <c:v>2147483647</c:v>
                </c:pt>
                <c:pt idx="1870">
                  <c:v>803449800</c:v>
                </c:pt>
                <c:pt idx="1871">
                  <c:v>2147483647</c:v>
                </c:pt>
                <c:pt idx="1872">
                  <c:v>1544386635</c:v>
                </c:pt>
                <c:pt idx="1873">
                  <c:v>1422912894</c:v>
                </c:pt>
                <c:pt idx="1874">
                  <c:v>486714162</c:v>
                </c:pt>
                <c:pt idx="1875">
                  <c:v>344289033</c:v>
                </c:pt>
                <c:pt idx="1876">
                  <c:v>1514617500</c:v>
                </c:pt>
                <c:pt idx="1877">
                  <c:v>1249065090</c:v>
                </c:pt>
                <c:pt idx="1878">
                  <c:v>446463600</c:v>
                </c:pt>
                <c:pt idx="1879">
                  <c:v>400563036</c:v>
                </c:pt>
                <c:pt idx="1880">
                  <c:v>154304568</c:v>
                </c:pt>
                <c:pt idx="1881">
                  <c:v>1166341256</c:v>
                </c:pt>
                <c:pt idx="1882">
                  <c:v>810450836</c:v>
                </c:pt>
                <c:pt idx="1883">
                  <c:v>814700877</c:v>
                </c:pt>
                <c:pt idx="1884">
                  <c:v>429359756</c:v>
                </c:pt>
                <c:pt idx="1885">
                  <c:v>437122296</c:v>
                </c:pt>
                <c:pt idx="1886">
                  <c:v>957835200</c:v>
                </c:pt>
                <c:pt idx="1887">
                  <c:v>967811816</c:v>
                </c:pt>
                <c:pt idx="1888">
                  <c:v>277612184</c:v>
                </c:pt>
                <c:pt idx="1889">
                  <c:v>445727700</c:v>
                </c:pt>
                <c:pt idx="1890">
                  <c:v>92289680</c:v>
                </c:pt>
                <c:pt idx="1891">
                  <c:v>518657040</c:v>
                </c:pt>
                <c:pt idx="1892">
                  <c:v>1769667116</c:v>
                </c:pt>
                <c:pt idx="1893">
                  <c:v>131135012</c:v>
                </c:pt>
                <c:pt idx="1894">
                  <c:v>1941429312</c:v>
                </c:pt>
                <c:pt idx="1895">
                  <c:v>1270837520</c:v>
                </c:pt>
                <c:pt idx="1896">
                  <c:v>1036144832</c:v>
                </c:pt>
                <c:pt idx="1897">
                  <c:v>975865968</c:v>
                </c:pt>
                <c:pt idx="1898">
                  <c:v>361534140</c:v>
                </c:pt>
                <c:pt idx="1899">
                  <c:v>2147483647</c:v>
                </c:pt>
                <c:pt idx="1900">
                  <c:v>1132155205</c:v>
                </c:pt>
                <c:pt idx="1901">
                  <c:v>1898189892</c:v>
                </c:pt>
                <c:pt idx="1902">
                  <c:v>93425452</c:v>
                </c:pt>
                <c:pt idx="1903">
                  <c:v>2147483647</c:v>
                </c:pt>
                <c:pt idx="1904">
                  <c:v>466363550</c:v>
                </c:pt>
                <c:pt idx="1905">
                  <c:v>2147483647</c:v>
                </c:pt>
                <c:pt idx="1906">
                  <c:v>1162144000</c:v>
                </c:pt>
                <c:pt idx="1907">
                  <c:v>832677560</c:v>
                </c:pt>
                <c:pt idx="1908">
                  <c:v>332519145</c:v>
                </c:pt>
                <c:pt idx="1909">
                  <c:v>612802108</c:v>
                </c:pt>
                <c:pt idx="1910">
                  <c:v>1206594970</c:v>
                </c:pt>
                <c:pt idx="1911">
                  <c:v>1191725013</c:v>
                </c:pt>
                <c:pt idx="1912">
                  <c:v>798695375</c:v>
                </c:pt>
                <c:pt idx="1913">
                  <c:v>832079283</c:v>
                </c:pt>
                <c:pt idx="1914">
                  <c:v>522871314</c:v>
                </c:pt>
                <c:pt idx="1915">
                  <c:v>1298197152</c:v>
                </c:pt>
                <c:pt idx="1916">
                  <c:v>1548123934</c:v>
                </c:pt>
                <c:pt idx="1917">
                  <c:v>1436857600</c:v>
                </c:pt>
                <c:pt idx="1918">
                  <c:v>631083376</c:v>
                </c:pt>
                <c:pt idx="1919">
                  <c:v>173635044</c:v>
                </c:pt>
                <c:pt idx="1920">
                  <c:v>617758834</c:v>
                </c:pt>
                <c:pt idx="1921">
                  <c:v>1029715505</c:v>
                </c:pt>
                <c:pt idx="1922">
                  <c:v>685937645</c:v>
                </c:pt>
                <c:pt idx="1923">
                  <c:v>552243276</c:v>
                </c:pt>
                <c:pt idx="1924">
                  <c:v>769746213</c:v>
                </c:pt>
                <c:pt idx="1925">
                  <c:v>589531296</c:v>
                </c:pt>
                <c:pt idx="1926">
                  <c:v>931685805</c:v>
                </c:pt>
                <c:pt idx="1927">
                  <c:v>2147483647</c:v>
                </c:pt>
                <c:pt idx="1928">
                  <c:v>1589744528</c:v>
                </c:pt>
                <c:pt idx="1929">
                  <c:v>2147483647</c:v>
                </c:pt>
                <c:pt idx="1930">
                  <c:v>1874309175</c:v>
                </c:pt>
                <c:pt idx="1931">
                  <c:v>1597978541</c:v>
                </c:pt>
                <c:pt idx="1932">
                  <c:v>1231699680</c:v>
                </c:pt>
                <c:pt idx="1933">
                  <c:v>563230630</c:v>
                </c:pt>
                <c:pt idx="1934">
                  <c:v>381820224</c:v>
                </c:pt>
                <c:pt idx="1935">
                  <c:v>1043943789</c:v>
                </c:pt>
                <c:pt idx="1936">
                  <c:v>696640309</c:v>
                </c:pt>
                <c:pt idx="1937">
                  <c:v>1913981724</c:v>
                </c:pt>
                <c:pt idx="1938">
                  <c:v>223578630</c:v>
                </c:pt>
                <c:pt idx="1939">
                  <c:v>1052650763</c:v>
                </c:pt>
                <c:pt idx="1940">
                  <c:v>172527030</c:v>
                </c:pt>
                <c:pt idx="1941">
                  <c:v>444076897</c:v>
                </c:pt>
                <c:pt idx="1942">
                  <c:v>197113155</c:v>
                </c:pt>
                <c:pt idx="1943">
                  <c:v>406468791</c:v>
                </c:pt>
                <c:pt idx="1944">
                  <c:v>291701718</c:v>
                </c:pt>
                <c:pt idx="1945">
                  <c:v>478997904</c:v>
                </c:pt>
                <c:pt idx="1946">
                  <c:v>1331181799</c:v>
                </c:pt>
                <c:pt idx="1947">
                  <c:v>1465874640</c:v>
                </c:pt>
                <c:pt idx="1948">
                  <c:v>434229984</c:v>
                </c:pt>
                <c:pt idx="1949">
                  <c:v>179550765</c:v>
                </c:pt>
                <c:pt idx="1950">
                  <c:v>716786682</c:v>
                </c:pt>
                <c:pt idx="1951">
                  <c:v>580584834</c:v>
                </c:pt>
                <c:pt idx="1952">
                  <c:v>88623324</c:v>
                </c:pt>
                <c:pt idx="1953">
                  <c:v>243069215</c:v>
                </c:pt>
                <c:pt idx="1954">
                  <c:v>500159616</c:v>
                </c:pt>
                <c:pt idx="1955">
                  <c:v>656423808</c:v>
                </c:pt>
                <c:pt idx="1956">
                  <c:v>1080405000</c:v>
                </c:pt>
                <c:pt idx="1957">
                  <c:v>2147483647</c:v>
                </c:pt>
                <c:pt idx="1958">
                  <c:v>830057580</c:v>
                </c:pt>
                <c:pt idx="1959">
                  <c:v>655632600</c:v>
                </c:pt>
                <c:pt idx="1960">
                  <c:v>215304603</c:v>
                </c:pt>
                <c:pt idx="1961">
                  <c:v>1295372000</c:v>
                </c:pt>
                <c:pt idx="1962">
                  <c:v>147260872</c:v>
                </c:pt>
                <c:pt idx="1963">
                  <c:v>707402104</c:v>
                </c:pt>
                <c:pt idx="1964">
                  <c:v>306823770</c:v>
                </c:pt>
                <c:pt idx="1965">
                  <c:v>514302360</c:v>
                </c:pt>
                <c:pt idx="1966">
                  <c:v>308453820</c:v>
                </c:pt>
                <c:pt idx="1967">
                  <c:v>2147483647</c:v>
                </c:pt>
                <c:pt idx="1968">
                  <c:v>712608375</c:v>
                </c:pt>
                <c:pt idx="1969">
                  <c:v>1347772564</c:v>
                </c:pt>
                <c:pt idx="1970">
                  <c:v>682033710</c:v>
                </c:pt>
                <c:pt idx="1971">
                  <c:v>397868442</c:v>
                </c:pt>
                <c:pt idx="1972">
                  <c:v>468062088</c:v>
                </c:pt>
                <c:pt idx="1973">
                  <c:v>314998944</c:v>
                </c:pt>
                <c:pt idx="1974">
                  <c:v>41414544</c:v>
                </c:pt>
                <c:pt idx="1975">
                  <c:v>975414100</c:v>
                </c:pt>
                <c:pt idx="1976">
                  <c:v>893469655</c:v>
                </c:pt>
                <c:pt idx="1977">
                  <c:v>507027369</c:v>
                </c:pt>
                <c:pt idx="1978">
                  <c:v>235098888</c:v>
                </c:pt>
                <c:pt idx="1979">
                  <c:v>404266440</c:v>
                </c:pt>
                <c:pt idx="1980">
                  <c:v>401417107</c:v>
                </c:pt>
                <c:pt idx="1981">
                  <c:v>261868152</c:v>
                </c:pt>
                <c:pt idx="1982">
                  <c:v>1791172095</c:v>
                </c:pt>
                <c:pt idx="1983">
                  <c:v>376083378</c:v>
                </c:pt>
                <c:pt idx="1984">
                  <c:v>544799016</c:v>
                </c:pt>
                <c:pt idx="1985">
                  <c:v>552201920</c:v>
                </c:pt>
                <c:pt idx="1986">
                  <c:v>98870475</c:v>
                </c:pt>
                <c:pt idx="1987">
                  <c:v>441486615</c:v>
                </c:pt>
                <c:pt idx="1988">
                  <c:v>1144448126</c:v>
                </c:pt>
                <c:pt idx="1989">
                  <c:v>590140204</c:v>
                </c:pt>
                <c:pt idx="1990">
                  <c:v>574899996</c:v>
                </c:pt>
                <c:pt idx="1991">
                  <c:v>464291064</c:v>
                </c:pt>
                <c:pt idx="1992">
                  <c:v>882417550</c:v>
                </c:pt>
                <c:pt idx="1993">
                  <c:v>408700552</c:v>
                </c:pt>
                <c:pt idx="1994">
                  <c:v>1659557280</c:v>
                </c:pt>
                <c:pt idx="1995">
                  <c:v>544910010</c:v>
                </c:pt>
                <c:pt idx="1996">
                  <c:v>381050901</c:v>
                </c:pt>
                <c:pt idx="1997">
                  <c:v>233798607</c:v>
                </c:pt>
                <c:pt idx="1998">
                  <c:v>650946186</c:v>
                </c:pt>
                <c:pt idx="1999">
                  <c:v>440480070</c:v>
                </c:pt>
                <c:pt idx="2000">
                  <c:v>925707165</c:v>
                </c:pt>
                <c:pt idx="2001">
                  <c:v>546223960</c:v>
                </c:pt>
                <c:pt idx="2002">
                  <c:v>798256480</c:v>
                </c:pt>
                <c:pt idx="2003">
                  <c:v>268448852</c:v>
                </c:pt>
                <c:pt idx="2004">
                  <c:v>317237782</c:v>
                </c:pt>
                <c:pt idx="2005">
                  <c:v>552594126</c:v>
                </c:pt>
                <c:pt idx="2006">
                  <c:v>726198560</c:v>
                </c:pt>
                <c:pt idx="2007">
                  <c:v>1336180530</c:v>
                </c:pt>
                <c:pt idx="2008">
                  <c:v>576538290</c:v>
                </c:pt>
                <c:pt idx="2009">
                  <c:v>462639744</c:v>
                </c:pt>
                <c:pt idx="2010">
                  <c:v>520140585</c:v>
                </c:pt>
                <c:pt idx="2011">
                  <c:v>795206144</c:v>
                </c:pt>
                <c:pt idx="2012">
                  <c:v>307222920</c:v>
                </c:pt>
                <c:pt idx="2013">
                  <c:v>663272210</c:v>
                </c:pt>
                <c:pt idx="2014">
                  <c:v>2147483647</c:v>
                </c:pt>
                <c:pt idx="2015">
                  <c:v>1259361173</c:v>
                </c:pt>
                <c:pt idx="2016">
                  <c:v>1849397564</c:v>
                </c:pt>
                <c:pt idx="2017">
                  <c:v>605984280</c:v>
                </c:pt>
                <c:pt idx="2018">
                  <c:v>475492796</c:v>
                </c:pt>
                <c:pt idx="2019">
                  <c:v>1708079988</c:v>
                </c:pt>
                <c:pt idx="2020">
                  <c:v>268495358</c:v>
                </c:pt>
                <c:pt idx="2021">
                  <c:v>583240954</c:v>
                </c:pt>
                <c:pt idx="2022">
                  <c:v>104997865</c:v>
                </c:pt>
                <c:pt idx="2023">
                  <c:v>2002791420</c:v>
                </c:pt>
                <c:pt idx="2024">
                  <c:v>516093956</c:v>
                </c:pt>
                <c:pt idx="2025">
                  <c:v>139373892</c:v>
                </c:pt>
                <c:pt idx="2026">
                  <c:v>373645413</c:v>
                </c:pt>
                <c:pt idx="2027">
                  <c:v>1224029752</c:v>
                </c:pt>
                <c:pt idx="2028">
                  <c:v>224020680</c:v>
                </c:pt>
                <c:pt idx="2029">
                  <c:v>177920838</c:v>
                </c:pt>
                <c:pt idx="2030">
                  <c:v>851273280</c:v>
                </c:pt>
                <c:pt idx="2031">
                  <c:v>43275015</c:v>
                </c:pt>
                <c:pt idx="2032">
                  <c:v>1182282700</c:v>
                </c:pt>
                <c:pt idx="2033">
                  <c:v>2147483647</c:v>
                </c:pt>
                <c:pt idx="2034">
                  <c:v>317751434</c:v>
                </c:pt>
                <c:pt idx="2035">
                  <c:v>2147483647</c:v>
                </c:pt>
                <c:pt idx="2036">
                  <c:v>808668000</c:v>
                </c:pt>
                <c:pt idx="2037">
                  <c:v>1764892558</c:v>
                </c:pt>
                <c:pt idx="2038">
                  <c:v>327175827</c:v>
                </c:pt>
                <c:pt idx="2039">
                  <c:v>1405367496</c:v>
                </c:pt>
                <c:pt idx="2040">
                  <c:v>449572272</c:v>
                </c:pt>
                <c:pt idx="2041">
                  <c:v>841334350</c:v>
                </c:pt>
                <c:pt idx="2042">
                  <c:v>213556928</c:v>
                </c:pt>
                <c:pt idx="2043">
                  <c:v>472161030</c:v>
                </c:pt>
                <c:pt idx="2044">
                  <c:v>624710480</c:v>
                </c:pt>
                <c:pt idx="2045">
                  <c:v>1167641517</c:v>
                </c:pt>
                <c:pt idx="2046">
                  <c:v>1304155208</c:v>
                </c:pt>
                <c:pt idx="2047">
                  <c:v>1754397994</c:v>
                </c:pt>
                <c:pt idx="2048">
                  <c:v>1606703267</c:v>
                </c:pt>
                <c:pt idx="2049">
                  <c:v>303339942</c:v>
                </c:pt>
                <c:pt idx="2050">
                  <c:v>1412498824</c:v>
                </c:pt>
                <c:pt idx="2051">
                  <c:v>1635298617</c:v>
                </c:pt>
                <c:pt idx="2052">
                  <c:v>310713795</c:v>
                </c:pt>
                <c:pt idx="2053">
                  <c:v>191427264</c:v>
                </c:pt>
                <c:pt idx="2054">
                  <c:v>361185536</c:v>
                </c:pt>
                <c:pt idx="2055">
                  <c:v>202171648</c:v>
                </c:pt>
                <c:pt idx="2056">
                  <c:v>1086770495</c:v>
                </c:pt>
                <c:pt idx="2057">
                  <c:v>607377414</c:v>
                </c:pt>
                <c:pt idx="2058">
                  <c:v>380788488</c:v>
                </c:pt>
                <c:pt idx="2059">
                  <c:v>798870039</c:v>
                </c:pt>
                <c:pt idx="2060">
                  <c:v>165499614</c:v>
                </c:pt>
                <c:pt idx="2061">
                  <c:v>482915232</c:v>
                </c:pt>
                <c:pt idx="2062">
                  <c:v>42482528</c:v>
                </c:pt>
                <c:pt idx="2063">
                  <c:v>287152320</c:v>
                </c:pt>
                <c:pt idx="2064">
                  <c:v>443668635</c:v>
                </c:pt>
                <c:pt idx="2065">
                  <c:v>271455984</c:v>
                </c:pt>
                <c:pt idx="2066">
                  <c:v>173428147</c:v>
                </c:pt>
                <c:pt idx="2067">
                  <c:v>688359414</c:v>
                </c:pt>
                <c:pt idx="2068">
                  <c:v>502487042</c:v>
                </c:pt>
                <c:pt idx="2069">
                  <c:v>163230717</c:v>
                </c:pt>
                <c:pt idx="2070">
                  <c:v>1188279200</c:v>
                </c:pt>
                <c:pt idx="2071">
                  <c:v>694003608</c:v>
                </c:pt>
                <c:pt idx="2072">
                  <c:v>172684330</c:v>
                </c:pt>
                <c:pt idx="2073">
                  <c:v>1423964264</c:v>
                </c:pt>
                <c:pt idx="2074">
                  <c:v>491669052</c:v>
                </c:pt>
                <c:pt idx="2075">
                  <c:v>66099915</c:v>
                </c:pt>
                <c:pt idx="2076">
                  <c:v>216409020</c:v>
                </c:pt>
                <c:pt idx="2077">
                  <c:v>456789092</c:v>
                </c:pt>
                <c:pt idx="2078">
                  <c:v>310897052</c:v>
                </c:pt>
                <c:pt idx="2079">
                  <c:v>14765418</c:v>
                </c:pt>
                <c:pt idx="2080">
                  <c:v>167142320</c:v>
                </c:pt>
                <c:pt idx="2081">
                  <c:v>868877598</c:v>
                </c:pt>
                <c:pt idx="2082">
                  <c:v>194374824</c:v>
                </c:pt>
                <c:pt idx="2083">
                  <c:v>168050718</c:v>
                </c:pt>
                <c:pt idx="2084">
                  <c:v>1294227720</c:v>
                </c:pt>
                <c:pt idx="2085">
                  <c:v>150701020</c:v>
                </c:pt>
                <c:pt idx="2086">
                  <c:v>114977965</c:v>
                </c:pt>
                <c:pt idx="2087">
                  <c:v>1234331868</c:v>
                </c:pt>
                <c:pt idx="2088">
                  <c:v>1717822082</c:v>
                </c:pt>
                <c:pt idx="2089">
                  <c:v>1296234480</c:v>
                </c:pt>
                <c:pt idx="2090">
                  <c:v>363003949</c:v>
                </c:pt>
                <c:pt idx="2091">
                  <c:v>521543561</c:v>
                </c:pt>
                <c:pt idx="2092">
                  <c:v>25718316</c:v>
                </c:pt>
                <c:pt idx="2093">
                  <c:v>16639566</c:v>
                </c:pt>
                <c:pt idx="2094">
                  <c:v>598948680</c:v>
                </c:pt>
                <c:pt idx="2095">
                  <c:v>498271200</c:v>
                </c:pt>
                <c:pt idx="2096">
                  <c:v>2147483647</c:v>
                </c:pt>
                <c:pt idx="2097">
                  <c:v>2147483647</c:v>
                </c:pt>
                <c:pt idx="2098">
                  <c:v>614765748</c:v>
                </c:pt>
                <c:pt idx="2099">
                  <c:v>955644279</c:v>
                </c:pt>
                <c:pt idx="2100">
                  <c:v>772159220</c:v>
                </c:pt>
                <c:pt idx="2101">
                  <c:v>288258396</c:v>
                </c:pt>
                <c:pt idx="2102">
                  <c:v>1914309862</c:v>
                </c:pt>
                <c:pt idx="2103">
                  <c:v>615969750</c:v>
                </c:pt>
                <c:pt idx="2104">
                  <c:v>354498675</c:v>
                </c:pt>
                <c:pt idx="2105">
                  <c:v>716091931</c:v>
                </c:pt>
                <c:pt idx="2106">
                  <c:v>178556168</c:v>
                </c:pt>
                <c:pt idx="2107">
                  <c:v>108780630</c:v>
                </c:pt>
                <c:pt idx="2108">
                  <c:v>15400800</c:v>
                </c:pt>
                <c:pt idx="2109">
                  <c:v>601687808</c:v>
                </c:pt>
                <c:pt idx="2110">
                  <c:v>1282563070</c:v>
                </c:pt>
                <c:pt idx="2111">
                  <c:v>961823632</c:v>
                </c:pt>
                <c:pt idx="2112">
                  <c:v>241798986</c:v>
                </c:pt>
                <c:pt idx="2113">
                  <c:v>1275612786</c:v>
                </c:pt>
                <c:pt idx="2114">
                  <c:v>2147483647</c:v>
                </c:pt>
                <c:pt idx="2115">
                  <c:v>920008700</c:v>
                </c:pt>
                <c:pt idx="2116">
                  <c:v>50211776</c:v>
                </c:pt>
                <c:pt idx="2117">
                  <c:v>145886444</c:v>
                </c:pt>
                <c:pt idx="2118">
                  <c:v>582358010</c:v>
                </c:pt>
                <c:pt idx="2119">
                  <c:v>29825964</c:v>
                </c:pt>
                <c:pt idx="2120">
                  <c:v>1026306708</c:v>
                </c:pt>
                <c:pt idx="2121">
                  <c:v>1915492843</c:v>
                </c:pt>
                <c:pt idx="2122">
                  <c:v>400556708</c:v>
                </c:pt>
                <c:pt idx="2123">
                  <c:v>1022834713</c:v>
                </c:pt>
                <c:pt idx="2124">
                  <c:v>22160556</c:v>
                </c:pt>
                <c:pt idx="2125">
                  <c:v>200076460</c:v>
                </c:pt>
                <c:pt idx="2126">
                  <c:v>547801045</c:v>
                </c:pt>
                <c:pt idx="2127">
                  <c:v>557170632</c:v>
                </c:pt>
                <c:pt idx="2128">
                  <c:v>387853004</c:v>
                </c:pt>
                <c:pt idx="2129">
                  <c:v>1519706028</c:v>
                </c:pt>
                <c:pt idx="2130">
                  <c:v>14494856</c:v>
                </c:pt>
                <c:pt idx="2131">
                  <c:v>676923537</c:v>
                </c:pt>
                <c:pt idx="2132">
                  <c:v>1353691278</c:v>
                </c:pt>
                <c:pt idx="2133">
                  <c:v>50494125</c:v>
                </c:pt>
                <c:pt idx="2134">
                  <c:v>113323760</c:v>
                </c:pt>
                <c:pt idx="2135">
                  <c:v>1555390350</c:v>
                </c:pt>
                <c:pt idx="2136">
                  <c:v>522685520</c:v>
                </c:pt>
                <c:pt idx="2137">
                  <c:v>5482568</c:v>
                </c:pt>
                <c:pt idx="2138">
                  <c:v>86145942</c:v>
                </c:pt>
                <c:pt idx="2139">
                  <c:v>185022120</c:v>
                </c:pt>
                <c:pt idx="2140">
                  <c:v>658765680</c:v>
                </c:pt>
                <c:pt idx="2141">
                  <c:v>190932738</c:v>
                </c:pt>
                <c:pt idx="2142">
                  <c:v>359809608</c:v>
                </c:pt>
                <c:pt idx="2143">
                  <c:v>378962504</c:v>
                </c:pt>
                <c:pt idx="2144">
                  <c:v>10817280</c:v>
                </c:pt>
                <c:pt idx="2145">
                  <c:v>1237661140</c:v>
                </c:pt>
                <c:pt idx="2146">
                  <c:v>950560314</c:v>
                </c:pt>
                <c:pt idx="2147">
                  <c:v>401316518</c:v>
                </c:pt>
                <c:pt idx="2148">
                  <c:v>379793636</c:v>
                </c:pt>
                <c:pt idx="2149">
                  <c:v>899126022</c:v>
                </c:pt>
                <c:pt idx="2150">
                  <c:v>12152139</c:v>
                </c:pt>
                <c:pt idx="2151">
                  <c:v>58015434</c:v>
                </c:pt>
                <c:pt idx="2152">
                  <c:v>2984494</c:v>
                </c:pt>
                <c:pt idx="2153">
                  <c:v>1826590318</c:v>
                </c:pt>
                <c:pt idx="2154">
                  <c:v>109014406</c:v>
                </c:pt>
                <c:pt idx="2155">
                  <c:v>1021699377</c:v>
                </c:pt>
                <c:pt idx="2156">
                  <c:v>645286383</c:v>
                </c:pt>
                <c:pt idx="2157">
                  <c:v>177792678</c:v>
                </c:pt>
                <c:pt idx="2158">
                  <c:v>1183920368</c:v>
                </c:pt>
                <c:pt idx="2159">
                  <c:v>522215596</c:v>
                </c:pt>
                <c:pt idx="2160">
                  <c:v>706330889</c:v>
                </c:pt>
                <c:pt idx="2161">
                  <c:v>2147483647</c:v>
                </c:pt>
                <c:pt idx="2162">
                  <c:v>2147483647</c:v>
                </c:pt>
                <c:pt idx="2163">
                  <c:v>1756522656</c:v>
                </c:pt>
                <c:pt idx="2164">
                  <c:v>289949842</c:v>
                </c:pt>
                <c:pt idx="2165">
                  <c:v>1594336380</c:v>
                </c:pt>
                <c:pt idx="2166">
                  <c:v>203464781</c:v>
                </c:pt>
                <c:pt idx="2167">
                  <c:v>1036444224</c:v>
                </c:pt>
                <c:pt idx="2168">
                  <c:v>165707410</c:v>
                </c:pt>
                <c:pt idx="2169">
                  <c:v>954700862</c:v>
                </c:pt>
                <c:pt idx="2170">
                  <c:v>103003875</c:v>
                </c:pt>
                <c:pt idx="2171">
                  <c:v>299600208</c:v>
                </c:pt>
                <c:pt idx="2172">
                  <c:v>293858213</c:v>
                </c:pt>
                <c:pt idx="2173">
                  <c:v>69586424</c:v>
                </c:pt>
                <c:pt idx="2174">
                  <c:v>240569904</c:v>
                </c:pt>
                <c:pt idx="2175">
                  <c:v>318211470</c:v>
                </c:pt>
                <c:pt idx="2176">
                  <c:v>430021998</c:v>
                </c:pt>
                <c:pt idx="2177">
                  <c:v>362251794</c:v>
                </c:pt>
                <c:pt idx="2178">
                  <c:v>10677639</c:v>
                </c:pt>
                <c:pt idx="2179">
                  <c:v>1209491844</c:v>
                </c:pt>
                <c:pt idx="2180">
                  <c:v>1011254400</c:v>
                </c:pt>
                <c:pt idx="2181">
                  <c:v>270843842</c:v>
                </c:pt>
                <c:pt idx="2182">
                  <c:v>280985296</c:v>
                </c:pt>
                <c:pt idx="2183">
                  <c:v>1944025600</c:v>
                </c:pt>
                <c:pt idx="2184">
                  <c:v>1824251151</c:v>
                </c:pt>
                <c:pt idx="2185">
                  <c:v>374082850</c:v>
                </c:pt>
                <c:pt idx="2186">
                  <c:v>275741328</c:v>
                </c:pt>
                <c:pt idx="2187">
                  <c:v>952019280</c:v>
                </c:pt>
                <c:pt idx="2188">
                  <c:v>339687132</c:v>
                </c:pt>
                <c:pt idx="2189">
                  <c:v>990875470</c:v>
                </c:pt>
                <c:pt idx="2190">
                  <c:v>1070362287</c:v>
                </c:pt>
                <c:pt idx="2191">
                  <c:v>157892646</c:v>
                </c:pt>
                <c:pt idx="2192">
                  <c:v>357579898</c:v>
                </c:pt>
                <c:pt idx="2193">
                  <c:v>200141295</c:v>
                </c:pt>
                <c:pt idx="2194">
                  <c:v>148098377</c:v>
                </c:pt>
                <c:pt idx="2195">
                  <c:v>342927618</c:v>
                </c:pt>
                <c:pt idx="2196">
                  <c:v>1609777176</c:v>
                </c:pt>
                <c:pt idx="2197">
                  <c:v>1379034440</c:v>
                </c:pt>
                <c:pt idx="2198">
                  <c:v>128535600</c:v>
                </c:pt>
                <c:pt idx="2199">
                  <c:v>446387935</c:v>
                </c:pt>
                <c:pt idx="2200">
                  <c:v>142082165</c:v>
                </c:pt>
                <c:pt idx="2201">
                  <c:v>179669880</c:v>
                </c:pt>
                <c:pt idx="2202">
                  <c:v>382167342</c:v>
                </c:pt>
                <c:pt idx="2203">
                  <c:v>421929404</c:v>
                </c:pt>
                <c:pt idx="2204">
                  <c:v>404891630</c:v>
                </c:pt>
                <c:pt idx="2205">
                  <c:v>493960680</c:v>
                </c:pt>
                <c:pt idx="2206">
                  <c:v>972987015</c:v>
                </c:pt>
                <c:pt idx="2207">
                  <c:v>772702975</c:v>
                </c:pt>
                <c:pt idx="2208">
                  <c:v>505237594</c:v>
                </c:pt>
                <c:pt idx="2209">
                  <c:v>405507325</c:v>
                </c:pt>
                <c:pt idx="2210">
                  <c:v>146425776</c:v>
                </c:pt>
                <c:pt idx="2211">
                  <c:v>454873072</c:v>
                </c:pt>
                <c:pt idx="2212">
                  <c:v>730806948</c:v>
                </c:pt>
                <c:pt idx="2213">
                  <c:v>1000390359</c:v>
                </c:pt>
                <c:pt idx="2214">
                  <c:v>681896086</c:v>
                </c:pt>
                <c:pt idx="2215">
                  <c:v>8441782</c:v>
                </c:pt>
                <c:pt idx="2216">
                  <c:v>522653014</c:v>
                </c:pt>
                <c:pt idx="2217">
                  <c:v>428772011</c:v>
                </c:pt>
                <c:pt idx="2218">
                  <c:v>199014852</c:v>
                </c:pt>
                <c:pt idx="2219">
                  <c:v>9322320</c:v>
                </c:pt>
                <c:pt idx="2220">
                  <c:v>376244916</c:v>
                </c:pt>
                <c:pt idx="2221">
                  <c:v>704454800</c:v>
                </c:pt>
                <c:pt idx="2222">
                  <c:v>276633507</c:v>
                </c:pt>
                <c:pt idx="2223">
                  <c:v>452926134</c:v>
                </c:pt>
                <c:pt idx="2224">
                  <c:v>1608830227</c:v>
                </c:pt>
                <c:pt idx="2225">
                  <c:v>83823750</c:v>
                </c:pt>
                <c:pt idx="2226">
                  <c:v>162300996</c:v>
                </c:pt>
                <c:pt idx="2227">
                  <c:v>127606641</c:v>
                </c:pt>
                <c:pt idx="2228">
                  <c:v>364640085</c:v>
                </c:pt>
                <c:pt idx="2229">
                  <c:v>106904301</c:v>
                </c:pt>
                <c:pt idx="2230">
                  <c:v>384019494</c:v>
                </c:pt>
                <c:pt idx="2231">
                  <c:v>590602095</c:v>
                </c:pt>
                <c:pt idx="2232">
                  <c:v>265923154</c:v>
                </c:pt>
                <c:pt idx="2233">
                  <c:v>1022651244</c:v>
                </c:pt>
                <c:pt idx="2234">
                  <c:v>58741200</c:v>
                </c:pt>
                <c:pt idx="2235">
                  <c:v>40943616</c:v>
                </c:pt>
                <c:pt idx="2236">
                  <c:v>291220779</c:v>
                </c:pt>
                <c:pt idx="2237">
                  <c:v>16610040</c:v>
                </c:pt>
                <c:pt idx="2238">
                  <c:v>2231675</c:v>
                </c:pt>
                <c:pt idx="2239">
                  <c:v>49947083</c:v>
                </c:pt>
                <c:pt idx="2240">
                  <c:v>439352532</c:v>
                </c:pt>
                <c:pt idx="2241">
                  <c:v>51525397</c:v>
                </c:pt>
                <c:pt idx="2242">
                  <c:v>5701710</c:v>
                </c:pt>
                <c:pt idx="2243">
                  <c:v>379938044</c:v>
                </c:pt>
                <c:pt idx="2244">
                  <c:v>23198690</c:v>
                </c:pt>
                <c:pt idx="2245">
                  <c:v>7283100</c:v>
                </c:pt>
                <c:pt idx="2246">
                  <c:v>36042480</c:v>
                </c:pt>
                <c:pt idx="2247">
                  <c:v>46999872</c:v>
                </c:pt>
                <c:pt idx="2248">
                  <c:v>55974592</c:v>
                </c:pt>
                <c:pt idx="2249">
                  <c:v>1115721982</c:v>
                </c:pt>
                <c:pt idx="2250">
                  <c:v>1395537525</c:v>
                </c:pt>
                <c:pt idx="2251">
                  <c:v>32076214</c:v>
                </c:pt>
                <c:pt idx="2252">
                  <c:v>66713022</c:v>
                </c:pt>
                <c:pt idx="2253">
                  <c:v>210171684</c:v>
                </c:pt>
                <c:pt idx="2254">
                  <c:v>172540070</c:v>
                </c:pt>
                <c:pt idx="2255">
                  <c:v>19716716</c:v>
                </c:pt>
                <c:pt idx="2256">
                  <c:v>13179584</c:v>
                </c:pt>
                <c:pt idx="2257">
                  <c:v>65873574</c:v>
                </c:pt>
                <c:pt idx="2258">
                  <c:v>15991500</c:v>
                </c:pt>
                <c:pt idx="2259">
                  <c:v>11734715</c:v>
                </c:pt>
                <c:pt idx="2260">
                  <c:v>9885960</c:v>
                </c:pt>
                <c:pt idx="2261">
                  <c:v>1192894164</c:v>
                </c:pt>
                <c:pt idx="2262">
                  <c:v>662562400</c:v>
                </c:pt>
                <c:pt idx="2263">
                  <c:v>794015136</c:v>
                </c:pt>
                <c:pt idx="2264">
                  <c:v>413667342</c:v>
                </c:pt>
                <c:pt idx="2265">
                  <c:v>98922788</c:v>
                </c:pt>
                <c:pt idx="2266">
                  <c:v>400310078</c:v>
                </c:pt>
                <c:pt idx="2267">
                  <c:v>397556464</c:v>
                </c:pt>
                <c:pt idx="2268">
                  <c:v>904702932</c:v>
                </c:pt>
                <c:pt idx="2269">
                  <c:v>829501992</c:v>
                </c:pt>
                <c:pt idx="2270">
                  <c:v>337036436</c:v>
                </c:pt>
                <c:pt idx="2271">
                  <c:v>30375417</c:v>
                </c:pt>
                <c:pt idx="2272">
                  <c:v>678369790</c:v>
                </c:pt>
                <c:pt idx="2273">
                  <c:v>339077648</c:v>
                </c:pt>
                <c:pt idx="2274">
                  <c:v>391022560</c:v>
                </c:pt>
                <c:pt idx="2275">
                  <c:v>221676750</c:v>
                </c:pt>
                <c:pt idx="2276">
                  <c:v>1373224050</c:v>
                </c:pt>
                <c:pt idx="2277">
                  <c:v>302640024</c:v>
                </c:pt>
                <c:pt idx="2278">
                  <c:v>2147483647</c:v>
                </c:pt>
                <c:pt idx="2279">
                  <c:v>545170605</c:v>
                </c:pt>
                <c:pt idx="2280">
                  <c:v>325279955</c:v>
                </c:pt>
                <c:pt idx="2281">
                  <c:v>830409700</c:v>
                </c:pt>
                <c:pt idx="2282">
                  <c:v>411537013</c:v>
                </c:pt>
                <c:pt idx="2283">
                  <c:v>1294652504</c:v>
                </c:pt>
                <c:pt idx="2284">
                  <c:v>2147483647</c:v>
                </c:pt>
                <c:pt idx="2285">
                  <c:v>159811907</c:v>
                </c:pt>
                <c:pt idx="2286">
                  <c:v>1764275810</c:v>
                </c:pt>
                <c:pt idx="2287">
                  <c:v>346703350</c:v>
                </c:pt>
                <c:pt idx="2288">
                  <c:v>60390680</c:v>
                </c:pt>
                <c:pt idx="2289">
                  <c:v>185003816</c:v>
                </c:pt>
                <c:pt idx="2290">
                  <c:v>41553264</c:v>
                </c:pt>
                <c:pt idx="2291">
                  <c:v>699318180</c:v>
                </c:pt>
                <c:pt idx="2292">
                  <c:v>461725314</c:v>
                </c:pt>
                <c:pt idx="2293">
                  <c:v>225866832</c:v>
                </c:pt>
                <c:pt idx="2294">
                  <c:v>13681872</c:v>
                </c:pt>
                <c:pt idx="2295">
                  <c:v>150293700</c:v>
                </c:pt>
                <c:pt idx="2296">
                  <c:v>447785676</c:v>
                </c:pt>
                <c:pt idx="2297">
                  <c:v>1017674725</c:v>
                </c:pt>
                <c:pt idx="2298">
                  <c:v>633884832</c:v>
                </c:pt>
                <c:pt idx="2299">
                  <c:v>874868591</c:v>
                </c:pt>
                <c:pt idx="2300">
                  <c:v>954340314</c:v>
                </c:pt>
                <c:pt idx="2301">
                  <c:v>489047472</c:v>
                </c:pt>
                <c:pt idx="2302">
                  <c:v>439980024</c:v>
                </c:pt>
                <c:pt idx="2303">
                  <c:v>309902368</c:v>
                </c:pt>
                <c:pt idx="2304">
                  <c:v>649156937</c:v>
                </c:pt>
                <c:pt idx="2305">
                  <c:v>1564356640</c:v>
                </c:pt>
                <c:pt idx="2306">
                  <c:v>974008719</c:v>
                </c:pt>
                <c:pt idx="2307">
                  <c:v>986505070</c:v>
                </c:pt>
                <c:pt idx="2308">
                  <c:v>2147483647</c:v>
                </c:pt>
                <c:pt idx="2309">
                  <c:v>31146835</c:v>
                </c:pt>
                <c:pt idx="2310">
                  <c:v>899137630</c:v>
                </c:pt>
                <c:pt idx="2311">
                  <c:v>429236676</c:v>
                </c:pt>
                <c:pt idx="2312">
                  <c:v>1335911486</c:v>
                </c:pt>
                <c:pt idx="2313">
                  <c:v>1697212974</c:v>
                </c:pt>
                <c:pt idx="2314">
                  <c:v>361180500</c:v>
                </c:pt>
                <c:pt idx="2315">
                  <c:v>953204856</c:v>
                </c:pt>
                <c:pt idx="2316">
                  <c:v>87595544</c:v>
                </c:pt>
                <c:pt idx="2317">
                  <c:v>79306649</c:v>
                </c:pt>
                <c:pt idx="2318">
                  <c:v>308222892</c:v>
                </c:pt>
                <c:pt idx="2319">
                  <c:v>255932292</c:v>
                </c:pt>
                <c:pt idx="2320">
                  <c:v>1030028135</c:v>
                </c:pt>
                <c:pt idx="2321">
                  <c:v>146859126</c:v>
                </c:pt>
                <c:pt idx="2322">
                  <c:v>65302605</c:v>
                </c:pt>
                <c:pt idx="2323">
                  <c:v>136476554</c:v>
                </c:pt>
                <c:pt idx="2324">
                  <c:v>1411084120</c:v>
                </c:pt>
                <c:pt idx="2325">
                  <c:v>316464200</c:v>
                </c:pt>
                <c:pt idx="2326">
                  <c:v>171094576</c:v>
                </c:pt>
                <c:pt idx="2327">
                  <c:v>161652480</c:v>
                </c:pt>
                <c:pt idx="2328">
                  <c:v>2147483647</c:v>
                </c:pt>
                <c:pt idx="2329">
                  <c:v>1121046150</c:v>
                </c:pt>
                <c:pt idx="2330">
                  <c:v>1364594074</c:v>
                </c:pt>
                <c:pt idx="2331">
                  <c:v>375362829</c:v>
                </c:pt>
                <c:pt idx="2332">
                  <c:v>1272356888</c:v>
                </c:pt>
                <c:pt idx="2333">
                  <c:v>488740340</c:v>
                </c:pt>
                <c:pt idx="2334">
                  <c:v>211681368</c:v>
                </c:pt>
                <c:pt idx="2335">
                  <c:v>135792988</c:v>
                </c:pt>
                <c:pt idx="2336">
                  <c:v>539763024</c:v>
                </c:pt>
                <c:pt idx="2337">
                  <c:v>2147483647</c:v>
                </c:pt>
                <c:pt idx="2338">
                  <c:v>318236533</c:v>
                </c:pt>
                <c:pt idx="2339">
                  <c:v>443076997</c:v>
                </c:pt>
                <c:pt idx="2340">
                  <c:v>615253056</c:v>
                </c:pt>
                <c:pt idx="2341">
                  <c:v>2147483647</c:v>
                </c:pt>
                <c:pt idx="2342">
                  <c:v>1861844992</c:v>
                </c:pt>
                <c:pt idx="2343">
                  <c:v>2147483647</c:v>
                </c:pt>
                <c:pt idx="2344">
                  <c:v>20793300</c:v>
                </c:pt>
                <c:pt idx="2345">
                  <c:v>1852465516</c:v>
                </c:pt>
                <c:pt idx="2346">
                  <c:v>425135656</c:v>
                </c:pt>
                <c:pt idx="2347">
                  <c:v>819843198</c:v>
                </c:pt>
                <c:pt idx="2348">
                  <c:v>257686974</c:v>
                </c:pt>
                <c:pt idx="2349">
                  <c:v>285399117</c:v>
                </c:pt>
                <c:pt idx="2350">
                  <c:v>234009510</c:v>
                </c:pt>
                <c:pt idx="2351">
                  <c:v>105962675</c:v>
                </c:pt>
                <c:pt idx="2352">
                  <c:v>160137940</c:v>
                </c:pt>
                <c:pt idx="2353">
                  <c:v>813537970</c:v>
                </c:pt>
                <c:pt idx="2354">
                  <c:v>2147483647</c:v>
                </c:pt>
                <c:pt idx="2355">
                  <c:v>73967136</c:v>
                </c:pt>
                <c:pt idx="2356">
                  <c:v>656278980</c:v>
                </c:pt>
                <c:pt idx="2357">
                  <c:v>413034000</c:v>
                </c:pt>
                <c:pt idx="2358">
                  <c:v>387247616</c:v>
                </c:pt>
                <c:pt idx="2359">
                  <c:v>803089420</c:v>
                </c:pt>
                <c:pt idx="2360">
                  <c:v>1017144513</c:v>
                </c:pt>
                <c:pt idx="2361">
                  <c:v>2147483647</c:v>
                </c:pt>
                <c:pt idx="2362">
                  <c:v>603514286</c:v>
                </c:pt>
                <c:pt idx="2363">
                  <c:v>433320554</c:v>
                </c:pt>
                <c:pt idx="2364">
                  <c:v>374763708</c:v>
                </c:pt>
                <c:pt idx="2365">
                  <c:v>1026975774</c:v>
                </c:pt>
                <c:pt idx="2366">
                  <c:v>368417018</c:v>
                </c:pt>
                <c:pt idx="2367">
                  <c:v>2147483647</c:v>
                </c:pt>
                <c:pt idx="2368">
                  <c:v>1869550287</c:v>
                </c:pt>
                <c:pt idx="2369">
                  <c:v>959883777</c:v>
                </c:pt>
                <c:pt idx="2370">
                  <c:v>1341707930</c:v>
                </c:pt>
                <c:pt idx="2371">
                  <c:v>524284997</c:v>
                </c:pt>
                <c:pt idx="2372">
                  <c:v>1056544230</c:v>
                </c:pt>
                <c:pt idx="2373">
                  <c:v>353319648</c:v>
                </c:pt>
                <c:pt idx="2374">
                  <c:v>383633881</c:v>
                </c:pt>
                <c:pt idx="2375">
                  <c:v>749979984</c:v>
                </c:pt>
                <c:pt idx="2376">
                  <c:v>2147483647</c:v>
                </c:pt>
                <c:pt idx="2377">
                  <c:v>1246364158</c:v>
                </c:pt>
                <c:pt idx="2378">
                  <c:v>909665116</c:v>
                </c:pt>
                <c:pt idx="2379">
                  <c:v>174309786</c:v>
                </c:pt>
                <c:pt idx="2380">
                  <c:v>574456740</c:v>
                </c:pt>
                <c:pt idx="2381">
                  <c:v>329197820</c:v>
                </c:pt>
                <c:pt idx="2382">
                  <c:v>359703124</c:v>
                </c:pt>
                <c:pt idx="2383">
                  <c:v>691291155</c:v>
                </c:pt>
                <c:pt idx="2384">
                  <c:v>62121248</c:v>
                </c:pt>
                <c:pt idx="2385">
                  <c:v>652271130</c:v>
                </c:pt>
                <c:pt idx="2386">
                  <c:v>1161300008</c:v>
                </c:pt>
                <c:pt idx="2387">
                  <c:v>1999764096</c:v>
                </c:pt>
                <c:pt idx="2388">
                  <c:v>735928870</c:v>
                </c:pt>
                <c:pt idx="2389">
                  <c:v>2147483647</c:v>
                </c:pt>
                <c:pt idx="2390">
                  <c:v>2147483647</c:v>
                </c:pt>
                <c:pt idx="2391">
                  <c:v>2147483647</c:v>
                </c:pt>
                <c:pt idx="2392">
                  <c:v>2147483647</c:v>
                </c:pt>
                <c:pt idx="2393">
                  <c:v>2147483647</c:v>
                </c:pt>
                <c:pt idx="2394">
                  <c:v>2147483647</c:v>
                </c:pt>
                <c:pt idx="2395">
                  <c:v>2147483647</c:v>
                </c:pt>
                <c:pt idx="2396">
                  <c:v>2147483647</c:v>
                </c:pt>
                <c:pt idx="2397">
                  <c:v>1848578193</c:v>
                </c:pt>
                <c:pt idx="2398">
                  <c:v>856466495</c:v>
                </c:pt>
                <c:pt idx="2399">
                  <c:v>2147483647</c:v>
                </c:pt>
                <c:pt idx="2400">
                  <c:v>2147483647</c:v>
                </c:pt>
                <c:pt idx="2401">
                  <c:v>2147483647</c:v>
                </c:pt>
                <c:pt idx="2402">
                  <c:v>2147483647</c:v>
                </c:pt>
                <c:pt idx="2403">
                  <c:v>2147483647</c:v>
                </c:pt>
                <c:pt idx="2404">
                  <c:v>2147483647</c:v>
                </c:pt>
                <c:pt idx="2405">
                  <c:v>1686378814</c:v>
                </c:pt>
                <c:pt idx="2406">
                  <c:v>2147483647</c:v>
                </c:pt>
                <c:pt idx="2407">
                  <c:v>2147483647</c:v>
                </c:pt>
                <c:pt idx="2408">
                  <c:v>2147483647</c:v>
                </c:pt>
                <c:pt idx="2409">
                  <c:v>1009088115</c:v>
                </c:pt>
                <c:pt idx="2410">
                  <c:v>1831195967</c:v>
                </c:pt>
                <c:pt idx="2411">
                  <c:v>1643477437</c:v>
                </c:pt>
                <c:pt idx="2412">
                  <c:v>2147483647</c:v>
                </c:pt>
                <c:pt idx="2413">
                  <c:v>1280743750</c:v>
                </c:pt>
                <c:pt idx="2414">
                  <c:v>955537800</c:v>
                </c:pt>
                <c:pt idx="2415">
                  <c:v>2147483647</c:v>
                </c:pt>
                <c:pt idx="2416">
                  <c:v>1560583728</c:v>
                </c:pt>
                <c:pt idx="2417">
                  <c:v>797793150</c:v>
                </c:pt>
                <c:pt idx="2418">
                  <c:v>1260703294</c:v>
                </c:pt>
                <c:pt idx="2419">
                  <c:v>804328434</c:v>
                </c:pt>
                <c:pt idx="2420">
                  <c:v>2147483647</c:v>
                </c:pt>
                <c:pt idx="2421">
                  <c:v>2147483647</c:v>
                </c:pt>
                <c:pt idx="2422">
                  <c:v>2147483647</c:v>
                </c:pt>
                <c:pt idx="2423">
                  <c:v>1090263344</c:v>
                </c:pt>
                <c:pt idx="2424">
                  <c:v>1592695020</c:v>
                </c:pt>
                <c:pt idx="2425">
                  <c:v>505918427</c:v>
                </c:pt>
                <c:pt idx="2426">
                  <c:v>777298773</c:v>
                </c:pt>
                <c:pt idx="2427">
                  <c:v>1530659720</c:v>
                </c:pt>
                <c:pt idx="2428">
                  <c:v>1608764967</c:v>
                </c:pt>
                <c:pt idx="2429">
                  <c:v>2147483647</c:v>
                </c:pt>
                <c:pt idx="2430">
                  <c:v>700195636</c:v>
                </c:pt>
                <c:pt idx="2431">
                  <c:v>1331745264</c:v>
                </c:pt>
                <c:pt idx="2432">
                  <c:v>1615099050</c:v>
                </c:pt>
                <c:pt idx="2433">
                  <c:v>980467000</c:v>
                </c:pt>
                <c:pt idx="2434">
                  <c:v>2147483647</c:v>
                </c:pt>
                <c:pt idx="2435">
                  <c:v>2147483647</c:v>
                </c:pt>
                <c:pt idx="2436">
                  <c:v>1109831842</c:v>
                </c:pt>
                <c:pt idx="2437">
                  <c:v>1247968040</c:v>
                </c:pt>
                <c:pt idx="2438">
                  <c:v>1347837408</c:v>
                </c:pt>
                <c:pt idx="2439">
                  <c:v>566666919</c:v>
                </c:pt>
                <c:pt idx="2440">
                  <c:v>700786849</c:v>
                </c:pt>
                <c:pt idx="2441">
                  <c:v>1463246494</c:v>
                </c:pt>
                <c:pt idx="2442">
                  <c:v>1366102626</c:v>
                </c:pt>
                <c:pt idx="2443">
                  <c:v>1520447030</c:v>
                </c:pt>
                <c:pt idx="2444">
                  <c:v>936458168</c:v>
                </c:pt>
                <c:pt idx="2445">
                  <c:v>1083837840</c:v>
                </c:pt>
                <c:pt idx="2446">
                  <c:v>1543991020</c:v>
                </c:pt>
                <c:pt idx="2447">
                  <c:v>2147483647</c:v>
                </c:pt>
                <c:pt idx="2448">
                  <c:v>2147483647</c:v>
                </c:pt>
                <c:pt idx="2449">
                  <c:v>253226182</c:v>
                </c:pt>
                <c:pt idx="2450">
                  <c:v>1611746253</c:v>
                </c:pt>
                <c:pt idx="2451">
                  <c:v>2042743296</c:v>
                </c:pt>
                <c:pt idx="2452">
                  <c:v>2147483647</c:v>
                </c:pt>
                <c:pt idx="2453">
                  <c:v>1472718075</c:v>
                </c:pt>
                <c:pt idx="2454">
                  <c:v>2074998978</c:v>
                </c:pt>
                <c:pt idx="2455">
                  <c:v>611929220</c:v>
                </c:pt>
                <c:pt idx="2456">
                  <c:v>1257799845</c:v>
                </c:pt>
                <c:pt idx="2457">
                  <c:v>1208955264</c:v>
                </c:pt>
                <c:pt idx="2458">
                  <c:v>1553689398</c:v>
                </c:pt>
                <c:pt idx="2459">
                  <c:v>183216290</c:v>
                </c:pt>
                <c:pt idx="2460">
                  <c:v>1271931232</c:v>
                </c:pt>
                <c:pt idx="2461">
                  <c:v>106870995</c:v>
                </c:pt>
                <c:pt idx="2462">
                  <c:v>467855790</c:v>
                </c:pt>
                <c:pt idx="2463">
                  <c:v>980279981</c:v>
                </c:pt>
                <c:pt idx="2464">
                  <c:v>67228092</c:v>
                </c:pt>
                <c:pt idx="2465">
                  <c:v>377670272</c:v>
                </c:pt>
                <c:pt idx="2466">
                  <c:v>983366622</c:v>
                </c:pt>
                <c:pt idx="2467">
                  <c:v>1079112832</c:v>
                </c:pt>
                <c:pt idx="2468">
                  <c:v>113778280</c:v>
                </c:pt>
                <c:pt idx="2469">
                  <c:v>1184073186</c:v>
                </c:pt>
                <c:pt idx="2470">
                  <c:v>1419333886</c:v>
                </c:pt>
                <c:pt idx="2471">
                  <c:v>370275204</c:v>
                </c:pt>
                <c:pt idx="2472">
                  <c:v>18257238</c:v>
                </c:pt>
                <c:pt idx="2473">
                  <c:v>82189088</c:v>
                </c:pt>
                <c:pt idx="2474">
                  <c:v>851019400</c:v>
                </c:pt>
                <c:pt idx="2475">
                  <c:v>714929164</c:v>
                </c:pt>
                <c:pt idx="2476">
                  <c:v>440687875</c:v>
                </c:pt>
                <c:pt idx="2477">
                  <c:v>2147483647</c:v>
                </c:pt>
                <c:pt idx="2478">
                  <c:v>214985446</c:v>
                </c:pt>
                <c:pt idx="2479">
                  <c:v>190948604</c:v>
                </c:pt>
                <c:pt idx="2480">
                  <c:v>34789805</c:v>
                </c:pt>
                <c:pt idx="2481">
                  <c:v>1029582854</c:v>
                </c:pt>
                <c:pt idx="2482">
                  <c:v>987100225</c:v>
                </c:pt>
                <c:pt idx="2483">
                  <c:v>292538466</c:v>
                </c:pt>
                <c:pt idx="2484">
                  <c:v>658346088</c:v>
                </c:pt>
                <c:pt idx="2485">
                  <c:v>921798416</c:v>
                </c:pt>
                <c:pt idx="2486">
                  <c:v>107461375</c:v>
                </c:pt>
                <c:pt idx="2487">
                  <c:v>1905432815</c:v>
                </c:pt>
                <c:pt idx="2488">
                  <c:v>1238750968</c:v>
                </c:pt>
                <c:pt idx="2489">
                  <c:v>1393336080</c:v>
                </c:pt>
                <c:pt idx="2490">
                  <c:v>95923290</c:v>
                </c:pt>
                <c:pt idx="2491">
                  <c:v>385127154</c:v>
                </c:pt>
                <c:pt idx="2492">
                  <c:v>159042930</c:v>
                </c:pt>
                <c:pt idx="2493">
                  <c:v>1008965780</c:v>
                </c:pt>
                <c:pt idx="2494">
                  <c:v>1045605264</c:v>
                </c:pt>
                <c:pt idx="2495">
                  <c:v>1116796044</c:v>
                </c:pt>
                <c:pt idx="2496">
                  <c:v>380866048</c:v>
                </c:pt>
                <c:pt idx="2497">
                  <c:v>337178670</c:v>
                </c:pt>
                <c:pt idx="2498">
                  <c:v>1616752632</c:v>
                </c:pt>
                <c:pt idx="2499">
                  <c:v>986965056</c:v>
                </c:pt>
                <c:pt idx="2500">
                  <c:v>1158952147</c:v>
                </c:pt>
                <c:pt idx="2501">
                  <c:v>881225592</c:v>
                </c:pt>
                <c:pt idx="2502">
                  <c:v>1960783866</c:v>
                </c:pt>
                <c:pt idx="2503">
                  <c:v>596331060</c:v>
                </c:pt>
                <c:pt idx="2504">
                  <c:v>276609669</c:v>
                </c:pt>
                <c:pt idx="2505">
                  <c:v>107417106</c:v>
                </c:pt>
                <c:pt idx="2506">
                  <c:v>444200736</c:v>
                </c:pt>
                <c:pt idx="2507">
                  <c:v>2147483647</c:v>
                </c:pt>
                <c:pt idx="2508">
                  <c:v>2147483647</c:v>
                </c:pt>
                <c:pt idx="2509">
                  <c:v>184354560</c:v>
                </c:pt>
                <c:pt idx="2510">
                  <c:v>533463162</c:v>
                </c:pt>
                <c:pt idx="2511">
                  <c:v>524081598</c:v>
                </c:pt>
                <c:pt idx="2512">
                  <c:v>1461684556</c:v>
                </c:pt>
                <c:pt idx="2513">
                  <c:v>300713952</c:v>
                </c:pt>
                <c:pt idx="2514">
                  <c:v>343000040</c:v>
                </c:pt>
                <c:pt idx="2515">
                  <c:v>35454342</c:v>
                </c:pt>
                <c:pt idx="2516">
                  <c:v>79747228</c:v>
                </c:pt>
                <c:pt idx="2517">
                  <c:v>1725780738</c:v>
                </c:pt>
                <c:pt idx="2518">
                  <c:v>649918436</c:v>
                </c:pt>
                <c:pt idx="2519">
                  <c:v>1017989319</c:v>
                </c:pt>
                <c:pt idx="2520">
                  <c:v>684821523</c:v>
                </c:pt>
                <c:pt idx="2521">
                  <c:v>1406563364</c:v>
                </c:pt>
                <c:pt idx="2522">
                  <c:v>876020880</c:v>
                </c:pt>
                <c:pt idx="2523">
                  <c:v>391890369</c:v>
                </c:pt>
                <c:pt idx="2524">
                  <c:v>2147483647</c:v>
                </c:pt>
                <c:pt idx="2525">
                  <c:v>809477760</c:v>
                </c:pt>
                <c:pt idx="2526">
                  <c:v>1298957719</c:v>
                </c:pt>
                <c:pt idx="2527">
                  <c:v>1318461204</c:v>
                </c:pt>
                <c:pt idx="2528">
                  <c:v>813745745</c:v>
                </c:pt>
                <c:pt idx="2529">
                  <c:v>646269084</c:v>
                </c:pt>
                <c:pt idx="2530">
                  <c:v>1915468356</c:v>
                </c:pt>
                <c:pt idx="2531">
                  <c:v>669655620</c:v>
                </c:pt>
                <c:pt idx="2532">
                  <c:v>1118436153</c:v>
                </c:pt>
                <c:pt idx="2533">
                  <c:v>1631860386</c:v>
                </c:pt>
                <c:pt idx="2534">
                  <c:v>1123740310</c:v>
                </c:pt>
                <c:pt idx="2535">
                  <c:v>1392199144</c:v>
                </c:pt>
                <c:pt idx="2536">
                  <c:v>886530025</c:v>
                </c:pt>
                <c:pt idx="2537">
                  <c:v>1178316405</c:v>
                </c:pt>
                <c:pt idx="2538">
                  <c:v>268102408</c:v>
                </c:pt>
                <c:pt idx="2539">
                  <c:v>10104132</c:v>
                </c:pt>
                <c:pt idx="2540">
                  <c:v>170139648</c:v>
                </c:pt>
                <c:pt idx="2541">
                  <c:v>76934585</c:v>
                </c:pt>
                <c:pt idx="2542">
                  <c:v>615206130</c:v>
                </c:pt>
                <c:pt idx="2543">
                  <c:v>51330510</c:v>
                </c:pt>
                <c:pt idx="2544">
                  <c:v>463285248</c:v>
                </c:pt>
                <c:pt idx="2545">
                  <c:v>159604560</c:v>
                </c:pt>
                <c:pt idx="2546">
                  <c:v>43475333</c:v>
                </c:pt>
                <c:pt idx="2547">
                  <c:v>308766352</c:v>
                </c:pt>
                <c:pt idx="2548">
                  <c:v>580747080</c:v>
                </c:pt>
                <c:pt idx="2549">
                  <c:v>158701875</c:v>
                </c:pt>
                <c:pt idx="2550">
                  <c:v>151477264</c:v>
                </c:pt>
                <c:pt idx="2551">
                  <c:v>340495806</c:v>
                </c:pt>
                <c:pt idx="2552">
                  <c:v>207248640</c:v>
                </c:pt>
                <c:pt idx="2553">
                  <c:v>485356000</c:v>
                </c:pt>
                <c:pt idx="2554">
                  <c:v>33419628</c:v>
                </c:pt>
                <c:pt idx="2555">
                  <c:v>7643733</c:v>
                </c:pt>
                <c:pt idx="2556">
                  <c:v>1692700848</c:v>
                </c:pt>
                <c:pt idx="2557">
                  <c:v>556097124</c:v>
                </c:pt>
                <c:pt idx="2558">
                  <c:v>1491400240</c:v>
                </c:pt>
                <c:pt idx="2559">
                  <c:v>958294792</c:v>
                </c:pt>
                <c:pt idx="2560">
                  <c:v>1409812634</c:v>
                </c:pt>
                <c:pt idx="2561">
                  <c:v>1732228680</c:v>
                </c:pt>
                <c:pt idx="2562">
                  <c:v>134104410</c:v>
                </c:pt>
                <c:pt idx="2563">
                  <c:v>929936346</c:v>
                </c:pt>
                <c:pt idx="2564">
                  <c:v>281704572</c:v>
                </c:pt>
                <c:pt idx="2565">
                  <c:v>140899934</c:v>
                </c:pt>
                <c:pt idx="2566">
                  <c:v>120380715</c:v>
                </c:pt>
                <c:pt idx="2567">
                  <c:v>786163198</c:v>
                </c:pt>
                <c:pt idx="2568">
                  <c:v>181658670</c:v>
                </c:pt>
                <c:pt idx="2569">
                  <c:v>56562879</c:v>
                </c:pt>
                <c:pt idx="2570">
                  <c:v>495162108</c:v>
                </c:pt>
                <c:pt idx="2571">
                  <c:v>106454412</c:v>
                </c:pt>
                <c:pt idx="2572">
                  <c:v>156280900</c:v>
                </c:pt>
                <c:pt idx="2573">
                  <c:v>62756694</c:v>
                </c:pt>
                <c:pt idx="2574">
                  <c:v>1564956394</c:v>
                </c:pt>
                <c:pt idx="2575">
                  <c:v>607496127</c:v>
                </c:pt>
                <c:pt idx="2576">
                  <c:v>315905940</c:v>
                </c:pt>
                <c:pt idx="2577">
                  <c:v>152205966</c:v>
                </c:pt>
                <c:pt idx="2578">
                  <c:v>96789308</c:v>
                </c:pt>
                <c:pt idx="2579">
                  <c:v>400787189</c:v>
                </c:pt>
                <c:pt idx="2580">
                  <c:v>24315726</c:v>
                </c:pt>
                <c:pt idx="2581">
                  <c:v>460190241</c:v>
                </c:pt>
                <c:pt idx="2582">
                  <c:v>1110674186</c:v>
                </c:pt>
                <c:pt idx="2583">
                  <c:v>379086670</c:v>
                </c:pt>
                <c:pt idx="2584">
                  <c:v>127549796</c:v>
                </c:pt>
                <c:pt idx="2585">
                  <c:v>440344992</c:v>
                </c:pt>
                <c:pt idx="2586">
                  <c:v>137433756</c:v>
                </c:pt>
                <c:pt idx="2587">
                  <c:v>1357812768</c:v>
                </c:pt>
                <c:pt idx="2588">
                  <c:v>1583340213</c:v>
                </c:pt>
                <c:pt idx="2589">
                  <c:v>641870724</c:v>
                </c:pt>
                <c:pt idx="2590">
                  <c:v>387652056</c:v>
                </c:pt>
                <c:pt idx="2591">
                  <c:v>1171750254</c:v>
                </c:pt>
                <c:pt idx="2592">
                  <c:v>399780605</c:v>
                </c:pt>
                <c:pt idx="2593">
                  <c:v>1375831086</c:v>
                </c:pt>
                <c:pt idx="2594">
                  <c:v>622212006</c:v>
                </c:pt>
                <c:pt idx="2595">
                  <c:v>413974470</c:v>
                </c:pt>
                <c:pt idx="2596">
                  <c:v>2063109448</c:v>
                </c:pt>
                <c:pt idx="2597">
                  <c:v>2147483647</c:v>
                </c:pt>
                <c:pt idx="2598">
                  <c:v>2147483647</c:v>
                </c:pt>
                <c:pt idx="2599">
                  <c:v>219663136</c:v>
                </c:pt>
                <c:pt idx="2600">
                  <c:v>2060654316</c:v>
                </c:pt>
                <c:pt idx="2601">
                  <c:v>1400859240</c:v>
                </c:pt>
                <c:pt idx="2602">
                  <c:v>1796683545</c:v>
                </c:pt>
                <c:pt idx="2603">
                  <c:v>1146560688</c:v>
                </c:pt>
                <c:pt idx="2604">
                  <c:v>1731935880</c:v>
                </c:pt>
                <c:pt idx="2605">
                  <c:v>1826728200</c:v>
                </c:pt>
                <c:pt idx="2606">
                  <c:v>614092789</c:v>
                </c:pt>
                <c:pt idx="2607">
                  <c:v>2147483647</c:v>
                </c:pt>
                <c:pt idx="2608">
                  <c:v>2147483647</c:v>
                </c:pt>
                <c:pt idx="2609">
                  <c:v>1994377840</c:v>
                </c:pt>
                <c:pt idx="2610">
                  <c:v>1935995880</c:v>
                </c:pt>
                <c:pt idx="2611">
                  <c:v>2147483647</c:v>
                </c:pt>
                <c:pt idx="2612">
                  <c:v>2147483647</c:v>
                </c:pt>
                <c:pt idx="2613">
                  <c:v>2147483647</c:v>
                </c:pt>
                <c:pt idx="2614">
                  <c:v>2147483647</c:v>
                </c:pt>
                <c:pt idx="2615">
                  <c:v>2147483647</c:v>
                </c:pt>
                <c:pt idx="2616">
                  <c:v>2147483647</c:v>
                </c:pt>
                <c:pt idx="2617">
                  <c:v>1498377044</c:v>
                </c:pt>
                <c:pt idx="2618">
                  <c:v>2026170426</c:v>
                </c:pt>
                <c:pt idx="2619">
                  <c:v>2147483647</c:v>
                </c:pt>
                <c:pt idx="2620">
                  <c:v>2147483647</c:v>
                </c:pt>
                <c:pt idx="2621">
                  <c:v>2147483647</c:v>
                </c:pt>
                <c:pt idx="2622">
                  <c:v>2147483647</c:v>
                </c:pt>
                <c:pt idx="2623">
                  <c:v>2147483647</c:v>
                </c:pt>
                <c:pt idx="2624">
                  <c:v>1608288000</c:v>
                </c:pt>
                <c:pt idx="2625">
                  <c:v>2147483647</c:v>
                </c:pt>
                <c:pt idx="2626">
                  <c:v>2147483647</c:v>
                </c:pt>
                <c:pt idx="2627">
                  <c:v>2147483647</c:v>
                </c:pt>
                <c:pt idx="2628">
                  <c:v>2147483647</c:v>
                </c:pt>
                <c:pt idx="2629">
                  <c:v>1235506002</c:v>
                </c:pt>
                <c:pt idx="2630">
                  <c:v>2147483647</c:v>
                </c:pt>
                <c:pt idx="2631">
                  <c:v>2147483647</c:v>
                </c:pt>
                <c:pt idx="2632">
                  <c:v>1712702940</c:v>
                </c:pt>
                <c:pt idx="2633">
                  <c:v>2147483647</c:v>
                </c:pt>
                <c:pt idx="2634">
                  <c:v>2147483647</c:v>
                </c:pt>
                <c:pt idx="2635">
                  <c:v>2147483647</c:v>
                </c:pt>
                <c:pt idx="2636">
                  <c:v>945623349</c:v>
                </c:pt>
                <c:pt idx="2637">
                  <c:v>2147483647</c:v>
                </c:pt>
                <c:pt idx="2638">
                  <c:v>2147483647</c:v>
                </c:pt>
                <c:pt idx="2639">
                  <c:v>2147483647</c:v>
                </c:pt>
                <c:pt idx="2640">
                  <c:v>1501000470</c:v>
                </c:pt>
                <c:pt idx="2641">
                  <c:v>2147483647</c:v>
                </c:pt>
                <c:pt idx="2642">
                  <c:v>410403330</c:v>
                </c:pt>
                <c:pt idx="2643">
                  <c:v>2147483647</c:v>
                </c:pt>
                <c:pt idx="2644">
                  <c:v>1526205600</c:v>
                </c:pt>
                <c:pt idx="2645">
                  <c:v>2068242213</c:v>
                </c:pt>
                <c:pt idx="2646">
                  <c:v>748015408</c:v>
                </c:pt>
                <c:pt idx="2647">
                  <c:v>1775600736</c:v>
                </c:pt>
                <c:pt idx="2648">
                  <c:v>1315465080</c:v>
                </c:pt>
                <c:pt idx="2649">
                  <c:v>1074043212</c:v>
                </c:pt>
                <c:pt idx="2650">
                  <c:v>1284505950</c:v>
                </c:pt>
                <c:pt idx="2651">
                  <c:v>856912996</c:v>
                </c:pt>
                <c:pt idx="2652">
                  <c:v>402031000</c:v>
                </c:pt>
                <c:pt idx="2653">
                  <c:v>1501113600</c:v>
                </c:pt>
                <c:pt idx="2654">
                  <c:v>1466185230</c:v>
                </c:pt>
                <c:pt idx="2655">
                  <c:v>543199019</c:v>
                </c:pt>
                <c:pt idx="2656">
                  <c:v>1346855304</c:v>
                </c:pt>
                <c:pt idx="2657">
                  <c:v>2147483647</c:v>
                </c:pt>
                <c:pt idx="2658">
                  <c:v>791701492</c:v>
                </c:pt>
                <c:pt idx="2659">
                  <c:v>725958754</c:v>
                </c:pt>
                <c:pt idx="2660">
                  <c:v>2147483647</c:v>
                </c:pt>
                <c:pt idx="2661">
                  <c:v>2147483647</c:v>
                </c:pt>
                <c:pt idx="2662">
                  <c:v>1982933790</c:v>
                </c:pt>
                <c:pt idx="2663">
                  <c:v>2147483647</c:v>
                </c:pt>
                <c:pt idx="2664">
                  <c:v>2147483647</c:v>
                </c:pt>
                <c:pt idx="2665">
                  <c:v>1333649040</c:v>
                </c:pt>
                <c:pt idx="2666">
                  <c:v>1556802135</c:v>
                </c:pt>
                <c:pt idx="2667">
                  <c:v>2147483647</c:v>
                </c:pt>
                <c:pt idx="2668">
                  <c:v>790290235</c:v>
                </c:pt>
                <c:pt idx="2669">
                  <c:v>1267944000</c:v>
                </c:pt>
                <c:pt idx="2670">
                  <c:v>1519231711</c:v>
                </c:pt>
                <c:pt idx="2671">
                  <c:v>1306317460</c:v>
                </c:pt>
                <c:pt idx="2672">
                  <c:v>926266756</c:v>
                </c:pt>
                <c:pt idx="2673">
                  <c:v>719160716</c:v>
                </c:pt>
                <c:pt idx="2674">
                  <c:v>888609943</c:v>
                </c:pt>
                <c:pt idx="2675">
                  <c:v>1142325600</c:v>
                </c:pt>
                <c:pt idx="2676">
                  <c:v>1309872128</c:v>
                </c:pt>
                <c:pt idx="2677">
                  <c:v>1466217240</c:v>
                </c:pt>
                <c:pt idx="2678">
                  <c:v>1188324900</c:v>
                </c:pt>
                <c:pt idx="2679">
                  <c:v>1132006089</c:v>
                </c:pt>
                <c:pt idx="2680">
                  <c:v>973761156</c:v>
                </c:pt>
                <c:pt idx="2681">
                  <c:v>772778656</c:v>
                </c:pt>
                <c:pt idx="2682">
                  <c:v>825237710</c:v>
                </c:pt>
                <c:pt idx="2683">
                  <c:v>633377264</c:v>
                </c:pt>
                <c:pt idx="2684">
                  <c:v>852396678</c:v>
                </c:pt>
                <c:pt idx="2685">
                  <c:v>1847000229</c:v>
                </c:pt>
                <c:pt idx="2686">
                  <c:v>930388984</c:v>
                </c:pt>
                <c:pt idx="2687">
                  <c:v>1958875776</c:v>
                </c:pt>
                <c:pt idx="2688">
                  <c:v>1773154775</c:v>
                </c:pt>
                <c:pt idx="2689">
                  <c:v>573384812</c:v>
                </c:pt>
                <c:pt idx="2690">
                  <c:v>1152379908</c:v>
                </c:pt>
                <c:pt idx="2691">
                  <c:v>413025030</c:v>
                </c:pt>
                <c:pt idx="2692">
                  <c:v>147779740</c:v>
                </c:pt>
                <c:pt idx="2693">
                  <c:v>1621872582</c:v>
                </c:pt>
                <c:pt idx="2694">
                  <c:v>247655998</c:v>
                </c:pt>
                <c:pt idx="2695">
                  <c:v>386347775</c:v>
                </c:pt>
                <c:pt idx="2696">
                  <c:v>505002600</c:v>
                </c:pt>
                <c:pt idx="2697">
                  <c:v>1754006717</c:v>
                </c:pt>
                <c:pt idx="2698">
                  <c:v>2147483647</c:v>
                </c:pt>
                <c:pt idx="2699">
                  <c:v>1177554897</c:v>
                </c:pt>
                <c:pt idx="2700">
                  <c:v>1218958000</c:v>
                </c:pt>
                <c:pt idx="2701">
                  <c:v>20002242</c:v>
                </c:pt>
                <c:pt idx="2702">
                  <c:v>73612720</c:v>
                </c:pt>
                <c:pt idx="2703">
                  <c:v>1755592992</c:v>
                </c:pt>
                <c:pt idx="2704">
                  <c:v>1095037592</c:v>
                </c:pt>
                <c:pt idx="2705">
                  <c:v>767494550</c:v>
                </c:pt>
                <c:pt idx="2706">
                  <c:v>1819530144</c:v>
                </c:pt>
                <c:pt idx="2707">
                  <c:v>546555453</c:v>
                </c:pt>
                <c:pt idx="2708">
                  <c:v>356518657</c:v>
                </c:pt>
                <c:pt idx="2709">
                  <c:v>566594352</c:v>
                </c:pt>
                <c:pt idx="2710">
                  <c:v>702407456</c:v>
                </c:pt>
                <c:pt idx="2711">
                  <c:v>115373544</c:v>
                </c:pt>
                <c:pt idx="2712">
                  <c:v>2147483647</c:v>
                </c:pt>
                <c:pt idx="2713">
                  <c:v>1250001935</c:v>
                </c:pt>
                <c:pt idx="2714">
                  <c:v>550041854</c:v>
                </c:pt>
                <c:pt idx="2715">
                  <c:v>2084678228</c:v>
                </c:pt>
                <c:pt idx="2716">
                  <c:v>98613916</c:v>
                </c:pt>
                <c:pt idx="2717">
                  <c:v>1935380220</c:v>
                </c:pt>
                <c:pt idx="2718">
                  <c:v>1543900636</c:v>
                </c:pt>
                <c:pt idx="2719">
                  <c:v>530555278</c:v>
                </c:pt>
                <c:pt idx="2720">
                  <c:v>1303596624</c:v>
                </c:pt>
                <c:pt idx="2721">
                  <c:v>1017637984</c:v>
                </c:pt>
                <c:pt idx="2722">
                  <c:v>467963440</c:v>
                </c:pt>
                <c:pt idx="2723">
                  <c:v>10639679</c:v>
                </c:pt>
                <c:pt idx="2724">
                  <c:v>1858243539</c:v>
                </c:pt>
                <c:pt idx="2725">
                  <c:v>1035653668</c:v>
                </c:pt>
                <c:pt idx="2726">
                  <c:v>2125523140</c:v>
                </c:pt>
                <c:pt idx="2727">
                  <c:v>616805226</c:v>
                </c:pt>
                <c:pt idx="2728">
                  <c:v>884008611</c:v>
                </c:pt>
                <c:pt idx="2729">
                  <c:v>1816405544</c:v>
                </c:pt>
                <c:pt idx="2730">
                  <c:v>613649020</c:v>
                </c:pt>
                <c:pt idx="2731">
                  <c:v>450099083</c:v>
                </c:pt>
                <c:pt idx="2732">
                  <c:v>951384256</c:v>
                </c:pt>
                <c:pt idx="2733">
                  <c:v>205077913</c:v>
                </c:pt>
                <c:pt idx="2734">
                  <c:v>1027133496</c:v>
                </c:pt>
                <c:pt idx="2735">
                  <c:v>836384584</c:v>
                </c:pt>
                <c:pt idx="2736">
                  <c:v>722995950</c:v>
                </c:pt>
                <c:pt idx="2737">
                  <c:v>1600225920</c:v>
                </c:pt>
                <c:pt idx="2738">
                  <c:v>446621742</c:v>
                </c:pt>
                <c:pt idx="2739">
                  <c:v>2147483647</c:v>
                </c:pt>
                <c:pt idx="2740">
                  <c:v>431369140</c:v>
                </c:pt>
                <c:pt idx="2741">
                  <c:v>2077439442</c:v>
                </c:pt>
                <c:pt idx="2742">
                  <c:v>420284480</c:v>
                </c:pt>
                <c:pt idx="2743">
                  <c:v>1112342766</c:v>
                </c:pt>
                <c:pt idx="2744">
                  <c:v>192739800</c:v>
                </c:pt>
                <c:pt idx="2745">
                  <c:v>432674340</c:v>
                </c:pt>
                <c:pt idx="2746">
                  <c:v>1899857826</c:v>
                </c:pt>
                <c:pt idx="2747">
                  <c:v>196099893</c:v>
                </c:pt>
                <c:pt idx="2748">
                  <c:v>139457577</c:v>
                </c:pt>
                <c:pt idx="2749">
                  <c:v>1194558000</c:v>
                </c:pt>
                <c:pt idx="2750">
                  <c:v>563621475</c:v>
                </c:pt>
                <c:pt idx="2751">
                  <c:v>1022966196</c:v>
                </c:pt>
                <c:pt idx="2752">
                  <c:v>252721062</c:v>
                </c:pt>
                <c:pt idx="2753">
                  <c:v>1756723480</c:v>
                </c:pt>
                <c:pt idx="2754">
                  <c:v>728056406</c:v>
                </c:pt>
                <c:pt idx="2755">
                  <c:v>1187205348</c:v>
                </c:pt>
                <c:pt idx="2756">
                  <c:v>1106552880</c:v>
                </c:pt>
                <c:pt idx="2757">
                  <c:v>728201934</c:v>
                </c:pt>
                <c:pt idx="2758">
                  <c:v>1751308060</c:v>
                </c:pt>
                <c:pt idx="2759">
                  <c:v>232424374</c:v>
                </c:pt>
                <c:pt idx="2760">
                  <c:v>1262743286</c:v>
                </c:pt>
                <c:pt idx="2761">
                  <c:v>1656816675</c:v>
                </c:pt>
                <c:pt idx="2762">
                  <c:v>757287630</c:v>
                </c:pt>
                <c:pt idx="2763">
                  <c:v>534045722</c:v>
                </c:pt>
                <c:pt idx="2764">
                  <c:v>1244921356</c:v>
                </c:pt>
                <c:pt idx="2765">
                  <c:v>602348160</c:v>
                </c:pt>
                <c:pt idx="2766">
                  <c:v>2147483647</c:v>
                </c:pt>
                <c:pt idx="2767">
                  <c:v>2147483647</c:v>
                </c:pt>
                <c:pt idx="2768">
                  <c:v>1276669350</c:v>
                </c:pt>
                <c:pt idx="2769">
                  <c:v>135013451</c:v>
                </c:pt>
                <c:pt idx="2770">
                  <c:v>667698896</c:v>
                </c:pt>
                <c:pt idx="2771">
                  <c:v>472393753</c:v>
                </c:pt>
                <c:pt idx="2772">
                  <c:v>1047479655</c:v>
                </c:pt>
                <c:pt idx="2773">
                  <c:v>914693155</c:v>
                </c:pt>
                <c:pt idx="2774">
                  <c:v>543989104</c:v>
                </c:pt>
                <c:pt idx="2775">
                  <c:v>2002806432</c:v>
                </c:pt>
                <c:pt idx="2776">
                  <c:v>1755064271</c:v>
                </c:pt>
                <c:pt idx="2777">
                  <c:v>2147483647</c:v>
                </c:pt>
                <c:pt idx="2778">
                  <c:v>1216890834</c:v>
                </c:pt>
                <c:pt idx="2779">
                  <c:v>1085795100</c:v>
                </c:pt>
                <c:pt idx="2780">
                  <c:v>619828640</c:v>
                </c:pt>
                <c:pt idx="2781">
                  <c:v>593744256</c:v>
                </c:pt>
                <c:pt idx="2782">
                  <c:v>750908452</c:v>
                </c:pt>
                <c:pt idx="2783">
                  <c:v>1512019824</c:v>
                </c:pt>
                <c:pt idx="2784">
                  <c:v>465450000</c:v>
                </c:pt>
                <c:pt idx="2785">
                  <c:v>6310512</c:v>
                </c:pt>
                <c:pt idx="2786">
                  <c:v>796339215</c:v>
                </c:pt>
                <c:pt idx="2787">
                  <c:v>2042094789</c:v>
                </c:pt>
                <c:pt idx="2788">
                  <c:v>1028697570</c:v>
                </c:pt>
                <c:pt idx="2789">
                  <c:v>597459456</c:v>
                </c:pt>
                <c:pt idx="2790">
                  <c:v>556796799</c:v>
                </c:pt>
                <c:pt idx="2791">
                  <c:v>1511676936</c:v>
                </c:pt>
                <c:pt idx="2792">
                  <c:v>1029972516</c:v>
                </c:pt>
                <c:pt idx="2793">
                  <c:v>909285666</c:v>
                </c:pt>
                <c:pt idx="2794">
                  <c:v>1258482694</c:v>
                </c:pt>
                <c:pt idx="2795">
                  <c:v>921928163</c:v>
                </c:pt>
                <c:pt idx="2796">
                  <c:v>337250499</c:v>
                </c:pt>
                <c:pt idx="2797">
                  <c:v>1993071680</c:v>
                </c:pt>
                <c:pt idx="2798">
                  <c:v>838510479</c:v>
                </c:pt>
                <c:pt idx="2799">
                  <c:v>314673255</c:v>
                </c:pt>
                <c:pt idx="2800">
                  <c:v>743967130</c:v>
                </c:pt>
                <c:pt idx="2801">
                  <c:v>1957368600</c:v>
                </c:pt>
                <c:pt idx="2802">
                  <c:v>493563684</c:v>
                </c:pt>
                <c:pt idx="2803">
                  <c:v>1759136838</c:v>
                </c:pt>
                <c:pt idx="2804">
                  <c:v>1332150347</c:v>
                </c:pt>
                <c:pt idx="2805">
                  <c:v>183368528</c:v>
                </c:pt>
                <c:pt idx="2806">
                  <c:v>826326450</c:v>
                </c:pt>
                <c:pt idx="2807">
                  <c:v>494450339</c:v>
                </c:pt>
                <c:pt idx="2808">
                  <c:v>1843835805</c:v>
                </c:pt>
                <c:pt idx="2809">
                  <c:v>2063576280</c:v>
                </c:pt>
                <c:pt idx="2810">
                  <c:v>270166560</c:v>
                </c:pt>
                <c:pt idx="2811">
                  <c:v>1076779410</c:v>
                </c:pt>
                <c:pt idx="2812">
                  <c:v>85058766</c:v>
                </c:pt>
                <c:pt idx="2813">
                  <c:v>76971428</c:v>
                </c:pt>
                <c:pt idx="2814">
                  <c:v>286322386</c:v>
                </c:pt>
                <c:pt idx="2815">
                  <c:v>374281713</c:v>
                </c:pt>
                <c:pt idx="2816">
                  <c:v>236464560</c:v>
                </c:pt>
                <c:pt idx="2817">
                  <c:v>1610601888</c:v>
                </c:pt>
                <c:pt idx="2818">
                  <c:v>82337358</c:v>
                </c:pt>
                <c:pt idx="2819">
                  <c:v>295289600</c:v>
                </c:pt>
                <c:pt idx="2820">
                  <c:v>105982540</c:v>
                </c:pt>
                <c:pt idx="2821">
                  <c:v>286750148</c:v>
                </c:pt>
                <c:pt idx="2822">
                  <c:v>278443948</c:v>
                </c:pt>
                <c:pt idx="2823">
                  <c:v>870090264</c:v>
                </c:pt>
                <c:pt idx="2824">
                  <c:v>618960623</c:v>
                </c:pt>
                <c:pt idx="2825">
                  <c:v>534602265</c:v>
                </c:pt>
                <c:pt idx="2826">
                  <c:v>455079408</c:v>
                </c:pt>
                <c:pt idx="2827">
                  <c:v>244693974</c:v>
                </c:pt>
                <c:pt idx="2828">
                  <c:v>562666100</c:v>
                </c:pt>
                <c:pt idx="2829">
                  <c:v>323613432</c:v>
                </c:pt>
                <c:pt idx="2830">
                  <c:v>112043400</c:v>
                </c:pt>
                <c:pt idx="2831">
                  <c:v>17104952</c:v>
                </c:pt>
                <c:pt idx="2832">
                  <c:v>88781526</c:v>
                </c:pt>
                <c:pt idx="2833">
                  <c:v>25626770</c:v>
                </c:pt>
                <c:pt idx="2834">
                  <c:v>33307020</c:v>
                </c:pt>
                <c:pt idx="2835">
                  <c:v>81824820</c:v>
                </c:pt>
                <c:pt idx="2836">
                  <c:v>560663928</c:v>
                </c:pt>
                <c:pt idx="2837">
                  <c:v>594894174</c:v>
                </c:pt>
                <c:pt idx="2838">
                  <c:v>161615558</c:v>
                </c:pt>
                <c:pt idx="2839">
                  <c:v>1156732445</c:v>
                </c:pt>
                <c:pt idx="2840">
                  <c:v>1275504660</c:v>
                </c:pt>
                <c:pt idx="2841">
                  <c:v>418637205</c:v>
                </c:pt>
                <c:pt idx="2842">
                  <c:v>36392240</c:v>
                </c:pt>
                <c:pt idx="2843">
                  <c:v>267698634</c:v>
                </c:pt>
                <c:pt idx="2844">
                  <c:v>203020313</c:v>
                </c:pt>
                <c:pt idx="2845">
                  <c:v>263224122</c:v>
                </c:pt>
                <c:pt idx="2846">
                  <c:v>235103680</c:v>
                </c:pt>
                <c:pt idx="2847">
                  <c:v>23475700</c:v>
                </c:pt>
                <c:pt idx="2848">
                  <c:v>383438088</c:v>
                </c:pt>
                <c:pt idx="2849">
                  <c:v>764789682</c:v>
                </c:pt>
                <c:pt idx="2850">
                  <c:v>132571620</c:v>
                </c:pt>
                <c:pt idx="2851">
                  <c:v>16901976</c:v>
                </c:pt>
                <c:pt idx="2852">
                  <c:v>366990668</c:v>
                </c:pt>
                <c:pt idx="2853">
                  <c:v>868353325</c:v>
                </c:pt>
                <c:pt idx="2854">
                  <c:v>1503641876</c:v>
                </c:pt>
                <c:pt idx="2855">
                  <c:v>29610260</c:v>
                </c:pt>
                <c:pt idx="2856">
                  <c:v>76367130</c:v>
                </c:pt>
                <c:pt idx="2857">
                  <c:v>193544505</c:v>
                </c:pt>
                <c:pt idx="2858">
                  <c:v>204195900</c:v>
                </c:pt>
                <c:pt idx="2859">
                  <c:v>32105460</c:v>
                </c:pt>
                <c:pt idx="2860">
                  <c:v>25918489</c:v>
                </c:pt>
                <c:pt idx="2861">
                  <c:v>53006528</c:v>
                </c:pt>
                <c:pt idx="2862">
                  <c:v>6731383</c:v>
                </c:pt>
                <c:pt idx="2863">
                  <c:v>20287644</c:v>
                </c:pt>
                <c:pt idx="2864">
                  <c:v>329721746</c:v>
                </c:pt>
                <c:pt idx="2865">
                  <c:v>16506411</c:v>
                </c:pt>
                <c:pt idx="2866">
                  <c:v>4869540</c:v>
                </c:pt>
                <c:pt idx="2867">
                  <c:v>175824384</c:v>
                </c:pt>
                <c:pt idx="2868">
                  <c:v>25761828</c:v>
                </c:pt>
                <c:pt idx="2869">
                  <c:v>12923240</c:v>
                </c:pt>
                <c:pt idx="2870">
                  <c:v>223584606</c:v>
                </c:pt>
                <c:pt idx="2871">
                  <c:v>16099135</c:v>
                </c:pt>
                <c:pt idx="2872">
                  <c:v>22234466</c:v>
                </c:pt>
                <c:pt idx="2873">
                  <c:v>844963210</c:v>
                </c:pt>
                <c:pt idx="2874">
                  <c:v>127008785</c:v>
                </c:pt>
                <c:pt idx="2875">
                  <c:v>73867008</c:v>
                </c:pt>
                <c:pt idx="2876">
                  <c:v>159840468</c:v>
                </c:pt>
                <c:pt idx="2877">
                  <c:v>935025696</c:v>
                </c:pt>
                <c:pt idx="2878">
                  <c:v>85357935</c:v>
                </c:pt>
                <c:pt idx="2879">
                  <c:v>71954565</c:v>
                </c:pt>
                <c:pt idx="2880">
                  <c:v>33091646</c:v>
                </c:pt>
                <c:pt idx="2881">
                  <c:v>62940213</c:v>
                </c:pt>
                <c:pt idx="2882">
                  <c:v>108664740</c:v>
                </c:pt>
                <c:pt idx="2883">
                  <c:v>548132088</c:v>
                </c:pt>
                <c:pt idx="2884">
                  <c:v>56261392</c:v>
                </c:pt>
                <c:pt idx="2885">
                  <c:v>9362238</c:v>
                </c:pt>
                <c:pt idx="2886">
                  <c:v>2147483647</c:v>
                </c:pt>
                <c:pt idx="2887">
                  <c:v>68103910</c:v>
                </c:pt>
                <c:pt idx="2888">
                  <c:v>71150022</c:v>
                </c:pt>
                <c:pt idx="2889">
                  <c:v>83186635</c:v>
                </c:pt>
                <c:pt idx="2890">
                  <c:v>12922805</c:v>
                </c:pt>
                <c:pt idx="2891">
                  <c:v>59389055</c:v>
                </c:pt>
                <c:pt idx="2892">
                  <c:v>7191756</c:v>
                </c:pt>
                <c:pt idx="2893">
                  <c:v>77870630</c:v>
                </c:pt>
                <c:pt idx="2894">
                  <c:v>110624391</c:v>
                </c:pt>
                <c:pt idx="2895">
                  <c:v>99364810</c:v>
                </c:pt>
                <c:pt idx="2896">
                  <c:v>41081040</c:v>
                </c:pt>
                <c:pt idx="2897">
                  <c:v>375452300</c:v>
                </c:pt>
                <c:pt idx="2898">
                  <c:v>575402128</c:v>
                </c:pt>
                <c:pt idx="2899">
                  <c:v>129878400</c:v>
                </c:pt>
                <c:pt idx="2900">
                  <c:v>206227350</c:v>
                </c:pt>
                <c:pt idx="2901">
                  <c:v>53042176</c:v>
                </c:pt>
                <c:pt idx="2902">
                  <c:v>36750805</c:v>
                </c:pt>
                <c:pt idx="2903">
                  <c:v>171468649</c:v>
                </c:pt>
                <c:pt idx="2904">
                  <c:v>47669517</c:v>
                </c:pt>
                <c:pt idx="2905">
                  <c:v>54758766</c:v>
                </c:pt>
                <c:pt idx="2906">
                  <c:v>93512144</c:v>
                </c:pt>
                <c:pt idx="2907">
                  <c:v>391228488</c:v>
                </c:pt>
                <c:pt idx="2908">
                  <c:v>111939156</c:v>
                </c:pt>
                <c:pt idx="2909">
                  <c:v>8113063</c:v>
                </c:pt>
                <c:pt idx="2910">
                  <c:v>828647064</c:v>
                </c:pt>
                <c:pt idx="2911">
                  <c:v>12479883</c:v>
                </c:pt>
                <c:pt idx="2912">
                  <c:v>75709326</c:v>
                </c:pt>
                <c:pt idx="2913">
                  <c:v>136833466</c:v>
                </c:pt>
                <c:pt idx="2914">
                  <c:v>791744289</c:v>
                </c:pt>
                <c:pt idx="2915">
                  <c:v>27787800</c:v>
                </c:pt>
                <c:pt idx="2916">
                  <c:v>81418868</c:v>
                </c:pt>
                <c:pt idx="2917">
                  <c:v>135042600</c:v>
                </c:pt>
                <c:pt idx="2918">
                  <c:v>215196588</c:v>
                </c:pt>
                <c:pt idx="2919">
                  <c:v>37166080</c:v>
                </c:pt>
                <c:pt idx="2920">
                  <c:v>13336757</c:v>
                </c:pt>
                <c:pt idx="2921">
                  <c:v>3815907</c:v>
                </c:pt>
                <c:pt idx="2922">
                  <c:v>133726140</c:v>
                </c:pt>
                <c:pt idx="2923">
                  <c:v>16289324</c:v>
                </c:pt>
                <c:pt idx="2924">
                  <c:v>49915584</c:v>
                </c:pt>
                <c:pt idx="2925">
                  <c:v>77516670</c:v>
                </c:pt>
                <c:pt idx="2926">
                  <c:v>101332944</c:v>
                </c:pt>
                <c:pt idx="2927">
                  <c:v>6411560</c:v>
                </c:pt>
                <c:pt idx="2928">
                  <c:v>63855400</c:v>
                </c:pt>
                <c:pt idx="2929">
                  <c:v>208464930</c:v>
                </c:pt>
                <c:pt idx="2930">
                  <c:v>900592560</c:v>
                </c:pt>
                <c:pt idx="2931">
                  <c:v>19756428</c:v>
                </c:pt>
                <c:pt idx="2932">
                  <c:v>282625520</c:v>
                </c:pt>
                <c:pt idx="2933">
                  <c:v>67277840</c:v>
                </c:pt>
                <c:pt idx="2934">
                  <c:v>22344231</c:v>
                </c:pt>
                <c:pt idx="2935">
                  <c:v>40004770</c:v>
                </c:pt>
                <c:pt idx="2936">
                  <c:v>31367658</c:v>
                </c:pt>
                <c:pt idx="2937">
                  <c:v>137506857</c:v>
                </c:pt>
                <c:pt idx="2938">
                  <c:v>45559581</c:v>
                </c:pt>
                <c:pt idx="2939">
                  <c:v>36406926</c:v>
                </c:pt>
                <c:pt idx="2940">
                  <c:v>162748098</c:v>
                </c:pt>
                <c:pt idx="2941">
                  <c:v>304544064</c:v>
                </c:pt>
                <c:pt idx="2942">
                  <c:v>550292238</c:v>
                </c:pt>
                <c:pt idx="2943">
                  <c:v>30951351</c:v>
                </c:pt>
                <c:pt idx="2944">
                  <c:v>11533341</c:v>
                </c:pt>
                <c:pt idx="2945">
                  <c:v>6398121</c:v>
                </c:pt>
                <c:pt idx="2946">
                  <c:v>40585279</c:v>
                </c:pt>
                <c:pt idx="2947">
                  <c:v>67695600</c:v>
                </c:pt>
                <c:pt idx="2948">
                  <c:v>77440011</c:v>
                </c:pt>
                <c:pt idx="2949">
                  <c:v>210673146</c:v>
                </c:pt>
                <c:pt idx="2950">
                  <c:v>64152661</c:v>
                </c:pt>
                <c:pt idx="2951">
                  <c:v>15947984</c:v>
                </c:pt>
                <c:pt idx="2952">
                  <c:v>22094187</c:v>
                </c:pt>
                <c:pt idx="2953">
                  <c:v>8098068</c:v>
                </c:pt>
                <c:pt idx="2954">
                  <c:v>20554561</c:v>
                </c:pt>
                <c:pt idx="2955">
                  <c:v>1708661770</c:v>
                </c:pt>
                <c:pt idx="2956">
                  <c:v>511514570</c:v>
                </c:pt>
                <c:pt idx="2957">
                  <c:v>85272230</c:v>
                </c:pt>
                <c:pt idx="2958">
                  <c:v>326977244</c:v>
                </c:pt>
                <c:pt idx="2959">
                  <c:v>82024254</c:v>
                </c:pt>
                <c:pt idx="2960">
                  <c:v>351783366</c:v>
                </c:pt>
                <c:pt idx="2961">
                  <c:v>14315175</c:v>
                </c:pt>
                <c:pt idx="2962">
                  <c:v>487173645</c:v>
                </c:pt>
                <c:pt idx="2963">
                  <c:v>650937168</c:v>
                </c:pt>
                <c:pt idx="2964">
                  <c:v>10694020</c:v>
                </c:pt>
                <c:pt idx="2965">
                  <c:v>64684011</c:v>
                </c:pt>
                <c:pt idx="2966">
                  <c:v>67517517</c:v>
                </c:pt>
                <c:pt idx="2967">
                  <c:v>3619784</c:v>
                </c:pt>
                <c:pt idx="2968">
                  <c:v>160311354</c:v>
                </c:pt>
                <c:pt idx="2969">
                  <c:v>64596715</c:v>
                </c:pt>
                <c:pt idx="2970">
                  <c:v>290288737</c:v>
                </c:pt>
                <c:pt idx="2971">
                  <c:v>250956927</c:v>
                </c:pt>
                <c:pt idx="2972">
                  <c:v>1239077910</c:v>
                </c:pt>
                <c:pt idx="2973">
                  <c:v>300349074</c:v>
                </c:pt>
                <c:pt idx="2974">
                  <c:v>1056325368</c:v>
                </c:pt>
                <c:pt idx="2975">
                  <c:v>306126259</c:v>
                </c:pt>
                <c:pt idx="2976">
                  <c:v>67517100</c:v>
                </c:pt>
                <c:pt idx="2977">
                  <c:v>849385380</c:v>
                </c:pt>
                <c:pt idx="2978">
                  <c:v>336311436</c:v>
                </c:pt>
                <c:pt idx="2979">
                  <c:v>365478150</c:v>
                </c:pt>
                <c:pt idx="2980">
                  <c:v>734190114</c:v>
                </c:pt>
                <c:pt idx="2981">
                  <c:v>1083064851</c:v>
                </c:pt>
                <c:pt idx="2982">
                  <c:v>1046838690</c:v>
                </c:pt>
                <c:pt idx="2983">
                  <c:v>594106400</c:v>
                </c:pt>
                <c:pt idx="2984">
                  <c:v>203162661</c:v>
                </c:pt>
                <c:pt idx="2985">
                  <c:v>889110768</c:v>
                </c:pt>
                <c:pt idx="2986">
                  <c:v>129052028</c:v>
                </c:pt>
                <c:pt idx="2987">
                  <c:v>381282982</c:v>
                </c:pt>
                <c:pt idx="2988">
                  <c:v>1579702445</c:v>
                </c:pt>
                <c:pt idx="2989">
                  <c:v>1188332536</c:v>
                </c:pt>
                <c:pt idx="2990">
                  <c:v>133095105</c:v>
                </c:pt>
                <c:pt idx="2991">
                  <c:v>14941284</c:v>
                </c:pt>
                <c:pt idx="2992">
                  <c:v>36634034</c:v>
                </c:pt>
                <c:pt idx="2993">
                  <c:v>3238120</c:v>
                </c:pt>
                <c:pt idx="2994">
                  <c:v>55654872</c:v>
                </c:pt>
                <c:pt idx="2995">
                  <c:v>9040750</c:v>
                </c:pt>
                <c:pt idx="2996">
                  <c:v>10992669</c:v>
                </c:pt>
                <c:pt idx="2997">
                  <c:v>95491191</c:v>
                </c:pt>
                <c:pt idx="2998">
                  <c:v>308992023</c:v>
                </c:pt>
                <c:pt idx="2999">
                  <c:v>39081912</c:v>
                </c:pt>
                <c:pt idx="3000">
                  <c:v>11804940</c:v>
                </c:pt>
                <c:pt idx="3001">
                  <c:v>38626448</c:v>
                </c:pt>
                <c:pt idx="3002">
                  <c:v>13750800</c:v>
                </c:pt>
                <c:pt idx="3003">
                  <c:v>10416378</c:v>
                </c:pt>
                <c:pt idx="3004">
                  <c:v>26109264</c:v>
                </c:pt>
                <c:pt idx="3005">
                  <c:v>9608400</c:v>
                </c:pt>
                <c:pt idx="3006">
                  <c:v>21836100</c:v>
                </c:pt>
                <c:pt idx="3007">
                  <c:v>180065104</c:v>
                </c:pt>
                <c:pt idx="3008">
                  <c:v>48060439</c:v>
                </c:pt>
                <c:pt idx="3009">
                  <c:v>57062512</c:v>
                </c:pt>
                <c:pt idx="3010">
                  <c:v>13125593</c:v>
                </c:pt>
                <c:pt idx="3011">
                  <c:v>19392000</c:v>
                </c:pt>
                <c:pt idx="3012">
                  <c:v>8669925</c:v>
                </c:pt>
                <c:pt idx="3013">
                  <c:v>68258355</c:v>
                </c:pt>
                <c:pt idx="3014">
                  <c:v>19228170</c:v>
                </c:pt>
                <c:pt idx="3015">
                  <c:v>203999520</c:v>
                </c:pt>
                <c:pt idx="3016">
                  <c:v>13454616</c:v>
                </c:pt>
                <c:pt idx="3017">
                  <c:v>179247915</c:v>
                </c:pt>
                <c:pt idx="3018">
                  <c:v>103206502</c:v>
                </c:pt>
                <c:pt idx="3019">
                  <c:v>30603391</c:v>
                </c:pt>
                <c:pt idx="3020">
                  <c:v>14636495</c:v>
                </c:pt>
                <c:pt idx="3021">
                  <c:v>57088324</c:v>
                </c:pt>
                <c:pt idx="3022">
                  <c:v>20066018</c:v>
                </c:pt>
                <c:pt idx="3023">
                  <c:v>64016816</c:v>
                </c:pt>
                <c:pt idx="3024">
                  <c:v>6714225</c:v>
                </c:pt>
                <c:pt idx="3025">
                  <c:v>9753480</c:v>
                </c:pt>
                <c:pt idx="3026">
                  <c:v>95964590</c:v>
                </c:pt>
                <c:pt idx="3027">
                  <c:v>50770499</c:v>
                </c:pt>
                <c:pt idx="3028">
                  <c:v>39054700</c:v>
                </c:pt>
                <c:pt idx="3029">
                  <c:v>102081280</c:v>
                </c:pt>
                <c:pt idx="3030">
                  <c:v>45576993</c:v>
                </c:pt>
                <c:pt idx="3031">
                  <c:v>28463435</c:v>
                </c:pt>
                <c:pt idx="3032">
                  <c:v>16198876</c:v>
                </c:pt>
                <c:pt idx="3033">
                  <c:v>50947360</c:v>
                </c:pt>
                <c:pt idx="3034">
                  <c:v>23935828</c:v>
                </c:pt>
                <c:pt idx="3035">
                  <c:v>46540400</c:v>
                </c:pt>
                <c:pt idx="3036">
                  <c:v>13096512</c:v>
                </c:pt>
                <c:pt idx="3037">
                  <c:v>760763610</c:v>
                </c:pt>
                <c:pt idx="3038">
                  <c:v>19515782</c:v>
                </c:pt>
                <c:pt idx="3039">
                  <c:v>48820575</c:v>
                </c:pt>
                <c:pt idx="3040">
                  <c:v>12242816</c:v>
                </c:pt>
                <c:pt idx="3041">
                  <c:v>145526952</c:v>
                </c:pt>
                <c:pt idx="3042">
                  <c:v>36624820</c:v>
                </c:pt>
                <c:pt idx="3043">
                  <c:v>53121420</c:v>
                </c:pt>
                <c:pt idx="3044">
                  <c:v>170111017</c:v>
                </c:pt>
                <c:pt idx="3045">
                  <c:v>68748680</c:v>
                </c:pt>
                <c:pt idx="3046">
                  <c:v>40242798</c:v>
                </c:pt>
                <c:pt idx="3047">
                  <c:v>46111632</c:v>
                </c:pt>
                <c:pt idx="3048">
                  <c:v>258306620</c:v>
                </c:pt>
                <c:pt idx="3049">
                  <c:v>72176125</c:v>
                </c:pt>
                <c:pt idx="3050">
                  <c:v>64475264</c:v>
                </c:pt>
                <c:pt idx="3051">
                  <c:v>30913425</c:v>
                </c:pt>
                <c:pt idx="3052">
                  <c:v>8915996</c:v>
                </c:pt>
                <c:pt idx="3053">
                  <c:v>796041904</c:v>
                </c:pt>
                <c:pt idx="3054">
                  <c:v>8736580</c:v>
                </c:pt>
                <c:pt idx="3055">
                  <c:v>218258325</c:v>
                </c:pt>
                <c:pt idx="3056">
                  <c:v>54466210</c:v>
                </c:pt>
                <c:pt idx="3057">
                  <c:v>114245820</c:v>
                </c:pt>
                <c:pt idx="3058">
                  <c:v>16808196</c:v>
                </c:pt>
                <c:pt idx="3059">
                  <c:v>262564496</c:v>
                </c:pt>
                <c:pt idx="3060">
                  <c:v>159034194</c:v>
                </c:pt>
                <c:pt idx="3061">
                  <c:v>82309500</c:v>
                </c:pt>
                <c:pt idx="3062">
                  <c:v>155274042</c:v>
                </c:pt>
                <c:pt idx="3063">
                  <c:v>81937638</c:v>
                </c:pt>
                <c:pt idx="3064">
                  <c:v>637554871</c:v>
                </c:pt>
                <c:pt idx="3065">
                  <c:v>71715984</c:v>
                </c:pt>
                <c:pt idx="3066">
                  <c:v>153475540</c:v>
                </c:pt>
                <c:pt idx="3067">
                  <c:v>538653675</c:v>
                </c:pt>
                <c:pt idx="3068">
                  <c:v>117215285</c:v>
                </c:pt>
                <c:pt idx="3069">
                  <c:v>139080512</c:v>
                </c:pt>
                <c:pt idx="3070">
                  <c:v>1346038476</c:v>
                </c:pt>
                <c:pt idx="3071">
                  <c:v>622165280</c:v>
                </c:pt>
                <c:pt idx="3072">
                  <c:v>527412039</c:v>
                </c:pt>
                <c:pt idx="3073">
                  <c:v>446836500</c:v>
                </c:pt>
                <c:pt idx="3074">
                  <c:v>310731665</c:v>
                </c:pt>
                <c:pt idx="3075">
                  <c:v>115340054</c:v>
                </c:pt>
                <c:pt idx="3076">
                  <c:v>286095663</c:v>
                </c:pt>
                <c:pt idx="3077">
                  <c:v>134214975</c:v>
                </c:pt>
                <c:pt idx="3078">
                  <c:v>151047787</c:v>
                </c:pt>
                <c:pt idx="3079">
                  <c:v>42092588</c:v>
                </c:pt>
                <c:pt idx="3080">
                  <c:v>425458974</c:v>
                </c:pt>
                <c:pt idx="3081">
                  <c:v>1745954798</c:v>
                </c:pt>
                <c:pt idx="3082">
                  <c:v>1134848604</c:v>
                </c:pt>
                <c:pt idx="3083">
                  <c:v>656735208</c:v>
                </c:pt>
                <c:pt idx="3084">
                  <c:v>248951736</c:v>
                </c:pt>
                <c:pt idx="3085">
                  <c:v>377042720</c:v>
                </c:pt>
                <c:pt idx="3086">
                  <c:v>36258968</c:v>
                </c:pt>
                <c:pt idx="3087">
                  <c:v>494161536</c:v>
                </c:pt>
                <c:pt idx="3088">
                  <c:v>119375320</c:v>
                </c:pt>
                <c:pt idx="3089">
                  <c:v>429798792</c:v>
                </c:pt>
                <c:pt idx="3090">
                  <c:v>320522355</c:v>
                </c:pt>
                <c:pt idx="3091">
                  <c:v>7316736</c:v>
                </c:pt>
                <c:pt idx="3092">
                  <c:v>502775872</c:v>
                </c:pt>
                <c:pt idx="3093">
                  <c:v>499126400</c:v>
                </c:pt>
                <c:pt idx="3094">
                  <c:v>27281670</c:v>
                </c:pt>
                <c:pt idx="3095">
                  <c:v>94586975</c:v>
                </c:pt>
                <c:pt idx="3096">
                  <c:v>68542928</c:v>
                </c:pt>
                <c:pt idx="3097">
                  <c:v>88565022</c:v>
                </c:pt>
                <c:pt idx="3098">
                  <c:v>220916020</c:v>
                </c:pt>
                <c:pt idx="3099">
                  <c:v>105464552</c:v>
                </c:pt>
                <c:pt idx="3100">
                  <c:v>211727118</c:v>
                </c:pt>
                <c:pt idx="3101">
                  <c:v>73414680</c:v>
                </c:pt>
                <c:pt idx="3102">
                  <c:v>45063270</c:v>
                </c:pt>
                <c:pt idx="3103">
                  <c:v>379345476</c:v>
                </c:pt>
                <c:pt idx="3104">
                  <c:v>620567784</c:v>
                </c:pt>
                <c:pt idx="3105">
                  <c:v>1627309777</c:v>
                </c:pt>
                <c:pt idx="3106">
                  <c:v>60878194</c:v>
                </c:pt>
                <c:pt idx="3107">
                  <c:v>155709528</c:v>
                </c:pt>
                <c:pt idx="3108">
                  <c:v>1464649656</c:v>
                </c:pt>
                <c:pt idx="3109">
                  <c:v>1906535540</c:v>
                </c:pt>
                <c:pt idx="3110">
                  <c:v>332181666</c:v>
                </c:pt>
                <c:pt idx="3111">
                  <c:v>52235041</c:v>
                </c:pt>
                <c:pt idx="3112">
                  <c:v>212435595</c:v>
                </c:pt>
                <c:pt idx="3113">
                  <c:v>71542692</c:v>
                </c:pt>
                <c:pt idx="3114">
                  <c:v>7269390</c:v>
                </c:pt>
                <c:pt idx="3115">
                  <c:v>44998673</c:v>
                </c:pt>
                <c:pt idx="3116">
                  <c:v>43346580</c:v>
                </c:pt>
                <c:pt idx="3117">
                  <c:v>34990484</c:v>
                </c:pt>
                <c:pt idx="3118">
                  <c:v>24865110</c:v>
                </c:pt>
                <c:pt idx="3119">
                  <c:v>64137342</c:v>
                </c:pt>
                <c:pt idx="3120">
                  <c:v>78151773</c:v>
                </c:pt>
                <c:pt idx="3121">
                  <c:v>17663544</c:v>
                </c:pt>
                <c:pt idx="3122">
                  <c:v>24104682</c:v>
                </c:pt>
                <c:pt idx="3123">
                  <c:v>80155000</c:v>
                </c:pt>
                <c:pt idx="3124">
                  <c:v>77805300</c:v>
                </c:pt>
                <c:pt idx="3125">
                  <c:v>13028292</c:v>
                </c:pt>
                <c:pt idx="3126">
                  <c:v>20329270</c:v>
                </c:pt>
                <c:pt idx="3127">
                  <c:v>15021540</c:v>
                </c:pt>
                <c:pt idx="3128">
                  <c:v>193441395</c:v>
                </c:pt>
                <c:pt idx="3129">
                  <c:v>139955169</c:v>
                </c:pt>
                <c:pt idx="3130">
                  <c:v>37437782</c:v>
                </c:pt>
                <c:pt idx="3131">
                  <c:v>20457241</c:v>
                </c:pt>
                <c:pt idx="3132">
                  <c:v>16463034</c:v>
                </c:pt>
                <c:pt idx="3133">
                  <c:v>60193464</c:v>
                </c:pt>
                <c:pt idx="3134">
                  <c:v>34816900</c:v>
                </c:pt>
                <c:pt idx="3135">
                  <c:v>24266829</c:v>
                </c:pt>
                <c:pt idx="3136">
                  <c:v>4341816</c:v>
                </c:pt>
                <c:pt idx="3137">
                  <c:v>16127900</c:v>
                </c:pt>
                <c:pt idx="3138">
                  <c:v>6950503</c:v>
                </c:pt>
                <c:pt idx="3139">
                  <c:v>412549273</c:v>
                </c:pt>
                <c:pt idx="3140">
                  <c:v>103522752</c:v>
                </c:pt>
                <c:pt idx="3141">
                  <c:v>63817041</c:v>
                </c:pt>
                <c:pt idx="3142">
                  <c:v>56291760</c:v>
                </c:pt>
                <c:pt idx="3143">
                  <c:v>39282525</c:v>
                </c:pt>
                <c:pt idx="3144">
                  <c:v>73338120</c:v>
                </c:pt>
                <c:pt idx="3145">
                  <c:v>38899850</c:v>
                </c:pt>
                <c:pt idx="3146">
                  <c:v>40692674</c:v>
                </c:pt>
                <c:pt idx="3147">
                  <c:v>28495921</c:v>
                </c:pt>
                <c:pt idx="3148">
                  <c:v>78537858</c:v>
                </c:pt>
                <c:pt idx="3149">
                  <c:v>63296905</c:v>
                </c:pt>
                <c:pt idx="3150">
                  <c:v>184977904</c:v>
                </c:pt>
                <c:pt idx="3151">
                  <c:v>17557190</c:v>
                </c:pt>
                <c:pt idx="3152">
                  <c:v>5720307</c:v>
                </c:pt>
                <c:pt idx="3153">
                  <c:v>496574406</c:v>
                </c:pt>
                <c:pt idx="3154">
                  <c:v>286203687</c:v>
                </c:pt>
                <c:pt idx="3155">
                  <c:v>1311111683</c:v>
                </c:pt>
                <c:pt idx="3156">
                  <c:v>11443910</c:v>
                </c:pt>
                <c:pt idx="3157">
                  <c:v>104489098</c:v>
                </c:pt>
                <c:pt idx="3158">
                  <c:v>20418524</c:v>
                </c:pt>
                <c:pt idx="3159">
                  <c:v>3383289</c:v>
                </c:pt>
                <c:pt idx="3160">
                  <c:v>7253700</c:v>
                </c:pt>
                <c:pt idx="3161">
                  <c:v>71979800</c:v>
                </c:pt>
                <c:pt idx="3162">
                  <c:v>38978698</c:v>
                </c:pt>
                <c:pt idx="3163">
                  <c:v>162009680</c:v>
                </c:pt>
                <c:pt idx="3164">
                  <c:v>79639407</c:v>
                </c:pt>
                <c:pt idx="3165">
                  <c:v>11653147</c:v>
                </c:pt>
                <c:pt idx="3166">
                  <c:v>178819974</c:v>
                </c:pt>
                <c:pt idx="3167">
                  <c:v>13487430</c:v>
                </c:pt>
                <c:pt idx="3168">
                  <c:v>56632509</c:v>
                </c:pt>
                <c:pt idx="3169">
                  <c:v>114055252</c:v>
                </c:pt>
                <c:pt idx="3170">
                  <c:v>335324660</c:v>
                </c:pt>
                <c:pt idx="3171">
                  <c:v>119860180</c:v>
                </c:pt>
                <c:pt idx="3172">
                  <c:v>758326212</c:v>
                </c:pt>
                <c:pt idx="3173">
                  <c:v>180631594</c:v>
                </c:pt>
                <c:pt idx="3174">
                  <c:v>297571732</c:v>
                </c:pt>
                <c:pt idx="3175">
                  <c:v>227304022</c:v>
                </c:pt>
                <c:pt idx="3176">
                  <c:v>121302897</c:v>
                </c:pt>
                <c:pt idx="3177">
                  <c:v>27360234</c:v>
                </c:pt>
                <c:pt idx="3178">
                  <c:v>31349290</c:v>
                </c:pt>
                <c:pt idx="3179">
                  <c:v>20698174</c:v>
                </c:pt>
                <c:pt idx="3180">
                  <c:v>392086224</c:v>
                </c:pt>
                <c:pt idx="3181">
                  <c:v>6919740</c:v>
                </c:pt>
                <c:pt idx="3182">
                  <c:v>18230222</c:v>
                </c:pt>
                <c:pt idx="3183">
                  <c:v>22775244</c:v>
                </c:pt>
                <c:pt idx="3184">
                  <c:v>16663340</c:v>
                </c:pt>
                <c:pt idx="3185">
                  <c:v>190449952</c:v>
                </c:pt>
                <c:pt idx="3186">
                  <c:v>123635930</c:v>
                </c:pt>
                <c:pt idx="3187">
                  <c:v>14334256</c:v>
                </c:pt>
                <c:pt idx="3188">
                  <c:v>96361070</c:v>
                </c:pt>
                <c:pt idx="3189">
                  <c:v>16523524</c:v>
                </c:pt>
                <c:pt idx="3190">
                  <c:v>11226160</c:v>
                </c:pt>
                <c:pt idx="3191">
                  <c:v>37621200</c:v>
                </c:pt>
                <c:pt idx="3192">
                  <c:v>9634064</c:v>
                </c:pt>
                <c:pt idx="3193">
                  <c:v>21846344</c:v>
                </c:pt>
                <c:pt idx="3194">
                  <c:v>76182790</c:v>
                </c:pt>
                <c:pt idx="3195">
                  <c:v>16032280</c:v>
                </c:pt>
                <c:pt idx="3196">
                  <c:v>19193408</c:v>
                </c:pt>
                <c:pt idx="3197">
                  <c:v>40768448</c:v>
                </c:pt>
                <c:pt idx="3198">
                  <c:v>100830222</c:v>
                </c:pt>
                <c:pt idx="3199">
                  <c:v>2043043504</c:v>
                </c:pt>
                <c:pt idx="3200">
                  <c:v>62873068</c:v>
                </c:pt>
                <c:pt idx="3201">
                  <c:v>150043530</c:v>
                </c:pt>
                <c:pt idx="3202">
                  <c:v>32990272</c:v>
                </c:pt>
                <c:pt idx="3203">
                  <c:v>19144416</c:v>
                </c:pt>
                <c:pt idx="3204">
                  <c:v>160793277</c:v>
                </c:pt>
                <c:pt idx="3205">
                  <c:v>15757614</c:v>
                </c:pt>
                <c:pt idx="3206">
                  <c:v>137598450</c:v>
                </c:pt>
                <c:pt idx="3207">
                  <c:v>125736162</c:v>
                </c:pt>
                <c:pt idx="3208">
                  <c:v>1052781542</c:v>
                </c:pt>
                <c:pt idx="3209">
                  <c:v>65829315</c:v>
                </c:pt>
                <c:pt idx="3210">
                  <c:v>37699668</c:v>
                </c:pt>
                <c:pt idx="3211">
                  <c:v>49897344</c:v>
                </c:pt>
                <c:pt idx="3212">
                  <c:v>39480940</c:v>
                </c:pt>
                <c:pt idx="3213">
                  <c:v>21793100</c:v>
                </c:pt>
                <c:pt idx="3214">
                  <c:v>57936885</c:v>
                </c:pt>
                <c:pt idx="3215">
                  <c:v>32324418</c:v>
                </c:pt>
                <c:pt idx="3216">
                  <c:v>129988170</c:v>
                </c:pt>
                <c:pt idx="3217">
                  <c:v>85070400</c:v>
                </c:pt>
                <c:pt idx="3218">
                  <c:v>79403402</c:v>
                </c:pt>
                <c:pt idx="3219">
                  <c:v>85115636</c:v>
                </c:pt>
                <c:pt idx="3220">
                  <c:v>13168508</c:v>
                </c:pt>
                <c:pt idx="3221">
                  <c:v>64203917</c:v>
                </c:pt>
                <c:pt idx="3222">
                  <c:v>11263651</c:v>
                </c:pt>
                <c:pt idx="3223">
                  <c:v>66037554</c:v>
                </c:pt>
                <c:pt idx="3224">
                  <c:v>20391504</c:v>
                </c:pt>
                <c:pt idx="3225">
                  <c:v>21623082</c:v>
                </c:pt>
                <c:pt idx="3226">
                  <c:v>42172416</c:v>
                </c:pt>
                <c:pt idx="3227">
                  <c:v>27618932</c:v>
                </c:pt>
                <c:pt idx="3228">
                  <c:v>52465978</c:v>
                </c:pt>
                <c:pt idx="3229">
                  <c:v>21838264</c:v>
                </c:pt>
                <c:pt idx="3230">
                  <c:v>31910194</c:v>
                </c:pt>
                <c:pt idx="3231">
                  <c:v>8091083</c:v>
                </c:pt>
                <c:pt idx="3232">
                  <c:v>52103344</c:v>
                </c:pt>
                <c:pt idx="3233">
                  <c:v>29186040</c:v>
                </c:pt>
                <c:pt idx="3234">
                  <c:v>9870058</c:v>
                </c:pt>
                <c:pt idx="3235">
                  <c:v>140334135</c:v>
                </c:pt>
                <c:pt idx="3236">
                  <c:v>13508460</c:v>
                </c:pt>
                <c:pt idx="3237">
                  <c:v>195884000</c:v>
                </c:pt>
                <c:pt idx="3238">
                  <c:v>18161000</c:v>
                </c:pt>
                <c:pt idx="3239">
                  <c:v>7761600</c:v>
                </c:pt>
                <c:pt idx="3240">
                  <c:v>355816950</c:v>
                </c:pt>
                <c:pt idx="3241">
                  <c:v>15618015</c:v>
                </c:pt>
                <c:pt idx="3242">
                  <c:v>26604192</c:v>
                </c:pt>
                <c:pt idx="3243">
                  <c:v>31609851</c:v>
                </c:pt>
                <c:pt idx="3244">
                  <c:v>63560481</c:v>
                </c:pt>
                <c:pt idx="3245">
                  <c:v>47960055</c:v>
                </c:pt>
                <c:pt idx="3246">
                  <c:v>25180566</c:v>
                </c:pt>
                <c:pt idx="3247">
                  <c:v>147226164</c:v>
                </c:pt>
                <c:pt idx="3248">
                  <c:v>11903321</c:v>
                </c:pt>
                <c:pt idx="3249">
                  <c:v>86615487</c:v>
                </c:pt>
                <c:pt idx="3250">
                  <c:v>43097034</c:v>
                </c:pt>
                <c:pt idx="3251">
                  <c:v>8352440</c:v>
                </c:pt>
                <c:pt idx="3252">
                  <c:v>16099200</c:v>
                </c:pt>
                <c:pt idx="3253">
                  <c:v>280650184</c:v>
                </c:pt>
                <c:pt idx="3254">
                  <c:v>63247919</c:v>
                </c:pt>
                <c:pt idx="3255">
                  <c:v>10232632</c:v>
                </c:pt>
                <c:pt idx="3256">
                  <c:v>8845677</c:v>
                </c:pt>
                <c:pt idx="3257">
                  <c:v>67254662</c:v>
                </c:pt>
                <c:pt idx="3258">
                  <c:v>31908107</c:v>
                </c:pt>
                <c:pt idx="3259">
                  <c:v>64947325</c:v>
                </c:pt>
                <c:pt idx="3260">
                  <c:v>264736800</c:v>
                </c:pt>
                <c:pt idx="3261">
                  <c:v>26299272</c:v>
                </c:pt>
                <c:pt idx="3262">
                  <c:v>173759468</c:v>
                </c:pt>
                <c:pt idx="3263">
                  <c:v>10027070</c:v>
                </c:pt>
                <c:pt idx="3264">
                  <c:v>34088427</c:v>
                </c:pt>
                <c:pt idx="3265">
                  <c:v>144419149</c:v>
                </c:pt>
                <c:pt idx="3266">
                  <c:v>53874168</c:v>
                </c:pt>
                <c:pt idx="3267">
                  <c:v>73864170</c:v>
                </c:pt>
                <c:pt idx="3268">
                  <c:v>49015818</c:v>
                </c:pt>
                <c:pt idx="3269">
                  <c:v>2352416</c:v>
                </c:pt>
                <c:pt idx="3270">
                  <c:v>1253514966</c:v>
                </c:pt>
                <c:pt idx="3271">
                  <c:v>53261864</c:v>
                </c:pt>
                <c:pt idx="3272">
                  <c:v>1472028492</c:v>
                </c:pt>
                <c:pt idx="3273">
                  <c:v>25365152</c:v>
                </c:pt>
                <c:pt idx="3274">
                  <c:v>294190265</c:v>
                </c:pt>
                <c:pt idx="3275">
                  <c:v>124413319</c:v>
                </c:pt>
                <c:pt idx="3276">
                  <c:v>679020144</c:v>
                </c:pt>
                <c:pt idx="3277">
                  <c:v>355457484</c:v>
                </c:pt>
                <c:pt idx="3278">
                  <c:v>119817009</c:v>
                </c:pt>
                <c:pt idx="3279">
                  <c:v>85539250</c:v>
                </c:pt>
                <c:pt idx="3280">
                  <c:v>357942375</c:v>
                </c:pt>
                <c:pt idx="3281">
                  <c:v>368958786</c:v>
                </c:pt>
                <c:pt idx="3282">
                  <c:v>362995230</c:v>
                </c:pt>
                <c:pt idx="3283">
                  <c:v>718560880</c:v>
                </c:pt>
                <c:pt idx="3284">
                  <c:v>74929154</c:v>
                </c:pt>
                <c:pt idx="3285">
                  <c:v>492392592</c:v>
                </c:pt>
                <c:pt idx="3286">
                  <c:v>69726904</c:v>
                </c:pt>
                <c:pt idx="3287">
                  <c:v>811935810</c:v>
                </c:pt>
                <c:pt idx="3288">
                  <c:v>54097699</c:v>
                </c:pt>
                <c:pt idx="3289">
                  <c:v>164588788</c:v>
                </c:pt>
                <c:pt idx="3290">
                  <c:v>36371643</c:v>
                </c:pt>
                <c:pt idx="3291">
                  <c:v>522788949</c:v>
                </c:pt>
                <c:pt idx="3292">
                  <c:v>75812544</c:v>
                </c:pt>
                <c:pt idx="3293">
                  <c:v>30369416</c:v>
                </c:pt>
                <c:pt idx="3294">
                  <c:v>85922370</c:v>
                </c:pt>
                <c:pt idx="3295">
                  <c:v>778508337</c:v>
                </c:pt>
                <c:pt idx="3296">
                  <c:v>179723832</c:v>
                </c:pt>
                <c:pt idx="3297">
                  <c:v>733368310</c:v>
                </c:pt>
                <c:pt idx="3298">
                  <c:v>26650260</c:v>
                </c:pt>
                <c:pt idx="3299">
                  <c:v>22083584</c:v>
                </c:pt>
                <c:pt idx="3300">
                  <c:v>211917401</c:v>
                </c:pt>
                <c:pt idx="3301">
                  <c:v>123399264</c:v>
                </c:pt>
                <c:pt idx="3302">
                  <c:v>124216215</c:v>
                </c:pt>
                <c:pt idx="3303">
                  <c:v>271215357</c:v>
                </c:pt>
                <c:pt idx="3304">
                  <c:v>474863200</c:v>
                </c:pt>
                <c:pt idx="3305">
                  <c:v>125851906</c:v>
                </c:pt>
                <c:pt idx="3306">
                  <c:v>66262008</c:v>
                </c:pt>
                <c:pt idx="3307">
                  <c:v>125690516</c:v>
                </c:pt>
                <c:pt idx="3308">
                  <c:v>66539550</c:v>
                </c:pt>
                <c:pt idx="3309">
                  <c:v>151696106</c:v>
                </c:pt>
                <c:pt idx="3310">
                  <c:v>9723411</c:v>
                </c:pt>
                <c:pt idx="3311">
                  <c:v>847522342</c:v>
                </c:pt>
                <c:pt idx="3312">
                  <c:v>1138260687</c:v>
                </c:pt>
                <c:pt idx="3313">
                  <c:v>74017405</c:v>
                </c:pt>
                <c:pt idx="3314">
                  <c:v>58642805</c:v>
                </c:pt>
                <c:pt idx="3315">
                  <c:v>936873828</c:v>
                </c:pt>
                <c:pt idx="3316">
                  <c:v>269680125</c:v>
                </c:pt>
                <c:pt idx="3317">
                  <c:v>98033476</c:v>
                </c:pt>
                <c:pt idx="3318">
                  <c:v>36171580</c:v>
                </c:pt>
                <c:pt idx="3319">
                  <c:v>56591964</c:v>
                </c:pt>
                <c:pt idx="3320">
                  <c:v>238868214</c:v>
                </c:pt>
                <c:pt idx="3321">
                  <c:v>8216064</c:v>
                </c:pt>
                <c:pt idx="3322">
                  <c:v>119024244</c:v>
                </c:pt>
                <c:pt idx="3323">
                  <c:v>5095750</c:v>
                </c:pt>
                <c:pt idx="3324">
                  <c:v>159294846</c:v>
                </c:pt>
                <c:pt idx="3325">
                  <c:v>58648864</c:v>
                </c:pt>
                <c:pt idx="3326">
                  <c:v>38670772</c:v>
                </c:pt>
                <c:pt idx="3327">
                  <c:v>4988892</c:v>
                </c:pt>
                <c:pt idx="3328">
                  <c:v>1024001961</c:v>
                </c:pt>
                <c:pt idx="3329">
                  <c:v>100132914</c:v>
                </c:pt>
                <c:pt idx="3330">
                  <c:v>128909862</c:v>
                </c:pt>
                <c:pt idx="3331">
                  <c:v>2512890</c:v>
                </c:pt>
                <c:pt idx="3332">
                  <c:v>203977804</c:v>
                </c:pt>
                <c:pt idx="3333">
                  <c:v>7879066</c:v>
                </c:pt>
                <c:pt idx="3334">
                  <c:v>125920581</c:v>
                </c:pt>
                <c:pt idx="3335">
                  <c:v>26182360</c:v>
                </c:pt>
                <c:pt idx="3336">
                  <c:v>226853088</c:v>
                </c:pt>
                <c:pt idx="3337">
                  <c:v>66058187</c:v>
                </c:pt>
                <c:pt idx="3338">
                  <c:v>32644209</c:v>
                </c:pt>
                <c:pt idx="3339">
                  <c:v>38727528</c:v>
                </c:pt>
                <c:pt idx="3340">
                  <c:v>53156124</c:v>
                </c:pt>
                <c:pt idx="3341">
                  <c:v>24135264</c:v>
                </c:pt>
                <c:pt idx="3342">
                  <c:v>344879084</c:v>
                </c:pt>
                <c:pt idx="3343">
                  <c:v>543733560</c:v>
                </c:pt>
                <c:pt idx="3344">
                  <c:v>18733672</c:v>
                </c:pt>
                <c:pt idx="3345">
                  <c:v>67933360</c:v>
                </c:pt>
                <c:pt idx="3346">
                  <c:v>10821499</c:v>
                </c:pt>
                <c:pt idx="3347">
                  <c:v>40666000</c:v>
                </c:pt>
                <c:pt idx="3348">
                  <c:v>245441694</c:v>
                </c:pt>
                <c:pt idx="3349">
                  <c:v>77875759</c:v>
                </c:pt>
                <c:pt idx="3350">
                  <c:v>8131578</c:v>
                </c:pt>
                <c:pt idx="3351">
                  <c:v>87932979</c:v>
                </c:pt>
                <c:pt idx="3352">
                  <c:v>317102400</c:v>
                </c:pt>
                <c:pt idx="3353">
                  <c:v>189330649</c:v>
                </c:pt>
                <c:pt idx="3354">
                  <c:v>102632040</c:v>
                </c:pt>
                <c:pt idx="3355">
                  <c:v>144091899</c:v>
                </c:pt>
                <c:pt idx="3356">
                  <c:v>470683356</c:v>
                </c:pt>
                <c:pt idx="3357">
                  <c:v>433060768</c:v>
                </c:pt>
                <c:pt idx="3358">
                  <c:v>355368424</c:v>
                </c:pt>
                <c:pt idx="3359">
                  <c:v>522229464</c:v>
                </c:pt>
                <c:pt idx="3360">
                  <c:v>356926880</c:v>
                </c:pt>
                <c:pt idx="3361">
                  <c:v>479992704</c:v>
                </c:pt>
                <c:pt idx="3362">
                  <c:v>415786140</c:v>
                </c:pt>
                <c:pt idx="3363">
                  <c:v>377902336</c:v>
                </c:pt>
                <c:pt idx="3364">
                  <c:v>163867330</c:v>
                </c:pt>
                <c:pt idx="3365">
                  <c:v>702347355</c:v>
                </c:pt>
                <c:pt idx="3366">
                  <c:v>300831440</c:v>
                </c:pt>
                <c:pt idx="3367">
                  <c:v>656593630</c:v>
                </c:pt>
                <c:pt idx="3368">
                  <c:v>580490532</c:v>
                </c:pt>
                <c:pt idx="3369">
                  <c:v>324611820</c:v>
                </c:pt>
                <c:pt idx="3370">
                  <c:v>34426926</c:v>
                </c:pt>
                <c:pt idx="3371">
                  <c:v>45636217</c:v>
                </c:pt>
                <c:pt idx="3372">
                  <c:v>88316702</c:v>
                </c:pt>
                <c:pt idx="3373">
                  <c:v>4708424</c:v>
                </c:pt>
                <c:pt idx="3374">
                  <c:v>137609101</c:v>
                </c:pt>
                <c:pt idx="3375">
                  <c:v>189930500</c:v>
                </c:pt>
                <c:pt idx="3376">
                  <c:v>20423476</c:v>
                </c:pt>
                <c:pt idx="3377">
                  <c:v>12337845</c:v>
                </c:pt>
                <c:pt idx="3378">
                  <c:v>12515208</c:v>
                </c:pt>
                <c:pt idx="3379">
                  <c:v>1604808</c:v>
                </c:pt>
                <c:pt idx="3380">
                  <c:v>44405972</c:v>
                </c:pt>
                <c:pt idx="3381">
                  <c:v>190759128</c:v>
                </c:pt>
                <c:pt idx="3382">
                  <c:v>98445966</c:v>
                </c:pt>
                <c:pt idx="3383">
                  <c:v>38001292</c:v>
                </c:pt>
                <c:pt idx="3384">
                  <c:v>19928025</c:v>
                </c:pt>
                <c:pt idx="3385">
                  <c:v>57868620</c:v>
                </c:pt>
                <c:pt idx="3386">
                  <c:v>18694984</c:v>
                </c:pt>
                <c:pt idx="3387">
                  <c:v>42946085</c:v>
                </c:pt>
                <c:pt idx="3388">
                  <c:v>413461477</c:v>
                </c:pt>
                <c:pt idx="3389">
                  <c:v>75146368</c:v>
                </c:pt>
                <c:pt idx="3390">
                  <c:v>32293550</c:v>
                </c:pt>
                <c:pt idx="3391">
                  <c:v>214796352</c:v>
                </c:pt>
                <c:pt idx="3392">
                  <c:v>56707560</c:v>
                </c:pt>
                <c:pt idx="3393">
                  <c:v>59968978</c:v>
                </c:pt>
                <c:pt idx="3394">
                  <c:v>97405299</c:v>
                </c:pt>
                <c:pt idx="3395">
                  <c:v>64698540</c:v>
                </c:pt>
                <c:pt idx="3396">
                  <c:v>2484594</c:v>
                </c:pt>
                <c:pt idx="3397">
                  <c:v>23953230</c:v>
                </c:pt>
                <c:pt idx="3398">
                  <c:v>29065400</c:v>
                </c:pt>
                <c:pt idx="3399">
                  <c:v>43165085</c:v>
                </c:pt>
                <c:pt idx="3400">
                  <c:v>41069886</c:v>
                </c:pt>
                <c:pt idx="3401">
                  <c:v>133029911</c:v>
                </c:pt>
                <c:pt idx="3402">
                  <c:v>253174812</c:v>
                </c:pt>
                <c:pt idx="3403">
                  <c:v>6423736</c:v>
                </c:pt>
                <c:pt idx="3404">
                  <c:v>50449644</c:v>
                </c:pt>
                <c:pt idx="3405">
                  <c:v>5539200</c:v>
                </c:pt>
                <c:pt idx="3406">
                  <c:v>171707760</c:v>
                </c:pt>
                <c:pt idx="3407">
                  <c:v>52583685</c:v>
                </c:pt>
                <c:pt idx="3408">
                  <c:v>307436611</c:v>
                </c:pt>
                <c:pt idx="3409">
                  <c:v>109686330</c:v>
                </c:pt>
                <c:pt idx="3410">
                  <c:v>60015648</c:v>
                </c:pt>
                <c:pt idx="3411">
                  <c:v>288802119</c:v>
                </c:pt>
                <c:pt idx="3412">
                  <c:v>3863400</c:v>
                </c:pt>
                <c:pt idx="3413">
                  <c:v>18612405</c:v>
                </c:pt>
                <c:pt idx="3414">
                  <c:v>95843684</c:v>
                </c:pt>
                <c:pt idx="3415">
                  <c:v>7826194</c:v>
                </c:pt>
                <c:pt idx="3416">
                  <c:v>229344136</c:v>
                </c:pt>
                <c:pt idx="3417">
                  <c:v>266997234</c:v>
                </c:pt>
                <c:pt idx="3418">
                  <c:v>28166733</c:v>
                </c:pt>
                <c:pt idx="3419">
                  <c:v>39799200</c:v>
                </c:pt>
                <c:pt idx="3420">
                  <c:v>180634239</c:v>
                </c:pt>
                <c:pt idx="3421">
                  <c:v>2713400</c:v>
                </c:pt>
                <c:pt idx="3422">
                  <c:v>11192433</c:v>
                </c:pt>
                <c:pt idx="3423">
                  <c:v>142024443</c:v>
                </c:pt>
                <c:pt idx="3424">
                  <c:v>51544288</c:v>
                </c:pt>
                <c:pt idx="3425">
                  <c:v>51399312</c:v>
                </c:pt>
                <c:pt idx="3426">
                  <c:v>12988912</c:v>
                </c:pt>
                <c:pt idx="3427">
                  <c:v>77703436</c:v>
                </c:pt>
                <c:pt idx="3428">
                  <c:v>792403340</c:v>
                </c:pt>
                <c:pt idx="3429">
                  <c:v>2085810</c:v>
                </c:pt>
                <c:pt idx="3430">
                  <c:v>63608220</c:v>
                </c:pt>
                <c:pt idx="3431">
                  <c:v>95190875</c:v>
                </c:pt>
                <c:pt idx="3432">
                  <c:v>5397300</c:v>
                </c:pt>
                <c:pt idx="3433">
                  <c:v>46318980</c:v>
                </c:pt>
                <c:pt idx="3434">
                  <c:v>406594526</c:v>
                </c:pt>
                <c:pt idx="3435">
                  <c:v>78720250</c:v>
                </c:pt>
                <c:pt idx="3436">
                  <c:v>68573289</c:v>
                </c:pt>
                <c:pt idx="3437">
                  <c:v>39567268</c:v>
                </c:pt>
                <c:pt idx="3438">
                  <c:v>61253862</c:v>
                </c:pt>
                <c:pt idx="3439">
                  <c:v>35790440</c:v>
                </c:pt>
                <c:pt idx="3440">
                  <c:v>7363820</c:v>
                </c:pt>
                <c:pt idx="3441">
                  <c:v>2612711</c:v>
                </c:pt>
                <c:pt idx="3442">
                  <c:v>7188363</c:v>
                </c:pt>
                <c:pt idx="3443">
                  <c:v>102545520</c:v>
                </c:pt>
                <c:pt idx="3444">
                  <c:v>98898800</c:v>
                </c:pt>
                <c:pt idx="3445">
                  <c:v>1232465930</c:v>
                </c:pt>
                <c:pt idx="3446">
                  <c:v>6263106</c:v>
                </c:pt>
                <c:pt idx="3447">
                  <c:v>121160625</c:v>
                </c:pt>
                <c:pt idx="3448">
                  <c:v>25851144</c:v>
                </c:pt>
                <c:pt idx="3449">
                  <c:v>147843488</c:v>
                </c:pt>
                <c:pt idx="3450">
                  <c:v>56424412</c:v>
                </c:pt>
                <c:pt idx="3451">
                  <c:v>121405572</c:v>
                </c:pt>
                <c:pt idx="3452">
                  <c:v>124762455</c:v>
                </c:pt>
                <c:pt idx="3453">
                  <c:v>33484968</c:v>
                </c:pt>
                <c:pt idx="3454">
                  <c:v>6794150</c:v>
                </c:pt>
                <c:pt idx="3455">
                  <c:v>50198477</c:v>
                </c:pt>
                <c:pt idx="3456">
                  <c:v>17072500</c:v>
                </c:pt>
                <c:pt idx="3457">
                  <c:v>71545110</c:v>
                </c:pt>
                <c:pt idx="3458">
                  <c:v>37988124</c:v>
                </c:pt>
                <c:pt idx="3459">
                  <c:v>96374177</c:v>
                </c:pt>
                <c:pt idx="3460">
                  <c:v>54602875</c:v>
                </c:pt>
                <c:pt idx="3461">
                  <c:v>105837520</c:v>
                </c:pt>
                <c:pt idx="3462">
                  <c:v>96781958</c:v>
                </c:pt>
                <c:pt idx="3463">
                  <c:v>13104790</c:v>
                </c:pt>
                <c:pt idx="3464">
                  <c:v>35210937</c:v>
                </c:pt>
                <c:pt idx="3465">
                  <c:v>26933725</c:v>
                </c:pt>
                <c:pt idx="3466">
                  <c:v>2999590</c:v>
                </c:pt>
                <c:pt idx="3467">
                  <c:v>11589758</c:v>
                </c:pt>
                <c:pt idx="3468">
                  <c:v>35611804</c:v>
                </c:pt>
                <c:pt idx="3469">
                  <c:v>97576011</c:v>
                </c:pt>
                <c:pt idx="3470">
                  <c:v>453328120</c:v>
                </c:pt>
                <c:pt idx="3471">
                  <c:v>52834106</c:v>
                </c:pt>
                <c:pt idx="3472">
                  <c:v>7139112</c:v>
                </c:pt>
                <c:pt idx="3473">
                  <c:v>56140480</c:v>
                </c:pt>
                <c:pt idx="3474">
                  <c:v>926570400</c:v>
                </c:pt>
                <c:pt idx="3475">
                  <c:v>900924143</c:v>
                </c:pt>
                <c:pt idx="3476">
                  <c:v>1174247550</c:v>
                </c:pt>
                <c:pt idx="3477">
                  <c:v>148044000</c:v>
                </c:pt>
                <c:pt idx="3478">
                  <c:v>84145284</c:v>
                </c:pt>
                <c:pt idx="3479">
                  <c:v>104465697</c:v>
                </c:pt>
                <c:pt idx="3480">
                  <c:v>49332191</c:v>
                </c:pt>
                <c:pt idx="3481">
                  <c:v>9806230</c:v>
                </c:pt>
                <c:pt idx="3482">
                  <c:v>78158480</c:v>
                </c:pt>
                <c:pt idx="3483">
                  <c:v>68815054</c:v>
                </c:pt>
                <c:pt idx="3484">
                  <c:v>7179690</c:v>
                </c:pt>
                <c:pt idx="3485">
                  <c:v>27632178</c:v>
                </c:pt>
                <c:pt idx="3486">
                  <c:v>68628504</c:v>
                </c:pt>
                <c:pt idx="3487">
                  <c:v>304397520</c:v>
                </c:pt>
                <c:pt idx="3488">
                  <c:v>48590750</c:v>
                </c:pt>
                <c:pt idx="3489">
                  <c:v>304038294</c:v>
                </c:pt>
                <c:pt idx="3490">
                  <c:v>49607558</c:v>
                </c:pt>
                <c:pt idx="3491">
                  <c:v>15549292</c:v>
                </c:pt>
                <c:pt idx="3492">
                  <c:v>59624746</c:v>
                </c:pt>
                <c:pt idx="3493">
                  <c:v>183515328</c:v>
                </c:pt>
                <c:pt idx="3494">
                  <c:v>50958180</c:v>
                </c:pt>
                <c:pt idx="3495">
                  <c:v>69278685</c:v>
                </c:pt>
                <c:pt idx="3496">
                  <c:v>4142560</c:v>
                </c:pt>
                <c:pt idx="3497">
                  <c:v>30242160</c:v>
                </c:pt>
                <c:pt idx="3498">
                  <c:v>6371414</c:v>
                </c:pt>
                <c:pt idx="3499">
                  <c:v>120726631</c:v>
                </c:pt>
                <c:pt idx="3500">
                  <c:v>25447143</c:v>
                </c:pt>
                <c:pt idx="3501">
                  <c:v>3587004</c:v>
                </c:pt>
                <c:pt idx="3502">
                  <c:v>123391744</c:v>
                </c:pt>
                <c:pt idx="3503">
                  <c:v>211012362</c:v>
                </c:pt>
                <c:pt idx="3504">
                  <c:v>54937698</c:v>
                </c:pt>
                <c:pt idx="3505">
                  <c:v>54179264</c:v>
                </c:pt>
                <c:pt idx="3506">
                  <c:v>58140500</c:v>
                </c:pt>
                <c:pt idx="3507">
                  <c:v>44437679</c:v>
                </c:pt>
                <c:pt idx="3508">
                  <c:v>63711900</c:v>
                </c:pt>
                <c:pt idx="3509">
                  <c:v>66163500</c:v>
                </c:pt>
                <c:pt idx="3510">
                  <c:v>74263376</c:v>
                </c:pt>
                <c:pt idx="3511">
                  <c:v>76066839</c:v>
                </c:pt>
                <c:pt idx="3512">
                  <c:v>9847539</c:v>
                </c:pt>
                <c:pt idx="3513">
                  <c:v>50897726</c:v>
                </c:pt>
                <c:pt idx="3514">
                  <c:v>56263636</c:v>
                </c:pt>
                <c:pt idx="3515">
                  <c:v>507120312</c:v>
                </c:pt>
                <c:pt idx="3516">
                  <c:v>11614624</c:v>
                </c:pt>
                <c:pt idx="3517">
                  <c:v>20199648</c:v>
                </c:pt>
                <c:pt idx="3518">
                  <c:v>4198520</c:v>
                </c:pt>
                <c:pt idx="3519">
                  <c:v>66305304</c:v>
                </c:pt>
                <c:pt idx="3520">
                  <c:v>116607497</c:v>
                </c:pt>
                <c:pt idx="3521">
                  <c:v>376575440</c:v>
                </c:pt>
                <c:pt idx="3522">
                  <c:v>8868650</c:v>
                </c:pt>
                <c:pt idx="3523">
                  <c:v>12330080</c:v>
                </c:pt>
                <c:pt idx="3524">
                  <c:v>57122175</c:v>
                </c:pt>
                <c:pt idx="3525">
                  <c:v>391300800</c:v>
                </c:pt>
                <c:pt idx="3526">
                  <c:v>44176746</c:v>
                </c:pt>
                <c:pt idx="3527">
                  <c:v>27282031</c:v>
                </c:pt>
                <c:pt idx="3528">
                  <c:v>24192641</c:v>
                </c:pt>
                <c:pt idx="3529">
                  <c:v>27374842</c:v>
                </c:pt>
                <c:pt idx="3530">
                  <c:v>27948019</c:v>
                </c:pt>
                <c:pt idx="3531">
                  <c:v>87650616</c:v>
                </c:pt>
                <c:pt idx="3532">
                  <c:v>16409085</c:v>
                </c:pt>
                <c:pt idx="3533">
                  <c:v>17519736</c:v>
                </c:pt>
                <c:pt idx="3534">
                  <c:v>92086995</c:v>
                </c:pt>
                <c:pt idx="3535">
                  <c:v>9546430</c:v>
                </c:pt>
                <c:pt idx="3536">
                  <c:v>47719443</c:v>
                </c:pt>
                <c:pt idx="3537">
                  <c:v>5282616</c:v>
                </c:pt>
                <c:pt idx="3538">
                  <c:v>75914807</c:v>
                </c:pt>
                <c:pt idx="3539">
                  <c:v>88945037</c:v>
                </c:pt>
                <c:pt idx="3540">
                  <c:v>44922675</c:v>
                </c:pt>
                <c:pt idx="3541">
                  <c:v>302983582</c:v>
                </c:pt>
                <c:pt idx="3542">
                  <c:v>133334628</c:v>
                </c:pt>
                <c:pt idx="3543">
                  <c:v>59248248</c:v>
                </c:pt>
                <c:pt idx="3544">
                  <c:v>69184220</c:v>
                </c:pt>
                <c:pt idx="3545">
                  <c:v>22708400</c:v>
                </c:pt>
                <c:pt idx="3546">
                  <c:v>27793116</c:v>
                </c:pt>
                <c:pt idx="3547">
                  <c:v>116581666</c:v>
                </c:pt>
                <c:pt idx="3548">
                  <c:v>30848414</c:v>
                </c:pt>
                <c:pt idx="3549">
                  <c:v>67016276</c:v>
                </c:pt>
                <c:pt idx="3550">
                  <c:v>109233368</c:v>
                </c:pt>
                <c:pt idx="3551">
                  <c:v>25558400</c:v>
                </c:pt>
                <c:pt idx="3552">
                  <c:v>26688375</c:v>
                </c:pt>
                <c:pt idx="3553">
                  <c:v>147997456</c:v>
                </c:pt>
                <c:pt idx="3554">
                  <c:v>73507014</c:v>
                </c:pt>
                <c:pt idx="3555">
                  <c:v>23094610</c:v>
                </c:pt>
                <c:pt idx="3556">
                  <c:v>17084972</c:v>
                </c:pt>
                <c:pt idx="3557">
                  <c:v>39935644</c:v>
                </c:pt>
                <c:pt idx="3558">
                  <c:v>1473641820</c:v>
                </c:pt>
                <c:pt idx="3559">
                  <c:v>59829188</c:v>
                </c:pt>
                <c:pt idx="3560">
                  <c:v>22967390</c:v>
                </c:pt>
                <c:pt idx="3561">
                  <c:v>13553472</c:v>
                </c:pt>
                <c:pt idx="3562">
                  <c:v>169367226</c:v>
                </c:pt>
                <c:pt idx="3563">
                  <c:v>27486802</c:v>
                </c:pt>
                <c:pt idx="3564">
                  <c:v>21871792</c:v>
                </c:pt>
                <c:pt idx="3565">
                  <c:v>66021480</c:v>
                </c:pt>
                <c:pt idx="3566">
                  <c:v>12356636</c:v>
                </c:pt>
                <c:pt idx="3567">
                  <c:v>94007204</c:v>
                </c:pt>
                <c:pt idx="3568">
                  <c:v>31889360</c:v>
                </c:pt>
                <c:pt idx="3569">
                  <c:v>532853160</c:v>
                </c:pt>
                <c:pt idx="3570">
                  <c:v>105164614</c:v>
                </c:pt>
                <c:pt idx="3571">
                  <c:v>33946395</c:v>
                </c:pt>
                <c:pt idx="3572">
                  <c:v>61783488</c:v>
                </c:pt>
                <c:pt idx="3573">
                  <c:v>49823929</c:v>
                </c:pt>
                <c:pt idx="3574">
                  <c:v>23003568</c:v>
                </c:pt>
                <c:pt idx="3575">
                  <c:v>111530604</c:v>
                </c:pt>
                <c:pt idx="3576">
                  <c:v>4211332</c:v>
                </c:pt>
                <c:pt idx="3577">
                  <c:v>7508864</c:v>
                </c:pt>
                <c:pt idx="3578">
                  <c:v>40923306</c:v>
                </c:pt>
                <c:pt idx="3579">
                  <c:v>43673760</c:v>
                </c:pt>
                <c:pt idx="3580">
                  <c:v>44262359</c:v>
                </c:pt>
                <c:pt idx="3581">
                  <c:v>52818554</c:v>
                </c:pt>
                <c:pt idx="3582">
                  <c:v>124587028</c:v>
                </c:pt>
                <c:pt idx="3583">
                  <c:v>75704500</c:v>
                </c:pt>
                <c:pt idx="3584">
                  <c:v>19732920</c:v>
                </c:pt>
                <c:pt idx="3585">
                  <c:v>418241376</c:v>
                </c:pt>
                <c:pt idx="3586">
                  <c:v>566248144</c:v>
                </c:pt>
                <c:pt idx="3587">
                  <c:v>80474178</c:v>
                </c:pt>
                <c:pt idx="3588">
                  <c:v>418697904</c:v>
                </c:pt>
                <c:pt idx="3589">
                  <c:v>136277850</c:v>
                </c:pt>
                <c:pt idx="3590">
                  <c:v>9187497</c:v>
                </c:pt>
                <c:pt idx="3591">
                  <c:v>98256634</c:v>
                </c:pt>
                <c:pt idx="3592">
                  <c:v>6506672</c:v>
                </c:pt>
                <c:pt idx="3593">
                  <c:v>35760152</c:v>
                </c:pt>
                <c:pt idx="3594">
                  <c:v>87943786</c:v>
                </c:pt>
                <c:pt idx="3595">
                  <c:v>31995974</c:v>
                </c:pt>
                <c:pt idx="3596">
                  <c:v>18652140</c:v>
                </c:pt>
                <c:pt idx="3597">
                  <c:v>16175684</c:v>
                </c:pt>
                <c:pt idx="3598">
                  <c:v>58577984</c:v>
                </c:pt>
                <c:pt idx="3599">
                  <c:v>14922714</c:v>
                </c:pt>
                <c:pt idx="3600">
                  <c:v>9905580</c:v>
                </c:pt>
                <c:pt idx="3601">
                  <c:v>128087981</c:v>
                </c:pt>
                <c:pt idx="3602">
                  <c:v>1023176479</c:v>
                </c:pt>
                <c:pt idx="3603">
                  <c:v>157060872</c:v>
                </c:pt>
                <c:pt idx="3604">
                  <c:v>20969460</c:v>
                </c:pt>
                <c:pt idx="3605">
                  <c:v>109494970</c:v>
                </c:pt>
                <c:pt idx="3606">
                  <c:v>14775673</c:v>
                </c:pt>
                <c:pt idx="3607">
                  <c:v>39063485</c:v>
                </c:pt>
                <c:pt idx="3608">
                  <c:v>174564124</c:v>
                </c:pt>
                <c:pt idx="3609">
                  <c:v>648236640</c:v>
                </c:pt>
                <c:pt idx="3610">
                  <c:v>594758241</c:v>
                </c:pt>
                <c:pt idx="3611">
                  <c:v>231913305</c:v>
                </c:pt>
                <c:pt idx="3612">
                  <c:v>785688721</c:v>
                </c:pt>
                <c:pt idx="3613">
                  <c:v>353144974</c:v>
                </c:pt>
                <c:pt idx="3614">
                  <c:v>333254880</c:v>
                </c:pt>
                <c:pt idx="3615">
                  <c:v>76299399</c:v>
                </c:pt>
                <c:pt idx="3616">
                  <c:v>284511204</c:v>
                </c:pt>
                <c:pt idx="3617">
                  <c:v>49976976</c:v>
                </c:pt>
                <c:pt idx="3618">
                  <c:v>194622872</c:v>
                </c:pt>
                <c:pt idx="3619">
                  <c:v>182526192</c:v>
                </c:pt>
                <c:pt idx="3620">
                  <c:v>82095936</c:v>
                </c:pt>
                <c:pt idx="3621">
                  <c:v>43404642</c:v>
                </c:pt>
                <c:pt idx="3622">
                  <c:v>710180435</c:v>
                </c:pt>
                <c:pt idx="3623">
                  <c:v>45522702</c:v>
                </c:pt>
                <c:pt idx="3624">
                  <c:v>175385504</c:v>
                </c:pt>
                <c:pt idx="3625">
                  <c:v>20531115</c:v>
                </c:pt>
                <c:pt idx="3626">
                  <c:v>52455252</c:v>
                </c:pt>
                <c:pt idx="3627">
                  <c:v>60726510</c:v>
                </c:pt>
                <c:pt idx="3628">
                  <c:v>486762801</c:v>
                </c:pt>
                <c:pt idx="3629">
                  <c:v>632750966</c:v>
                </c:pt>
                <c:pt idx="3630">
                  <c:v>60111972</c:v>
                </c:pt>
                <c:pt idx="3631">
                  <c:v>60526584</c:v>
                </c:pt>
                <c:pt idx="3632">
                  <c:v>199545519</c:v>
                </c:pt>
                <c:pt idx="3633">
                  <c:v>34224060</c:v>
                </c:pt>
                <c:pt idx="3634">
                  <c:v>63047580</c:v>
                </c:pt>
                <c:pt idx="3635">
                  <c:v>4611200</c:v>
                </c:pt>
                <c:pt idx="3636">
                  <c:v>8661358</c:v>
                </c:pt>
                <c:pt idx="3637">
                  <c:v>113833860</c:v>
                </c:pt>
                <c:pt idx="3638">
                  <c:v>875505587</c:v>
                </c:pt>
                <c:pt idx="3639">
                  <c:v>204059769</c:v>
                </c:pt>
                <c:pt idx="3640">
                  <c:v>375793803</c:v>
                </c:pt>
                <c:pt idx="3641">
                  <c:v>1043859056</c:v>
                </c:pt>
                <c:pt idx="3642">
                  <c:v>824966162</c:v>
                </c:pt>
                <c:pt idx="3643">
                  <c:v>39433200</c:v>
                </c:pt>
                <c:pt idx="3644">
                  <c:v>50941555</c:v>
                </c:pt>
                <c:pt idx="3645">
                  <c:v>310037070</c:v>
                </c:pt>
                <c:pt idx="3646">
                  <c:v>64030500</c:v>
                </c:pt>
                <c:pt idx="3647">
                  <c:v>462403667</c:v>
                </c:pt>
                <c:pt idx="3648">
                  <c:v>11713310</c:v>
                </c:pt>
                <c:pt idx="3649">
                  <c:v>91417550</c:v>
                </c:pt>
                <c:pt idx="3650">
                  <c:v>409405496</c:v>
                </c:pt>
                <c:pt idx="3651">
                  <c:v>43154742</c:v>
                </c:pt>
                <c:pt idx="3652">
                  <c:v>30164913</c:v>
                </c:pt>
                <c:pt idx="3653">
                  <c:v>156511572</c:v>
                </c:pt>
                <c:pt idx="3654">
                  <c:v>388487190</c:v>
                </c:pt>
                <c:pt idx="3655">
                  <c:v>20750022</c:v>
                </c:pt>
                <c:pt idx="3656">
                  <c:v>156377304</c:v>
                </c:pt>
                <c:pt idx="3657">
                  <c:v>966495200</c:v>
                </c:pt>
                <c:pt idx="3658">
                  <c:v>1796003098</c:v>
                </c:pt>
                <c:pt idx="3659">
                  <c:v>141695279</c:v>
                </c:pt>
                <c:pt idx="3660">
                  <c:v>71817124</c:v>
                </c:pt>
                <c:pt idx="3661">
                  <c:v>20058402</c:v>
                </c:pt>
                <c:pt idx="3662">
                  <c:v>296284520</c:v>
                </c:pt>
                <c:pt idx="3663">
                  <c:v>1621517130</c:v>
                </c:pt>
                <c:pt idx="3664">
                  <c:v>55020636</c:v>
                </c:pt>
                <c:pt idx="3665">
                  <c:v>415378272</c:v>
                </c:pt>
                <c:pt idx="3666">
                  <c:v>1722428655</c:v>
                </c:pt>
                <c:pt idx="3667">
                  <c:v>87697076</c:v>
                </c:pt>
                <c:pt idx="3668">
                  <c:v>48289230</c:v>
                </c:pt>
                <c:pt idx="3669">
                  <c:v>64658520</c:v>
                </c:pt>
                <c:pt idx="3670">
                  <c:v>308892336</c:v>
                </c:pt>
                <c:pt idx="3671">
                  <c:v>137665290</c:v>
                </c:pt>
                <c:pt idx="3672">
                  <c:v>180767385</c:v>
                </c:pt>
                <c:pt idx="3673">
                  <c:v>100138272</c:v>
                </c:pt>
                <c:pt idx="3674">
                  <c:v>24456732</c:v>
                </c:pt>
                <c:pt idx="3675">
                  <c:v>1582963650</c:v>
                </c:pt>
                <c:pt idx="3676">
                  <c:v>102057544</c:v>
                </c:pt>
                <c:pt idx="3677">
                  <c:v>19227258</c:v>
                </c:pt>
                <c:pt idx="3678">
                  <c:v>1514230144</c:v>
                </c:pt>
                <c:pt idx="3679">
                  <c:v>35168760</c:v>
                </c:pt>
                <c:pt idx="3680">
                  <c:v>2078310</c:v>
                </c:pt>
                <c:pt idx="3681">
                  <c:v>199136306</c:v>
                </c:pt>
                <c:pt idx="3682">
                  <c:v>248106235</c:v>
                </c:pt>
                <c:pt idx="3683">
                  <c:v>154228460</c:v>
                </c:pt>
                <c:pt idx="3684">
                  <c:v>53800200</c:v>
                </c:pt>
                <c:pt idx="3685">
                  <c:v>65723708</c:v>
                </c:pt>
                <c:pt idx="3686">
                  <c:v>278672658</c:v>
                </c:pt>
                <c:pt idx="3687">
                  <c:v>35898594</c:v>
                </c:pt>
                <c:pt idx="3688">
                  <c:v>46791922</c:v>
                </c:pt>
                <c:pt idx="3689">
                  <c:v>1427701293</c:v>
                </c:pt>
                <c:pt idx="3690">
                  <c:v>53821264</c:v>
                </c:pt>
                <c:pt idx="3691">
                  <c:v>107051175</c:v>
                </c:pt>
                <c:pt idx="3692">
                  <c:v>61369791</c:v>
                </c:pt>
                <c:pt idx="3693">
                  <c:v>99491535</c:v>
                </c:pt>
                <c:pt idx="3694">
                  <c:v>5243400</c:v>
                </c:pt>
                <c:pt idx="3695">
                  <c:v>254333839</c:v>
                </c:pt>
                <c:pt idx="3696">
                  <c:v>292463990</c:v>
                </c:pt>
                <c:pt idx="3697">
                  <c:v>193017980</c:v>
                </c:pt>
                <c:pt idx="3698">
                  <c:v>79141724</c:v>
                </c:pt>
                <c:pt idx="3699">
                  <c:v>190696168</c:v>
                </c:pt>
                <c:pt idx="3700">
                  <c:v>529578504</c:v>
                </c:pt>
                <c:pt idx="3701">
                  <c:v>503328562</c:v>
                </c:pt>
                <c:pt idx="3702">
                  <c:v>218576391</c:v>
                </c:pt>
                <c:pt idx="3703">
                  <c:v>271297870</c:v>
                </c:pt>
                <c:pt idx="3704">
                  <c:v>360686601</c:v>
                </c:pt>
                <c:pt idx="3705">
                  <c:v>460103115</c:v>
                </c:pt>
                <c:pt idx="3706">
                  <c:v>225858072</c:v>
                </c:pt>
                <c:pt idx="3707">
                  <c:v>613910733</c:v>
                </c:pt>
                <c:pt idx="3708">
                  <c:v>629531712</c:v>
                </c:pt>
                <c:pt idx="3709">
                  <c:v>881806704</c:v>
                </c:pt>
                <c:pt idx="3710">
                  <c:v>988647772</c:v>
                </c:pt>
                <c:pt idx="3711">
                  <c:v>847573200</c:v>
                </c:pt>
                <c:pt idx="3712">
                  <c:v>498086550</c:v>
                </c:pt>
                <c:pt idx="3713">
                  <c:v>394055552</c:v>
                </c:pt>
                <c:pt idx="3714">
                  <c:v>749258100</c:v>
                </c:pt>
                <c:pt idx="3715">
                  <c:v>2147483647</c:v>
                </c:pt>
                <c:pt idx="3716">
                  <c:v>684380724</c:v>
                </c:pt>
                <c:pt idx="3717">
                  <c:v>879547472</c:v>
                </c:pt>
                <c:pt idx="3718">
                  <c:v>1537050960</c:v>
                </c:pt>
                <c:pt idx="3719">
                  <c:v>1092572712</c:v>
                </c:pt>
                <c:pt idx="3720">
                  <c:v>1371680870</c:v>
                </c:pt>
                <c:pt idx="3721">
                  <c:v>712782663</c:v>
                </c:pt>
                <c:pt idx="3722">
                  <c:v>823175860</c:v>
                </c:pt>
                <c:pt idx="3723">
                  <c:v>262890874</c:v>
                </c:pt>
                <c:pt idx="3724">
                  <c:v>167427066</c:v>
                </c:pt>
                <c:pt idx="3725">
                  <c:v>929777376</c:v>
                </c:pt>
                <c:pt idx="3726">
                  <c:v>458365050</c:v>
                </c:pt>
                <c:pt idx="3727">
                  <c:v>301048776</c:v>
                </c:pt>
                <c:pt idx="3728">
                  <c:v>269017826</c:v>
                </c:pt>
                <c:pt idx="3729">
                  <c:v>3002076</c:v>
                </c:pt>
                <c:pt idx="3730">
                  <c:v>129955878</c:v>
                </c:pt>
                <c:pt idx="3731">
                  <c:v>29194714</c:v>
                </c:pt>
                <c:pt idx="3732">
                  <c:v>527601762</c:v>
                </c:pt>
                <c:pt idx="3733">
                  <c:v>69357862</c:v>
                </c:pt>
                <c:pt idx="3734">
                  <c:v>166148060</c:v>
                </c:pt>
                <c:pt idx="3735">
                  <c:v>1235245212</c:v>
                </c:pt>
                <c:pt idx="3736">
                  <c:v>443990781</c:v>
                </c:pt>
                <c:pt idx="3737">
                  <c:v>50316930</c:v>
                </c:pt>
                <c:pt idx="3738">
                  <c:v>273242798</c:v>
                </c:pt>
                <c:pt idx="3739">
                  <c:v>183806333</c:v>
                </c:pt>
                <c:pt idx="3740">
                  <c:v>103807980</c:v>
                </c:pt>
                <c:pt idx="3741">
                  <c:v>117976836</c:v>
                </c:pt>
                <c:pt idx="3742">
                  <c:v>304890875</c:v>
                </c:pt>
                <c:pt idx="3743">
                  <c:v>5517504</c:v>
                </c:pt>
                <c:pt idx="3744">
                  <c:v>224908267</c:v>
                </c:pt>
                <c:pt idx="3745">
                  <c:v>2147483647</c:v>
                </c:pt>
                <c:pt idx="3746">
                  <c:v>277489009</c:v>
                </c:pt>
                <c:pt idx="3747">
                  <c:v>612387542</c:v>
                </c:pt>
                <c:pt idx="3748">
                  <c:v>22879800</c:v>
                </c:pt>
                <c:pt idx="3749">
                  <c:v>217396728</c:v>
                </c:pt>
                <c:pt idx="3750">
                  <c:v>66483704</c:v>
                </c:pt>
                <c:pt idx="3751">
                  <c:v>380463386</c:v>
                </c:pt>
                <c:pt idx="3752">
                  <c:v>623874960</c:v>
                </c:pt>
                <c:pt idx="3753">
                  <c:v>211853070</c:v>
                </c:pt>
                <c:pt idx="3754">
                  <c:v>293867860</c:v>
                </c:pt>
                <c:pt idx="3755">
                  <c:v>70228750</c:v>
                </c:pt>
                <c:pt idx="3756">
                  <c:v>97062424</c:v>
                </c:pt>
                <c:pt idx="3757">
                  <c:v>459149244</c:v>
                </c:pt>
                <c:pt idx="3758">
                  <c:v>17331705</c:v>
                </c:pt>
                <c:pt idx="3759">
                  <c:v>84153630</c:v>
                </c:pt>
                <c:pt idx="3760">
                  <c:v>63347922</c:v>
                </c:pt>
                <c:pt idx="3761">
                  <c:v>36603904</c:v>
                </c:pt>
                <c:pt idx="3762">
                  <c:v>59495432</c:v>
                </c:pt>
                <c:pt idx="3763">
                  <c:v>289896880</c:v>
                </c:pt>
                <c:pt idx="3764">
                  <c:v>130437879</c:v>
                </c:pt>
                <c:pt idx="3765">
                  <c:v>17581344</c:v>
                </c:pt>
                <c:pt idx="3766">
                  <c:v>206342603</c:v>
                </c:pt>
                <c:pt idx="3767">
                  <c:v>179597876</c:v>
                </c:pt>
                <c:pt idx="3768">
                  <c:v>380030000</c:v>
                </c:pt>
                <c:pt idx="3769">
                  <c:v>45277074</c:v>
                </c:pt>
                <c:pt idx="3770">
                  <c:v>148030130</c:v>
                </c:pt>
                <c:pt idx="3771">
                  <c:v>35266920</c:v>
                </c:pt>
                <c:pt idx="3772">
                  <c:v>28999278</c:v>
                </c:pt>
                <c:pt idx="3773">
                  <c:v>154065408</c:v>
                </c:pt>
                <c:pt idx="3774">
                  <c:v>8934792</c:v>
                </c:pt>
                <c:pt idx="3775">
                  <c:v>152100694</c:v>
                </c:pt>
                <c:pt idx="3776">
                  <c:v>378930112</c:v>
                </c:pt>
                <c:pt idx="3777">
                  <c:v>225845850</c:v>
                </c:pt>
                <c:pt idx="3778">
                  <c:v>6124492</c:v>
                </c:pt>
                <c:pt idx="3779">
                  <c:v>61391296</c:v>
                </c:pt>
                <c:pt idx="3780">
                  <c:v>69846372</c:v>
                </c:pt>
                <c:pt idx="3781">
                  <c:v>496238344</c:v>
                </c:pt>
                <c:pt idx="3782">
                  <c:v>89011226</c:v>
                </c:pt>
                <c:pt idx="3783">
                  <c:v>373505881</c:v>
                </c:pt>
                <c:pt idx="3784">
                  <c:v>85281315</c:v>
                </c:pt>
                <c:pt idx="3785">
                  <c:v>927537408</c:v>
                </c:pt>
                <c:pt idx="3786">
                  <c:v>355488000</c:v>
                </c:pt>
                <c:pt idx="3787">
                  <c:v>175312138</c:v>
                </c:pt>
                <c:pt idx="3788">
                  <c:v>134041814</c:v>
                </c:pt>
                <c:pt idx="3789">
                  <c:v>64956216</c:v>
                </c:pt>
                <c:pt idx="3790">
                  <c:v>2147483647</c:v>
                </c:pt>
                <c:pt idx="3791">
                  <c:v>16328312</c:v>
                </c:pt>
                <c:pt idx="3792">
                  <c:v>72007478</c:v>
                </c:pt>
                <c:pt idx="3793">
                  <c:v>146415577</c:v>
                </c:pt>
                <c:pt idx="3794">
                  <c:v>68322072</c:v>
                </c:pt>
                <c:pt idx="3795">
                  <c:v>3905088</c:v>
                </c:pt>
                <c:pt idx="3796">
                  <c:v>170699076</c:v>
                </c:pt>
                <c:pt idx="3797">
                  <c:v>147717302</c:v>
                </c:pt>
                <c:pt idx="3798">
                  <c:v>37529234</c:v>
                </c:pt>
                <c:pt idx="3799">
                  <c:v>174958030</c:v>
                </c:pt>
                <c:pt idx="3800">
                  <c:v>53190720</c:v>
                </c:pt>
                <c:pt idx="3801">
                  <c:v>4023800</c:v>
                </c:pt>
                <c:pt idx="3802">
                  <c:v>785976056</c:v>
                </c:pt>
                <c:pt idx="3803">
                  <c:v>88199595</c:v>
                </c:pt>
                <c:pt idx="3804">
                  <c:v>862319199</c:v>
                </c:pt>
                <c:pt idx="3805">
                  <c:v>245831880</c:v>
                </c:pt>
                <c:pt idx="3806">
                  <c:v>200397435</c:v>
                </c:pt>
                <c:pt idx="3807">
                  <c:v>36618870</c:v>
                </c:pt>
                <c:pt idx="3808">
                  <c:v>121918720</c:v>
                </c:pt>
                <c:pt idx="3809">
                  <c:v>2147483647</c:v>
                </c:pt>
                <c:pt idx="3810">
                  <c:v>462287144</c:v>
                </c:pt>
                <c:pt idx="3811">
                  <c:v>306861944</c:v>
                </c:pt>
                <c:pt idx="3812">
                  <c:v>147994308</c:v>
                </c:pt>
                <c:pt idx="3813">
                  <c:v>59696466</c:v>
                </c:pt>
                <c:pt idx="3814">
                  <c:v>5159333</c:v>
                </c:pt>
                <c:pt idx="3815">
                  <c:v>194908620</c:v>
                </c:pt>
                <c:pt idx="3816">
                  <c:v>720405378</c:v>
                </c:pt>
                <c:pt idx="3817">
                  <c:v>772324280</c:v>
                </c:pt>
                <c:pt idx="3818">
                  <c:v>258711610</c:v>
                </c:pt>
                <c:pt idx="3819">
                  <c:v>1176076527</c:v>
                </c:pt>
                <c:pt idx="3820">
                  <c:v>780975405</c:v>
                </c:pt>
                <c:pt idx="3821">
                  <c:v>311234422</c:v>
                </c:pt>
                <c:pt idx="3822">
                  <c:v>1300106542</c:v>
                </c:pt>
                <c:pt idx="3823">
                  <c:v>267360860</c:v>
                </c:pt>
                <c:pt idx="3824">
                  <c:v>515265968</c:v>
                </c:pt>
                <c:pt idx="3825">
                  <c:v>787297992</c:v>
                </c:pt>
                <c:pt idx="3826">
                  <c:v>911319084</c:v>
                </c:pt>
                <c:pt idx="3827">
                  <c:v>1395176006</c:v>
                </c:pt>
                <c:pt idx="3828">
                  <c:v>394083150</c:v>
                </c:pt>
                <c:pt idx="3829">
                  <c:v>845722471</c:v>
                </c:pt>
                <c:pt idx="3830">
                  <c:v>554921683</c:v>
                </c:pt>
                <c:pt idx="3831">
                  <c:v>508027779</c:v>
                </c:pt>
                <c:pt idx="3832">
                  <c:v>560748535</c:v>
                </c:pt>
                <c:pt idx="3833">
                  <c:v>1404688684</c:v>
                </c:pt>
                <c:pt idx="3834">
                  <c:v>505737340</c:v>
                </c:pt>
                <c:pt idx="3835">
                  <c:v>1116963490</c:v>
                </c:pt>
                <c:pt idx="3836">
                  <c:v>943060118</c:v>
                </c:pt>
                <c:pt idx="3837">
                  <c:v>201687135</c:v>
                </c:pt>
                <c:pt idx="3838">
                  <c:v>3725800</c:v>
                </c:pt>
                <c:pt idx="3839">
                  <c:v>37950506</c:v>
                </c:pt>
                <c:pt idx="3840">
                  <c:v>107554986</c:v>
                </c:pt>
                <c:pt idx="3841">
                  <c:v>43611911</c:v>
                </c:pt>
                <c:pt idx="3842">
                  <c:v>116611022</c:v>
                </c:pt>
                <c:pt idx="3843">
                  <c:v>17728396</c:v>
                </c:pt>
                <c:pt idx="3844">
                  <c:v>56455498</c:v>
                </c:pt>
                <c:pt idx="3845">
                  <c:v>39818835</c:v>
                </c:pt>
                <c:pt idx="3846">
                  <c:v>24293855</c:v>
                </c:pt>
                <c:pt idx="3847">
                  <c:v>52851862</c:v>
                </c:pt>
                <c:pt idx="3848">
                  <c:v>88860900</c:v>
                </c:pt>
                <c:pt idx="3849">
                  <c:v>17379950</c:v>
                </c:pt>
                <c:pt idx="3850">
                  <c:v>32991228</c:v>
                </c:pt>
                <c:pt idx="3851">
                  <c:v>61738544</c:v>
                </c:pt>
                <c:pt idx="3852">
                  <c:v>34073002</c:v>
                </c:pt>
                <c:pt idx="3853">
                  <c:v>146304180</c:v>
                </c:pt>
                <c:pt idx="3854">
                  <c:v>38433318</c:v>
                </c:pt>
                <c:pt idx="3855">
                  <c:v>27115389</c:v>
                </c:pt>
                <c:pt idx="3856">
                  <c:v>46205588</c:v>
                </c:pt>
                <c:pt idx="3857">
                  <c:v>82173728</c:v>
                </c:pt>
                <c:pt idx="3858">
                  <c:v>59611409</c:v>
                </c:pt>
                <c:pt idx="3859">
                  <c:v>5251285</c:v>
                </c:pt>
                <c:pt idx="3860">
                  <c:v>109511248</c:v>
                </c:pt>
                <c:pt idx="3861">
                  <c:v>81461990</c:v>
                </c:pt>
                <c:pt idx="3862">
                  <c:v>58596870</c:v>
                </c:pt>
                <c:pt idx="3863">
                  <c:v>32641092</c:v>
                </c:pt>
                <c:pt idx="3864">
                  <c:v>55109258</c:v>
                </c:pt>
                <c:pt idx="3865">
                  <c:v>50441482</c:v>
                </c:pt>
                <c:pt idx="3866">
                  <c:v>30672145</c:v>
                </c:pt>
                <c:pt idx="3867">
                  <c:v>64204360</c:v>
                </c:pt>
                <c:pt idx="3868">
                  <c:v>15943491</c:v>
                </c:pt>
                <c:pt idx="3869">
                  <c:v>199814769</c:v>
                </c:pt>
                <c:pt idx="3870">
                  <c:v>26806430</c:v>
                </c:pt>
                <c:pt idx="3871">
                  <c:v>17920728</c:v>
                </c:pt>
                <c:pt idx="3872">
                  <c:v>72358902</c:v>
                </c:pt>
                <c:pt idx="3873">
                  <c:v>110342844</c:v>
                </c:pt>
                <c:pt idx="3874">
                  <c:v>504964005</c:v>
                </c:pt>
                <c:pt idx="3875">
                  <c:v>60419820</c:v>
                </c:pt>
                <c:pt idx="3876">
                  <c:v>21441870</c:v>
                </c:pt>
                <c:pt idx="3877">
                  <c:v>72788080</c:v>
                </c:pt>
                <c:pt idx="3878">
                  <c:v>112886312</c:v>
                </c:pt>
                <c:pt idx="3879">
                  <c:v>4874200</c:v>
                </c:pt>
                <c:pt idx="3880">
                  <c:v>68359200</c:v>
                </c:pt>
                <c:pt idx="3881">
                  <c:v>10040148</c:v>
                </c:pt>
                <c:pt idx="3882">
                  <c:v>150227394</c:v>
                </c:pt>
                <c:pt idx="3883">
                  <c:v>45804708</c:v>
                </c:pt>
                <c:pt idx="3884">
                  <c:v>56836224</c:v>
                </c:pt>
                <c:pt idx="3885">
                  <c:v>6376104</c:v>
                </c:pt>
                <c:pt idx="3886">
                  <c:v>24343982</c:v>
                </c:pt>
                <c:pt idx="3887">
                  <c:v>136712059</c:v>
                </c:pt>
                <c:pt idx="3888">
                  <c:v>120624140</c:v>
                </c:pt>
                <c:pt idx="3889">
                  <c:v>23384060</c:v>
                </c:pt>
                <c:pt idx="3890">
                  <c:v>31954615</c:v>
                </c:pt>
                <c:pt idx="3891">
                  <c:v>42950765</c:v>
                </c:pt>
                <c:pt idx="3892">
                  <c:v>24026120</c:v>
                </c:pt>
                <c:pt idx="3893">
                  <c:v>56191599</c:v>
                </c:pt>
                <c:pt idx="3894">
                  <c:v>78980055</c:v>
                </c:pt>
                <c:pt idx="3895">
                  <c:v>16354722</c:v>
                </c:pt>
                <c:pt idx="3896">
                  <c:v>69215825</c:v>
                </c:pt>
                <c:pt idx="3897">
                  <c:v>297398256</c:v>
                </c:pt>
                <c:pt idx="3898">
                  <c:v>97710074</c:v>
                </c:pt>
                <c:pt idx="3899">
                  <c:v>57690288</c:v>
                </c:pt>
                <c:pt idx="3900">
                  <c:v>93801882</c:v>
                </c:pt>
                <c:pt idx="3901">
                  <c:v>23244806</c:v>
                </c:pt>
                <c:pt idx="3902">
                  <c:v>14837556</c:v>
                </c:pt>
                <c:pt idx="3903">
                  <c:v>104371000</c:v>
                </c:pt>
                <c:pt idx="3904">
                  <c:v>78023865</c:v>
                </c:pt>
                <c:pt idx="3905">
                  <c:v>17012372</c:v>
                </c:pt>
                <c:pt idx="3906">
                  <c:v>18154289</c:v>
                </c:pt>
                <c:pt idx="3907">
                  <c:v>91675138</c:v>
                </c:pt>
                <c:pt idx="3908">
                  <c:v>25516656</c:v>
                </c:pt>
                <c:pt idx="3909">
                  <c:v>114547956</c:v>
                </c:pt>
                <c:pt idx="3910">
                  <c:v>23807678</c:v>
                </c:pt>
                <c:pt idx="3911">
                  <c:v>26575944</c:v>
                </c:pt>
                <c:pt idx="3912">
                  <c:v>47670562</c:v>
                </c:pt>
                <c:pt idx="3913">
                  <c:v>768193944</c:v>
                </c:pt>
                <c:pt idx="3914">
                  <c:v>29492390</c:v>
                </c:pt>
                <c:pt idx="3915">
                  <c:v>155003368</c:v>
                </c:pt>
                <c:pt idx="3916">
                  <c:v>62162640</c:v>
                </c:pt>
                <c:pt idx="3917">
                  <c:v>20856433</c:v>
                </c:pt>
                <c:pt idx="3918">
                  <c:v>108707916</c:v>
                </c:pt>
                <c:pt idx="3919">
                  <c:v>23262484</c:v>
                </c:pt>
                <c:pt idx="3920">
                  <c:v>15382926</c:v>
                </c:pt>
                <c:pt idx="3921">
                  <c:v>346374020</c:v>
                </c:pt>
                <c:pt idx="3922">
                  <c:v>754698816</c:v>
                </c:pt>
                <c:pt idx="3923">
                  <c:v>20204343</c:v>
                </c:pt>
                <c:pt idx="3924">
                  <c:v>68817658</c:v>
                </c:pt>
                <c:pt idx="3925">
                  <c:v>2147483647</c:v>
                </c:pt>
                <c:pt idx="3926">
                  <c:v>20451070</c:v>
                </c:pt>
                <c:pt idx="3927">
                  <c:v>35871476</c:v>
                </c:pt>
                <c:pt idx="3928">
                  <c:v>27940860</c:v>
                </c:pt>
                <c:pt idx="3929">
                  <c:v>36148504</c:v>
                </c:pt>
                <c:pt idx="3930">
                  <c:v>29437776</c:v>
                </c:pt>
                <c:pt idx="3931">
                  <c:v>33593432</c:v>
                </c:pt>
                <c:pt idx="3932">
                  <c:v>64505454</c:v>
                </c:pt>
                <c:pt idx="3933">
                  <c:v>207529460</c:v>
                </c:pt>
                <c:pt idx="3934">
                  <c:v>37564475</c:v>
                </c:pt>
                <c:pt idx="3935">
                  <c:v>427072750</c:v>
                </c:pt>
                <c:pt idx="3936">
                  <c:v>138600231</c:v>
                </c:pt>
                <c:pt idx="3937">
                  <c:v>13253812</c:v>
                </c:pt>
                <c:pt idx="3938">
                  <c:v>49204993</c:v>
                </c:pt>
                <c:pt idx="3939">
                  <c:v>5092080</c:v>
                </c:pt>
                <c:pt idx="3940">
                  <c:v>17073056</c:v>
                </c:pt>
                <c:pt idx="3941">
                  <c:v>26216607</c:v>
                </c:pt>
                <c:pt idx="3942">
                  <c:v>69290560</c:v>
                </c:pt>
                <c:pt idx="3943">
                  <c:v>41404800</c:v>
                </c:pt>
                <c:pt idx="3944">
                  <c:v>192895892</c:v>
                </c:pt>
                <c:pt idx="3945">
                  <c:v>149821206</c:v>
                </c:pt>
                <c:pt idx="3946">
                  <c:v>9230550</c:v>
                </c:pt>
                <c:pt idx="3947">
                  <c:v>18718674</c:v>
                </c:pt>
                <c:pt idx="3948">
                  <c:v>251838672</c:v>
                </c:pt>
                <c:pt idx="3949">
                  <c:v>39350673</c:v>
                </c:pt>
                <c:pt idx="3950">
                  <c:v>138827096</c:v>
                </c:pt>
                <c:pt idx="3951">
                  <c:v>227071449</c:v>
                </c:pt>
                <c:pt idx="3952">
                  <c:v>29879289</c:v>
                </c:pt>
                <c:pt idx="3953">
                  <c:v>313139352</c:v>
                </c:pt>
                <c:pt idx="3954">
                  <c:v>15933268</c:v>
                </c:pt>
                <c:pt idx="3955">
                  <c:v>37886784</c:v>
                </c:pt>
                <c:pt idx="3956">
                  <c:v>281868160</c:v>
                </c:pt>
                <c:pt idx="3957">
                  <c:v>314565590</c:v>
                </c:pt>
                <c:pt idx="3958">
                  <c:v>389866428</c:v>
                </c:pt>
                <c:pt idx="3959">
                  <c:v>330689780</c:v>
                </c:pt>
                <c:pt idx="3960">
                  <c:v>1126547170</c:v>
                </c:pt>
                <c:pt idx="3961">
                  <c:v>342309240</c:v>
                </c:pt>
                <c:pt idx="3962">
                  <c:v>9018278</c:v>
                </c:pt>
                <c:pt idx="3963">
                  <c:v>413063716</c:v>
                </c:pt>
                <c:pt idx="3964">
                  <c:v>14450967</c:v>
                </c:pt>
                <c:pt idx="3965">
                  <c:v>613180665</c:v>
                </c:pt>
                <c:pt idx="3966">
                  <c:v>916106659</c:v>
                </c:pt>
                <c:pt idx="3967">
                  <c:v>553921515</c:v>
                </c:pt>
                <c:pt idx="3968">
                  <c:v>71344658</c:v>
                </c:pt>
                <c:pt idx="3969">
                  <c:v>79271870</c:v>
                </c:pt>
                <c:pt idx="3970">
                  <c:v>787860384</c:v>
                </c:pt>
                <c:pt idx="3971">
                  <c:v>24701730</c:v>
                </c:pt>
                <c:pt idx="3972">
                  <c:v>44577708</c:v>
                </c:pt>
                <c:pt idx="3973">
                  <c:v>224380310</c:v>
                </c:pt>
                <c:pt idx="3974">
                  <c:v>321518439</c:v>
                </c:pt>
                <c:pt idx="3975">
                  <c:v>328755042</c:v>
                </c:pt>
                <c:pt idx="3976">
                  <c:v>708717000</c:v>
                </c:pt>
                <c:pt idx="3977">
                  <c:v>175510742</c:v>
                </c:pt>
                <c:pt idx="3978">
                  <c:v>81187847</c:v>
                </c:pt>
                <c:pt idx="3979">
                  <c:v>5394328</c:v>
                </c:pt>
                <c:pt idx="3980">
                  <c:v>27681896</c:v>
                </c:pt>
                <c:pt idx="3981">
                  <c:v>9540170</c:v>
                </c:pt>
                <c:pt idx="3982">
                  <c:v>100998144</c:v>
                </c:pt>
                <c:pt idx="3983">
                  <c:v>48239200</c:v>
                </c:pt>
                <c:pt idx="3984">
                  <c:v>68156317</c:v>
                </c:pt>
                <c:pt idx="3985">
                  <c:v>392033422</c:v>
                </c:pt>
                <c:pt idx="3986">
                  <c:v>10243255</c:v>
                </c:pt>
                <c:pt idx="3987">
                  <c:v>303107516</c:v>
                </c:pt>
                <c:pt idx="3988">
                  <c:v>71807493</c:v>
                </c:pt>
                <c:pt idx="3989">
                  <c:v>1765480233</c:v>
                </c:pt>
                <c:pt idx="3990">
                  <c:v>99979488</c:v>
                </c:pt>
                <c:pt idx="3991">
                  <c:v>94863515</c:v>
                </c:pt>
                <c:pt idx="3992">
                  <c:v>28494564</c:v>
                </c:pt>
                <c:pt idx="3993">
                  <c:v>74689602</c:v>
                </c:pt>
                <c:pt idx="3994">
                  <c:v>17320926</c:v>
                </c:pt>
                <c:pt idx="3995">
                  <c:v>84203164</c:v>
                </c:pt>
                <c:pt idx="3996">
                  <c:v>12072580</c:v>
                </c:pt>
                <c:pt idx="3997">
                  <c:v>45278036</c:v>
                </c:pt>
                <c:pt idx="3998">
                  <c:v>36422589</c:v>
                </c:pt>
                <c:pt idx="3999">
                  <c:v>718024154</c:v>
                </c:pt>
                <c:pt idx="4000">
                  <c:v>116738316</c:v>
                </c:pt>
                <c:pt idx="4001">
                  <c:v>26061762</c:v>
                </c:pt>
                <c:pt idx="4002">
                  <c:v>391138275</c:v>
                </c:pt>
                <c:pt idx="4003">
                  <c:v>194687850</c:v>
                </c:pt>
                <c:pt idx="4004">
                  <c:v>377339468</c:v>
                </c:pt>
                <c:pt idx="4005">
                  <c:v>406173534</c:v>
                </c:pt>
                <c:pt idx="4006">
                  <c:v>385582704</c:v>
                </c:pt>
                <c:pt idx="4007">
                  <c:v>74242924</c:v>
                </c:pt>
                <c:pt idx="4008">
                  <c:v>1176281120</c:v>
                </c:pt>
                <c:pt idx="4009">
                  <c:v>523559069</c:v>
                </c:pt>
                <c:pt idx="4010">
                  <c:v>215715600</c:v>
                </c:pt>
                <c:pt idx="4011">
                  <c:v>21181296</c:v>
                </c:pt>
                <c:pt idx="4012">
                  <c:v>7235400</c:v>
                </c:pt>
                <c:pt idx="4013">
                  <c:v>11174200</c:v>
                </c:pt>
                <c:pt idx="4014">
                  <c:v>12173865</c:v>
                </c:pt>
                <c:pt idx="4015">
                  <c:v>41207032</c:v>
                </c:pt>
                <c:pt idx="4016">
                  <c:v>301062800</c:v>
                </c:pt>
                <c:pt idx="4017">
                  <c:v>263234259</c:v>
                </c:pt>
                <c:pt idx="4018">
                  <c:v>30130423</c:v>
                </c:pt>
                <c:pt idx="4019">
                  <c:v>9777546</c:v>
                </c:pt>
                <c:pt idx="4020">
                  <c:v>197390544</c:v>
                </c:pt>
                <c:pt idx="4021">
                  <c:v>1698114968</c:v>
                </c:pt>
                <c:pt idx="4022">
                  <c:v>1281756896</c:v>
                </c:pt>
                <c:pt idx="4023">
                  <c:v>1459716960</c:v>
                </c:pt>
                <c:pt idx="4024">
                  <c:v>222296256</c:v>
                </c:pt>
                <c:pt idx="4025">
                  <c:v>763631250</c:v>
                </c:pt>
                <c:pt idx="4026">
                  <c:v>1814349522</c:v>
                </c:pt>
                <c:pt idx="4027">
                  <c:v>102420890</c:v>
                </c:pt>
                <c:pt idx="4028">
                  <c:v>75725580</c:v>
                </c:pt>
                <c:pt idx="4029">
                  <c:v>594783794</c:v>
                </c:pt>
                <c:pt idx="4030">
                  <c:v>548762550</c:v>
                </c:pt>
                <c:pt idx="4031">
                  <c:v>583393762</c:v>
                </c:pt>
                <c:pt idx="4032">
                  <c:v>268608492</c:v>
                </c:pt>
                <c:pt idx="4033">
                  <c:v>421939401</c:v>
                </c:pt>
                <c:pt idx="4034">
                  <c:v>305695104</c:v>
                </c:pt>
                <c:pt idx="4035">
                  <c:v>423766640</c:v>
                </c:pt>
                <c:pt idx="4036">
                  <c:v>195102184</c:v>
                </c:pt>
                <c:pt idx="4037">
                  <c:v>199789675</c:v>
                </c:pt>
                <c:pt idx="4038">
                  <c:v>787354040</c:v>
                </c:pt>
                <c:pt idx="4039">
                  <c:v>351783036</c:v>
                </c:pt>
                <c:pt idx="4040">
                  <c:v>362146962</c:v>
                </c:pt>
                <c:pt idx="4041">
                  <c:v>62746398</c:v>
                </c:pt>
                <c:pt idx="4042">
                  <c:v>164383254</c:v>
                </c:pt>
                <c:pt idx="4043">
                  <c:v>1519553070</c:v>
                </c:pt>
                <c:pt idx="4044">
                  <c:v>145081976</c:v>
                </c:pt>
                <c:pt idx="4045">
                  <c:v>157970355</c:v>
                </c:pt>
                <c:pt idx="4046">
                  <c:v>1069584960</c:v>
                </c:pt>
                <c:pt idx="4047">
                  <c:v>581379964</c:v>
                </c:pt>
                <c:pt idx="4048">
                  <c:v>59348499</c:v>
                </c:pt>
                <c:pt idx="4049">
                  <c:v>646842240</c:v>
                </c:pt>
                <c:pt idx="4050">
                  <c:v>800982452</c:v>
                </c:pt>
                <c:pt idx="4051">
                  <c:v>467774720</c:v>
                </c:pt>
                <c:pt idx="4052">
                  <c:v>205853076</c:v>
                </c:pt>
                <c:pt idx="4053">
                  <c:v>929281410</c:v>
                </c:pt>
                <c:pt idx="4054">
                  <c:v>1266058201</c:v>
                </c:pt>
                <c:pt idx="4055">
                  <c:v>286085584</c:v>
                </c:pt>
                <c:pt idx="4056">
                  <c:v>411127018</c:v>
                </c:pt>
                <c:pt idx="4057">
                  <c:v>455335380</c:v>
                </c:pt>
                <c:pt idx="4058">
                  <c:v>628027192</c:v>
                </c:pt>
                <c:pt idx="4059">
                  <c:v>512719720</c:v>
                </c:pt>
                <c:pt idx="4060">
                  <c:v>1010295168</c:v>
                </c:pt>
                <c:pt idx="4061">
                  <c:v>510982668</c:v>
                </c:pt>
                <c:pt idx="4062">
                  <c:v>417507480</c:v>
                </c:pt>
                <c:pt idx="4063">
                  <c:v>732934680</c:v>
                </c:pt>
                <c:pt idx="4064">
                  <c:v>944162660</c:v>
                </c:pt>
                <c:pt idx="4065">
                  <c:v>1488654300</c:v>
                </c:pt>
                <c:pt idx="4066">
                  <c:v>568820935</c:v>
                </c:pt>
                <c:pt idx="4067">
                  <c:v>273017175</c:v>
                </c:pt>
                <c:pt idx="4068">
                  <c:v>773907810</c:v>
                </c:pt>
                <c:pt idx="4069">
                  <c:v>1028359902</c:v>
                </c:pt>
                <c:pt idx="4070">
                  <c:v>456200880</c:v>
                </c:pt>
                <c:pt idx="4071">
                  <c:v>224261060</c:v>
                </c:pt>
                <c:pt idx="4072">
                  <c:v>436477644</c:v>
                </c:pt>
                <c:pt idx="4073">
                  <c:v>30298436</c:v>
                </c:pt>
                <c:pt idx="4074">
                  <c:v>485038957</c:v>
                </c:pt>
                <c:pt idx="4075">
                  <c:v>1048366269</c:v>
                </c:pt>
                <c:pt idx="4076">
                  <c:v>1130550429</c:v>
                </c:pt>
                <c:pt idx="4077">
                  <c:v>549800895</c:v>
                </c:pt>
                <c:pt idx="4078">
                  <c:v>589553760</c:v>
                </c:pt>
                <c:pt idx="4079">
                  <c:v>114988749</c:v>
                </c:pt>
                <c:pt idx="4080">
                  <c:v>526371509</c:v>
                </c:pt>
                <c:pt idx="4081">
                  <c:v>1123983190</c:v>
                </c:pt>
                <c:pt idx="4082">
                  <c:v>1181190762</c:v>
                </c:pt>
                <c:pt idx="4083">
                  <c:v>2142999357</c:v>
                </c:pt>
                <c:pt idx="4084">
                  <c:v>1011453220</c:v>
                </c:pt>
                <c:pt idx="4085">
                  <c:v>835648128</c:v>
                </c:pt>
                <c:pt idx="4086">
                  <c:v>1327480434</c:v>
                </c:pt>
                <c:pt idx="4087">
                  <c:v>730659756</c:v>
                </c:pt>
                <c:pt idx="4088">
                  <c:v>1703084760</c:v>
                </c:pt>
                <c:pt idx="4089">
                  <c:v>7389059</c:v>
                </c:pt>
                <c:pt idx="4090">
                  <c:v>41760468</c:v>
                </c:pt>
                <c:pt idx="4091">
                  <c:v>137561450</c:v>
                </c:pt>
                <c:pt idx="4092">
                  <c:v>13042224</c:v>
                </c:pt>
                <c:pt idx="4093">
                  <c:v>89300320</c:v>
                </c:pt>
                <c:pt idx="4094">
                  <c:v>15274548</c:v>
                </c:pt>
                <c:pt idx="4095">
                  <c:v>2066577520</c:v>
                </c:pt>
                <c:pt idx="4096">
                  <c:v>165518174</c:v>
                </c:pt>
                <c:pt idx="4097">
                  <c:v>87526215</c:v>
                </c:pt>
                <c:pt idx="4098">
                  <c:v>68822998</c:v>
                </c:pt>
                <c:pt idx="4099">
                  <c:v>142272286</c:v>
                </c:pt>
                <c:pt idx="4100">
                  <c:v>15728142</c:v>
                </c:pt>
                <c:pt idx="4101">
                  <c:v>37802574</c:v>
                </c:pt>
                <c:pt idx="4102">
                  <c:v>50948450</c:v>
                </c:pt>
                <c:pt idx="4103">
                  <c:v>235243775</c:v>
                </c:pt>
                <c:pt idx="4104">
                  <c:v>19696212</c:v>
                </c:pt>
                <c:pt idx="4105">
                  <c:v>330299589</c:v>
                </c:pt>
                <c:pt idx="4106">
                  <c:v>48080242</c:v>
                </c:pt>
                <c:pt idx="4107">
                  <c:v>7158618</c:v>
                </c:pt>
                <c:pt idx="4108">
                  <c:v>75922547</c:v>
                </c:pt>
                <c:pt idx="4109">
                  <c:v>17049222</c:v>
                </c:pt>
                <c:pt idx="4110">
                  <c:v>60706760</c:v>
                </c:pt>
                <c:pt idx="4111">
                  <c:v>49545248</c:v>
                </c:pt>
                <c:pt idx="4112">
                  <c:v>23847040</c:v>
                </c:pt>
                <c:pt idx="4113">
                  <c:v>216108576</c:v>
                </c:pt>
                <c:pt idx="4114">
                  <c:v>47481532</c:v>
                </c:pt>
                <c:pt idx="4115">
                  <c:v>40789116</c:v>
                </c:pt>
                <c:pt idx="4116">
                  <c:v>15660444</c:v>
                </c:pt>
                <c:pt idx="4117">
                  <c:v>51133888</c:v>
                </c:pt>
                <c:pt idx="4118">
                  <c:v>14229252</c:v>
                </c:pt>
                <c:pt idx="4119">
                  <c:v>19867848</c:v>
                </c:pt>
                <c:pt idx="4120">
                  <c:v>4784296</c:v>
                </c:pt>
                <c:pt idx="4121">
                  <c:v>42233750</c:v>
                </c:pt>
                <c:pt idx="4122">
                  <c:v>27395136</c:v>
                </c:pt>
                <c:pt idx="4123">
                  <c:v>6775692</c:v>
                </c:pt>
                <c:pt idx="4124">
                  <c:v>60244920</c:v>
                </c:pt>
                <c:pt idx="4125">
                  <c:v>21995038</c:v>
                </c:pt>
                <c:pt idx="4126">
                  <c:v>21957889</c:v>
                </c:pt>
                <c:pt idx="4127">
                  <c:v>26158062</c:v>
                </c:pt>
                <c:pt idx="4128">
                  <c:v>5481873</c:v>
                </c:pt>
                <c:pt idx="4129">
                  <c:v>653982472</c:v>
                </c:pt>
                <c:pt idx="4130">
                  <c:v>8050224</c:v>
                </c:pt>
                <c:pt idx="4131">
                  <c:v>359478137</c:v>
                </c:pt>
                <c:pt idx="4132">
                  <c:v>66117720</c:v>
                </c:pt>
                <c:pt idx="4133">
                  <c:v>28156117</c:v>
                </c:pt>
                <c:pt idx="4134">
                  <c:v>2012610</c:v>
                </c:pt>
                <c:pt idx="4135">
                  <c:v>20179504</c:v>
                </c:pt>
                <c:pt idx="4136">
                  <c:v>875728064</c:v>
                </c:pt>
                <c:pt idx="4137">
                  <c:v>25536525</c:v>
                </c:pt>
                <c:pt idx="4138">
                  <c:v>20448846</c:v>
                </c:pt>
                <c:pt idx="4139">
                  <c:v>4923152</c:v>
                </c:pt>
                <c:pt idx="4140">
                  <c:v>9094228</c:v>
                </c:pt>
                <c:pt idx="4141">
                  <c:v>36698916</c:v>
                </c:pt>
                <c:pt idx="4142">
                  <c:v>208610682</c:v>
                </c:pt>
                <c:pt idx="4143">
                  <c:v>72548370</c:v>
                </c:pt>
                <c:pt idx="4144">
                  <c:v>55199232</c:v>
                </c:pt>
                <c:pt idx="4145">
                  <c:v>50241256</c:v>
                </c:pt>
                <c:pt idx="4146">
                  <c:v>520474890</c:v>
                </c:pt>
                <c:pt idx="4147">
                  <c:v>26862612</c:v>
                </c:pt>
                <c:pt idx="4148">
                  <c:v>59315382</c:v>
                </c:pt>
                <c:pt idx="4149">
                  <c:v>6398151</c:v>
                </c:pt>
                <c:pt idx="4150">
                  <c:v>115935012</c:v>
                </c:pt>
                <c:pt idx="4151">
                  <c:v>11394432</c:v>
                </c:pt>
                <c:pt idx="4152">
                  <c:v>15374530</c:v>
                </c:pt>
                <c:pt idx="4153">
                  <c:v>6311138</c:v>
                </c:pt>
                <c:pt idx="4154">
                  <c:v>61819464</c:v>
                </c:pt>
                <c:pt idx="4155">
                  <c:v>53816220</c:v>
                </c:pt>
                <c:pt idx="4156">
                  <c:v>73770480</c:v>
                </c:pt>
                <c:pt idx="4157">
                  <c:v>4795680</c:v>
                </c:pt>
                <c:pt idx="4158">
                  <c:v>62006574</c:v>
                </c:pt>
                <c:pt idx="4159">
                  <c:v>111064288</c:v>
                </c:pt>
                <c:pt idx="4160">
                  <c:v>4195785</c:v>
                </c:pt>
                <c:pt idx="4161">
                  <c:v>3842520</c:v>
                </c:pt>
                <c:pt idx="4162">
                  <c:v>22946024</c:v>
                </c:pt>
                <c:pt idx="4163">
                  <c:v>28567380</c:v>
                </c:pt>
                <c:pt idx="4164">
                  <c:v>22469400</c:v>
                </c:pt>
                <c:pt idx="4165">
                  <c:v>54780750</c:v>
                </c:pt>
                <c:pt idx="4166">
                  <c:v>38193888</c:v>
                </c:pt>
                <c:pt idx="4167">
                  <c:v>3199280</c:v>
                </c:pt>
                <c:pt idx="4168">
                  <c:v>94855000</c:v>
                </c:pt>
                <c:pt idx="4169">
                  <c:v>52006080</c:v>
                </c:pt>
                <c:pt idx="4170">
                  <c:v>10936464</c:v>
                </c:pt>
                <c:pt idx="4171">
                  <c:v>3286005</c:v>
                </c:pt>
                <c:pt idx="4172">
                  <c:v>71494032</c:v>
                </c:pt>
                <c:pt idx="4173">
                  <c:v>59010900</c:v>
                </c:pt>
                <c:pt idx="4174">
                  <c:v>25790180</c:v>
                </c:pt>
                <c:pt idx="4175">
                  <c:v>112755726</c:v>
                </c:pt>
                <c:pt idx="4176">
                  <c:v>50488460</c:v>
                </c:pt>
                <c:pt idx="4177">
                  <c:v>29669354</c:v>
                </c:pt>
                <c:pt idx="4178">
                  <c:v>27649203</c:v>
                </c:pt>
                <c:pt idx="4179">
                  <c:v>11737338</c:v>
                </c:pt>
                <c:pt idx="4180">
                  <c:v>204715728</c:v>
                </c:pt>
                <c:pt idx="4181">
                  <c:v>163669995</c:v>
                </c:pt>
                <c:pt idx="4182">
                  <c:v>39502950</c:v>
                </c:pt>
                <c:pt idx="4183">
                  <c:v>12292722</c:v>
                </c:pt>
                <c:pt idx="4184">
                  <c:v>58489145</c:v>
                </c:pt>
                <c:pt idx="4185">
                  <c:v>10081952</c:v>
                </c:pt>
                <c:pt idx="4186">
                  <c:v>12935626</c:v>
                </c:pt>
                <c:pt idx="4187">
                  <c:v>422565628</c:v>
                </c:pt>
                <c:pt idx="4188">
                  <c:v>5956562</c:v>
                </c:pt>
                <c:pt idx="4189">
                  <c:v>48045418</c:v>
                </c:pt>
                <c:pt idx="4190">
                  <c:v>327630672</c:v>
                </c:pt>
                <c:pt idx="4191">
                  <c:v>153894840</c:v>
                </c:pt>
                <c:pt idx="4192">
                  <c:v>90224750</c:v>
                </c:pt>
                <c:pt idx="4193">
                  <c:v>3581696</c:v>
                </c:pt>
                <c:pt idx="4194">
                  <c:v>32448306</c:v>
                </c:pt>
                <c:pt idx="4195">
                  <c:v>26569246</c:v>
                </c:pt>
                <c:pt idx="4196">
                  <c:v>51971270</c:v>
                </c:pt>
                <c:pt idx="4197">
                  <c:v>9832545</c:v>
                </c:pt>
                <c:pt idx="4198">
                  <c:v>227591622</c:v>
                </c:pt>
                <c:pt idx="4199">
                  <c:v>26930364</c:v>
                </c:pt>
                <c:pt idx="4200">
                  <c:v>9614931</c:v>
                </c:pt>
                <c:pt idx="4201">
                  <c:v>109774256</c:v>
                </c:pt>
                <c:pt idx="4202">
                  <c:v>27893286</c:v>
                </c:pt>
                <c:pt idx="4203">
                  <c:v>65498537</c:v>
                </c:pt>
                <c:pt idx="4204">
                  <c:v>11813679</c:v>
                </c:pt>
                <c:pt idx="4205">
                  <c:v>21110292</c:v>
                </c:pt>
                <c:pt idx="4206">
                  <c:v>45010000</c:v>
                </c:pt>
                <c:pt idx="4207">
                  <c:v>16900320</c:v>
                </c:pt>
                <c:pt idx="4208">
                  <c:v>148290709</c:v>
                </c:pt>
                <c:pt idx="4209">
                  <c:v>63310878</c:v>
                </c:pt>
                <c:pt idx="4210">
                  <c:v>2532915</c:v>
                </c:pt>
                <c:pt idx="4211">
                  <c:v>88043680</c:v>
                </c:pt>
                <c:pt idx="4212">
                  <c:v>45761664</c:v>
                </c:pt>
                <c:pt idx="4213">
                  <c:v>10422720</c:v>
                </c:pt>
                <c:pt idx="4214">
                  <c:v>70535805</c:v>
                </c:pt>
                <c:pt idx="4215">
                  <c:v>3809792</c:v>
                </c:pt>
                <c:pt idx="4216">
                  <c:v>3787616</c:v>
                </c:pt>
                <c:pt idx="4217">
                  <c:v>8745440</c:v>
                </c:pt>
                <c:pt idx="4218">
                  <c:v>84482739</c:v>
                </c:pt>
                <c:pt idx="4219">
                  <c:v>2782305</c:v>
                </c:pt>
                <c:pt idx="4220">
                  <c:v>2065751975</c:v>
                </c:pt>
                <c:pt idx="4221">
                  <c:v>130357500</c:v>
                </c:pt>
                <c:pt idx="4222">
                  <c:v>7225350</c:v>
                </c:pt>
                <c:pt idx="4223">
                  <c:v>8013280</c:v>
                </c:pt>
                <c:pt idx="4224">
                  <c:v>442177400</c:v>
                </c:pt>
                <c:pt idx="4225">
                  <c:v>19642436</c:v>
                </c:pt>
                <c:pt idx="4226">
                  <c:v>10816989</c:v>
                </c:pt>
                <c:pt idx="4227">
                  <c:v>65743328</c:v>
                </c:pt>
                <c:pt idx="4228">
                  <c:v>12435732</c:v>
                </c:pt>
                <c:pt idx="4229">
                  <c:v>59109617</c:v>
                </c:pt>
                <c:pt idx="4230">
                  <c:v>23936988</c:v>
                </c:pt>
                <c:pt idx="4231">
                  <c:v>220041010</c:v>
                </c:pt>
                <c:pt idx="4232">
                  <c:v>183970374</c:v>
                </c:pt>
                <c:pt idx="4233">
                  <c:v>13779559</c:v>
                </c:pt>
                <c:pt idx="4234">
                  <c:v>15238314</c:v>
                </c:pt>
                <c:pt idx="4235">
                  <c:v>20619188</c:v>
                </c:pt>
                <c:pt idx="4236">
                  <c:v>486681656</c:v>
                </c:pt>
                <c:pt idx="4237">
                  <c:v>220964233</c:v>
                </c:pt>
                <c:pt idx="4238">
                  <c:v>45079580</c:v>
                </c:pt>
                <c:pt idx="4239">
                  <c:v>83997270</c:v>
                </c:pt>
                <c:pt idx="4240">
                  <c:v>10673520</c:v>
                </c:pt>
                <c:pt idx="4241">
                  <c:v>14876316</c:v>
                </c:pt>
                <c:pt idx="4242">
                  <c:v>1858628350</c:v>
                </c:pt>
                <c:pt idx="4243">
                  <c:v>628695173</c:v>
                </c:pt>
                <c:pt idx="4244">
                  <c:v>4822664</c:v>
                </c:pt>
                <c:pt idx="4245">
                  <c:v>894349720</c:v>
                </c:pt>
                <c:pt idx="4246">
                  <c:v>8018432</c:v>
                </c:pt>
                <c:pt idx="4247">
                  <c:v>316107792</c:v>
                </c:pt>
                <c:pt idx="4248">
                  <c:v>385112784</c:v>
                </c:pt>
                <c:pt idx="4249">
                  <c:v>8398740</c:v>
                </c:pt>
                <c:pt idx="4250">
                  <c:v>26052697</c:v>
                </c:pt>
                <c:pt idx="4251">
                  <c:v>24866952</c:v>
                </c:pt>
                <c:pt idx="4252">
                  <c:v>16745916</c:v>
                </c:pt>
                <c:pt idx="4253">
                  <c:v>37993662</c:v>
                </c:pt>
                <c:pt idx="4254">
                  <c:v>454186773</c:v>
                </c:pt>
                <c:pt idx="4255">
                  <c:v>795261600</c:v>
                </c:pt>
                <c:pt idx="4256">
                  <c:v>99151104</c:v>
                </c:pt>
                <c:pt idx="4257">
                  <c:v>14196736</c:v>
                </c:pt>
                <c:pt idx="4258">
                  <c:v>133133616</c:v>
                </c:pt>
                <c:pt idx="4259">
                  <c:v>52717426</c:v>
                </c:pt>
                <c:pt idx="4260">
                  <c:v>10729836</c:v>
                </c:pt>
                <c:pt idx="4261">
                  <c:v>26522356</c:v>
                </c:pt>
                <c:pt idx="4262">
                  <c:v>20891787</c:v>
                </c:pt>
                <c:pt idx="4263">
                  <c:v>9585774</c:v>
                </c:pt>
                <c:pt idx="4264">
                  <c:v>17108490</c:v>
                </c:pt>
                <c:pt idx="4265">
                  <c:v>89238936</c:v>
                </c:pt>
                <c:pt idx="4266">
                  <c:v>136056165</c:v>
                </c:pt>
                <c:pt idx="4267">
                  <c:v>9183171</c:v>
                </c:pt>
                <c:pt idx="4268">
                  <c:v>228404736</c:v>
                </c:pt>
                <c:pt idx="4269">
                  <c:v>8497041</c:v>
                </c:pt>
                <c:pt idx="4270">
                  <c:v>31899744</c:v>
                </c:pt>
                <c:pt idx="4271">
                  <c:v>36954052</c:v>
                </c:pt>
                <c:pt idx="4272">
                  <c:v>31072228</c:v>
                </c:pt>
                <c:pt idx="4273">
                  <c:v>249450458</c:v>
                </c:pt>
                <c:pt idx="4274">
                  <c:v>24247727</c:v>
                </c:pt>
                <c:pt idx="4275">
                  <c:v>22239516</c:v>
                </c:pt>
                <c:pt idx="4276">
                  <c:v>10858652</c:v>
                </c:pt>
                <c:pt idx="4277">
                  <c:v>7007719</c:v>
                </c:pt>
                <c:pt idx="4278">
                  <c:v>95982425</c:v>
                </c:pt>
                <c:pt idx="4279">
                  <c:v>929964228</c:v>
                </c:pt>
                <c:pt idx="4280">
                  <c:v>6073920</c:v>
                </c:pt>
                <c:pt idx="4281">
                  <c:v>6936408</c:v>
                </c:pt>
                <c:pt idx="4282">
                  <c:v>106608280</c:v>
                </c:pt>
                <c:pt idx="4283">
                  <c:v>11157300</c:v>
                </c:pt>
                <c:pt idx="4284">
                  <c:v>272854902</c:v>
                </c:pt>
                <c:pt idx="4285">
                  <c:v>4731870</c:v>
                </c:pt>
                <c:pt idx="4286">
                  <c:v>64310757</c:v>
                </c:pt>
                <c:pt idx="4287">
                  <c:v>54597392</c:v>
                </c:pt>
                <c:pt idx="4288">
                  <c:v>45259760</c:v>
                </c:pt>
                <c:pt idx="4289">
                  <c:v>4891488</c:v>
                </c:pt>
                <c:pt idx="4290">
                  <c:v>100481850</c:v>
                </c:pt>
                <c:pt idx="4291">
                  <c:v>33292215</c:v>
                </c:pt>
                <c:pt idx="4292">
                  <c:v>3150600</c:v>
                </c:pt>
                <c:pt idx="4293">
                  <c:v>37598640</c:v>
                </c:pt>
                <c:pt idx="4294">
                  <c:v>6413235</c:v>
                </c:pt>
                <c:pt idx="4295">
                  <c:v>10598784</c:v>
                </c:pt>
                <c:pt idx="4296">
                  <c:v>2683814</c:v>
                </c:pt>
                <c:pt idx="4297">
                  <c:v>3470008</c:v>
                </c:pt>
                <c:pt idx="4298">
                  <c:v>9477000</c:v>
                </c:pt>
                <c:pt idx="4299">
                  <c:v>1605607</c:v>
                </c:pt>
                <c:pt idx="4300">
                  <c:v>23048228</c:v>
                </c:pt>
                <c:pt idx="4301">
                  <c:v>6897550</c:v>
                </c:pt>
                <c:pt idx="4302">
                  <c:v>43180584</c:v>
                </c:pt>
                <c:pt idx="4303">
                  <c:v>182735595</c:v>
                </c:pt>
                <c:pt idx="4304">
                  <c:v>8621184</c:v>
                </c:pt>
                <c:pt idx="4305">
                  <c:v>3925519</c:v>
                </c:pt>
                <c:pt idx="4306">
                  <c:v>29862827</c:v>
                </c:pt>
                <c:pt idx="4307">
                  <c:v>77121378</c:v>
                </c:pt>
                <c:pt idx="4308">
                  <c:v>2852080</c:v>
                </c:pt>
                <c:pt idx="4309">
                  <c:v>2532978</c:v>
                </c:pt>
                <c:pt idx="4310">
                  <c:v>25210296</c:v>
                </c:pt>
                <c:pt idx="4311">
                  <c:v>51813432</c:v>
                </c:pt>
                <c:pt idx="4312">
                  <c:v>357358604</c:v>
                </c:pt>
                <c:pt idx="4313">
                  <c:v>4553270</c:v>
                </c:pt>
                <c:pt idx="4314">
                  <c:v>23084670</c:v>
                </c:pt>
                <c:pt idx="4315">
                  <c:v>35528968</c:v>
                </c:pt>
                <c:pt idx="4316">
                  <c:v>10222856</c:v>
                </c:pt>
                <c:pt idx="4317">
                  <c:v>93139495</c:v>
                </c:pt>
                <c:pt idx="4318">
                  <c:v>16039504</c:v>
                </c:pt>
                <c:pt idx="4319">
                  <c:v>6014400</c:v>
                </c:pt>
                <c:pt idx="4320">
                  <c:v>5330962</c:v>
                </c:pt>
                <c:pt idx="4321">
                  <c:v>3067988</c:v>
                </c:pt>
                <c:pt idx="4322">
                  <c:v>2324012</c:v>
                </c:pt>
                <c:pt idx="4323">
                  <c:v>1916810</c:v>
                </c:pt>
                <c:pt idx="4324">
                  <c:v>3292000</c:v>
                </c:pt>
                <c:pt idx="4325">
                  <c:v>583011720</c:v>
                </c:pt>
                <c:pt idx="4326">
                  <c:v>2309713</c:v>
                </c:pt>
                <c:pt idx="4327">
                  <c:v>35816448</c:v>
                </c:pt>
                <c:pt idx="4328">
                  <c:v>138236619</c:v>
                </c:pt>
                <c:pt idx="4329">
                  <c:v>285066611</c:v>
                </c:pt>
                <c:pt idx="4330">
                  <c:v>8218680</c:v>
                </c:pt>
                <c:pt idx="4331">
                  <c:v>5937948</c:v>
                </c:pt>
                <c:pt idx="4332">
                  <c:v>35741295</c:v>
                </c:pt>
                <c:pt idx="4333">
                  <c:v>5999145</c:v>
                </c:pt>
                <c:pt idx="4334">
                  <c:v>104059189</c:v>
                </c:pt>
                <c:pt idx="4335">
                  <c:v>55650582</c:v>
                </c:pt>
                <c:pt idx="4336">
                  <c:v>3273907</c:v>
                </c:pt>
                <c:pt idx="4337">
                  <c:v>80183736</c:v>
                </c:pt>
                <c:pt idx="4338">
                  <c:v>129204207</c:v>
                </c:pt>
                <c:pt idx="4339">
                  <c:v>696192</c:v>
                </c:pt>
                <c:pt idx="4340">
                  <c:v>21842335</c:v>
                </c:pt>
                <c:pt idx="4341">
                  <c:v>36277440</c:v>
                </c:pt>
                <c:pt idx="4342">
                  <c:v>174952767</c:v>
                </c:pt>
                <c:pt idx="4343">
                  <c:v>181426240</c:v>
                </c:pt>
                <c:pt idx="4344">
                  <c:v>25748415</c:v>
                </c:pt>
                <c:pt idx="4345">
                  <c:v>415248033</c:v>
                </c:pt>
                <c:pt idx="4346">
                  <c:v>32312844</c:v>
                </c:pt>
                <c:pt idx="4347">
                  <c:v>3278280</c:v>
                </c:pt>
                <c:pt idx="4348">
                  <c:v>3643200</c:v>
                </c:pt>
                <c:pt idx="4349">
                  <c:v>50879500</c:v>
                </c:pt>
                <c:pt idx="4350">
                  <c:v>26412204</c:v>
                </c:pt>
                <c:pt idx="4351">
                  <c:v>4943514</c:v>
                </c:pt>
                <c:pt idx="4352">
                  <c:v>62142650</c:v>
                </c:pt>
                <c:pt idx="4353">
                  <c:v>36598800</c:v>
                </c:pt>
                <c:pt idx="4354">
                  <c:v>66792714</c:v>
                </c:pt>
                <c:pt idx="4355">
                  <c:v>254900720</c:v>
                </c:pt>
                <c:pt idx="4356">
                  <c:v>529936997</c:v>
                </c:pt>
                <c:pt idx="4357">
                  <c:v>695022576</c:v>
                </c:pt>
                <c:pt idx="4358">
                  <c:v>206232960</c:v>
                </c:pt>
                <c:pt idx="4359">
                  <c:v>139385380</c:v>
                </c:pt>
                <c:pt idx="4360">
                  <c:v>19263692</c:v>
                </c:pt>
                <c:pt idx="4361">
                  <c:v>8630271</c:v>
                </c:pt>
                <c:pt idx="4362">
                  <c:v>40979520</c:v>
                </c:pt>
                <c:pt idx="4363">
                  <c:v>24372306</c:v>
                </c:pt>
                <c:pt idx="4364">
                  <c:v>3889984</c:v>
                </c:pt>
                <c:pt idx="4365">
                  <c:v>77342652</c:v>
                </c:pt>
                <c:pt idx="4366">
                  <c:v>19970525</c:v>
                </c:pt>
                <c:pt idx="4367">
                  <c:v>73302960</c:v>
                </c:pt>
                <c:pt idx="4368">
                  <c:v>315343180</c:v>
                </c:pt>
                <c:pt idx="4369">
                  <c:v>81949594</c:v>
                </c:pt>
                <c:pt idx="4370">
                  <c:v>45049710</c:v>
                </c:pt>
                <c:pt idx="4371">
                  <c:v>66667060</c:v>
                </c:pt>
                <c:pt idx="4372">
                  <c:v>52007910</c:v>
                </c:pt>
                <c:pt idx="4373">
                  <c:v>59479794</c:v>
                </c:pt>
                <c:pt idx="4374">
                  <c:v>95470970</c:v>
                </c:pt>
                <c:pt idx="4375">
                  <c:v>94982982</c:v>
                </c:pt>
                <c:pt idx="4376">
                  <c:v>186621625</c:v>
                </c:pt>
                <c:pt idx="4377">
                  <c:v>12038400</c:v>
                </c:pt>
                <c:pt idx="4378">
                  <c:v>37331484</c:v>
                </c:pt>
                <c:pt idx="4379">
                  <c:v>60075059</c:v>
                </c:pt>
                <c:pt idx="4380">
                  <c:v>67167878</c:v>
                </c:pt>
                <c:pt idx="4381">
                  <c:v>69046548</c:v>
                </c:pt>
                <c:pt idx="4382">
                  <c:v>10491888</c:v>
                </c:pt>
                <c:pt idx="4383">
                  <c:v>60290956</c:v>
                </c:pt>
                <c:pt idx="4384">
                  <c:v>5819792</c:v>
                </c:pt>
                <c:pt idx="4385">
                  <c:v>23178520</c:v>
                </c:pt>
                <c:pt idx="4386">
                  <c:v>8131252</c:v>
                </c:pt>
                <c:pt idx="4387">
                  <c:v>311030265</c:v>
                </c:pt>
                <c:pt idx="4388">
                  <c:v>1380184862</c:v>
                </c:pt>
                <c:pt idx="4389">
                  <c:v>579712056</c:v>
                </c:pt>
                <c:pt idx="4390">
                  <c:v>42329979</c:v>
                </c:pt>
                <c:pt idx="4391">
                  <c:v>11982870</c:v>
                </c:pt>
                <c:pt idx="4392">
                  <c:v>129256100</c:v>
                </c:pt>
                <c:pt idx="4393">
                  <c:v>9937725</c:v>
                </c:pt>
                <c:pt idx="4394">
                  <c:v>171000340</c:v>
                </c:pt>
                <c:pt idx="4395">
                  <c:v>11128914</c:v>
                </c:pt>
                <c:pt idx="4396">
                  <c:v>61102587</c:v>
                </c:pt>
                <c:pt idx="4397">
                  <c:v>21509950</c:v>
                </c:pt>
                <c:pt idx="4398">
                  <c:v>6051552</c:v>
                </c:pt>
                <c:pt idx="4399">
                  <c:v>285418930</c:v>
                </c:pt>
                <c:pt idx="4400">
                  <c:v>60286016</c:v>
                </c:pt>
                <c:pt idx="4401">
                  <c:v>7577344</c:v>
                </c:pt>
                <c:pt idx="4402">
                  <c:v>188311420</c:v>
                </c:pt>
                <c:pt idx="4403">
                  <c:v>119150263</c:v>
                </c:pt>
                <c:pt idx="4404">
                  <c:v>26694030</c:v>
                </c:pt>
                <c:pt idx="4405">
                  <c:v>56897478</c:v>
                </c:pt>
                <c:pt idx="4406">
                  <c:v>31906154</c:v>
                </c:pt>
                <c:pt idx="4407">
                  <c:v>1101634680</c:v>
                </c:pt>
                <c:pt idx="4408">
                  <c:v>83226285</c:v>
                </c:pt>
                <c:pt idx="4409">
                  <c:v>31908240</c:v>
                </c:pt>
                <c:pt idx="4410">
                  <c:v>101627664</c:v>
                </c:pt>
                <c:pt idx="4411">
                  <c:v>78876660</c:v>
                </c:pt>
                <c:pt idx="4412">
                  <c:v>144722292</c:v>
                </c:pt>
                <c:pt idx="4413">
                  <c:v>10369150</c:v>
                </c:pt>
                <c:pt idx="4414">
                  <c:v>346695376</c:v>
                </c:pt>
                <c:pt idx="4415">
                  <c:v>160080796</c:v>
                </c:pt>
                <c:pt idx="4416">
                  <c:v>327953484</c:v>
                </c:pt>
                <c:pt idx="4417">
                  <c:v>427736250</c:v>
                </c:pt>
                <c:pt idx="4418">
                  <c:v>78825582</c:v>
                </c:pt>
                <c:pt idx="4419">
                  <c:v>336413665</c:v>
                </c:pt>
                <c:pt idx="4420">
                  <c:v>1781359975</c:v>
                </c:pt>
                <c:pt idx="4421">
                  <c:v>793036140</c:v>
                </c:pt>
                <c:pt idx="4422">
                  <c:v>131962784</c:v>
                </c:pt>
                <c:pt idx="4423">
                  <c:v>590666894</c:v>
                </c:pt>
                <c:pt idx="4424">
                  <c:v>18178952</c:v>
                </c:pt>
                <c:pt idx="4425">
                  <c:v>23424324</c:v>
                </c:pt>
                <c:pt idx="4426">
                  <c:v>58317434</c:v>
                </c:pt>
                <c:pt idx="4427">
                  <c:v>15832593</c:v>
                </c:pt>
                <c:pt idx="4428">
                  <c:v>17645595</c:v>
                </c:pt>
                <c:pt idx="4429">
                  <c:v>107608608</c:v>
                </c:pt>
                <c:pt idx="4430">
                  <c:v>70447383</c:v>
                </c:pt>
                <c:pt idx="4431">
                  <c:v>537791196</c:v>
                </c:pt>
                <c:pt idx="4432">
                  <c:v>66214008</c:v>
                </c:pt>
                <c:pt idx="4433">
                  <c:v>90440416</c:v>
                </c:pt>
                <c:pt idx="4434">
                  <c:v>104035800</c:v>
                </c:pt>
                <c:pt idx="4435">
                  <c:v>47582640</c:v>
                </c:pt>
                <c:pt idx="4436">
                  <c:v>466832325</c:v>
                </c:pt>
                <c:pt idx="4437">
                  <c:v>430636200</c:v>
                </c:pt>
                <c:pt idx="4438">
                  <c:v>53059136</c:v>
                </c:pt>
                <c:pt idx="4439">
                  <c:v>27508182</c:v>
                </c:pt>
                <c:pt idx="4440">
                  <c:v>50840504</c:v>
                </c:pt>
                <c:pt idx="4441">
                  <c:v>107244456</c:v>
                </c:pt>
                <c:pt idx="4442">
                  <c:v>19408088</c:v>
                </c:pt>
                <c:pt idx="4443">
                  <c:v>330600600</c:v>
                </c:pt>
                <c:pt idx="4444">
                  <c:v>10371360</c:v>
                </c:pt>
                <c:pt idx="4445">
                  <c:v>45513774</c:v>
                </c:pt>
                <c:pt idx="4446">
                  <c:v>169314840</c:v>
                </c:pt>
                <c:pt idx="4447">
                  <c:v>71235054</c:v>
                </c:pt>
                <c:pt idx="4448">
                  <c:v>82606755</c:v>
                </c:pt>
                <c:pt idx="4449">
                  <c:v>293020728</c:v>
                </c:pt>
                <c:pt idx="4450">
                  <c:v>600368405</c:v>
                </c:pt>
                <c:pt idx="4451">
                  <c:v>213473882</c:v>
                </c:pt>
                <c:pt idx="4452">
                  <c:v>2131404</c:v>
                </c:pt>
                <c:pt idx="4453">
                  <c:v>65178946</c:v>
                </c:pt>
                <c:pt idx="4454">
                  <c:v>59687162</c:v>
                </c:pt>
                <c:pt idx="4455">
                  <c:v>90932640</c:v>
                </c:pt>
                <c:pt idx="4456">
                  <c:v>86614388</c:v>
                </c:pt>
                <c:pt idx="4457">
                  <c:v>166538664</c:v>
                </c:pt>
                <c:pt idx="4458">
                  <c:v>21483280</c:v>
                </c:pt>
                <c:pt idx="4459">
                  <c:v>14140378</c:v>
                </c:pt>
                <c:pt idx="4460">
                  <c:v>529099737</c:v>
                </c:pt>
                <c:pt idx="4461">
                  <c:v>21352476</c:v>
                </c:pt>
                <c:pt idx="4462">
                  <c:v>1395498</c:v>
                </c:pt>
                <c:pt idx="4463">
                  <c:v>5705856</c:v>
                </c:pt>
                <c:pt idx="4464">
                  <c:v>2841216</c:v>
                </c:pt>
                <c:pt idx="4465">
                  <c:v>212148674</c:v>
                </c:pt>
                <c:pt idx="4466">
                  <c:v>31857132</c:v>
                </c:pt>
                <c:pt idx="4467">
                  <c:v>65441199</c:v>
                </c:pt>
                <c:pt idx="4468">
                  <c:v>2098290</c:v>
                </c:pt>
                <c:pt idx="4469">
                  <c:v>27113625</c:v>
                </c:pt>
                <c:pt idx="4470">
                  <c:v>223664916</c:v>
                </c:pt>
                <c:pt idx="4471">
                  <c:v>8808657</c:v>
                </c:pt>
                <c:pt idx="4472">
                  <c:v>216880125</c:v>
                </c:pt>
                <c:pt idx="4473">
                  <c:v>10243903</c:v>
                </c:pt>
                <c:pt idx="4474">
                  <c:v>104743295</c:v>
                </c:pt>
                <c:pt idx="4475">
                  <c:v>33190936</c:v>
                </c:pt>
                <c:pt idx="4476">
                  <c:v>41816502</c:v>
                </c:pt>
                <c:pt idx="4477">
                  <c:v>10790452</c:v>
                </c:pt>
                <c:pt idx="4478">
                  <c:v>25810720</c:v>
                </c:pt>
                <c:pt idx="4479">
                  <c:v>42164423</c:v>
                </c:pt>
                <c:pt idx="4480">
                  <c:v>118055016</c:v>
                </c:pt>
                <c:pt idx="4481">
                  <c:v>10270416</c:v>
                </c:pt>
                <c:pt idx="4482">
                  <c:v>5770216</c:v>
                </c:pt>
                <c:pt idx="4483">
                  <c:v>3688000</c:v>
                </c:pt>
                <c:pt idx="4484">
                  <c:v>70723008</c:v>
                </c:pt>
                <c:pt idx="4485">
                  <c:v>62882910</c:v>
                </c:pt>
                <c:pt idx="4486">
                  <c:v>8355774</c:v>
                </c:pt>
                <c:pt idx="4487">
                  <c:v>4464000</c:v>
                </c:pt>
                <c:pt idx="4488">
                  <c:v>95902112</c:v>
                </c:pt>
                <c:pt idx="4489">
                  <c:v>46538590</c:v>
                </c:pt>
                <c:pt idx="4490">
                  <c:v>28948191</c:v>
                </c:pt>
                <c:pt idx="4491">
                  <c:v>43791176</c:v>
                </c:pt>
                <c:pt idx="4492">
                  <c:v>53409888</c:v>
                </c:pt>
                <c:pt idx="4493">
                  <c:v>9793752</c:v>
                </c:pt>
                <c:pt idx="4494">
                  <c:v>101474100</c:v>
                </c:pt>
                <c:pt idx="4495">
                  <c:v>400918376</c:v>
                </c:pt>
                <c:pt idx="4496">
                  <c:v>13278150</c:v>
                </c:pt>
                <c:pt idx="4497">
                  <c:v>49120548</c:v>
                </c:pt>
                <c:pt idx="4498">
                  <c:v>149697888</c:v>
                </c:pt>
                <c:pt idx="4499">
                  <c:v>152391475</c:v>
                </c:pt>
                <c:pt idx="4500">
                  <c:v>32302745</c:v>
                </c:pt>
                <c:pt idx="4501">
                  <c:v>36623424</c:v>
                </c:pt>
                <c:pt idx="4502">
                  <c:v>1818405</c:v>
                </c:pt>
                <c:pt idx="4503">
                  <c:v>460697434</c:v>
                </c:pt>
                <c:pt idx="4504">
                  <c:v>11757855</c:v>
                </c:pt>
                <c:pt idx="4505">
                  <c:v>76065227</c:v>
                </c:pt>
                <c:pt idx="4506">
                  <c:v>5765442</c:v>
                </c:pt>
                <c:pt idx="4507">
                  <c:v>14469028</c:v>
                </c:pt>
                <c:pt idx="4508">
                  <c:v>1315001</c:v>
                </c:pt>
                <c:pt idx="4509">
                  <c:v>5264050</c:v>
                </c:pt>
                <c:pt idx="4510">
                  <c:v>13223351</c:v>
                </c:pt>
                <c:pt idx="4511">
                  <c:v>825866845</c:v>
                </c:pt>
                <c:pt idx="4512">
                  <c:v>45332066</c:v>
                </c:pt>
                <c:pt idx="4513">
                  <c:v>48237705</c:v>
                </c:pt>
                <c:pt idx="4514">
                  <c:v>65459264</c:v>
                </c:pt>
                <c:pt idx="4515">
                  <c:v>9898163</c:v>
                </c:pt>
                <c:pt idx="4516">
                  <c:v>144893346</c:v>
                </c:pt>
                <c:pt idx="4517">
                  <c:v>14475530</c:v>
                </c:pt>
                <c:pt idx="4518">
                  <c:v>98973018</c:v>
                </c:pt>
                <c:pt idx="4519">
                  <c:v>37734536</c:v>
                </c:pt>
                <c:pt idx="4520">
                  <c:v>56743037</c:v>
                </c:pt>
                <c:pt idx="4521">
                  <c:v>38020710</c:v>
                </c:pt>
                <c:pt idx="4522">
                  <c:v>7406882</c:v>
                </c:pt>
                <c:pt idx="4523">
                  <c:v>69676493</c:v>
                </c:pt>
                <c:pt idx="4524">
                  <c:v>255451068</c:v>
                </c:pt>
                <c:pt idx="4525">
                  <c:v>35249550</c:v>
                </c:pt>
                <c:pt idx="4526">
                  <c:v>29262785</c:v>
                </c:pt>
                <c:pt idx="4527">
                  <c:v>38153433</c:v>
                </c:pt>
                <c:pt idx="4528">
                  <c:v>528147180</c:v>
                </c:pt>
                <c:pt idx="4529">
                  <c:v>4066480</c:v>
                </c:pt>
                <c:pt idx="4530">
                  <c:v>74281250</c:v>
                </c:pt>
                <c:pt idx="4531">
                  <c:v>90235386</c:v>
                </c:pt>
                <c:pt idx="4532">
                  <c:v>44861470</c:v>
                </c:pt>
                <c:pt idx="4533">
                  <c:v>113818190</c:v>
                </c:pt>
                <c:pt idx="4534">
                  <c:v>21092472</c:v>
                </c:pt>
                <c:pt idx="4535">
                  <c:v>173490320</c:v>
                </c:pt>
                <c:pt idx="4536">
                  <c:v>73125202</c:v>
                </c:pt>
                <c:pt idx="4537">
                  <c:v>17194796</c:v>
                </c:pt>
                <c:pt idx="4538">
                  <c:v>88459182</c:v>
                </c:pt>
                <c:pt idx="4539">
                  <c:v>304660944</c:v>
                </c:pt>
                <c:pt idx="4540">
                  <c:v>69576354</c:v>
                </c:pt>
                <c:pt idx="4541">
                  <c:v>42770179</c:v>
                </c:pt>
                <c:pt idx="4542">
                  <c:v>336431404</c:v>
                </c:pt>
                <c:pt idx="4543">
                  <c:v>392164542</c:v>
                </c:pt>
                <c:pt idx="4544">
                  <c:v>291923016</c:v>
                </c:pt>
                <c:pt idx="4545">
                  <c:v>9942966</c:v>
                </c:pt>
                <c:pt idx="4546">
                  <c:v>76174038</c:v>
                </c:pt>
                <c:pt idx="4547">
                  <c:v>6193695</c:v>
                </c:pt>
                <c:pt idx="4548">
                  <c:v>115060440</c:v>
                </c:pt>
                <c:pt idx="4549">
                  <c:v>119144897</c:v>
                </c:pt>
                <c:pt idx="4550">
                  <c:v>116729600</c:v>
                </c:pt>
                <c:pt idx="4551">
                  <c:v>4023096</c:v>
                </c:pt>
                <c:pt idx="4552">
                  <c:v>410820280</c:v>
                </c:pt>
                <c:pt idx="4553">
                  <c:v>7872196</c:v>
                </c:pt>
                <c:pt idx="4554">
                  <c:v>145951652</c:v>
                </c:pt>
                <c:pt idx="4555">
                  <c:v>54575124</c:v>
                </c:pt>
                <c:pt idx="4556">
                  <c:v>40599136</c:v>
                </c:pt>
                <c:pt idx="4557">
                  <c:v>15625740</c:v>
                </c:pt>
                <c:pt idx="4558">
                  <c:v>207314093</c:v>
                </c:pt>
                <c:pt idx="4559">
                  <c:v>24797511</c:v>
                </c:pt>
                <c:pt idx="4560">
                  <c:v>20188615</c:v>
                </c:pt>
                <c:pt idx="4561">
                  <c:v>323988093</c:v>
                </c:pt>
                <c:pt idx="4562">
                  <c:v>90421734</c:v>
                </c:pt>
                <c:pt idx="4563">
                  <c:v>25620427</c:v>
                </c:pt>
                <c:pt idx="4564">
                  <c:v>306687770</c:v>
                </c:pt>
                <c:pt idx="4565">
                  <c:v>225266132</c:v>
                </c:pt>
                <c:pt idx="4566">
                  <c:v>379455626</c:v>
                </c:pt>
                <c:pt idx="4567">
                  <c:v>732212256</c:v>
                </c:pt>
                <c:pt idx="4568">
                  <c:v>1031198280</c:v>
                </c:pt>
                <c:pt idx="4569">
                  <c:v>159077502</c:v>
                </c:pt>
                <c:pt idx="4570">
                  <c:v>448529328</c:v>
                </c:pt>
                <c:pt idx="4571">
                  <c:v>951905797</c:v>
                </c:pt>
                <c:pt idx="4572">
                  <c:v>722788656</c:v>
                </c:pt>
                <c:pt idx="4573">
                  <c:v>337836800</c:v>
                </c:pt>
                <c:pt idx="4574">
                  <c:v>913278751</c:v>
                </c:pt>
                <c:pt idx="4575">
                  <c:v>750235425</c:v>
                </c:pt>
                <c:pt idx="4576">
                  <c:v>71533520</c:v>
                </c:pt>
                <c:pt idx="4577">
                  <c:v>49943400</c:v>
                </c:pt>
                <c:pt idx="4578">
                  <c:v>2862396</c:v>
                </c:pt>
                <c:pt idx="4579">
                  <c:v>77532750</c:v>
                </c:pt>
                <c:pt idx="4580">
                  <c:v>8704917</c:v>
                </c:pt>
                <c:pt idx="4581">
                  <c:v>7823451</c:v>
                </c:pt>
                <c:pt idx="4582">
                  <c:v>19791485</c:v>
                </c:pt>
                <c:pt idx="4583">
                  <c:v>2481300</c:v>
                </c:pt>
                <c:pt idx="4584">
                  <c:v>13851850</c:v>
                </c:pt>
                <c:pt idx="4585">
                  <c:v>6167576</c:v>
                </c:pt>
                <c:pt idx="4586">
                  <c:v>94154640</c:v>
                </c:pt>
                <c:pt idx="4587">
                  <c:v>52966395</c:v>
                </c:pt>
                <c:pt idx="4588">
                  <c:v>128315990</c:v>
                </c:pt>
                <c:pt idx="4589">
                  <c:v>6971938</c:v>
                </c:pt>
                <c:pt idx="4590">
                  <c:v>6988392</c:v>
                </c:pt>
                <c:pt idx="4591">
                  <c:v>16610814</c:v>
                </c:pt>
                <c:pt idx="4592">
                  <c:v>435004491</c:v>
                </c:pt>
                <c:pt idx="4593">
                  <c:v>30624451</c:v>
                </c:pt>
                <c:pt idx="4594">
                  <c:v>72239649</c:v>
                </c:pt>
                <c:pt idx="4595">
                  <c:v>2252998</c:v>
                </c:pt>
                <c:pt idx="4596">
                  <c:v>36985159</c:v>
                </c:pt>
                <c:pt idx="4597">
                  <c:v>25655850</c:v>
                </c:pt>
                <c:pt idx="4598">
                  <c:v>69089895</c:v>
                </c:pt>
                <c:pt idx="4599">
                  <c:v>62318764</c:v>
                </c:pt>
                <c:pt idx="4600">
                  <c:v>25733694</c:v>
                </c:pt>
                <c:pt idx="4601">
                  <c:v>545516439</c:v>
                </c:pt>
                <c:pt idx="4602">
                  <c:v>38165160</c:v>
                </c:pt>
                <c:pt idx="4603">
                  <c:v>100592382</c:v>
                </c:pt>
                <c:pt idx="4604">
                  <c:v>402593916</c:v>
                </c:pt>
                <c:pt idx="4605">
                  <c:v>38322050</c:v>
                </c:pt>
                <c:pt idx="4606">
                  <c:v>26109720</c:v>
                </c:pt>
                <c:pt idx="4607">
                  <c:v>35996476</c:v>
                </c:pt>
                <c:pt idx="4608">
                  <c:v>3756529</c:v>
                </c:pt>
                <c:pt idx="4609">
                  <c:v>22038289</c:v>
                </c:pt>
                <c:pt idx="4610">
                  <c:v>166637544</c:v>
                </c:pt>
                <c:pt idx="4611">
                  <c:v>52416540</c:v>
                </c:pt>
                <c:pt idx="4612">
                  <c:v>12414080</c:v>
                </c:pt>
                <c:pt idx="4613">
                  <c:v>73654814</c:v>
                </c:pt>
                <c:pt idx="4614">
                  <c:v>33318069</c:v>
                </c:pt>
                <c:pt idx="4615">
                  <c:v>94471060</c:v>
                </c:pt>
                <c:pt idx="4616">
                  <c:v>55871454</c:v>
                </c:pt>
                <c:pt idx="4617">
                  <c:v>1633599</c:v>
                </c:pt>
                <c:pt idx="4618">
                  <c:v>11468880</c:v>
                </c:pt>
                <c:pt idx="4619">
                  <c:v>6529512</c:v>
                </c:pt>
                <c:pt idx="4620">
                  <c:v>161216976</c:v>
                </c:pt>
                <c:pt idx="4621">
                  <c:v>10719415</c:v>
                </c:pt>
                <c:pt idx="4622">
                  <c:v>6246520</c:v>
                </c:pt>
                <c:pt idx="4623">
                  <c:v>60044500</c:v>
                </c:pt>
                <c:pt idx="4624">
                  <c:v>11423982</c:v>
                </c:pt>
                <c:pt idx="4625">
                  <c:v>9925240</c:v>
                </c:pt>
                <c:pt idx="4626">
                  <c:v>9423440</c:v>
                </c:pt>
                <c:pt idx="4627">
                  <c:v>11131668</c:v>
                </c:pt>
                <c:pt idx="4628">
                  <c:v>388128496</c:v>
                </c:pt>
                <c:pt idx="4629">
                  <c:v>9376479</c:v>
                </c:pt>
                <c:pt idx="4630">
                  <c:v>10398500</c:v>
                </c:pt>
                <c:pt idx="4631">
                  <c:v>22865756</c:v>
                </c:pt>
                <c:pt idx="4632">
                  <c:v>105882041</c:v>
                </c:pt>
                <c:pt idx="4633">
                  <c:v>5409547</c:v>
                </c:pt>
                <c:pt idx="4634">
                  <c:v>25273556</c:v>
                </c:pt>
                <c:pt idx="4635">
                  <c:v>449037082</c:v>
                </c:pt>
                <c:pt idx="4636">
                  <c:v>28133937</c:v>
                </c:pt>
                <c:pt idx="4637">
                  <c:v>17798076</c:v>
                </c:pt>
                <c:pt idx="4638">
                  <c:v>17161976</c:v>
                </c:pt>
                <c:pt idx="4639">
                  <c:v>71682336</c:v>
                </c:pt>
                <c:pt idx="4640">
                  <c:v>4447989</c:v>
                </c:pt>
                <c:pt idx="4641">
                  <c:v>2689716</c:v>
                </c:pt>
                <c:pt idx="4642">
                  <c:v>5608865</c:v>
                </c:pt>
                <c:pt idx="4643">
                  <c:v>163593716</c:v>
                </c:pt>
                <c:pt idx="4644">
                  <c:v>34637892</c:v>
                </c:pt>
                <c:pt idx="4645">
                  <c:v>20361792</c:v>
                </c:pt>
                <c:pt idx="4646">
                  <c:v>111003282</c:v>
                </c:pt>
                <c:pt idx="4647">
                  <c:v>5881380</c:v>
                </c:pt>
                <c:pt idx="4648">
                  <c:v>17114720</c:v>
                </c:pt>
                <c:pt idx="4649">
                  <c:v>28269345</c:v>
                </c:pt>
                <c:pt idx="4650">
                  <c:v>62853000</c:v>
                </c:pt>
                <c:pt idx="4651">
                  <c:v>118384916</c:v>
                </c:pt>
                <c:pt idx="4652">
                  <c:v>22421420</c:v>
                </c:pt>
                <c:pt idx="4653">
                  <c:v>1387488696</c:v>
                </c:pt>
                <c:pt idx="4654">
                  <c:v>931281120</c:v>
                </c:pt>
                <c:pt idx="4655">
                  <c:v>40757808</c:v>
                </c:pt>
                <c:pt idx="4656">
                  <c:v>54085942</c:v>
                </c:pt>
                <c:pt idx="4657">
                  <c:v>908007708</c:v>
                </c:pt>
                <c:pt idx="4658">
                  <c:v>12662518</c:v>
                </c:pt>
                <c:pt idx="4659">
                  <c:v>238470885</c:v>
                </c:pt>
                <c:pt idx="4660">
                  <c:v>183770680</c:v>
                </c:pt>
                <c:pt idx="4661">
                  <c:v>391766491</c:v>
                </c:pt>
                <c:pt idx="4662">
                  <c:v>8832588</c:v>
                </c:pt>
                <c:pt idx="4663">
                  <c:v>144995061</c:v>
                </c:pt>
                <c:pt idx="4664">
                  <c:v>19835478</c:v>
                </c:pt>
                <c:pt idx="4665">
                  <c:v>6867090</c:v>
                </c:pt>
                <c:pt idx="4666">
                  <c:v>28900300</c:v>
                </c:pt>
                <c:pt idx="4667">
                  <c:v>47637898</c:v>
                </c:pt>
                <c:pt idx="4668">
                  <c:v>8836362</c:v>
                </c:pt>
                <c:pt idx="4669">
                  <c:v>10819488</c:v>
                </c:pt>
                <c:pt idx="4670">
                  <c:v>195438950</c:v>
                </c:pt>
                <c:pt idx="4671">
                  <c:v>10987002</c:v>
                </c:pt>
                <c:pt idx="4672">
                  <c:v>75375408</c:v>
                </c:pt>
                <c:pt idx="4673">
                  <c:v>22446240</c:v>
                </c:pt>
                <c:pt idx="4674">
                  <c:v>14715120</c:v>
                </c:pt>
                <c:pt idx="4675">
                  <c:v>6344520</c:v>
                </c:pt>
                <c:pt idx="4676">
                  <c:v>47582073</c:v>
                </c:pt>
                <c:pt idx="4677">
                  <c:v>5335770</c:v>
                </c:pt>
                <c:pt idx="4678">
                  <c:v>19562654</c:v>
                </c:pt>
                <c:pt idx="4679">
                  <c:v>103619180</c:v>
                </c:pt>
                <c:pt idx="4680">
                  <c:v>15130200</c:v>
                </c:pt>
                <c:pt idx="4681">
                  <c:v>12873630</c:v>
                </c:pt>
                <c:pt idx="4682">
                  <c:v>5569900</c:v>
                </c:pt>
                <c:pt idx="4683">
                  <c:v>14847300</c:v>
                </c:pt>
                <c:pt idx="4684">
                  <c:v>2140614</c:v>
                </c:pt>
                <c:pt idx="4685">
                  <c:v>50679291</c:v>
                </c:pt>
                <c:pt idx="4686">
                  <c:v>236973048</c:v>
                </c:pt>
                <c:pt idx="4687">
                  <c:v>55792880</c:v>
                </c:pt>
                <c:pt idx="4688">
                  <c:v>453335840</c:v>
                </c:pt>
                <c:pt idx="4689">
                  <c:v>2040600</c:v>
                </c:pt>
                <c:pt idx="4690">
                  <c:v>26895132</c:v>
                </c:pt>
                <c:pt idx="4691">
                  <c:v>33094056</c:v>
                </c:pt>
                <c:pt idx="4692">
                  <c:v>126603640</c:v>
                </c:pt>
                <c:pt idx="4693">
                  <c:v>4903446</c:v>
                </c:pt>
                <c:pt idx="4694">
                  <c:v>71088465</c:v>
                </c:pt>
                <c:pt idx="4695">
                  <c:v>49753308</c:v>
                </c:pt>
                <c:pt idx="4696">
                  <c:v>9488700</c:v>
                </c:pt>
                <c:pt idx="4697">
                  <c:v>64529586</c:v>
                </c:pt>
                <c:pt idx="4698">
                  <c:v>11677666</c:v>
                </c:pt>
                <c:pt idx="4699">
                  <c:v>310653135</c:v>
                </c:pt>
                <c:pt idx="4700">
                  <c:v>2063698</c:v>
                </c:pt>
                <c:pt idx="4701">
                  <c:v>7568130</c:v>
                </c:pt>
                <c:pt idx="4702">
                  <c:v>68503112</c:v>
                </c:pt>
                <c:pt idx="4703">
                  <c:v>70200749</c:v>
                </c:pt>
                <c:pt idx="4704">
                  <c:v>167326768</c:v>
                </c:pt>
                <c:pt idx="4705">
                  <c:v>33079986</c:v>
                </c:pt>
                <c:pt idx="4706">
                  <c:v>48717724</c:v>
                </c:pt>
                <c:pt idx="4707">
                  <c:v>13925292</c:v>
                </c:pt>
                <c:pt idx="4708">
                  <c:v>43800372</c:v>
                </c:pt>
                <c:pt idx="4709">
                  <c:v>30945075</c:v>
                </c:pt>
                <c:pt idx="4710">
                  <c:v>94038916</c:v>
                </c:pt>
                <c:pt idx="4711">
                  <c:v>29366880</c:v>
                </c:pt>
                <c:pt idx="4712">
                  <c:v>12047112</c:v>
                </c:pt>
                <c:pt idx="4713">
                  <c:v>38731056</c:v>
                </c:pt>
                <c:pt idx="4714">
                  <c:v>68413158</c:v>
                </c:pt>
                <c:pt idx="4715">
                  <c:v>35782340</c:v>
                </c:pt>
                <c:pt idx="4716">
                  <c:v>19839510</c:v>
                </c:pt>
                <c:pt idx="4717">
                  <c:v>173143676</c:v>
                </c:pt>
                <c:pt idx="4718">
                  <c:v>39765117</c:v>
                </c:pt>
                <c:pt idx="4719">
                  <c:v>63372638</c:v>
                </c:pt>
                <c:pt idx="4720">
                  <c:v>26296620</c:v>
                </c:pt>
                <c:pt idx="4721">
                  <c:v>6020520</c:v>
                </c:pt>
                <c:pt idx="4722">
                  <c:v>1457112</c:v>
                </c:pt>
                <c:pt idx="4723">
                  <c:v>2096416</c:v>
                </c:pt>
                <c:pt idx="4724">
                  <c:v>19882200</c:v>
                </c:pt>
                <c:pt idx="4725">
                  <c:v>11512867</c:v>
                </c:pt>
                <c:pt idx="4726">
                  <c:v>64006258</c:v>
                </c:pt>
                <c:pt idx="4727">
                  <c:v>114018490</c:v>
                </c:pt>
                <c:pt idx="4728">
                  <c:v>38916926</c:v>
                </c:pt>
                <c:pt idx="4729">
                  <c:v>77713179</c:v>
                </c:pt>
                <c:pt idx="4730">
                  <c:v>13609062</c:v>
                </c:pt>
                <c:pt idx="4731">
                  <c:v>376821322</c:v>
                </c:pt>
                <c:pt idx="4732">
                  <c:v>134588560</c:v>
                </c:pt>
                <c:pt idx="4733">
                  <c:v>8288766</c:v>
                </c:pt>
                <c:pt idx="4734">
                  <c:v>24776544</c:v>
                </c:pt>
                <c:pt idx="4735">
                  <c:v>229816811</c:v>
                </c:pt>
                <c:pt idx="4736">
                  <c:v>53261194</c:v>
                </c:pt>
                <c:pt idx="4737">
                  <c:v>1372169754</c:v>
                </c:pt>
                <c:pt idx="4738">
                  <c:v>1151463196</c:v>
                </c:pt>
                <c:pt idx="4739">
                  <c:v>7269120</c:v>
                </c:pt>
                <c:pt idx="4740">
                  <c:v>1041650775</c:v>
                </c:pt>
                <c:pt idx="4741">
                  <c:v>47177553</c:v>
                </c:pt>
                <c:pt idx="4742">
                  <c:v>164691900</c:v>
                </c:pt>
                <c:pt idx="4743">
                  <c:v>726412308</c:v>
                </c:pt>
                <c:pt idx="4744">
                  <c:v>318131008</c:v>
                </c:pt>
                <c:pt idx="4745">
                  <c:v>29290956</c:v>
                </c:pt>
                <c:pt idx="4746">
                  <c:v>1099506639</c:v>
                </c:pt>
                <c:pt idx="4747">
                  <c:v>98482140</c:v>
                </c:pt>
                <c:pt idx="4748">
                  <c:v>64367022</c:v>
                </c:pt>
                <c:pt idx="4749">
                  <c:v>694242764</c:v>
                </c:pt>
                <c:pt idx="4750">
                  <c:v>135611146</c:v>
                </c:pt>
                <c:pt idx="4751">
                  <c:v>14379768</c:v>
                </c:pt>
                <c:pt idx="4752">
                  <c:v>134770482</c:v>
                </c:pt>
                <c:pt idx="4753">
                  <c:v>14145747</c:v>
                </c:pt>
                <c:pt idx="4754">
                  <c:v>262983812</c:v>
                </c:pt>
                <c:pt idx="4755">
                  <c:v>648510940</c:v>
                </c:pt>
                <c:pt idx="4756">
                  <c:v>66971667</c:v>
                </c:pt>
                <c:pt idx="4757">
                  <c:v>19155675</c:v>
                </c:pt>
                <c:pt idx="4758">
                  <c:v>1220297472</c:v>
                </c:pt>
                <c:pt idx="4759">
                  <c:v>19922576</c:v>
                </c:pt>
                <c:pt idx="4760">
                  <c:v>244587252</c:v>
                </c:pt>
                <c:pt idx="4761">
                  <c:v>85228208</c:v>
                </c:pt>
                <c:pt idx="4762">
                  <c:v>1300120600</c:v>
                </c:pt>
                <c:pt idx="4763">
                  <c:v>259553712</c:v>
                </c:pt>
                <c:pt idx="4764">
                  <c:v>534762768</c:v>
                </c:pt>
                <c:pt idx="4765">
                  <c:v>119321902</c:v>
                </c:pt>
                <c:pt idx="4766">
                  <c:v>798611073</c:v>
                </c:pt>
                <c:pt idx="4767">
                  <c:v>71151315</c:v>
                </c:pt>
                <c:pt idx="4768">
                  <c:v>109218780</c:v>
                </c:pt>
                <c:pt idx="4769">
                  <c:v>83524636</c:v>
                </c:pt>
                <c:pt idx="4770">
                  <c:v>2084775965</c:v>
                </c:pt>
                <c:pt idx="4771">
                  <c:v>125466725</c:v>
                </c:pt>
                <c:pt idx="4772">
                  <c:v>41795554</c:v>
                </c:pt>
                <c:pt idx="4773">
                  <c:v>215707866</c:v>
                </c:pt>
                <c:pt idx="4774">
                  <c:v>4769688</c:v>
                </c:pt>
                <c:pt idx="4775">
                  <c:v>1720873650</c:v>
                </c:pt>
                <c:pt idx="4776">
                  <c:v>830512866</c:v>
                </c:pt>
                <c:pt idx="4777">
                  <c:v>38112164</c:v>
                </c:pt>
                <c:pt idx="4778">
                  <c:v>220089584</c:v>
                </c:pt>
                <c:pt idx="4779">
                  <c:v>21913200</c:v>
                </c:pt>
                <c:pt idx="4780">
                  <c:v>204864864</c:v>
                </c:pt>
                <c:pt idx="4781">
                  <c:v>137607115</c:v>
                </c:pt>
                <c:pt idx="4782">
                  <c:v>97748147</c:v>
                </c:pt>
                <c:pt idx="4783">
                  <c:v>39944780</c:v>
                </c:pt>
                <c:pt idx="4784">
                  <c:v>131390768</c:v>
                </c:pt>
                <c:pt idx="4785">
                  <c:v>118775106</c:v>
                </c:pt>
                <c:pt idx="4786">
                  <c:v>508714809</c:v>
                </c:pt>
                <c:pt idx="4787">
                  <c:v>122794689</c:v>
                </c:pt>
                <c:pt idx="4788">
                  <c:v>9740016</c:v>
                </c:pt>
                <c:pt idx="4789">
                  <c:v>693226824</c:v>
                </c:pt>
                <c:pt idx="4790">
                  <c:v>3071500</c:v>
                </c:pt>
                <c:pt idx="4791">
                  <c:v>218987990</c:v>
                </c:pt>
                <c:pt idx="4792">
                  <c:v>232847742</c:v>
                </c:pt>
                <c:pt idx="4793">
                  <c:v>4764080</c:v>
                </c:pt>
                <c:pt idx="4794">
                  <c:v>826671651</c:v>
                </c:pt>
                <c:pt idx="4795">
                  <c:v>8587674</c:v>
                </c:pt>
                <c:pt idx="4796">
                  <c:v>78896468</c:v>
                </c:pt>
                <c:pt idx="4797">
                  <c:v>147504275</c:v>
                </c:pt>
                <c:pt idx="4798">
                  <c:v>55391406</c:v>
                </c:pt>
                <c:pt idx="4799">
                  <c:v>79813728</c:v>
                </c:pt>
                <c:pt idx="4800">
                  <c:v>24633106</c:v>
                </c:pt>
                <c:pt idx="4801">
                  <c:v>186705694</c:v>
                </c:pt>
                <c:pt idx="4802">
                  <c:v>28657377</c:v>
                </c:pt>
                <c:pt idx="4803">
                  <c:v>57381320</c:v>
                </c:pt>
                <c:pt idx="4804">
                  <c:v>22587495</c:v>
                </c:pt>
                <c:pt idx="4805">
                  <c:v>62659695</c:v>
                </c:pt>
                <c:pt idx="4806">
                  <c:v>37495952</c:v>
                </c:pt>
                <c:pt idx="4807">
                  <c:v>81794098</c:v>
                </c:pt>
                <c:pt idx="4808">
                  <c:v>288821806</c:v>
                </c:pt>
                <c:pt idx="4809">
                  <c:v>243667874</c:v>
                </c:pt>
                <c:pt idx="4810">
                  <c:v>395352816</c:v>
                </c:pt>
                <c:pt idx="4811">
                  <c:v>763909344</c:v>
                </c:pt>
                <c:pt idx="4812">
                  <c:v>1026965971</c:v>
                </c:pt>
                <c:pt idx="4813">
                  <c:v>1347438223</c:v>
                </c:pt>
                <c:pt idx="4814">
                  <c:v>1736961288</c:v>
                </c:pt>
                <c:pt idx="4815">
                  <c:v>296002098</c:v>
                </c:pt>
                <c:pt idx="4816">
                  <c:v>808408018</c:v>
                </c:pt>
                <c:pt idx="4817">
                  <c:v>1227757904</c:v>
                </c:pt>
                <c:pt idx="4818">
                  <c:v>5630637</c:v>
                </c:pt>
                <c:pt idx="4819">
                  <c:v>10735857</c:v>
                </c:pt>
                <c:pt idx="4820">
                  <c:v>20356858</c:v>
                </c:pt>
                <c:pt idx="4821">
                  <c:v>22423380</c:v>
                </c:pt>
                <c:pt idx="4822">
                  <c:v>32642695</c:v>
                </c:pt>
                <c:pt idx="4823">
                  <c:v>5116320</c:v>
                </c:pt>
                <c:pt idx="4824">
                  <c:v>9884268</c:v>
                </c:pt>
                <c:pt idx="4825">
                  <c:v>18382656</c:v>
                </c:pt>
                <c:pt idx="4826">
                  <c:v>345592574</c:v>
                </c:pt>
                <c:pt idx="4827">
                  <c:v>6483360</c:v>
                </c:pt>
                <c:pt idx="4828">
                  <c:v>77804459</c:v>
                </c:pt>
                <c:pt idx="4829">
                  <c:v>750227134</c:v>
                </c:pt>
                <c:pt idx="4830">
                  <c:v>30760473</c:v>
                </c:pt>
                <c:pt idx="4831">
                  <c:v>39411612</c:v>
                </c:pt>
                <c:pt idx="4832">
                  <c:v>141094764</c:v>
                </c:pt>
                <c:pt idx="4833">
                  <c:v>17329284</c:v>
                </c:pt>
                <c:pt idx="4834">
                  <c:v>251944140</c:v>
                </c:pt>
                <c:pt idx="4835">
                  <c:v>49306269</c:v>
                </c:pt>
                <c:pt idx="4836">
                  <c:v>57600860</c:v>
                </c:pt>
                <c:pt idx="4837">
                  <c:v>4864990</c:v>
                </c:pt>
                <c:pt idx="4838">
                  <c:v>112838205</c:v>
                </c:pt>
                <c:pt idx="4839">
                  <c:v>337907466</c:v>
                </c:pt>
                <c:pt idx="4840">
                  <c:v>36018036</c:v>
                </c:pt>
                <c:pt idx="4841">
                  <c:v>56635226</c:v>
                </c:pt>
                <c:pt idx="4842">
                  <c:v>9237276</c:v>
                </c:pt>
                <c:pt idx="4843">
                  <c:v>1841794</c:v>
                </c:pt>
                <c:pt idx="4844">
                  <c:v>99962800</c:v>
                </c:pt>
                <c:pt idx="4845">
                  <c:v>8368038</c:v>
                </c:pt>
                <c:pt idx="4846">
                  <c:v>15597911</c:v>
                </c:pt>
                <c:pt idx="4847">
                  <c:v>28294200</c:v>
                </c:pt>
                <c:pt idx="4848">
                  <c:v>844769500</c:v>
                </c:pt>
                <c:pt idx="4849">
                  <c:v>23079810</c:v>
                </c:pt>
                <c:pt idx="4850">
                  <c:v>25401600</c:v>
                </c:pt>
                <c:pt idx="4851">
                  <c:v>59414272</c:v>
                </c:pt>
                <c:pt idx="4852">
                  <c:v>11135232</c:v>
                </c:pt>
                <c:pt idx="4853">
                  <c:v>12455361</c:v>
                </c:pt>
                <c:pt idx="4854">
                  <c:v>93234240</c:v>
                </c:pt>
                <c:pt idx="4855">
                  <c:v>876804726</c:v>
                </c:pt>
                <c:pt idx="4856">
                  <c:v>14659968</c:v>
                </c:pt>
                <c:pt idx="4857">
                  <c:v>129768540</c:v>
                </c:pt>
                <c:pt idx="4858">
                  <c:v>93694293</c:v>
                </c:pt>
                <c:pt idx="4859">
                  <c:v>10439976</c:v>
                </c:pt>
                <c:pt idx="4860">
                  <c:v>96000000</c:v>
                </c:pt>
                <c:pt idx="4861">
                  <c:v>16512474</c:v>
                </c:pt>
                <c:pt idx="4862">
                  <c:v>179889831</c:v>
                </c:pt>
                <c:pt idx="4863">
                  <c:v>64976104</c:v>
                </c:pt>
                <c:pt idx="4864">
                  <c:v>5245074</c:v>
                </c:pt>
                <c:pt idx="4865">
                  <c:v>315864120</c:v>
                </c:pt>
                <c:pt idx="4866">
                  <c:v>182668303</c:v>
                </c:pt>
                <c:pt idx="4867">
                  <c:v>966114216</c:v>
                </c:pt>
                <c:pt idx="4868">
                  <c:v>325902714</c:v>
                </c:pt>
                <c:pt idx="4869">
                  <c:v>14733450</c:v>
                </c:pt>
                <c:pt idx="4870">
                  <c:v>12127712</c:v>
                </c:pt>
                <c:pt idx="4871">
                  <c:v>400069768</c:v>
                </c:pt>
                <c:pt idx="4872">
                  <c:v>308453600</c:v>
                </c:pt>
                <c:pt idx="4873">
                  <c:v>91700000</c:v>
                </c:pt>
                <c:pt idx="4874">
                  <c:v>259002204</c:v>
                </c:pt>
                <c:pt idx="4875">
                  <c:v>2588400</c:v>
                </c:pt>
                <c:pt idx="4876">
                  <c:v>126893760</c:v>
                </c:pt>
                <c:pt idx="4877">
                  <c:v>1010563796</c:v>
                </c:pt>
                <c:pt idx="4878">
                  <c:v>306917405</c:v>
                </c:pt>
                <c:pt idx="4879">
                  <c:v>107254638</c:v>
                </c:pt>
                <c:pt idx="4880">
                  <c:v>1820072779</c:v>
                </c:pt>
                <c:pt idx="4881">
                  <c:v>285040008</c:v>
                </c:pt>
                <c:pt idx="4882">
                  <c:v>378911248</c:v>
                </c:pt>
                <c:pt idx="4883">
                  <c:v>16876358</c:v>
                </c:pt>
                <c:pt idx="4884">
                  <c:v>100547865</c:v>
                </c:pt>
                <c:pt idx="4885">
                  <c:v>274452710</c:v>
                </c:pt>
                <c:pt idx="4886">
                  <c:v>237350968</c:v>
                </c:pt>
                <c:pt idx="4887">
                  <c:v>351718660</c:v>
                </c:pt>
                <c:pt idx="4888">
                  <c:v>417662784</c:v>
                </c:pt>
                <c:pt idx="4889">
                  <c:v>51393537</c:v>
                </c:pt>
                <c:pt idx="4890">
                  <c:v>95586549</c:v>
                </c:pt>
                <c:pt idx="4891">
                  <c:v>13541736</c:v>
                </c:pt>
                <c:pt idx="4892">
                  <c:v>833707440</c:v>
                </c:pt>
                <c:pt idx="4893">
                  <c:v>231533946</c:v>
                </c:pt>
                <c:pt idx="4894">
                  <c:v>257319462</c:v>
                </c:pt>
                <c:pt idx="4895">
                  <c:v>528966810</c:v>
                </c:pt>
                <c:pt idx="4896">
                  <c:v>359597055</c:v>
                </c:pt>
                <c:pt idx="4897">
                  <c:v>105591018</c:v>
                </c:pt>
                <c:pt idx="4898">
                  <c:v>129317364</c:v>
                </c:pt>
                <c:pt idx="4899">
                  <c:v>192646328</c:v>
                </c:pt>
                <c:pt idx="4900">
                  <c:v>212444225</c:v>
                </c:pt>
                <c:pt idx="4901">
                  <c:v>203042345</c:v>
                </c:pt>
                <c:pt idx="4902">
                  <c:v>11606214</c:v>
                </c:pt>
                <c:pt idx="4903">
                  <c:v>112915854</c:v>
                </c:pt>
                <c:pt idx="4904">
                  <c:v>355279932</c:v>
                </c:pt>
                <c:pt idx="4905">
                  <c:v>1311320197</c:v>
                </c:pt>
                <c:pt idx="4906">
                  <c:v>1256936889</c:v>
                </c:pt>
                <c:pt idx="4907">
                  <c:v>1232437655</c:v>
                </c:pt>
                <c:pt idx="4908">
                  <c:v>865633270</c:v>
                </c:pt>
                <c:pt idx="4909">
                  <c:v>103375498</c:v>
                </c:pt>
                <c:pt idx="4910">
                  <c:v>900922975</c:v>
                </c:pt>
                <c:pt idx="4911">
                  <c:v>149534450</c:v>
                </c:pt>
                <c:pt idx="4912">
                  <c:v>96303392</c:v>
                </c:pt>
                <c:pt idx="4913">
                  <c:v>41506535</c:v>
                </c:pt>
                <c:pt idx="4914">
                  <c:v>36004632</c:v>
                </c:pt>
                <c:pt idx="4915">
                  <c:v>141651288</c:v>
                </c:pt>
                <c:pt idx="4916">
                  <c:v>550681272</c:v>
                </c:pt>
                <c:pt idx="4917">
                  <c:v>189777735</c:v>
                </c:pt>
                <c:pt idx="4918">
                  <c:v>510020688</c:v>
                </c:pt>
                <c:pt idx="4919">
                  <c:v>49722750</c:v>
                </c:pt>
                <c:pt idx="4920">
                  <c:v>249027872</c:v>
                </c:pt>
                <c:pt idx="4921">
                  <c:v>174848388</c:v>
                </c:pt>
                <c:pt idx="4922">
                  <c:v>1086498675</c:v>
                </c:pt>
                <c:pt idx="4923">
                  <c:v>195166560</c:v>
                </c:pt>
                <c:pt idx="4924">
                  <c:v>117141552</c:v>
                </c:pt>
                <c:pt idx="4925">
                  <c:v>105718320</c:v>
                </c:pt>
                <c:pt idx="4926">
                  <c:v>88496749</c:v>
                </c:pt>
                <c:pt idx="4927">
                  <c:v>89978504</c:v>
                </c:pt>
                <c:pt idx="4928">
                  <c:v>297490752</c:v>
                </c:pt>
                <c:pt idx="4929">
                  <c:v>327291560</c:v>
                </c:pt>
                <c:pt idx="4930">
                  <c:v>2060722026</c:v>
                </c:pt>
                <c:pt idx="4931">
                  <c:v>796510584</c:v>
                </c:pt>
                <c:pt idx="4932">
                  <c:v>279510120</c:v>
                </c:pt>
                <c:pt idx="4933">
                  <c:v>16635862</c:v>
                </c:pt>
                <c:pt idx="4934">
                  <c:v>289648169</c:v>
                </c:pt>
                <c:pt idx="4935">
                  <c:v>787744168</c:v>
                </c:pt>
                <c:pt idx="4936">
                  <c:v>261387669</c:v>
                </c:pt>
                <c:pt idx="4937">
                  <c:v>243694048</c:v>
                </c:pt>
                <c:pt idx="4938">
                  <c:v>463359840</c:v>
                </c:pt>
                <c:pt idx="4939">
                  <c:v>147498435</c:v>
                </c:pt>
                <c:pt idx="4940">
                  <c:v>126245934</c:v>
                </c:pt>
                <c:pt idx="4941">
                  <c:v>99878472</c:v>
                </c:pt>
                <c:pt idx="4942">
                  <c:v>92820546</c:v>
                </c:pt>
                <c:pt idx="4943">
                  <c:v>367494372</c:v>
                </c:pt>
                <c:pt idx="4944">
                  <c:v>231133460</c:v>
                </c:pt>
                <c:pt idx="4945">
                  <c:v>9873053</c:v>
                </c:pt>
                <c:pt idx="4946">
                  <c:v>115279164</c:v>
                </c:pt>
                <c:pt idx="4947">
                  <c:v>216922720</c:v>
                </c:pt>
                <c:pt idx="4948">
                  <c:v>206120712</c:v>
                </c:pt>
                <c:pt idx="4949">
                  <c:v>65744421</c:v>
                </c:pt>
                <c:pt idx="4950">
                  <c:v>472804656</c:v>
                </c:pt>
                <c:pt idx="4951">
                  <c:v>2147483647</c:v>
                </c:pt>
                <c:pt idx="4952">
                  <c:v>1518213855</c:v>
                </c:pt>
                <c:pt idx="4953">
                  <c:v>2147483647</c:v>
                </c:pt>
                <c:pt idx="4954">
                  <c:v>1168763886</c:v>
                </c:pt>
                <c:pt idx="4955">
                  <c:v>323518582</c:v>
                </c:pt>
                <c:pt idx="4956">
                  <c:v>8891816</c:v>
                </c:pt>
                <c:pt idx="4957">
                  <c:v>39700052</c:v>
                </c:pt>
                <c:pt idx="4958">
                  <c:v>3041115</c:v>
                </c:pt>
                <c:pt idx="4959">
                  <c:v>113208291</c:v>
                </c:pt>
                <c:pt idx="4960">
                  <c:v>160376148</c:v>
                </c:pt>
                <c:pt idx="4961">
                  <c:v>2598024</c:v>
                </c:pt>
                <c:pt idx="4962">
                  <c:v>10244879</c:v>
                </c:pt>
                <c:pt idx="4963">
                  <c:v>197955072</c:v>
                </c:pt>
                <c:pt idx="4964">
                  <c:v>334615500</c:v>
                </c:pt>
                <c:pt idx="4965">
                  <c:v>78133574</c:v>
                </c:pt>
                <c:pt idx="4966">
                  <c:v>455863897</c:v>
                </c:pt>
                <c:pt idx="4967">
                  <c:v>81194910</c:v>
                </c:pt>
                <c:pt idx="4968">
                  <c:v>3072006</c:v>
                </c:pt>
                <c:pt idx="4969">
                  <c:v>7490448</c:v>
                </c:pt>
                <c:pt idx="4970">
                  <c:v>194642352</c:v>
                </c:pt>
                <c:pt idx="4971">
                  <c:v>119476256</c:v>
                </c:pt>
                <c:pt idx="4972">
                  <c:v>426985584</c:v>
                </c:pt>
                <c:pt idx="4973">
                  <c:v>333316025</c:v>
                </c:pt>
                <c:pt idx="4974">
                  <c:v>29350701</c:v>
                </c:pt>
                <c:pt idx="4975">
                  <c:v>17424541</c:v>
                </c:pt>
                <c:pt idx="4976">
                  <c:v>24923580</c:v>
                </c:pt>
                <c:pt idx="4977">
                  <c:v>8738850</c:v>
                </c:pt>
                <c:pt idx="4978">
                  <c:v>54722370</c:v>
                </c:pt>
                <c:pt idx="4979">
                  <c:v>28748860</c:v>
                </c:pt>
                <c:pt idx="4980">
                  <c:v>12641834</c:v>
                </c:pt>
                <c:pt idx="4981">
                  <c:v>1563200</c:v>
                </c:pt>
                <c:pt idx="4982">
                  <c:v>98666938</c:v>
                </c:pt>
                <c:pt idx="4983">
                  <c:v>81135639</c:v>
                </c:pt>
                <c:pt idx="4984">
                  <c:v>38737842</c:v>
                </c:pt>
                <c:pt idx="4985">
                  <c:v>5735904</c:v>
                </c:pt>
                <c:pt idx="4986">
                  <c:v>195590304</c:v>
                </c:pt>
                <c:pt idx="4987">
                  <c:v>437858244</c:v>
                </c:pt>
                <c:pt idx="4988">
                  <c:v>44582188</c:v>
                </c:pt>
                <c:pt idx="4989">
                  <c:v>41468508</c:v>
                </c:pt>
                <c:pt idx="4990">
                  <c:v>48585992</c:v>
                </c:pt>
                <c:pt idx="4991">
                  <c:v>143088677</c:v>
                </c:pt>
                <c:pt idx="4992">
                  <c:v>815284224</c:v>
                </c:pt>
                <c:pt idx="4993">
                  <c:v>171409720</c:v>
                </c:pt>
                <c:pt idx="4994">
                  <c:v>701672190</c:v>
                </c:pt>
                <c:pt idx="4995">
                  <c:v>35134080</c:v>
                </c:pt>
                <c:pt idx="4996">
                  <c:v>149914196</c:v>
                </c:pt>
                <c:pt idx="4997">
                  <c:v>21365708</c:v>
                </c:pt>
                <c:pt idx="4998">
                  <c:v>6916284</c:v>
                </c:pt>
                <c:pt idx="4999">
                  <c:v>64567200</c:v>
                </c:pt>
                <c:pt idx="5000">
                  <c:v>14620356</c:v>
                </c:pt>
                <c:pt idx="5001">
                  <c:v>102091680</c:v>
                </c:pt>
                <c:pt idx="5002">
                  <c:v>4821894</c:v>
                </c:pt>
                <c:pt idx="5003">
                  <c:v>622429386</c:v>
                </c:pt>
                <c:pt idx="5004">
                  <c:v>12485892</c:v>
                </c:pt>
                <c:pt idx="5005">
                  <c:v>110040710</c:v>
                </c:pt>
                <c:pt idx="5006">
                  <c:v>249681767</c:v>
                </c:pt>
                <c:pt idx="5007">
                  <c:v>344184351</c:v>
                </c:pt>
                <c:pt idx="5008">
                  <c:v>44319186</c:v>
                </c:pt>
                <c:pt idx="5009">
                  <c:v>102332450</c:v>
                </c:pt>
                <c:pt idx="5010">
                  <c:v>332318881</c:v>
                </c:pt>
                <c:pt idx="5011">
                  <c:v>169185887</c:v>
                </c:pt>
                <c:pt idx="5012">
                  <c:v>79601600</c:v>
                </c:pt>
                <c:pt idx="5013">
                  <c:v>22206528</c:v>
                </c:pt>
                <c:pt idx="5014">
                  <c:v>111967464</c:v>
                </c:pt>
                <c:pt idx="5015">
                  <c:v>237364506</c:v>
                </c:pt>
                <c:pt idx="5016">
                  <c:v>2840189</c:v>
                </c:pt>
                <c:pt idx="5017">
                  <c:v>84466364</c:v>
                </c:pt>
                <c:pt idx="5018">
                  <c:v>94701474</c:v>
                </c:pt>
                <c:pt idx="5019">
                  <c:v>6615598</c:v>
                </c:pt>
                <c:pt idx="5020">
                  <c:v>6243750</c:v>
                </c:pt>
                <c:pt idx="5021">
                  <c:v>59278974</c:v>
                </c:pt>
                <c:pt idx="5022">
                  <c:v>187323678</c:v>
                </c:pt>
                <c:pt idx="5023">
                  <c:v>4029480</c:v>
                </c:pt>
                <c:pt idx="5024">
                  <c:v>36458994</c:v>
                </c:pt>
                <c:pt idx="5025">
                  <c:v>445388925</c:v>
                </c:pt>
                <c:pt idx="5026">
                  <c:v>209572716</c:v>
                </c:pt>
                <c:pt idx="5027">
                  <c:v>54775502</c:v>
                </c:pt>
                <c:pt idx="5028">
                  <c:v>45620045</c:v>
                </c:pt>
                <c:pt idx="5029">
                  <c:v>38982000</c:v>
                </c:pt>
                <c:pt idx="5030">
                  <c:v>3374016</c:v>
                </c:pt>
                <c:pt idx="5031">
                  <c:v>7049805</c:v>
                </c:pt>
                <c:pt idx="5032">
                  <c:v>20345320</c:v>
                </c:pt>
                <c:pt idx="5033">
                  <c:v>14076075</c:v>
                </c:pt>
                <c:pt idx="5034">
                  <c:v>97129143</c:v>
                </c:pt>
                <c:pt idx="5035">
                  <c:v>638807096</c:v>
                </c:pt>
                <c:pt idx="5036">
                  <c:v>8171460</c:v>
                </c:pt>
                <c:pt idx="5037">
                  <c:v>168785725</c:v>
                </c:pt>
                <c:pt idx="5038">
                  <c:v>198442626</c:v>
                </c:pt>
                <c:pt idx="5039">
                  <c:v>8061610</c:v>
                </c:pt>
                <c:pt idx="5040">
                  <c:v>8955648</c:v>
                </c:pt>
                <c:pt idx="5041">
                  <c:v>33581944</c:v>
                </c:pt>
                <c:pt idx="5042">
                  <c:v>7885446</c:v>
                </c:pt>
                <c:pt idx="5043">
                  <c:v>154181677</c:v>
                </c:pt>
                <c:pt idx="5044">
                  <c:v>4555428</c:v>
                </c:pt>
                <c:pt idx="5045">
                  <c:v>38514660</c:v>
                </c:pt>
                <c:pt idx="5046">
                  <c:v>31799573</c:v>
                </c:pt>
                <c:pt idx="5047">
                  <c:v>90178525</c:v>
                </c:pt>
                <c:pt idx="5048">
                  <c:v>20471910</c:v>
                </c:pt>
                <c:pt idx="5049">
                  <c:v>6343607</c:v>
                </c:pt>
                <c:pt idx="5050">
                  <c:v>8603742</c:v>
                </c:pt>
                <c:pt idx="5051">
                  <c:v>94051824</c:v>
                </c:pt>
                <c:pt idx="5052">
                  <c:v>7073822</c:v>
                </c:pt>
                <c:pt idx="5053">
                  <c:v>14604100</c:v>
                </c:pt>
                <c:pt idx="5054">
                  <c:v>9719736</c:v>
                </c:pt>
                <c:pt idx="5055">
                  <c:v>94455471</c:v>
                </c:pt>
                <c:pt idx="5056">
                  <c:v>19829460</c:v>
                </c:pt>
                <c:pt idx="5057">
                  <c:v>36493680</c:v>
                </c:pt>
                <c:pt idx="5058">
                  <c:v>143826351</c:v>
                </c:pt>
                <c:pt idx="5059">
                  <c:v>309794538</c:v>
                </c:pt>
                <c:pt idx="5060">
                  <c:v>312550429</c:v>
                </c:pt>
                <c:pt idx="5061">
                  <c:v>17086158</c:v>
                </c:pt>
                <c:pt idx="5062">
                  <c:v>50026834</c:v>
                </c:pt>
                <c:pt idx="5063">
                  <c:v>69663246</c:v>
                </c:pt>
                <c:pt idx="5064">
                  <c:v>7445720</c:v>
                </c:pt>
                <c:pt idx="5065">
                  <c:v>86347170</c:v>
                </c:pt>
                <c:pt idx="5066">
                  <c:v>328597080</c:v>
                </c:pt>
                <c:pt idx="5067">
                  <c:v>148827710</c:v>
                </c:pt>
                <c:pt idx="5068">
                  <c:v>13925560</c:v>
                </c:pt>
                <c:pt idx="5069">
                  <c:v>83550444</c:v>
                </c:pt>
                <c:pt idx="5070">
                  <c:v>66860367</c:v>
                </c:pt>
                <c:pt idx="5071">
                  <c:v>10814000</c:v>
                </c:pt>
                <c:pt idx="5072">
                  <c:v>41954068</c:v>
                </c:pt>
                <c:pt idx="5073">
                  <c:v>44384545</c:v>
                </c:pt>
                <c:pt idx="5074">
                  <c:v>209991768</c:v>
                </c:pt>
                <c:pt idx="5075">
                  <c:v>607298356</c:v>
                </c:pt>
                <c:pt idx="5076">
                  <c:v>409672224</c:v>
                </c:pt>
                <c:pt idx="5077">
                  <c:v>1058319218</c:v>
                </c:pt>
                <c:pt idx="5078">
                  <c:v>1605161306</c:v>
                </c:pt>
                <c:pt idx="5079">
                  <c:v>1206236852</c:v>
                </c:pt>
                <c:pt idx="5080">
                  <c:v>1005856662</c:v>
                </c:pt>
                <c:pt idx="5081">
                  <c:v>15668154</c:v>
                </c:pt>
                <c:pt idx="5082">
                  <c:v>549857130</c:v>
                </c:pt>
                <c:pt idx="5083">
                  <c:v>317420631</c:v>
                </c:pt>
                <c:pt idx="5084">
                  <c:v>551708304</c:v>
                </c:pt>
                <c:pt idx="5085">
                  <c:v>790042808</c:v>
                </c:pt>
                <c:pt idx="5086">
                  <c:v>270557914</c:v>
                </c:pt>
                <c:pt idx="5087">
                  <c:v>134277403</c:v>
                </c:pt>
                <c:pt idx="5088">
                  <c:v>815134680</c:v>
                </c:pt>
                <c:pt idx="5089">
                  <c:v>211529074</c:v>
                </c:pt>
                <c:pt idx="5090">
                  <c:v>1369864612</c:v>
                </c:pt>
                <c:pt idx="5091">
                  <c:v>1411988265</c:v>
                </c:pt>
                <c:pt idx="5092">
                  <c:v>717697695</c:v>
                </c:pt>
                <c:pt idx="5093">
                  <c:v>179907756</c:v>
                </c:pt>
                <c:pt idx="5094">
                  <c:v>955748148</c:v>
                </c:pt>
                <c:pt idx="5095">
                  <c:v>88722372</c:v>
                </c:pt>
                <c:pt idx="5096">
                  <c:v>220521042</c:v>
                </c:pt>
                <c:pt idx="5097">
                  <c:v>504875000</c:v>
                </c:pt>
                <c:pt idx="5098">
                  <c:v>31630144</c:v>
                </c:pt>
                <c:pt idx="5099">
                  <c:v>264836437</c:v>
                </c:pt>
                <c:pt idx="5100">
                  <c:v>49997796</c:v>
                </c:pt>
                <c:pt idx="5101">
                  <c:v>1248080130</c:v>
                </c:pt>
                <c:pt idx="5102">
                  <c:v>9381204</c:v>
                </c:pt>
                <c:pt idx="5103">
                  <c:v>1069070870</c:v>
                </c:pt>
                <c:pt idx="5104">
                  <c:v>258035058</c:v>
                </c:pt>
                <c:pt idx="5105">
                  <c:v>742587225</c:v>
                </c:pt>
                <c:pt idx="5106">
                  <c:v>417859848</c:v>
                </c:pt>
                <c:pt idx="5107">
                  <c:v>10756284</c:v>
                </c:pt>
                <c:pt idx="5108">
                  <c:v>392819544</c:v>
                </c:pt>
                <c:pt idx="5109">
                  <c:v>222445407</c:v>
                </c:pt>
                <c:pt idx="5110">
                  <c:v>455862480</c:v>
                </c:pt>
                <c:pt idx="5111">
                  <c:v>297323195</c:v>
                </c:pt>
                <c:pt idx="5112">
                  <c:v>110990576</c:v>
                </c:pt>
                <c:pt idx="5113">
                  <c:v>139263659</c:v>
                </c:pt>
                <c:pt idx="5114">
                  <c:v>400540199</c:v>
                </c:pt>
                <c:pt idx="5115">
                  <c:v>14679936</c:v>
                </c:pt>
                <c:pt idx="5116">
                  <c:v>367736556</c:v>
                </c:pt>
                <c:pt idx="5117">
                  <c:v>23945392</c:v>
                </c:pt>
                <c:pt idx="5118">
                  <c:v>28449120</c:v>
                </c:pt>
                <c:pt idx="5119">
                  <c:v>14196346</c:v>
                </c:pt>
                <c:pt idx="5120">
                  <c:v>21701328</c:v>
                </c:pt>
                <c:pt idx="5121">
                  <c:v>274948407</c:v>
                </c:pt>
                <c:pt idx="5122">
                  <c:v>187169083</c:v>
                </c:pt>
                <c:pt idx="5123">
                  <c:v>150195980</c:v>
                </c:pt>
                <c:pt idx="5124">
                  <c:v>105146812</c:v>
                </c:pt>
                <c:pt idx="5125">
                  <c:v>843422275</c:v>
                </c:pt>
                <c:pt idx="5126">
                  <c:v>1688980735</c:v>
                </c:pt>
                <c:pt idx="5127">
                  <c:v>1720537216</c:v>
                </c:pt>
                <c:pt idx="5128">
                  <c:v>299657160</c:v>
                </c:pt>
                <c:pt idx="5129">
                  <c:v>403080624</c:v>
                </c:pt>
                <c:pt idx="5130">
                  <c:v>623836584</c:v>
                </c:pt>
                <c:pt idx="5131">
                  <c:v>342987227</c:v>
                </c:pt>
                <c:pt idx="5132">
                  <c:v>234204279</c:v>
                </c:pt>
                <c:pt idx="5133">
                  <c:v>32732128</c:v>
                </c:pt>
                <c:pt idx="5134">
                  <c:v>54823386</c:v>
                </c:pt>
                <c:pt idx="5135">
                  <c:v>32980416</c:v>
                </c:pt>
                <c:pt idx="5136">
                  <c:v>53453712</c:v>
                </c:pt>
                <c:pt idx="5137">
                  <c:v>48764160</c:v>
                </c:pt>
                <c:pt idx="5138">
                  <c:v>7980906</c:v>
                </c:pt>
                <c:pt idx="5139">
                  <c:v>366678270</c:v>
                </c:pt>
                <c:pt idx="5140">
                  <c:v>159469153</c:v>
                </c:pt>
                <c:pt idx="5141">
                  <c:v>279151301</c:v>
                </c:pt>
                <c:pt idx="5142">
                  <c:v>2936175</c:v>
                </c:pt>
                <c:pt idx="5143">
                  <c:v>10815210</c:v>
                </c:pt>
                <c:pt idx="5144">
                  <c:v>85066800</c:v>
                </c:pt>
                <c:pt idx="5145">
                  <c:v>632413773</c:v>
                </c:pt>
                <c:pt idx="5146">
                  <c:v>79238016</c:v>
                </c:pt>
                <c:pt idx="5147">
                  <c:v>84895108</c:v>
                </c:pt>
                <c:pt idx="5148">
                  <c:v>14678174</c:v>
                </c:pt>
                <c:pt idx="5149">
                  <c:v>16005547</c:v>
                </c:pt>
                <c:pt idx="5150">
                  <c:v>8356656</c:v>
                </c:pt>
                <c:pt idx="5151">
                  <c:v>6090591</c:v>
                </c:pt>
                <c:pt idx="5152">
                  <c:v>6405216</c:v>
                </c:pt>
                <c:pt idx="5153">
                  <c:v>13574574</c:v>
                </c:pt>
                <c:pt idx="5154">
                  <c:v>177337044</c:v>
                </c:pt>
                <c:pt idx="5155">
                  <c:v>89887876</c:v>
                </c:pt>
                <c:pt idx="5156">
                  <c:v>335283075</c:v>
                </c:pt>
                <c:pt idx="5157">
                  <c:v>18614468</c:v>
                </c:pt>
                <c:pt idx="5158">
                  <c:v>108017042</c:v>
                </c:pt>
                <c:pt idx="5159">
                  <c:v>1001996888</c:v>
                </c:pt>
                <c:pt idx="5160">
                  <c:v>514520712</c:v>
                </c:pt>
                <c:pt idx="5161">
                  <c:v>45450688</c:v>
                </c:pt>
                <c:pt idx="5162">
                  <c:v>85618710</c:v>
                </c:pt>
                <c:pt idx="5163">
                  <c:v>276138044</c:v>
                </c:pt>
                <c:pt idx="5164">
                  <c:v>125521018</c:v>
                </c:pt>
                <c:pt idx="5165">
                  <c:v>104993380</c:v>
                </c:pt>
                <c:pt idx="5166">
                  <c:v>24094715</c:v>
                </c:pt>
                <c:pt idx="5167">
                  <c:v>267343433</c:v>
                </c:pt>
                <c:pt idx="5168">
                  <c:v>260568000</c:v>
                </c:pt>
                <c:pt idx="5169">
                  <c:v>89101896</c:v>
                </c:pt>
                <c:pt idx="5170">
                  <c:v>147380240</c:v>
                </c:pt>
                <c:pt idx="5171">
                  <c:v>56922309</c:v>
                </c:pt>
                <c:pt idx="5172">
                  <c:v>170867418</c:v>
                </c:pt>
                <c:pt idx="5173">
                  <c:v>586787773</c:v>
                </c:pt>
                <c:pt idx="5174">
                  <c:v>14217840</c:v>
                </c:pt>
                <c:pt idx="5175">
                  <c:v>168618120</c:v>
                </c:pt>
                <c:pt idx="5176">
                  <c:v>113595625</c:v>
                </c:pt>
                <c:pt idx="5177">
                  <c:v>89748390</c:v>
                </c:pt>
                <c:pt idx="5178">
                  <c:v>124085840</c:v>
                </c:pt>
                <c:pt idx="5179">
                  <c:v>35915877</c:v>
                </c:pt>
                <c:pt idx="5180">
                  <c:v>10546375</c:v>
                </c:pt>
                <c:pt idx="5181">
                  <c:v>457551360</c:v>
                </c:pt>
                <c:pt idx="5182">
                  <c:v>36486366</c:v>
                </c:pt>
                <c:pt idx="5183">
                  <c:v>33055612</c:v>
                </c:pt>
                <c:pt idx="5184">
                  <c:v>928476422</c:v>
                </c:pt>
                <c:pt idx="5185">
                  <c:v>41844032</c:v>
                </c:pt>
                <c:pt idx="5186">
                  <c:v>120614944</c:v>
                </c:pt>
                <c:pt idx="5187">
                  <c:v>213479006</c:v>
                </c:pt>
                <c:pt idx="5188">
                  <c:v>67390576</c:v>
                </c:pt>
                <c:pt idx="5189">
                  <c:v>446352444</c:v>
                </c:pt>
                <c:pt idx="5190">
                  <c:v>1053770692</c:v>
                </c:pt>
                <c:pt idx="5191">
                  <c:v>213772746</c:v>
                </c:pt>
                <c:pt idx="5192">
                  <c:v>72748616</c:v>
                </c:pt>
                <c:pt idx="5193">
                  <c:v>28478439</c:v>
                </c:pt>
                <c:pt idx="5194">
                  <c:v>119614830</c:v>
                </c:pt>
                <c:pt idx="5195">
                  <c:v>6898281</c:v>
                </c:pt>
                <c:pt idx="5196">
                  <c:v>150140278</c:v>
                </c:pt>
                <c:pt idx="5197">
                  <c:v>158214238</c:v>
                </c:pt>
                <c:pt idx="5198">
                  <c:v>31585344</c:v>
                </c:pt>
                <c:pt idx="5199">
                  <c:v>119710692</c:v>
                </c:pt>
                <c:pt idx="5200">
                  <c:v>406281414</c:v>
                </c:pt>
                <c:pt idx="5201">
                  <c:v>351201666</c:v>
                </c:pt>
                <c:pt idx="5202">
                  <c:v>260395800</c:v>
                </c:pt>
                <c:pt idx="5203">
                  <c:v>103047831</c:v>
                </c:pt>
                <c:pt idx="5204">
                  <c:v>56666280</c:v>
                </c:pt>
                <c:pt idx="5205">
                  <c:v>417440349</c:v>
                </c:pt>
                <c:pt idx="5206">
                  <c:v>4737271</c:v>
                </c:pt>
                <c:pt idx="5207">
                  <c:v>36241694</c:v>
                </c:pt>
                <c:pt idx="5208">
                  <c:v>15450782</c:v>
                </c:pt>
                <c:pt idx="5209">
                  <c:v>22483668</c:v>
                </c:pt>
                <c:pt idx="5210">
                  <c:v>15529740</c:v>
                </c:pt>
                <c:pt idx="5211">
                  <c:v>491079564</c:v>
                </c:pt>
                <c:pt idx="5212">
                  <c:v>61039440</c:v>
                </c:pt>
                <c:pt idx="5213">
                  <c:v>106660134</c:v>
                </c:pt>
                <c:pt idx="5214">
                  <c:v>296091499</c:v>
                </c:pt>
                <c:pt idx="5215">
                  <c:v>14960442</c:v>
                </c:pt>
                <c:pt idx="5216">
                  <c:v>143145210</c:v>
                </c:pt>
                <c:pt idx="5217">
                  <c:v>36282069</c:v>
                </c:pt>
                <c:pt idx="5218">
                  <c:v>7647953</c:v>
                </c:pt>
                <c:pt idx="5219">
                  <c:v>137146845</c:v>
                </c:pt>
                <c:pt idx="5220">
                  <c:v>8992626</c:v>
                </c:pt>
                <c:pt idx="5221">
                  <c:v>18594246</c:v>
                </c:pt>
                <c:pt idx="5222">
                  <c:v>7161478</c:v>
                </c:pt>
                <c:pt idx="5223">
                  <c:v>63606848</c:v>
                </c:pt>
                <c:pt idx="5224">
                  <c:v>33681336</c:v>
                </c:pt>
                <c:pt idx="5225">
                  <c:v>470629918</c:v>
                </c:pt>
                <c:pt idx="5226">
                  <c:v>16211085</c:v>
                </c:pt>
                <c:pt idx="5227">
                  <c:v>56575792</c:v>
                </c:pt>
                <c:pt idx="5228">
                  <c:v>30412026</c:v>
                </c:pt>
                <c:pt idx="5229">
                  <c:v>114203680</c:v>
                </c:pt>
                <c:pt idx="5230">
                  <c:v>552197877</c:v>
                </c:pt>
                <c:pt idx="5231">
                  <c:v>538542840</c:v>
                </c:pt>
                <c:pt idx="5232">
                  <c:v>232737648</c:v>
                </c:pt>
                <c:pt idx="5233">
                  <c:v>246178829</c:v>
                </c:pt>
                <c:pt idx="5234">
                  <c:v>373301200</c:v>
                </c:pt>
                <c:pt idx="5235">
                  <c:v>290110808</c:v>
                </c:pt>
                <c:pt idx="5236">
                  <c:v>399049840</c:v>
                </c:pt>
                <c:pt idx="5237">
                  <c:v>177945549</c:v>
                </c:pt>
                <c:pt idx="5238">
                  <c:v>296408248</c:v>
                </c:pt>
                <c:pt idx="5239">
                  <c:v>170797080</c:v>
                </c:pt>
                <c:pt idx="5240">
                  <c:v>25085200</c:v>
                </c:pt>
                <c:pt idx="5241">
                  <c:v>550275924</c:v>
                </c:pt>
                <c:pt idx="5242">
                  <c:v>98668792</c:v>
                </c:pt>
                <c:pt idx="5243">
                  <c:v>691502448</c:v>
                </c:pt>
                <c:pt idx="5244">
                  <c:v>57494448</c:v>
                </c:pt>
                <c:pt idx="5245">
                  <c:v>64395882</c:v>
                </c:pt>
                <c:pt idx="5246">
                  <c:v>19564832</c:v>
                </c:pt>
                <c:pt idx="5247">
                  <c:v>33815856</c:v>
                </c:pt>
                <c:pt idx="5248">
                  <c:v>156022929</c:v>
                </c:pt>
                <c:pt idx="5249">
                  <c:v>3358103</c:v>
                </c:pt>
                <c:pt idx="5250">
                  <c:v>170835600</c:v>
                </c:pt>
                <c:pt idx="5251">
                  <c:v>69024336</c:v>
                </c:pt>
                <c:pt idx="5252">
                  <c:v>27514112</c:v>
                </c:pt>
                <c:pt idx="5253">
                  <c:v>3651591</c:v>
                </c:pt>
                <c:pt idx="5254">
                  <c:v>15369480</c:v>
                </c:pt>
                <c:pt idx="5255">
                  <c:v>4241228</c:v>
                </c:pt>
                <c:pt idx="5256">
                  <c:v>61162225</c:v>
                </c:pt>
                <c:pt idx="5257">
                  <c:v>97295370</c:v>
                </c:pt>
                <c:pt idx="5258">
                  <c:v>24179910</c:v>
                </c:pt>
                <c:pt idx="5259">
                  <c:v>11656564</c:v>
                </c:pt>
                <c:pt idx="5260">
                  <c:v>352987575</c:v>
                </c:pt>
                <c:pt idx="5261">
                  <c:v>118814274</c:v>
                </c:pt>
                <c:pt idx="5262">
                  <c:v>41366080</c:v>
                </c:pt>
                <c:pt idx="5263">
                  <c:v>456079232</c:v>
                </c:pt>
                <c:pt idx="5264">
                  <c:v>205011990</c:v>
                </c:pt>
                <c:pt idx="5265">
                  <c:v>138240356</c:v>
                </c:pt>
                <c:pt idx="5266">
                  <c:v>449066944</c:v>
                </c:pt>
                <c:pt idx="5267">
                  <c:v>288227450</c:v>
                </c:pt>
                <c:pt idx="5268">
                  <c:v>247696568</c:v>
                </c:pt>
                <c:pt idx="5269">
                  <c:v>168486148</c:v>
                </c:pt>
                <c:pt idx="5270">
                  <c:v>64034271</c:v>
                </c:pt>
                <c:pt idx="5271">
                  <c:v>421904000</c:v>
                </c:pt>
                <c:pt idx="5272">
                  <c:v>114377360</c:v>
                </c:pt>
                <c:pt idx="5273">
                  <c:v>147960035</c:v>
                </c:pt>
                <c:pt idx="5274">
                  <c:v>38793461</c:v>
                </c:pt>
                <c:pt idx="5275">
                  <c:v>1084966912</c:v>
                </c:pt>
                <c:pt idx="5276">
                  <c:v>957288860</c:v>
                </c:pt>
                <c:pt idx="5277">
                  <c:v>437089700</c:v>
                </c:pt>
                <c:pt idx="5278">
                  <c:v>442478424</c:v>
                </c:pt>
                <c:pt idx="5279">
                  <c:v>655456610</c:v>
                </c:pt>
                <c:pt idx="5280">
                  <c:v>418852375</c:v>
                </c:pt>
                <c:pt idx="5281">
                  <c:v>79620817</c:v>
                </c:pt>
                <c:pt idx="5282">
                  <c:v>265119620</c:v>
                </c:pt>
                <c:pt idx="5283">
                  <c:v>191168928</c:v>
                </c:pt>
                <c:pt idx="5284">
                  <c:v>58499004</c:v>
                </c:pt>
                <c:pt idx="5285">
                  <c:v>4050720</c:v>
                </c:pt>
                <c:pt idx="5286">
                  <c:v>2809482</c:v>
                </c:pt>
                <c:pt idx="5287">
                  <c:v>36838502</c:v>
                </c:pt>
                <c:pt idx="5288">
                  <c:v>31605585</c:v>
                </c:pt>
                <c:pt idx="5289">
                  <c:v>87446166</c:v>
                </c:pt>
                <c:pt idx="5290">
                  <c:v>4067400</c:v>
                </c:pt>
                <c:pt idx="5291">
                  <c:v>42062216</c:v>
                </c:pt>
                <c:pt idx="5292">
                  <c:v>6963105</c:v>
                </c:pt>
                <c:pt idx="5293">
                  <c:v>60186005</c:v>
                </c:pt>
                <c:pt idx="5294">
                  <c:v>6504300</c:v>
                </c:pt>
                <c:pt idx="5295">
                  <c:v>22545908</c:v>
                </c:pt>
                <c:pt idx="5296">
                  <c:v>18186606</c:v>
                </c:pt>
                <c:pt idx="5297">
                  <c:v>30807266</c:v>
                </c:pt>
                <c:pt idx="5298">
                  <c:v>42170828</c:v>
                </c:pt>
                <c:pt idx="5299">
                  <c:v>59597290</c:v>
                </c:pt>
                <c:pt idx="5300">
                  <c:v>102878156</c:v>
                </c:pt>
                <c:pt idx="5301">
                  <c:v>74331914</c:v>
                </c:pt>
                <c:pt idx="5302">
                  <c:v>349926408</c:v>
                </c:pt>
                <c:pt idx="5303">
                  <c:v>3826200</c:v>
                </c:pt>
                <c:pt idx="5304">
                  <c:v>4660444</c:v>
                </c:pt>
                <c:pt idx="5305">
                  <c:v>69668253</c:v>
                </c:pt>
                <c:pt idx="5306">
                  <c:v>12369114</c:v>
                </c:pt>
                <c:pt idx="5307">
                  <c:v>25443792</c:v>
                </c:pt>
                <c:pt idx="5308">
                  <c:v>140875884</c:v>
                </c:pt>
                <c:pt idx="5309">
                  <c:v>237674496</c:v>
                </c:pt>
                <c:pt idx="5310">
                  <c:v>58932072</c:v>
                </c:pt>
                <c:pt idx="5311">
                  <c:v>17841075</c:v>
                </c:pt>
                <c:pt idx="5312">
                  <c:v>131252644</c:v>
                </c:pt>
                <c:pt idx="5313">
                  <c:v>49997331</c:v>
                </c:pt>
                <c:pt idx="5314">
                  <c:v>1501364084</c:v>
                </c:pt>
                <c:pt idx="5315">
                  <c:v>1562813300</c:v>
                </c:pt>
                <c:pt idx="5316">
                  <c:v>30076708</c:v>
                </c:pt>
                <c:pt idx="5317">
                  <c:v>1123151544</c:v>
                </c:pt>
                <c:pt idx="5318">
                  <c:v>65187824</c:v>
                </c:pt>
                <c:pt idx="5319">
                  <c:v>92316630</c:v>
                </c:pt>
                <c:pt idx="5320">
                  <c:v>82879616</c:v>
                </c:pt>
                <c:pt idx="5321">
                  <c:v>489764574</c:v>
                </c:pt>
                <c:pt idx="5322">
                  <c:v>605304160</c:v>
                </c:pt>
                <c:pt idx="5323">
                  <c:v>113610861</c:v>
                </c:pt>
                <c:pt idx="5324">
                  <c:v>7924425</c:v>
                </c:pt>
                <c:pt idx="5325">
                  <c:v>22197042</c:v>
                </c:pt>
                <c:pt idx="5326">
                  <c:v>16354896</c:v>
                </c:pt>
                <c:pt idx="5327">
                  <c:v>1302272840</c:v>
                </c:pt>
                <c:pt idx="5328">
                  <c:v>2147483647</c:v>
                </c:pt>
                <c:pt idx="5329">
                  <c:v>120752564</c:v>
                </c:pt>
                <c:pt idx="5330">
                  <c:v>1308183910</c:v>
                </c:pt>
                <c:pt idx="5331">
                  <c:v>33557859</c:v>
                </c:pt>
                <c:pt idx="5332">
                  <c:v>371927402</c:v>
                </c:pt>
                <c:pt idx="5333">
                  <c:v>1407475120</c:v>
                </c:pt>
                <c:pt idx="5334">
                  <c:v>705020904</c:v>
                </c:pt>
                <c:pt idx="5335">
                  <c:v>46422170</c:v>
                </c:pt>
                <c:pt idx="5336">
                  <c:v>519622520</c:v>
                </c:pt>
                <c:pt idx="5337">
                  <c:v>12082824</c:v>
                </c:pt>
                <c:pt idx="5338">
                  <c:v>558734800</c:v>
                </c:pt>
                <c:pt idx="5339">
                  <c:v>1819562645</c:v>
                </c:pt>
                <c:pt idx="5340">
                  <c:v>690175000</c:v>
                </c:pt>
                <c:pt idx="5341">
                  <c:v>35297323</c:v>
                </c:pt>
                <c:pt idx="5342">
                  <c:v>148114791</c:v>
                </c:pt>
                <c:pt idx="5343">
                  <c:v>1822284256</c:v>
                </c:pt>
                <c:pt idx="5344">
                  <c:v>1187003988</c:v>
                </c:pt>
                <c:pt idx="5345">
                  <c:v>397369530</c:v>
                </c:pt>
                <c:pt idx="5346">
                  <c:v>670812900</c:v>
                </c:pt>
                <c:pt idx="5347">
                  <c:v>1963818850</c:v>
                </c:pt>
                <c:pt idx="5348">
                  <c:v>867777120</c:v>
                </c:pt>
                <c:pt idx="5349">
                  <c:v>757988451</c:v>
                </c:pt>
                <c:pt idx="5350">
                  <c:v>1227076008</c:v>
                </c:pt>
                <c:pt idx="5351">
                  <c:v>738748386</c:v>
                </c:pt>
                <c:pt idx="5352">
                  <c:v>1075189802</c:v>
                </c:pt>
                <c:pt idx="5353">
                  <c:v>56821655</c:v>
                </c:pt>
                <c:pt idx="5354">
                  <c:v>1652215488</c:v>
                </c:pt>
                <c:pt idx="5355">
                  <c:v>282381064</c:v>
                </c:pt>
                <c:pt idx="5356">
                  <c:v>607455849</c:v>
                </c:pt>
                <c:pt idx="5357">
                  <c:v>866823966</c:v>
                </c:pt>
                <c:pt idx="5358">
                  <c:v>589968938</c:v>
                </c:pt>
                <c:pt idx="5359">
                  <c:v>772580556</c:v>
                </c:pt>
                <c:pt idx="5360">
                  <c:v>2147483647</c:v>
                </c:pt>
                <c:pt idx="5361">
                  <c:v>264189819</c:v>
                </c:pt>
                <c:pt idx="5362">
                  <c:v>76431012</c:v>
                </c:pt>
                <c:pt idx="5363">
                  <c:v>451547616</c:v>
                </c:pt>
                <c:pt idx="5364">
                  <c:v>610398702</c:v>
                </c:pt>
                <c:pt idx="5365">
                  <c:v>1235999634</c:v>
                </c:pt>
                <c:pt idx="5366">
                  <c:v>986740775</c:v>
                </c:pt>
                <c:pt idx="5367">
                  <c:v>117365907</c:v>
                </c:pt>
                <c:pt idx="5368">
                  <c:v>469652115</c:v>
                </c:pt>
                <c:pt idx="5369">
                  <c:v>318202938</c:v>
                </c:pt>
                <c:pt idx="5370">
                  <c:v>145716016</c:v>
                </c:pt>
                <c:pt idx="5371">
                  <c:v>272443248</c:v>
                </c:pt>
                <c:pt idx="5372">
                  <c:v>424786986</c:v>
                </c:pt>
                <c:pt idx="5373">
                  <c:v>592937235</c:v>
                </c:pt>
                <c:pt idx="5374">
                  <c:v>429665544</c:v>
                </c:pt>
                <c:pt idx="5375">
                  <c:v>1518994152</c:v>
                </c:pt>
                <c:pt idx="5376">
                  <c:v>929302085</c:v>
                </c:pt>
                <c:pt idx="5377">
                  <c:v>600565406</c:v>
                </c:pt>
                <c:pt idx="5378">
                  <c:v>91355879</c:v>
                </c:pt>
                <c:pt idx="5379">
                  <c:v>749753220</c:v>
                </c:pt>
                <c:pt idx="5380">
                  <c:v>1152409960</c:v>
                </c:pt>
                <c:pt idx="5381">
                  <c:v>1547431464</c:v>
                </c:pt>
                <c:pt idx="5382">
                  <c:v>894007590</c:v>
                </c:pt>
                <c:pt idx="5383">
                  <c:v>45361900</c:v>
                </c:pt>
                <c:pt idx="5384">
                  <c:v>1175385078</c:v>
                </c:pt>
                <c:pt idx="5385">
                  <c:v>706074317</c:v>
                </c:pt>
                <c:pt idx="5386">
                  <c:v>429680820</c:v>
                </c:pt>
                <c:pt idx="5387">
                  <c:v>634017973</c:v>
                </c:pt>
                <c:pt idx="5388">
                  <c:v>566247992</c:v>
                </c:pt>
                <c:pt idx="5389">
                  <c:v>699763293</c:v>
                </c:pt>
                <c:pt idx="5390">
                  <c:v>695442105</c:v>
                </c:pt>
                <c:pt idx="5391">
                  <c:v>2147483647</c:v>
                </c:pt>
                <c:pt idx="5392">
                  <c:v>1194290173</c:v>
                </c:pt>
                <c:pt idx="5393">
                  <c:v>478076517</c:v>
                </c:pt>
                <c:pt idx="5394">
                  <c:v>2147483647</c:v>
                </c:pt>
                <c:pt idx="5395">
                  <c:v>274764515</c:v>
                </c:pt>
                <c:pt idx="5396">
                  <c:v>1026082214</c:v>
                </c:pt>
                <c:pt idx="5397">
                  <c:v>1475497856</c:v>
                </c:pt>
                <c:pt idx="5398">
                  <c:v>210155611</c:v>
                </c:pt>
                <c:pt idx="5399">
                  <c:v>353922140</c:v>
                </c:pt>
                <c:pt idx="5400">
                  <c:v>242843709</c:v>
                </c:pt>
                <c:pt idx="5401">
                  <c:v>488915664</c:v>
                </c:pt>
                <c:pt idx="5402">
                  <c:v>233598768</c:v>
                </c:pt>
                <c:pt idx="5403">
                  <c:v>541472347</c:v>
                </c:pt>
                <c:pt idx="5404">
                  <c:v>1073544336</c:v>
                </c:pt>
                <c:pt idx="5405">
                  <c:v>1774223000</c:v>
                </c:pt>
                <c:pt idx="5406">
                  <c:v>746133740</c:v>
                </c:pt>
                <c:pt idx="5407">
                  <c:v>798368310</c:v>
                </c:pt>
                <c:pt idx="5408">
                  <c:v>2147483647</c:v>
                </c:pt>
                <c:pt idx="5409">
                  <c:v>795587310</c:v>
                </c:pt>
                <c:pt idx="5410">
                  <c:v>164310651</c:v>
                </c:pt>
                <c:pt idx="5411">
                  <c:v>420176992</c:v>
                </c:pt>
                <c:pt idx="5412">
                  <c:v>1290056760</c:v>
                </c:pt>
                <c:pt idx="5413">
                  <c:v>585753775</c:v>
                </c:pt>
                <c:pt idx="5414">
                  <c:v>2147483647</c:v>
                </c:pt>
                <c:pt idx="5415">
                  <c:v>899400460</c:v>
                </c:pt>
                <c:pt idx="5416">
                  <c:v>1412315520</c:v>
                </c:pt>
                <c:pt idx="5417">
                  <c:v>790882664</c:v>
                </c:pt>
                <c:pt idx="5418">
                  <c:v>1894432144</c:v>
                </c:pt>
                <c:pt idx="5419">
                  <c:v>1145743514</c:v>
                </c:pt>
                <c:pt idx="5420">
                  <c:v>1371603992</c:v>
                </c:pt>
                <c:pt idx="5421">
                  <c:v>1060178612</c:v>
                </c:pt>
                <c:pt idx="5422">
                  <c:v>755859000</c:v>
                </c:pt>
                <c:pt idx="5423">
                  <c:v>1419845076</c:v>
                </c:pt>
                <c:pt idx="5424">
                  <c:v>1437082704</c:v>
                </c:pt>
                <c:pt idx="5425">
                  <c:v>757409136</c:v>
                </c:pt>
                <c:pt idx="5426">
                  <c:v>621783422</c:v>
                </c:pt>
                <c:pt idx="5427">
                  <c:v>1046942536</c:v>
                </c:pt>
                <c:pt idx="5428">
                  <c:v>1475978596</c:v>
                </c:pt>
                <c:pt idx="5429">
                  <c:v>1157048600</c:v>
                </c:pt>
                <c:pt idx="5430">
                  <c:v>481642176</c:v>
                </c:pt>
                <c:pt idx="5431">
                  <c:v>336068160</c:v>
                </c:pt>
                <c:pt idx="5432">
                  <c:v>1777061286</c:v>
                </c:pt>
                <c:pt idx="5433">
                  <c:v>569747148</c:v>
                </c:pt>
                <c:pt idx="5434">
                  <c:v>1970199084</c:v>
                </c:pt>
                <c:pt idx="5435">
                  <c:v>1023995500</c:v>
                </c:pt>
                <c:pt idx="5436">
                  <c:v>586435680</c:v>
                </c:pt>
                <c:pt idx="5437">
                  <c:v>403975239</c:v>
                </c:pt>
                <c:pt idx="5438">
                  <c:v>1100106054</c:v>
                </c:pt>
                <c:pt idx="5439">
                  <c:v>869956096</c:v>
                </c:pt>
                <c:pt idx="5440">
                  <c:v>929244820</c:v>
                </c:pt>
                <c:pt idx="5441">
                  <c:v>225720708</c:v>
                </c:pt>
                <c:pt idx="5442">
                  <c:v>664037244</c:v>
                </c:pt>
                <c:pt idx="5443">
                  <c:v>994863360</c:v>
                </c:pt>
                <c:pt idx="5444">
                  <c:v>804474944</c:v>
                </c:pt>
                <c:pt idx="5445">
                  <c:v>694721013</c:v>
                </c:pt>
                <c:pt idx="5446">
                  <c:v>533641176</c:v>
                </c:pt>
                <c:pt idx="5447">
                  <c:v>1477016232</c:v>
                </c:pt>
                <c:pt idx="5448">
                  <c:v>1159039312</c:v>
                </c:pt>
                <c:pt idx="5449">
                  <c:v>1447318496</c:v>
                </c:pt>
                <c:pt idx="5450">
                  <c:v>2147483647</c:v>
                </c:pt>
                <c:pt idx="5451">
                  <c:v>2147483647</c:v>
                </c:pt>
                <c:pt idx="5452">
                  <c:v>1658638839</c:v>
                </c:pt>
                <c:pt idx="5453">
                  <c:v>1250694692</c:v>
                </c:pt>
                <c:pt idx="5454">
                  <c:v>676642932</c:v>
                </c:pt>
                <c:pt idx="5455">
                  <c:v>835853850</c:v>
                </c:pt>
                <c:pt idx="5456">
                  <c:v>1010666704</c:v>
                </c:pt>
                <c:pt idx="5457">
                  <c:v>347357706</c:v>
                </c:pt>
                <c:pt idx="5458">
                  <c:v>1213195280</c:v>
                </c:pt>
                <c:pt idx="5459">
                  <c:v>463959336</c:v>
                </c:pt>
                <c:pt idx="5460">
                  <c:v>85774824</c:v>
                </c:pt>
                <c:pt idx="5461">
                  <c:v>597661668</c:v>
                </c:pt>
                <c:pt idx="5462">
                  <c:v>1026531094</c:v>
                </c:pt>
                <c:pt idx="5463">
                  <c:v>775262832</c:v>
                </c:pt>
                <c:pt idx="5464">
                  <c:v>17640892</c:v>
                </c:pt>
                <c:pt idx="5465">
                  <c:v>2030890080</c:v>
                </c:pt>
                <c:pt idx="5466">
                  <c:v>250933770</c:v>
                </c:pt>
                <c:pt idx="5467">
                  <c:v>632268910</c:v>
                </c:pt>
                <c:pt idx="5468">
                  <c:v>2147483647</c:v>
                </c:pt>
                <c:pt idx="5469">
                  <c:v>1178117998</c:v>
                </c:pt>
                <c:pt idx="5470">
                  <c:v>1213214205</c:v>
                </c:pt>
                <c:pt idx="5471">
                  <c:v>440070144</c:v>
                </c:pt>
                <c:pt idx="5472">
                  <c:v>439140416</c:v>
                </c:pt>
                <c:pt idx="5473">
                  <c:v>1331580257</c:v>
                </c:pt>
                <c:pt idx="5474">
                  <c:v>705045058</c:v>
                </c:pt>
                <c:pt idx="5475">
                  <c:v>478487588</c:v>
                </c:pt>
                <c:pt idx="5476">
                  <c:v>2072318436</c:v>
                </c:pt>
                <c:pt idx="5477">
                  <c:v>6797655</c:v>
                </c:pt>
                <c:pt idx="5478">
                  <c:v>181688276</c:v>
                </c:pt>
                <c:pt idx="5479">
                  <c:v>585019846</c:v>
                </c:pt>
                <c:pt idx="5480">
                  <c:v>283166498</c:v>
                </c:pt>
                <c:pt idx="5481">
                  <c:v>93716695</c:v>
                </c:pt>
                <c:pt idx="5482">
                  <c:v>167083656</c:v>
                </c:pt>
                <c:pt idx="5483">
                  <c:v>19689580</c:v>
                </c:pt>
                <c:pt idx="5484">
                  <c:v>2147483647</c:v>
                </c:pt>
                <c:pt idx="5485">
                  <c:v>2147483647</c:v>
                </c:pt>
                <c:pt idx="5486">
                  <c:v>584584276</c:v>
                </c:pt>
                <c:pt idx="5487">
                  <c:v>1280635176</c:v>
                </c:pt>
                <c:pt idx="5488">
                  <c:v>2041882124</c:v>
                </c:pt>
                <c:pt idx="5489">
                  <c:v>181911252</c:v>
                </c:pt>
                <c:pt idx="5490">
                  <c:v>1410314510</c:v>
                </c:pt>
                <c:pt idx="5491">
                  <c:v>1472789058</c:v>
                </c:pt>
                <c:pt idx="5492">
                  <c:v>1320766512</c:v>
                </c:pt>
                <c:pt idx="5493">
                  <c:v>2147483647</c:v>
                </c:pt>
                <c:pt idx="5494">
                  <c:v>1190481210</c:v>
                </c:pt>
                <c:pt idx="5495">
                  <c:v>130792142</c:v>
                </c:pt>
                <c:pt idx="5496">
                  <c:v>1429197112</c:v>
                </c:pt>
                <c:pt idx="5497">
                  <c:v>835404768</c:v>
                </c:pt>
                <c:pt idx="5498">
                  <c:v>781777164</c:v>
                </c:pt>
                <c:pt idx="5499">
                  <c:v>2147483647</c:v>
                </c:pt>
                <c:pt idx="5500">
                  <c:v>85006114</c:v>
                </c:pt>
                <c:pt idx="5501">
                  <c:v>1553820246</c:v>
                </c:pt>
                <c:pt idx="5502">
                  <c:v>2147483647</c:v>
                </c:pt>
                <c:pt idx="5503">
                  <c:v>849907729</c:v>
                </c:pt>
                <c:pt idx="5504">
                  <c:v>1595292138</c:v>
                </c:pt>
                <c:pt idx="5505">
                  <c:v>936815812</c:v>
                </c:pt>
                <c:pt idx="5506">
                  <c:v>1197913320</c:v>
                </c:pt>
                <c:pt idx="5507">
                  <c:v>951175984</c:v>
                </c:pt>
                <c:pt idx="5508">
                  <c:v>23160875</c:v>
                </c:pt>
                <c:pt idx="5509">
                  <c:v>579706694</c:v>
                </c:pt>
                <c:pt idx="5510">
                  <c:v>32415704</c:v>
                </c:pt>
                <c:pt idx="5511">
                  <c:v>37832250</c:v>
                </c:pt>
                <c:pt idx="5512">
                  <c:v>36941508</c:v>
                </c:pt>
                <c:pt idx="5513">
                  <c:v>209429341</c:v>
                </c:pt>
                <c:pt idx="5514">
                  <c:v>131234450</c:v>
                </c:pt>
                <c:pt idx="5515">
                  <c:v>253643124</c:v>
                </c:pt>
                <c:pt idx="5516">
                  <c:v>117669609</c:v>
                </c:pt>
                <c:pt idx="5517">
                  <c:v>519622272</c:v>
                </c:pt>
                <c:pt idx="5518">
                  <c:v>386869640</c:v>
                </c:pt>
                <c:pt idx="5519">
                  <c:v>634421016</c:v>
                </c:pt>
                <c:pt idx="5520">
                  <c:v>6331992</c:v>
                </c:pt>
                <c:pt idx="5521">
                  <c:v>650098330</c:v>
                </c:pt>
                <c:pt idx="5522">
                  <c:v>271270188</c:v>
                </c:pt>
                <c:pt idx="5523">
                  <c:v>563850720</c:v>
                </c:pt>
                <c:pt idx="5524">
                  <c:v>761915790</c:v>
                </c:pt>
                <c:pt idx="5525">
                  <c:v>421028400</c:v>
                </c:pt>
                <c:pt idx="5526">
                  <c:v>121237389</c:v>
                </c:pt>
                <c:pt idx="5527">
                  <c:v>406732672</c:v>
                </c:pt>
                <c:pt idx="5528">
                  <c:v>254079070</c:v>
                </c:pt>
                <c:pt idx="5529">
                  <c:v>61086992</c:v>
                </c:pt>
                <c:pt idx="5530">
                  <c:v>15478672</c:v>
                </c:pt>
                <c:pt idx="5531">
                  <c:v>180694071</c:v>
                </c:pt>
                <c:pt idx="5532">
                  <c:v>489568046</c:v>
                </c:pt>
                <c:pt idx="5533">
                  <c:v>180218570</c:v>
                </c:pt>
                <c:pt idx="5534">
                  <c:v>236777989</c:v>
                </c:pt>
                <c:pt idx="5535">
                  <c:v>4440480</c:v>
                </c:pt>
                <c:pt idx="5536">
                  <c:v>16336932</c:v>
                </c:pt>
                <c:pt idx="5537">
                  <c:v>197102080</c:v>
                </c:pt>
                <c:pt idx="5538">
                  <c:v>8465875</c:v>
                </c:pt>
                <c:pt idx="5539">
                  <c:v>10462918</c:v>
                </c:pt>
                <c:pt idx="5540">
                  <c:v>164957702</c:v>
                </c:pt>
                <c:pt idx="5541">
                  <c:v>13351260</c:v>
                </c:pt>
                <c:pt idx="5542">
                  <c:v>113526714</c:v>
                </c:pt>
                <c:pt idx="5543">
                  <c:v>6846180</c:v>
                </c:pt>
                <c:pt idx="5544">
                  <c:v>295425526</c:v>
                </c:pt>
                <c:pt idx="5545">
                  <c:v>82970327</c:v>
                </c:pt>
                <c:pt idx="5546">
                  <c:v>337919120</c:v>
                </c:pt>
                <c:pt idx="5547">
                  <c:v>198131205</c:v>
                </c:pt>
                <c:pt idx="5548">
                  <c:v>601410600</c:v>
                </c:pt>
                <c:pt idx="5549">
                  <c:v>298324395</c:v>
                </c:pt>
                <c:pt idx="5550">
                  <c:v>555094397</c:v>
                </c:pt>
                <c:pt idx="5551">
                  <c:v>717194836</c:v>
                </c:pt>
                <c:pt idx="5552">
                  <c:v>1316328577</c:v>
                </c:pt>
                <c:pt idx="5553">
                  <c:v>838494272</c:v>
                </c:pt>
                <c:pt idx="5554">
                  <c:v>1065798466</c:v>
                </c:pt>
                <c:pt idx="5555">
                  <c:v>371033432</c:v>
                </c:pt>
                <c:pt idx="5556">
                  <c:v>870604833</c:v>
                </c:pt>
                <c:pt idx="5557">
                  <c:v>322192850</c:v>
                </c:pt>
                <c:pt idx="5558">
                  <c:v>1864363072</c:v>
                </c:pt>
                <c:pt idx="5559">
                  <c:v>2064732120</c:v>
                </c:pt>
                <c:pt idx="5560">
                  <c:v>545639556</c:v>
                </c:pt>
                <c:pt idx="5561">
                  <c:v>48299307</c:v>
                </c:pt>
                <c:pt idx="5562">
                  <c:v>1138368759</c:v>
                </c:pt>
                <c:pt idx="5563">
                  <c:v>2147483647</c:v>
                </c:pt>
                <c:pt idx="5564">
                  <c:v>2047031068</c:v>
                </c:pt>
                <c:pt idx="5565">
                  <c:v>977348267</c:v>
                </c:pt>
                <c:pt idx="5566">
                  <c:v>1973345465</c:v>
                </c:pt>
                <c:pt idx="5567">
                  <c:v>17729376</c:v>
                </c:pt>
                <c:pt idx="5568">
                  <c:v>22739772</c:v>
                </c:pt>
                <c:pt idx="5569">
                  <c:v>540038053</c:v>
                </c:pt>
                <c:pt idx="5570">
                  <c:v>398054031</c:v>
                </c:pt>
                <c:pt idx="5571">
                  <c:v>746365560</c:v>
                </c:pt>
                <c:pt idx="5572">
                  <c:v>1349267607</c:v>
                </c:pt>
                <c:pt idx="5573">
                  <c:v>649773900</c:v>
                </c:pt>
                <c:pt idx="5574">
                  <c:v>1077093189</c:v>
                </c:pt>
                <c:pt idx="5575">
                  <c:v>692145760</c:v>
                </c:pt>
                <c:pt idx="5576">
                  <c:v>727464910</c:v>
                </c:pt>
                <c:pt idx="5577">
                  <c:v>1667955903</c:v>
                </c:pt>
                <c:pt idx="5578">
                  <c:v>576860256</c:v>
                </c:pt>
                <c:pt idx="5579">
                  <c:v>1273641024</c:v>
                </c:pt>
                <c:pt idx="5580">
                  <c:v>1012327443</c:v>
                </c:pt>
                <c:pt idx="5581">
                  <c:v>1098329327</c:v>
                </c:pt>
                <c:pt idx="5582">
                  <c:v>238047745</c:v>
                </c:pt>
                <c:pt idx="5583">
                  <c:v>13040352</c:v>
                </c:pt>
                <c:pt idx="5584">
                  <c:v>271718400</c:v>
                </c:pt>
                <c:pt idx="5585">
                  <c:v>438537645</c:v>
                </c:pt>
                <c:pt idx="5586">
                  <c:v>6551320</c:v>
                </c:pt>
                <c:pt idx="5587">
                  <c:v>266380764</c:v>
                </c:pt>
                <c:pt idx="5588">
                  <c:v>312832530</c:v>
                </c:pt>
                <c:pt idx="5589">
                  <c:v>155763744</c:v>
                </c:pt>
                <c:pt idx="5590">
                  <c:v>74675016</c:v>
                </c:pt>
                <c:pt idx="5591">
                  <c:v>395490040</c:v>
                </c:pt>
                <c:pt idx="5592">
                  <c:v>51181798</c:v>
                </c:pt>
                <c:pt idx="5593">
                  <c:v>335122356</c:v>
                </c:pt>
                <c:pt idx="5594">
                  <c:v>177603600</c:v>
                </c:pt>
                <c:pt idx="5595">
                  <c:v>481245513</c:v>
                </c:pt>
                <c:pt idx="5596">
                  <c:v>242501480</c:v>
                </c:pt>
                <c:pt idx="5597">
                  <c:v>84585182</c:v>
                </c:pt>
                <c:pt idx="5598">
                  <c:v>281330438</c:v>
                </c:pt>
                <c:pt idx="5599">
                  <c:v>131504070</c:v>
                </c:pt>
                <c:pt idx="5600">
                  <c:v>47501898</c:v>
                </c:pt>
                <c:pt idx="5601">
                  <c:v>5299304</c:v>
                </c:pt>
                <c:pt idx="5602">
                  <c:v>352113750</c:v>
                </c:pt>
                <c:pt idx="5603">
                  <c:v>1457588735</c:v>
                </c:pt>
                <c:pt idx="5604">
                  <c:v>183611041</c:v>
                </c:pt>
                <c:pt idx="5605">
                  <c:v>399276374</c:v>
                </c:pt>
                <c:pt idx="5606">
                  <c:v>663623696</c:v>
                </c:pt>
                <c:pt idx="5607">
                  <c:v>47825482</c:v>
                </c:pt>
                <c:pt idx="5608">
                  <c:v>1106188272</c:v>
                </c:pt>
                <c:pt idx="5609">
                  <c:v>89567016</c:v>
                </c:pt>
                <c:pt idx="5610">
                  <c:v>510939717</c:v>
                </c:pt>
                <c:pt idx="5611">
                  <c:v>358333170</c:v>
                </c:pt>
                <c:pt idx="5612">
                  <c:v>997027640</c:v>
                </c:pt>
                <c:pt idx="5613">
                  <c:v>745974229</c:v>
                </c:pt>
                <c:pt idx="5614">
                  <c:v>436616880</c:v>
                </c:pt>
                <c:pt idx="5615">
                  <c:v>766037802</c:v>
                </c:pt>
                <c:pt idx="5616">
                  <c:v>22038901</c:v>
                </c:pt>
                <c:pt idx="5617">
                  <c:v>2147483647</c:v>
                </c:pt>
                <c:pt idx="5618">
                  <c:v>2147483647</c:v>
                </c:pt>
                <c:pt idx="5619">
                  <c:v>2147483647</c:v>
                </c:pt>
                <c:pt idx="5620">
                  <c:v>234010200</c:v>
                </c:pt>
                <c:pt idx="5621">
                  <c:v>1298972754</c:v>
                </c:pt>
                <c:pt idx="5622">
                  <c:v>2147483647</c:v>
                </c:pt>
                <c:pt idx="5623">
                  <c:v>2147483647</c:v>
                </c:pt>
                <c:pt idx="5624">
                  <c:v>2147483647</c:v>
                </c:pt>
                <c:pt idx="5625">
                  <c:v>2000860310</c:v>
                </c:pt>
                <c:pt idx="5626">
                  <c:v>2147483647</c:v>
                </c:pt>
                <c:pt idx="5627">
                  <c:v>946381568</c:v>
                </c:pt>
                <c:pt idx="5628">
                  <c:v>1620962904</c:v>
                </c:pt>
                <c:pt idx="5629">
                  <c:v>2147483647</c:v>
                </c:pt>
                <c:pt idx="5630">
                  <c:v>957579124</c:v>
                </c:pt>
                <c:pt idx="5631">
                  <c:v>930284876</c:v>
                </c:pt>
                <c:pt idx="5632">
                  <c:v>1717722768</c:v>
                </c:pt>
                <c:pt idx="5633">
                  <c:v>1481181271</c:v>
                </c:pt>
                <c:pt idx="5634">
                  <c:v>1043547799</c:v>
                </c:pt>
                <c:pt idx="5635">
                  <c:v>1202493516</c:v>
                </c:pt>
                <c:pt idx="5636">
                  <c:v>503404288</c:v>
                </c:pt>
                <c:pt idx="5637">
                  <c:v>880898976</c:v>
                </c:pt>
                <c:pt idx="5638">
                  <c:v>1778565936</c:v>
                </c:pt>
                <c:pt idx="5639">
                  <c:v>175370013</c:v>
                </c:pt>
                <c:pt idx="5640">
                  <c:v>1434562578</c:v>
                </c:pt>
                <c:pt idx="5641">
                  <c:v>1862833887</c:v>
                </c:pt>
                <c:pt idx="5642">
                  <c:v>1353539250</c:v>
                </c:pt>
                <c:pt idx="5643">
                  <c:v>1586911950</c:v>
                </c:pt>
                <c:pt idx="5644">
                  <c:v>429595411</c:v>
                </c:pt>
                <c:pt idx="5645">
                  <c:v>230859153</c:v>
                </c:pt>
                <c:pt idx="5646">
                  <c:v>191747048</c:v>
                </c:pt>
                <c:pt idx="5647">
                  <c:v>2147483647</c:v>
                </c:pt>
                <c:pt idx="5648">
                  <c:v>1259351616</c:v>
                </c:pt>
                <c:pt idx="5649">
                  <c:v>1258241016</c:v>
                </c:pt>
                <c:pt idx="5650">
                  <c:v>87366423</c:v>
                </c:pt>
                <c:pt idx="5651">
                  <c:v>10101656</c:v>
                </c:pt>
                <c:pt idx="5652">
                  <c:v>1065702980</c:v>
                </c:pt>
                <c:pt idx="5653">
                  <c:v>190074963</c:v>
                </c:pt>
                <c:pt idx="5654">
                  <c:v>1592367191</c:v>
                </c:pt>
                <c:pt idx="5655">
                  <c:v>135152012</c:v>
                </c:pt>
                <c:pt idx="5656">
                  <c:v>492810955</c:v>
                </c:pt>
                <c:pt idx="5657">
                  <c:v>48570984</c:v>
                </c:pt>
                <c:pt idx="5658">
                  <c:v>90697850</c:v>
                </c:pt>
                <c:pt idx="5659">
                  <c:v>2147483647</c:v>
                </c:pt>
                <c:pt idx="5660">
                  <c:v>2147483647</c:v>
                </c:pt>
                <c:pt idx="5661">
                  <c:v>1101837201</c:v>
                </c:pt>
                <c:pt idx="5662">
                  <c:v>2147483647</c:v>
                </c:pt>
                <c:pt idx="5663">
                  <c:v>1817321080</c:v>
                </c:pt>
                <c:pt idx="5664">
                  <c:v>298288452</c:v>
                </c:pt>
                <c:pt idx="5665">
                  <c:v>1676131098</c:v>
                </c:pt>
                <c:pt idx="5666">
                  <c:v>2147483647</c:v>
                </c:pt>
                <c:pt idx="5667">
                  <c:v>638382080</c:v>
                </c:pt>
                <c:pt idx="5668">
                  <c:v>1711309320</c:v>
                </c:pt>
                <c:pt idx="5669">
                  <c:v>2147483647</c:v>
                </c:pt>
                <c:pt idx="5670">
                  <c:v>2147483647</c:v>
                </c:pt>
                <c:pt idx="5671">
                  <c:v>2147483647</c:v>
                </c:pt>
                <c:pt idx="5672">
                  <c:v>2147483647</c:v>
                </c:pt>
                <c:pt idx="5673">
                  <c:v>434669755</c:v>
                </c:pt>
                <c:pt idx="5674">
                  <c:v>454731666</c:v>
                </c:pt>
                <c:pt idx="5675">
                  <c:v>699153858</c:v>
                </c:pt>
                <c:pt idx="5676">
                  <c:v>1030414064</c:v>
                </c:pt>
                <c:pt idx="5677">
                  <c:v>1580472129</c:v>
                </c:pt>
                <c:pt idx="5678">
                  <c:v>1841322582</c:v>
                </c:pt>
                <c:pt idx="5679">
                  <c:v>1037882506</c:v>
                </c:pt>
                <c:pt idx="5680">
                  <c:v>201889260</c:v>
                </c:pt>
                <c:pt idx="5681">
                  <c:v>99959000</c:v>
                </c:pt>
                <c:pt idx="5682">
                  <c:v>1140851584</c:v>
                </c:pt>
                <c:pt idx="5683">
                  <c:v>1071459168</c:v>
                </c:pt>
                <c:pt idx="5684">
                  <c:v>1530069696</c:v>
                </c:pt>
                <c:pt idx="5685">
                  <c:v>605248828</c:v>
                </c:pt>
                <c:pt idx="5686">
                  <c:v>25026144</c:v>
                </c:pt>
                <c:pt idx="5687">
                  <c:v>69441568</c:v>
                </c:pt>
                <c:pt idx="5688">
                  <c:v>68054415</c:v>
                </c:pt>
                <c:pt idx="5689">
                  <c:v>769089132</c:v>
                </c:pt>
                <c:pt idx="5690">
                  <c:v>39519391</c:v>
                </c:pt>
                <c:pt idx="5691">
                  <c:v>279444236</c:v>
                </c:pt>
                <c:pt idx="5692">
                  <c:v>34108470</c:v>
                </c:pt>
                <c:pt idx="5693">
                  <c:v>30384790</c:v>
                </c:pt>
                <c:pt idx="5694">
                  <c:v>616367160</c:v>
                </c:pt>
                <c:pt idx="5695">
                  <c:v>59534800</c:v>
                </c:pt>
                <c:pt idx="5696">
                  <c:v>47410704</c:v>
                </c:pt>
                <c:pt idx="5697">
                  <c:v>203422652</c:v>
                </c:pt>
                <c:pt idx="5698">
                  <c:v>122745380</c:v>
                </c:pt>
                <c:pt idx="5699">
                  <c:v>53432190</c:v>
                </c:pt>
                <c:pt idx="5700">
                  <c:v>47303316</c:v>
                </c:pt>
                <c:pt idx="5701">
                  <c:v>27026634</c:v>
                </c:pt>
                <c:pt idx="5702">
                  <c:v>35935016</c:v>
                </c:pt>
                <c:pt idx="5703">
                  <c:v>26901863</c:v>
                </c:pt>
                <c:pt idx="5704">
                  <c:v>18431831</c:v>
                </c:pt>
                <c:pt idx="5705">
                  <c:v>357717140</c:v>
                </c:pt>
                <c:pt idx="5706">
                  <c:v>503505405</c:v>
                </c:pt>
                <c:pt idx="5707">
                  <c:v>303988300</c:v>
                </c:pt>
                <c:pt idx="5708">
                  <c:v>743310015</c:v>
                </c:pt>
                <c:pt idx="5709">
                  <c:v>411499852</c:v>
                </c:pt>
                <c:pt idx="5710">
                  <c:v>52001916</c:v>
                </c:pt>
                <c:pt idx="5711">
                  <c:v>947494337</c:v>
                </c:pt>
                <c:pt idx="5712">
                  <c:v>766973968</c:v>
                </c:pt>
                <c:pt idx="5713">
                  <c:v>1040981571</c:v>
                </c:pt>
                <c:pt idx="5714">
                  <c:v>948010618</c:v>
                </c:pt>
                <c:pt idx="5715">
                  <c:v>37155776</c:v>
                </c:pt>
                <c:pt idx="5716">
                  <c:v>948690816</c:v>
                </c:pt>
                <c:pt idx="5717">
                  <c:v>75659233</c:v>
                </c:pt>
                <c:pt idx="5718">
                  <c:v>132977922</c:v>
                </c:pt>
                <c:pt idx="5719">
                  <c:v>38901654</c:v>
                </c:pt>
                <c:pt idx="5720">
                  <c:v>81296548</c:v>
                </c:pt>
                <c:pt idx="5721">
                  <c:v>162413200</c:v>
                </c:pt>
                <c:pt idx="5722">
                  <c:v>108551316</c:v>
                </c:pt>
                <c:pt idx="5723">
                  <c:v>552115674</c:v>
                </c:pt>
                <c:pt idx="5724">
                  <c:v>26289900</c:v>
                </c:pt>
                <c:pt idx="5725">
                  <c:v>46580973</c:v>
                </c:pt>
                <c:pt idx="5726">
                  <c:v>343738260</c:v>
                </c:pt>
                <c:pt idx="5727">
                  <c:v>28824224</c:v>
                </c:pt>
                <c:pt idx="5728">
                  <c:v>113654976</c:v>
                </c:pt>
                <c:pt idx="5729">
                  <c:v>107898660</c:v>
                </c:pt>
                <c:pt idx="5730">
                  <c:v>45099649</c:v>
                </c:pt>
                <c:pt idx="5731">
                  <c:v>34847064</c:v>
                </c:pt>
                <c:pt idx="5732">
                  <c:v>50927450</c:v>
                </c:pt>
                <c:pt idx="5733">
                  <c:v>603687841</c:v>
                </c:pt>
                <c:pt idx="5734">
                  <c:v>960879870</c:v>
                </c:pt>
                <c:pt idx="5735">
                  <c:v>1441960891</c:v>
                </c:pt>
                <c:pt idx="5736">
                  <c:v>1556984475</c:v>
                </c:pt>
                <c:pt idx="5737">
                  <c:v>967397806</c:v>
                </c:pt>
                <c:pt idx="5738">
                  <c:v>220041731</c:v>
                </c:pt>
                <c:pt idx="5739">
                  <c:v>309732672</c:v>
                </c:pt>
                <c:pt idx="5740">
                  <c:v>334283824</c:v>
                </c:pt>
                <c:pt idx="5741">
                  <c:v>172644980</c:v>
                </c:pt>
                <c:pt idx="5742">
                  <c:v>1301343368</c:v>
                </c:pt>
                <c:pt idx="5743">
                  <c:v>1132595955</c:v>
                </c:pt>
                <c:pt idx="5744">
                  <c:v>1373812316</c:v>
                </c:pt>
                <c:pt idx="5745">
                  <c:v>1793894396</c:v>
                </c:pt>
                <c:pt idx="5746">
                  <c:v>200017475</c:v>
                </c:pt>
                <c:pt idx="5747">
                  <c:v>1831670746</c:v>
                </c:pt>
                <c:pt idx="5748">
                  <c:v>727779632</c:v>
                </c:pt>
                <c:pt idx="5749">
                  <c:v>532876240</c:v>
                </c:pt>
                <c:pt idx="5750">
                  <c:v>158159365</c:v>
                </c:pt>
                <c:pt idx="5751">
                  <c:v>1726918635</c:v>
                </c:pt>
                <c:pt idx="5752">
                  <c:v>530950440</c:v>
                </c:pt>
                <c:pt idx="5753">
                  <c:v>629639604</c:v>
                </c:pt>
                <c:pt idx="5754">
                  <c:v>1062737280</c:v>
                </c:pt>
                <c:pt idx="5755">
                  <c:v>1293129742</c:v>
                </c:pt>
                <c:pt idx="5756">
                  <c:v>2147483647</c:v>
                </c:pt>
                <c:pt idx="5757">
                  <c:v>1044099212</c:v>
                </c:pt>
                <c:pt idx="5758">
                  <c:v>1071450207</c:v>
                </c:pt>
                <c:pt idx="5759">
                  <c:v>1351997182</c:v>
                </c:pt>
                <c:pt idx="5760">
                  <c:v>1403652925</c:v>
                </c:pt>
                <c:pt idx="5761">
                  <c:v>143839072</c:v>
                </c:pt>
                <c:pt idx="5762">
                  <c:v>369475128</c:v>
                </c:pt>
                <c:pt idx="5763">
                  <c:v>327909060</c:v>
                </c:pt>
                <c:pt idx="5764">
                  <c:v>30942720</c:v>
                </c:pt>
                <c:pt idx="5765">
                  <c:v>559242222</c:v>
                </c:pt>
                <c:pt idx="5766">
                  <c:v>119290020</c:v>
                </c:pt>
                <c:pt idx="5767">
                  <c:v>188792892</c:v>
                </c:pt>
                <c:pt idx="5768">
                  <c:v>23092604</c:v>
                </c:pt>
                <c:pt idx="5769">
                  <c:v>376052861</c:v>
                </c:pt>
                <c:pt idx="5770">
                  <c:v>1160518583</c:v>
                </c:pt>
                <c:pt idx="5771">
                  <c:v>2147483647</c:v>
                </c:pt>
                <c:pt idx="5772">
                  <c:v>2147483647</c:v>
                </c:pt>
                <c:pt idx="5773">
                  <c:v>150718450</c:v>
                </c:pt>
                <c:pt idx="5774">
                  <c:v>293395112</c:v>
                </c:pt>
                <c:pt idx="5775">
                  <c:v>147301911</c:v>
                </c:pt>
                <c:pt idx="5776">
                  <c:v>71603284</c:v>
                </c:pt>
                <c:pt idx="5777">
                  <c:v>515323354</c:v>
                </c:pt>
                <c:pt idx="5778">
                  <c:v>1177649958</c:v>
                </c:pt>
                <c:pt idx="5779">
                  <c:v>1165434894</c:v>
                </c:pt>
                <c:pt idx="5780">
                  <c:v>958100880</c:v>
                </c:pt>
                <c:pt idx="5781">
                  <c:v>1369764940</c:v>
                </c:pt>
                <c:pt idx="5782">
                  <c:v>461955021</c:v>
                </c:pt>
                <c:pt idx="5783">
                  <c:v>21127887</c:v>
                </c:pt>
                <c:pt idx="5784">
                  <c:v>2147483647</c:v>
                </c:pt>
                <c:pt idx="5785">
                  <c:v>2147483647</c:v>
                </c:pt>
                <c:pt idx="5786">
                  <c:v>1951329751</c:v>
                </c:pt>
                <c:pt idx="5787">
                  <c:v>2147483647</c:v>
                </c:pt>
                <c:pt idx="5788">
                  <c:v>248345925</c:v>
                </c:pt>
                <c:pt idx="5789">
                  <c:v>1503015930</c:v>
                </c:pt>
                <c:pt idx="5790">
                  <c:v>493191615</c:v>
                </c:pt>
                <c:pt idx="5791">
                  <c:v>400814322</c:v>
                </c:pt>
                <c:pt idx="5792">
                  <c:v>22441410</c:v>
                </c:pt>
                <c:pt idx="5793">
                  <c:v>569972320</c:v>
                </c:pt>
                <c:pt idx="5794">
                  <c:v>117673203</c:v>
                </c:pt>
                <c:pt idx="5795">
                  <c:v>18352367</c:v>
                </c:pt>
                <c:pt idx="5796">
                  <c:v>2147483647</c:v>
                </c:pt>
                <c:pt idx="5797">
                  <c:v>635384928</c:v>
                </c:pt>
                <c:pt idx="5798">
                  <c:v>2147483647</c:v>
                </c:pt>
                <c:pt idx="5799">
                  <c:v>1524680950</c:v>
                </c:pt>
                <c:pt idx="5800">
                  <c:v>2147483647</c:v>
                </c:pt>
                <c:pt idx="5801">
                  <c:v>1013210520</c:v>
                </c:pt>
                <c:pt idx="5802">
                  <c:v>233466095</c:v>
                </c:pt>
                <c:pt idx="5803">
                  <c:v>27764220</c:v>
                </c:pt>
                <c:pt idx="5804">
                  <c:v>698557264</c:v>
                </c:pt>
                <c:pt idx="5805">
                  <c:v>22868664</c:v>
                </c:pt>
                <c:pt idx="5806">
                  <c:v>1340743925</c:v>
                </c:pt>
                <c:pt idx="5807">
                  <c:v>637822240</c:v>
                </c:pt>
                <c:pt idx="5808">
                  <c:v>2147483647</c:v>
                </c:pt>
                <c:pt idx="5809">
                  <c:v>1039730346</c:v>
                </c:pt>
                <c:pt idx="5810">
                  <c:v>1231768208</c:v>
                </c:pt>
                <c:pt idx="5811">
                  <c:v>2147483647</c:v>
                </c:pt>
                <c:pt idx="5812">
                  <c:v>1066876312</c:v>
                </c:pt>
                <c:pt idx="5813">
                  <c:v>46317843</c:v>
                </c:pt>
                <c:pt idx="5814">
                  <c:v>898768401</c:v>
                </c:pt>
                <c:pt idx="5815">
                  <c:v>1317631705</c:v>
                </c:pt>
                <c:pt idx="5816">
                  <c:v>1394665342</c:v>
                </c:pt>
                <c:pt idx="5817">
                  <c:v>93210432</c:v>
                </c:pt>
                <c:pt idx="5818">
                  <c:v>1923576972</c:v>
                </c:pt>
                <c:pt idx="5819">
                  <c:v>2147483647</c:v>
                </c:pt>
                <c:pt idx="5820">
                  <c:v>681035684</c:v>
                </c:pt>
                <c:pt idx="5821">
                  <c:v>2147483647</c:v>
                </c:pt>
                <c:pt idx="5822">
                  <c:v>895297676</c:v>
                </c:pt>
                <c:pt idx="5823">
                  <c:v>2147483647</c:v>
                </c:pt>
                <c:pt idx="5824">
                  <c:v>2147483647</c:v>
                </c:pt>
                <c:pt idx="5825">
                  <c:v>1098300330</c:v>
                </c:pt>
                <c:pt idx="5826">
                  <c:v>890585625</c:v>
                </c:pt>
                <c:pt idx="5827">
                  <c:v>1429748870</c:v>
                </c:pt>
                <c:pt idx="5828">
                  <c:v>1268402400</c:v>
                </c:pt>
                <c:pt idx="5829">
                  <c:v>319540445</c:v>
                </c:pt>
                <c:pt idx="5830">
                  <c:v>1699314410</c:v>
                </c:pt>
                <c:pt idx="5831">
                  <c:v>1615971892</c:v>
                </c:pt>
                <c:pt idx="5832">
                  <c:v>214128496</c:v>
                </c:pt>
                <c:pt idx="5833">
                  <c:v>129738460</c:v>
                </c:pt>
                <c:pt idx="5834">
                  <c:v>985934008</c:v>
                </c:pt>
                <c:pt idx="5835">
                  <c:v>1418177656</c:v>
                </c:pt>
                <c:pt idx="5836">
                  <c:v>568342190</c:v>
                </c:pt>
                <c:pt idx="5837">
                  <c:v>108235113</c:v>
                </c:pt>
                <c:pt idx="5838">
                  <c:v>646422095</c:v>
                </c:pt>
                <c:pt idx="5839">
                  <c:v>165312336</c:v>
                </c:pt>
                <c:pt idx="5840">
                  <c:v>1192784393</c:v>
                </c:pt>
                <c:pt idx="5841">
                  <c:v>746987022</c:v>
                </c:pt>
                <c:pt idx="5842">
                  <c:v>2147483647</c:v>
                </c:pt>
                <c:pt idx="5843">
                  <c:v>2147483647</c:v>
                </c:pt>
                <c:pt idx="5844">
                  <c:v>2147483647</c:v>
                </c:pt>
                <c:pt idx="5845">
                  <c:v>1907481805</c:v>
                </c:pt>
                <c:pt idx="5846">
                  <c:v>839042730</c:v>
                </c:pt>
                <c:pt idx="5847">
                  <c:v>731267857</c:v>
                </c:pt>
                <c:pt idx="5848">
                  <c:v>571054940</c:v>
                </c:pt>
                <c:pt idx="5849">
                  <c:v>875287215</c:v>
                </c:pt>
                <c:pt idx="5850">
                  <c:v>10344411</c:v>
                </c:pt>
                <c:pt idx="5851">
                  <c:v>22013343</c:v>
                </c:pt>
                <c:pt idx="5852">
                  <c:v>145772138</c:v>
                </c:pt>
                <c:pt idx="5853">
                  <c:v>822811614</c:v>
                </c:pt>
                <c:pt idx="5854">
                  <c:v>50957353</c:v>
                </c:pt>
                <c:pt idx="5855">
                  <c:v>244569420</c:v>
                </c:pt>
                <c:pt idx="5856">
                  <c:v>1602432453</c:v>
                </c:pt>
                <c:pt idx="5857">
                  <c:v>1945139913</c:v>
                </c:pt>
                <c:pt idx="5858">
                  <c:v>19175670</c:v>
                </c:pt>
                <c:pt idx="5859">
                  <c:v>666326810</c:v>
                </c:pt>
                <c:pt idx="5860">
                  <c:v>1629830940</c:v>
                </c:pt>
                <c:pt idx="5861">
                  <c:v>1099264152</c:v>
                </c:pt>
                <c:pt idx="5862">
                  <c:v>980457984</c:v>
                </c:pt>
                <c:pt idx="5863">
                  <c:v>40906896</c:v>
                </c:pt>
                <c:pt idx="5864">
                  <c:v>331938075</c:v>
                </c:pt>
                <c:pt idx="5865">
                  <c:v>748109568</c:v>
                </c:pt>
                <c:pt idx="5866">
                  <c:v>315352986</c:v>
                </c:pt>
                <c:pt idx="5867">
                  <c:v>433458368</c:v>
                </c:pt>
                <c:pt idx="5868">
                  <c:v>2147483647</c:v>
                </c:pt>
                <c:pt idx="5869">
                  <c:v>529545978</c:v>
                </c:pt>
                <c:pt idx="5870">
                  <c:v>392831390</c:v>
                </c:pt>
                <c:pt idx="5871">
                  <c:v>922146040</c:v>
                </c:pt>
                <c:pt idx="5872">
                  <c:v>322169580</c:v>
                </c:pt>
                <c:pt idx="5873">
                  <c:v>1780723054</c:v>
                </c:pt>
                <c:pt idx="5874">
                  <c:v>1402648182</c:v>
                </c:pt>
                <c:pt idx="5875">
                  <c:v>2147483647</c:v>
                </c:pt>
                <c:pt idx="5876">
                  <c:v>430428450</c:v>
                </c:pt>
                <c:pt idx="5877">
                  <c:v>2147483647</c:v>
                </c:pt>
                <c:pt idx="5878">
                  <c:v>753367031</c:v>
                </c:pt>
                <c:pt idx="5879">
                  <c:v>584589856</c:v>
                </c:pt>
                <c:pt idx="5880">
                  <c:v>140884335</c:v>
                </c:pt>
                <c:pt idx="5881">
                  <c:v>1062135542</c:v>
                </c:pt>
                <c:pt idx="5882">
                  <c:v>1717576446</c:v>
                </c:pt>
                <c:pt idx="5883">
                  <c:v>251247722</c:v>
                </c:pt>
                <c:pt idx="5884">
                  <c:v>1745245550</c:v>
                </c:pt>
                <c:pt idx="5885">
                  <c:v>1925202870</c:v>
                </c:pt>
                <c:pt idx="5886">
                  <c:v>409815439</c:v>
                </c:pt>
                <c:pt idx="5887">
                  <c:v>92033334</c:v>
                </c:pt>
                <c:pt idx="5888">
                  <c:v>302194319</c:v>
                </c:pt>
                <c:pt idx="5889">
                  <c:v>144188496</c:v>
                </c:pt>
                <c:pt idx="5890">
                  <c:v>18668916</c:v>
                </c:pt>
                <c:pt idx="5891">
                  <c:v>1564205500</c:v>
                </c:pt>
                <c:pt idx="5892">
                  <c:v>969338745</c:v>
                </c:pt>
                <c:pt idx="5893">
                  <c:v>112410192</c:v>
                </c:pt>
                <c:pt idx="5894">
                  <c:v>287487000</c:v>
                </c:pt>
                <c:pt idx="5895">
                  <c:v>209970765</c:v>
                </c:pt>
                <c:pt idx="5896">
                  <c:v>498021030</c:v>
                </c:pt>
                <c:pt idx="5897">
                  <c:v>611490048</c:v>
                </c:pt>
                <c:pt idx="5898">
                  <c:v>769784130</c:v>
                </c:pt>
                <c:pt idx="5899">
                  <c:v>1115933631</c:v>
                </c:pt>
                <c:pt idx="5900">
                  <c:v>250019055</c:v>
                </c:pt>
                <c:pt idx="5901">
                  <c:v>1496047469</c:v>
                </c:pt>
                <c:pt idx="5902">
                  <c:v>1438389920</c:v>
                </c:pt>
                <c:pt idx="5903">
                  <c:v>1802083852</c:v>
                </c:pt>
                <c:pt idx="5904">
                  <c:v>1447657893</c:v>
                </c:pt>
                <c:pt idx="5905">
                  <c:v>901285875</c:v>
                </c:pt>
                <c:pt idx="5906">
                  <c:v>772819086</c:v>
                </c:pt>
                <c:pt idx="5907">
                  <c:v>1842093873</c:v>
                </c:pt>
                <c:pt idx="5908">
                  <c:v>657288952</c:v>
                </c:pt>
                <c:pt idx="5909">
                  <c:v>735918848</c:v>
                </c:pt>
                <c:pt idx="5910">
                  <c:v>1363453637</c:v>
                </c:pt>
                <c:pt idx="5911">
                  <c:v>607293432</c:v>
                </c:pt>
                <c:pt idx="5912">
                  <c:v>805620984</c:v>
                </c:pt>
                <c:pt idx="5913">
                  <c:v>1528392600</c:v>
                </c:pt>
                <c:pt idx="5914">
                  <c:v>474213357</c:v>
                </c:pt>
                <c:pt idx="5915">
                  <c:v>1465918240</c:v>
                </c:pt>
                <c:pt idx="5916">
                  <c:v>1344696051</c:v>
                </c:pt>
                <c:pt idx="5917">
                  <c:v>1628903306</c:v>
                </c:pt>
                <c:pt idx="5918">
                  <c:v>382966020</c:v>
                </c:pt>
                <c:pt idx="5919">
                  <c:v>2083225038</c:v>
                </c:pt>
                <c:pt idx="5920">
                  <c:v>755920368</c:v>
                </c:pt>
                <c:pt idx="5921">
                  <c:v>192315420</c:v>
                </c:pt>
                <c:pt idx="5922">
                  <c:v>1207215789</c:v>
                </c:pt>
                <c:pt idx="5923">
                  <c:v>2147483647</c:v>
                </c:pt>
                <c:pt idx="5924">
                  <c:v>1130945067</c:v>
                </c:pt>
                <c:pt idx="5925">
                  <c:v>1869504808</c:v>
                </c:pt>
                <c:pt idx="5926">
                  <c:v>817828275</c:v>
                </c:pt>
                <c:pt idx="5927">
                  <c:v>2147483647</c:v>
                </c:pt>
                <c:pt idx="5928">
                  <c:v>1453655040</c:v>
                </c:pt>
                <c:pt idx="5929">
                  <c:v>1146003672</c:v>
                </c:pt>
                <c:pt idx="5930">
                  <c:v>939466790</c:v>
                </c:pt>
                <c:pt idx="5931">
                  <c:v>1213400588</c:v>
                </c:pt>
                <c:pt idx="5932">
                  <c:v>1036803150</c:v>
                </c:pt>
                <c:pt idx="5933">
                  <c:v>2147483647</c:v>
                </c:pt>
                <c:pt idx="5934">
                  <c:v>1975629982</c:v>
                </c:pt>
                <c:pt idx="5935">
                  <c:v>1299128796</c:v>
                </c:pt>
                <c:pt idx="5936">
                  <c:v>1127268618</c:v>
                </c:pt>
                <c:pt idx="5937">
                  <c:v>77610395</c:v>
                </c:pt>
                <c:pt idx="5938">
                  <c:v>42430080</c:v>
                </c:pt>
                <c:pt idx="5939">
                  <c:v>18606690</c:v>
                </c:pt>
                <c:pt idx="5940">
                  <c:v>54292160</c:v>
                </c:pt>
                <c:pt idx="5941">
                  <c:v>61642710</c:v>
                </c:pt>
                <c:pt idx="5942">
                  <c:v>326419956</c:v>
                </c:pt>
                <c:pt idx="5943">
                  <c:v>118599600</c:v>
                </c:pt>
                <c:pt idx="5944">
                  <c:v>63937376</c:v>
                </c:pt>
                <c:pt idx="5945">
                  <c:v>1082500</c:v>
                </c:pt>
                <c:pt idx="5946">
                  <c:v>57751200</c:v>
                </c:pt>
                <c:pt idx="5947">
                  <c:v>1398100</c:v>
                </c:pt>
                <c:pt idx="5948">
                  <c:v>12618738</c:v>
                </c:pt>
                <c:pt idx="5949">
                  <c:v>56010570</c:v>
                </c:pt>
                <c:pt idx="5950">
                  <c:v>511420112</c:v>
                </c:pt>
                <c:pt idx="5951">
                  <c:v>37458492</c:v>
                </c:pt>
                <c:pt idx="5952">
                  <c:v>37091436</c:v>
                </c:pt>
                <c:pt idx="5953">
                  <c:v>102180666</c:v>
                </c:pt>
                <c:pt idx="5954">
                  <c:v>64875355</c:v>
                </c:pt>
                <c:pt idx="5955">
                  <c:v>1084630582</c:v>
                </c:pt>
                <c:pt idx="5956">
                  <c:v>25127000</c:v>
                </c:pt>
                <c:pt idx="5957">
                  <c:v>13298930</c:v>
                </c:pt>
                <c:pt idx="5958">
                  <c:v>67051190</c:v>
                </c:pt>
                <c:pt idx="5959">
                  <c:v>545628333</c:v>
                </c:pt>
                <c:pt idx="5960">
                  <c:v>499190320</c:v>
                </c:pt>
                <c:pt idx="5961">
                  <c:v>305432582</c:v>
                </c:pt>
                <c:pt idx="5962">
                  <c:v>473830357</c:v>
                </c:pt>
                <c:pt idx="5963">
                  <c:v>16957044</c:v>
                </c:pt>
                <c:pt idx="5964">
                  <c:v>86234943</c:v>
                </c:pt>
                <c:pt idx="5965">
                  <c:v>99060608</c:v>
                </c:pt>
                <c:pt idx="5966">
                  <c:v>2950316</c:v>
                </c:pt>
                <c:pt idx="5967">
                  <c:v>12885075</c:v>
                </c:pt>
                <c:pt idx="5968">
                  <c:v>325549005</c:v>
                </c:pt>
                <c:pt idx="5969">
                  <c:v>93529886</c:v>
                </c:pt>
                <c:pt idx="5970">
                  <c:v>191938563</c:v>
                </c:pt>
                <c:pt idx="5971">
                  <c:v>11795580</c:v>
                </c:pt>
                <c:pt idx="5972">
                  <c:v>92647496</c:v>
                </c:pt>
                <c:pt idx="5973">
                  <c:v>25762092</c:v>
                </c:pt>
                <c:pt idx="5974">
                  <c:v>290483675</c:v>
                </c:pt>
                <c:pt idx="5975">
                  <c:v>128627119</c:v>
                </c:pt>
                <c:pt idx="5976">
                  <c:v>38934665</c:v>
                </c:pt>
                <c:pt idx="5977">
                  <c:v>3230528</c:v>
                </c:pt>
                <c:pt idx="5978">
                  <c:v>131931030</c:v>
                </c:pt>
                <c:pt idx="5979">
                  <c:v>56069878</c:v>
                </c:pt>
                <c:pt idx="5980">
                  <c:v>21649266</c:v>
                </c:pt>
                <c:pt idx="5981">
                  <c:v>38739480</c:v>
                </c:pt>
                <c:pt idx="5982">
                  <c:v>91222560</c:v>
                </c:pt>
                <c:pt idx="5983">
                  <c:v>88257400</c:v>
                </c:pt>
                <c:pt idx="5984">
                  <c:v>196286688</c:v>
                </c:pt>
                <c:pt idx="5985">
                  <c:v>43282065</c:v>
                </c:pt>
                <c:pt idx="5986">
                  <c:v>197235584</c:v>
                </c:pt>
                <c:pt idx="5987">
                  <c:v>41432025</c:v>
                </c:pt>
                <c:pt idx="5988">
                  <c:v>121525318</c:v>
                </c:pt>
                <c:pt idx="5989">
                  <c:v>94887078</c:v>
                </c:pt>
                <c:pt idx="5990">
                  <c:v>59105475</c:v>
                </c:pt>
                <c:pt idx="5991">
                  <c:v>198418270</c:v>
                </c:pt>
                <c:pt idx="5992">
                  <c:v>15920840</c:v>
                </c:pt>
                <c:pt idx="5993">
                  <c:v>10935784</c:v>
                </c:pt>
                <c:pt idx="5994">
                  <c:v>712055865</c:v>
                </c:pt>
                <c:pt idx="5995">
                  <c:v>8069986</c:v>
                </c:pt>
                <c:pt idx="5996">
                  <c:v>56207165</c:v>
                </c:pt>
                <c:pt idx="5997">
                  <c:v>6757829</c:v>
                </c:pt>
                <c:pt idx="5998">
                  <c:v>33750016</c:v>
                </c:pt>
                <c:pt idx="5999">
                  <c:v>5706790</c:v>
                </c:pt>
                <c:pt idx="6000">
                  <c:v>149304204</c:v>
                </c:pt>
                <c:pt idx="6001">
                  <c:v>26670756</c:v>
                </c:pt>
                <c:pt idx="6002">
                  <c:v>16310346</c:v>
                </c:pt>
                <c:pt idx="6003">
                  <c:v>66409028</c:v>
                </c:pt>
                <c:pt idx="6004">
                  <c:v>17300825</c:v>
                </c:pt>
                <c:pt idx="6005">
                  <c:v>1886523707</c:v>
                </c:pt>
                <c:pt idx="6006">
                  <c:v>1908296412</c:v>
                </c:pt>
                <c:pt idx="6007">
                  <c:v>1564330215</c:v>
                </c:pt>
                <c:pt idx="6008">
                  <c:v>945005839</c:v>
                </c:pt>
                <c:pt idx="6009">
                  <c:v>258170760</c:v>
                </c:pt>
                <c:pt idx="6010">
                  <c:v>50359519</c:v>
                </c:pt>
                <c:pt idx="6011">
                  <c:v>414018819</c:v>
                </c:pt>
                <c:pt idx="6012">
                  <c:v>22459559</c:v>
                </c:pt>
                <c:pt idx="6013">
                  <c:v>270839400</c:v>
                </c:pt>
                <c:pt idx="6014">
                  <c:v>6169723</c:v>
                </c:pt>
                <c:pt idx="6015">
                  <c:v>34092340</c:v>
                </c:pt>
                <c:pt idx="6016">
                  <c:v>215153016</c:v>
                </c:pt>
                <c:pt idx="6017">
                  <c:v>53255423</c:v>
                </c:pt>
                <c:pt idx="6018">
                  <c:v>173941968</c:v>
                </c:pt>
                <c:pt idx="6019">
                  <c:v>39214347</c:v>
                </c:pt>
                <c:pt idx="6020">
                  <c:v>32820678</c:v>
                </c:pt>
                <c:pt idx="6021">
                  <c:v>201722355</c:v>
                </c:pt>
                <c:pt idx="6022">
                  <c:v>320310452</c:v>
                </c:pt>
                <c:pt idx="6023">
                  <c:v>1831570532</c:v>
                </c:pt>
                <c:pt idx="6024">
                  <c:v>1284885051</c:v>
                </c:pt>
                <c:pt idx="6025">
                  <c:v>116191483</c:v>
                </c:pt>
                <c:pt idx="6026">
                  <c:v>378583766</c:v>
                </c:pt>
                <c:pt idx="6027">
                  <c:v>281359398</c:v>
                </c:pt>
                <c:pt idx="6028">
                  <c:v>134467136</c:v>
                </c:pt>
                <c:pt idx="6029">
                  <c:v>99976000</c:v>
                </c:pt>
                <c:pt idx="6030">
                  <c:v>195300354</c:v>
                </c:pt>
                <c:pt idx="6031">
                  <c:v>16346720</c:v>
                </c:pt>
                <c:pt idx="6032">
                  <c:v>19069440</c:v>
                </c:pt>
                <c:pt idx="6033">
                  <c:v>640724705</c:v>
                </c:pt>
                <c:pt idx="6034">
                  <c:v>406664040</c:v>
                </c:pt>
                <c:pt idx="6035">
                  <c:v>1601718354</c:v>
                </c:pt>
                <c:pt idx="6036">
                  <c:v>259515000</c:v>
                </c:pt>
                <c:pt idx="6037">
                  <c:v>781172565</c:v>
                </c:pt>
                <c:pt idx="6038">
                  <c:v>269421152</c:v>
                </c:pt>
                <c:pt idx="6039">
                  <c:v>104898142</c:v>
                </c:pt>
                <c:pt idx="6040">
                  <c:v>24515148</c:v>
                </c:pt>
                <c:pt idx="6041">
                  <c:v>68847053</c:v>
                </c:pt>
                <c:pt idx="6042">
                  <c:v>88386553</c:v>
                </c:pt>
                <c:pt idx="6043">
                  <c:v>164480190</c:v>
                </c:pt>
                <c:pt idx="6044">
                  <c:v>364673351</c:v>
                </c:pt>
                <c:pt idx="6045">
                  <c:v>1930828146</c:v>
                </c:pt>
                <c:pt idx="6046">
                  <c:v>381866456</c:v>
                </c:pt>
                <c:pt idx="6047">
                  <c:v>21006232</c:v>
                </c:pt>
                <c:pt idx="6048">
                  <c:v>514582791</c:v>
                </c:pt>
                <c:pt idx="6049">
                  <c:v>208821340</c:v>
                </c:pt>
                <c:pt idx="6050">
                  <c:v>506594966</c:v>
                </c:pt>
                <c:pt idx="6051">
                  <c:v>172505181</c:v>
                </c:pt>
                <c:pt idx="6052">
                  <c:v>328987978</c:v>
                </c:pt>
                <c:pt idx="6053">
                  <c:v>518685498</c:v>
                </c:pt>
                <c:pt idx="6054">
                  <c:v>104401500</c:v>
                </c:pt>
                <c:pt idx="6055">
                  <c:v>1000087985</c:v>
                </c:pt>
                <c:pt idx="6056">
                  <c:v>1169191872</c:v>
                </c:pt>
                <c:pt idx="6057">
                  <c:v>1051984005</c:v>
                </c:pt>
                <c:pt idx="6058">
                  <c:v>143588445</c:v>
                </c:pt>
                <c:pt idx="6059">
                  <c:v>100422738</c:v>
                </c:pt>
                <c:pt idx="6060">
                  <c:v>17408313</c:v>
                </c:pt>
                <c:pt idx="6061">
                  <c:v>64508570</c:v>
                </c:pt>
                <c:pt idx="6062">
                  <c:v>140975130</c:v>
                </c:pt>
                <c:pt idx="6063">
                  <c:v>17303102</c:v>
                </c:pt>
                <c:pt idx="6064">
                  <c:v>169351358</c:v>
                </c:pt>
                <c:pt idx="6065">
                  <c:v>93595392</c:v>
                </c:pt>
                <c:pt idx="6066">
                  <c:v>67154454</c:v>
                </c:pt>
                <c:pt idx="6067">
                  <c:v>18161385</c:v>
                </c:pt>
                <c:pt idx="6068">
                  <c:v>44607409</c:v>
                </c:pt>
                <c:pt idx="6069">
                  <c:v>607638960</c:v>
                </c:pt>
                <c:pt idx="6070">
                  <c:v>149026521</c:v>
                </c:pt>
                <c:pt idx="6071">
                  <c:v>100783232</c:v>
                </c:pt>
                <c:pt idx="6072">
                  <c:v>205736109</c:v>
                </c:pt>
                <c:pt idx="6073">
                  <c:v>207332531</c:v>
                </c:pt>
                <c:pt idx="6074">
                  <c:v>26666043</c:v>
                </c:pt>
                <c:pt idx="6075">
                  <c:v>21710062</c:v>
                </c:pt>
                <c:pt idx="6076">
                  <c:v>144742896</c:v>
                </c:pt>
                <c:pt idx="6077">
                  <c:v>17587042</c:v>
                </c:pt>
                <c:pt idx="6078">
                  <c:v>29139914</c:v>
                </c:pt>
                <c:pt idx="6079">
                  <c:v>46188736</c:v>
                </c:pt>
                <c:pt idx="6080">
                  <c:v>49549656</c:v>
                </c:pt>
                <c:pt idx="6081">
                  <c:v>218755648</c:v>
                </c:pt>
                <c:pt idx="6082">
                  <c:v>744660378</c:v>
                </c:pt>
                <c:pt idx="6083">
                  <c:v>188877960</c:v>
                </c:pt>
                <c:pt idx="6084">
                  <c:v>257677398</c:v>
                </c:pt>
                <c:pt idx="6085">
                  <c:v>394990596</c:v>
                </c:pt>
                <c:pt idx="6086">
                  <c:v>72518761</c:v>
                </c:pt>
                <c:pt idx="6087">
                  <c:v>30391156</c:v>
                </c:pt>
                <c:pt idx="6088">
                  <c:v>26658913</c:v>
                </c:pt>
                <c:pt idx="6089">
                  <c:v>135575650</c:v>
                </c:pt>
                <c:pt idx="6090">
                  <c:v>65416191</c:v>
                </c:pt>
                <c:pt idx="6091">
                  <c:v>157660515</c:v>
                </c:pt>
                <c:pt idx="6092">
                  <c:v>147705690</c:v>
                </c:pt>
                <c:pt idx="6093">
                  <c:v>22117124</c:v>
                </c:pt>
                <c:pt idx="6094">
                  <c:v>1537653575</c:v>
                </c:pt>
                <c:pt idx="6095">
                  <c:v>2147483647</c:v>
                </c:pt>
                <c:pt idx="6096">
                  <c:v>2147483647</c:v>
                </c:pt>
                <c:pt idx="6097">
                  <c:v>940853853</c:v>
                </c:pt>
                <c:pt idx="6098">
                  <c:v>707723736</c:v>
                </c:pt>
                <c:pt idx="6099">
                  <c:v>186737985</c:v>
                </c:pt>
                <c:pt idx="6100">
                  <c:v>2147483647</c:v>
                </c:pt>
                <c:pt idx="6101">
                  <c:v>2147483647</c:v>
                </c:pt>
                <c:pt idx="6102">
                  <c:v>1736397289</c:v>
                </c:pt>
                <c:pt idx="6103">
                  <c:v>2147483647</c:v>
                </c:pt>
                <c:pt idx="6104">
                  <c:v>1497378378</c:v>
                </c:pt>
                <c:pt idx="6105">
                  <c:v>1215708214</c:v>
                </c:pt>
                <c:pt idx="6106">
                  <c:v>1812250020</c:v>
                </c:pt>
                <c:pt idx="6107">
                  <c:v>1527405780</c:v>
                </c:pt>
                <c:pt idx="6108">
                  <c:v>641772325</c:v>
                </c:pt>
                <c:pt idx="6109">
                  <c:v>1396060754</c:v>
                </c:pt>
                <c:pt idx="6110">
                  <c:v>274927468</c:v>
                </c:pt>
                <c:pt idx="6111">
                  <c:v>1839285096</c:v>
                </c:pt>
                <c:pt idx="6112">
                  <c:v>1766370392</c:v>
                </c:pt>
                <c:pt idx="6113">
                  <c:v>2147483647</c:v>
                </c:pt>
                <c:pt idx="6114">
                  <c:v>2147483647</c:v>
                </c:pt>
                <c:pt idx="6115">
                  <c:v>1602654104</c:v>
                </c:pt>
                <c:pt idx="6116">
                  <c:v>73634484</c:v>
                </c:pt>
                <c:pt idx="6117">
                  <c:v>101464916</c:v>
                </c:pt>
                <c:pt idx="6118">
                  <c:v>1221062760</c:v>
                </c:pt>
                <c:pt idx="6119">
                  <c:v>821403592</c:v>
                </c:pt>
                <c:pt idx="6120">
                  <c:v>1531893765</c:v>
                </c:pt>
                <c:pt idx="6121">
                  <c:v>1848365692</c:v>
                </c:pt>
                <c:pt idx="6122">
                  <c:v>438797544</c:v>
                </c:pt>
                <c:pt idx="6123">
                  <c:v>1965427750</c:v>
                </c:pt>
                <c:pt idx="6124">
                  <c:v>1282431936</c:v>
                </c:pt>
                <c:pt idx="6125">
                  <c:v>2147483647</c:v>
                </c:pt>
                <c:pt idx="6126">
                  <c:v>2147483647</c:v>
                </c:pt>
                <c:pt idx="6127">
                  <c:v>2147483647</c:v>
                </c:pt>
                <c:pt idx="6128">
                  <c:v>2147483647</c:v>
                </c:pt>
                <c:pt idx="6129">
                  <c:v>2147483647</c:v>
                </c:pt>
                <c:pt idx="6130">
                  <c:v>2147483647</c:v>
                </c:pt>
                <c:pt idx="6131">
                  <c:v>1952994722</c:v>
                </c:pt>
                <c:pt idx="6132">
                  <c:v>2147483647</c:v>
                </c:pt>
                <c:pt idx="6133">
                  <c:v>1477105015</c:v>
                </c:pt>
                <c:pt idx="6134">
                  <c:v>1452926370</c:v>
                </c:pt>
                <c:pt idx="6135">
                  <c:v>2147483647</c:v>
                </c:pt>
                <c:pt idx="6136">
                  <c:v>1110259680</c:v>
                </c:pt>
                <c:pt idx="6137">
                  <c:v>357074118</c:v>
                </c:pt>
                <c:pt idx="6138">
                  <c:v>1304259658</c:v>
                </c:pt>
                <c:pt idx="6139">
                  <c:v>1363024875</c:v>
                </c:pt>
                <c:pt idx="6140">
                  <c:v>970933500</c:v>
                </c:pt>
                <c:pt idx="6141">
                  <c:v>2147483647</c:v>
                </c:pt>
                <c:pt idx="6142">
                  <c:v>964742400</c:v>
                </c:pt>
                <c:pt idx="6143">
                  <c:v>1205384320</c:v>
                </c:pt>
                <c:pt idx="6144">
                  <c:v>860413263</c:v>
                </c:pt>
                <c:pt idx="6145">
                  <c:v>1004204025</c:v>
                </c:pt>
                <c:pt idx="6146">
                  <c:v>1620277680</c:v>
                </c:pt>
                <c:pt idx="6147">
                  <c:v>1730728233</c:v>
                </c:pt>
                <c:pt idx="6148">
                  <c:v>889375194</c:v>
                </c:pt>
                <c:pt idx="6149">
                  <c:v>1227913890</c:v>
                </c:pt>
                <c:pt idx="6150">
                  <c:v>2147483647</c:v>
                </c:pt>
                <c:pt idx="6151">
                  <c:v>1903091490</c:v>
                </c:pt>
                <c:pt idx="6152">
                  <c:v>1119326208</c:v>
                </c:pt>
                <c:pt idx="6153">
                  <c:v>1579044390</c:v>
                </c:pt>
                <c:pt idx="6154">
                  <c:v>1120247118</c:v>
                </c:pt>
                <c:pt idx="6155">
                  <c:v>2147483647</c:v>
                </c:pt>
                <c:pt idx="6156">
                  <c:v>1348148164</c:v>
                </c:pt>
                <c:pt idx="6157">
                  <c:v>99629597</c:v>
                </c:pt>
                <c:pt idx="6158">
                  <c:v>66862848</c:v>
                </c:pt>
                <c:pt idx="6159">
                  <c:v>24271272</c:v>
                </c:pt>
                <c:pt idx="6160">
                  <c:v>24450100</c:v>
                </c:pt>
                <c:pt idx="6161">
                  <c:v>320945568</c:v>
                </c:pt>
                <c:pt idx="6162">
                  <c:v>49225875</c:v>
                </c:pt>
                <c:pt idx="6163">
                  <c:v>44524440</c:v>
                </c:pt>
                <c:pt idx="6164">
                  <c:v>91210350</c:v>
                </c:pt>
                <c:pt idx="6165">
                  <c:v>178191328</c:v>
                </c:pt>
                <c:pt idx="6166">
                  <c:v>61510680</c:v>
                </c:pt>
                <c:pt idx="6167">
                  <c:v>152043915</c:v>
                </c:pt>
                <c:pt idx="6168">
                  <c:v>1048240128</c:v>
                </c:pt>
                <c:pt idx="6169">
                  <c:v>142030614</c:v>
                </c:pt>
                <c:pt idx="6170">
                  <c:v>9537584</c:v>
                </c:pt>
                <c:pt idx="6171">
                  <c:v>633318626</c:v>
                </c:pt>
                <c:pt idx="6172">
                  <c:v>46809315</c:v>
                </c:pt>
                <c:pt idx="6173">
                  <c:v>76045334</c:v>
                </c:pt>
                <c:pt idx="6174">
                  <c:v>143552714</c:v>
                </c:pt>
                <c:pt idx="6175">
                  <c:v>119412400</c:v>
                </c:pt>
                <c:pt idx="6176">
                  <c:v>16348668</c:v>
                </c:pt>
                <c:pt idx="6177">
                  <c:v>82115828</c:v>
                </c:pt>
                <c:pt idx="6178">
                  <c:v>71969368</c:v>
                </c:pt>
                <c:pt idx="6179">
                  <c:v>628050510</c:v>
                </c:pt>
                <c:pt idx="6180">
                  <c:v>884266416</c:v>
                </c:pt>
                <c:pt idx="6181">
                  <c:v>711829688</c:v>
                </c:pt>
                <c:pt idx="6182">
                  <c:v>2147483647</c:v>
                </c:pt>
                <c:pt idx="6183">
                  <c:v>1360817250</c:v>
                </c:pt>
                <c:pt idx="6184">
                  <c:v>165300500</c:v>
                </c:pt>
                <c:pt idx="6185">
                  <c:v>99378890</c:v>
                </c:pt>
                <c:pt idx="6186">
                  <c:v>199481580</c:v>
                </c:pt>
                <c:pt idx="6187">
                  <c:v>78181353</c:v>
                </c:pt>
                <c:pt idx="6188">
                  <c:v>145122500</c:v>
                </c:pt>
                <c:pt idx="6189">
                  <c:v>208299912</c:v>
                </c:pt>
                <c:pt idx="6190">
                  <c:v>937402852</c:v>
                </c:pt>
                <c:pt idx="6191">
                  <c:v>1259314108</c:v>
                </c:pt>
                <c:pt idx="6192">
                  <c:v>600759240</c:v>
                </c:pt>
                <c:pt idx="6193">
                  <c:v>60654578</c:v>
                </c:pt>
                <c:pt idx="6194">
                  <c:v>361490805</c:v>
                </c:pt>
                <c:pt idx="6195">
                  <c:v>121117248</c:v>
                </c:pt>
                <c:pt idx="6196">
                  <c:v>28860831</c:v>
                </c:pt>
                <c:pt idx="6197">
                  <c:v>107818711</c:v>
                </c:pt>
                <c:pt idx="6198">
                  <c:v>139523557</c:v>
                </c:pt>
                <c:pt idx="6199">
                  <c:v>58279400</c:v>
                </c:pt>
                <c:pt idx="6200">
                  <c:v>1148703606</c:v>
                </c:pt>
                <c:pt idx="6201">
                  <c:v>78193115</c:v>
                </c:pt>
                <c:pt idx="6202">
                  <c:v>41093466</c:v>
                </c:pt>
                <c:pt idx="6203">
                  <c:v>19450816</c:v>
                </c:pt>
                <c:pt idx="6204">
                  <c:v>7185746</c:v>
                </c:pt>
                <c:pt idx="6205">
                  <c:v>164667132</c:v>
                </c:pt>
                <c:pt idx="6206">
                  <c:v>78700413</c:v>
                </c:pt>
                <c:pt idx="6207">
                  <c:v>155210088</c:v>
                </c:pt>
                <c:pt idx="6208">
                  <c:v>27641594</c:v>
                </c:pt>
                <c:pt idx="6209">
                  <c:v>50718450</c:v>
                </c:pt>
                <c:pt idx="6210">
                  <c:v>32685855</c:v>
                </c:pt>
                <c:pt idx="6211">
                  <c:v>803941515</c:v>
                </c:pt>
                <c:pt idx="6212">
                  <c:v>170689944</c:v>
                </c:pt>
                <c:pt idx="6213">
                  <c:v>301662480</c:v>
                </c:pt>
                <c:pt idx="6214">
                  <c:v>52748800</c:v>
                </c:pt>
                <c:pt idx="6215">
                  <c:v>38967682</c:v>
                </c:pt>
                <c:pt idx="6216">
                  <c:v>311250696</c:v>
                </c:pt>
                <c:pt idx="6217">
                  <c:v>1268257100</c:v>
                </c:pt>
                <c:pt idx="6218">
                  <c:v>43978511</c:v>
                </c:pt>
                <c:pt idx="6219">
                  <c:v>308176825</c:v>
                </c:pt>
                <c:pt idx="6220">
                  <c:v>74614261</c:v>
                </c:pt>
                <c:pt idx="6221">
                  <c:v>31064320</c:v>
                </c:pt>
                <c:pt idx="6222">
                  <c:v>74895488</c:v>
                </c:pt>
                <c:pt idx="6223">
                  <c:v>70197109</c:v>
                </c:pt>
                <c:pt idx="6224">
                  <c:v>23269181</c:v>
                </c:pt>
                <c:pt idx="6225">
                  <c:v>6021301</c:v>
                </c:pt>
                <c:pt idx="6226">
                  <c:v>52130336</c:v>
                </c:pt>
                <c:pt idx="6227">
                  <c:v>101828976</c:v>
                </c:pt>
                <c:pt idx="6228">
                  <c:v>32740928</c:v>
                </c:pt>
                <c:pt idx="6229">
                  <c:v>193457880</c:v>
                </c:pt>
                <c:pt idx="6230">
                  <c:v>135849316</c:v>
                </c:pt>
                <c:pt idx="6231">
                  <c:v>62615385</c:v>
                </c:pt>
                <c:pt idx="6232">
                  <c:v>125715502</c:v>
                </c:pt>
                <c:pt idx="6233">
                  <c:v>56921040</c:v>
                </c:pt>
                <c:pt idx="6234">
                  <c:v>14022826</c:v>
                </c:pt>
                <c:pt idx="6235">
                  <c:v>132524640</c:v>
                </c:pt>
                <c:pt idx="6236">
                  <c:v>36481824</c:v>
                </c:pt>
                <c:pt idx="6237">
                  <c:v>28824370</c:v>
                </c:pt>
                <c:pt idx="6238">
                  <c:v>55071545</c:v>
                </c:pt>
                <c:pt idx="6239">
                  <c:v>10876158</c:v>
                </c:pt>
                <c:pt idx="6240">
                  <c:v>49652668</c:v>
                </c:pt>
                <c:pt idx="6241">
                  <c:v>1137800754</c:v>
                </c:pt>
                <c:pt idx="6242">
                  <c:v>825460761</c:v>
                </c:pt>
                <c:pt idx="6243">
                  <c:v>24610311</c:v>
                </c:pt>
                <c:pt idx="6244">
                  <c:v>12615372</c:v>
                </c:pt>
                <c:pt idx="6245">
                  <c:v>286585600</c:v>
                </c:pt>
                <c:pt idx="6246">
                  <c:v>269487616</c:v>
                </c:pt>
                <c:pt idx="6247">
                  <c:v>6244100</c:v>
                </c:pt>
                <c:pt idx="6248">
                  <c:v>184295070</c:v>
                </c:pt>
                <c:pt idx="6249">
                  <c:v>196980567</c:v>
                </c:pt>
                <c:pt idx="6250">
                  <c:v>318253352</c:v>
                </c:pt>
                <c:pt idx="6251">
                  <c:v>50130132</c:v>
                </c:pt>
                <c:pt idx="6252">
                  <c:v>19943008</c:v>
                </c:pt>
                <c:pt idx="6253">
                  <c:v>35063730</c:v>
                </c:pt>
                <c:pt idx="6254">
                  <c:v>43230184</c:v>
                </c:pt>
                <c:pt idx="6255">
                  <c:v>322499466</c:v>
                </c:pt>
                <c:pt idx="6256">
                  <c:v>220905307</c:v>
                </c:pt>
                <c:pt idx="6257">
                  <c:v>120226680</c:v>
                </c:pt>
                <c:pt idx="6258">
                  <c:v>171626198</c:v>
                </c:pt>
                <c:pt idx="6259">
                  <c:v>89811078</c:v>
                </c:pt>
                <c:pt idx="6260">
                  <c:v>133479593</c:v>
                </c:pt>
                <c:pt idx="6261">
                  <c:v>68021684</c:v>
                </c:pt>
                <c:pt idx="6262">
                  <c:v>18512635</c:v>
                </c:pt>
                <c:pt idx="6263">
                  <c:v>121265781</c:v>
                </c:pt>
                <c:pt idx="6264">
                  <c:v>45147272</c:v>
                </c:pt>
                <c:pt idx="6265">
                  <c:v>120160852</c:v>
                </c:pt>
                <c:pt idx="6266">
                  <c:v>122269952</c:v>
                </c:pt>
                <c:pt idx="6267">
                  <c:v>5444832</c:v>
                </c:pt>
                <c:pt idx="6268">
                  <c:v>1934712000</c:v>
                </c:pt>
                <c:pt idx="6269">
                  <c:v>1158735600</c:v>
                </c:pt>
                <c:pt idx="6270">
                  <c:v>1617217756</c:v>
                </c:pt>
                <c:pt idx="6271">
                  <c:v>868597488</c:v>
                </c:pt>
                <c:pt idx="6272">
                  <c:v>203217817</c:v>
                </c:pt>
                <c:pt idx="6273">
                  <c:v>68089928</c:v>
                </c:pt>
                <c:pt idx="6274">
                  <c:v>247123007</c:v>
                </c:pt>
                <c:pt idx="6275">
                  <c:v>10543596</c:v>
                </c:pt>
                <c:pt idx="6276">
                  <c:v>447624540</c:v>
                </c:pt>
                <c:pt idx="6277">
                  <c:v>26762355</c:v>
                </c:pt>
                <c:pt idx="6278">
                  <c:v>321232145</c:v>
                </c:pt>
                <c:pt idx="6279">
                  <c:v>71514560</c:v>
                </c:pt>
                <c:pt idx="6280">
                  <c:v>34612476</c:v>
                </c:pt>
                <c:pt idx="6281">
                  <c:v>215931571</c:v>
                </c:pt>
                <c:pt idx="6282">
                  <c:v>46091185</c:v>
                </c:pt>
                <c:pt idx="6283">
                  <c:v>347943310</c:v>
                </c:pt>
                <c:pt idx="6284">
                  <c:v>39161244</c:v>
                </c:pt>
                <c:pt idx="6285">
                  <c:v>4958085</c:v>
                </c:pt>
                <c:pt idx="6286">
                  <c:v>407266244</c:v>
                </c:pt>
                <c:pt idx="6287">
                  <c:v>34829568</c:v>
                </c:pt>
                <c:pt idx="6288">
                  <c:v>50150541</c:v>
                </c:pt>
                <c:pt idx="6289">
                  <c:v>129451855</c:v>
                </c:pt>
                <c:pt idx="6290">
                  <c:v>70765560</c:v>
                </c:pt>
                <c:pt idx="6291">
                  <c:v>305011325</c:v>
                </c:pt>
                <c:pt idx="6292">
                  <c:v>821108090</c:v>
                </c:pt>
                <c:pt idx="6293">
                  <c:v>12738780</c:v>
                </c:pt>
                <c:pt idx="6294">
                  <c:v>79117371</c:v>
                </c:pt>
                <c:pt idx="6295">
                  <c:v>372375432</c:v>
                </c:pt>
                <c:pt idx="6296">
                  <c:v>46591452</c:v>
                </c:pt>
                <c:pt idx="6297">
                  <c:v>87312416</c:v>
                </c:pt>
                <c:pt idx="6298">
                  <c:v>217514520</c:v>
                </c:pt>
                <c:pt idx="6299">
                  <c:v>152873372</c:v>
                </c:pt>
                <c:pt idx="6300">
                  <c:v>10081908</c:v>
                </c:pt>
                <c:pt idx="6301">
                  <c:v>1035873820</c:v>
                </c:pt>
                <c:pt idx="6302">
                  <c:v>310396800</c:v>
                </c:pt>
                <c:pt idx="6303">
                  <c:v>30687032</c:v>
                </c:pt>
                <c:pt idx="6304">
                  <c:v>689329080</c:v>
                </c:pt>
                <c:pt idx="6305">
                  <c:v>241124247</c:v>
                </c:pt>
                <c:pt idx="6306">
                  <c:v>47091330</c:v>
                </c:pt>
                <c:pt idx="6307">
                  <c:v>176202334</c:v>
                </c:pt>
                <c:pt idx="6308">
                  <c:v>27506026</c:v>
                </c:pt>
                <c:pt idx="6309">
                  <c:v>10529975</c:v>
                </c:pt>
                <c:pt idx="6310">
                  <c:v>420088806</c:v>
                </c:pt>
                <c:pt idx="6311">
                  <c:v>40544000</c:v>
                </c:pt>
                <c:pt idx="6312">
                  <c:v>178631640</c:v>
                </c:pt>
                <c:pt idx="6313">
                  <c:v>7190513</c:v>
                </c:pt>
                <c:pt idx="6314">
                  <c:v>68619705</c:v>
                </c:pt>
                <c:pt idx="6315">
                  <c:v>69786269</c:v>
                </c:pt>
                <c:pt idx="6316">
                  <c:v>85933788</c:v>
                </c:pt>
                <c:pt idx="6317">
                  <c:v>112175712</c:v>
                </c:pt>
                <c:pt idx="6318">
                  <c:v>59827449</c:v>
                </c:pt>
                <c:pt idx="6319">
                  <c:v>90762012</c:v>
                </c:pt>
                <c:pt idx="6320">
                  <c:v>14728020</c:v>
                </c:pt>
                <c:pt idx="6321">
                  <c:v>32885125</c:v>
                </c:pt>
                <c:pt idx="6322">
                  <c:v>2147483647</c:v>
                </c:pt>
                <c:pt idx="6323">
                  <c:v>1562022760</c:v>
                </c:pt>
                <c:pt idx="6324">
                  <c:v>844265604</c:v>
                </c:pt>
                <c:pt idx="6325">
                  <c:v>71045197</c:v>
                </c:pt>
                <c:pt idx="6326">
                  <c:v>169936970</c:v>
                </c:pt>
                <c:pt idx="6327">
                  <c:v>38357080</c:v>
                </c:pt>
                <c:pt idx="6328">
                  <c:v>25374072</c:v>
                </c:pt>
                <c:pt idx="6329">
                  <c:v>113693205</c:v>
                </c:pt>
                <c:pt idx="6330">
                  <c:v>29259105</c:v>
                </c:pt>
                <c:pt idx="6331">
                  <c:v>67433976</c:v>
                </c:pt>
                <c:pt idx="6332">
                  <c:v>412885375</c:v>
                </c:pt>
                <c:pt idx="6333">
                  <c:v>203680640</c:v>
                </c:pt>
                <c:pt idx="6334">
                  <c:v>10696085</c:v>
                </c:pt>
                <c:pt idx="6335">
                  <c:v>78831550</c:v>
                </c:pt>
                <c:pt idx="6336">
                  <c:v>59510400</c:v>
                </c:pt>
                <c:pt idx="6337">
                  <c:v>18086288</c:v>
                </c:pt>
                <c:pt idx="6338">
                  <c:v>117653067</c:v>
                </c:pt>
                <c:pt idx="6339">
                  <c:v>205625591</c:v>
                </c:pt>
                <c:pt idx="6340">
                  <c:v>24590570</c:v>
                </c:pt>
                <c:pt idx="6341">
                  <c:v>447451306</c:v>
                </c:pt>
                <c:pt idx="6342">
                  <c:v>152753370</c:v>
                </c:pt>
                <c:pt idx="6343">
                  <c:v>479356400</c:v>
                </c:pt>
                <c:pt idx="6344">
                  <c:v>36856160</c:v>
                </c:pt>
                <c:pt idx="6345">
                  <c:v>106633411</c:v>
                </c:pt>
                <c:pt idx="6346">
                  <c:v>33144542</c:v>
                </c:pt>
                <c:pt idx="6347">
                  <c:v>1586667684</c:v>
                </c:pt>
                <c:pt idx="6348">
                  <c:v>2147483647</c:v>
                </c:pt>
                <c:pt idx="6349">
                  <c:v>1952395220</c:v>
                </c:pt>
                <c:pt idx="6350">
                  <c:v>1000938867</c:v>
                </c:pt>
                <c:pt idx="6351">
                  <c:v>1571800881</c:v>
                </c:pt>
                <c:pt idx="6352">
                  <c:v>407680812</c:v>
                </c:pt>
                <c:pt idx="6353">
                  <c:v>736408440</c:v>
                </c:pt>
                <c:pt idx="6354">
                  <c:v>40288240</c:v>
                </c:pt>
                <c:pt idx="6355">
                  <c:v>222503556</c:v>
                </c:pt>
                <c:pt idx="6356">
                  <c:v>21377958</c:v>
                </c:pt>
                <c:pt idx="6357">
                  <c:v>2278996</c:v>
                </c:pt>
                <c:pt idx="6358">
                  <c:v>42534183</c:v>
                </c:pt>
                <c:pt idx="6359">
                  <c:v>1116918296</c:v>
                </c:pt>
                <c:pt idx="6360">
                  <c:v>292590006</c:v>
                </c:pt>
                <c:pt idx="6361">
                  <c:v>311365152</c:v>
                </c:pt>
                <c:pt idx="6362">
                  <c:v>177052728</c:v>
                </c:pt>
                <c:pt idx="6363">
                  <c:v>45237678</c:v>
                </c:pt>
                <c:pt idx="6364">
                  <c:v>90910530</c:v>
                </c:pt>
                <c:pt idx="6365">
                  <c:v>415102336</c:v>
                </c:pt>
                <c:pt idx="6366">
                  <c:v>63894216</c:v>
                </c:pt>
                <c:pt idx="6367">
                  <c:v>30357756</c:v>
                </c:pt>
                <c:pt idx="6368">
                  <c:v>327671992</c:v>
                </c:pt>
                <c:pt idx="6369">
                  <c:v>25548498</c:v>
                </c:pt>
                <c:pt idx="6370">
                  <c:v>57426264</c:v>
                </c:pt>
                <c:pt idx="6371">
                  <c:v>11978880</c:v>
                </c:pt>
                <c:pt idx="6372">
                  <c:v>21492108</c:v>
                </c:pt>
                <c:pt idx="6373">
                  <c:v>16942204</c:v>
                </c:pt>
                <c:pt idx="6374">
                  <c:v>185303756</c:v>
                </c:pt>
                <c:pt idx="6375">
                  <c:v>2147483647</c:v>
                </c:pt>
                <c:pt idx="6376">
                  <c:v>1913728320</c:v>
                </c:pt>
                <c:pt idx="6377">
                  <c:v>286746716</c:v>
                </c:pt>
                <c:pt idx="6378">
                  <c:v>183312129</c:v>
                </c:pt>
                <c:pt idx="6379">
                  <c:v>1188658492</c:v>
                </c:pt>
                <c:pt idx="6380">
                  <c:v>1038348402</c:v>
                </c:pt>
                <c:pt idx="6381">
                  <c:v>714469158</c:v>
                </c:pt>
                <c:pt idx="6382">
                  <c:v>1563627422</c:v>
                </c:pt>
                <c:pt idx="6383">
                  <c:v>849053583</c:v>
                </c:pt>
                <c:pt idx="6384">
                  <c:v>1473852006</c:v>
                </c:pt>
                <c:pt idx="6385">
                  <c:v>1255645472</c:v>
                </c:pt>
                <c:pt idx="6386">
                  <c:v>1000759700</c:v>
                </c:pt>
                <c:pt idx="6387">
                  <c:v>1114731350</c:v>
                </c:pt>
                <c:pt idx="6388">
                  <c:v>1856076588</c:v>
                </c:pt>
                <c:pt idx="6389">
                  <c:v>306058186</c:v>
                </c:pt>
                <c:pt idx="6390">
                  <c:v>1201293360</c:v>
                </c:pt>
                <c:pt idx="6391">
                  <c:v>1738148962</c:v>
                </c:pt>
                <c:pt idx="6392">
                  <c:v>1113765300</c:v>
                </c:pt>
                <c:pt idx="6393">
                  <c:v>1375909857</c:v>
                </c:pt>
                <c:pt idx="6394">
                  <c:v>1014422259</c:v>
                </c:pt>
                <c:pt idx="6395">
                  <c:v>736207362</c:v>
                </c:pt>
                <c:pt idx="6396">
                  <c:v>1356481620</c:v>
                </c:pt>
                <c:pt idx="6397">
                  <c:v>666854580</c:v>
                </c:pt>
                <c:pt idx="6398">
                  <c:v>42489531</c:v>
                </c:pt>
                <c:pt idx="6399">
                  <c:v>29458858</c:v>
                </c:pt>
                <c:pt idx="6400">
                  <c:v>11487772</c:v>
                </c:pt>
                <c:pt idx="6401">
                  <c:v>69424233</c:v>
                </c:pt>
                <c:pt idx="6402">
                  <c:v>167307106</c:v>
                </c:pt>
                <c:pt idx="6403">
                  <c:v>417280565</c:v>
                </c:pt>
                <c:pt idx="6404">
                  <c:v>52075417</c:v>
                </c:pt>
                <c:pt idx="6405">
                  <c:v>2147483647</c:v>
                </c:pt>
                <c:pt idx="6406">
                  <c:v>1483040250</c:v>
                </c:pt>
                <c:pt idx="6407">
                  <c:v>2147483647</c:v>
                </c:pt>
                <c:pt idx="6408">
                  <c:v>1519522168</c:v>
                </c:pt>
                <c:pt idx="6409">
                  <c:v>533076808</c:v>
                </c:pt>
                <c:pt idx="6410">
                  <c:v>617909960</c:v>
                </c:pt>
                <c:pt idx="6411">
                  <c:v>144231444</c:v>
                </c:pt>
                <c:pt idx="6412">
                  <c:v>106256205</c:v>
                </c:pt>
                <c:pt idx="6413">
                  <c:v>15448200</c:v>
                </c:pt>
                <c:pt idx="6414">
                  <c:v>40559311</c:v>
                </c:pt>
                <c:pt idx="6415">
                  <c:v>16747812</c:v>
                </c:pt>
                <c:pt idx="6416">
                  <c:v>45111430</c:v>
                </c:pt>
                <c:pt idx="6417">
                  <c:v>10911255</c:v>
                </c:pt>
                <c:pt idx="6418">
                  <c:v>48487912</c:v>
                </c:pt>
                <c:pt idx="6419">
                  <c:v>20958453</c:v>
                </c:pt>
                <c:pt idx="6420">
                  <c:v>30268645</c:v>
                </c:pt>
                <c:pt idx="6421">
                  <c:v>155486950</c:v>
                </c:pt>
                <c:pt idx="6422">
                  <c:v>25461087</c:v>
                </c:pt>
                <c:pt idx="6423">
                  <c:v>60710552</c:v>
                </c:pt>
                <c:pt idx="6424">
                  <c:v>117096779</c:v>
                </c:pt>
                <c:pt idx="6425">
                  <c:v>10997728</c:v>
                </c:pt>
                <c:pt idx="6426">
                  <c:v>6011120</c:v>
                </c:pt>
                <c:pt idx="6427">
                  <c:v>796946368</c:v>
                </c:pt>
                <c:pt idx="6428">
                  <c:v>81795246</c:v>
                </c:pt>
                <c:pt idx="6429">
                  <c:v>102112818</c:v>
                </c:pt>
                <c:pt idx="6430">
                  <c:v>1619790720</c:v>
                </c:pt>
                <c:pt idx="6431">
                  <c:v>1573216975</c:v>
                </c:pt>
                <c:pt idx="6432">
                  <c:v>74900030</c:v>
                </c:pt>
                <c:pt idx="6433">
                  <c:v>152836494</c:v>
                </c:pt>
                <c:pt idx="6434">
                  <c:v>75612082</c:v>
                </c:pt>
                <c:pt idx="6435">
                  <c:v>38077695</c:v>
                </c:pt>
                <c:pt idx="6436">
                  <c:v>2147483647</c:v>
                </c:pt>
                <c:pt idx="6437">
                  <c:v>2147483647</c:v>
                </c:pt>
                <c:pt idx="6438">
                  <c:v>1136661772</c:v>
                </c:pt>
                <c:pt idx="6439">
                  <c:v>2147483647</c:v>
                </c:pt>
                <c:pt idx="6440">
                  <c:v>2147483647</c:v>
                </c:pt>
                <c:pt idx="6441">
                  <c:v>2147483647</c:v>
                </c:pt>
                <c:pt idx="6442">
                  <c:v>178208460</c:v>
                </c:pt>
                <c:pt idx="6443">
                  <c:v>2092195322</c:v>
                </c:pt>
                <c:pt idx="6444">
                  <c:v>2147483647</c:v>
                </c:pt>
                <c:pt idx="6445">
                  <c:v>8342724</c:v>
                </c:pt>
                <c:pt idx="6446">
                  <c:v>198490370</c:v>
                </c:pt>
                <c:pt idx="6447">
                  <c:v>692365320</c:v>
                </c:pt>
                <c:pt idx="6448">
                  <c:v>1028870504</c:v>
                </c:pt>
                <c:pt idx="6449">
                  <c:v>411735681</c:v>
                </c:pt>
                <c:pt idx="6450">
                  <c:v>1011850388</c:v>
                </c:pt>
                <c:pt idx="6451">
                  <c:v>395237587</c:v>
                </c:pt>
                <c:pt idx="6452">
                  <c:v>591818950</c:v>
                </c:pt>
                <c:pt idx="6453">
                  <c:v>435589992</c:v>
                </c:pt>
                <c:pt idx="6454">
                  <c:v>404085627</c:v>
                </c:pt>
                <c:pt idx="6455">
                  <c:v>780657054</c:v>
                </c:pt>
                <c:pt idx="6456">
                  <c:v>180055432</c:v>
                </c:pt>
                <c:pt idx="6457">
                  <c:v>1096007754</c:v>
                </c:pt>
                <c:pt idx="6458">
                  <c:v>127868168</c:v>
                </c:pt>
                <c:pt idx="6459">
                  <c:v>897246253</c:v>
                </c:pt>
                <c:pt idx="6460">
                  <c:v>1633205223</c:v>
                </c:pt>
                <c:pt idx="6461">
                  <c:v>136404249</c:v>
                </c:pt>
                <c:pt idx="6462">
                  <c:v>339755985</c:v>
                </c:pt>
                <c:pt idx="6463">
                  <c:v>1000217139</c:v>
                </c:pt>
                <c:pt idx="6464">
                  <c:v>435804733</c:v>
                </c:pt>
                <c:pt idx="6465">
                  <c:v>1262773641</c:v>
                </c:pt>
                <c:pt idx="6466">
                  <c:v>431820252</c:v>
                </c:pt>
                <c:pt idx="6467">
                  <c:v>556602435</c:v>
                </c:pt>
                <c:pt idx="6468">
                  <c:v>329242224</c:v>
                </c:pt>
                <c:pt idx="6469">
                  <c:v>430161550</c:v>
                </c:pt>
                <c:pt idx="6470">
                  <c:v>1719405258</c:v>
                </c:pt>
                <c:pt idx="6471">
                  <c:v>1333441832</c:v>
                </c:pt>
                <c:pt idx="6472">
                  <c:v>158106535</c:v>
                </c:pt>
                <c:pt idx="6473">
                  <c:v>768794113</c:v>
                </c:pt>
                <c:pt idx="6474">
                  <c:v>1134258775</c:v>
                </c:pt>
                <c:pt idx="6475">
                  <c:v>164974406</c:v>
                </c:pt>
                <c:pt idx="6476">
                  <c:v>643445354</c:v>
                </c:pt>
                <c:pt idx="6477">
                  <c:v>263348832</c:v>
                </c:pt>
                <c:pt idx="6478">
                  <c:v>876830220</c:v>
                </c:pt>
                <c:pt idx="6479">
                  <c:v>456348897</c:v>
                </c:pt>
                <c:pt idx="6480">
                  <c:v>399328875</c:v>
                </c:pt>
                <c:pt idx="6481">
                  <c:v>1033564037</c:v>
                </c:pt>
                <c:pt idx="6482">
                  <c:v>612346234</c:v>
                </c:pt>
                <c:pt idx="6483">
                  <c:v>52508172</c:v>
                </c:pt>
                <c:pt idx="6484">
                  <c:v>227722446</c:v>
                </c:pt>
                <c:pt idx="6485">
                  <c:v>28095669</c:v>
                </c:pt>
                <c:pt idx="6486">
                  <c:v>24024267</c:v>
                </c:pt>
                <c:pt idx="6487">
                  <c:v>55234000</c:v>
                </c:pt>
                <c:pt idx="6488">
                  <c:v>50608883</c:v>
                </c:pt>
                <c:pt idx="6489">
                  <c:v>1305047776</c:v>
                </c:pt>
                <c:pt idx="6490">
                  <c:v>1396319075</c:v>
                </c:pt>
                <c:pt idx="6491">
                  <c:v>73262900</c:v>
                </c:pt>
                <c:pt idx="6492">
                  <c:v>907736400</c:v>
                </c:pt>
                <c:pt idx="6493">
                  <c:v>566038824</c:v>
                </c:pt>
                <c:pt idx="6494">
                  <c:v>127382958</c:v>
                </c:pt>
                <c:pt idx="6495">
                  <c:v>817878775</c:v>
                </c:pt>
                <c:pt idx="6496">
                  <c:v>27722746</c:v>
                </c:pt>
                <c:pt idx="6497">
                  <c:v>75478105</c:v>
                </c:pt>
                <c:pt idx="6498">
                  <c:v>127952800</c:v>
                </c:pt>
                <c:pt idx="6499">
                  <c:v>249941808</c:v>
                </c:pt>
                <c:pt idx="6500">
                  <c:v>17159322</c:v>
                </c:pt>
                <c:pt idx="6501">
                  <c:v>30442240</c:v>
                </c:pt>
                <c:pt idx="6502">
                  <c:v>311997312</c:v>
                </c:pt>
                <c:pt idx="6503">
                  <c:v>35540370</c:v>
                </c:pt>
                <c:pt idx="6504">
                  <c:v>353667100</c:v>
                </c:pt>
                <c:pt idx="6505">
                  <c:v>28189100</c:v>
                </c:pt>
                <c:pt idx="6506">
                  <c:v>696541326</c:v>
                </c:pt>
                <c:pt idx="6507">
                  <c:v>56506056</c:v>
                </c:pt>
                <c:pt idx="6508">
                  <c:v>55177945</c:v>
                </c:pt>
                <c:pt idx="6509">
                  <c:v>101060292</c:v>
                </c:pt>
                <c:pt idx="6510">
                  <c:v>71563327</c:v>
                </c:pt>
                <c:pt idx="6511">
                  <c:v>27112488</c:v>
                </c:pt>
                <c:pt idx="6512">
                  <c:v>413164122</c:v>
                </c:pt>
                <c:pt idx="6513">
                  <c:v>4858312</c:v>
                </c:pt>
                <c:pt idx="6514">
                  <c:v>53905470</c:v>
                </c:pt>
                <c:pt idx="6515">
                  <c:v>20904378</c:v>
                </c:pt>
                <c:pt idx="6516">
                  <c:v>54133746</c:v>
                </c:pt>
                <c:pt idx="6517">
                  <c:v>44108368</c:v>
                </c:pt>
                <c:pt idx="6518">
                  <c:v>64374730</c:v>
                </c:pt>
                <c:pt idx="6519">
                  <c:v>111681762</c:v>
                </c:pt>
                <c:pt idx="6520">
                  <c:v>64151931</c:v>
                </c:pt>
                <c:pt idx="6521">
                  <c:v>10988107</c:v>
                </c:pt>
                <c:pt idx="6522">
                  <c:v>134857100</c:v>
                </c:pt>
                <c:pt idx="6523">
                  <c:v>13957762</c:v>
                </c:pt>
                <c:pt idx="6524">
                  <c:v>10623041</c:v>
                </c:pt>
                <c:pt idx="6525">
                  <c:v>18144750</c:v>
                </c:pt>
                <c:pt idx="6526">
                  <c:v>96139274</c:v>
                </c:pt>
                <c:pt idx="6527">
                  <c:v>12382392</c:v>
                </c:pt>
                <c:pt idx="6528">
                  <c:v>414391968</c:v>
                </c:pt>
                <c:pt idx="6529">
                  <c:v>35816190</c:v>
                </c:pt>
                <c:pt idx="6530">
                  <c:v>91732656</c:v>
                </c:pt>
                <c:pt idx="6531">
                  <c:v>62010985</c:v>
                </c:pt>
                <c:pt idx="6532">
                  <c:v>91999575</c:v>
                </c:pt>
                <c:pt idx="6533">
                  <c:v>64580655</c:v>
                </c:pt>
                <c:pt idx="6534">
                  <c:v>64138232</c:v>
                </c:pt>
                <c:pt idx="6535">
                  <c:v>56650305</c:v>
                </c:pt>
                <c:pt idx="6536">
                  <c:v>138867120</c:v>
                </c:pt>
                <c:pt idx="6537">
                  <c:v>151308849</c:v>
                </c:pt>
                <c:pt idx="6538">
                  <c:v>127007595</c:v>
                </c:pt>
                <c:pt idx="6539">
                  <c:v>19355436</c:v>
                </c:pt>
                <c:pt idx="6540">
                  <c:v>129403300</c:v>
                </c:pt>
                <c:pt idx="6541">
                  <c:v>40094635</c:v>
                </c:pt>
                <c:pt idx="6542">
                  <c:v>4639572</c:v>
                </c:pt>
                <c:pt idx="6543">
                  <c:v>39245888</c:v>
                </c:pt>
                <c:pt idx="6544">
                  <c:v>76596120</c:v>
                </c:pt>
                <c:pt idx="6545">
                  <c:v>87032048</c:v>
                </c:pt>
                <c:pt idx="6546">
                  <c:v>74040369</c:v>
                </c:pt>
                <c:pt idx="6547">
                  <c:v>53591725</c:v>
                </c:pt>
                <c:pt idx="6548">
                  <c:v>56681364</c:v>
                </c:pt>
                <c:pt idx="6549">
                  <c:v>33302856</c:v>
                </c:pt>
                <c:pt idx="6550">
                  <c:v>44149268</c:v>
                </c:pt>
                <c:pt idx="6551">
                  <c:v>12469320</c:v>
                </c:pt>
                <c:pt idx="6552">
                  <c:v>24519440</c:v>
                </c:pt>
                <c:pt idx="6553">
                  <c:v>58681896</c:v>
                </c:pt>
                <c:pt idx="6554">
                  <c:v>50796765</c:v>
                </c:pt>
                <c:pt idx="6555">
                  <c:v>16490682</c:v>
                </c:pt>
                <c:pt idx="6556">
                  <c:v>226205928</c:v>
                </c:pt>
                <c:pt idx="6557">
                  <c:v>76133246</c:v>
                </c:pt>
                <c:pt idx="6558">
                  <c:v>48748300</c:v>
                </c:pt>
                <c:pt idx="6559">
                  <c:v>754815980</c:v>
                </c:pt>
                <c:pt idx="6560">
                  <c:v>149540512</c:v>
                </c:pt>
                <c:pt idx="6561">
                  <c:v>680598240</c:v>
                </c:pt>
                <c:pt idx="6562">
                  <c:v>559146442</c:v>
                </c:pt>
                <c:pt idx="6563">
                  <c:v>240538576</c:v>
                </c:pt>
                <c:pt idx="6564">
                  <c:v>532143027</c:v>
                </c:pt>
                <c:pt idx="6565">
                  <c:v>1810594680</c:v>
                </c:pt>
                <c:pt idx="6566">
                  <c:v>1003337568</c:v>
                </c:pt>
                <c:pt idx="6567">
                  <c:v>64574340</c:v>
                </c:pt>
                <c:pt idx="6568">
                  <c:v>128254264</c:v>
                </c:pt>
                <c:pt idx="6569">
                  <c:v>250042232</c:v>
                </c:pt>
                <c:pt idx="6570">
                  <c:v>38927493</c:v>
                </c:pt>
                <c:pt idx="6571">
                  <c:v>1497364640</c:v>
                </c:pt>
                <c:pt idx="6572">
                  <c:v>173989810</c:v>
                </c:pt>
                <c:pt idx="6573">
                  <c:v>222485174</c:v>
                </c:pt>
                <c:pt idx="6574">
                  <c:v>136499660</c:v>
                </c:pt>
                <c:pt idx="6575">
                  <c:v>65688630</c:v>
                </c:pt>
                <c:pt idx="6576">
                  <c:v>40283918</c:v>
                </c:pt>
                <c:pt idx="6577">
                  <c:v>54283940</c:v>
                </c:pt>
                <c:pt idx="6578">
                  <c:v>34165800</c:v>
                </c:pt>
                <c:pt idx="6579">
                  <c:v>1010828918</c:v>
                </c:pt>
                <c:pt idx="6580">
                  <c:v>26185318</c:v>
                </c:pt>
                <c:pt idx="6581">
                  <c:v>66085112</c:v>
                </c:pt>
                <c:pt idx="6582">
                  <c:v>148284036</c:v>
                </c:pt>
                <c:pt idx="6583">
                  <c:v>58295264</c:v>
                </c:pt>
                <c:pt idx="6584">
                  <c:v>15090614</c:v>
                </c:pt>
                <c:pt idx="6585">
                  <c:v>168671660</c:v>
                </c:pt>
                <c:pt idx="6586">
                  <c:v>304930942</c:v>
                </c:pt>
                <c:pt idx="6587">
                  <c:v>68282079</c:v>
                </c:pt>
                <c:pt idx="6588">
                  <c:v>6258080</c:v>
                </c:pt>
                <c:pt idx="6589">
                  <c:v>103729080</c:v>
                </c:pt>
                <c:pt idx="6590">
                  <c:v>82726095</c:v>
                </c:pt>
                <c:pt idx="6591">
                  <c:v>77026224</c:v>
                </c:pt>
                <c:pt idx="6592">
                  <c:v>200147808</c:v>
                </c:pt>
                <c:pt idx="6593">
                  <c:v>213469062</c:v>
                </c:pt>
                <c:pt idx="6594">
                  <c:v>110876244</c:v>
                </c:pt>
                <c:pt idx="6595">
                  <c:v>2968407</c:v>
                </c:pt>
                <c:pt idx="6596">
                  <c:v>141092381</c:v>
                </c:pt>
                <c:pt idx="6597">
                  <c:v>201762546</c:v>
                </c:pt>
                <c:pt idx="6598">
                  <c:v>57905820</c:v>
                </c:pt>
                <c:pt idx="6599">
                  <c:v>162557348</c:v>
                </c:pt>
                <c:pt idx="6600">
                  <c:v>10870087</c:v>
                </c:pt>
                <c:pt idx="6601">
                  <c:v>723030665</c:v>
                </c:pt>
                <c:pt idx="6602">
                  <c:v>45609030</c:v>
                </c:pt>
                <c:pt idx="6603">
                  <c:v>475792156</c:v>
                </c:pt>
                <c:pt idx="6604">
                  <c:v>38990350</c:v>
                </c:pt>
                <c:pt idx="6605">
                  <c:v>107481570</c:v>
                </c:pt>
                <c:pt idx="6606">
                  <c:v>101466032</c:v>
                </c:pt>
                <c:pt idx="6607">
                  <c:v>69803484</c:v>
                </c:pt>
                <c:pt idx="6608">
                  <c:v>46827396</c:v>
                </c:pt>
                <c:pt idx="6609">
                  <c:v>148700860</c:v>
                </c:pt>
                <c:pt idx="6610">
                  <c:v>85806308</c:v>
                </c:pt>
                <c:pt idx="6611">
                  <c:v>154528404</c:v>
                </c:pt>
                <c:pt idx="6612">
                  <c:v>36978504</c:v>
                </c:pt>
                <c:pt idx="6613">
                  <c:v>17042200</c:v>
                </c:pt>
                <c:pt idx="6614">
                  <c:v>597498823</c:v>
                </c:pt>
                <c:pt idx="6615">
                  <c:v>32788743</c:v>
                </c:pt>
                <c:pt idx="6616">
                  <c:v>178956134</c:v>
                </c:pt>
                <c:pt idx="6617">
                  <c:v>93757194</c:v>
                </c:pt>
                <c:pt idx="6618">
                  <c:v>21696590</c:v>
                </c:pt>
                <c:pt idx="6619">
                  <c:v>477009400</c:v>
                </c:pt>
                <c:pt idx="6620">
                  <c:v>1345219512</c:v>
                </c:pt>
                <c:pt idx="6621">
                  <c:v>5997056</c:v>
                </c:pt>
                <c:pt idx="6622">
                  <c:v>63603282</c:v>
                </c:pt>
                <c:pt idx="6623">
                  <c:v>34985088</c:v>
                </c:pt>
                <c:pt idx="6624">
                  <c:v>263031580</c:v>
                </c:pt>
                <c:pt idx="6625">
                  <c:v>74371605</c:v>
                </c:pt>
                <c:pt idx="6626">
                  <c:v>258497120</c:v>
                </c:pt>
                <c:pt idx="6627">
                  <c:v>78545371</c:v>
                </c:pt>
                <c:pt idx="6628">
                  <c:v>678678924</c:v>
                </c:pt>
                <c:pt idx="6629">
                  <c:v>124113510</c:v>
                </c:pt>
                <c:pt idx="6630">
                  <c:v>23081452</c:v>
                </c:pt>
                <c:pt idx="6631">
                  <c:v>421087220</c:v>
                </c:pt>
                <c:pt idx="6632">
                  <c:v>345732808</c:v>
                </c:pt>
                <c:pt idx="6633">
                  <c:v>520571979</c:v>
                </c:pt>
                <c:pt idx="6634">
                  <c:v>409347684</c:v>
                </c:pt>
                <c:pt idx="6635">
                  <c:v>51059033</c:v>
                </c:pt>
                <c:pt idx="6636">
                  <c:v>262660678</c:v>
                </c:pt>
                <c:pt idx="6637">
                  <c:v>17583517</c:v>
                </c:pt>
                <c:pt idx="6638">
                  <c:v>14400925</c:v>
                </c:pt>
                <c:pt idx="6639">
                  <c:v>117530386</c:v>
                </c:pt>
                <c:pt idx="6640">
                  <c:v>39394373</c:v>
                </c:pt>
                <c:pt idx="6641">
                  <c:v>29370669</c:v>
                </c:pt>
                <c:pt idx="6642">
                  <c:v>131213544</c:v>
                </c:pt>
                <c:pt idx="6643">
                  <c:v>155543492</c:v>
                </c:pt>
                <c:pt idx="6644">
                  <c:v>61969792</c:v>
                </c:pt>
                <c:pt idx="6645">
                  <c:v>35024808</c:v>
                </c:pt>
                <c:pt idx="6646">
                  <c:v>100650165</c:v>
                </c:pt>
                <c:pt idx="6647">
                  <c:v>50459001</c:v>
                </c:pt>
                <c:pt idx="6648">
                  <c:v>15719759</c:v>
                </c:pt>
                <c:pt idx="6649">
                  <c:v>54798496</c:v>
                </c:pt>
                <c:pt idx="6650">
                  <c:v>19916616</c:v>
                </c:pt>
                <c:pt idx="6651">
                  <c:v>207450840</c:v>
                </c:pt>
                <c:pt idx="6652">
                  <c:v>61514784</c:v>
                </c:pt>
                <c:pt idx="6653">
                  <c:v>34621665</c:v>
                </c:pt>
                <c:pt idx="6654">
                  <c:v>90883464</c:v>
                </c:pt>
                <c:pt idx="6655">
                  <c:v>113533284</c:v>
                </c:pt>
                <c:pt idx="6656">
                  <c:v>18809436</c:v>
                </c:pt>
                <c:pt idx="6657">
                  <c:v>217654994</c:v>
                </c:pt>
                <c:pt idx="6658">
                  <c:v>8370880</c:v>
                </c:pt>
                <c:pt idx="6659">
                  <c:v>53100060</c:v>
                </c:pt>
                <c:pt idx="6660">
                  <c:v>11189241</c:v>
                </c:pt>
                <c:pt idx="6661">
                  <c:v>122290300</c:v>
                </c:pt>
                <c:pt idx="6662">
                  <c:v>84371581</c:v>
                </c:pt>
                <c:pt idx="6663">
                  <c:v>84628224</c:v>
                </c:pt>
                <c:pt idx="6664">
                  <c:v>20437536</c:v>
                </c:pt>
                <c:pt idx="6665">
                  <c:v>44476275</c:v>
                </c:pt>
                <c:pt idx="6666">
                  <c:v>37721721</c:v>
                </c:pt>
                <c:pt idx="6667">
                  <c:v>47304450</c:v>
                </c:pt>
                <c:pt idx="6668">
                  <c:v>6873982</c:v>
                </c:pt>
                <c:pt idx="6669">
                  <c:v>203790300</c:v>
                </c:pt>
                <c:pt idx="6670">
                  <c:v>404579814</c:v>
                </c:pt>
                <c:pt idx="6671">
                  <c:v>34501044</c:v>
                </c:pt>
                <c:pt idx="6672">
                  <c:v>31455272</c:v>
                </c:pt>
                <c:pt idx="6673">
                  <c:v>12580866</c:v>
                </c:pt>
                <c:pt idx="6674">
                  <c:v>40286820</c:v>
                </c:pt>
                <c:pt idx="6675">
                  <c:v>79978600</c:v>
                </c:pt>
                <c:pt idx="6676">
                  <c:v>84215790</c:v>
                </c:pt>
                <c:pt idx="6677">
                  <c:v>11652246</c:v>
                </c:pt>
                <c:pt idx="6678">
                  <c:v>143798526</c:v>
                </c:pt>
                <c:pt idx="6679">
                  <c:v>28608285</c:v>
                </c:pt>
                <c:pt idx="6680">
                  <c:v>78750512</c:v>
                </c:pt>
                <c:pt idx="6681">
                  <c:v>37943028</c:v>
                </c:pt>
                <c:pt idx="6682">
                  <c:v>18940439</c:v>
                </c:pt>
                <c:pt idx="6683">
                  <c:v>57757460</c:v>
                </c:pt>
                <c:pt idx="6684">
                  <c:v>504951912</c:v>
                </c:pt>
                <c:pt idx="6685">
                  <c:v>153213811</c:v>
                </c:pt>
                <c:pt idx="6686">
                  <c:v>190278540</c:v>
                </c:pt>
                <c:pt idx="6687">
                  <c:v>51536064</c:v>
                </c:pt>
                <c:pt idx="6688">
                  <c:v>93669796</c:v>
                </c:pt>
                <c:pt idx="6689">
                  <c:v>35808766</c:v>
                </c:pt>
                <c:pt idx="6690">
                  <c:v>24628890</c:v>
                </c:pt>
                <c:pt idx="6691">
                  <c:v>362514944</c:v>
                </c:pt>
                <c:pt idx="6692">
                  <c:v>183488928</c:v>
                </c:pt>
                <c:pt idx="6693">
                  <c:v>122529656</c:v>
                </c:pt>
                <c:pt idx="6694">
                  <c:v>33038985</c:v>
                </c:pt>
                <c:pt idx="6695">
                  <c:v>10189817</c:v>
                </c:pt>
                <c:pt idx="6696">
                  <c:v>138754355</c:v>
                </c:pt>
                <c:pt idx="6697">
                  <c:v>124268512</c:v>
                </c:pt>
                <c:pt idx="6698">
                  <c:v>16623204</c:v>
                </c:pt>
                <c:pt idx="6699">
                  <c:v>38638875</c:v>
                </c:pt>
                <c:pt idx="6700">
                  <c:v>10497816</c:v>
                </c:pt>
                <c:pt idx="6701">
                  <c:v>19031463</c:v>
                </c:pt>
                <c:pt idx="6702">
                  <c:v>79564815</c:v>
                </c:pt>
                <c:pt idx="6703">
                  <c:v>97507918</c:v>
                </c:pt>
                <c:pt idx="6704">
                  <c:v>413802200</c:v>
                </c:pt>
                <c:pt idx="6705">
                  <c:v>1211374480</c:v>
                </c:pt>
                <c:pt idx="6706">
                  <c:v>6967566</c:v>
                </c:pt>
                <c:pt idx="6707">
                  <c:v>278933088</c:v>
                </c:pt>
                <c:pt idx="6708">
                  <c:v>129105900</c:v>
                </c:pt>
                <c:pt idx="6709">
                  <c:v>144911428</c:v>
                </c:pt>
                <c:pt idx="6710">
                  <c:v>364190108</c:v>
                </c:pt>
                <c:pt idx="6711">
                  <c:v>36738972</c:v>
                </c:pt>
                <c:pt idx="6712">
                  <c:v>74266681</c:v>
                </c:pt>
                <c:pt idx="6713">
                  <c:v>12294740</c:v>
                </c:pt>
                <c:pt idx="6714">
                  <c:v>1985190</c:v>
                </c:pt>
                <c:pt idx="6715">
                  <c:v>58275558</c:v>
                </c:pt>
                <c:pt idx="6716">
                  <c:v>54229378</c:v>
                </c:pt>
                <c:pt idx="6717">
                  <c:v>26005756</c:v>
                </c:pt>
                <c:pt idx="6718">
                  <c:v>68301708</c:v>
                </c:pt>
                <c:pt idx="6719">
                  <c:v>193434493</c:v>
                </c:pt>
                <c:pt idx="6720">
                  <c:v>64702323</c:v>
                </c:pt>
                <c:pt idx="6721">
                  <c:v>10113780</c:v>
                </c:pt>
                <c:pt idx="6722">
                  <c:v>497349447</c:v>
                </c:pt>
                <c:pt idx="6723">
                  <c:v>8069550</c:v>
                </c:pt>
                <c:pt idx="6724">
                  <c:v>6130920</c:v>
                </c:pt>
                <c:pt idx="6725">
                  <c:v>22974258</c:v>
                </c:pt>
                <c:pt idx="6726">
                  <c:v>33059510</c:v>
                </c:pt>
                <c:pt idx="6727">
                  <c:v>41021370</c:v>
                </c:pt>
                <c:pt idx="6728">
                  <c:v>101712000</c:v>
                </c:pt>
                <c:pt idx="6729">
                  <c:v>48631754</c:v>
                </c:pt>
                <c:pt idx="6730">
                  <c:v>60620247</c:v>
                </c:pt>
                <c:pt idx="6731">
                  <c:v>28326000</c:v>
                </c:pt>
                <c:pt idx="6732">
                  <c:v>351137366</c:v>
                </c:pt>
                <c:pt idx="6733">
                  <c:v>69093774</c:v>
                </c:pt>
                <c:pt idx="6734">
                  <c:v>120521648</c:v>
                </c:pt>
                <c:pt idx="6735">
                  <c:v>51599685</c:v>
                </c:pt>
                <c:pt idx="6736">
                  <c:v>17290900</c:v>
                </c:pt>
                <c:pt idx="6737">
                  <c:v>11677500</c:v>
                </c:pt>
                <c:pt idx="6738">
                  <c:v>103097280</c:v>
                </c:pt>
                <c:pt idx="6739">
                  <c:v>11527452</c:v>
                </c:pt>
                <c:pt idx="6740">
                  <c:v>21951468</c:v>
                </c:pt>
                <c:pt idx="6741">
                  <c:v>547195751</c:v>
                </c:pt>
                <c:pt idx="6742">
                  <c:v>1206275392</c:v>
                </c:pt>
                <c:pt idx="6743">
                  <c:v>805413896</c:v>
                </c:pt>
                <c:pt idx="6744">
                  <c:v>229683681</c:v>
                </c:pt>
                <c:pt idx="6745">
                  <c:v>121248012</c:v>
                </c:pt>
                <c:pt idx="6746">
                  <c:v>44875710</c:v>
                </c:pt>
                <c:pt idx="6747">
                  <c:v>331275280</c:v>
                </c:pt>
                <c:pt idx="6748">
                  <c:v>257595284</c:v>
                </c:pt>
                <c:pt idx="6749">
                  <c:v>575348004</c:v>
                </c:pt>
                <c:pt idx="6750">
                  <c:v>44624736</c:v>
                </c:pt>
                <c:pt idx="6751">
                  <c:v>87621912</c:v>
                </c:pt>
                <c:pt idx="6752">
                  <c:v>82331870</c:v>
                </c:pt>
                <c:pt idx="6753">
                  <c:v>37806755</c:v>
                </c:pt>
                <c:pt idx="6754">
                  <c:v>229349211</c:v>
                </c:pt>
                <c:pt idx="6755">
                  <c:v>32684289</c:v>
                </c:pt>
                <c:pt idx="6756">
                  <c:v>134215245</c:v>
                </c:pt>
                <c:pt idx="6757">
                  <c:v>754267815</c:v>
                </c:pt>
                <c:pt idx="6758">
                  <c:v>781162200</c:v>
                </c:pt>
                <c:pt idx="6759">
                  <c:v>93638181</c:v>
                </c:pt>
                <c:pt idx="6760">
                  <c:v>236203900</c:v>
                </c:pt>
                <c:pt idx="6761">
                  <c:v>1095917445</c:v>
                </c:pt>
                <c:pt idx="6762">
                  <c:v>52439628</c:v>
                </c:pt>
                <c:pt idx="6763">
                  <c:v>90015640</c:v>
                </c:pt>
                <c:pt idx="6764">
                  <c:v>63026184</c:v>
                </c:pt>
                <c:pt idx="6765">
                  <c:v>121020610</c:v>
                </c:pt>
                <c:pt idx="6766">
                  <c:v>180560610</c:v>
                </c:pt>
                <c:pt idx="6767">
                  <c:v>142048737</c:v>
                </c:pt>
                <c:pt idx="6768">
                  <c:v>16560602</c:v>
                </c:pt>
                <c:pt idx="6769">
                  <c:v>129006080</c:v>
                </c:pt>
                <c:pt idx="6770">
                  <c:v>18278538</c:v>
                </c:pt>
                <c:pt idx="6771">
                  <c:v>40144662</c:v>
                </c:pt>
                <c:pt idx="6772">
                  <c:v>17220035</c:v>
                </c:pt>
                <c:pt idx="6773">
                  <c:v>57685035</c:v>
                </c:pt>
                <c:pt idx="6774">
                  <c:v>459032488</c:v>
                </c:pt>
                <c:pt idx="6775">
                  <c:v>137826468</c:v>
                </c:pt>
                <c:pt idx="6776">
                  <c:v>101656159</c:v>
                </c:pt>
                <c:pt idx="6777">
                  <c:v>26078895</c:v>
                </c:pt>
                <c:pt idx="6778">
                  <c:v>19505768</c:v>
                </c:pt>
                <c:pt idx="6779">
                  <c:v>19426521</c:v>
                </c:pt>
                <c:pt idx="6780">
                  <c:v>114109632</c:v>
                </c:pt>
                <c:pt idx="6781">
                  <c:v>263379492</c:v>
                </c:pt>
                <c:pt idx="6782">
                  <c:v>53563708</c:v>
                </c:pt>
                <c:pt idx="6783">
                  <c:v>291164544</c:v>
                </c:pt>
                <c:pt idx="6784">
                  <c:v>340979508</c:v>
                </c:pt>
                <c:pt idx="6785">
                  <c:v>75698649</c:v>
                </c:pt>
                <c:pt idx="6786">
                  <c:v>35255096</c:v>
                </c:pt>
                <c:pt idx="6787">
                  <c:v>21641760</c:v>
                </c:pt>
                <c:pt idx="6788">
                  <c:v>40672390</c:v>
                </c:pt>
                <c:pt idx="6789">
                  <c:v>16750972</c:v>
                </c:pt>
                <c:pt idx="6790">
                  <c:v>268846320</c:v>
                </c:pt>
                <c:pt idx="6791">
                  <c:v>142340652</c:v>
                </c:pt>
                <c:pt idx="6792">
                  <c:v>131450520</c:v>
                </c:pt>
                <c:pt idx="6793">
                  <c:v>35505740</c:v>
                </c:pt>
                <c:pt idx="6794">
                  <c:v>12206036</c:v>
                </c:pt>
                <c:pt idx="6795">
                  <c:v>155226246</c:v>
                </c:pt>
                <c:pt idx="6796">
                  <c:v>29190696</c:v>
                </c:pt>
                <c:pt idx="6797">
                  <c:v>7513160</c:v>
                </c:pt>
                <c:pt idx="6798">
                  <c:v>6444020</c:v>
                </c:pt>
                <c:pt idx="6799">
                  <c:v>90675186</c:v>
                </c:pt>
                <c:pt idx="6800">
                  <c:v>62136648</c:v>
                </c:pt>
                <c:pt idx="6801">
                  <c:v>129068485</c:v>
                </c:pt>
                <c:pt idx="6802">
                  <c:v>17694146</c:v>
                </c:pt>
                <c:pt idx="6803">
                  <c:v>37640788</c:v>
                </c:pt>
                <c:pt idx="6804">
                  <c:v>134437930</c:v>
                </c:pt>
                <c:pt idx="6805">
                  <c:v>68742576</c:v>
                </c:pt>
                <c:pt idx="6806">
                  <c:v>415364950</c:v>
                </c:pt>
                <c:pt idx="6807">
                  <c:v>38090976</c:v>
                </c:pt>
                <c:pt idx="6808">
                  <c:v>11536092</c:v>
                </c:pt>
                <c:pt idx="6809">
                  <c:v>18313386</c:v>
                </c:pt>
                <c:pt idx="6810">
                  <c:v>369422700</c:v>
                </c:pt>
                <c:pt idx="6811">
                  <c:v>408891886</c:v>
                </c:pt>
                <c:pt idx="6812">
                  <c:v>59090174</c:v>
                </c:pt>
                <c:pt idx="6813">
                  <c:v>48097322</c:v>
                </c:pt>
                <c:pt idx="6814">
                  <c:v>11388160</c:v>
                </c:pt>
                <c:pt idx="6815">
                  <c:v>27232536</c:v>
                </c:pt>
                <c:pt idx="6816">
                  <c:v>19178034</c:v>
                </c:pt>
                <c:pt idx="6817">
                  <c:v>35702472</c:v>
                </c:pt>
                <c:pt idx="6818">
                  <c:v>26327680</c:v>
                </c:pt>
                <c:pt idx="6819">
                  <c:v>8499208</c:v>
                </c:pt>
                <c:pt idx="6820">
                  <c:v>11057816</c:v>
                </c:pt>
                <c:pt idx="6821">
                  <c:v>10510544</c:v>
                </c:pt>
                <c:pt idx="6822">
                  <c:v>17857656</c:v>
                </c:pt>
                <c:pt idx="6823">
                  <c:v>7770729</c:v>
                </c:pt>
                <c:pt idx="6824">
                  <c:v>4551900</c:v>
                </c:pt>
                <c:pt idx="6825">
                  <c:v>15158695</c:v>
                </c:pt>
                <c:pt idx="6826">
                  <c:v>11174754</c:v>
                </c:pt>
                <c:pt idx="6827">
                  <c:v>13261584</c:v>
                </c:pt>
                <c:pt idx="6828">
                  <c:v>40296108</c:v>
                </c:pt>
                <c:pt idx="6829">
                  <c:v>9422949</c:v>
                </c:pt>
                <c:pt idx="6830">
                  <c:v>52091865</c:v>
                </c:pt>
                <c:pt idx="6831">
                  <c:v>15395520</c:v>
                </c:pt>
                <c:pt idx="6832">
                  <c:v>3294753</c:v>
                </c:pt>
                <c:pt idx="6833">
                  <c:v>306468825</c:v>
                </c:pt>
                <c:pt idx="6834">
                  <c:v>88070175</c:v>
                </c:pt>
                <c:pt idx="6835">
                  <c:v>9520320</c:v>
                </c:pt>
                <c:pt idx="6836">
                  <c:v>15175584</c:v>
                </c:pt>
                <c:pt idx="6837">
                  <c:v>31099092</c:v>
                </c:pt>
                <c:pt idx="6838">
                  <c:v>14454672</c:v>
                </c:pt>
                <c:pt idx="6839">
                  <c:v>28222964</c:v>
                </c:pt>
                <c:pt idx="6840">
                  <c:v>5789316</c:v>
                </c:pt>
                <c:pt idx="6841">
                  <c:v>52932453</c:v>
                </c:pt>
                <c:pt idx="6842">
                  <c:v>17719834</c:v>
                </c:pt>
                <c:pt idx="6843">
                  <c:v>7107984</c:v>
                </c:pt>
                <c:pt idx="6844">
                  <c:v>7978338</c:v>
                </c:pt>
                <c:pt idx="6845">
                  <c:v>21115822</c:v>
                </c:pt>
                <c:pt idx="6846">
                  <c:v>35792190</c:v>
                </c:pt>
                <c:pt idx="6847">
                  <c:v>62853396</c:v>
                </c:pt>
                <c:pt idx="6848">
                  <c:v>37300986</c:v>
                </c:pt>
                <c:pt idx="6849">
                  <c:v>86980953</c:v>
                </c:pt>
                <c:pt idx="6850">
                  <c:v>31913472</c:v>
                </c:pt>
                <c:pt idx="6851">
                  <c:v>89578237</c:v>
                </c:pt>
                <c:pt idx="6852">
                  <c:v>5009701</c:v>
                </c:pt>
                <c:pt idx="6853">
                  <c:v>24759845</c:v>
                </c:pt>
                <c:pt idx="6854">
                  <c:v>44986524</c:v>
                </c:pt>
                <c:pt idx="6855">
                  <c:v>101328495</c:v>
                </c:pt>
                <c:pt idx="6856">
                  <c:v>14780748</c:v>
                </c:pt>
                <c:pt idx="6857">
                  <c:v>52088612</c:v>
                </c:pt>
                <c:pt idx="6858">
                  <c:v>19083951</c:v>
                </c:pt>
                <c:pt idx="6859">
                  <c:v>16440500</c:v>
                </c:pt>
                <c:pt idx="6860">
                  <c:v>89397538</c:v>
                </c:pt>
                <c:pt idx="6861">
                  <c:v>8040100</c:v>
                </c:pt>
                <c:pt idx="6862">
                  <c:v>26162717</c:v>
                </c:pt>
                <c:pt idx="6863">
                  <c:v>48724869</c:v>
                </c:pt>
                <c:pt idx="6864">
                  <c:v>16044220</c:v>
                </c:pt>
                <c:pt idx="6865">
                  <c:v>17046084</c:v>
                </c:pt>
                <c:pt idx="6866">
                  <c:v>18847080</c:v>
                </c:pt>
                <c:pt idx="6867">
                  <c:v>70812080</c:v>
                </c:pt>
                <c:pt idx="6868">
                  <c:v>9197940</c:v>
                </c:pt>
                <c:pt idx="6869">
                  <c:v>95726048</c:v>
                </c:pt>
                <c:pt idx="6870">
                  <c:v>6385235</c:v>
                </c:pt>
                <c:pt idx="6871">
                  <c:v>13000400</c:v>
                </c:pt>
                <c:pt idx="6872">
                  <c:v>28549198</c:v>
                </c:pt>
                <c:pt idx="6873">
                  <c:v>241354756</c:v>
                </c:pt>
                <c:pt idx="6874">
                  <c:v>19114800</c:v>
                </c:pt>
                <c:pt idx="6875">
                  <c:v>43048775</c:v>
                </c:pt>
                <c:pt idx="6876">
                  <c:v>371998580</c:v>
                </c:pt>
                <c:pt idx="6877">
                  <c:v>2873867</c:v>
                </c:pt>
                <c:pt idx="6878">
                  <c:v>45879505</c:v>
                </c:pt>
                <c:pt idx="6879">
                  <c:v>66483004</c:v>
                </c:pt>
                <c:pt idx="6880">
                  <c:v>8168400</c:v>
                </c:pt>
                <c:pt idx="6881">
                  <c:v>13650590</c:v>
                </c:pt>
                <c:pt idx="6882">
                  <c:v>21224862</c:v>
                </c:pt>
                <c:pt idx="6883">
                  <c:v>5757939</c:v>
                </c:pt>
                <c:pt idx="6884">
                  <c:v>8291448</c:v>
                </c:pt>
                <c:pt idx="6885">
                  <c:v>12822600</c:v>
                </c:pt>
                <c:pt idx="6886">
                  <c:v>8094254</c:v>
                </c:pt>
                <c:pt idx="6887">
                  <c:v>9733220</c:v>
                </c:pt>
                <c:pt idx="6888">
                  <c:v>10216158</c:v>
                </c:pt>
                <c:pt idx="6889">
                  <c:v>79995504</c:v>
                </c:pt>
                <c:pt idx="6890">
                  <c:v>53775168</c:v>
                </c:pt>
                <c:pt idx="6891">
                  <c:v>28577388</c:v>
                </c:pt>
                <c:pt idx="6892">
                  <c:v>78214248</c:v>
                </c:pt>
                <c:pt idx="6893">
                  <c:v>9830376</c:v>
                </c:pt>
                <c:pt idx="6894">
                  <c:v>24448300</c:v>
                </c:pt>
                <c:pt idx="6895">
                  <c:v>227908512</c:v>
                </c:pt>
                <c:pt idx="6896">
                  <c:v>12399318</c:v>
                </c:pt>
                <c:pt idx="6897">
                  <c:v>17301312</c:v>
                </c:pt>
                <c:pt idx="6898">
                  <c:v>105563345</c:v>
                </c:pt>
                <c:pt idx="6899">
                  <c:v>9485710</c:v>
                </c:pt>
                <c:pt idx="6900">
                  <c:v>22883930</c:v>
                </c:pt>
                <c:pt idx="6901">
                  <c:v>21616092</c:v>
                </c:pt>
                <c:pt idx="6902">
                  <c:v>105387436</c:v>
                </c:pt>
                <c:pt idx="6903">
                  <c:v>613119360</c:v>
                </c:pt>
                <c:pt idx="6904">
                  <c:v>26461861</c:v>
                </c:pt>
                <c:pt idx="6905">
                  <c:v>20983356</c:v>
                </c:pt>
                <c:pt idx="6906">
                  <c:v>19756450</c:v>
                </c:pt>
                <c:pt idx="6907">
                  <c:v>9740592</c:v>
                </c:pt>
                <c:pt idx="6908">
                  <c:v>31191160</c:v>
                </c:pt>
                <c:pt idx="6909">
                  <c:v>11322228</c:v>
                </c:pt>
                <c:pt idx="6910">
                  <c:v>12139704</c:v>
                </c:pt>
                <c:pt idx="6911">
                  <c:v>234189435</c:v>
                </c:pt>
                <c:pt idx="6912">
                  <c:v>20521215</c:v>
                </c:pt>
                <c:pt idx="6913">
                  <c:v>25353768</c:v>
                </c:pt>
                <c:pt idx="6914">
                  <c:v>39789160</c:v>
                </c:pt>
                <c:pt idx="6915">
                  <c:v>80552961</c:v>
                </c:pt>
                <c:pt idx="6916">
                  <c:v>13785408</c:v>
                </c:pt>
                <c:pt idx="6917">
                  <c:v>12466872</c:v>
                </c:pt>
                <c:pt idx="6918">
                  <c:v>24418100</c:v>
                </c:pt>
                <c:pt idx="6919">
                  <c:v>10766476</c:v>
                </c:pt>
                <c:pt idx="6920">
                  <c:v>109213104</c:v>
                </c:pt>
                <c:pt idx="6921">
                  <c:v>14718492</c:v>
                </c:pt>
                <c:pt idx="6922">
                  <c:v>22625560</c:v>
                </c:pt>
                <c:pt idx="6923">
                  <c:v>47647611</c:v>
                </c:pt>
                <c:pt idx="6924">
                  <c:v>17090178</c:v>
                </c:pt>
                <c:pt idx="6925">
                  <c:v>32445602</c:v>
                </c:pt>
                <c:pt idx="6926">
                  <c:v>36736560</c:v>
                </c:pt>
                <c:pt idx="6927">
                  <c:v>11716048</c:v>
                </c:pt>
                <c:pt idx="6928">
                  <c:v>67419030</c:v>
                </c:pt>
                <c:pt idx="6929">
                  <c:v>12307760</c:v>
                </c:pt>
                <c:pt idx="6930">
                  <c:v>14768766</c:v>
                </c:pt>
                <c:pt idx="6931">
                  <c:v>222373368</c:v>
                </c:pt>
                <c:pt idx="6932">
                  <c:v>43282840</c:v>
                </c:pt>
                <c:pt idx="6933">
                  <c:v>171430371</c:v>
                </c:pt>
                <c:pt idx="6934">
                  <c:v>30398100</c:v>
                </c:pt>
                <c:pt idx="6935">
                  <c:v>15249712</c:v>
                </c:pt>
                <c:pt idx="6936">
                  <c:v>59077200</c:v>
                </c:pt>
                <c:pt idx="6937">
                  <c:v>384918612</c:v>
                </c:pt>
                <c:pt idx="6938">
                  <c:v>244686932</c:v>
                </c:pt>
                <c:pt idx="6939">
                  <c:v>449164320</c:v>
                </c:pt>
                <c:pt idx="6940">
                  <c:v>194666324</c:v>
                </c:pt>
                <c:pt idx="6941">
                  <c:v>380257600</c:v>
                </c:pt>
                <c:pt idx="6942">
                  <c:v>331590012</c:v>
                </c:pt>
                <c:pt idx="6943">
                  <c:v>295082640</c:v>
                </c:pt>
                <c:pt idx="6944">
                  <c:v>426945877</c:v>
                </c:pt>
                <c:pt idx="6945">
                  <c:v>758707092</c:v>
                </c:pt>
                <c:pt idx="6946">
                  <c:v>78119350</c:v>
                </c:pt>
                <c:pt idx="6947">
                  <c:v>96247008</c:v>
                </c:pt>
                <c:pt idx="6948">
                  <c:v>93706210</c:v>
                </c:pt>
                <c:pt idx="6949">
                  <c:v>373330940</c:v>
                </c:pt>
                <c:pt idx="6950">
                  <c:v>501434325</c:v>
                </c:pt>
                <c:pt idx="6951">
                  <c:v>622233340</c:v>
                </c:pt>
                <c:pt idx="6952">
                  <c:v>495705812</c:v>
                </c:pt>
                <c:pt idx="6953">
                  <c:v>372966080</c:v>
                </c:pt>
                <c:pt idx="6954">
                  <c:v>269060376</c:v>
                </c:pt>
                <c:pt idx="6955">
                  <c:v>766665456</c:v>
                </c:pt>
                <c:pt idx="6956">
                  <c:v>467450096</c:v>
                </c:pt>
                <c:pt idx="6957">
                  <c:v>178992564</c:v>
                </c:pt>
                <c:pt idx="6958">
                  <c:v>32739960</c:v>
                </c:pt>
                <c:pt idx="6959">
                  <c:v>531919872</c:v>
                </c:pt>
                <c:pt idx="6960">
                  <c:v>505712480</c:v>
                </c:pt>
                <c:pt idx="6961">
                  <c:v>415049832</c:v>
                </c:pt>
                <c:pt idx="6962">
                  <c:v>268510946</c:v>
                </c:pt>
                <c:pt idx="6963">
                  <c:v>12499665</c:v>
                </c:pt>
                <c:pt idx="6964">
                  <c:v>2413798</c:v>
                </c:pt>
                <c:pt idx="6965">
                  <c:v>69195464</c:v>
                </c:pt>
                <c:pt idx="6966">
                  <c:v>219015960</c:v>
                </c:pt>
                <c:pt idx="6967">
                  <c:v>117893062</c:v>
                </c:pt>
                <c:pt idx="6968">
                  <c:v>304528875</c:v>
                </c:pt>
                <c:pt idx="6969">
                  <c:v>50212700</c:v>
                </c:pt>
                <c:pt idx="6970">
                  <c:v>23279496</c:v>
                </c:pt>
                <c:pt idx="6971">
                  <c:v>17929738</c:v>
                </c:pt>
                <c:pt idx="6972">
                  <c:v>375038825</c:v>
                </c:pt>
                <c:pt idx="6973">
                  <c:v>100291296</c:v>
                </c:pt>
                <c:pt idx="6974">
                  <c:v>23519412</c:v>
                </c:pt>
                <c:pt idx="6975">
                  <c:v>236349411</c:v>
                </c:pt>
                <c:pt idx="6976">
                  <c:v>151832492</c:v>
                </c:pt>
                <c:pt idx="6977">
                  <c:v>16961784</c:v>
                </c:pt>
                <c:pt idx="6978">
                  <c:v>72876680</c:v>
                </c:pt>
                <c:pt idx="6979">
                  <c:v>35999982</c:v>
                </c:pt>
                <c:pt idx="6980">
                  <c:v>28812318</c:v>
                </c:pt>
                <c:pt idx="6981">
                  <c:v>46162968</c:v>
                </c:pt>
                <c:pt idx="6982">
                  <c:v>34509150</c:v>
                </c:pt>
                <c:pt idx="6983">
                  <c:v>53867276</c:v>
                </c:pt>
                <c:pt idx="6984">
                  <c:v>50543968</c:v>
                </c:pt>
                <c:pt idx="6985">
                  <c:v>820108746</c:v>
                </c:pt>
                <c:pt idx="6986">
                  <c:v>18056304</c:v>
                </c:pt>
                <c:pt idx="6987">
                  <c:v>156674205</c:v>
                </c:pt>
                <c:pt idx="6988">
                  <c:v>98149842</c:v>
                </c:pt>
                <c:pt idx="6989">
                  <c:v>35612083</c:v>
                </c:pt>
                <c:pt idx="6990">
                  <c:v>329394450</c:v>
                </c:pt>
                <c:pt idx="6991">
                  <c:v>155984250</c:v>
                </c:pt>
                <c:pt idx="6992">
                  <c:v>269599175</c:v>
                </c:pt>
                <c:pt idx="6993">
                  <c:v>48196824</c:v>
                </c:pt>
                <c:pt idx="6994">
                  <c:v>28240479</c:v>
                </c:pt>
                <c:pt idx="6995">
                  <c:v>32398800</c:v>
                </c:pt>
                <c:pt idx="6996">
                  <c:v>3671073</c:v>
                </c:pt>
                <c:pt idx="6997">
                  <c:v>304158879</c:v>
                </c:pt>
                <c:pt idx="6998">
                  <c:v>77133717</c:v>
                </c:pt>
                <c:pt idx="6999">
                  <c:v>11624577</c:v>
                </c:pt>
                <c:pt idx="7000">
                  <c:v>87690118</c:v>
                </c:pt>
                <c:pt idx="7001">
                  <c:v>46023904</c:v>
                </c:pt>
                <c:pt idx="7002">
                  <c:v>124509744</c:v>
                </c:pt>
                <c:pt idx="7003">
                  <c:v>28584360</c:v>
                </c:pt>
                <c:pt idx="7004">
                  <c:v>13265250</c:v>
                </c:pt>
                <c:pt idx="7005">
                  <c:v>40989260</c:v>
                </c:pt>
                <c:pt idx="7006">
                  <c:v>19430600</c:v>
                </c:pt>
                <c:pt idx="7007">
                  <c:v>43296150</c:v>
                </c:pt>
                <c:pt idx="7008">
                  <c:v>10051284</c:v>
                </c:pt>
                <c:pt idx="7009">
                  <c:v>19724652</c:v>
                </c:pt>
                <c:pt idx="7010">
                  <c:v>27846612</c:v>
                </c:pt>
                <c:pt idx="7011">
                  <c:v>6025092</c:v>
                </c:pt>
                <c:pt idx="7012">
                  <c:v>120228000</c:v>
                </c:pt>
                <c:pt idx="7013">
                  <c:v>68894488</c:v>
                </c:pt>
                <c:pt idx="7014">
                  <c:v>22894080</c:v>
                </c:pt>
                <c:pt idx="7015">
                  <c:v>29240358</c:v>
                </c:pt>
                <c:pt idx="7016">
                  <c:v>17095217</c:v>
                </c:pt>
                <c:pt idx="7017">
                  <c:v>26207917</c:v>
                </c:pt>
                <c:pt idx="7018">
                  <c:v>8843137</c:v>
                </c:pt>
                <c:pt idx="7019">
                  <c:v>22672402</c:v>
                </c:pt>
                <c:pt idx="7020">
                  <c:v>22359040</c:v>
                </c:pt>
                <c:pt idx="7021">
                  <c:v>659143930</c:v>
                </c:pt>
                <c:pt idx="7022">
                  <c:v>132514416</c:v>
                </c:pt>
                <c:pt idx="7023">
                  <c:v>61557384</c:v>
                </c:pt>
                <c:pt idx="7024">
                  <c:v>402797762</c:v>
                </c:pt>
                <c:pt idx="7025">
                  <c:v>665803537</c:v>
                </c:pt>
                <c:pt idx="7026">
                  <c:v>817360960</c:v>
                </c:pt>
                <c:pt idx="7027">
                  <c:v>25600173</c:v>
                </c:pt>
                <c:pt idx="7028">
                  <c:v>173615832</c:v>
                </c:pt>
                <c:pt idx="7029">
                  <c:v>65203159</c:v>
                </c:pt>
                <c:pt idx="7030">
                  <c:v>3129056</c:v>
                </c:pt>
                <c:pt idx="7031">
                  <c:v>41242848</c:v>
                </c:pt>
                <c:pt idx="7032">
                  <c:v>36217856</c:v>
                </c:pt>
                <c:pt idx="7033">
                  <c:v>202012832</c:v>
                </c:pt>
                <c:pt idx="7034">
                  <c:v>13399260</c:v>
                </c:pt>
                <c:pt idx="7035">
                  <c:v>185999492</c:v>
                </c:pt>
                <c:pt idx="7036">
                  <c:v>10370808</c:v>
                </c:pt>
                <c:pt idx="7037">
                  <c:v>41110144</c:v>
                </c:pt>
                <c:pt idx="7038">
                  <c:v>27412012</c:v>
                </c:pt>
                <c:pt idx="7039">
                  <c:v>28336526</c:v>
                </c:pt>
                <c:pt idx="7040">
                  <c:v>20084748</c:v>
                </c:pt>
                <c:pt idx="7041">
                  <c:v>7445251</c:v>
                </c:pt>
                <c:pt idx="7042">
                  <c:v>11619128</c:v>
                </c:pt>
                <c:pt idx="7043">
                  <c:v>22636185</c:v>
                </c:pt>
                <c:pt idx="7044">
                  <c:v>17649478</c:v>
                </c:pt>
                <c:pt idx="7045">
                  <c:v>19204136</c:v>
                </c:pt>
                <c:pt idx="7046">
                  <c:v>18477998</c:v>
                </c:pt>
                <c:pt idx="7047">
                  <c:v>110577376</c:v>
                </c:pt>
                <c:pt idx="7048">
                  <c:v>63246030</c:v>
                </c:pt>
                <c:pt idx="7049">
                  <c:v>248647168</c:v>
                </c:pt>
                <c:pt idx="7050">
                  <c:v>10801359</c:v>
                </c:pt>
                <c:pt idx="7051">
                  <c:v>32529387</c:v>
                </c:pt>
                <c:pt idx="7052">
                  <c:v>125202360</c:v>
                </c:pt>
                <c:pt idx="7053">
                  <c:v>47425770</c:v>
                </c:pt>
                <c:pt idx="7054">
                  <c:v>7771123</c:v>
                </c:pt>
                <c:pt idx="7055">
                  <c:v>32345750</c:v>
                </c:pt>
                <c:pt idx="7056">
                  <c:v>114613345</c:v>
                </c:pt>
                <c:pt idx="7057">
                  <c:v>9247091</c:v>
                </c:pt>
                <c:pt idx="7058">
                  <c:v>68172093</c:v>
                </c:pt>
                <c:pt idx="7059">
                  <c:v>43231728</c:v>
                </c:pt>
                <c:pt idx="7060">
                  <c:v>46179354</c:v>
                </c:pt>
                <c:pt idx="7061">
                  <c:v>48597768</c:v>
                </c:pt>
                <c:pt idx="7062">
                  <c:v>12319374</c:v>
                </c:pt>
                <c:pt idx="7063">
                  <c:v>9335460</c:v>
                </c:pt>
                <c:pt idx="7064">
                  <c:v>9334754</c:v>
                </c:pt>
                <c:pt idx="7065">
                  <c:v>27581540</c:v>
                </c:pt>
                <c:pt idx="7066">
                  <c:v>8154762</c:v>
                </c:pt>
                <c:pt idx="7067">
                  <c:v>6694911</c:v>
                </c:pt>
                <c:pt idx="7068">
                  <c:v>1289575238</c:v>
                </c:pt>
                <c:pt idx="7069">
                  <c:v>12385011</c:v>
                </c:pt>
                <c:pt idx="7070">
                  <c:v>34458346</c:v>
                </c:pt>
                <c:pt idx="7071">
                  <c:v>15038964</c:v>
                </c:pt>
                <c:pt idx="7072">
                  <c:v>61488040</c:v>
                </c:pt>
                <c:pt idx="7073">
                  <c:v>127504594</c:v>
                </c:pt>
                <c:pt idx="7074">
                  <c:v>47227026</c:v>
                </c:pt>
                <c:pt idx="7075">
                  <c:v>15082353</c:v>
                </c:pt>
                <c:pt idx="7076">
                  <c:v>184500072</c:v>
                </c:pt>
                <c:pt idx="7077">
                  <c:v>149239062</c:v>
                </c:pt>
                <c:pt idx="7078">
                  <c:v>42702116</c:v>
                </c:pt>
                <c:pt idx="7079">
                  <c:v>381607102</c:v>
                </c:pt>
                <c:pt idx="7080">
                  <c:v>169443830</c:v>
                </c:pt>
                <c:pt idx="7081">
                  <c:v>26818401</c:v>
                </c:pt>
                <c:pt idx="7082">
                  <c:v>23306957</c:v>
                </c:pt>
                <c:pt idx="7083">
                  <c:v>98704260</c:v>
                </c:pt>
                <c:pt idx="7084">
                  <c:v>67124704</c:v>
                </c:pt>
                <c:pt idx="7085">
                  <c:v>667182166</c:v>
                </c:pt>
                <c:pt idx="7086">
                  <c:v>222935778</c:v>
                </c:pt>
                <c:pt idx="7087">
                  <c:v>11678400</c:v>
                </c:pt>
                <c:pt idx="7088">
                  <c:v>15786100</c:v>
                </c:pt>
                <c:pt idx="7089">
                  <c:v>650921390</c:v>
                </c:pt>
                <c:pt idx="7090">
                  <c:v>463267584</c:v>
                </c:pt>
                <c:pt idx="7091">
                  <c:v>411899936</c:v>
                </c:pt>
                <c:pt idx="7092">
                  <c:v>35544089</c:v>
                </c:pt>
                <c:pt idx="7093">
                  <c:v>16041574</c:v>
                </c:pt>
                <c:pt idx="7094">
                  <c:v>7588688</c:v>
                </c:pt>
                <c:pt idx="7095">
                  <c:v>12798784</c:v>
                </c:pt>
                <c:pt idx="7096">
                  <c:v>5750667</c:v>
                </c:pt>
                <c:pt idx="7097">
                  <c:v>61944522</c:v>
                </c:pt>
                <c:pt idx="7098">
                  <c:v>98823590</c:v>
                </c:pt>
                <c:pt idx="7099">
                  <c:v>77953152</c:v>
                </c:pt>
                <c:pt idx="7100">
                  <c:v>37074488</c:v>
                </c:pt>
                <c:pt idx="7101">
                  <c:v>5507832</c:v>
                </c:pt>
                <c:pt idx="7102">
                  <c:v>49390530</c:v>
                </c:pt>
                <c:pt idx="7103">
                  <c:v>173291391</c:v>
                </c:pt>
                <c:pt idx="7104">
                  <c:v>10419199</c:v>
                </c:pt>
                <c:pt idx="7105">
                  <c:v>187784459</c:v>
                </c:pt>
                <c:pt idx="7106">
                  <c:v>57255704</c:v>
                </c:pt>
                <c:pt idx="7107">
                  <c:v>28273608</c:v>
                </c:pt>
                <c:pt idx="7108">
                  <c:v>12626614</c:v>
                </c:pt>
                <c:pt idx="7109">
                  <c:v>185837976</c:v>
                </c:pt>
                <c:pt idx="7110">
                  <c:v>15946545</c:v>
                </c:pt>
                <c:pt idx="7111">
                  <c:v>27279696</c:v>
                </c:pt>
                <c:pt idx="7112">
                  <c:v>171161975</c:v>
                </c:pt>
                <c:pt idx="7113">
                  <c:v>86973602</c:v>
                </c:pt>
                <c:pt idx="7114">
                  <c:v>58431170</c:v>
                </c:pt>
                <c:pt idx="7115">
                  <c:v>214641562</c:v>
                </c:pt>
                <c:pt idx="7116">
                  <c:v>63859546</c:v>
                </c:pt>
                <c:pt idx="7117">
                  <c:v>237596240</c:v>
                </c:pt>
                <c:pt idx="7118">
                  <c:v>514674083</c:v>
                </c:pt>
                <c:pt idx="7119">
                  <c:v>68738503</c:v>
                </c:pt>
                <c:pt idx="7120">
                  <c:v>44109696</c:v>
                </c:pt>
                <c:pt idx="7121">
                  <c:v>19122488</c:v>
                </c:pt>
                <c:pt idx="7122">
                  <c:v>57924285</c:v>
                </c:pt>
                <c:pt idx="7123">
                  <c:v>11091115</c:v>
                </c:pt>
                <c:pt idx="7124">
                  <c:v>22285692</c:v>
                </c:pt>
                <c:pt idx="7125">
                  <c:v>298654980</c:v>
                </c:pt>
                <c:pt idx="7126">
                  <c:v>105414232</c:v>
                </c:pt>
                <c:pt idx="7127">
                  <c:v>99196908</c:v>
                </c:pt>
                <c:pt idx="7128">
                  <c:v>25983812</c:v>
                </c:pt>
                <c:pt idx="7129">
                  <c:v>38682168</c:v>
                </c:pt>
                <c:pt idx="7130">
                  <c:v>49057827</c:v>
                </c:pt>
                <c:pt idx="7131">
                  <c:v>11245783</c:v>
                </c:pt>
                <c:pt idx="7132">
                  <c:v>31978420</c:v>
                </c:pt>
                <c:pt idx="7133">
                  <c:v>9590966</c:v>
                </c:pt>
                <c:pt idx="7134">
                  <c:v>11130612</c:v>
                </c:pt>
                <c:pt idx="7135">
                  <c:v>14307327</c:v>
                </c:pt>
                <c:pt idx="7136">
                  <c:v>10507704</c:v>
                </c:pt>
                <c:pt idx="7137">
                  <c:v>14152060</c:v>
                </c:pt>
                <c:pt idx="7138">
                  <c:v>19278623</c:v>
                </c:pt>
                <c:pt idx="7139">
                  <c:v>27092240</c:v>
                </c:pt>
                <c:pt idx="7140">
                  <c:v>36737628</c:v>
                </c:pt>
                <c:pt idx="7141">
                  <c:v>70071144</c:v>
                </c:pt>
                <c:pt idx="7142">
                  <c:v>65333842</c:v>
                </c:pt>
                <c:pt idx="7143">
                  <c:v>15017970</c:v>
                </c:pt>
                <c:pt idx="7144">
                  <c:v>23125067</c:v>
                </c:pt>
                <c:pt idx="7145">
                  <c:v>11591464</c:v>
                </c:pt>
                <c:pt idx="7146">
                  <c:v>713183460</c:v>
                </c:pt>
                <c:pt idx="7147">
                  <c:v>17564019</c:v>
                </c:pt>
                <c:pt idx="7148">
                  <c:v>7371210</c:v>
                </c:pt>
                <c:pt idx="7149">
                  <c:v>625392012</c:v>
                </c:pt>
                <c:pt idx="7150">
                  <c:v>33454041</c:v>
                </c:pt>
                <c:pt idx="7151">
                  <c:v>17691600</c:v>
                </c:pt>
                <c:pt idx="7152">
                  <c:v>19101505</c:v>
                </c:pt>
                <c:pt idx="7153">
                  <c:v>13482638</c:v>
                </c:pt>
                <c:pt idx="7154">
                  <c:v>13974440</c:v>
                </c:pt>
                <c:pt idx="7155">
                  <c:v>55835835</c:v>
                </c:pt>
                <c:pt idx="7156">
                  <c:v>56157084</c:v>
                </c:pt>
                <c:pt idx="7157">
                  <c:v>254049445</c:v>
                </c:pt>
                <c:pt idx="7158">
                  <c:v>71109360</c:v>
                </c:pt>
                <c:pt idx="7159">
                  <c:v>17738651</c:v>
                </c:pt>
                <c:pt idx="7160">
                  <c:v>38252840</c:v>
                </c:pt>
                <c:pt idx="7161">
                  <c:v>44110439</c:v>
                </c:pt>
                <c:pt idx="7162">
                  <c:v>16992558</c:v>
                </c:pt>
                <c:pt idx="7163">
                  <c:v>137571108</c:v>
                </c:pt>
                <c:pt idx="7164">
                  <c:v>11478204</c:v>
                </c:pt>
                <c:pt idx="7165">
                  <c:v>89998830</c:v>
                </c:pt>
                <c:pt idx="7166">
                  <c:v>58281426</c:v>
                </c:pt>
                <c:pt idx="7167">
                  <c:v>20802656</c:v>
                </c:pt>
                <c:pt idx="7168">
                  <c:v>80477664</c:v>
                </c:pt>
                <c:pt idx="7169">
                  <c:v>21017232</c:v>
                </c:pt>
                <c:pt idx="7170">
                  <c:v>23774621</c:v>
                </c:pt>
                <c:pt idx="7171">
                  <c:v>10420065</c:v>
                </c:pt>
                <c:pt idx="7172">
                  <c:v>78404480</c:v>
                </c:pt>
                <c:pt idx="7173">
                  <c:v>171125075</c:v>
                </c:pt>
                <c:pt idx="7174">
                  <c:v>14347374</c:v>
                </c:pt>
                <c:pt idx="7175">
                  <c:v>13557837</c:v>
                </c:pt>
                <c:pt idx="7176">
                  <c:v>24759111</c:v>
                </c:pt>
                <c:pt idx="7177">
                  <c:v>160664640</c:v>
                </c:pt>
                <c:pt idx="7178">
                  <c:v>4681075</c:v>
                </c:pt>
                <c:pt idx="7179">
                  <c:v>158716908</c:v>
                </c:pt>
                <c:pt idx="7180">
                  <c:v>16023180</c:v>
                </c:pt>
                <c:pt idx="7181">
                  <c:v>29312616</c:v>
                </c:pt>
                <c:pt idx="7182">
                  <c:v>7701957</c:v>
                </c:pt>
                <c:pt idx="7183">
                  <c:v>89957235</c:v>
                </c:pt>
                <c:pt idx="7184">
                  <c:v>36731340</c:v>
                </c:pt>
                <c:pt idx="7185">
                  <c:v>29131497</c:v>
                </c:pt>
                <c:pt idx="7186">
                  <c:v>13624814</c:v>
                </c:pt>
                <c:pt idx="7187">
                  <c:v>217738700</c:v>
                </c:pt>
                <c:pt idx="7188">
                  <c:v>93864580</c:v>
                </c:pt>
                <c:pt idx="7189">
                  <c:v>706538866</c:v>
                </c:pt>
                <c:pt idx="7190">
                  <c:v>991599834</c:v>
                </c:pt>
                <c:pt idx="7191">
                  <c:v>1735361638</c:v>
                </c:pt>
                <c:pt idx="7192">
                  <c:v>36987336</c:v>
                </c:pt>
                <c:pt idx="7193">
                  <c:v>30531774</c:v>
                </c:pt>
                <c:pt idx="7194">
                  <c:v>177911502</c:v>
                </c:pt>
                <c:pt idx="7195">
                  <c:v>18092340</c:v>
                </c:pt>
                <c:pt idx="7196">
                  <c:v>162325647</c:v>
                </c:pt>
                <c:pt idx="7197">
                  <c:v>156056856</c:v>
                </c:pt>
                <c:pt idx="7198">
                  <c:v>56170357</c:v>
                </c:pt>
                <c:pt idx="7199">
                  <c:v>73652031</c:v>
                </c:pt>
                <c:pt idx="7200">
                  <c:v>1267185115</c:v>
                </c:pt>
                <c:pt idx="7201">
                  <c:v>42987228</c:v>
                </c:pt>
                <c:pt idx="7202">
                  <c:v>17491270</c:v>
                </c:pt>
                <c:pt idx="7203">
                  <c:v>12607011</c:v>
                </c:pt>
                <c:pt idx="7204">
                  <c:v>78327337</c:v>
                </c:pt>
                <c:pt idx="7205">
                  <c:v>50380810</c:v>
                </c:pt>
                <c:pt idx="7206">
                  <c:v>10219168</c:v>
                </c:pt>
                <c:pt idx="7207">
                  <c:v>13298472</c:v>
                </c:pt>
                <c:pt idx="7208">
                  <c:v>36840182</c:v>
                </c:pt>
                <c:pt idx="7209">
                  <c:v>107035731</c:v>
                </c:pt>
                <c:pt idx="7210">
                  <c:v>12287875</c:v>
                </c:pt>
                <c:pt idx="7211">
                  <c:v>6940560</c:v>
                </c:pt>
                <c:pt idx="7212">
                  <c:v>90269484</c:v>
                </c:pt>
                <c:pt idx="7213">
                  <c:v>40812050</c:v>
                </c:pt>
                <c:pt idx="7214">
                  <c:v>77781319</c:v>
                </c:pt>
                <c:pt idx="7215">
                  <c:v>15667416</c:v>
                </c:pt>
                <c:pt idx="7216">
                  <c:v>12607957</c:v>
                </c:pt>
                <c:pt idx="7217">
                  <c:v>57762256</c:v>
                </c:pt>
                <c:pt idx="7218">
                  <c:v>237605378</c:v>
                </c:pt>
                <c:pt idx="7219">
                  <c:v>25464810</c:v>
                </c:pt>
                <c:pt idx="7220">
                  <c:v>26142528</c:v>
                </c:pt>
                <c:pt idx="7221">
                  <c:v>22848408</c:v>
                </c:pt>
                <c:pt idx="7222">
                  <c:v>12334660</c:v>
                </c:pt>
                <c:pt idx="7223">
                  <c:v>111157842</c:v>
                </c:pt>
                <c:pt idx="7224">
                  <c:v>4328127</c:v>
                </c:pt>
                <c:pt idx="7225">
                  <c:v>65311888</c:v>
                </c:pt>
                <c:pt idx="7226">
                  <c:v>76895992</c:v>
                </c:pt>
                <c:pt idx="7227">
                  <c:v>26171400</c:v>
                </c:pt>
                <c:pt idx="7228">
                  <c:v>28117320</c:v>
                </c:pt>
                <c:pt idx="7229">
                  <c:v>66646080</c:v>
                </c:pt>
                <c:pt idx="7230">
                  <c:v>352830780</c:v>
                </c:pt>
                <c:pt idx="7231">
                  <c:v>6433246</c:v>
                </c:pt>
                <c:pt idx="7232">
                  <c:v>20796930</c:v>
                </c:pt>
                <c:pt idx="7233">
                  <c:v>41796645</c:v>
                </c:pt>
                <c:pt idx="7234">
                  <c:v>18064584</c:v>
                </c:pt>
                <c:pt idx="7235">
                  <c:v>178584175</c:v>
                </c:pt>
                <c:pt idx="7236">
                  <c:v>6108780</c:v>
                </c:pt>
                <c:pt idx="7237">
                  <c:v>136571292</c:v>
                </c:pt>
                <c:pt idx="7238">
                  <c:v>14381250</c:v>
                </c:pt>
                <c:pt idx="7239">
                  <c:v>22582160</c:v>
                </c:pt>
                <c:pt idx="7240">
                  <c:v>107588429</c:v>
                </c:pt>
                <c:pt idx="7241">
                  <c:v>15008600</c:v>
                </c:pt>
                <c:pt idx="7242">
                  <c:v>25502256</c:v>
                </c:pt>
                <c:pt idx="7243">
                  <c:v>19196970</c:v>
                </c:pt>
                <c:pt idx="7244">
                  <c:v>10077132</c:v>
                </c:pt>
                <c:pt idx="7245">
                  <c:v>48189505</c:v>
                </c:pt>
                <c:pt idx="7246">
                  <c:v>13973592</c:v>
                </c:pt>
                <c:pt idx="7247">
                  <c:v>34214121</c:v>
                </c:pt>
                <c:pt idx="7248">
                  <c:v>50191743</c:v>
                </c:pt>
                <c:pt idx="7249">
                  <c:v>11022984</c:v>
                </c:pt>
                <c:pt idx="7250">
                  <c:v>14107212</c:v>
                </c:pt>
                <c:pt idx="7251">
                  <c:v>21675632</c:v>
                </c:pt>
                <c:pt idx="7252">
                  <c:v>53348376</c:v>
                </c:pt>
                <c:pt idx="7253">
                  <c:v>178080573</c:v>
                </c:pt>
                <c:pt idx="7254">
                  <c:v>20637960</c:v>
                </c:pt>
                <c:pt idx="7255">
                  <c:v>129814529</c:v>
                </c:pt>
                <c:pt idx="7256">
                  <c:v>55991925</c:v>
                </c:pt>
                <c:pt idx="7257">
                  <c:v>16970274</c:v>
                </c:pt>
                <c:pt idx="7258">
                  <c:v>17735056</c:v>
                </c:pt>
                <c:pt idx="7259">
                  <c:v>18802168</c:v>
                </c:pt>
                <c:pt idx="7260">
                  <c:v>6940556</c:v>
                </c:pt>
                <c:pt idx="7261">
                  <c:v>4117596</c:v>
                </c:pt>
                <c:pt idx="7262">
                  <c:v>631514528</c:v>
                </c:pt>
                <c:pt idx="7263">
                  <c:v>74409426</c:v>
                </c:pt>
                <c:pt idx="7264">
                  <c:v>117764889</c:v>
                </c:pt>
                <c:pt idx="7265">
                  <c:v>139196247</c:v>
                </c:pt>
                <c:pt idx="7266">
                  <c:v>1218242234</c:v>
                </c:pt>
                <c:pt idx="7267">
                  <c:v>137513349</c:v>
                </c:pt>
                <c:pt idx="7268">
                  <c:v>19929210</c:v>
                </c:pt>
                <c:pt idx="7269">
                  <c:v>41698995</c:v>
                </c:pt>
                <c:pt idx="7270">
                  <c:v>251719936</c:v>
                </c:pt>
                <c:pt idx="7271">
                  <c:v>235585080</c:v>
                </c:pt>
                <c:pt idx="7272">
                  <c:v>128929728</c:v>
                </c:pt>
                <c:pt idx="7273">
                  <c:v>163074933</c:v>
                </c:pt>
                <c:pt idx="7274">
                  <c:v>530310731</c:v>
                </c:pt>
                <c:pt idx="7275">
                  <c:v>27833212</c:v>
                </c:pt>
                <c:pt idx="7276">
                  <c:v>545263762</c:v>
                </c:pt>
                <c:pt idx="7277">
                  <c:v>86209760</c:v>
                </c:pt>
                <c:pt idx="7278">
                  <c:v>300493576</c:v>
                </c:pt>
                <c:pt idx="7279">
                  <c:v>104684112</c:v>
                </c:pt>
                <c:pt idx="7280">
                  <c:v>683965700</c:v>
                </c:pt>
                <c:pt idx="7281">
                  <c:v>891120384</c:v>
                </c:pt>
                <c:pt idx="7282">
                  <c:v>486387396</c:v>
                </c:pt>
                <c:pt idx="7283">
                  <c:v>233020854</c:v>
                </c:pt>
                <c:pt idx="7284">
                  <c:v>6268128</c:v>
                </c:pt>
                <c:pt idx="7285">
                  <c:v>210930792</c:v>
                </c:pt>
                <c:pt idx="7286">
                  <c:v>300951434</c:v>
                </c:pt>
                <c:pt idx="7287">
                  <c:v>62235376</c:v>
                </c:pt>
                <c:pt idx="7288">
                  <c:v>30010797</c:v>
                </c:pt>
                <c:pt idx="7289">
                  <c:v>216686596</c:v>
                </c:pt>
                <c:pt idx="7290">
                  <c:v>119653285</c:v>
                </c:pt>
                <c:pt idx="7291">
                  <c:v>196591575</c:v>
                </c:pt>
                <c:pt idx="7292">
                  <c:v>242777700</c:v>
                </c:pt>
                <c:pt idx="7293">
                  <c:v>114567180</c:v>
                </c:pt>
                <c:pt idx="7294">
                  <c:v>80660328</c:v>
                </c:pt>
                <c:pt idx="7295">
                  <c:v>379685985</c:v>
                </c:pt>
                <c:pt idx="7296">
                  <c:v>582961124</c:v>
                </c:pt>
                <c:pt idx="7297">
                  <c:v>1145295525</c:v>
                </c:pt>
                <c:pt idx="7298">
                  <c:v>1544718670</c:v>
                </c:pt>
                <c:pt idx="7299">
                  <c:v>698705700</c:v>
                </c:pt>
                <c:pt idx="7300">
                  <c:v>1877917744</c:v>
                </c:pt>
                <c:pt idx="7301">
                  <c:v>1264404288</c:v>
                </c:pt>
                <c:pt idx="7302">
                  <c:v>1051103370</c:v>
                </c:pt>
                <c:pt idx="7303">
                  <c:v>2363595</c:v>
                </c:pt>
                <c:pt idx="7304">
                  <c:v>427207400</c:v>
                </c:pt>
                <c:pt idx="7305">
                  <c:v>994820812</c:v>
                </c:pt>
                <c:pt idx="7306">
                  <c:v>100657740</c:v>
                </c:pt>
                <c:pt idx="7307">
                  <c:v>42392016</c:v>
                </c:pt>
                <c:pt idx="7308">
                  <c:v>82702620</c:v>
                </c:pt>
                <c:pt idx="7309">
                  <c:v>39615831</c:v>
                </c:pt>
                <c:pt idx="7310">
                  <c:v>450643876</c:v>
                </c:pt>
                <c:pt idx="7311">
                  <c:v>1537220692</c:v>
                </c:pt>
                <c:pt idx="7312">
                  <c:v>835156231</c:v>
                </c:pt>
                <c:pt idx="7313">
                  <c:v>50420232</c:v>
                </c:pt>
                <c:pt idx="7314">
                  <c:v>78162656</c:v>
                </c:pt>
                <c:pt idx="7315">
                  <c:v>102226977</c:v>
                </c:pt>
                <c:pt idx="7316">
                  <c:v>203097408</c:v>
                </c:pt>
                <c:pt idx="7317">
                  <c:v>231793090</c:v>
                </c:pt>
                <c:pt idx="7318">
                  <c:v>29474640</c:v>
                </c:pt>
                <c:pt idx="7319">
                  <c:v>205949994</c:v>
                </c:pt>
                <c:pt idx="7320">
                  <c:v>435311128</c:v>
                </c:pt>
                <c:pt idx="7321">
                  <c:v>72472365</c:v>
                </c:pt>
                <c:pt idx="7322">
                  <c:v>419582030</c:v>
                </c:pt>
                <c:pt idx="7323">
                  <c:v>43995504</c:v>
                </c:pt>
                <c:pt idx="7324">
                  <c:v>906209318</c:v>
                </c:pt>
                <c:pt idx="7325">
                  <c:v>203588946</c:v>
                </c:pt>
                <c:pt idx="7326">
                  <c:v>425845483</c:v>
                </c:pt>
                <c:pt idx="7327">
                  <c:v>722899330</c:v>
                </c:pt>
                <c:pt idx="7328">
                  <c:v>546357240</c:v>
                </c:pt>
                <c:pt idx="7329">
                  <c:v>1871876391</c:v>
                </c:pt>
                <c:pt idx="7330">
                  <c:v>1404925594</c:v>
                </c:pt>
                <c:pt idx="7331">
                  <c:v>109433758</c:v>
                </c:pt>
                <c:pt idx="7332">
                  <c:v>635076611</c:v>
                </c:pt>
                <c:pt idx="7333">
                  <c:v>102143724</c:v>
                </c:pt>
                <c:pt idx="7334">
                  <c:v>1989183660</c:v>
                </c:pt>
                <c:pt idx="7335">
                  <c:v>600267172</c:v>
                </c:pt>
                <c:pt idx="7336">
                  <c:v>60291768</c:v>
                </c:pt>
                <c:pt idx="7337">
                  <c:v>993827500</c:v>
                </c:pt>
                <c:pt idx="7338">
                  <c:v>1084211924</c:v>
                </c:pt>
                <c:pt idx="7339">
                  <c:v>250163870</c:v>
                </c:pt>
                <c:pt idx="7340">
                  <c:v>125928390</c:v>
                </c:pt>
                <c:pt idx="7341">
                  <c:v>309464633</c:v>
                </c:pt>
                <c:pt idx="7342">
                  <c:v>1075277070</c:v>
                </c:pt>
                <c:pt idx="7343">
                  <c:v>55682920</c:v>
                </c:pt>
                <c:pt idx="7344">
                  <c:v>143359488</c:v>
                </c:pt>
                <c:pt idx="7345">
                  <c:v>451029512</c:v>
                </c:pt>
                <c:pt idx="7346">
                  <c:v>57278403</c:v>
                </c:pt>
                <c:pt idx="7347">
                  <c:v>1066765160</c:v>
                </c:pt>
                <c:pt idx="7348">
                  <c:v>206193356</c:v>
                </c:pt>
                <c:pt idx="7349">
                  <c:v>18809088</c:v>
                </c:pt>
                <c:pt idx="7350">
                  <c:v>49440583</c:v>
                </c:pt>
                <c:pt idx="7351">
                  <c:v>162377090</c:v>
                </c:pt>
                <c:pt idx="7352">
                  <c:v>427636560</c:v>
                </c:pt>
                <c:pt idx="7353">
                  <c:v>935012494</c:v>
                </c:pt>
                <c:pt idx="7354">
                  <c:v>144851274</c:v>
                </c:pt>
                <c:pt idx="7355">
                  <c:v>97492515</c:v>
                </c:pt>
                <c:pt idx="7356">
                  <c:v>1087224944</c:v>
                </c:pt>
                <c:pt idx="7357">
                  <c:v>932650446</c:v>
                </c:pt>
                <c:pt idx="7358">
                  <c:v>112899528</c:v>
                </c:pt>
                <c:pt idx="7359">
                  <c:v>461936398</c:v>
                </c:pt>
                <c:pt idx="7360">
                  <c:v>178491992</c:v>
                </c:pt>
                <c:pt idx="7361">
                  <c:v>166441536</c:v>
                </c:pt>
                <c:pt idx="7362">
                  <c:v>82122454</c:v>
                </c:pt>
                <c:pt idx="7363">
                  <c:v>69416375</c:v>
                </c:pt>
                <c:pt idx="7364">
                  <c:v>351776264</c:v>
                </c:pt>
                <c:pt idx="7365">
                  <c:v>791053488</c:v>
                </c:pt>
                <c:pt idx="7366">
                  <c:v>1131224868</c:v>
                </c:pt>
                <c:pt idx="7367">
                  <c:v>418101072</c:v>
                </c:pt>
                <c:pt idx="7368">
                  <c:v>160968444</c:v>
                </c:pt>
                <c:pt idx="7369">
                  <c:v>316686960</c:v>
                </c:pt>
                <c:pt idx="7370">
                  <c:v>400676220</c:v>
                </c:pt>
                <c:pt idx="7371">
                  <c:v>102864144</c:v>
                </c:pt>
                <c:pt idx="7372">
                  <c:v>470185320</c:v>
                </c:pt>
                <c:pt idx="7373">
                  <c:v>549081900</c:v>
                </c:pt>
                <c:pt idx="7374">
                  <c:v>1025717673</c:v>
                </c:pt>
                <c:pt idx="7375">
                  <c:v>1569900430</c:v>
                </c:pt>
                <c:pt idx="7376">
                  <c:v>1563541498</c:v>
                </c:pt>
                <c:pt idx="7377">
                  <c:v>941337675</c:v>
                </c:pt>
                <c:pt idx="7378">
                  <c:v>524463516</c:v>
                </c:pt>
                <c:pt idx="7379">
                  <c:v>2147483647</c:v>
                </c:pt>
                <c:pt idx="7380">
                  <c:v>1465269234</c:v>
                </c:pt>
                <c:pt idx="7381">
                  <c:v>663919884</c:v>
                </c:pt>
                <c:pt idx="7382">
                  <c:v>2147483647</c:v>
                </c:pt>
                <c:pt idx="7383">
                  <c:v>162322000</c:v>
                </c:pt>
                <c:pt idx="7384">
                  <c:v>389662672</c:v>
                </c:pt>
                <c:pt idx="7385">
                  <c:v>212182850</c:v>
                </c:pt>
                <c:pt idx="7386">
                  <c:v>57722353</c:v>
                </c:pt>
                <c:pt idx="7387">
                  <c:v>59241024</c:v>
                </c:pt>
                <c:pt idx="7388">
                  <c:v>106226302</c:v>
                </c:pt>
                <c:pt idx="7389">
                  <c:v>530345410</c:v>
                </c:pt>
                <c:pt idx="7390">
                  <c:v>1541784393</c:v>
                </c:pt>
                <c:pt idx="7391">
                  <c:v>2147483647</c:v>
                </c:pt>
                <c:pt idx="7392">
                  <c:v>1401696007</c:v>
                </c:pt>
                <c:pt idx="7393">
                  <c:v>2135591600</c:v>
                </c:pt>
                <c:pt idx="7394">
                  <c:v>1823316894</c:v>
                </c:pt>
                <c:pt idx="7395">
                  <c:v>1253231755</c:v>
                </c:pt>
                <c:pt idx="7396">
                  <c:v>2147483647</c:v>
                </c:pt>
                <c:pt idx="7397">
                  <c:v>1420242968</c:v>
                </c:pt>
                <c:pt idx="7398">
                  <c:v>172441772</c:v>
                </c:pt>
                <c:pt idx="7399">
                  <c:v>369219616</c:v>
                </c:pt>
                <c:pt idx="7400">
                  <c:v>847642285</c:v>
                </c:pt>
                <c:pt idx="7401">
                  <c:v>324578309</c:v>
                </c:pt>
                <c:pt idx="7402">
                  <c:v>404437488</c:v>
                </c:pt>
                <c:pt idx="7403">
                  <c:v>1982538288</c:v>
                </c:pt>
                <c:pt idx="7404">
                  <c:v>1294871604</c:v>
                </c:pt>
                <c:pt idx="7405">
                  <c:v>1807945750</c:v>
                </c:pt>
                <c:pt idx="7406">
                  <c:v>988810630</c:v>
                </c:pt>
                <c:pt idx="7407">
                  <c:v>945149920</c:v>
                </c:pt>
                <c:pt idx="7408">
                  <c:v>327014753</c:v>
                </c:pt>
                <c:pt idx="7409">
                  <c:v>559192734</c:v>
                </c:pt>
                <c:pt idx="7410">
                  <c:v>1225935295</c:v>
                </c:pt>
                <c:pt idx="7411">
                  <c:v>1854574125</c:v>
                </c:pt>
                <c:pt idx="7412">
                  <c:v>134371025</c:v>
                </c:pt>
                <c:pt idx="7413">
                  <c:v>259792115</c:v>
                </c:pt>
                <c:pt idx="7414">
                  <c:v>123903300</c:v>
                </c:pt>
                <c:pt idx="7415">
                  <c:v>1046869701</c:v>
                </c:pt>
                <c:pt idx="7416">
                  <c:v>467771200</c:v>
                </c:pt>
                <c:pt idx="7417">
                  <c:v>635080284</c:v>
                </c:pt>
                <c:pt idx="7418">
                  <c:v>90274635</c:v>
                </c:pt>
                <c:pt idx="7419">
                  <c:v>35363840</c:v>
                </c:pt>
                <c:pt idx="7420">
                  <c:v>14281272</c:v>
                </c:pt>
                <c:pt idx="7421">
                  <c:v>186051120</c:v>
                </c:pt>
                <c:pt idx="7422">
                  <c:v>92924650</c:v>
                </c:pt>
                <c:pt idx="7423">
                  <c:v>1820249640</c:v>
                </c:pt>
                <c:pt idx="7424">
                  <c:v>176329296</c:v>
                </c:pt>
                <c:pt idx="7425">
                  <c:v>112171384</c:v>
                </c:pt>
                <c:pt idx="7426">
                  <c:v>652444260</c:v>
                </c:pt>
                <c:pt idx="7427">
                  <c:v>32011280</c:v>
                </c:pt>
                <c:pt idx="7428">
                  <c:v>251802990</c:v>
                </c:pt>
                <c:pt idx="7429">
                  <c:v>351178905</c:v>
                </c:pt>
                <c:pt idx="7430">
                  <c:v>278917356</c:v>
                </c:pt>
                <c:pt idx="7431">
                  <c:v>250390105</c:v>
                </c:pt>
                <c:pt idx="7432">
                  <c:v>430144530</c:v>
                </c:pt>
                <c:pt idx="7433">
                  <c:v>439467693</c:v>
                </c:pt>
                <c:pt idx="7434">
                  <c:v>617648607</c:v>
                </c:pt>
                <c:pt idx="7435">
                  <c:v>109580228</c:v>
                </c:pt>
                <c:pt idx="7436">
                  <c:v>5790330</c:v>
                </c:pt>
                <c:pt idx="7437">
                  <c:v>220167423</c:v>
                </c:pt>
                <c:pt idx="7438">
                  <c:v>2147483647</c:v>
                </c:pt>
                <c:pt idx="7439">
                  <c:v>124774812</c:v>
                </c:pt>
                <c:pt idx="7440">
                  <c:v>720918522</c:v>
                </c:pt>
                <c:pt idx="7441">
                  <c:v>570688382</c:v>
                </c:pt>
                <c:pt idx="7442">
                  <c:v>648514386</c:v>
                </c:pt>
                <c:pt idx="7443">
                  <c:v>829560834</c:v>
                </c:pt>
                <c:pt idx="7444">
                  <c:v>431999043</c:v>
                </c:pt>
                <c:pt idx="7445">
                  <c:v>2116481733</c:v>
                </c:pt>
                <c:pt idx="7446">
                  <c:v>1616710100</c:v>
                </c:pt>
                <c:pt idx="7447">
                  <c:v>391254288</c:v>
                </c:pt>
                <c:pt idx="7448">
                  <c:v>1649795320</c:v>
                </c:pt>
                <c:pt idx="7449">
                  <c:v>1095299349</c:v>
                </c:pt>
                <c:pt idx="7450">
                  <c:v>1040045556</c:v>
                </c:pt>
                <c:pt idx="7451">
                  <c:v>1772108738</c:v>
                </c:pt>
                <c:pt idx="7452">
                  <c:v>1828706858</c:v>
                </c:pt>
                <c:pt idx="7453">
                  <c:v>2147483647</c:v>
                </c:pt>
                <c:pt idx="7454">
                  <c:v>2147483647</c:v>
                </c:pt>
                <c:pt idx="7455">
                  <c:v>2084351335</c:v>
                </c:pt>
                <c:pt idx="7456">
                  <c:v>2147483647</c:v>
                </c:pt>
                <c:pt idx="7457">
                  <c:v>1758947724</c:v>
                </c:pt>
                <c:pt idx="7458">
                  <c:v>1141767000</c:v>
                </c:pt>
                <c:pt idx="7459">
                  <c:v>855974496</c:v>
                </c:pt>
                <c:pt idx="7460">
                  <c:v>2140162608</c:v>
                </c:pt>
                <c:pt idx="7461">
                  <c:v>1042489150</c:v>
                </c:pt>
                <c:pt idx="7462">
                  <c:v>1985924180</c:v>
                </c:pt>
                <c:pt idx="7463">
                  <c:v>1966477506</c:v>
                </c:pt>
                <c:pt idx="7464">
                  <c:v>1089711027</c:v>
                </c:pt>
                <c:pt idx="7465">
                  <c:v>2147483647</c:v>
                </c:pt>
                <c:pt idx="7466">
                  <c:v>356147524</c:v>
                </c:pt>
                <c:pt idx="7467">
                  <c:v>600196220</c:v>
                </c:pt>
                <c:pt idx="7468">
                  <c:v>877040010</c:v>
                </c:pt>
                <c:pt idx="7469">
                  <c:v>71718672</c:v>
                </c:pt>
                <c:pt idx="7470">
                  <c:v>55707564</c:v>
                </c:pt>
                <c:pt idx="7471">
                  <c:v>148380220</c:v>
                </c:pt>
                <c:pt idx="7472">
                  <c:v>90094574</c:v>
                </c:pt>
                <c:pt idx="7473">
                  <c:v>170728441</c:v>
                </c:pt>
                <c:pt idx="7474">
                  <c:v>89701912</c:v>
                </c:pt>
                <c:pt idx="7475">
                  <c:v>61368300</c:v>
                </c:pt>
                <c:pt idx="7476">
                  <c:v>18678856</c:v>
                </c:pt>
                <c:pt idx="7477">
                  <c:v>57910110</c:v>
                </c:pt>
                <c:pt idx="7478">
                  <c:v>55777656</c:v>
                </c:pt>
                <c:pt idx="7479">
                  <c:v>214224895</c:v>
                </c:pt>
                <c:pt idx="7480">
                  <c:v>26735293</c:v>
                </c:pt>
                <c:pt idx="7481">
                  <c:v>5826816</c:v>
                </c:pt>
                <c:pt idx="7482">
                  <c:v>63266209</c:v>
                </c:pt>
                <c:pt idx="7483">
                  <c:v>216387823</c:v>
                </c:pt>
                <c:pt idx="7484">
                  <c:v>109284824</c:v>
                </c:pt>
                <c:pt idx="7485">
                  <c:v>1747713</c:v>
                </c:pt>
                <c:pt idx="7486">
                  <c:v>12215960</c:v>
                </c:pt>
                <c:pt idx="7487">
                  <c:v>245724802</c:v>
                </c:pt>
                <c:pt idx="7488">
                  <c:v>36570468</c:v>
                </c:pt>
                <c:pt idx="7489">
                  <c:v>98431810</c:v>
                </c:pt>
                <c:pt idx="7490">
                  <c:v>23805276</c:v>
                </c:pt>
                <c:pt idx="7491">
                  <c:v>59000426</c:v>
                </c:pt>
                <c:pt idx="7492">
                  <c:v>49508368</c:v>
                </c:pt>
                <c:pt idx="7493">
                  <c:v>1560243888</c:v>
                </c:pt>
                <c:pt idx="7494">
                  <c:v>203254623</c:v>
                </c:pt>
                <c:pt idx="7495">
                  <c:v>87521700</c:v>
                </c:pt>
                <c:pt idx="7496">
                  <c:v>4773500</c:v>
                </c:pt>
                <c:pt idx="7497">
                  <c:v>68059290</c:v>
                </c:pt>
                <c:pt idx="7498">
                  <c:v>12929544</c:v>
                </c:pt>
                <c:pt idx="7499">
                  <c:v>63958869</c:v>
                </c:pt>
                <c:pt idx="7500">
                  <c:v>42750570</c:v>
                </c:pt>
                <c:pt idx="7501">
                  <c:v>67676042</c:v>
                </c:pt>
                <c:pt idx="7502">
                  <c:v>13655785</c:v>
                </c:pt>
                <c:pt idx="7503">
                  <c:v>242886880</c:v>
                </c:pt>
                <c:pt idx="7504">
                  <c:v>120807135</c:v>
                </c:pt>
                <c:pt idx="7505">
                  <c:v>78782648</c:v>
                </c:pt>
                <c:pt idx="7506">
                  <c:v>138957480</c:v>
                </c:pt>
                <c:pt idx="7507">
                  <c:v>449321544</c:v>
                </c:pt>
                <c:pt idx="7508">
                  <c:v>40545275</c:v>
                </c:pt>
                <c:pt idx="7509">
                  <c:v>1618847744</c:v>
                </c:pt>
                <c:pt idx="7510">
                  <c:v>32799783</c:v>
                </c:pt>
                <c:pt idx="7511">
                  <c:v>1517384</c:v>
                </c:pt>
                <c:pt idx="7512">
                  <c:v>20624307</c:v>
                </c:pt>
                <c:pt idx="7513">
                  <c:v>400300128</c:v>
                </c:pt>
                <c:pt idx="7514">
                  <c:v>113012914</c:v>
                </c:pt>
                <c:pt idx="7515">
                  <c:v>62144390</c:v>
                </c:pt>
                <c:pt idx="7516">
                  <c:v>14736379</c:v>
                </c:pt>
                <c:pt idx="7517">
                  <c:v>32243628</c:v>
                </c:pt>
                <c:pt idx="7518">
                  <c:v>562198644</c:v>
                </c:pt>
                <c:pt idx="7519">
                  <c:v>87364020</c:v>
                </c:pt>
                <c:pt idx="7520">
                  <c:v>5958360</c:v>
                </c:pt>
                <c:pt idx="7521">
                  <c:v>82870330</c:v>
                </c:pt>
                <c:pt idx="7522">
                  <c:v>28114396</c:v>
                </c:pt>
                <c:pt idx="7523">
                  <c:v>18937191</c:v>
                </c:pt>
                <c:pt idx="7524">
                  <c:v>8503000</c:v>
                </c:pt>
                <c:pt idx="7525">
                  <c:v>126656328</c:v>
                </c:pt>
                <c:pt idx="7526">
                  <c:v>176402655</c:v>
                </c:pt>
                <c:pt idx="7527">
                  <c:v>78404304</c:v>
                </c:pt>
                <c:pt idx="7528">
                  <c:v>22565652</c:v>
                </c:pt>
                <c:pt idx="7529">
                  <c:v>22170400</c:v>
                </c:pt>
                <c:pt idx="7530">
                  <c:v>485643730</c:v>
                </c:pt>
                <c:pt idx="7531">
                  <c:v>35377517</c:v>
                </c:pt>
                <c:pt idx="7532">
                  <c:v>698071492</c:v>
                </c:pt>
                <c:pt idx="7533">
                  <c:v>37380039</c:v>
                </c:pt>
                <c:pt idx="7534">
                  <c:v>100772562</c:v>
                </c:pt>
                <c:pt idx="7535">
                  <c:v>331227766</c:v>
                </c:pt>
                <c:pt idx="7536">
                  <c:v>826102836</c:v>
                </c:pt>
                <c:pt idx="7537">
                  <c:v>651820184</c:v>
                </c:pt>
                <c:pt idx="7538">
                  <c:v>34708515</c:v>
                </c:pt>
                <c:pt idx="7539">
                  <c:v>1092865604</c:v>
                </c:pt>
                <c:pt idx="7540">
                  <c:v>242860634</c:v>
                </c:pt>
                <c:pt idx="7541">
                  <c:v>30229200</c:v>
                </c:pt>
                <c:pt idx="7542">
                  <c:v>13100596</c:v>
                </c:pt>
                <c:pt idx="7543">
                  <c:v>19994352</c:v>
                </c:pt>
                <c:pt idx="7544">
                  <c:v>53189424</c:v>
                </c:pt>
                <c:pt idx="7545">
                  <c:v>146432084</c:v>
                </c:pt>
                <c:pt idx="7546">
                  <c:v>15016365</c:v>
                </c:pt>
                <c:pt idx="7547">
                  <c:v>17727252</c:v>
                </c:pt>
                <c:pt idx="7548">
                  <c:v>87436228</c:v>
                </c:pt>
                <c:pt idx="7549">
                  <c:v>67873785</c:v>
                </c:pt>
                <c:pt idx="7550">
                  <c:v>34287894</c:v>
                </c:pt>
                <c:pt idx="7551">
                  <c:v>72550779</c:v>
                </c:pt>
                <c:pt idx="7552">
                  <c:v>46362138</c:v>
                </c:pt>
                <c:pt idx="7553">
                  <c:v>121964330</c:v>
                </c:pt>
                <c:pt idx="7554">
                  <c:v>336018438</c:v>
                </c:pt>
                <c:pt idx="7555">
                  <c:v>46566703</c:v>
                </c:pt>
                <c:pt idx="7556">
                  <c:v>18172176</c:v>
                </c:pt>
                <c:pt idx="7557">
                  <c:v>78280020</c:v>
                </c:pt>
                <c:pt idx="7558">
                  <c:v>34959351</c:v>
                </c:pt>
                <c:pt idx="7559">
                  <c:v>90034112</c:v>
                </c:pt>
                <c:pt idx="7560">
                  <c:v>16158528</c:v>
                </c:pt>
                <c:pt idx="7561">
                  <c:v>13455309</c:v>
                </c:pt>
                <c:pt idx="7562">
                  <c:v>14182695</c:v>
                </c:pt>
                <c:pt idx="7563">
                  <c:v>341978282</c:v>
                </c:pt>
                <c:pt idx="7564">
                  <c:v>46688040</c:v>
                </c:pt>
                <c:pt idx="7565">
                  <c:v>45733540</c:v>
                </c:pt>
                <c:pt idx="7566">
                  <c:v>448573015</c:v>
                </c:pt>
                <c:pt idx="7567">
                  <c:v>450620400</c:v>
                </c:pt>
                <c:pt idx="7568">
                  <c:v>68306102</c:v>
                </c:pt>
                <c:pt idx="7569">
                  <c:v>23073820</c:v>
                </c:pt>
                <c:pt idx="7570">
                  <c:v>249807168</c:v>
                </c:pt>
                <c:pt idx="7571">
                  <c:v>40484475</c:v>
                </c:pt>
                <c:pt idx="7572">
                  <c:v>443435682</c:v>
                </c:pt>
                <c:pt idx="7573">
                  <c:v>158380209</c:v>
                </c:pt>
                <c:pt idx="7574">
                  <c:v>17913280</c:v>
                </c:pt>
                <c:pt idx="7575">
                  <c:v>137002110</c:v>
                </c:pt>
                <c:pt idx="7576">
                  <c:v>22903473</c:v>
                </c:pt>
                <c:pt idx="7577">
                  <c:v>14913964</c:v>
                </c:pt>
                <c:pt idx="7578">
                  <c:v>19041306</c:v>
                </c:pt>
                <c:pt idx="7579">
                  <c:v>5340669</c:v>
                </c:pt>
                <c:pt idx="7580">
                  <c:v>64258920</c:v>
                </c:pt>
                <c:pt idx="7581">
                  <c:v>40433640</c:v>
                </c:pt>
                <c:pt idx="7582">
                  <c:v>19756800</c:v>
                </c:pt>
                <c:pt idx="7583">
                  <c:v>124185845</c:v>
                </c:pt>
                <c:pt idx="7584">
                  <c:v>4706646</c:v>
                </c:pt>
                <c:pt idx="7585">
                  <c:v>22992651</c:v>
                </c:pt>
                <c:pt idx="7586">
                  <c:v>60213870</c:v>
                </c:pt>
                <c:pt idx="7587">
                  <c:v>55183250</c:v>
                </c:pt>
                <c:pt idx="7588">
                  <c:v>193560587</c:v>
                </c:pt>
                <c:pt idx="7589">
                  <c:v>4785245</c:v>
                </c:pt>
                <c:pt idx="7590">
                  <c:v>27269190</c:v>
                </c:pt>
                <c:pt idx="7591">
                  <c:v>683027712</c:v>
                </c:pt>
                <c:pt idx="7592">
                  <c:v>33816279</c:v>
                </c:pt>
                <c:pt idx="7593">
                  <c:v>20059925</c:v>
                </c:pt>
                <c:pt idx="7594">
                  <c:v>21120740</c:v>
                </c:pt>
                <c:pt idx="7595">
                  <c:v>1074580777</c:v>
                </c:pt>
                <c:pt idx="7596">
                  <c:v>332667900</c:v>
                </c:pt>
                <c:pt idx="7597">
                  <c:v>134149890</c:v>
                </c:pt>
                <c:pt idx="7598">
                  <c:v>45856772</c:v>
                </c:pt>
                <c:pt idx="7599">
                  <c:v>361778766</c:v>
                </c:pt>
                <c:pt idx="7600">
                  <c:v>423637851</c:v>
                </c:pt>
                <c:pt idx="7601">
                  <c:v>1661486810</c:v>
                </c:pt>
                <c:pt idx="7602">
                  <c:v>2147483647</c:v>
                </c:pt>
                <c:pt idx="7603">
                  <c:v>1838219095</c:v>
                </c:pt>
                <c:pt idx="7604">
                  <c:v>135700929</c:v>
                </c:pt>
                <c:pt idx="7605">
                  <c:v>70956291</c:v>
                </c:pt>
                <c:pt idx="7606">
                  <c:v>471132189</c:v>
                </c:pt>
                <c:pt idx="7607">
                  <c:v>1279823725</c:v>
                </c:pt>
                <c:pt idx="7608">
                  <c:v>1245620430</c:v>
                </c:pt>
                <c:pt idx="7609">
                  <c:v>178010020</c:v>
                </c:pt>
                <c:pt idx="7610">
                  <c:v>5177810</c:v>
                </c:pt>
                <c:pt idx="7611">
                  <c:v>480405456</c:v>
                </c:pt>
                <c:pt idx="7612">
                  <c:v>707024964</c:v>
                </c:pt>
                <c:pt idx="7613">
                  <c:v>1045718000</c:v>
                </c:pt>
                <c:pt idx="7614">
                  <c:v>1275725528</c:v>
                </c:pt>
                <c:pt idx="7615">
                  <c:v>83518351</c:v>
                </c:pt>
                <c:pt idx="7616">
                  <c:v>15318546</c:v>
                </c:pt>
                <c:pt idx="7617">
                  <c:v>127445487</c:v>
                </c:pt>
                <c:pt idx="7618">
                  <c:v>811966319</c:v>
                </c:pt>
                <c:pt idx="7619">
                  <c:v>5872361</c:v>
                </c:pt>
                <c:pt idx="7620">
                  <c:v>2147483647</c:v>
                </c:pt>
                <c:pt idx="7621">
                  <c:v>1478742405</c:v>
                </c:pt>
                <c:pt idx="7622">
                  <c:v>219449175</c:v>
                </c:pt>
                <c:pt idx="7623">
                  <c:v>824498010</c:v>
                </c:pt>
                <c:pt idx="7624">
                  <c:v>570087792</c:v>
                </c:pt>
                <c:pt idx="7625">
                  <c:v>621249261</c:v>
                </c:pt>
                <c:pt idx="7626">
                  <c:v>59773941</c:v>
                </c:pt>
                <c:pt idx="7627">
                  <c:v>169281171</c:v>
                </c:pt>
                <c:pt idx="7628">
                  <c:v>36897924</c:v>
                </c:pt>
                <c:pt idx="7629">
                  <c:v>1118607024</c:v>
                </c:pt>
                <c:pt idx="7630">
                  <c:v>202383454</c:v>
                </c:pt>
                <c:pt idx="7631">
                  <c:v>117346038</c:v>
                </c:pt>
                <c:pt idx="7632">
                  <c:v>44203861</c:v>
                </c:pt>
                <c:pt idx="7633">
                  <c:v>1830303</c:v>
                </c:pt>
                <c:pt idx="7634">
                  <c:v>295196540</c:v>
                </c:pt>
                <c:pt idx="7635">
                  <c:v>1701871500</c:v>
                </c:pt>
                <c:pt idx="7636">
                  <c:v>1819723200</c:v>
                </c:pt>
                <c:pt idx="7637">
                  <c:v>285464530</c:v>
                </c:pt>
                <c:pt idx="7638">
                  <c:v>4601950</c:v>
                </c:pt>
                <c:pt idx="7639">
                  <c:v>1577896590</c:v>
                </c:pt>
                <c:pt idx="7640">
                  <c:v>783550320</c:v>
                </c:pt>
                <c:pt idx="7641">
                  <c:v>184109744</c:v>
                </c:pt>
                <c:pt idx="7642">
                  <c:v>1366876002</c:v>
                </c:pt>
                <c:pt idx="7643">
                  <c:v>2147483647</c:v>
                </c:pt>
                <c:pt idx="7644">
                  <c:v>45897069</c:v>
                </c:pt>
                <c:pt idx="7645">
                  <c:v>816939048</c:v>
                </c:pt>
                <c:pt idx="7646">
                  <c:v>182944333</c:v>
                </c:pt>
                <c:pt idx="7647">
                  <c:v>88218820</c:v>
                </c:pt>
                <c:pt idx="7648">
                  <c:v>318213332</c:v>
                </c:pt>
                <c:pt idx="7649">
                  <c:v>207844794</c:v>
                </c:pt>
                <c:pt idx="7650">
                  <c:v>179157964</c:v>
                </c:pt>
                <c:pt idx="7651">
                  <c:v>73997637</c:v>
                </c:pt>
                <c:pt idx="7652">
                  <c:v>394977534</c:v>
                </c:pt>
                <c:pt idx="7653">
                  <c:v>74168885</c:v>
                </c:pt>
                <c:pt idx="7654">
                  <c:v>76176672</c:v>
                </c:pt>
                <c:pt idx="7655">
                  <c:v>256514592</c:v>
                </c:pt>
                <c:pt idx="7656">
                  <c:v>484430253</c:v>
                </c:pt>
                <c:pt idx="7657">
                  <c:v>739774830</c:v>
                </c:pt>
                <c:pt idx="7658">
                  <c:v>949373076</c:v>
                </c:pt>
                <c:pt idx="7659">
                  <c:v>619730680</c:v>
                </c:pt>
                <c:pt idx="7660">
                  <c:v>618551000</c:v>
                </c:pt>
                <c:pt idx="7661">
                  <c:v>602044437</c:v>
                </c:pt>
                <c:pt idx="7662">
                  <c:v>72731592</c:v>
                </c:pt>
                <c:pt idx="7663">
                  <c:v>90672237</c:v>
                </c:pt>
                <c:pt idx="7664">
                  <c:v>160311313</c:v>
                </c:pt>
                <c:pt idx="7665">
                  <c:v>527951000</c:v>
                </c:pt>
                <c:pt idx="7666">
                  <c:v>349501200</c:v>
                </c:pt>
                <c:pt idx="7667">
                  <c:v>67776350</c:v>
                </c:pt>
                <c:pt idx="7668">
                  <c:v>267596550</c:v>
                </c:pt>
                <c:pt idx="7669">
                  <c:v>2944270</c:v>
                </c:pt>
                <c:pt idx="7670">
                  <c:v>222379630</c:v>
                </c:pt>
                <c:pt idx="7671">
                  <c:v>2147483647</c:v>
                </c:pt>
                <c:pt idx="7672">
                  <c:v>189675236</c:v>
                </c:pt>
                <c:pt idx="7673">
                  <c:v>1042859469</c:v>
                </c:pt>
                <c:pt idx="7674">
                  <c:v>1292315927</c:v>
                </c:pt>
                <c:pt idx="7675">
                  <c:v>575277690</c:v>
                </c:pt>
                <c:pt idx="7676">
                  <c:v>1937341238</c:v>
                </c:pt>
                <c:pt idx="7677">
                  <c:v>318213250</c:v>
                </c:pt>
                <c:pt idx="7678">
                  <c:v>1449826872</c:v>
                </c:pt>
                <c:pt idx="7679">
                  <c:v>970680460</c:v>
                </c:pt>
                <c:pt idx="7680">
                  <c:v>1593673772</c:v>
                </c:pt>
                <c:pt idx="7681">
                  <c:v>2147483647</c:v>
                </c:pt>
                <c:pt idx="7682">
                  <c:v>2147483647</c:v>
                </c:pt>
                <c:pt idx="7683">
                  <c:v>976944402</c:v>
                </c:pt>
                <c:pt idx="7684">
                  <c:v>1181153420</c:v>
                </c:pt>
                <c:pt idx="7685">
                  <c:v>1234717380</c:v>
                </c:pt>
                <c:pt idx="7686">
                  <c:v>1577208508</c:v>
                </c:pt>
                <c:pt idx="7687">
                  <c:v>1498018295</c:v>
                </c:pt>
                <c:pt idx="7688">
                  <c:v>791633880</c:v>
                </c:pt>
                <c:pt idx="7689">
                  <c:v>2147483647</c:v>
                </c:pt>
                <c:pt idx="7690">
                  <c:v>1778621040</c:v>
                </c:pt>
                <c:pt idx="7691">
                  <c:v>1440893340</c:v>
                </c:pt>
                <c:pt idx="7692">
                  <c:v>2147483647</c:v>
                </c:pt>
                <c:pt idx="7693">
                  <c:v>1990129557</c:v>
                </c:pt>
                <c:pt idx="7694">
                  <c:v>1438697986</c:v>
                </c:pt>
                <c:pt idx="7695">
                  <c:v>2147483647</c:v>
                </c:pt>
                <c:pt idx="7696">
                  <c:v>1506210745</c:v>
                </c:pt>
                <c:pt idx="7697">
                  <c:v>297444000</c:v>
                </c:pt>
                <c:pt idx="7698">
                  <c:v>857310224</c:v>
                </c:pt>
                <c:pt idx="7699">
                  <c:v>921588685</c:v>
                </c:pt>
                <c:pt idx="7700">
                  <c:v>255819668</c:v>
                </c:pt>
                <c:pt idx="7701">
                  <c:v>1122011254</c:v>
                </c:pt>
                <c:pt idx="7702">
                  <c:v>233413146</c:v>
                </c:pt>
                <c:pt idx="7703">
                  <c:v>969878844</c:v>
                </c:pt>
                <c:pt idx="7704">
                  <c:v>533065000</c:v>
                </c:pt>
                <c:pt idx="7705">
                  <c:v>1464279810</c:v>
                </c:pt>
                <c:pt idx="7706">
                  <c:v>376550352</c:v>
                </c:pt>
                <c:pt idx="7707">
                  <c:v>112312200</c:v>
                </c:pt>
                <c:pt idx="7708">
                  <c:v>245170692</c:v>
                </c:pt>
                <c:pt idx="7709">
                  <c:v>106347978</c:v>
                </c:pt>
                <c:pt idx="7710">
                  <c:v>10220916</c:v>
                </c:pt>
                <c:pt idx="7711">
                  <c:v>656467504</c:v>
                </c:pt>
                <c:pt idx="7712">
                  <c:v>607965757</c:v>
                </c:pt>
                <c:pt idx="7713">
                  <c:v>530340048</c:v>
                </c:pt>
                <c:pt idx="7714">
                  <c:v>19913850</c:v>
                </c:pt>
                <c:pt idx="7715">
                  <c:v>195115118</c:v>
                </c:pt>
                <c:pt idx="7716">
                  <c:v>572821513</c:v>
                </c:pt>
                <c:pt idx="7717">
                  <c:v>168098324</c:v>
                </c:pt>
                <c:pt idx="7718">
                  <c:v>104773230</c:v>
                </c:pt>
                <c:pt idx="7719">
                  <c:v>150233420</c:v>
                </c:pt>
                <c:pt idx="7720">
                  <c:v>153108756</c:v>
                </c:pt>
                <c:pt idx="7721">
                  <c:v>251938090</c:v>
                </c:pt>
                <c:pt idx="7722">
                  <c:v>66743034</c:v>
                </c:pt>
                <c:pt idx="7723">
                  <c:v>2419690</c:v>
                </c:pt>
                <c:pt idx="7724">
                  <c:v>35642012</c:v>
                </c:pt>
                <c:pt idx="7725">
                  <c:v>79652419</c:v>
                </c:pt>
                <c:pt idx="7726">
                  <c:v>208961584</c:v>
                </c:pt>
                <c:pt idx="7727">
                  <c:v>23640781</c:v>
                </c:pt>
                <c:pt idx="7728">
                  <c:v>969223840</c:v>
                </c:pt>
                <c:pt idx="7729">
                  <c:v>79698600</c:v>
                </c:pt>
                <c:pt idx="7730">
                  <c:v>87840401</c:v>
                </c:pt>
                <c:pt idx="7731">
                  <c:v>488295998</c:v>
                </c:pt>
                <c:pt idx="7732">
                  <c:v>175100385</c:v>
                </c:pt>
                <c:pt idx="7733">
                  <c:v>76534700</c:v>
                </c:pt>
                <c:pt idx="7734">
                  <c:v>795859584</c:v>
                </c:pt>
                <c:pt idx="7735">
                  <c:v>257030864</c:v>
                </c:pt>
                <c:pt idx="7736">
                  <c:v>22389673</c:v>
                </c:pt>
                <c:pt idx="7737">
                  <c:v>234635940</c:v>
                </c:pt>
                <c:pt idx="7738">
                  <c:v>377054208</c:v>
                </c:pt>
                <c:pt idx="7739">
                  <c:v>137394558</c:v>
                </c:pt>
                <c:pt idx="7740">
                  <c:v>41642445</c:v>
                </c:pt>
                <c:pt idx="7741">
                  <c:v>124573624</c:v>
                </c:pt>
                <c:pt idx="7742">
                  <c:v>192021807</c:v>
                </c:pt>
                <c:pt idx="7743">
                  <c:v>73000613</c:v>
                </c:pt>
                <c:pt idx="7744">
                  <c:v>1102551201</c:v>
                </c:pt>
                <c:pt idx="7745">
                  <c:v>3785024</c:v>
                </c:pt>
                <c:pt idx="7746">
                  <c:v>73276290</c:v>
                </c:pt>
                <c:pt idx="7747">
                  <c:v>1041324800</c:v>
                </c:pt>
                <c:pt idx="7748">
                  <c:v>198962620</c:v>
                </c:pt>
                <c:pt idx="7749">
                  <c:v>526953396</c:v>
                </c:pt>
                <c:pt idx="7750">
                  <c:v>216336900</c:v>
                </c:pt>
                <c:pt idx="7751">
                  <c:v>119312304</c:v>
                </c:pt>
                <c:pt idx="7752">
                  <c:v>183380944</c:v>
                </c:pt>
                <c:pt idx="7753">
                  <c:v>52048854</c:v>
                </c:pt>
                <c:pt idx="7754">
                  <c:v>91275248</c:v>
                </c:pt>
                <c:pt idx="7755">
                  <c:v>693203200</c:v>
                </c:pt>
                <c:pt idx="7756">
                  <c:v>559605720</c:v>
                </c:pt>
                <c:pt idx="7757">
                  <c:v>172468944</c:v>
                </c:pt>
                <c:pt idx="7758">
                  <c:v>70869576</c:v>
                </c:pt>
                <c:pt idx="7759">
                  <c:v>43975556</c:v>
                </c:pt>
                <c:pt idx="7760">
                  <c:v>159293950</c:v>
                </c:pt>
                <c:pt idx="7761">
                  <c:v>57313950</c:v>
                </c:pt>
                <c:pt idx="7762">
                  <c:v>54026560</c:v>
                </c:pt>
                <c:pt idx="7763">
                  <c:v>129278660</c:v>
                </c:pt>
                <c:pt idx="7764">
                  <c:v>615451637</c:v>
                </c:pt>
                <c:pt idx="7765">
                  <c:v>1281510636</c:v>
                </c:pt>
                <c:pt idx="7766">
                  <c:v>1285070020</c:v>
                </c:pt>
                <c:pt idx="7767">
                  <c:v>1646457252</c:v>
                </c:pt>
                <c:pt idx="7768">
                  <c:v>1633149936</c:v>
                </c:pt>
                <c:pt idx="7769">
                  <c:v>1590629832</c:v>
                </c:pt>
                <c:pt idx="7770">
                  <c:v>65044980</c:v>
                </c:pt>
                <c:pt idx="7771">
                  <c:v>47426424</c:v>
                </c:pt>
                <c:pt idx="7772">
                  <c:v>45927518</c:v>
                </c:pt>
                <c:pt idx="7773">
                  <c:v>248838804</c:v>
                </c:pt>
                <c:pt idx="7774">
                  <c:v>325358792</c:v>
                </c:pt>
                <c:pt idx="7775">
                  <c:v>213087996</c:v>
                </c:pt>
                <c:pt idx="7776">
                  <c:v>49998492</c:v>
                </c:pt>
                <c:pt idx="7777">
                  <c:v>132831412</c:v>
                </c:pt>
                <c:pt idx="7778">
                  <c:v>32614584</c:v>
                </c:pt>
                <c:pt idx="7779">
                  <c:v>79048662</c:v>
                </c:pt>
                <c:pt idx="7780">
                  <c:v>20842200</c:v>
                </c:pt>
                <c:pt idx="7781">
                  <c:v>38061144</c:v>
                </c:pt>
                <c:pt idx="7782">
                  <c:v>28985320</c:v>
                </c:pt>
                <c:pt idx="7783">
                  <c:v>25029242</c:v>
                </c:pt>
                <c:pt idx="7784">
                  <c:v>17855070</c:v>
                </c:pt>
                <c:pt idx="7785">
                  <c:v>66971846</c:v>
                </c:pt>
                <c:pt idx="7786">
                  <c:v>33569235</c:v>
                </c:pt>
                <c:pt idx="7787">
                  <c:v>938033990</c:v>
                </c:pt>
                <c:pt idx="7788">
                  <c:v>60910944</c:v>
                </c:pt>
                <c:pt idx="7789">
                  <c:v>364111230</c:v>
                </c:pt>
                <c:pt idx="7790">
                  <c:v>41059491</c:v>
                </c:pt>
                <c:pt idx="7791">
                  <c:v>13241420</c:v>
                </c:pt>
                <c:pt idx="7792">
                  <c:v>114754653</c:v>
                </c:pt>
                <c:pt idx="7793">
                  <c:v>66754619</c:v>
                </c:pt>
                <c:pt idx="7794">
                  <c:v>1307353138</c:v>
                </c:pt>
                <c:pt idx="7795">
                  <c:v>7037378</c:v>
                </c:pt>
                <c:pt idx="7796">
                  <c:v>82966147</c:v>
                </c:pt>
                <c:pt idx="7797">
                  <c:v>76483664</c:v>
                </c:pt>
                <c:pt idx="7798">
                  <c:v>68675988</c:v>
                </c:pt>
                <c:pt idx="7799">
                  <c:v>274493232</c:v>
                </c:pt>
                <c:pt idx="7800">
                  <c:v>109505200</c:v>
                </c:pt>
                <c:pt idx="7801">
                  <c:v>427602885</c:v>
                </c:pt>
                <c:pt idx="7802">
                  <c:v>1017328716</c:v>
                </c:pt>
                <c:pt idx="7803">
                  <c:v>345605236</c:v>
                </c:pt>
                <c:pt idx="7804">
                  <c:v>135279210</c:v>
                </c:pt>
                <c:pt idx="7805">
                  <c:v>38096880</c:v>
                </c:pt>
                <c:pt idx="7806">
                  <c:v>392248464</c:v>
                </c:pt>
                <c:pt idx="7807">
                  <c:v>240119724</c:v>
                </c:pt>
                <c:pt idx="7808">
                  <c:v>462650859</c:v>
                </c:pt>
                <c:pt idx="7809">
                  <c:v>209613595</c:v>
                </c:pt>
                <c:pt idx="7810">
                  <c:v>327018822</c:v>
                </c:pt>
                <c:pt idx="7811">
                  <c:v>275981493</c:v>
                </c:pt>
                <c:pt idx="7812">
                  <c:v>375764608</c:v>
                </c:pt>
                <c:pt idx="7813">
                  <c:v>139014491</c:v>
                </c:pt>
                <c:pt idx="7814">
                  <c:v>218507120</c:v>
                </c:pt>
                <c:pt idx="7815">
                  <c:v>198489060</c:v>
                </c:pt>
                <c:pt idx="7816">
                  <c:v>384969123</c:v>
                </c:pt>
                <c:pt idx="7817">
                  <c:v>535189875</c:v>
                </c:pt>
                <c:pt idx="7818">
                  <c:v>43162910</c:v>
                </c:pt>
                <c:pt idx="7819">
                  <c:v>61493894</c:v>
                </c:pt>
                <c:pt idx="7820">
                  <c:v>20406672</c:v>
                </c:pt>
                <c:pt idx="7821">
                  <c:v>176949192</c:v>
                </c:pt>
                <c:pt idx="7822">
                  <c:v>235487824</c:v>
                </c:pt>
                <c:pt idx="7823">
                  <c:v>56564352</c:v>
                </c:pt>
                <c:pt idx="7824">
                  <c:v>325079721</c:v>
                </c:pt>
                <c:pt idx="7825">
                  <c:v>172497808</c:v>
                </c:pt>
                <c:pt idx="7826">
                  <c:v>9314655</c:v>
                </c:pt>
                <c:pt idx="7827">
                  <c:v>37974096</c:v>
                </c:pt>
                <c:pt idx="7828">
                  <c:v>71613584</c:v>
                </c:pt>
                <c:pt idx="7829">
                  <c:v>70535322</c:v>
                </c:pt>
                <c:pt idx="7830">
                  <c:v>57943626</c:v>
                </c:pt>
                <c:pt idx="7831">
                  <c:v>29217406</c:v>
                </c:pt>
                <c:pt idx="7832">
                  <c:v>11962686</c:v>
                </c:pt>
                <c:pt idx="7833">
                  <c:v>51891280</c:v>
                </c:pt>
                <c:pt idx="7834">
                  <c:v>151682940</c:v>
                </c:pt>
                <c:pt idx="7835">
                  <c:v>36992556</c:v>
                </c:pt>
                <c:pt idx="7836">
                  <c:v>512690240</c:v>
                </c:pt>
                <c:pt idx="7837">
                  <c:v>52530345</c:v>
                </c:pt>
                <c:pt idx="7838">
                  <c:v>450573460</c:v>
                </c:pt>
                <c:pt idx="7839">
                  <c:v>1243535440</c:v>
                </c:pt>
                <c:pt idx="7840">
                  <c:v>141811632</c:v>
                </c:pt>
                <c:pt idx="7841">
                  <c:v>1153985697</c:v>
                </c:pt>
                <c:pt idx="7842">
                  <c:v>331890231</c:v>
                </c:pt>
                <c:pt idx="7843">
                  <c:v>18970380</c:v>
                </c:pt>
                <c:pt idx="7844">
                  <c:v>126282410</c:v>
                </c:pt>
                <c:pt idx="7845">
                  <c:v>28273560</c:v>
                </c:pt>
                <c:pt idx="7846">
                  <c:v>591289226</c:v>
                </c:pt>
                <c:pt idx="7847">
                  <c:v>789128308</c:v>
                </c:pt>
                <c:pt idx="7848">
                  <c:v>1437679593</c:v>
                </c:pt>
                <c:pt idx="7849">
                  <c:v>664613565</c:v>
                </c:pt>
                <c:pt idx="7850">
                  <c:v>106572294</c:v>
                </c:pt>
                <c:pt idx="7851">
                  <c:v>190726380</c:v>
                </c:pt>
                <c:pt idx="7852">
                  <c:v>45958703</c:v>
                </c:pt>
                <c:pt idx="7853">
                  <c:v>448891575</c:v>
                </c:pt>
                <c:pt idx="7854">
                  <c:v>7324575</c:v>
                </c:pt>
                <c:pt idx="7855">
                  <c:v>118944002</c:v>
                </c:pt>
                <c:pt idx="7856">
                  <c:v>26872560</c:v>
                </c:pt>
                <c:pt idx="7857">
                  <c:v>201800784</c:v>
                </c:pt>
                <c:pt idx="7858">
                  <c:v>58131194</c:v>
                </c:pt>
                <c:pt idx="7859">
                  <c:v>522605544</c:v>
                </c:pt>
                <c:pt idx="7860">
                  <c:v>88307310</c:v>
                </c:pt>
                <c:pt idx="7861">
                  <c:v>146949075</c:v>
                </c:pt>
                <c:pt idx="7862">
                  <c:v>5488565</c:v>
                </c:pt>
                <c:pt idx="7863">
                  <c:v>990671668</c:v>
                </c:pt>
                <c:pt idx="7864">
                  <c:v>219506868</c:v>
                </c:pt>
                <c:pt idx="7865">
                  <c:v>1809355840</c:v>
                </c:pt>
                <c:pt idx="7866">
                  <c:v>741634950</c:v>
                </c:pt>
                <c:pt idx="7867">
                  <c:v>263491684</c:v>
                </c:pt>
                <c:pt idx="7868">
                  <c:v>167677360</c:v>
                </c:pt>
                <c:pt idx="7869">
                  <c:v>35427617</c:v>
                </c:pt>
                <c:pt idx="7870">
                  <c:v>805816680</c:v>
                </c:pt>
                <c:pt idx="7871">
                  <c:v>169999775</c:v>
                </c:pt>
                <c:pt idx="7872">
                  <c:v>312010864</c:v>
                </c:pt>
                <c:pt idx="7873">
                  <c:v>348149404</c:v>
                </c:pt>
                <c:pt idx="7874">
                  <c:v>622048456</c:v>
                </c:pt>
                <c:pt idx="7875">
                  <c:v>41991872</c:v>
                </c:pt>
                <c:pt idx="7876">
                  <c:v>38707350</c:v>
                </c:pt>
                <c:pt idx="7877">
                  <c:v>71558610</c:v>
                </c:pt>
                <c:pt idx="7878">
                  <c:v>10454328</c:v>
                </c:pt>
                <c:pt idx="7879">
                  <c:v>267596472</c:v>
                </c:pt>
                <c:pt idx="7880">
                  <c:v>58287402</c:v>
                </c:pt>
                <c:pt idx="7881">
                  <c:v>36144600</c:v>
                </c:pt>
                <c:pt idx="7882">
                  <c:v>36949320</c:v>
                </c:pt>
                <c:pt idx="7883">
                  <c:v>1098951924</c:v>
                </c:pt>
                <c:pt idx="7884">
                  <c:v>90562153</c:v>
                </c:pt>
                <c:pt idx="7885">
                  <c:v>43420608</c:v>
                </c:pt>
                <c:pt idx="7886">
                  <c:v>600314123</c:v>
                </c:pt>
                <c:pt idx="7887">
                  <c:v>18392677</c:v>
                </c:pt>
                <c:pt idx="7888">
                  <c:v>116217612</c:v>
                </c:pt>
                <c:pt idx="7889">
                  <c:v>67830048</c:v>
                </c:pt>
                <c:pt idx="7890">
                  <c:v>104266655</c:v>
                </c:pt>
                <c:pt idx="7891">
                  <c:v>42892200</c:v>
                </c:pt>
                <c:pt idx="7892">
                  <c:v>271177020</c:v>
                </c:pt>
                <c:pt idx="7893">
                  <c:v>122236175</c:v>
                </c:pt>
                <c:pt idx="7894">
                  <c:v>135028829</c:v>
                </c:pt>
                <c:pt idx="7895">
                  <c:v>102239628</c:v>
                </c:pt>
                <c:pt idx="7896">
                  <c:v>28250992</c:v>
                </c:pt>
                <c:pt idx="7897">
                  <c:v>1068001266</c:v>
                </c:pt>
                <c:pt idx="7898">
                  <c:v>25890025</c:v>
                </c:pt>
                <c:pt idx="7899">
                  <c:v>32899142</c:v>
                </c:pt>
                <c:pt idx="7900">
                  <c:v>320999151</c:v>
                </c:pt>
                <c:pt idx="7901">
                  <c:v>141774468</c:v>
                </c:pt>
                <c:pt idx="7902">
                  <c:v>86710848</c:v>
                </c:pt>
                <c:pt idx="7903">
                  <c:v>1345676170</c:v>
                </c:pt>
                <c:pt idx="7904">
                  <c:v>214187324</c:v>
                </c:pt>
                <c:pt idx="7905">
                  <c:v>746435748</c:v>
                </c:pt>
                <c:pt idx="7906">
                  <c:v>529488764</c:v>
                </c:pt>
                <c:pt idx="7907">
                  <c:v>62578647</c:v>
                </c:pt>
                <c:pt idx="7908">
                  <c:v>60328512</c:v>
                </c:pt>
                <c:pt idx="7909">
                  <c:v>4613664</c:v>
                </c:pt>
                <c:pt idx="7910">
                  <c:v>103938585</c:v>
                </c:pt>
                <c:pt idx="7911">
                  <c:v>68402556</c:v>
                </c:pt>
                <c:pt idx="7912">
                  <c:v>6915392</c:v>
                </c:pt>
                <c:pt idx="7913">
                  <c:v>345844141</c:v>
                </c:pt>
                <c:pt idx="7914">
                  <c:v>161053970</c:v>
                </c:pt>
                <c:pt idx="7915">
                  <c:v>118716535</c:v>
                </c:pt>
                <c:pt idx="7916">
                  <c:v>902571610</c:v>
                </c:pt>
                <c:pt idx="7917">
                  <c:v>190722350</c:v>
                </c:pt>
                <c:pt idx="7918">
                  <c:v>66426723</c:v>
                </c:pt>
                <c:pt idx="7919">
                  <c:v>657873960</c:v>
                </c:pt>
                <c:pt idx="7920">
                  <c:v>64324260</c:v>
                </c:pt>
                <c:pt idx="7921">
                  <c:v>30139320</c:v>
                </c:pt>
                <c:pt idx="7922">
                  <c:v>50988522</c:v>
                </c:pt>
                <c:pt idx="7923">
                  <c:v>37869944</c:v>
                </c:pt>
                <c:pt idx="7924">
                  <c:v>52794259</c:v>
                </c:pt>
                <c:pt idx="7925">
                  <c:v>294737480</c:v>
                </c:pt>
                <c:pt idx="7926">
                  <c:v>135288924</c:v>
                </c:pt>
                <c:pt idx="7927">
                  <c:v>37899610</c:v>
                </c:pt>
                <c:pt idx="7928">
                  <c:v>183116012</c:v>
                </c:pt>
                <c:pt idx="7929">
                  <c:v>378658394</c:v>
                </c:pt>
                <c:pt idx="7930">
                  <c:v>71245120</c:v>
                </c:pt>
                <c:pt idx="7931">
                  <c:v>131433156</c:v>
                </c:pt>
                <c:pt idx="7932">
                  <c:v>12617079</c:v>
                </c:pt>
                <c:pt idx="7933">
                  <c:v>824089134</c:v>
                </c:pt>
                <c:pt idx="7934">
                  <c:v>192637029</c:v>
                </c:pt>
                <c:pt idx="7935">
                  <c:v>13617276</c:v>
                </c:pt>
                <c:pt idx="7936">
                  <c:v>83472675</c:v>
                </c:pt>
                <c:pt idx="7937">
                  <c:v>446945040</c:v>
                </c:pt>
                <c:pt idx="7938">
                  <c:v>642348048</c:v>
                </c:pt>
                <c:pt idx="7939">
                  <c:v>235899930</c:v>
                </c:pt>
                <c:pt idx="7940">
                  <c:v>427915775</c:v>
                </c:pt>
                <c:pt idx="7941">
                  <c:v>885578722</c:v>
                </c:pt>
                <c:pt idx="7942">
                  <c:v>474466312</c:v>
                </c:pt>
                <c:pt idx="7943">
                  <c:v>68277482</c:v>
                </c:pt>
                <c:pt idx="7944">
                  <c:v>11069568</c:v>
                </c:pt>
                <c:pt idx="7945">
                  <c:v>143988408</c:v>
                </c:pt>
                <c:pt idx="7946">
                  <c:v>277133850</c:v>
                </c:pt>
                <c:pt idx="7947">
                  <c:v>186455979</c:v>
                </c:pt>
                <c:pt idx="7948">
                  <c:v>162979232</c:v>
                </c:pt>
                <c:pt idx="7949">
                  <c:v>78986439</c:v>
                </c:pt>
                <c:pt idx="7950">
                  <c:v>153094325</c:v>
                </c:pt>
                <c:pt idx="7951">
                  <c:v>273035560</c:v>
                </c:pt>
                <c:pt idx="7952">
                  <c:v>287245200</c:v>
                </c:pt>
                <c:pt idx="7953">
                  <c:v>627734492</c:v>
                </c:pt>
                <c:pt idx="7954">
                  <c:v>776814864</c:v>
                </c:pt>
                <c:pt idx="7955">
                  <c:v>47994180</c:v>
                </c:pt>
                <c:pt idx="7956">
                  <c:v>802677834</c:v>
                </c:pt>
                <c:pt idx="7957">
                  <c:v>44427975</c:v>
                </c:pt>
                <c:pt idx="7958">
                  <c:v>217342566</c:v>
                </c:pt>
                <c:pt idx="7959">
                  <c:v>102893078</c:v>
                </c:pt>
                <c:pt idx="7960">
                  <c:v>60266100</c:v>
                </c:pt>
                <c:pt idx="7961">
                  <c:v>15562155</c:v>
                </c:pt>
                <c:pt idx="7962">
                  <c:v>122571150</c:v>
                </c:pt>
                <c:pt idx="7963">
                  <c:v>60750885</c:v>
                </c:pt>
                <c:pt idx="7964">
                  <c:v>257760888</c:v>
                </c:pt>
                <c:pt idx="7965">
                  <c:v>125044038</c:v>
                </c:pt>
                <c:pt idx="7966">
                  <c:v>787746795</c:v>
                </c:pt>
                <c:pt idx="7967">
                  <c:v>270910272</c:v>
                </c:pt>
                <c:pt idx="7968">
                  <c:v>246848903</c:v>
                </c:pt>
                <c:pt idx="7969">
                  <c:v>118719600</c:v>
                </c:pt>
                <c:pt idx="7970">
                  <c:v>270688540</c:v>
                </c:pt>
                <c:pt idx="7971">
                  <c:v>234625742</c:v>
                </c:pt>
                <c:pt idx="7972">
                  <c:v>182885571</c:v>
                </c:pt>
                <c:pt idx="7973">
                  <c:v>107909744</c:v>
                </c:pt>
                <c:pt idx="7974">
                  <c:v>30892736</c:v>
                </c:pt>
                <c:pt idx="7975">
                  <c:v>223064250</c:v>
                </c:pt>
                <c:pt idx="7976">
                  <c:v>160461253</c:v>
                </c:pt>
                <c:pt idx="7977">
                  <c:v>33760038</c:v>
                </c:pt>
                <c:pt idx="7978">
                  <c:v>91540335</c:v>
                </c:pt>
                <c:pt idx="7979">
                  <c:v>83054166</c:v>
                </c:pt>
                <c:pt idx="7980">
                  <c:v>20380710</c:v>
                </c:pt>
                <c:pt idx="7981">
                  <c:v>235480440</c:v>
                </c:pt>
                <c:pt idx="7982">
                  <c:v>237633536</c:v>
                </c:pt>
                <c:pt idx="7983">
                  <c:v>535936184</c:v>
                </c:pt>
                <c:pt idx="7984">
                  <c:v>45605759</c:v>
                </c:pt>
                <c:pt idx="7985">
                  <c:v>242578128</c:v>
                </c:pt>
                <c:pt idx="7986">
                  <c:v>30537500</c:v>
                </c:pt>
                <c:pt idx="7987">
                  <c:v>248477829</c:v>
                </c:pt>
                <c:pt idx="7988">
                  <c:v>685421016</c:v>
                </c:pt>
                <c:pt idx="7989">
                  <c:v>701144360</c:v>
                </c:pt>
                <c:pt idx="7990">
                  <c:v>5045298</c:v>
                </c:pt>
                <c:pt idx="7991">
                  <c:v>191655632</c:v>
                </c:pt>
                <c:pt idx="7992">
                  <c:v>130518539</c:v>
                </c:pt>
                <c:pt idx="7993">
                  <c:v>627994512</c:v>
                </c:pt>
                <c:pt idx="7994">
                  <c:v>939810784</c:v>
                </c:pt>
                <c:pt idx="7995">
                  <c:v>479223664</c:v>
                </c:pt>
                <c:pt idx="7996">
                  <c:v>1324867104</c:v>
                </c:pt>
                <c:pt idx="7997">
                  <c:v>1036972696</c:v>
                </c:pt>
                <c:pt idx="7998">
                  <c:v>681914865</c:v>
                </c:pt>
                <c:pt idx="7999">
                  <c:v>1361398980</c:v>
                </c:pt>
                <c:pt idx="8000">
                  <c:v>132016032</c:v>
                </c:pt>
                <c:pt idx="8001">
                  <c:v>332854861</c:v>
                </c:pt>
                <c:pt idx="8002">
                  <c:v>60464420</c:v>
                </c:pt>
                <c:pt idx="8003">
                  <c:v>501403826</c:v>
                </c:pt>
                <c:pt idx="8004">
                  <c:v>19574258</c:v>
                </c:pt>
                <c:pt idx="8005">
                  <c:v>40649994</c:v>
                </c:pt>
                <c:pt idx="8006">
                  <c:v>114583776</c:v>
                </c:pt>
                <c:pt idx="8007">
                  <c:v>211559939</c:v>
                </c:pt>
                <c:pt idx="8008">
                  <c:v>46271423</c:v>
                </c:pt>
                <c:pt idx="8009">
                  <c:v>209592306</c:v>
                </c:pt>
                <c:pt idx="8010">
                  <c:v>43417814</c:v>
                </c:pt>
                <c:pt idx="8011">
                  <c:v>32152064</c:v>
                </c:pt>
                <c:pt idx="8012">
                  <c:v>1030806502</c:v>
                </c:pt>
                <c:pt idx="8013">
                  <c:v>60124482</c:v>
                </c:pt>
                <c:pt idx="8014">
                  <c:v>596783060</c:v>
                </c:pt>
                <c:pt idx="8015">
                  <c:v>56635320</c:v>
                </c:pt>
                <c:pt idx="8016">
                  <c:v>36115485</c:v>
                </c:pt>
                <c:pt idx="8017">
                  <c:v>129729488</c:v>
                </c:pt>
                <c:pt idx="8018">
                  <c:v>394316884</c:v>
                </c:pt>
                <c:pt idx="8019">
                  <c:v>1256384122</c:v>
                </c:pt>
                <c:pt idx="8020">
                  <c:v>33926914</c:v>
                </c:pt>
                <c:pt idx="8021">
                  <c:v>51163268</c:v>
                </c:pt>
                <c:pt idx="8022">
                  <c:v>114839046</c:v>
                </c:pt>
                <c:pt idx="8023">
                  <c:v>252598014</c:v>
                </c:pt>
                <c:pt idx="8024">
                  <c:v>59151687</c:v>
                </c:pt>
                <c:pt idx="8025">
                  <c:v>131504016</c:v>
                </c:pt>
                <c:pt idx="8026">
                  <c:v>905690880</c:v>
                </c:pt>
                <c:pt idx="8027">
                  <c:v>61323626</c:v>
                </c:pt>
                <c:pt idx="8028">
                  <c:v>91778214</c:v>
                </c:pt>
                <c:pt idx="8029">
                  <c:v>8021943</c:v>
                </c:pt>
                <c:pt idx="8030">
                  <c:v>428956030</c:v>
                </c:pt>
                <c:pt idx="8031">
                  <c:v>335178469</c:v>
                </c:pt>
                <c:pt idx="8032">
                  <c:v>84398286</c:v>
                </c:pt>
                <c:pt idx="8033">
                  <c:v>52049750</c:v>
                </c:pt>
                <c:pt idx="8034">
                  <c:v>121453083</c:v>
                </c:pt>
                <c:pt idx="8035">
                  <c:v>93324054</c:v>
                </c:pt>
                <c:pt idx="8036">
                  <c:v>336951933</c:v>
                </c:pt>
                <c:pt idx="8037">
                  <c:v>1518267024</c:v>
                </c:pt>
                <c:pt idx="8038">
                  <c:v>13553721</c:v>
                </c:pt>
                <c:pt idx="8039">
                  <c:v>229427376</c:v>
                </c:pt>
                <c:pt idx="8040">
                  <c:v>106571570</c:v>
                </c:pt>
                <c:pt idx="8041">
                  <c:v>417560430</c:v>
                </c:pt>
                <c:pt idx="8042">
                  <c:v>2147483647</c:v>
                </c:pt>
                <c:pt idx="8043">
                  <c:v>1353770871</c:v>
                </c:pt>
                <c:pt idx="8044">
                  <c:v>11053896</c:v>
                </c:pt>
                <c:pt idx="8045">
                  <c:v>90907250</c:v>
                </c:pt>
                <c:pt idx="8046">
                  <c:v>393555690</c:v>
                </c:pt>
                <c:pt idx="8047">
                  <c:v>50589380</c:v>
                </c:pt>
                <c:pt idx="8048">
                  <c:v>31857784</c:v>
                </c:pt>
                <c:pt idx="8049">
                  <c:v>10755552</c:v>
                </c:pt>
                <c:pt idx="8050">
                  <c:v>96236464</c:v>
                </c:pt>
                <c:pt idx="8051">
                  <c:v>380496952</c:v>
                </c:pt>
                <c:pt idx="8052">
                  <c:v>22083152</c:v>
                </c:pt>
                <c:pt idx="8053">
                  <c:v>23496504</c:v>
                </c:pt>
                <c:pt idx="8054">
                  <c:v>56154576</c:v>
                </c:pt>
                <c:pt idx="8055">
                  <c:v>493924663</c:v>
                </c:pt>
                <c:pt idx="8056">
                  <c:v>44474040</c:v>
                </c:pt>
                <c:pt idx="8057">
                  <c:v>86288916</c:v>
                </c:pt>
                <c:pt idx="8058">
                  <c:v>36907440</c:v>
                </c:pt>
                <c:pt idx="8059">
                  <c:v>36713888</c:v>
                </c:pt>
                <c:pt idx="8060">
                  <c:v>470672364</c:v>
                </c:pt>
                <c:pt idx="8061">
                  <c:v>418069564</c:v>
                </c:pt>
                <c:pt idx="8062">
                  <c:v>179837010</c:v>
                </c:pt>
                <c:pt idx="8063">
                  <c:v>86415973</c:v>
                </c:pt>
                <c:pt idx="8064">
                  <c:v>87065625</c:v>
                </c:pt>
                <c:pt idx="8065">
                  <c:v>258777984</c:v>
                </c:pt>
                <c:pt idx="8066">
                  <c:v>70430282</c:v>
                </c:pt>
                <c:pt idx="8067">
                  <c:v>101270988</c:v>
                </c:pt>
                <c:pt idx="8068">
                  <c:v>254985976</c:v>
                </c:pt>
                <c:pt idx="8069">
                  <c:v>14817600</c:v>
                </c:pt>
                <c:pt idx="8070">
                  <c:v>207621104</c:v>
                </c:pt>
                <c:pt idx="8071">
                  <c:v>59272875</c:v>
                </c:pt>
                <c:pt idx="8072">
                  <c:v>217555360</c:v>
                </c:pt>
                <c:pt idx="8073">
                  <c:v>89582376</c:v>
                </c:pt>
                <c:pt idx="8074">
                  <c:v>20344687</c:v>
                </c:pt>
                <c:pt idx="8075">
                  <c:v>25787256</c:v>
                </c:pt>
                <c:pt idx="8076">
                  <c:v>136590890</c:v>
                </c:pt>
                <c:pt idx="8077">
                  <c:v>936208800</c:v>
                </c:pt>
                <c:pt idx="8078">
                  <c:v>428980960</c:v>
                </c:pt>
                <c:pt idx="8079">
                  <c:v>772133090</c:v>
                </c:pt>
                <c:pt idx="8080">
                  <c:v>196138274</c:v>
                </c:pt>
                <c:pt idx="8081">
                  <c:v>257322844</c:v>
                </c:pt>
                <c:pt idx="8082">
                  <c:v>64520638</c:v>
                </c:pt>
                <c:pt idx="8083">
                  <c:v>23607250</c:v>
                </c:pt>
                <c:pt idx="8084">
                  <c:v>138660840</c:v>
                </c:pt>
                <c:pt idx="8085">
                  <c:v>17430168</c:v>
                </c:pt>
                <c:pt idx="8086">
                  <c:v>69060960</c:v>
                </c:pt>
                <c:pt idx="8087">
                  <c:v>701102420</c:v>
                </c:pt>
                <c:pt idx="8088">
                  <c:v>667785657</c:v>
                </c:pt>
                <c:pt idx="8089">
                  <c:v>246630546</c:v>
                </c:pt>
                <c:pt idx="8090">
                  <c:v>8350167</c:v>
                </c:pt>
                <c:pt idx="8091">
                  <c:v>78986120</c:v>
                </c:pt>
                <c:pt idx="8092">
                  <c:v>291263189</c:v>
                </c:pt>
                <c:pt idx="8093">
                  <c:v>492224431</c:v>
                </c:pt>
                <c:pt idx="8094">
                  <c:v>781203015</c:v>
                </c:pt>
                <c:pt idx="8095">
                  <c:v>478948048</c:v>
                </c:pt>
                <c:pt idx="8096">
                  <c:v>1071542164</c:v>
                </c:pt>
                <c:pt idx="8097">
                  <c:v>1014998790</c:v>
                </c:pt>
                <c:pt idx="8098">
                  <c:v>1212899519</c:v>
                </c:pt>
                <c:pt idx="8099">
                  <c:v>945164433</c:v>
                </c:pt>
                <c:pt idx="8100">
                  <c:v>1123522350</c:v>
                </c:pt>
                <c:pt idx="8101">
                  <c:v>1612914342</c:v>
                </c:pt>
                <c:pt idx="8102">
                  <c:v>1515306205</c:v>
                </c:pt>
                <c:pt idx="8103">
                  <c:v>976799844</c:v>
                </c:pt>
                <c:pt idx="8104">
                  <c:v>668872688</c:v>
                </c:pt>
                <c:pt idx="8105">
                  <c:v>449157828</c:v>
                </c:pt>
                <c:pt idx="8106">
                  <c:v>335511264</c:v>
                </c:pt>
                <c:pt idx="8107">
                  <c:v>604074150</c:v>
                </c:pt>
                <c:pt idx="8108">
                  <c:v>858520284</c:v>
                </c:pt>
                <c:pt idx="8109">
                  <c:v>45802755</c:v>
                </c:pt>
                <c:pt idx="8110">
                  <c:v>315521521</c:v>
                </c:pt>
                <c:pt idx="8111">
                  <c:v>434092240</c:v>
                </c:pt>
                <c:pt idx="8112">
                  <c:v>316595100</c:v>
                </c:pt>
                <c:pt idx="8113">
                  <c:v>3739275</c:v>
                </c:pt>
                <c:pt idx="8114">
                  <c:v>232533860</c:v>
                </c:pt>
                <c:pt idx="8115">
                  <c:v>65871544</c:v>
                </c:pt>
                <c:pt idx="8116">
                  <c:v>487496960</c:v>
                </c:pt>
                <c:pt idx="8117">
                  <c:v>109161648</c:v>
                </c:pt>
                <c:pt idx="8118">
                  <c:v>391839604</c:v>
                </c:pt>
                <c:pt idx="8119">
                  <c:v>452198331</c:v>
                </c:pt>
                <c:pt idx="8120">
                  <c:v>6837138</c:v>
                </c:pt>
                <c:pt idx="8121">
                  <c:v>1059081742</c:v>
                </c:pt>
                <c:pt idx="8122">
                  <c:v>38946688</c:v>
                </c:pt>
                <c:pt idx="8123">
                  <c:v>97496736</c:v>
                </c:pt>
                <c:pt idx="8124">
                  <c:v>20263019</c:v>
                </c:pt>
                <c:pt idx="8125">
                  <c:v>328508459</c:v>
                </c:pt>
                <c:pt idx="8126">
                  <c:v>525974736</c:v>
                </c:pt>
                <c:pt idx="8127">
                  <c:v>10091848</c:v>
                </c:pt>
                <c:pt idx="8128">
                  <c:v>391681514</c:v>
                </c:pt>
                <c:pt idx="8129">
                  <c:v>572092208</c:v>
                </c:pt>
                <c:pt idx="8130">
                  <c:v>20226821</c:v>
                </c:pt>
                <c:pt idx="8131">
                  <c:v>94709346</c:v>
                </c:pt>
                <c:pt idx="8132">
                  <c:v>93985632</c:v>
                </c:pt>
                <c:pt idx="8133">
                  <c:v>269004281</c:v>
                </c:pt>
                <c:pt idx="8134">
                  <c:v>411335288</c:v>
                </c:pt>
                <c:pt idx="8135">
                  <c:v>89732286</c:v>
                </c:pt>
                <c:pt idx="8136">
                  <c:v>171783617</c:v>
                </c:pt>
                <c:pt idx="8137">
                  <c:v>474218750</c:v>
                </c:pt>
                <c:pt idx="8138">
                  <c:v>691432670</c:v>
                </c:pt>
                <c:pt idx="8139">
                  <c:v>816490792</c:v>
                </c:pt>
                <c:pt idx="8140">
                  <c:v>716918028</c:v>
                </c:pt>
                <c:pt idx="8141">
                  <c:v>758030590</c:v>
                </c:pt>
                <c:pt idx="8142">
                  <c:v>1807647740</c:v>
                </c:pt>
                <c:pt idx="8143">
                  <c:v>663520123</c:v>
                </c:pt>
                <c:pt idx="8144">
                  <c:v>1958359298</c:v>
                </c:pt>
                <c:pt idx="8145">
                  <c:v>1819612080</c:v>
                </c:pt>
                <c:pt idx="8146">
                  <c:v>666505146</c:v>
                </c:pt>
                <c:pt idx="8147">
                  <c:v>719226248</c:v>
                </c:pt>
                <c:pt idx="8148">
                  <c:v>34949110</c:v>
                </c:pt>
                <c:pt idx="8149">
                  <c:v>157130160</c:v>
                </c:pt>
                <c:pt idx="8150">
                  <c:v>162122834</c:v>
                </c:pt>
                <c:pt idx="8151">
                  <c:v>52183725</c:v>
                </c:pt>
                <c:pt idx="8152">
                  <c:v>106930320</c:v>
                </c:pt>
                <c:pt idx="8153">
                  <c:v>104311830</c:v>
                </c:pt>
                <c:pt idx="8154">
                  <c:v>56786730</c:v>
                </c:pt>
                <c:pt idx="8155">
                  <c:v>125186424</c:v>
                </c:pt>
                <c:pt idx="8156">
                  <c:v>52807793</c:v>
                </c:pt>
                <c:pt idx="8157">
                  <c:v>676509135</c:v>
                </c:pt>
                <c:pt idx="8158">
                  <c:v>1788387360</c:v>
                </c:pt>
                <c:pt idx="8159">
                  <c:v>21042135</c:v>
                </c:pt>
                <c:pt idx="8160">
                  <c:v>68180880</c:v>
                </c:pt>
                <c:pt idx="8161">
                  <c:v>285544236</c:v>
                </c:pt>
                <c:pt idx="8162">
                  <c:v>62177805</c:v>
                </c:pt>
                <c:pt idx="8163">
                  <c:v>453144700</c:v>
                </c:pt>
                <c:pt idx="8164">
                  <c:v>5601816</c:v>
                </c:pt>
                <c:pt idx="8165">
                  <c:v>28631284</c:v>
                </c:pt>
                <c:pt idx="8166">
                  <c:v>1460042100</c:v>
                </c:pt>
                <c:pt idx="8167">
                  <c:v>1029182472</c:v>
                </c:pt>
                <c:pt idx="8168">
                  <c:v>69269176</c:v>
                </c:pt>
                <c:pt idx="8169">
                  <c:v>1273498644</c:v>
                </c:pt>
                <c:pt idx="8170">
                  <c:v>2147483647</c:v>
                </c:pt>
                <c:pt idx="8171">
                  <c:v>2147483647</c:v>
                </c:pt>
                <c:pt idx="8172">
                  <c:v>35575680</c:v>
                </c:pt>
                <c:pt idx="8173">
                  <c:v>35865153</c:v>
                </c:pt>
                <c:pt idx="8174">
                  <c:v>151388442</c:v>
                </c:pt>
                <c:pt idx="8175">
                  <c:v>25924498</c:v>
                </c:pt>
                <c:pt idx="8176">
                  <c:v>242958205</c:v>
                </c:pt>
                <c:pt idx="8177">
                  <c:v>37389828</c:v>
                </c:pt>
                <c:pt idx="8178">
                  <c:v>47655734</c:v>
                </c:pt>
                <c:pt idx="8179">
                  <c:v>174142750</c:v>
                </c:pt>
                <c:pt idx="8180">
                  <c:v>130181981</c:v>
                </c:pt>
                <c:pt idx="8181">
                  <c:v>28710972</c:v>
                </c:pt>
                <c:pt idx="8182">
                  <c:v>1739143224</c:v>
                </c:pt>
                <c:pt idx="8183">
                  <c:v>1981639184</c:v>
                </c:pt>
                <c:pt idx="8184">
                  <c:v>1291221332</c:v>
                </c:pt>
                <c:pt idx="8185">
                  <c:v>124574760</c:v>
                </c:pt>
                <c:pt idx="8186">
                  <c:v>471017614</c:v>
                </c:pt>
                <c:pt idx="8187">
                  <c:v>1293689858</c:v>
                </c:pt>
                <c:pt idx="8188">
                  <c:v>6801696</c:v>
                </c:pt>
                <c:pt idx="8189">
                  <c:v>1570811550</c:v>
                </c:pt>
                <c:pt idx="8190">
                  <c:v>717118480</c:v>
                </c:pt>
                <c:pt idx="8191">
                  <c:v>379327646</c:v>
                </c:pt>
                <c:pt idx="8192">
                  <c:v>229372010</c:v>
                </c:pt>
                <c:pt idx="8193">
                  <c:v>151861810</c:v>
                </c:pt>
                <c:pt idx="8194">
                  <c:v>279658855</c:v>
                </c:pt>
                <c:pt idx="8195">
                  <c:v>13648338</c:v>
                </c:pt>
                <c:pt idx="8196">
                  <c:v>295870160</c:v>
                </c:pt>
                <c:pt idx="8197">
                  <c:v>31949324</c:v>
                </c:pt>
                <c:pt idx="8198">
                  <c:v>1061974452</c:v>
                </c:pt>
                <c:pt idx="8199">
                  <c:v>551973100</c:v>
                </c:pt>
                <c:pt idx="8200">
                  <c:v>510897338</c:v>
                </c:pt>
                <c:pt idx="8201">
                  <c:v>302775747</c:v>
                </c:pt>
                <c:pt idx="8202">
                  <c:v>95769524</c:v>
                </c:pt>
                <c:pt idx="8203">
                  <c:v>241169292</c:v>
                </c:pt>
                <c:pt idx="8204">
                  <c:v>7871877</c:v>
                </c:pt>
                <c:pt idx="8205">
                  <c:v>156744546</c:v>
                </c:pt>
                <c:pt idx="8206">
                  <c:v>25908984</c:v>
                </c:pt>
                <c:pt idx="8207">
                  <c:v>47118016</c:v>
                </c:pt>
                <c:pt idx="8208">
                  <c:v>61469016</c:v>
                </c:pt>
                <c:pt idx="8209">
                  <c:v>772125816</c:v>
                </c:pt>
                <c:pt idx="8210">
                  <c:v>178582320</c:v>
                </c:pt>
                <c:pt idx="8211">
                  <c:v>126471744</c:v>
                </c:pt>
                <c:pt idx="8212">
                  <c:v>282221426</c:v>
                </c:pt>
                <c:pt idx="8213">
                  <c:v>299883455</c:v>
                </c:pt>
                <c:pt idx="8214">
                  <c:v>38092608</c:v>
                </c:pt>
                <c:pt idx="8215">
                  <c:v>20288026</c:v>
                </c:pt>
                <c:pt idx="8216">
                  <c:v>130542500</c:v>
                </c:pt>
                <c:pt idx="8217">
                  <c:v>629988344</c:v>
                </c:pt>
                <c:pt idx="8218">
                  <c:v>5928450</c:v>
                </c:pt>
                <c:pt idx="8219">
                  <c:v>393634752</c:v>
                </c:pt>
                <c:pt idx="8220">
                  <c:v>349941496</c:v>
                </c:pt>
                <c:pt idx="8221">
                  <c:v>51246074</c:v>
                </c:pt>
                <c:pt idx="8222">
                  <c:v>237064320</c:v>
                </c:pt>
                <c:pt idx="8223">
                  <c:v>523408437</c:v>
                </c:pt>
                <c:pt idx="8224">
                  <c:v>162117060</c:v>
                </c:pt>
                <c:pt idx="8225">
                  <c:v>615251200</c:v>
                </c:pt>
                <c:pt idx="8226">
                  <c:v>1218671577</c:v>
                </c:pt>
                <c:pt idx="8227">
                  <c:v>949096050</c:v>
                </c:pt>
                <c:pt idx="8228">
                  <c:v>1416393418</c:v>
                </c:pt>
                <c:pt idx="8229">
                  <c:v>23983214</c:v>
                </c:pt>
                <c:pt idx="8230">
                  <c:v>85542217</c:v>
                </c:pt>
                <c:pt idx="8231">
                  <c:v>796252800</c:v>
                </c:pt>
                <c:pt idx="8232">
                  <c:v>126359937</c:v>
                </c:pt>
                <c:pt idx="8233">
                  <c:v>60211425</c:v>
                </c:pt>
                <c:pt idx="8234">
                  <c:v>782983740</c:v>
                </c:pt>
                <c:pt idx="8235">
                  <c:v>1312147900</c:v>
                </c:pt>
                <c:pt idx="8236">
                  <c:v>46227188</c:v>
                </c:pt>
                <c:pt idx="8237">
                  <c:v>111346068</c:v>
                </c:pt>
                <c:pt idx="8238">
                  <c:v>11719254</c:v>
                </c:pt>
                <c:pt idx="8239">
                  <c:v>35414010</c:v>
                </c:pt>
                <c:pt idx="8240">
                  <c:v>2191140</c:v>
                </c:pt>
                <c:pt idx="8241">
                  <c:v>38579709</c:v>
                </c:pt>
                <c:pt idx="8242">
                  <c:v>731516360</c:v>
                </c:pt>
                <c:pt idx="8243">
                  <c:v>1533061838</c:v>
                </c:pt>
                <c:pt idx="8244">
                  <c:v>1746496566</c:v>
                </c:pt>
                <c:pt idx="8245">
                  <c:v>1253356280</c:v>
                </c:pt>
                <c:pt idx="8246">
                  <c:v>702031627</c:v>
                </c:pt>
                <c:pt idx="8247">
                  <c:v>1715530212</c:v>
                </c:pt>
                <c:pt idx="8248">
                  <c:v>701746432</c:v>
                </c:pt>
                <c:pt idx="8249">
                  <c:v>329797966</c:v>
                </c:pt>
                <c:pt idx="8250">
                  <c:v>1543480753</c:v>
                </c:pt>
                <c:pt idx="8251">
                  <c:v>234651267</c:v>
                </c:pt>
                <c:pt idx="8252">
                  <c:v>795885046</c:v>
                </c:pt>
                <c:pt idx="8253">
                  <c:v>384626899</c:v>
                </c:pt>
                <c:pt idx="8254">
                  <c:v>431024000</c:v>
                </c:pt>
                <c:pt idx="8255">
                  <c:v>60280602</c:v>
                </c:pt>
                <c:pt idx="8256">
                  <c:v>403203438</c:v>
                </c:pt>
                <c:pt idx="8257">
                  <c:v>497665575</c:v>
                </c:pt>
                <c:pt idx="8258">
                  <c:v>31233042</c:v>
                </c:pt>
                <c:pt idx="8259">
                  <c:v>87665067</c:v>
                </c:pt>
                <c:pt idx="8260">
                  <c:v>21730860</c:v>
                </c:pt>
                <c:pt idx="8261">
                  <c:v>977439392</c:v>
                </c:pt>
                <c:pt idx="8262">
                  <c:v>1148092690</c:v>
                </c:pt>
                <c:pt idx="8263">
                  <c:v>103698720</c:v>
                </c:pt>
                <c:pt idx="8264">
                  <c:v>585071504</c:v>
                </c:pt>
                <c:pt idx="8265">
                  <c:v>263335956</c:v>
                </c:pt>
                <c:pt idx="8266">
                  <c:v>574662144</c:v>
                </c:pt>
                <c:pt idx="8267">
                  <c:v>891916774</c:v>
                </c:pt>
                <c:pt idx="8268">
                  <c:v>1529771100</c:v>
                </c:pt>
                <c:pt idx="8269">
                  <c:v>1740670590</c:v>
                </c:pt>
                <c:pt idx="8270">
                  <c:v>106233351</c:v>
                </c:pt>
                <c:pt idx="8271">
                  <c:v>246204272</c:v>
                </c:pt>
                <c:pt idx="8272">
                  <c:v>177188800</c:v>
                </c:pt>
                <c:pt idx="8273">
                  <c:v>474889135</c:v>
                </c:pt>
                <c:pt idx="8274">
                  <c:v>144722160</c:v>
                </c:pt>
                <c:pt idx="8275">
                  <c:v>514147644</c:v>
                </c:pt>
                <c:pt idx="8276">
                  <c:v>63167661</c:v>
                </c:pt>
                <c:pt idx="8277">
                  <c:v>194222475</c:v>
                </c:pt>
                <c:pt idx="8278">
                  <c:v>4841594</c:v>
                </c:pt>
                <c:pt idx="8279">
                  <c:v>299687388</c:v>
                </c:pt>
                <c:pt idx="8280">
                  <c:v>341285868</c:v>
                </c:pt>
                <c:pt idx="8281">
                  <c:v>518191722</c:v>
                </c:pt>
                <c:pt idx="8282">
                  <c:v>559627532</c:v>
                </c:pt>
                <c:pt idx="8283">
                  <c:v>970873792</c:v>
                </c:pt>
                <c:pt idx="8284">
                  <c:v>386043251</c:v>
                </c:pt>
                <c:pt idx="8285">
                  <c:v>569018412</c:v>
                </c:pt>
                <c:pt idx="8286">
                  <c:v>1258998328</c:v>
                </c:pt>
                <c:pt idx="8287">
                  <c:v>2147483647</c:v>
                </c:pt>
                <c:pt idx="8288">
                  <c:v>121585657</c:v>
                </c:pt>
                <c:pt idx="8289">
                  <c:v>131576179</c:v>
                </c:pt>
                <c:pt idx="8290">
                  <c:v>123881940</c:v>
                </c:pt>
                <c:pt idx="8291">
                  <c:v>32399892</c:v>
                </c:pt>
                <c:pt idx="8292">
                  <c:v>1300373590</c:v>
                </c:pt>
                <c:pt idx="8293">
                  <c:v>137980554</c:v>
                </c:pt>
                <c:pt idx="8294">
                  <c:v>751806307</c:v>
                </c:pt>
                <c:pt idx="8295">
                  <c:v>278743465</c:v>
                </c:pt>
                <c:pt idx="8296">
                  <c:v>103488120</c:v>
                </c:pt>
                <c:pt idx="8297">
                  <c:v>349314989</c:v>
                </c:pt>
                <c:pt idx="8298">
                  <c:v>157058044</c:v>
                </c:pt>
                <c:pt idx="8299">
                  <c:v>397622424</c:v>
                </c:pt>
                <c:pt idx="8300">
                  <c:v>213372364</c:v>
                </c:pt>
                <c:pt idx="8301">
                  <c:v>104378085</c:v>
                </c:pt>
                <c:pt idx="8302">
                  <c:v>461732832</c:v>
                </c:pt>
                <c:pt idx="8303">
                  <c:v>1601968004</c:v>
                </c:pt>
                <c:pt idx="8304">
                  <c:v>2147483647</c:v>
                </c:pt>
                <c:pt idx="8305">
                  <c:v>150634224</c:v>
                </c:pt>
                <c:pt idx="8306">
                  <c:v>1320496731</c:v>
                </c:pt>
                <c:pt idx="8307">
                  <c:v>76702332</c:v>
                </c:pt>
                <c:pt idx="8308">
                  <c:v>69242030</c:v>
                </c:pt>
                <c:pt idx="8309">
                  <c:v>1598534135</c:v>
                </c:pt>
                <c:pt idx="8310">
                  <c:v>34327440</c:v>
                </c:pt>
                <c:pt idx="8311">
                  <c:v>84203516</c:v>
                </c:pt>
                <c:pt idx="8312">
                  <c:v>1413079140</c:v>
                </c:pt>
                <c:pt idx="8313">
                  <c:v>51182886</c:v>
                </c:pt>
                <c:pt idx="8314">
                  <c:v>47795818</c:v>
                </c:pt>
                <c:pt idx="8315">
                  <c:v>181411490</c:v>
                </c:pt>
                <c:pt idx="8316">
                  <c:v>53554209</c:v>
                </c:pt>
                <c:pt idx="8317">
                  <c:v>1720964800</c:v>
                </c:pt>
                <c:pt idx="8318">
                  <c:v>2104954800</c:v>
                </c:pt>
                <c:pt idx="8319">
                  <c:v>47667200</c:v>
                </c:pt>
                <c:pt idx="8320">
                  <c:v>52065500</c:v>
                </c:pt>
                <c:pt idx="8321">
                  <c:v>50791440</c:v>
                </c:pt>
                <c:pt idx="8322">
                  <c:v>1046055249</c:v>
                </c:pt>
                <c:pt idx="8323">
                  <c:v>729715892</c:v>
                </c:pt>
                <c:pt idx="8324">
                  <c:v>1517248000</c:v>
                </c:pt>
                <c:pt idx="8325">
                  <c:v>173269278</c:v>
                </c:pt>
                <c:pt idx="8326">
                  <c:v>58087744</c:v>
                </c:pt>
                <c:pt idx="8327">
                  <c:v>10230000</c:v>
                </c:pt>
                <c:pt idx="8328">
                  <c:v>66256450</c:v>
                </c:pt>
                <c:pt idx="8329">
                  <c:v>226059046</c:v>
                </c:pt>
                <c:pt idx="8330">
                  <c:v>13787649</c:v>
                </c:pt>
                <c:pt idx="8331">
                  <c:v>76364255</c:v>
                </c:pt>
                <c:pt idx="8332">
                  <c:v>36524596</c:v>
                </c:pt>
                <c:pt idx="8333">
                  <c:v>37501893</c:v>
                </c:pt>
                <c:pt idx="8334">
                  <c:v>160956390</c:v>
                </c:pt>
                <c:pt idx="8335">
                  <c:v>59721225</c:v>
                </c:pt>
                <c:pt idx="8336">
                  <c:v>10159266</c:v>
                </c:pt>
                <c:pt idx="8337">
                  <c:v>311394992</c:v>
                </c:pt>
                <c:pt idx="8338">
                  <c:v>105895332</c:v>
                </c:pt>
                <c:pt idx="8339">
                  <c:v>111723279</c:v>
                </c:pt>
                <c:pt idx="8340">
                  <c:v>157808728</c:v>
                </c:pt>
                <c:pt idx="8341">
                  <c:v>27653157</c:v>
                </c:pt>
                <c:pt idx="8342">
                  <c:v>1055859744</c:v>
                </c:pt>
                <c:pt idx="8343">
                  <c:v>155338623</c:v>
                </c:pt>
                <c:pt idx="8344">
                  <c:v>28985630</c:v>
                </c:pt>
                <c:pt idx="8345">
                  <c:v>4021888</c:v>
                </c:pt>
                <c:pt idx="8346">
                  <c:v>45245835</c:v>
                </c:pt>
                <c:pt idx="8347">
                  <c:v>142440192</c:v>
                </c:pt>
                <c:pt idx="8348">
                  <c:v>15705820</c:v>
                </c:pt>
                <c:pt idx="8349">
                  <c:v>5406792</c:v>
                </c:pt>
                <c:pt idx="8350">
                  <c:v>232089504</c:v>
                </c:pt>
                <c:pt idx="8351">
                  <c:v>140591688</c:v>
                </c:pt>
                <c:pt idx="8352">
                  <c:v>51662848</c:v>
                </c:pt>
                <c:pt idx="8353">
                  <c:v>627167668</c:v>
                </c:pt>
                <c:pt idx="8354">
                  <c:v>508794316</c:v>
                </c:pt>
                <c:pt idx="8355">
                  <c:v>599848580</c:v>
                </c:pt>
                <c:pt idx="8356">
                  <c:v>590705522</c:v>
                </c:pt>
                <c:pt idx="8357">
                  <c:v>1143995944</c:v>
                </c:pt>
                <c:pt idx="8358">
                  <c:v>1944352416</c:v>
                </c:pt>
                <c:pt idx="8359">
                  <c:v>28516285</c:v>
                </c:pt>
                <c:pt idx="8360">
                  <c:v>52633197</c:v>
                </c:pt>
                <c:pt idx="8361">
                  <c:v>76660586</c:v>
                </c:pt>
                <c:pt idx="8362">
                  <c:v>354260376</c:v>
                </c:pt>
                <c:pt idx="8363">
                  <c:v>10295424</c:v>
                </c:pt>
                <c:pt idx="8364">
                  <c:v>10190961</c:v>
                </c:pt>
                <c:pt idx="8365">
                  <c:v>107035344</c:v>
                </c:pt>
                <c:pt idx="8366">
                  <c:v>1304709224</c:v>
                </c:pt>
                <c:pt idx="8367">
                  <c:v>266216775</c:v>
                </c:pt>
                <c:pt idx="8368">
                  <c:v>1132080210</c:v>
                </c:pt>
                <c:pt idx="8369">
                  <c:v>27522424</c:v>
                </c:pt>
                <c:pt idx="8370">
                  <c:v>4208820</c:v>
                </c:pt>
                <c:pt idx="8371">
                  <c:v>10699488</c:v>
                </c:pt>
                <c:pt idx="8372">
                  <c:v>120245319</c:v>
                </c:pt>
                <c:pt idx="8373">
                  <c:v>232877708</c:v>
                </c:pt>
                <c:pt idx="8374">
                  <c:v>4596672</c:v>
                </c:pt>
                <c:pt idx="8375">
                  <c:v>114858040</c:v>
                </c:pt>
                <c:pt idx="8376">
                  <c:v>76930190</c:v>
                </c:pt>
                <c:pt idx="8377">
                  <c:v>120054306</c:v>
                </c:pt>
                <c:pt idx="8378">
                  <c:v>322961730</c:v>
                </c:pt>
                <c:pt idx="8379">
                  <c:v>2147483647</c:v>
                </c:pt>
                <c:pt idx="8380">
                  <c:v>2147483647</c:v>
                </c:pt>
                <c:pt idx="8381">
                  <c:v>862790656</c:v>
                </c:pt>
                <c:pt idx="8382">
                  <c:v>1347961053</c:v>
                </c:pt>
                <c:pt idx="8383">
                  <c:v>518493584</c:v>
                </c:pt>
                <c:pt idx="8384">
                  <c:v>852431574</c:v>
                </c:pt>
                <c:pt idx="8385">
                  <c:v>800337138</c:v>
                </c:pt>
                <c:pt idx="8386">
                  <c:v>1103712963</c:v>
                </c:pt>
                <c:pt idx="8387">
                  <c:v>1465614625</c:v>
                </c:pt>
                <c:pt idx="8388">
                  <c:v>944419278</c:v>
                </c:pt>
                <c:pt idx="8389">
                  <c:v>1566891</c:v>
                </c:pt>
                <c:pt idx="8390">
                  <c:v>1895585328</c:v>
                </c:pt>
                <c:pt idx="8391">
                  <c:v>371662690</c:v>
                </c:pt>
                <c:pt idx="8392">
                  <c:v>2147483647</c:v>
                </c:pt>
                <c:pt idx="8393">
                  <c:v>2147483647</c:v>
                </c:pt>
                <c:pt idx="8394">
                  <c:v>369967385</c:v>
                </c:pt>
                <c:pt idx="8395">
                  <c:v>1329526611</c:v>
                </c:pt>
                <c:pt idx="8396">
                  <c:v>1907677783</c:v>
                </c:pt>
                <c:pt idx="8397">
                  <c:v>1053805105</c:v>
                </c:pt>
                <c:pt idx="8398">
                  <c:v>1648283296</c:v>
                </c:pt>
                <c:pt idx="8399">
                  <c:v>1182236715</c:v>
                </c:pt>
                <c:pt idx="8400">
                  <c:v>503349980</c:v>
                </c:pt>
                <c:pt idx="8401">
                  <c:v>1088959987</c:v>
                </c:pt>
                <c:pt idx="8402">
                  <c:v>1436293632</c:v>
                </c:pt>
                <c:pt idx="8403">
                  <c:v>2147483647</c:v>
                </c:pt>
                <c:pt idx="8404">
                  <c:v>2147483647</c:v>
                </c:pt>
                <c:pt idx="8405">
                  <c:v>2147483647</c:v>
                </c:pt>
                <c:pt idx="8406">
                  <c:v>2147483647</c:v>
                </c:pt>
                <c:pt idx="8407">
                  <c:v>1418388898</c:v>
                </c:pt>
                <c:pt idx="8408">
                  <c:v>1010841690</c:v>
                </c:pt>
                <c:pt idx="8409">
                  <c:v>2096560545</c:v>
                </c:pt>
                <c:pt idx="8410">
                  <c:v>2147483647</c:v>
                </c:pt>
                <c:pt idx="8411">
                  <c:v>380836104</c:v>
                </c:pt>
                <c:pt idx="8412">
                  <c:v>120098976</c:v>
                </c:pt>
                <c:pt idx="8413">
                  <c:v>61629474</c:v>
                </c:pt>
                <c:pt idx="8414">
                  <c:v>1539225530</c:v>
                </c:pt>
                <c:pt idx="8415">
                  <c:v>1016445312</c:v>
                </c:pt>
                <c:pt idx="8416">
                  <c:v>2147483647</c:v>
                </c:pt>
                <c:pt idx="8417">
                  <c:v>2147483647</c:v>
                </c:pt>
                <c:pt idx="8418">
                  <c:v>2147483647</c:v>
                </c:pt>
                <c:pt idx="8419">
                  <c:v>1999681299</c:v>
                </c:pt>
                <c:pt idx="8420">
                  <c:v>2071409176</c:v>
                </c:pt>
                <c:pt idx="8421">
                  <c:v>709306718</c:v>
                </c:pt>
                <c:pt idx="8422">
                  <c:v>25158900</c:v>
                </c:pt>
                <c:pt idx="8423">
                  <c:v>2147483647</c:v>
                </c:pt>
                <c:pt idx="8424">
                  <c:v>2147483647</c:v>
                </c:pt>
                <c:pt idx="8425">
                  <c:v>1314689364</c:v>
                </c:pt>
                <c:pt idx="8426">
                  <c:v>110819405</c:v>
                </c:pt>
                <c:pt idx="8427">
                  <c:v>2147483647</c:v>
                </c:pt>
                <c:pt idx="8428">
                  <c:v>1458304976</c:v>
                </c:pt>
                <c:pt idx="8429">
                  <c:v>1244921834</c:v>
                </c:pt>
                <c:pt idx="8430">
                  <c:v>1386755528</c:v>
                </c:pt>
                <c:pt idx="8431">
                  <c:v>1435449656</c:v>
                </c:pt>
                <c:pt idx="8432">
                  <c:v>741517713</c:v>
                </c:pt>
                <c:pt idx="8433">
                  <c:v>1572299475</c:v>
                </c:pt>
                <c:pt idx="8434">
                  <c:v>1073996295</c:v>
                </c:pt>
                <c:pt idx="8435">
                  <c:v>1065565303</c:v>
                </c:pt>
                <c:pt idx="8436">
                  <c:v>2147483647</c:v>
                </c:pt>
                <c:pt idx="8437">
                  <c:v>2147483647</c:v>
                </c:pt>
                <c:pt idx="8438">
                  <c:v>2147483647</c:v>
                </c:pt>
                <c:pt idx="8439">
                  <c:v>1390780306</c:v>
                </c:pt>
                <c:pt idx="8440">
                  <c:v>347239221</c:v>
                </c:pt>
                <c:pt idx="8441">
                  <c:v>118304943</c:v>
                </c:pt>
                <c:pt idx="8442">
                  <c:v>65488984</c:v>
                </c:pt>
                <c:pt idx="8443">
                  <c:v>591187956</c:v>
                </c:pt>
                <c:pt idx="8444">
                  <c:v>623363004</c:v>
                </c:pt>
                <c:pt idx="8445">
                  <c:v>187811650</c:v>
                </c:pt>
                <c:pt idx="8446">
                  <c:v>433021293</c:v>
                </c:pt>
                <c:pt idx="8447">
                  <c:v>141241596</c:v>
                </c:pt>
                <c:pt idx="8448">
                  <c:v>2133223695</c:v>
                </c:pt>
                <c:pt idx="8449">
                  <c:v>1973230128</c:v>
                </c:pt>
                <c:pt idx="8450">
                  <c:v>748912532</c:v>
                </c:pt>
                <c:pt idx="8451">
                  <c:v>977396824</c:v>
                </c:pt>
                <c:pt idx="8452">
                  <c:v>1202328034</c:v>
                </c:pt>
                <c:pt idx="8453">
                  <c:v>735953257</c:v>
                </c:pt>
                <c:pt idx="8454">
                  <c:v>687407525</c:v>
                </c:pt>
                <c:pt idx="8455">
                  <c:v>95283552</c:v>
                </c:pt>
                <c:pt idx="8456">
                  <c:v>525740712</c:v>
                </c:pt>
                <c:pt idx="8457">
                  <c:v>1820390870</c:v>
                </c:pt>
                <c:pt idx="8458">
                  <c:v>2147483647</c:v>
                </c:pt>
                <c:pt idx="8459">
                  <c:v>1539185280</c:v>
                </c:pt>
                <c:pt idx="8460">
                  <c:v>1071292636</c:v>
                </c:pt>
                <c:pt idx="8461">
                  <c:v>2147483647</c:v>
                </c:pt>
                <c:pt idx="8462">
                  <c:v>51831033</c:v>
                </c:pt>
                <c:pt idx="8463">
                  <c:v>107699616</c:v>
                </c:pt>
                <c:pt idx="8464">
                  <c:v>745374400</c:v>
                </c:pt>
                <c:pt idx="8465">
                  <c:v>915229696</c:v>
                </c:pt>
                <c:pt idx="8466">
                  <c:v>2066423550</c:v>
                </c:pt>
                <c:pt idx="8467">
                  <c:v>248038784</c:v>
                </c:pt>
                <c:pt idx="8468">
                  <c:v>103985044</c:v>
                </c:pt>
                <c:pt idx="8469">
                  <c:v>28818636</c:v>
                </c:pt>
                <c:pt idx="8470">
                  <c:v>2140197312</c:v>
                </c:pt>
                <c:pt idx="8471">
                  <c:v>413623311</c:v>
                </c:pt>
                <c:pt idx="8472">
                  <c:v>1535474130</c:v>
                </c:pt>
                <c:pt idx="8473">
                  <c:v>961007472</c:v>
                </c:pt>
                <c:pt idx="8474">
                  <c:v>1143272832</c:v>
                </c:pt>
                <c:pt idx="8475">
                  <c:v>609401652</c:v>
                </c:pt>
                <c:pt idx="8476">
                  <c:v>93156239</c:v>
                </c:pt>
                <c:pt idx="8477">
                  <c:v>79510514</c:v>
                </c:pt>
                <c:pt idx="8478">
                  <c:v>147946920</c:v>
                </c:pt>
                <c:pt idx="8479">
                  <c:v>165484000</c:v>
                </c:pt>
                <c:pt idx="8480">
                  <c:v>188446938</c:v>
                </c:pt>
                <c:pt idx="8481">
                  <c:v>63274580</c:v>
                </c:pt>
                <c:pt idx="8482">
                  <c:v>107811834</c:v>
                </c:pt>
                <c:pt idx="8483">
                  <c:v>508924350</c:v>
                </c:pt>
                <c:pt idx="8484">
                  <c:v>1219505364</c:v>
                </c:pt>
                <c:pt idx="8485">
                  <c:v>83169900</c:v>
                </c:pt>
                <c:pt idx="8486">
                  <c:v>234532648</c:v>
                </c:pt>
                <c:pt idx="8487">
                  <c:v>229265680</c:v>
                </c:pt>
                <c:pt idx="8488">
                  <c:v>94905318</c:v>
                </c:pt>
                <c:pt idx="8489">
                  <c:v>270693332</c:v>
                </c:pt>
                <c:pt idx="8490">
                  <c:v>2147483647</c:v>
                </c:pt>
                <c:pt idx="8491">
                  <c:v>1760658822</c:v>
                </c:pt>
                <c:pt idx="8492">
                  <c:v>352718595</c:v>
                </c:pt>
                <c:pt idx="8493">
                  <c:v>149644792</c:v>
                </c:pt>
                <c:pt idx="8494">
                  <c:v>105237692</c:v>
                </c:pt>
                <c:pt idx="8495">
                  <c:v>1191963118</c:v>
                </c:pt>
                <c:pt idx="8496">
                  <c:v>1172834052</c:v>
                </c:pt>
                <c:pt idx="8497">
                  <c:v>1684148400</c:v>
                </c:pt>
                <c:pt idx="8498">
                  <c:v>52918105</c:v>
                </c:pt>
                <c:pt idx="8499">
                  <c:v>239975100</c:v>
                </c:pt>
                <c:pt idx="8500">
                  <c:v>36204795</c:v>
                </c:pt>
                <c:pt idx="8501">
                  <c:v>137100896</c:v>
                </c:pt>
                <c:pt idx="8502">
                  <c:v>100719255</c:v>
                </c:pt>
                <c:pt idx="8503">
                  <c:v>889290576</c:v>
                </c:pt>
                <c:pt idx="8504">
                  <c:v>1269853137</c:v>
                </c:pt>
                <c:pt idx="8505">
                  <c:v>1332491888</c:v>
                </c:pt>
                <c:pt idx="8506">
                  <c:v>201683952</c:v>
                </c:pt>
                <c:pt idx="8507">
                  <c:v>634204116</c:v>
                </c:pt>
                <c:pt idx="8508">
                  <c:v>13044780</c:v>
                </c:pt>
                <c:pt idx="8509">
                  <c:v>47885900</c:v>
                </c:pt>
                <c:pt idx="8510">
                  <c:v>1405605040</c:v>
                </c:pt>
                <c:pt idx="8511">
                  <c:v>877312644</c:v>
                </c:pt>
                <c:pt idx="8512">
                  <c:v>850485456</c:v>
                </c:pt>
                <c:pt idx="8513">
                  <c:v>533420720</c:v>
                </c:pt>
                <c:pt idx="8514">
                  <c:v>901541925</c:v>
                </c:pt>
                <c:pt idx="8515">
                  <c:v>46184675</c:v>
                </c:pt>
                <c:pt idx="8516">
                  <c:v>1806391940</c:v>
                </c:pt>
                <c:pt idx="8517">
                  <c:v>1736892834</c:v>
                </c:pt>
                <c:pt idx="8518">
                  <c:v>66617162</c:v>
                </c:pt>
                <c:pt idx="8519">
                  <c:v>116402370</c:v>
                </c:pt>
                <c:pt idx="8520">
                  <c:v>76020705</c:v>
                </c:pt>
                <c:pt idx="8521">
                  <c:v>155162919</c:v>
                </c:pt>
                <c:pt idx="8522">
                  <c:v>509706303</c:v>
                </c:pt>
                <c:pt idx="8523">
                  <c:v>1956187187</c:v>
                </c:pt>
                <c:pt idx="8524">
                  <c:v>1553891472</c:v>
                </c:pt>
                <c:pt idx="8525">
                  <c:v>348484752</c:v>
                </c:pt>
                <c:pt idx="8526">
                  <c:v>2024646870</c:v>
                </c:pt>
                <c:pt idx="8527">
                  <c:v>400671726</c:v>
                </c:pt>
                <c:pt idx="8528">
                  <c:v>721293176</c:v>
                </c:pt>
                <c:pt idx="8529">
                  <c:v>673330120</c:v>
                </c:pt>
                <c:pt idx="8530">
                  <c:v>1028038592</c:v>
                </c:pt>
                <c:pt idx="8531">
                  <c:v>2008737750</c:v>
                </c:pt>
                <c:pt idx="8532">
                  <c:v>550060126</c:v>
                </c:pt>
                <c:pt idx="8533">
                  <c:v>230973600</c:v>
                </c:pt>
                <c:pt idx="8534">
                  <c:v>423387650</c:v>
                </c:pt>
                <c:pt idx="8535">
                  <c:v>545301173</c:v>
                </c:pt>
                <c:pt idx="8536">
                  <c:v>156868128</c:v>
                </c:pt>
                <c:pt idx="8537">
                  <c:v>45001936</c:v>
                </c:pt>
                <c:pt idx="8538">
                  <c:v>1245495048</c:v>
                </c:pt>
                <c:pt idx="8539">
                  <c:v>126631692</c:v>
                </c:pt>
                <c:pt idx="8540">
                  <c:v>696783451</c:v>
                </c:pt>
                <c:pt idx="8541">
                  <c:v>508653350</c:v>
                </c:pt>
                <c:pt idx="8542">
                  <c:v>51872195</c:v>
                </c:pt>
                <c:pt idx="8543">
                  <c:v>2147483647</c:v>
                </c:pt>
                <c:pt idx="8544">
                  <c:v>8754801</c:v>
                </c:pt>
                <c:pt idx="8545">
                  <c:v>2145812484</c:v>
                </c:pt>
                <c:pt idx="8546">
                  <c:v>1725165325</c:v>
                </c:pt>
                <c:pt idx="8547">
                  <c:v>1345718166</c:v>
                </c:pt>
                <c:pt idx="8548">
                  <c:v>2147483647</c:v>
                </c:pt>
                <c:pt idx="8549">
                  <c:v>721383063</c:v>
                </c:pt>
                <c:pt idx="8550">
                  <c:v>910802160</c:v>
                </c:pt>
                <c:pt idx="8551">
                  <c:v>1291948361</c:v>
                </c:pt>
                <c:pt idx="8552">
                  <c:v>297693786</c:v>
                </c:pt>
                <c:pt idx="8553">
                  <c:v>330703704</c:v>
                </c:pt>
                <c:pt idx="8554">
                  <c:v>737234916</c:v>
                </c:pt>
                <c:pt idx="8555">
                  <c:v>1634034896</c:v>
                </c:pt>
                <c:pt idx="8556">
                  <c:v>756947337</c:v>
                </c:pt>
                <c:pt idx="8557">
                  <c:v>2147483647</c:v>
                </c:pt>
                <c:pt idx="8558">
                  <c:v>2147483647</c:v>
                </c:pt>
                <c:pt idx="8559">
                  <c:v>2003769404</c:v>
                </c:pt>
                <c:pt idx="8560">
                  <c:v>787333815</c:v>
                </c:pt>
                <c:pt idx="8561">
                  <c:v>2147483647</c:v>
                </c:pt>
                <c:pt idx="8562">
                  <c:v>2147483647</c:v>
                </c:pt>
                <c:pt idx="8563">
                  <c:v>1008165510</c:v>
                </c:pt>
                <c:pt idx="8564">
                  <c:v>1914309320</c:v>
                </c:pt>
                <c:pt idx="8565">
                  <c:v>395032060</c:v>
                </c:pt>
                <c:pt idx="8566">
                  <c:v>2147483647</c:v>
                </c:pt>
                <c:pt idx="8567">
                  <c:v>2147483647</c:v>
                </c:pt>
                <c:pt idx="8568">
                  <c:v>827876473</c:v>
                </c:pt>
                <c:pt idx="8569">
                  <c:v>1475889044</c:v>
                </c:pt>
                <c:pt idx="8570">
                  <c:v>2147483647</c:v>
                </c:pt>
                <c:pt idx="8571">
                  <c:v>962392489</c:v>
                </c:pt>
                <c:pt idx="8572">
                  <c:v>1371540885</c:v>
                </c:pt>
                <c:pt idx="8573">
                  <c:v>270599868</c:v>
                </c:pt>
                <c:pt idx="8574">
                  <c:v>2147483647</c:v>
                </c:pt>
                <c:pt idx="8575">
                  <c:v>2147483647</c:v>
                </c:pt>
                <c:pt idx="8576">
                  <c:v>374297364</c:v>
                </c:pt>
                <c:pt idx="8577">
                  <c:v>537506697</c:v>
                </c:pt>
                <c:pt idx="8578">
                  <c:v>302054682</c:v>
                </c:pt>
                <c:pt idx="8579">
                  <c:v>296290750</c:v>
                </c:pt>
                <c:pt idx="8580">
                  <c:v>41695437</c:v>
                </c:pt>
                <c:pt idx="8581">
                  <c:v>38430535</c:v>
                </c:pt>
                <c:pt idx="8582">
                  <c:v>2004810</c:v>
                </c:pt>
                <c:pt idx="8583">
                  <c:v>47328030</c:v>
                </c:pt>
                <c:pt idx="8584">
                  <c:v>168777360</c:v>
                </c:pt>
                <c:pt idx="8585">
                  <c:v>243664090</c:v>
                </c:pt>
                <c:pt idx="8586">
                  <c:v>36894898</c:v>
                </c:pt>
                <c:pt idx="8587">
                  <c:v>75958771</c:v>
                </c:pt>
                <c:pt idx="8588">
                  <c:v>29087986</c:v>
                </c:pt>
                <c:pt idx="8589">
                  <c:v>25985582</c:v>
                </c:pt>
                <c:pt idx="8590">
                  <c:v>279048980</c:v>
                </c:pt>
                <c:pt idx="8591">
                  <c:v>35021160</c:v>
                </c:pt>
                <c:pt idx="8592">
                  <c:v>110453760</c:v>
                </c:pt>
                <c:pt idx="8593">
                  <c:v>254182544</c:v>
                </c:pt>
                <c:pt idx="8594">
                  <c:v>215892905</c:v>
                </c:pt>
                <c:pt idx="8595">
                  <c:v>48376350</c:v>
                </c:pt>
                <c:pt idx="8596">
                  <c:v>141941902</c:v>
                </c:pt>
                <c:pt idx="8597">
                  <c:v>47295960</c:v>
                </c:pt>
                <c:pt idx="8598">
                  <c:v>37115442</c:v>
                </c:pt>
                <c:pt idx="8599">
                  <c:v>48536800</c:v>
                </c:pt>
                <c:pt idx="8600">
                  <c:v>34421464</c:v>
                </c:pt>
                <c:pt idx="8601">
                  <c:v>113738611</c:v>
                </c:pt>
                <c:pt idx="8602">
                  <c:v>14445452</c:v>
                </c:pt>
                <c:pt idx="8603">
                  <c:v>46586580</c:v>
                </c:pt>
                <c:pt idx="8604">
                  <c:v>104100360</c:v>
                </c:pt>
                <c:pt idx="8605">
                  <c:v>956595473</c:v>
                </c:pt>
                <c:pt idx="8606">
                  <c:v>563781152</c:v>
                </c:pt>
                <c:pt idx="8607">
                  <c:v>242519739</c:v>
                </c:pt>
                <c:pt idx="8608">
                  <c:v>68431230</c:v>
                </c:pt>
                <c:pt idx="8609">
                  <c:v>80746512</c:v>
                </c:pt>
                <c:pt idx="8610">
                  <c:v>464217914</c:v>
                </c:pt>
                <c:pt idx="8611">
                  <c:v>56995480</c:v>
                </c:pt>
                <c:pt idx="8612">
                  <c:v>786645664</c:v>
                </c:pt>
                <c:pt idx="8613">
                  <c:v>731327445</c:v>
                </c:pt>
                <c:pt idx="8614">
                  <c:v>1925769720</c:v>
                </c:pt>
                <c:pt idx="8615">
                  <c:v>613225043</c:v>
                </c:pt>
                <c:pt idx="8616">
                  <c:v>132553692</c:v>
                </c:pt>
                <c:pt idx="8617">
                  <c:v>84968520</c:v>
                </c:pt>
                <c:pt idx="8618">
                  <c:v>770220366</c:v>
                </c:pt>
                <c:pt idx="8619">
                  <c:v>383656702</c:v>
                </c:pt>
                <c:pt idx="8620">
                  <c:v>55768335</c:v>
                </c:pt>
                <c:pt idx="8621">
                  <c:v>732397677</c:v>
                </c:pt>
                <c:pt idx="8622">
                  <c:v>1780251501</c:v>
                </c:pt>
                <c:pt idx="8623">
                  <c:v>2147483647</c:v>
                </c:pt>
                <c:pt idx="8624">
                  <c:v>110560615</c:v>
                </c:pt>
                <c:pt idx="8625">
                  <c:v>131072040</c:v>
                </c:pt>
                <c:pt idx="8626">
                  <c:v>23377072</c:v>
                </c:pt>
                <c:pt idx="8627">
                  <c:v>399268800</c:v>
                </c:pt>
                <c:pt idx="8628">
                  <c:v>195692680</c:v>
                </c:pt>
                <c:pt idx="8629">
                  <c:v>141761929</c:v>
                </c:pt>
                <c:pt idx="8630">
                  <c:v>653461517</c:v>
                </c:pt>
                <c:pt idx="8631">
                  <c:v>279505325</c:v>
                </c:pt>
                <c:pt idx="8632">
                  <c:v>192172400</c:v>
                </c:pt>
                <c:pt idx="8633">
                  <c:v>277171950</c:v>
                </c:pt>
                <c:pt idx="8634">
                  <c:v>811250640</c:v>
                </c:pt>
                <c:pt idx="8635">
                  <c:v>1050426836</c:v>
                </c:pt>
                <c:pt idx="8636">
                  <c:v>187421718</c:v>
                </c:pt>
                <c:pt idx="8637">
                  <c:v>287034048</c:v>
                </c:pt>
                <c:pt idx="8638">
                  <c:v>40784640</c:v>
                </c:pt>
                <c:pt idx="8639">
                  <c:v>86631028</c:v>
                </c:pt>
                <c:pt idx="8640">
                  <c:v>593652969</c:v>
                </c:pt>
                <c:pt idx="8641">
                  <c:v>85683359</c:v>
                </c:pt>
                <c:pt idx="8642">
                  <c:v>1395537738</c:v>
                </c:pt>
                <c:pt idx="8643">
                  <c:v>140054436</c:v>
                </c:pt>
                <c:pt idx="8644">
                  <c:v>30540750</c:v>
                </c:pt>
                <c:pt idx="8645">
                  <c:v>258490181</c:v>
                </c:pt>
                <c:pt idx="8646">
                  <c:v>84420028</c:v>
                </c:pt>
                <c:pt idx="8647">
                  <c:v>970588798</c:v>
                </c:pt>
                <c:pt idx="8648">
                  <c:v>937522794</c:v>
                </c:pt>
                <c:pt idx="8649">
                  <c:v>47966208</c:v>
                </c:pt>
                <c:pt idx="8650">
                  <c:v>248273614</c:v>
                </c:pt>
                <c:pt idx="8651">
                  <c:v>212276400</c:v>
                </c:pt>
                <c:pt idx="8652">
                  <c:v>76718590</c:v>
                </c:pt>
                <c:pt idx="8653">
                  <c:v>135392973</c:v>
                </c:pt>
                <c:pt idx="8654">
                  <c:v>108287558</c:v>
                </c:pt>
                <c:pt idx="8655">
                  <c:v>137318303</c:v>
                </c:pt>
                <c:pt idx="8656">
                  <c:v>135183912</c:v>
                </c:pt>
                <c:pt idx="8657">
                  <c:v>16142796</c:v>
                </c:pt>
                <c:pt idx="8658">
                  <c:v>150601470</c:v>
                </c:pt>
                <c:pt idx="8659">
                  <c:v>135278976</c:v>
                </c:pt>
                <c:pt idx="8660">
                  <c:v>117170955</c:v>
                </c:pt>
                <c:pt idx="8661">
                  <c:v>234154424</c:v>
                </c:pt>
                <c:pt idx="8662">
                  <c:v>93926088</c:v>
                </c:pt>
                <c:pt idx="8663">
                  <c:v>84479868</c:v>
                </c:pt>
                <c:pt idx="8664">
                  <c:v>140139720</c:v>
                </c:pt>
                <c:pt idx="8665">
                  <c:v>36499786</c:v>
                </c:pt>
                <c:pt idx="8666">
                  <c:v>41543243</c:v>
                </c:pt>
                <c:pt idx="8667">
                  <c:v>77629184</c:v>
                </c:pt>
                <c:pt idx="8668">
                  <c:v>488595555</c:v>
                </c:pt>
                <c:pt idx="8669">
                  <c:v>123028794</c:v>
                </c:pt>
                <c:pt idx="8670">
                  <c:v>492458100</c:v>
                </c:pt>
                <c:pt idx="8671">
                  <c:v>1082845270</c:v>
                </c:pt>
                <c:pt idx="8672">
                  <c:v>1791900000</c:v>
                </c:pt>
                <c:pt idx="8673">
                  <c:v>337712859</c:v>
                </c:pt>
                <c:pt idx="8674">
                  <c:v>43258860</c:v>
                </c:pt>
                <c:pt idx="8675">
                  <c:v>358702110</c:v>
                </c:pt>
                <c:pt idx="8676">
                  <c:v>253647188</c:v>
                </c:pt>
                <c:pt idx="8677">
                  <c:v>516253518</c:v>
                </c:pt>
                <c:pt idx="8678">
                  <c:v>83257980</c:v>
                </c:pt>
                <c:pt idx="8679">
                  <c:v>93187539</c:v>
                </c:pt>
                <c:pt idx="8680">
                  <c:v>56466059</c:v>
                </c:pt>
                <c:pt idx="8681">
                  <c:v>177078915</c:v>
                </c:pt>
                <c:pt idx="8682">
                  <c:v>114473310</c:v>
                </c:pt>
                <c:pt idx="8683">
                  <c:v>63836408</c:v>
                </c:pt>
                <c:pt idx="8684">
                  <c:v>31832216</c:v>
                </c:pt>
                <c:pt idx="8685">
                  <c:v>186186861</c:v>
                </c:pt>
                <c:pt idx="8686">
                  <c:v>29671620</c:v>
                </c:pt>
                <c:pt idx="8687">
                  <c:v>341403531</c:v>
                </c:pt>
                <c:pt idx="8688">
                  <c:v>49914760</c:v>
                </c:pt>
                <c:pt idx="8689">
                  <c:v>659061720</c:v>
                </c:pt>
                <c:pt idx="8690">
                  <c:v>394230925</c:v>
                </c:pt>
                <c:pt idx="8691">
                  <c:v>179447261</c:v>
                </c:pt>
                <c:pt idx="8692">
                  <c:v>85498365</c:v>
                </c:pt>
                <c:pt idx="8693">
                  <c:v>474074050</c:v>
                </c:pt>
                <c:pt idx="8694">
                  <c:v>670980065</c:v>
                </c:pt>
                <c:pt idx="8695">
                  <c:v>568456796</c:v>
                </c:pt>
                <c:pt idx="8696">
                  <c:v>22365728</c:v>
                </c:pt>
                <c:pt idx="8697">
                  <c:v>183654310</c:v>
                </c:pt>
                <c:pt idx="8698">
                  <c:v>74704554</c:v>
                </c:pt>
                <c:pt idx="8699">
                  <c:v>300165550</c:v>
                </c:pt>
                <c:pt idx="8700">
                  <c:v>25271592</c:v>
                </c:pt>
                <c:pt idx="8701">
                  <c:v>52081190</c:v>
                </c:pt>
                <c:pt idx="8702">
                  <c:v>58765635</c:v>
                </c:pt>
                <c:pt idx="8703">
                  <c:v>186466410</c:v>
                </c:pt>
                <c:pt idx="8704">
                  <c:v>914767840</c:v>
                </c:pt>
                <c:pt idx="8705">
                  <c:v>35086482</c:v>
                </c:pt>
                <c:pt idx="8706">
                  <c:v>1243672378</c:v>
                </c:pt>
                <c:pt idx="8707">
                  <c:v>215413783</c:v>
                </c:pt>
                <c:pt idx="8708">
                  <c:v>1020252792</c:v>
                </c:pt>
                <c:pt idx="8709">
                  <c:v>825829136</c:v>
                </c:pt>
                <c:pt idx="8710">
                  <c:v>556462733</c:v>
                </c:pt>
                <c:pt idx="8711">
                  <c:v>8544555</c:v>
                </c:pt>
                <c:pt idx="8712">
                  <c:v>210371037</c:v>
                </c:pt>
                <c:pt idx="8713">
                  <c:v>84874909</c:v>
                </c:pt>
                <c:pt idx="8714">
                  <c:v>743908734</c:v>
                </c:pt>
                <c:pt idx="8715">
                  <c:v>1062991865</c:v>
                </c:pt>
                <c:pt idx="8716">
                  <c:v>106160832</c:v>
                </c:pt>
                <c:pt idx="8717">
                  <c:v>395048520</c:v>
                </c:pt>
                <c:pt idx="8718">
                  <c:v>41324652</c:v>
                </c:pt>
                <c:pt idx="8719">
                  <c:v>58092012</c:v>
                </c:pt>
                <c:pt idx="8720">
                  <c:v>37039368</c:v>
                </c:pt>
                <c:pt idx="8721">
                  <c:v>81735626</c:v>
                </c:pt>
                <c:pt idx="8722">
                  <c:v>180451583</c:v>
                </c:pt>
                <c:pt idx="8723">
                  <c:v>1375735872</c:v>
                </c:pt>
                <c:pt idx="8724">
                  <c:v>108214656</c:v>
                </c:pt>
                <c:pt idx="8725">
                  <c:v>185232648</c:v>
                </c:pt>
                <c:pt idx="8726">
                  <c:v>260597022</c:v>
                </c:pt>
                <c:pt idx="8727">
                  <c:v>643847946</c:v>
                </c:pt>
                <c:pt idx="8728">
                  <c:v>176637360</c:v>
                </c:pt>
                <c:pt idx="8729">
                  <c:v>30573270</c:v>
                </c:pt>
                <c:pt idx="8730">
                  <c:v>291544038</c:v>
                </c:pt>
                <c:pt idx="8731">
                  <c:v>157241215</c:v>
                </c:pt>
                <c:pt idx="8732">
                  <c:v>217219350</c:v>
                </c:pt>
                <c:pt idx="8733">
                  <c:v>125872395</c:v>
                </c:pt>
                <c:pt idx="8734">
                  <c:v>298182012</c:v>
                </c:pt>
                <c:pt idx="8735">
                  <c:v>55786612</c:v>
                </c:pt>
                <c:pt idx="8736">
                  <c:v>202905480</c:v>
                </c:pt>
                <c:pt idx="8737">
                  <c:v>20879124</c:v>
                </c:pt>
                <c:pt idx="8738">
                  <c:v>56056464</c:v>
                </c:pt>
                <c:pt idx="8739">
                  <c:v>89011440</c:v>
                </c:pt>
                <c:pt idx="8740">
                  <c:v>2006288270</c:v>
                </c:pt>
                <c:pt idx="8741">
                  <c:v>45953573</c:v>
                </c:pt>
                <c:pt idx="8742">
                  <c:v>1194739260</c:v>
                </c:pt>
                <c:pt idx="8743">
                  <c:v>267306592</c:v>
                </c:pt>
                <c:pt idx="8744">
                  <c:v>986469100</c:v>
                </c:pt>
                <c:pt idx="8745">
                  <c:v>41998767</c:v>
                </c:pt>
                <c:pt idx="8746">
                  <c:v>169569400</c:v>
                </c:pt>
                <c:pt idx="8747">
                  <c:v>19415214</c:v>
                </c:pt>
                <c:pt idx="8748">
                  <c:v>31865625</c:v>
                </c:pt>
                <c:pt idx="8749">
                  <c:v>34286175</c:v>
                </c:pt>
                <c:pt idx="8750">
                  <c:v>410936500</c:v>
                </c:pt>
                <c:pt idx="8751">
                  <c:v>74010255</c:v>
                </c:pt>
                <c:pt idx="8752">
                  <c:v>428974156</c:v>
                </c:pt>
                <c:pt idx="8753">
                  <c:v>69233875</c:v>
                </c:pt>
                <c:pt idx="8754">
                  <c:v>36905322</c:v>
                </c:pt>
                <c:pt idx="8755">
                  <c:v>238143004</c:v>
                </c:pt>
                <c:pt idx="8756">
                  <c:v>648606244</c:v>
                </c:pt>
                <c:pt idx="8757">
                  <c:v>1084276530</c:v>
                </c:pt>
                <c:pt idx="8758">
                  <c:v>1727391360</c:v>
                </c:pt>
                <c:pt idx="8759">
                  <c:v>1411805209</c:v>
                </c:pt>
                <c:pt idx="8760">
                  <c:v>43310025</c:v>
                </c:pt>
                <c:pt idx="8761">
                  <c:v>60969481</c:v>
                </c:pt>
                <c:pt idx="8762">
                  <c:v>804966204</c:v>
                </c:pt>
                <c:pt idx="8763">
                  <c:v>91390788</c:v>
                </c:pt>
                <c:pt idx="8764">
                  <c:v>20199474</c:v>
                </c:pt>
                <c:pt idx="8765">
                  <c:v>613036213</c:v>
                </c:pt>
                <c:pt idx="8766">
                  <c:v>25321565</c:v>
                </c:pt>
                <c:pt idx="8767">
                  <c:v>15307950</c:v>
                </c:pt>
                <c:pt idx="8768">
                  <c:v>22610290</c:v>
                </c:pt>
                <c:pt idx="8769">
                  <c:v>248894126</c:v>
                </c:pt>
                <c:pt idx="8770">
                  <c:v>469377062</c:v>
                </c:pt>
                <c:pt idx="8771">
                  <c:v>48433522</c:v>
                </c:pt>
                <c:pt idx="8772">
                  <c:v>37894064</c:v>
                </c:pt>
                <c:pt idx="8773">
                  <c:v>25271925</c:v>
                </c:pt>
                <c:pt idx="8774">
                  <c:v>72069016</c:v>
                </c:pt>
                <c:pt idx="8775">
                  <c:v>26781562</c:v>
                </c:pt>
                <c:pt idx="8776">
                  <c:v>666407104</c:v>
                </c:pt>
                <c:pt idx="8777">
                  <c:v>40968119</c:v>
                </c:pt>
                <c:pt idx="8778">
                  <c:v>290284200</c:v>
                </c:pt>
                <c:pt idx="8779">
                  <c:v>770472150</c:v>
                </c:pt>
                <c:pt idx="8780">
                  <c:v>59505760</c:v>
                </c:pt>
                <c:pt idx="8781">
                  <c:v>209514855</c:v>
                </c:pt>
                <c:pt idx="8782">
                  <c:v>155812510</c:v>
                </c:pt>
                <c:pt idx="8783">
                  <c:v>494368644</c:v>
                </c:pt>
                <c:pt idx="8784">
                  <c:v>414759795</c:v>
                </c:pt>
                <c:pt idx="8785">
                  <c:v>124215264</c:v>
                </c:pt>
                <c:pt idx="8786">
                  <c:v>411072929</c:v>
                </c:pt>
                <c:pt idx="8787">
                  <c:v>63974526</c:v>
                </c:pt>
                <c:pt idx="8788">
                  <c:v>22299250</c:v>
                </c:pt>
                <c:pt idx="8789">
                  <c:v>214857940</c:v>
                </c:pt>
                <c:pt idx="8790">
                  <c:v>40987602</c:v>
                </c:pt>
                <c:pt idx="8791">
                  <c:v>27263398</c:v>
                </c:pt>
                <c:pt idx="8792">
                  <c:v>11328465</c:v>
                </c:pt>
                <c:pt idx="8793">
                  <c:v>26417305</c:v>
                </c:pt>
                <c:pt idx="8794">
                  <c:v>63560868</c:v>
                </c:pt>
                <c:pt idx="8795">
                  <c:v>111073788</c:v>
                </c:pt>
                <c:pt idx="8796">
                  <c:v>648640198</c:v>
                </c:pt>
                <c:pt idx="8797">
                  <c:v>35744720</c:v>
                </c:pt>
                <c:pt idx="8798">
                  <c:v>26241302</c:v>
                </c:pt>
                <c:pt idx="8799">
                  <c:v>282502719</c:v>
                </c:pt>
                <c:pt idx="8800">
                  <c:v>27328080</c:v>
                </c:pt>
                <c:pt idx="8801">
                  <c:v>74085160</c:v>
                </c:pt>
                <c:pt idx="8802">
                  <c:v>40377792</c:v>
                </c:pt>
                <c:pt idx="8803">
                  <c:v>27800640</c:v>
                </c:pt>
                <c:pt idx="8804">
                  <c:v>39874520</c:v>
                </c:pt>
                <c:pt idx="8805">
                  <c:v>1162031808</c:v>
                </c:pt>
                <c:pt idx="8806">
                  <c:v>118673828</c:v>
                </c:pt>
                <c:pt idx="8807">
                  <c:v>251724372</c:v>
                </c:pt>
                <c:pt idx="8808">
                  <c:v>61053872</c:v>
                </c:pt>
                <c:pt idx="8809">
                  <c:v>32582010</c:v>
                </c:pt>
                <c:pt idx="8810">
                  <c:v>5575840</c:v>
                </c:pt>
                <c:pt idx="8811">
                  <c:v>42806541</c:v>
                </c:pt>
                <c:pt idx="8812">
                  <c:v>689485896</c:v>
                </c:pt>
                <c:pt idx="8813">
                  <c:v>29207792</c:v>
                </c:pt>
                <c:pt idx="8814">
                  <c:v>22200640</c:v>
                </c:pt>
                <c:pt idx="8815">
                  <c:v>22161744</c:v>
                </c:pt>
                <c:pt idx="8816">
                  <c:v>46486126</c:v>
                </c:pt>
                <c:pt idx="8817">
                  <c:v>67375360</c:v>
                </c:pt>
                <c:pt idx="8818">
                  <c:v>19659160</c:v>
                </c:pt>
                <c:pt idx="8819">
                  <c:v>64990400</c:v>
                </c:pt>
                <c:pt idx="8820">
                  <c:v>57669695</c:v>
                </c:pt>
                <c:pt idx="8821">
                  <c:v>220579850</c:v>
                </c:pt>
                <c:pt idx="8822">
                  <c:v>4720800</c:v>
                </c:pt>
                <c:pt idx="8823">
                  <c:v>28293588</c:v>
                </c:pt>
                <c:pt idx="8824">
                  <c:v>169204290</c:v>
                </c:pt>
                <c:pt idx="8825">
                  <c:v>1847185902</c:v>
                </c:pt>
                <c:pt idx="8826">
                  <c:v>105136790</c:v>
                </c:pt>
                <c:pt idx="8827">
                  <c:v>31629860</c:v>
                </c:pt>
                <c:pt idx="8828">
                  <c:v>96339119</c:v>
                </c:pt>
                <c:pt idx="8829">
                  <c:v>122183061</c:v>
                </c:pt>
                <c:pt idx="8830">
                  <c:v>585824700</c:v>
                </c:pt>
                <c:pt idx="8831">
                  <c:v>19392573</c:v>
                </c:pt>
                <c:pt idx="8832">
                  <c:v>134377138</c:v>
                </c:pt>
                <c:pt idx="8833">
                  <c:v>35722374</c:v>
                </c:pt>
                <c:pt idx="8834">
                  <c:v>94485210</c:v>
                </c:pt>
                <c:pt idx="8835">
                  <c:v>168931000</c:v>
                </c:pt>
                <c:pt idx="8836">
                  <c:v>632695120</c:v>
                </c:pt>
                <c:pt idx="8837">
                  <c:v>358608140</c:v>
                </c:pt>
                <c:pt idx="8838">
                  <c:v>1574494740</c:v>
                </c:pt>
                <c:pt idx="8839">
                  <c:v>334040700</c:v>
                </c:pt>
                <c:pt idx="8840">
                  <c:v>483216426</c:v>
                </c:pt>
                <c:pt idx="8841">
                  <c:v>308961288</c:v>
                </c:pt>
                <c:pt idx="8842">
                  <c:v>567497304</c:v>
                </c:pt>
                <c:pt idx="8843">
                  <c:v>90169660</c:v>
                </c:pt>
                <c:pt idx="8844">
                  <c:v>204961197</c:v>
                </c:pt>
                <c:pt idx="8845">
                  <c:v>68147968</c:v>
                </c:pt>
                <c:pt idx="8846">
                  <c:v>136489215</c:v>
                </c:pt>
                <c:pt idx="8847">
                  <c:v>47299840</c:v>
                </c:pt>
                <c:pt idx="8848">
                  <c:v>320961166</c:v>
                </c:pt>
                <c:pt idx="8849">
                  <c:v>12264651</c:v>
                </c:pt>
                <c:pt idx="8850">
                  <c:v>713506024</c:v>
                </c:pt>
                <c:pt idx="8851">
                  <c:v>933406636</c:v>
                </c:pt>
                <c:pt idx="8852">
                  <c:v>264327297</c:v>
                </c:pt>
                <c:pt idx="8853">
                  <c:v>254129855</c:v>
                </c:pt>
                <c:pt idx="8854">
                  <c:v>196179752</c:v>
                </c:pt>
                <c:pt idx="8855">
                  <c:v>1046237570</c:v>
                </c:pt>
                <c:pt idx="8856">
                  <c:v>40994957</c:v>
                </c:pt>
                <c:pt idx="8857">
                  <c:v>1275119085</c:v>
                </c:pt>
                <c:pt idx="8858">
                  <c:v>770877452</c:v>
                </c:pt>
                <c:pt idx="8859">
                  <c:v>172406095</c:v>
                </c:pt>
                <c:pt idx="8860">
                  <c:v>363927228</c:v>
                </c:pt>
                <c:pt idx="8861">
                  <c:v>152800461</c:v>
                </c:pt>
                <c:pt idx="8862">
                  <c:v>624985925</c:v>
                </c:pt>
                <c:pt idx="8863">
                  <c:v>799356608</c:v>
                </c:pt>
                <c:pt idx="8864">
                  <c:v>1168279200</c:v>
                </c:pt>
                <c:pt idx="8865">
                  <c:v>1299891360</c:v>
                </c:pt>
                <c:pt idx="8866">
                  <c:v>816358671</c:v>
                </c:pt>
                <c:pt idx="8867">
                  <c:v>194507280</c:v>
                </c:pt>
                <c:pt idx="8868">
                  <c:v>1122807014</c:v>
                </c:pt>
                <c:pt idx="8869">
                  <c:v>716089248</c:v>
                </c:pt>
                <c:pt idx="8870">
                  <c:v>210793821</c:v>
                </c:pt>
                <c:pt idx="8871">
                  <c:v>1710015853</c:v>
                </c:pt>
                <c:pt idx="8872">
                  <c:v>282402995</c:v>
                </c:pt>
                <c:pt idx="8873">
                  <c:v>425649360</c:v>
                </c:pt>
                <c:pt idx="8874">
                  <c:v>200543784</c:v>
                </c:pt>
                <c:pt idx="8875">
                  <c:v>60393292</c:v>
                </c:pt>
                <c:pt idx="8876">
                  <c:v>315076208</c:v>
                </c:pt>
                <c:pt idx="8877">
                  <c:v>384722032</c:v>
                </c:pt>
                <c:pt idx="8878">
                  <c:v>12657792</c:v>
                </c:pt>
                <c:pt idx="8879">
                  <c:v>75971196</c:v>
                </c:pt>
                <c:pt idx="8880">
                  <c:v>504119001</c:v>
                </c:pt>
                <c:pt idx="8881">
                  <c:v>1050885073</c:v>
                </c:pt>
                <c:pt idx="8882">
                  <c:v>517367640</c:v>
                </c:pt>
                <c:pt idx="8883">
                  <c:v>789523926</c:v>
                </c:pt>
                <c:pt idx="8884">
                  <c:v>54503456</c:v>
                </c:pt>
                <c:pt idx="8885">
                  <c:v>10927383</c:v>
                </c:pt>
                <c:pt idx="8886">
                  <c:v>332273782</c:v>
                </c:pt>
                <c:pt idx="8887">
                  <c:v>273030228</c:v>
                </c:pt>
                <c:pt idx="8888">
                  <c:v>185134320</c:v>
                </c:pt>
                <c:pt idx="8889">
                  <c:v>282256800</c:v>
                </c:pt>
                <c:pt idx="8890">
                  <c:v>48085936</c:v>
                </c:pt>
                <c:pt idx="8891">
                  <c:v>82087720</c:v>
                </c:pt>
                <c:pt idx="8892">
                  <c:v>10846311</c:v>
                </c:pt>
                <c:pt idx="8893">
                  <c:v>352887912</c:v>
                </c:pt>
                <c:pt idx="8894">
                  <c:v>192607186</c:v>
                </c:pt>
                <c:pt idx="8895">
                  <c:v>669689800</c:v>
                </c:pt>
                <c:pt idx="8896">
                  <c:v>43236970</c:v>
                </c:pt>
                <c:pt idx="8897">
                  <c:v>23201185</c:v>
                </c:pt>
                <c:pt idx="8898">
                  <c:v>20698734</c:v>
                </c:pt>
                <c:pt idx="8899">
                  <c:v>17492796</c:v>
                </c:pt>
                <c:pt idx="8900">
                  <c:v>86524542</c:v>
                </c:pt>
                <c:pt idx="8901">
                  <c:v>92185986</c:v>
                </c:pt>
                <c:pt idx="8902">
                  <c:v>62865014</c:v>
                </c:pt>
                <c:pt idx="8903">
                  <c:v>77090020</c:v>
                </c:pt>
                <c:pt idx="8904">
                  <c:v>673519464</c:v>
                </c:pt>
                <c:pt idx="8905">
                  <c:v>60053164</c:v>
                </c:pt>
                <c:pt idx="8906">
                  <c:v>47322474</c:v>
                </c:pt>
                <c:pt idx="8907">
                  <c:v>31907686</c:v>
                </c:pt>
                <c:pt idx="8908">
                  <c:v>68181927</c:v>
                </c:pt>
                <c:pt idx="8909">
                  <c:v>64601824</c:v>
                </c:pt>
                <c:pt idx="8910">
                  <c:v>33697500</c:v>
                </c:pt>
                <c:pt idx="8911">
                  <c:v>19186733</c:v>
                </c:pt>
                <c:pt idx="8912">
                  <c:v>144861696</c:v>
                </c:pt>
                <c:pt idx="8913">
                  <c:v>541684242</c:v>
                </c:pt>
                <c:pt idx="8914">
                  <c:v>818832190</c:v>
                </c:pt>
                <c:pt idx="8915">
                  <c:v>686706457</c:v>
                </c:pt>
                <c:pt idx="8916">
                  <c:v>67458810</c:v>
                </c:pt>
                <c:pt idx="8917">
                  <c:v>249281152</c:v>
                </c:pt>
                <c:pt idx="8918">
                  <c:v>38494806</c:v>
                </c:pt>
                <c:pt idx="8919">
                  <c:v>26573400</c:v>
                </c:pt>
                <c:pt idx="8920">
                  <c:v>37332150</c:v>
                </c:pt>
                <c:pt idx="8921">
                  <c:v>87687392</c:v>
                </c:pt>
                <c:pt idx="8922">
                  <c:v>3736773</c:v>
                </c:pt>
                <c:pt idx="8923">
                  <c:v>5805675</c:v>
                </c:pt>
                <c:pt idx="8924">
                  <c:v>15475092</c:v>
                </c:pt>
                <c:pt idx="8925">
                  <c:v>443341216</c:v>
                </c:pt>
                <c:pt idx="8926">
                  <c:v>93474766</c:v>
                </c:pt>
                <c:pt idx="8927">
                  <c:v>118145763</c:v>
                </c:pt>
                <c:pt idx="8928">
                  <c:v>255492448</c:v>
                </c:pt>
                <c:pt idx="8929">
                  <c:v>77045656</c:v>
                </c:pt>
                <c:pt idx="8930">
                  <c:v>16817875</c:v>
                </c:pt>
                <c:pt idx="8931">
                  <c:v>211494225</c:v>
                </c:pt>
                <c:pt idx="8932">
                  <c:v>42488432</c:v>
                </c:pt>
                <c:pt idx="8933">
                  <c:v>83889636</c:v>
                </c:pt>
                <c:pt idx="8934">
                  <c:v>211546470</c:v>
                </c:pt>
                <c:pt idx="8935">
                  <c:v>107866388</c:v>
                </c:pt>
                <c:pt idx="8936">
                  <c:v>59596060</c:v>
                </c:pt>
                <c:pt idx="8937">
                  <c:v>17609922</c:v>
                </c:pt>
                <c:pt idx="8938">
                  <c:v>26749150</c:v>
                </c:pt>
                <c:pt idx="8939">
                  <c:v>70786959</c:v>
                </c:pt>
                <c:pt idx="8940">
                  <c:v>353389695</c:v>
                </c:pt>
                <c:pt idx="8941">
                  <c:v>473624029</c:v>
                </c:pt>
                <c:pt idx="8942">
                  <c:v>628188330</c:v>
                </c:pt>
                <c:pt idx="8943">
                  <c:v>355070874</c:v>
                </c:pt>
                <c:pt idx="8944">
                  <c:v>10911966</c:v>
                </c:pt>
                <c:pt idx="8945">
                  <c:v>33660264</c:v>
                </c:pt>
                <c:pt idx="8946">
                  <c:v>125990010</c:v>
                </c:pt>
                <c:pt idx="8947">
                  <c:v>74211696</c:v>
                </c:pt>
                <c:pt idx="8948">
                  <c:v>137427507</c:v>
                </c:pt>
                <c:pt idx="8949">
                  <c:v>5559882</c:v>
                </c:pt>
                <c:pt idx="8950">
                  <c:v>749946210</c:v>
                </c:pt>
                <c:pt idx="8951">
                  <c:v>14199625</c:v>
                </c:pt>
                <c:pt idx="8952">
                  <c:v>178451703</c:v>
                </c:pt>
                <c:pt idx="8953">
                  <c:v>71998974</c:v>
                </c:pt>
                <c:pt idx="8954">
                  <c:v>11245850</c:v>
                </c:pt>
                <c:pt idx="8955">
                  <c:v>63837072</c:v>
                </c:pt>
                <c:pt idx="8956">
                  <c:v>99252010</c:v>
                </c:pt>
                <c:pt idx="8957">
                  <c:v>46623723</c:v>
                </c:pt>
                <c:pt idx="8958">
                  <c:v>367599708</c:v>
                </c:pt>
                <c:pt idx="8959">
                  <c:v>44271216</c:v>
                </c:pt>
                <c:pt idx="8960">
                  <c:v>313870629</c:v>
                </c:pt>
                <c:pt idx="8961">
                  <c:v>826608068</c:v>
                </c:pt>
                <c:pt idx="8962">
                  <c:v>45463258</c:v>
                </c:pt>
                <c:pt idx="8963">
                  <c:v>43290936</c:v>
                </c:pt>
                <c:pt idx="8964">
                  <c:v>483205176</c:v>
                </c:pt>
                <c:pt idx="8965">
                  <c:v>153632070</c:v>
                </c:pt>
                <c:pt idx="8966">
                  <c:v>13969605</c:v>
                </c:pt>
                <c:pt idx="8967">
                  <c:v>136500640</c:v>
                </c:pt>
                <c:pt idx="8968">
                  <c:v>132696636</c:v>
                </c:pt>
                <c:pt idx="8969">
                  <c:v>57276146</c:v>
                </c:pt>
                <c:pt idx="8970">
                  <c:v>71012656</c:v>
                </c:pt>
                <c:pt idx="8971">
                  <c:v>156090663</c:v>
                </c:pt>
                <c:pt idx="8972">
                  <c:v>34610948</c:v>
                </c:pt>
                <c:pt idx="8973">
                  <c:v>29969236</c:v>
                </c:pt>
                <c:pt idx="8974">
                  <c:v>23170880</c:v>
                </c:pt>
                <c:pt idx="8975">
                  <c:v>42394462</c:v>
                </c:pt>
                <c:pt idx="8976">
                  <c:v>214803792</c:v>
                </c:pt>
                <c:pt idx="8977">
                  <c:v>35178880</c:v>
                </c:pt>
                <c:pt idx="8978">
                  <c:v>35157752</c:v>
                </c:pt>
                <c:pt idx="8979">
                  <c:v>316581888</c:v>
                </c:pt>
                <c:pt idx="8980">
                  <c:v>687398178</c:v>
                </c:pt>
                <c:pt idx="8981">
                  <c:v>284747400</c:v>
                </c:pt>
                <c:pt idx="8982">
                  <c:v>612259452</c:v>
                </c:pt>
                <c:pt idx="8983">
                  <c:v>31595454</c:v>
                </c:pt>
                <c:pt idx="8984">
                  <c:v>33047685</c:v>
                </c:pt>
                <c:pt idx="8985">
                  <c:v>16289520</c:v>
                </c:pt>
                <c:pt idx="8986">
                  <c:v>68295932</c:v>
                </c:pt>
                <c:pt idx="8987">
                  <c:v>111253544</c:v>
                </c:pt>
                <c:pt idx="8988">
                  <c:v>243569004</c:v>
                </c:pt>
                <c:pt idx="8989">
                  <c:v>47896221</c:v>
                </c:pt>
                <c:pt idx="8990">
                  <c:v>94474726</c:v>
                </c:pt>
                <c:pt idx="8991">
                  <c:v>75819168</c:v>
                </c:pt>
                <c:pt idx="8992">
                  <c:v>364664694</c:v>
                </c:pt>
                <c:pt idx="8993">
                  <c:v>3940101</c:v>
                </c:pt>
                <c:pt idx="8994">
                  <c:v>191652540</c:v>
                </c:pt>
                <c:pt idx="8995">
                  <c:v>17950334</c:v>
                </c:pt>
                <c:pt idx="8996">
                  <c:v>41117868</c:v>
                </c:pt>
                <c:pt idx="8997">
                  <c:v>112353212</c:v>
                </c:pt>
                <c:pt idx="8998">
                  <c:v>561322915</c:v>
                </c:pt>
                <c:pt idx="8999">
                  <c:v>176919240</c:v>
                </c:pt>
                <c:pt idx="9000">
                  <c:v>21902472</c:v>
                </c:pt>
                <c:pt idx="9001">
                  <c:v>17675424</c:v>
                </c:pt>
                <c:pt idx="9002">
                  <c:v>68080777</c:v>
                </c:pt>
                <c:pt idx="9003">
                  <c:v>62633197</c:v>
                </c:pt>
                <c:pt idx="9004">
                  <c:v>64673692</c:v>
                </c:pt>
                <c:pt idx="9005">
                  <c:v>67095943</c:v>
                </c:pt>
                <c:pt idx="9006">
                  <c:v>60562220</c:v>
                </c:pt>
                <c:pt idx="9007">
                  <c:v>108711974</c:v>
                </c:pt>
                <c:pt idx="9008">
                  <c:v>180671325</c:v>
                </c:pt>
                <c:pt idx="9009">
                  <c:v>17781864</c:v>
                </c:pt>
                <c:pt idx="9010">
                  <c:v>152025510</c:v>
                </c:pt>
                <c:pt idx="9011">
                  <c:v>267384264</c:v>
                </c:pt>
                <c:pt idx="9012">
                  <c:v>1176082560</c:v>
                </c:pt>
                <c:pt idx="9013">
                  <c:v>529657344</c:v>
                </c:pt>
                <c:pt idx="9014">
                  <c:v>1460063863</c:v>
                </c:pt>
                <c:pt idx="9015">
                  <c:v>1185639984</c:v>
                </c:pt>
                <c:pt idx="9016">
                  <c:v>1380394480</c:v>
                </c:pt>
                <c:pt idx="9017">
                  <c:v>140027690</c:v>
                </c:pt>
                <c:pt idx="9018">
                  <c:v>114589848</c:v>
                </c:pt>
                <c:pt idx="9019">
                  <c:v>430782800</c:v>
                </c:pt>
                <c:pt idx="9020">
                  <c:v>533846800</c:v>
                </c:pt>
                <c:pt idx="9021">
                  <c:v>524703501</c:v>
                </c:pt>
                <c:pt idx="9022">
                  <c:v>172212120</c:v>
                </c:pt>
                <c:pt idx="9023">
                  <c:v>2001083762</c:v>
                </c:pt>
                <c:pt idx="9024">
                  <c:v>266796656</c:v>
                </c:pt>
                <c:pt idx="9025">
                  <c:v>202947230</c:v>
                </c:pt>
                <c:pt idx="9026">
                  <c:v>888524574</c:v>
                </c:pt>
                <c:pt idx="9027">
                  <c:v>277923116</c:v>
                </c:pt>
                <c:pt idx="9028">
                  <c:v>114317645</c:v>
                </c:pt>
                <c:pt idx="9029">
                  <c:v>69170318</c:v>
                </c:pt>
                <c:pt idx="9030">
                  <c:v>276927612</c:v>
                </c:pt>
                <c:pt idx="9031">
                  <c:v>387890160</c:v>
                </c:pt>
                <c:pt idx="9032">
                  <c:v>112912038</c:v>
                </c:pt>
                <c:pt idx="9033">
                  <c:v>59004345</c:v>
                </c:pt>
                <c:pt idx="9034">
                  <c:v>545059676</c:v>
                </c:pt>
                <c:pt idx="9035">
                  <c:v>6431185</c:v>
                </c:pt>
                <c:pt idx="9036">
                  <c:v>49796728</c:v>
                </c:pt>
                <c:pt idx="9037">
                  <c:v>371017167</c:v>
                </c:pt>
                <c:pt idx="9038">
                  <c:v>145066410</c:v>
                </c:pt>
                <c:pt idx="9039">
                  <c:v>1330506048</c:v>
                </c:pt>
                <c:pt idx="9040">
                  <c:v>122586550</c:v>
                </c:pt>
                <c:pt idx="9041">
                  <c:v>1727630100</c:v>
                </c:pt>
                <c:pt idx="9042">
                  <c:v>61876923</c:v>
                </c:pt>
                <c:pt idx="9043">
                  <c:v>1269060000</c:v>
                </c:pt>
                <c:pt idx="9044">
                  <c:v>1069588926</c:v>
                </c:pt>
                <c:pt idx="9045">
                  <c:v>1185502371</c:v>
                </c:pt>
                <c:pt idx="9046">
                  <c:v>2101104528</c:v>
                </c:pt>
                <c:pt idx="9047">
                  <c:v>38139640</c:v>
                </c:pt>
                <c:pt idx="9048">
                  <c:v>1024616250</c:v>
                </c:pt>
                <c:pt idx="9049">
                  <c:v>1037729703</c:v>
                </c:pt>
                <c:pt idx="9050">
                  <c:v>92105247</c:v>
                </c:pt>
                <c:pt idx="9051">
                  <c:v>335349021</c:v>
                </c:pt>
                <c:pt idx="9052">
                  <c:v>1638036377</c:v>
                </c:pt>
                <c:pt idx="9053">
                  <c:v>82930875</c:v>
                </c:pt>
                <c:pt idx="9054">
                  <c:v>634540108</c:v>
                </c:pt>
                <c:pt idx="9055">
                  <c:v>57471150</c:v>
                </c:pt>
                <c:pt idx="9056">
                  <c:v>640297350</c:v>
                </c:pt>
                <c:pt idx="9057">
                  <c:v>78395520</c:v>
                </c:pt>
                <c:pt idx="9058">
                  <c:v>193767840</c:v>
                </c:pt>
                <c:pt idx="9059">
                  <c:v>147007943</c:v>
                </c:pt>
                <c:pt idx="9060">
                  <c:v>95062764</c:v>
                </c:pt>
                <c:pt idx="9061">
                  <c:v>652652720</c:v>
                </c:pt>
                <c:pt idx="9062">
                  <c:v>716835786</c:v>
                </c:pt>
                <c:pt idx="9063">
                  <c:v>687434202</c:v>
                </c:pt>
                <c:pt idx="9064">
                  <c:v>647690780</c:v>
                </c:pt>
                <c:pt idx="9065">
                  <c:v>202163592</c:v>
                </c:pt>
                <c:pt idx="9066">
                  <c:v>1037858111</c:v>
                </c:pt>
                <c:pt idx="9067">
                  <c:v>824277105</c:v>
                </c:pt>
                <c:pt idx="9068">
                  <c:v>647065900</c:v>
                </c:pt>
                <c:pt idx="9069">
                  <c:v>131044595</c:v>
                </c:pt>
                <c:pt idx="9070">
                  <c:v>150629220</c:v>
                </c:pt>
                <c:pt idx="9071">
                  <c:v>220539432</c:v>
                </c:pt>
                <c:pt idx="9072">
                  <c:v>33025902</c:v>
                </c:pt>
                <c:pt idx="9073">
                  <c:v>179714808</c:v>
                </c:pt>
                <c:pt idx="9074">
                  <c:v>350669000</c:v>
                </c:pt>
                <c:pt idx="9075">
                  <c:v>1600651808</c:v>
                </c:pt>
                <c:pt idx="9076">
                  <c:v>17892368</c:v>
                </c:pt>
                <c:pt idx="9077">
                  <c:v>54442410</c:v>
                </c:pt>
                <c:pt idx="9078">
                  <c:v>596946384</c:v>
                </c:pt>
                <c:pt idx="9079">
                  <c:v>195140790</c:v>
                </c:pt>
                <c:pt idx="9080">
                  <c:v>32893108</c:v>
                </c:pt>
                <c:pt idx="9081">
                  <c:v>198190653</c:v>
                </c:pt>
                <c:pt idx="9082">
                  <c:v>8303709</c:v>
                </c:pt>
                <c:pt idx="9083">
                  <c:v>1035023576</c:v>
                </c:pt>
                <c:pt idx="9084">
                  <c:v>2147483647</c:v>
                </c:pt>
                <c:pt idx="9085">
                  <c:v>1397125269</c:v>
                </c:pt>
                <c:pt idx="9086">
                  <c:v>1650921486</c:v>
                </c:pt>
                <c:pt idx="9087">
                  <c:v>1117450390</c:v>
                </c:pt>
                <c:pt idx="9088">
                  <c:v>660734022</c:v>
                </c:pt>
                <c:pt idx="9089">
                  <c:v>1855796346</c:v>
                </c:pt>
                <c:pt idx="9090">
                  <c:v>719854290</c:v>
                </c:pt>
                <c:pt idx="9091">
                  <c:v>557077165</c:v>
                </c:pt>
                <c:pt idx="9092">
                  <c:v>187384120</c:v>
                </c:pt>
                <c:pt idx="9093">
                  <c:v>109317265</c:v>
                </c:pt>
                <c:pt idx="9094">
                  <c:v>51839752</c:v>
                </c:pt>
                <c:pt idx="9095">
                  <c:v>33021810</c:v>
                </c:pt>
                <c:pt idx="9096">
                  <c:v>104910262</c:v>
                </c:pt>
                <c:pt idx="9097">
                  <c:v>38275443</c:v>
                </c:pt>
                <c:pt idx="9098">
                  <c:v>28104160</c:v>
                </c:pt>
                <c:pt idx="9099">
                  <c:v>78866744</c:v>
                </c:pt>
                <c:pt idx="9100">
                  <c:v>114079665</c:v>
                </c:pt>
                <c:pt idx="9101">
                  <c:v>270315240</c:v>
                </c:pt>
                <c:pt idx="9102">
                  <c:v>1145358160</c:v>
                </c:pt>
                <c:pt idx="9103">
                  <c:v>307211760</c:v>
                </c:pt>
                <c:pt idx="9104">
                  <c:v>1339971920</c:v>
                </c:pt>
                <c:pt idx="9105">
                  <c:v>664868655</c:v>
                </c:pt>
                <c:pt idx="9106">
                  <c:v>582959169</c:v>
                </c:pt>
                <c:pt idx="9107">
                  <c:v>1931622462</c:v>
                </c:pt>
                <c:pt idx="9108">
                  <c:v>810203813</c:v>
                </c:pt>
                <c:pt idx="9109">
                  <c:v>1346124496</c:v>
                </c:pt>
                <c:pt idx="9110">
                  <c:v>775791016</c:v>
                </c:pt>
                <c:pt idx="9111">
                  <c:v>1785069969</c:v>
                </c:pt>
                <c:pt idx="9112">
                  <c:v>128188949</c:v>
                </c:pt>
                <c:pt idx="9113">
                  <c:v>316513197</c:v>
                </c:pt>
                <c:pt idx="9114">
                  <c:v>343702412</c:v>
                </c:pt>
                <c:pt idx="9115">
                  <c:v>883682618</c:v>
                </c:pt>
                <c:pt idx="9116">
                  <c:v>433841800</c:v>
                </c:pt>
                <c:pt idx="9117">
                  <c:v>1159575060</c:v>
                </c:pt>
                <c:pt idx="9118">
                  <c:v>1813864104</c:v>
                </c:pt>
                <c:pt idx="9119">
                  <c:v>2100201565</c:v>
                </c:pt>
                <c:pt idx="9120">
                  <c:v>660743991</c:v>
                </c:pt>
                <c:pt idx="9121">
                  <c:v>1082387221</c:v>
                </c:pt>
                <c:pt idx="9122">
                  <c:v>229113500</c:v>
                </c:pt>
                <c:pt idx="9123">
                  <c:v>1559398206</c:v>
                </c:pt>
                <c:pt idx="9124">
                  <c:v>1896573340</c:v>
                </c:pt>
                <c:pt idx="9125">
                  <c:v>1688879301</c:v>
                </c:pt>
                <c:pt idx="9126">
                  <c:v>240939300</c:v>
                </c:pt>
                <c:pt idx="9127">
                  <c:v>2051390824</c:v>
                </c:pt>
                <c:pt idx="9128">
                  <c:v>1549076592</c:v>
                </c:pt>
                <c:pt idx="9129">
                  <c:v>1625996685</c:v>
                </c:pt>
                <c:pt idx="9130">
                  <c:v>2147483647</c:v>
                </c:pt>
                <c:pt idx="9131">
                  <c:v>434439483</c:v>
                </c:pt>
                <c:pt idx="9132">
                  <c:v>827270906</c:v>
                </c:pt>
                <c:pt idx="9133">
                  <c:v>813324438</c:v>
                </c:pt>
                <c:pt idx="9134">
                  <c:v>1618499390</c:v>
                </c:pt>
                <c:pt idx="9135">
                  <c:v>624856500</c:v>
                </c:pt>
                <c:pt idx="9136">
                  <c:v>466261578</c:v>
                </c:pt>
                <c:pt idx="9137">
                  <c:v>1103812650</c:v>
                </c:pt>
                <c:pt idx="9138">
                  <c:v>1432003671</c:v>
                </c:pt>
                <c:pt idx="9139">
                  <c:v>320304600</c:v>
                </c:pt>
                <c:pt idx="9140">
                  <c:v>886845520</c:v>
                </c:pt>
                <c:pt idx="9141">
                  <c:v>1739489647</c:v>
                </c:pt>
                <c:pt idx="9142">
                  <c:v>634432207</c:v>
                </c:pt>
                <c:pt idx="9143">
                  <c:v>107046037</c:v>
                </c:pt>
                <c:pt idx="9144">
                  <c:v>89447178</c:v>
                </c:pt>
                <c:pt idx="9145">
                  <c:v>58036677</c:v>
                </c:pt>
                <c:pt idx="9146">
                  <c:v>104533117</c:v>
                </c:pt>
                <c:pt idx="9147">
                  <c:v>867519036</c:v>
                </c:pt>
                <c:pt idx="9148">
                  <c:v>116853412</c:v>
                </c:pt>
                <c:pt idx="9149">
                  <c:v>8736732</c:v>
                </c:pt>
                <c:pt idx="9150">
                  <c:v>91323225</c:v>
                </c:pt>
                <c:pt idx="9151">
                  <c:v>18072080</c:v>
                </c:pt>
                <c:pt idx="9152">
                  <c:v>306306546</c:v>
                </c:pt>
                <c:pt idx="9153">
                  <c:v>34893698</c:v>
                </c:pt>
                <c:pt idx="9154">
                  <c:v>28910826</c:v>
                </c:pt>
                <c:pt idx="9155">
                  <c:v>200932636</c:v>
                </c:pt>
                <c:pt idx="9156">
                  <c:v>75486402</c:v>
                </c:pt>
                <c:pt idx="9157">
                  <c:v>323419974</c:v>
                </c:pt>
                <c:pt idx="9158">
                  <c:v>57340386</c:v>
                </c:pt>
                <c:pt idx="9159">
                  <c:v>194433545</c:v>
                </c:pt>
                <c:pt idx="9160">
                  <c:v>242350080</c:v>
                </c:pt>
                <c:pt idx="9161">
                  <c:v>38153706</c:v>
                </c:pt>
                <c:pt idx="9162">
                  <c:v>294222016</c:v>
                </c:pt>
                <c:pt idx="9163">
                  <c:v>89508120</c:v>
                </c:pt>
                <c:pt idx="9164">
                  <c:v>7142480</c:v>
                </c:pt>
                <c:pt idx="9165">
                  <c:v>42595565</c:v>
                </c:pt>
                <c:pt idx="9166">
                  <c:v>56430871</c:v>
                </c:pt>
                <c:pt idx="9167">
                  <c:v>16685028</c:v>
                </c:pt>
                <c:pt idx="9168">
                  <c:v>506934320</c:v>
                </c:pt>
                <c:pt idx="9169">
                  <c:v>1043441938</c:v>
                </c:pt>
                <c:pt idx="9170">
                  <c:v>956011944</c:v>
                </c:pt>
                <c:pt idx="9171">
                  <c:v>545728029</c:v>
                </c:pt>
                <c:pt idx="9172">
                  <c:v>783809886</c:v>
                </c:pt>
                <c:pt idx="9173">
                  <c:v>266265516</c:v>
                </c:pt>
                <c:pt idx="9174">
                  <c:v>20541933</c:v>
                </c:pt>
                <c:pt idx="9175">
                  <c:v>636386345</c:v>
                </c:pt>
                <c:pt idx="9176">
                  <c:v>65631092</c:v>
                </c:pt>
                <c:pt idx="9177">
                  <c:v>75709330</c:v>
                </c:pt>
                <c:pt idx="9178">
                  <c:v>27177522</c:v>
                </c:pt>
                <c:pt idx="9179">
                  <c:v>135272320</c:v>
                </c:pt>
                <c:pt idx="9180">
                  <c:v>255691134</c:v>
                </c:pt>
                <c:pt idx="9181">
                  <c:v>13899144</c:v>
                </c:pt>
                <c:pt idx="9182">
                  <c:v>20529068</c:v>
                </c:pt>
                <c:pt idx="9183">
                  <c:v>331210992</c:v>
                </c:pt>
                <c:pt idx="9184">
                  <c:v>18154288</c:v>
                </c:pt>
                <c:pt idx="9185">
                  <c:v>104838440</c:v>
                </c:pt>
                <c:pt idx="9186">
                  <c:v>436098789</c:v>
                </c:pt>
                <c:pt idx="9187">
                  <c:v>161836662</c:v>
                </c:pt>
                <c:pt idx="9188">
                  <c:v>15969660</c:v>
                </c:pt>
                <c:pt idx="9189">
                  <c:v>99070008</c:v>
                </c:pt>
                <c:pt idx="9190">
                  <c:v>438155072</c:v>
                </c:pt>
                <c:pt idx="9191">
                  <c:v>136807562</c:v>
                </c:pt>
                <c:pt idx="9192">
                  <c:v>66466352</c:v>
                </c:pt>
                <c:pt idx="9193">
                  <c:v>60317401</c:v>
                </c:pt>
                <c:pt idx="9194">
                  <c:v>676377200</c:v>
                </c:pt>
                <c:pt idx="9195">
                  <c:v>23322696</c:v>
                </c:pt>
                <c:pt idx="9196">
                  <c:v>261804180</c:v>
                </c:pt>
                <c:pt idx="9197">
                  <c:v>173960456</c:v>
                </c:pt>
                <c:pt idx="9198">
                  <c:v>89682054</c:v>
                </c:pt>
                <c:pt idx="9199">
                  <c:v>331289200</c:v>
                </c:pt>
                <c:pt idx="9200">
                  <c:v>1018348160</c:v>
                </c:pt>
                <c:pt idx="9201">
                  <c:v>100328540</c:v>
                </c:pt>
                <c:pt idx="9202">
                  <c:v>165672379</c:v>
                </c:pt>
                <c:pt idx="9203">
                  <c:v>59502368</c:v>
                </c:pt>
                <c:pt idx="9204">
                  <c:v>3927933</c:v>
                </c:pt>
                <c:pt idx="9205">
                  <c:v>90126785</c:v>
                </c:pt>
                <c:pt idx="9206">
                  <c:v>131565786</c:v>
                </c:pt>
                <c:pt idx="9207">
                  <c:v>165184485</c:v>
                </c:pt>
                <c:pt idx="9208">
                  <c:v>286309156</c:v>
                </c:pt>
                <c:pt idx="9209">
                  <c:v>144175500</c:v>
                </c:pt>
                <c:pt idx="9210">
                  <c:v>1094291520</c:v>
                </c:pt>
                <c:pt idx="9211">
                  <c:v>757148832</c:v>
                </c:pt>
                <c:pt idx="9212">
                  <c:v>542773632</c:v>
                </c:pt>
                <c:pt idx="9213">
                  <c:v>988150306</c:v>
                </c:pt>
                <c:pt idx="9214">
                  <c:v>1213677014</c:v>
                </c:pt>
                <c:pt idx="9215">
                  <c:v>1248642395</c:v>
                </c:pt>
                <c:pt idx="9216">
                  <c:v>1178594208</c:v>
                </c:pt>
                <c:pt idx="9217">
                  <c:v>225495384</c:v>
                </c:pt>
                <c:pt idx="9218">
                  <c:v>994742533</c:v>
                </c:pt>
                <c:pt idx="9219">
                  <c:v>466651744</c:v>
                </c:pt>
                <c:pt idx="9220">
                  <c:v>96269589</c:v>
                </c:pt>
                <c:pt idx="9221">
                  <c:v>771753220</c:v>
                </c:pt>
                <c:pt idx="9222">
                  <c:v>795998621</c:v>
                </c:pt>
                <c:pt idx="9223">
                  <c:v>1169445216</c:v>
                </c:pt>
                <c:pt idx="9224">
                  <c:v>1016695329</c:v>
                </c:pt>
                <c:pt idx="9225">
                  <c:v>782777238</c:v>
                </c:pt>
                <c:pt idx="9226">
                  <c:v>486331404</c:v>
                </c:pt>
                <c:pt idx="9227">
                  <c:v>674510431</c:v>
                </c:pt>
                <c:pt idx="9228">
                  <c:v>1134138766</c:v>
                </c:pt>
                <c:pt idx="9229">
                  <c:v>92263936</c:v>
                </c:pt>
                <c:pt idx="9230">
                  <c:v>156582966</c:v>
                </c:pt>
                <c:pt idx="9231">
                  <c:v>1529593590</c:v>
                </c:pt>
                <c:pt idx="9232">
                  <c:v>118336468</c:v>
                </c:pt>
                <c:pt idx="9233">
                  <c:v>109335268</c:v>
                </c:pt>
                <c:pt idx="9234">
                  <c:v>411413192</c:v>
                </c:pt>
                <c:pt idx="9235">
                  <c:v>1074699185</c:v>
                </c:pt>
                <c:pt idx="9236">
                  <c:v>1230510393</c:v>
                </c:pt>
                <c:pt idx="9237">
                  <c:v>130241405</c:v>
                </c:pt>
                <c:pt idx="9238">
                  <c:v>1439939486</c:v>
                </c:pt>
                <c:pt idx="9239">
                  <c:v>491598744</c:v>
                </c:pt>
                <c:pt idx="9240">
                  <c:v>144974610</c:v>
                </c:pt>
                <c:pt idx="9241">
                  <c:v>804655170</c:v>
                </c:pt>
                <c:pt idx="9242">
                  <c:v>388829791</c:v>
                </c:pt>
                <c:pt idx="9243">
                  <c:v>52269600</c:v>
                </c:pt>
                <c:pt idx="9244">
                  <c:v>1132647096</c:v>
                </c:pt>
                <c:pt idx="9245">
                  <c:v>968256108</c:v>
                </c:pt>
                <c:pt idx="9246">
                  <c:v>850740300</c:v>
                </c:pt>
                <c:pt idx="9247">
                  <c:v>1848948737</c:v>
                </c:pt>
                <c:pt idx="9248">
                  <c:v>374814249</c:v>
                </c:pt>
                <c:pt idx="9249">
                  <c:v>527752896</c:v>
                </c:pt>
                <c:pt idx="9250">
                  <c:v>96326344</c:v>
                </c:pt>
                <c:pt idx="9251">
                  <c:v>280441879</c:v>
                </c:pt>
                <c:pt idx="9252">
                  <c:v>115723344</c:v>
                </c:pt>
                <c:pt idx="9253">
                  <c:v>101652768</c:v>
                </c:pt>
                <c:pt idx="9254">
                  <c:v>36267550</c:v>
                </c:pt>
                <c:pt idx="9255">
                  <c:v>49079448</c:v>
                </c:pt>
                <c:pt idx="9256">
                  <c:v>193700630</c:v>
                </c:pt>
                <c:pt idx="9257">
                  <c:v>89383416</c:v>
                </c:pt>
                <c:pt idx="9258">
                  <c:v>244580160</c:v>
                </c:pt>
                <c:pt idx="9259">
                  <c:v>262134018</c:v>
                </c:pt>
                <c:pt idx="9260">
                  <c:v>341613242</c:v>
                </c:pt>
                <c:pt idx="9261">
                  <c:v>7348123</c:v>
                </c:pt>
                <c:pt idx="9262">
                  <c:v>596529648</c:v>
                </c:pt>
                <c:pt idx="9263">
                  <c:v>361016838</c:v>
                </c:pt>
                <c:pt idx="9264">
                  <c:v>4564982</c:v>
                </c:pt>
                <c:pt idx="9265">
                  <c:v>8989269</c:v>
                </c:pt>
                <c:pt idx="9266">
                  <c:v>202759148</c:v>
                </c:pt>
                <c:pt idx="9267">
                  <c:v>155468265</c:v>
                </c:pt>
                <c:pt idx="9268">
                  <c:v>145422990</c:v>
                </c:pt>
                <c:pt idx="9269">
                  <c:v>578542742</c:v>
                </c:pt>
                <c:pt idx="9270">
                  <c:v>250548309</c:v>
                </c:pt>
                <c:pt idx="9271">
                  <c:v>174735824</c:v>
                </c:pt>
                <c:pt idx="9272">
                  <c:v>265113810</c:v>
                </c:pt>
                <c:pt idx="9273">
                  <c:v>55856775</c:v>
                </c:pt>
                <c:pt idx="9274">
                  <c:v>375848176</c:v>
                </c:pt>
                <c:pt idx="9275">
                  <c:v>3922376</c:v>
                </c:pt>
                <c:pt idx="9276">
                  <c:v>833498094</c:v>
                </c:pt>
                <c:pt idx="9277">
                  <c:v>75697604</c:v>
                </c:pt>
                <c:pt idx="9278">
                  <c:v>1426337429</c:v>
                </c:pt>
                <c:pt idx="9279">
                  <c:v>1145013030</c:v>
                </c:pt>
                <c:pt idx="9280">
                  <c:v>1953056898</c:v>
                </c:pt>
                <c:pt idx="9281">
                  <c:v>65329992</c:v>
                </c:pt>
                <c:pt idx="9282">
                  <c:v>1691766074</c:v>
                </c:pt>
                <c:pt idx="9283">
                  <c:v>845038236</c:v>
                </c:pt>
                <c:pt idx="9284">
                  <c:v>1180101890</c:v>
                </c:pt>
                <c:pt idx="9285">
                  <c:v>976342115</c:v>
                </c:pt>
                <c:pt idx="9286">
                  <c:v>1204141055</c:v>
                </c:pt>
                <c:pt idx="9287">
                  <c:v>1305932385</c:v>
                </c:pt>
                <c:pt idx="9288">
                  <c:v>584749776</c:v>
                </c:pt>
                <c:pt idx="9289">
                  <c:v>197558940</c:v>
                </c:pt>
                <c:pt idx="9290">
                  <c:v>205259222</c:v>
                </c:pt>
                <c:pt idx="9291">
                  <c:v>145251423</c:v>
                </c:pt>
                <c:pt idx="9292">
                  <c:v>442978280</c:v>
                </c:pt>
                <c:pt idx="9293">
                  <c:v>1157440470</c:v>
                </c:pt>
                <c:pt idx="9294">
                  <c:v>104640543</c:v>
                </c:pt>
                <c:pt idx="9295">
                  <c:v>2147483647</c:v>
                </c:pt>
                <c:pt idx="9296">
                  <c:v>903580668</c:v>
                </c:pt>
                <c:pt idx="9297">
                  <c:v>1047925125</c:v>
                </c:pt>
                <c:pt idx="9298">
                  <c:v>370274960</c:v>
                </c:pt>
                <c:pt idx="9299">
                  <c:v>1073977524</c:v>
                </c:pt>
                <c:pt idx="9300">
                  <c:v>67219074</c:v>
                </c:pt>
                <c:pt idx="9301">
                  <c:v>727410249</c:v>
                </c:pt>
                <c:pt idx="9302">
                  <c:v>89794320</c:v>
                </c:pt>
                <c:pt idx="9303">
                  <c:v>2147483647</c:v>
                </c:pt>
                <c:pt idx="9304">
                  <c:v>712398741</c:v>
                </c:pt>
                <c:pt idx="9305">
                  <c:v>93329910</c:v>
                </c:pt>
                <c:pt idx="9306">
                  <c:v>1889986560</c:v>
                </c:pt>
                <c:pt idx="9307">
                  <c:v>859525986</c:v>
                </c:pt>
                <c:pt idx="9308">
                  <c:v>466903574</c:v>
                </c:pt>
                <c:pt idx="9309">
                  <c:v>793207926</c:v>
                </c:pt>
                <c:pt idx="9310">
                  <c:v>1606702510</c:v>
                </c:pt>
                <c:pt idx="9311">
                  <c:v>1156492216</c:v>
                </c:pt>
                <c:pt idx="9312">
                  <c:v>344467942</c:v>
                </c:pt>
                <c:pt idx="9313">
                  <c:v>1772077545</c:v>
                </c:pt>
                <c:pt idx="9314">
                  <c:v>1640959458</c:v>
                </c:pt>
                <c:pt idx="9315">
                  <c:v>596848167</c:v>
                </c:pt>
                <c:pt idx="9316">
                  <c:v>66898247</c:v>
                </c:pt>
                <c:pt idx="9317">
                  <c:v>938171704</c:v>
                </c:pt>
                <c:pt idx="9318">
                  <c:v>1181930180</c:v>
                </c:pt>
                <c:pt idx="9319">
                  <c:v>1221815052</c:v>
                </c:pt>
                <c:pt idx="9320">
                  <c:v>354727296</c:v>
                </c:pt>
                <c:pt idx="9321">
                  <c:v>1219674960</c:v>
                </c:pt>
                <c:pt idx="9322">
                  <c:v>769056804</c:v>
                </c:pt>
                <c:pt idx="9323">
                  <c:v>1113241086</c:v>
                </c:pt>
                <c:pt idx="9324">
                  <c:v>658574152</c:v>
                </c:pt>
                <c:pt idx="9325">
                  <c:v>935613330</c:v>
                </c:pt>
                <c:pt idx="9326">
                  <c:v>811590360</c:v>
                </c:pt>
                <c:pt idx="9327">
                  <c:v>1183488999</c:v>
                </c:pt>
                <c:pt idx="9328">
                  <c:v>644369264</c:v>
                </c:pt>
                <c:pt idx="9329">
                  <c:v>971549558</c:v>
                </c:pt>
                <c:pt idx="9330">
                  <c:v>1080722230</c:v>
                </c:pt>
                <c:pt idx="9331">
                  <c:v>1081956186</c:v>
                </c:pt>
                <c:pt idx="9332">
                  <c:v>403785162</c:v>
                </c:pt>
                <c:pt idx="9333">
                  <c:v>634538333</c:v>
                </c:pt>
                <c:pt idx="9334">
                  <c:v>1302108318</c:v>
                </c:pt>
                <c:pt idx="9335">
                  <c:v>1213335440</c:v>
                </c:pt>
                <c:pt idx="9336">
                  <c:v>1564004862</c:v>
                </c:pt>
                <c:pt idx="9337">
                  <c:v>670999888</c:v>
                </c:pt>
                <c:pt idx="9338">
                  <c:v>799202173</c:v>
                </c:pt>
                <c:pt idx="9339">
                  <c:v>2147483647</c:v>
                </c:pt>
                <c:pt idx="9340">
                  <c:v>585418588</c:v>
                </c:pt>
                <c:pt idx="9341">
                  <c:v>3103298</c:v>
                </c:pt>
                <c:pt idx="9342">
                  <c:v>1199949675</c:v>
                </c:pt>
                <c:pt idx="9343">
                  <c:v>312262744</c:v>
                </c:pt>
                <c:pt idx="9344">
                  <c:v>1582260660</c:v>
                </c:pt>
                <c:pt idx="9345">
                  <c:v>1478200961</c:v>
                </c:pt>
                <c:pt idx="9346">
                  <c:v>1332074838</c:v>
                </c:pt>
                <c:pt idx="9347">
                  <c:v>961502403</c:v>
                </c:pt>
                <c:pt idx="9348">
                  <c:v>606265176</c:v>
                </c:pt>
                <c:pt idx="9349">
                  <c:v>732146879</c:v>
                </c:pt>
                <c:pt idx="9350">
                  <c:v>1190425868</c:v>
                </c:pt>
                <c:pt idx="9351">
                  <c:v>595378885</c:v>
                </c:pt>
                <c:pt idx="9352">
                  <c:v>1141282640</c:v>
                </c:pt>
                <c:pt idx="9353">
                  <c:v>313170340</c:v>
                </c:pt>
                <c:pt idx="9354">
                  <c:v>1086345070</c:v>
                </c:pt>
                <c:pt idx="9355">
                  <c:v>449747806</c:v>
                </c:pt>
                <c:pt idx="9356">
                  <c:v>375813365</c:v>
                </c:pt>
                <c:pt idx="9357">
                  <c:v>707833386</c:v>
                </c:pt>
                <c:pt idx="9358">
                  <c:v>906224688</c:v>
                </c:pt>
                <c:pt idx="9359">
                  <c:v>735703920</c:v>
                </c:pt>
                <c:pt idx="9360">
                  <c:v>795255745</c:v>
                </c:pt>
                <c:pt idx="9361">
                  <c:v>1182468382</c:v>
                </c:pt>
                <c:pt idx="9362">
                  <c:v>1236631596</c:v>
                </c:pt>
                <c:pt idx="9363">
                  <c:v>2147483647</c:v>
                </c:pt>
                <c:pt idx="9364">
                  <c:v>96759215</c:v>
                </c:pt>
                <c:pt idx="9365">
                  <c:v>105780558</c:v>
                </c:pt>
                <c:pt idx="9366">
                  <c:v>158263110</c:v>
                </c:pt>
                <c:pt idx="9367">
                  <c:v>688819632</c:v>
                </c:pt>
                <c:pt idx="9368">
                  <c:v>998698184</c:v>
                </c:pt>
                <c:pt idx="9369">
                  <c:v>884667122</c:v>
                </c:pt>
                <c:pt idx="9370">
                  <c:v>1441954733</c:v>
                </c:pt>
                <c:pt idx="9371">
                  <c:v>934928200</c:v>
                </c:pt>
                <c:pt idx="9372">
                  <c:v>662893223</c:v>
                </c:pt>
                <c:pt idx="9373">
                  <c:v>674715474</c:v>
                </c:pt>
                <c:pt idx="9374">
                  <c:v>1661741862</c:v>
                </c:pt>
                <c:pt idx="9375">
                  <c:v>635052608</c:v>
                </c:pt>
                <c:pt idx="9376">
                  <c:v>750883265</c:v>
                </c:pt>
                <c:pt idx="9377">
                  <c:v>509330880</c:v>
                </c:pt>
                <c:pt idx="9378">
                  <c:v>303198024</c:v>
                </c:pt>
                <c:pt idx="9379">
                  <c:v>544609304</c:v>
                </c:pt>
                <c:pt idx="9380">
                  <c:v>1293598540</c:v>
                </c:pt>
                <c:pt idx="9381">
                  <c:v>782743065</c:v>
                </c:pt>
                <c:pt idx="9382">
                  <c:v>1354075668</c:v>
                </c:pt>
                <c:pt idx="9383">
                  <c:v>592581462</c:v>
                </c:pt>
                <c:pt idx="9384">
                  <c:v>1052674227</c:v>
                </c:pt>
                <c:pt idx="9385">
                  <c:v>1725034344</c:v>
                </c:pt>
                <c:pt idx="9386">
                  <c:v>1164769416</c:v>
                </c:pt>
                <c:pt idx="9387">
                  <c:v>1534184932</c:v>
                </c:pt>
                <c:pt idx="9388">
                  <c:v>781989282</c:v>
                </c:pt>
                <c:pt idx="9389">
                  <c:v>1224944454</c:v>
                </c:pt>
                <c:pt idx="9390">
                  <c:v>1739229672</c:v>
                </c:pt>
                <c:pt idx="9391">
                  <c:v>1533344912</c:v>
                </c:pt>
                <c:pt idx="9392">
                  <c:v>2052102492</c:v>
                </c:pt>
                <c:pt idx="9393">
                  <c:v>1907992368</c:v>
                </c:pt>
                <c:pt idx="9394">
                  <c:v>1168460729</c:v>
                </c:pt>
                <c:pt idx="9395">
                  <c:v>2147483647</c:v>
                </c:pt>
                <c:pt idx="9396">
                  <c:v>1113764670</c:v>
                </c:pt>
                <c:pt idx="9397">
                  <c:v>1913811550</c:v>
                </c:pt>
                <c:pt idx="9398">
                  <c:v>532285810</c:v>
                </c:pt>
                <c:pt idx="9399">
                  <c:v>388731900</c:v>
                </c:pt>
                <c:pt idx="9400">
                  <c:v>1188321053</c:v>
                </c:pt>
                <c:pt idx="9401">
                  <c:v>1358903896</c:v>
                </c:pt>
                <c:pt idx="9402">
                  <c:v>280686408</c:v>
                </c:pt>
                <c:pt idx="9403">
                  <c:v>392216095</c:v>
                </c:pt>
                <c:pt idx="9404">
                  <c:v>233744896</c:v>
                </c:pt>
                <c:pt idx="9405">
                  <c:v>605222926</c:v>
                </c:pt>
                <c:pt idx="9406">
                  <c:v>1655261696</c:v>
                </c:pt>
                <c:pt idx="9407">
                  <c:v>414061396</c:v>
                </c:pt>
                <c:pt idx="9408">
                  <c:v>172549272</c:v>
                </c:pt>
                <c:pt idx="9409">
                  <c:v>452259099</c:v>
                </c:pt>
                <c:pt idx="9410">
                  <c:v>53391840</c:v>
                </c:pt>
                <c:pt idx="9411">
                  <c:v>489345780</c:v>
                </c:pt>
                <c:pt idx="9412">
                  <c:v>736011728</c:v>
                </c:pt>
                <c:pt idx="9413">
                  <c:v>705033950</c:v>
                </c:pt>
                <c:pt idx="9414">
                  <c:v>958048047</c:v>
                </c:pt>
                <c:pt idx="9415">
                  <c:v>1508085688</c:v>
                </c:pt>
                <c:pt idx="9416">
                  <c:v>1737784820</c:v>
                </c:pt>
                <c:pt idx="9417">
                  <c:v>1904882712</c:v>
                </c:pt>
                <c:pt idx="9418">
                  <c:v>1575055772</c:v>
                </c:pt>
                <c:pt idx="9419">
                  <c:v>946668376</c:v>
                </c:pt>
                <c:pt idx="9420">
                  <c:v>1287142860</c:v>
                </c:pt>
                <c:pt idx="9421">
                  <c:v>1131713255</c:v>
                </c:pt>
                <c:pt idx="9422">
                  <c:v>773337240</c:v>
                </c:pt>
                <c:pt idx="9423">
                  <c:v>256426874</c:v>
                </c:pt>
                <c:pt idx="9424">
                  <c:v>1565451216</c:v>
                </c:pt>
                <c:pt idx="9425">
                  <c:v>1137574620</c:v>
                </c:pt>
                <c:pt idx="9426">
                  <c:v>2147483647</c:v>
                </c:pt>
                <c:pt idx="9427">
                  <c:v>67927852</c:v>
                </c:pt>
                <c:pt idx="9428">
                  <c:v>1188393804</c:v>
                </c:pt>
                <c:pt idx="9429">
                  <c:v>1026608660</c:v>
                </c:pt>
                <c:pt idx="9430">
                  <c:v>478219959</c:v>
                </c:pt>
                <c:pt idx="9431">
                  <c:v>788223216</c:v>
                </c:pt>
                <c:pt idx="9432">
                  <c:v>1312219492</c:v>
                </c:pt>
                <c:pt idx="9433">
                  <c:v>1991693784</c:v>
                </c:pt>
                <c:pt idx="9434">
                  <c:v>973080374</c:v>
                </c:pt>
                <c:pt idx="9435">
                  <c:v>2078481223</c:v>
                </c:pt>
                <c:pt idx="9436">
                  <c:v>1953958101</c:v>
                </c:pt>
                <c:pt idx="9437">
                  <c:v>687050595</c:v>
                </c:pt>
                <c:pt idx="9438">
                  <c:v>277951332</c:v>
                </c:pt>
                <c:pt idx="9439">
                  <c:v>1068624715</c:v>
                </c:pt>
                <c:pt idx="9440">
                  <c:v>1226404088</c:v>
                </c:pt>
                <c:pt idx="9441">
                  <c:v>2147483647</c:v>
                </c:pt>
                <c:pt idx="9442">
                  <c:v>1507249212</c:v>
                </c:pt>
                <c:pt idx="9443">
                  <c:v>1458734290</c:v>
                </c:pt>
                <c:pt idx="9444">
                  <c:v>846393648</c:v>
                </c:pt>
                <c:pt idx="9445">
                  <c:v>1767806922</c:v>
                </c:pt>
                <c:pt idx="9446">
                  <c:v>743262785</c:v>
                </c:pt>
                <c:pt idx="9447">
                  <c:v>994091168</c:v>
                </c:pt>
                <c:pt idx="9448">
                  <c:v>1030875120</c:v>
                </c:pt>
                <c:pt idx="9449">
                  <c:v>762419900</c:v>
                </c:pt>
                <c:pt idx="9450">
                  <c:v>1124884687</c:v>
                </c:pt>
                <c:pt idx="9451">
                  <c:v>553904540</c:v>
                </c:pt>
                <c:pt idx="9452">
                  <c:v>787274158</c:v>
                </c:pt>
                <c:pt idx="9453">
                  <c:v>1450564816</c:v>
                </c:pt>
                <c:pt idx="9454">
                  <c:v>2147483647</c:v>
                </c:pt>
                <c:pt idx="9455">
                  <c:v>2139712508</c:v>
                </c:pt>
                <c:pt idx="9456">
                  <c:v>494312241</c:v>
                </c:pt>
                <c:pt idx="9457">
                  <c:v>1931937800</c:v>
                </c:pt>
                <c:pt idx="9458">
                  <c:v>1051032320</c:v>
                </c:pt>
                <c:pt idx="9459">
                  <c:v>1034910300</c:v>
                </c:pt>
                <c:pt idx="9460">
                  <c:v>1593375874</c:v>
                </c:pt>
                <c:pt idx="9461">
                  <c:v>824734260</c:v>
                </c:pt>
                <c:pt idx="9462">
                  <c:v>409137756</c:v>
                </c:pt>
                <c:pt idx="9463">
                  <c:v>419722929</c:v>
                </c:pt>
                <c:pt idx="9464">
                  <c:v>809835414</c:v>
                </c:pt>
                <c:pt idx="9465">
                  <c:v>287373606</c:v>
                </c:pt>
                <c:pt idx="9466">
                  <c:v>944075580</c:v>
                </c:pt>
                <c:pt idx="9467">
                  <c:v>1228686524</c:v>
                </c:pt>
                <c:pt idx="9468">
                  <c:v>772293800</c:v>
                </c:pt>
                <c:pt idx="9469">
                  <c:v>1437492816</c:v>
                </c:pt>
                <c:pt idx="9470">
                  <c:v>2098729605</c:v>
                </c:pt>
                <c:pt idx="9471">
                  <c:v>1268124052</c:v>
                </c:pt>
                <c:pt idx="9472">
                  <c:v>1893551700</c:v>
                </c:pt>
                <c:pt idx="9473">
                  <c:v>1292888214</c:v>
                </c:pt>
                <c:pt idx="9474">
                  <c:v>1861763200</c:v>
                </c:pt>
                <c:pt idx="9475">
                  <c:v>640710720</c:v>
                </c:pt>
                <c:pt idx="9476">
                  <c:v>404297290</c:v>
                </c:pt>
                <c:pt idx="9477">
                  <c:v>958635336</c:v>
                </c:pt>
                <c:pt idx="9478">
                  <c:v>518336500</c:v>
                </c:pt>
                <c:pt idx="9479">
                  <c:v>929112807</c:v>
                </c:pt>
                <c:pt idx="9480">
                  <c:v>2025827307</c:v>
                </c:pt>
                <c:pt idx="9481">
                  <c:v>601802649</c:v>
                </c:pt>
                <c:pt idx="9482">
                  <c:v>591187660</c:v>
                </c:pt>
                <c:pt idx="9483">
                  <c:v>403124388</c:v>
                </c:pt>
                <c:pt idx="9484">
                  <c:v>1214749692</c:v>
                </c:pt>
                <c:pt idx="9485">
                  <c:v>270505599</c:v>
                </c:pt>
                <c:pt idx="9486">
                  <c:v>1624789673</c:v>
                </c:pt>
                <c:pt idx="9487">
                  <c:v>1435921130</c:v>
                </c:pt>
                <c:pt idx="9488">
                  <c:v>1022826310</c:v>
                </c:pt>
                <c:pt idx="9489">
                  <c:v>867682000</c:v>
                </c:pt>
                <c:pt idx="9490">
                  <c:v>293013041</c:v>
                </c:pt>
                <c:pt idx="9491">
                  <c:v>1968667820</c:v>
                </c:pt>
                <c:pt idx="9492">
                  <c:v>1064430484</c:v>
                </c:pt>
                <c:pt idx="9493">
                  <c:v>1309947835</c:v>
                </c:pt>
                <c:pt idx="9494">
                  <c:v>1632075320</c:v>
                </c:pt>
                <c:pt idx="9495">
                  <c:v>1241852040</c:v>
                </c:pt>
                <c:pt idx="9496">
                  <c:v>739382360</c:v>
                </c:pt>
                <c:pt idx="9497">
                  <c:v>581689125</c:v>
                </c:pt>
                <c:pt idx="9498">
                  <c:v>871497440</c:v>
                </c:pt>
                <c:pt idx="9499">
                  <c:v>1204694514</c:v>
                </c:pt>
                <c:pt idx="9500">
                  <c:v>1525202412</c:v>
                </c:pt>
                <c:pt idx="9501">
                  <c:v>1479366250</c:v>
                </c:pt>
                <c:pt idx="9502">
                  <c:v>1386953418</c:v>
                </c:pt>
                <c:pt idx="9503">
                  <c:v>1046230716</c:v>
                </c:pt>
                <c:pt idx="9504">
                  <c:v>1907435292</c:v>
                </c:pt>
                <c:pt idx="9505">
                  <c:v>1150238176</c:v>
                </c:pt>
                <c:pt idx="9506">
                  <c:v>1368730645</c:v>
                </c:pt>
                <c:pt idx="9507">
                  <c:v>1288516070</c:v>
                </c:pt>
                <c:pt idx="9508">
                  <c:v>1365109900</c:v>
                </c:pt>
                <c:pt idx="9509">
                  <c:v>828060738</c:v>
                </c:pt>
                <c:pt idx="9510">
                  <c:v>1300275760</c:v>
                </c:pt>
                <c:pt idx="9511">
                  <c:v>683859150</c:v>
                </c:pt>
                <c:pt idx="9512">
                  <c:v>1086518230</c:v>
                </c:pt>
                <c:pt idx="9513">
                  <c:v>985781645</c:v>
                </c:pt>
                <c:pt idx="9514">
                  <c:v>1135786122</c:v>
                </c:pt>
                <c:pt idx="9515">
                  <c:v>349196212</c:v>
                </c:pt>
                <c:pt idx="9516">
                  <c:v>928364356</c:v>
                </c:pt>
                <c:pt idx="9517">
                  <c:v>722484752</c:v>
                </c:pt>
                <c:pt idx="9518">
                  <c:v>703858437</c:v>
                </c:pt>
                <c:pt idx="9519">
                  <c:v>773158566</c:v>
                </c:pt>
                <c:pt idx="9520">
                  <c:v>1437124735</c:v>
                </c:pt>
                <c:pt idx="9521">
                  <c:v>805213969</c:v>
                </c:pt>
                <c:pt idx="9522">
                  <c:v>2147483647</c:v>
                </c:pt>
                <c:pt idx="9523">
                  <c:v>2147483647</c:v>
                </c:pt>
                <c:pt idx="9524">
                  <c:v>760353776</c:v>
                </c:pt>
                <c:pt idx="9525">
                  <c:v>507286338</c:v>
                </c:pt>
                <c:pt idx="9526">
                  <c:v>2147483647</c:v>
                </c:pt>
                <c:pt idx="9527">
                  <c:v>1169394856</c:v>
                </c:pt>
                <c:pt idx="9528">
                  <c:v>960849300</c:v>
                </c:pt>
                <c:pt idx="9529">
                  <c:v>2147483647</c:v>
                </c:pt>
                <c:pt idx="9530">
                  <c:v>754535888</c:v>
                </c:pt>
                <c:pt idx="9531">
                  <c:v>1710088875</c:v>
                </c:pt>
                <c:pt idx="9532">
                  <c:v>324040556</c:v>
                </c:pt>
                <c:pt idx="9533">
                  <c:v>975561972</c:v>
                </c:pt>
                <c:pt idx="9534">
                  <c:v>1670053302</c:v>
                </c:pt>
                <c:pt idx="9535">
                  <c:v>1932202024</c:v>
                </c:pt>
                <c:pt idx="9536">
                  <c:v>1122184213</c:v>
                </c:pt>
                <c:pt idx="9537">
                  <c:v>1187211220</c:v>
                </c:pt>
                <c:pt idx="9538">
                  <c:v>1771432608</c:v>
                </c:pt>
                <c:pt idx="9539">
                  <c:v>1602853658</c:v>
                </c:pt>
                <c:pt idx="9540">
                  <c:v>12201750</c:v>
                </c:pt>
                <c:pt idx="9541">
                  <c:v>409411805</c:v>
                </c:pt>
                <c:pt idx="9542">
                  <c:v>890821726</c:v>
                </c:pt>
                <c:pt idx="9543">
                  <c:v>993432230</c:v>
                </c:pt>
                <c:pt idx="9544">
                  <c:v>809799792</c:v>
                </c:pt>
                <c:pt idx="9545">
                  <c:v>1227071424</c:v>
                </c:pt>
                <c:pt idx="9546">
                  <c:v>1657742400</c:v>
                </c:pt>
                <c:pt idx="9547">
                  <c:v>561916295</c:v>
                </c:pt>
                <c:pt idx="9548">
                  <c:v>1062209187</c:v>
                </c:pt>
                <c:pt idx="9549">
                  <c:v>2147483647</c:v>
                </c:pt>
                <c:pt idx="9550">
                  <c:v>869974632</c:v>
                </c:pt>
                <c:pt idx="9551">
                  <c:v>1069778472</c:v>
                </c:pt>
                <c:pt idx="9552">
                  <c:v>1154415262</c:v>
                </c:pt>
                <c:pt idx="9553">
                  <c:v>1915199936</c:v>
                </c:pt>
                <c:pt idx="9554">
                  <c:v>2100721541</c:v>
                </c:pt>
                <c:pt idx="9555">
                  <c:v>915434088</c:v>
                </c:pt>
                <c:pt idx="9556">
                  <c:v>1052263347</c:v>
                </c:pt>
                <c:pt idx="9557">
                  <c:v>115251500</c:v>
                </c:pt>
                <c:pt idx="9558">
                  <c:v>889409980</c:v>
                </c:pt>
                <c:pt idx="9559">
                  <c:v>645425844</c:v>
                </c:pt>
                <c:pt idx="9560">
                  <c:v>86823606</c:v>
                </c:pt>
                <c:pt idx="9561">
                  <c:v>1080797784</c:v>
                </c:pt>
                <c:pt idx="9562">
                  <c:v>812996044</c:v>
                </c:pt>
                <c:pt idx="9563">
                  <c:v>1934474956</c:v>
                </c:pt>
                <c:pt idx="9564">
                  <c:v>1321428552</c:v>
                </c:pt>
                <c:pt idx="9565">
                  <c:v>1059673293</c:v>
                </c:pt>
                <c:pt idx="9566">
                  <c:v>1093792304</c:v>
                </c:pt>
                <c:pt idx="9567">
                  <c:v>1345132383</c:v>
                </c:pt>
                <c:pt idx="9568">
                  <c:v>50291080</c:v>
                </c:pt>
                <c:pt idx="9569">
                  <c:v>1857800639</c:v>
                </c:pt>
                <c:pt idx="9570">
                  <c:v>852773130</c:v>
                </c:pt>
                <c:pt idx="9571">
                  <c:v>6962879</c:v>
                </c:pt>
                <c:pt idx="9572">
                  <c:v>885887968</c:v>
                </c:pt>
                <c:pt idx="9573">
                  <c:v>1878844131</c:v>
                </c:pt>
                <c:pt idx="9574">
                  <c:v>292966262</c:v>
                </c:pt>
                <c:pt idx="9575">
                  <c:v>47676650</c:v>
                </c:pt>
                <c:pt idx="9576">
                  <c:v>10401970</c:v>
                </c:pt>
                <c:pt idx="9577">
                  <c:v>489146112</c:v>
                </c:pt>
                <c:pt idx="9578">
                  <c:v>536362820</c:v>
                </c:pt>
                <c:pt idx="9579">
                  <c:v>472411927</c:v>
                </c:pt>
                <c:pt idx="9580">
                  <c:v>425128320</c:v>
                </c:pt>
                <c:pt idx="9581">
                  <c:v>137301935</c:v>
                </c:pt>
                <c:pt idx="9582">
                  <c:v>253870809</c:v>
                </c:pt>
                <c:pt idx="9583">
                  <c:v>588310044</c:v>
                </c:pt>
                <c:pt idx="9584">
                  <c:v>515565551</c:v>
                </c:pt>
                <c:pt idx="9585">
                  <c:v>20782524</c:v>
                </c:pt>
                <c:pt idx="9586">
                  <c:v>1313486952</c:v>
                </c:pt>
                <c:pt idx="9587">
                  <c:v>1119917101</c:v>
                </c:pt>
                <c:pt idx="9588">
                  <c:v>756528512</c:v>
                </c:pt>
                <c:pt idx="9589">
                  <c:v>1226115800</c:v>
                </c:pt>
                <c:pt idx="9590">
                  <c:v>405761664</c:v>
                </c:pt>
                <c:pt idx="9591">
                  <c:v>709327792</c:v>
                </c:pt>
                <c:pt idx="9592">
                  <c:v>1623675672</c:v>
                </c:pt>
                <c:pt idx="9593">
                  <c:v>1254817538</c:v>
                </c:pt>
                <c:pt idx="9594">
                  <c:v>582306865</c:v>
                </c:pt>
                <c:pt idx="9595">
                  <c:v>607731600</c:v>
                </c:pt>
                <c:pt idx="9596">
                  <c:v>462006518</c:v>
                </c:pt>
                <c:pt idx="9597">
                  <c:v>679602336</c:v>
                </c:pt>
                <c:pt idx="9598">
                  <c:v>322848771</c:v>
                </c:pt>
                <c:pt idx="9599">
                  <c:v>901683910</c:v>
                </c:pt>
                <c:pt idx="9600">
                  <c:v>784215432</c:v>
                </c:pt>
                <c:pt idx="9601">
                  <c:v>1164546911</c:v>
                </c:pt>
                <c:pt idx="9602">
                  <c:v>978533600</c:v>
                </c:pt>
                <c:pt idx="9603">
                  <c:v>259311689</c:v>
                </c:pt>
                <c:pt idx="9604">
                  <c:v>1735906221</c:v>
                </c:pt>
                <c:pt idx="9605">
                  <c:v>1309365694</c:v>
                </c:pt>
                <c:pt idx="9606">
                  <c:v>742432524</c:v>
                </c:pt>
                <c:pt idx="9607">
                  <c:v>37606800</c:v>
                </c:pt>
                <c:pt idx="9608">
                  <c:v>325081240</c:v>
                </c:pt>
                <c:pt idx="9609">
                  <c:v>1246198869</c:v>
                </c:pt>
                <c:pt idx="9610">
                  <c:v>1210502600</c:v>
                </c:pt>
                <c:pt idx="9611">
                  <c:v>232077340</c:v>
                </c:pt>
                <c:pt idx="9612">
                  <c:v>698311855</c:v>
                </c:pt>
                <c:pt idx="9613">
                  <c:v>1055098044</c:v>
                </c:pt>
                <c:pt idx="9614">
                  <c:v>665651280</c:v>
                </c:pt>
                <c:pt idx="9615">
                  <c:v>990529064</c:v>
                </c:pt>
                <c:pt idx="9616">
                  <c:v>312225060</c:v>
                </c:pt>
                <c:pt idx="9617">
                  <c:v>1483425678</c:v>
                </c:pt>
                <c:pt idx="9618">
                  <c:v>729042062</c:v>
                </c:pt>
                <c:pt idx="9619">
                  <c:v>1226542520</c:v>
                </c:pt>
                <c:pt idx="9620">
                  <c:v>855424350</c:v>
                </c:pt>
                <c:pt idx="9621">
                  <c:v>1730456912</c:v>
                </c:pt>
                <c:pt idx="9622">
                  <c:v>954527574</c:v>
                </c:pt>
                <c:pt idx="9623">
                  <c:v>947863488</c:v>
                </c:pt>
                <c:pt idx="9624">
                  <c:v>1074573290</c:v>
                </c:pt>
                <c:pt idx="9625">
                  <c:v>1456809368</c:v>
                </c:pt>
                <c:pt idx="9626">
                  <c:v>618252396</c:v>
                </c:pt>
                <c:pt idx="9627">
                  <c:v>1187706784</c:v>
                </c:pt>
                <c:pt idx="9628">
                  <c:v>1320411510</c:v>
                </c:pt>
                <c:pt idx="9629">
                  <c:v>898948602</c:v>
                </c:pt>
                <c:pt idx="9630">
                  <c:v>1432142600</c:v>
                </c:pt>
                <c:pt idx="9631">
                  <c:v>990269217</c:v>
                </c:pt>
                <c:pt idx="9632">
                  <c:v>1632192744</c:v>
                </c:pt>
                <c:pt idx="9633">
                  <c:v>2007903910</c:v>
                </c:pt>
                <c:pt idx="9634">
                  <c:v>706309578</c:v>
                </c:pt>
                <c:pt idx="9635">
                  <c:v>677880336</c:v>
                </c:pt>
                <c:pt idx="9636">
                  <c:v>458552556</c:v>
                </c:pt>
                <c:pt idx="9637">
                  <c:v>2147483647</c:v>
                </c:pt>
                <c:pt idx="9638">
                  <c:v>935816310</c:v>
                </c:pt>
                <c:pt idx="9639">
                  <c:v>1129767012</c:v>
                </c:pt>
                <c:pt idx="9640">
                  <c:v>1423960912</c:v>
                </c:pt>
                <c:pt idx="9641">
                  <c:v>1179238863</c:v>
                </c:pt>
                <c:pt idx="9642">
                  <c:v>864172155</c:v>
                </c:pt>
                <c:pt idx="9643">
                  <c:v>1123556130</c:v>
                </c:pt>
                <c:pt idx="9644">
                  <c:v>1013112429</c:v>
                </c:pt>
                <c:pt idx="9645">
                  <c:v>765504311</c:v>
                </c:pt>
                <c:pt idx="9646">
                  <c:v>629034364</c:v>
                </c:pt>
                <c:pt idx="9647">
                  <c:v>1234049152</c:v>
                </c:pt>
                <c:pt idx="9648">
                  <c:v>490599300</c:v>
                </c:pt>
                <c:pt idx="9649">
                  <c:v>637212160</c:v>
                </c:pt>
                <c:pt idx="9650">
                  <c:v>1095670251</c:v>
                </c:pt>
                <c:pt idx="9651">
                  <c:v>418381884</c:v>
                </c:pt>
                <c:pt idx="9652">
                  <c:v>526891608</c:v>
                </c:pt>
                <c:pt idx="9653">
                  <c:v>712847073</c:v>
                </c:pt>
                <c:pt idx="9654">
                  <c:v>716445805</c:v>
                </c:pt>
                <c:pt idx="9655">
                  <c:v>1098842164</c:v>
                </c:pt>
                <c:pt idx="9656">
                  <c:v>628270314</c:v>
                </c:pt>
                <c:pt idx="9657">
                  <c:v>546746508</c:v>
                </c:pt>
                <c:pt idx="9658">
                  <c:v>713508421</c:v>
                </c:pt>
                <c:pt idx="9659">
                  <c:v>269479845</c:v>
                </c:pt>
                <c:pt idx="9660">
                  <c:v>615530745</c:v>
                </c:pt>
                <c:pt idx="9661">
                  <c:v>1030467566</c:v>
                </c:pt>
                <c:pt idx="9662">
                  <c:v>513831136</c:v>
                </c:pt>
                <c:pt idx="9663">
                  <c:v>622152960</c:v>
                </c:pt>
                <c:pt idx="9664">
                  <c:v>828250225</c:v>
                </c:pt>
                <c:pt idx="9665">
                  <c:v>758942224</c:v>
                </c:pt>
                <c:pt idx="9666">
                  <c:v>840037472</c:v>
                </c:pt>
                <c:pt idx="9667">
                  <c:v>555087002</c:v>
                </c:pt>
                <c:pt idx="9668">
                  <c:v>662759790</c:v>
                </c:pt>
                <c:pt idx="9669">
                  <c:v>590421960</c:v>
                </c:pt>
                <c:pt idx="9670">
                  <c:v>737548241</c:v>
                </c:pt>
                <c:pt idx="9671">
                  <c:v>471418857</c:v>
                </c:pt>
                <c:pt idx="9672">
                  <c:v>728956800</c:v>
                </c:pt>
                <c:pt idx="9673">
                  <c:v>690391605</c:v>
                </c:pt>
                <c:pt idx="9674">
                  <c:v>286561653</c:v>
                </c:pt>
                <c:pt idx="9675">
                  <c:v>128922644</c:v>
                </c:pt>
                <c:pt idx="9676">
                  <c:v>583837630</c:v>
                </c:pt>
                <c:pt idx="9677">
                  <c:v>1072120158</c:v>
                </c:pt>
                <c:pt idx="9678">
                  <c:v>563558243</c:v>
                </c:pt>
                <c:pt idx="9679">
                  <c:v>848398352</c:v>
                </c:pt>
                <c:pt idx="9680">
                  <c:v>1448747448</c:v>
                </c:pt>
                <c:pt idx="9681">
                  <c:v>762785842</c:v>
                </c:pt>
                <c:pt idx="9682">
                  <c:v>450729636</c:v>
                </c:pt>
                <c:pt idx="9683">
                  <c:v>1546834583</c:v>
                </c:pt>
                <c:pt idx="9684">
                  <c:v>286666984</c:v>
                </c:pt>
                <c:pt idx="9685">
                  <c:v>973223860</c:v>
                </c:pt>
                <c:pt idx="9686">
                  <c:v>560939960</c:v>
                </c:pt>
                <c:pt idx="9687">
                  <c:v>90083436</c:v>
                </c:pt>
                <c:pt idx="9688">
                  <c:v>698612982</c:v>
                </c:pt>
                <c:pt idx="9689">
                  <c:v>94368848</c:v>
                </c:pt>
                <c:pt idx="9690">
                  <c:v>880805325</c:v>
                </c:pt>
                <c:pt idx="9691">
                  <c:v>66328352</c:v>
                </c:pt>
                <c:pt idx="9692">
                  <c:v>115310160</c:v>
                </c:pt>
                <c:pt idx="9693">
                  <c:v>180673395</c:v>
                </c:pt>
                <c:pt idx="9694">
                  <c:v>227433690</c:v>
                </c:pt>
                <c:pt idx="9695">
                  <c:v>1009113959</c:v>
                </c:pt>
                <c:pt idx="9696">
                  <c:v>6814620</c:v>
                </c:pt>
                <c:pt idx="9697">
                  <c:v>194729100</c:v>
                </c:pt>
                <c:pt idx="9698">
                  <c:v>18192975</c:v>
                </c:pt>
                <c:pt idx="9699">
                  <c:v>583226805</c:v>
                </c:pt>
                <c:pt idx="9700">
                  <c:v>241325112</c:v>
                </c:pt>
                <c:pt idx="9701">
                  <c:v>12588303</c:v>
                </c:pt>
                <c:pt idx="9702">
                  <c:v>39693375</c:v>
                </c:pt>
                <c:pt idx="9703">
                  <c:v>247786875</c:v>
                </c:pt>
                <c:pt idx="9704">
                  <c:v>589782192</c:v>
                </c:pt>
                <c:pt idx="9705">
                  <c:v>19094838</c:v>
                </c:pt>
                <c:pt idx="9706">
                  <c:v>311808222</c:v>
                </c:pt>
                <c:pt idx="9707">
                  <c:v>596261316</c:v>
                </c:pt>
                <c:pt idx="9708">
                  <c:v>467624270</c:v>
                </c:pt>
                <c:pt idx="9709">
                  <c:v>330295988</c:v>
                </c:pt>
                <c:pt idx="9710">
                  <c:v>365805648</c:v>
                </c:pt>
                <c:pt idx="9711">
                  <c:v>150162541</c:v>
                </c:pt>
                <c:pt idx="9712">
                  <c:v>964822110</c:v>
                </c:pt>
                <c:pt idx="9713">
                  <c:v>885296745</c:v>
                </c:pt>
                <c:pt idx="9714">
                  <c:v>1158214233</c:v>
                </c:pt>
                <c:pt idx="9715">
                  <c:v>81309200</c:v>
                </c:pt>
                <c:pt idx="9716">
                  <c:v>498195819</c:v>
                </c:pt>
                <c:pt idx="9717">
                  <c:v>716705048</c:v>
                </c:pt>
                <c:pt idx="9718">
                  <c:v>440540160</c:v>
                </c:pt>
                <c:pt idx="9719">
                  <c:v>701900844</c:v>
                </c:pt>
                <c:pt idx="9720">
                  <c:v>699254280</c:v>
                </c:pt>
                <c:pt idx="9721">
                  <c:v>1118071170</c:v>
                </c:pt>
                <c:pt idx="9722">
                  <c:v>927440140</c:v>
                </c:pt>
                <c:pt idx="9723">
                  <c:v>653832160</c:v>
                </c:pt>
                <c:pt idx="9724">
                  <c:v>1890996142</c:v>
                </c:pt>
                <c:pt idx="9725">
                  <c:v>885414348</c:v>
                </c:pt>
                <c:pt idx="9726">
                  <c:v>1055678625</c:v>
                </c:pt>
                <c:pt idx="9727">
                  <c:v>1228940000</c:v>
                </c:pt>
                <c:pt idx="9728">
                  <c:v>1692212288</c:v>
                </c:pt>
                <c:pt idx="9729">
                  <c:v>487252986</c:v>
                </c:pt>
                <c:pt idx="9730">
                  <c:v>896239584</c:v>
                </c:pt>
                <c:pt idx="9731">
                  <c:v>1190069710</c:v>
                </c:pt>
                <c:pt idx="9732">
                  <c:v>229734883</c:v>
                </c:pt>
                <c:pt idx="9733">
                  <c:v>143663145</c:v>
                </c:pt>
                <c:pt idx="9734">
                  <c:v>1565816448</c:v>
                </c:pt>
                <c:pt idx="9735">
                  <c:v>517346745</c:v>
                </c:pt>
                <c:pt idx="9736">
                  <c:v>414456792</c:v>
                </c:pt>
                <c:pt idx="9737">
                  <c:v>507237120</c:v>
                </c:pt>
                <c:pt idx="9738">
                  <c:v>193622706</c:v>
                </c:pt>
                <c:pt idx="9739">
                  <c:v>364640825</c:v>
                </c:pt>
                <c:pt idx="9740">
                  <c:v>555248380</c:v>
                </c:pt>
                <c:pt idx="9741">
                  <c:v>1082269001</c:v>
                </c:pt>
                <c:pt idx="9742">
                  <c:v>925017153</c:v>
                </c:pt>
                <c:pt idx="9743">
                  <c:v>277973573</c:v>
                </c:pt>
                <c:pt idx="9744">
                  <c:v>364359060</c:v>
                </c:pt>
                <c:pt idx="9745">
                  <c:v>407390900</c:v>
                </c:pt>
                <c:pt idx="9746">
                  <c:v>178552530</c:v>
                </c:pt>
                <c:pt idx="9747">
                  <c:v>671721804</c:v>
                </c:pt>
                <c:pt idx="9748">
                  <c:v>12913920</c:v>
                </c:pt>
                <c:pt idx="9749">
                  <c:v>550610073</c:v>
                </c:pt>
                <c:pt idx="9750">
                  <c:v>854544845</c:v>
                </c:pt>
                <c:pt idx="9751">
                  <c:v>582812384</c:v>
                </c:pt>
                <c:pt idx="9752">
                  <c:v>301967155</c:v>
                </c:pt>
                <c:pt idx="9753">
                  <c:v>214828955</c:v>
                </c:pt>
                <c:pt idx="9754">
                  <c:v>337606500</c:v>
                </c:pt>
                <c:pt idx="9755">
                  <c:v>313825864</c:v>
                </c:pt>
                <c:pt idx="9756">
                  <c:v>417135230</c:v>
                </c:pt>
                <c:pt idx="9757">
                  <c:v>386791656</c:v>
                </c:pt>
                <c:pt idx="9758">
                  <c:v>308910827</c:v>
                </c:pt>
                <c:pt idx="9759">
                  <c:v>527439536</c:v>
                </c:pt>
                <c:pt idx="9760">
                  <c:v>1019144934</c:v>
                </c:pt>
                <c:pt idx="9761">
                  <c:v>781583216</c:v>
                </c:pt>
                <c:pt idx="9762">
                  <c:v>895893822</c:v>
                </c:pt>
                <c:pt idx="9763">
                  <c:v>1091085702</c:v>
                </c:pt>
                <c:pt idx="9764">
                  <c:v>1223439795</c:v>
                </c:pt>
                <c:pt idx="9765">
                  <c:v>814063096</c:v>
                </c:pt>
                <c:pt idx="9766">
                  <c:v>1208102258</c:v>
                </c:pt>
                <c:pt idx="9767">
                  <c:v>1574078404</c:v>
                </c:pt>
                <c:pt idx="9768">
                  <c:v>1548361516</c:v>
                </c:pt>
                <c:pt idx="9769">
                  <c:v>1849193632</c:v>
                </c:pt>
                <c:pt idx="9770">
                  <c:v>1079171518</c:v>
                </c:pt>
                <c:pt idx="9771">
                  <c:v>1119682116</c:v>
                </c:pt>
                <c:pt idx="9772">
                  <c:v>915273072</c:v>
                </c:pt>
                <c:pt idx="9773">
                  <c:v>814271168</c:v>
                </c:pt>
                <c:pt idx="9774">
                  <c:v>530045337</c:v>
                </c:pt>
                <c:pt idx="9775">
                  <c:v>1727643584</c:v>
                </c:pt>
                <c:pt idx="9776">
                  <c:v>1227385500</c:v>
                </c:pt>
                <c:pt idx="9777">
                  <c:v>1466351186</c:v>
                </c:pt>
                <c:pt idx="9778">
                  <c:v>1901226931</c:v>
                </c:pt>
                <c:pt idx="9779">
                  <c:v>5428024</c:v>
                </c:pt>
                <c:pt idx="9780">
                  <c:v>547752786</c:v>
                </c:pt>
                <c:pt idx="9781">
                  <c:v>1205290654</c:v>
                </c:pt>
                <c:pt idx="9782">
                  <c:v>244201958</c:v>
                </c:pt>
                <c:pt idx="9783">
                  <c:v>1447954128</c:v>
                </c:pt>
                <c:pt idx="9784">
                  <c:v>1475216544</c:v>
                </c:pt>
                <c:pt idx="9785">
                  <c:v>818451528</c:v>
                </c:pt>
                <c:pt idx="9786">
                  <c:v>787398353</c:v>
                </c:pt>
                <c:pt idx="9787">
                  <c:v>972334440</c:v>
                </c:pt>
                <c:pt idx="9788">
                  <c:v>1523396680</c:v>
                </c:pt>
                <c:pt idx="9789">
                  <c:v>571487124</c:v>
                </c:pt>
                <c:pt idx="9790">
                  <c:v>656294616</c:v>
                </c:pt>
                <c:pt idx="9791">
                  <c:v>1013747600</c:v>
                </c:pt>
                <c:pt idx="9792">
                  <c:v>37147992</c:v>
                </c:pt>
                <c:pt idx="9793">
                  <c:v>71698790</c:v>
                </c:pt>
                <c:pt idx="9794">
                  <c:v>241603314</c:v>
                </c:pt>
                <c:pt idx="9795">
                  <c:v>1054481133</c:v>
                </c:pt>
                <c:pt idx="9796">
                  <c:v>1534992381</c:v>
                </c:pt>
                <c:pt idx="9797">
                  <c:v>419592400</c:v>
                </c:pt>
                <c:pt idx="9798">
                  <c:v>910186567</c:v>
                </c:pt>
                <c:pt idx="9799">
                  <c:v>491656512</c:v>
                </c:pt>
                <c:pt idx="9800">
                  <c:v>858712416</c:v>
                </c:pt>
                <c:pt idx="9801">
                  <c:v>489974964</c:v>
                </c:pt>
                <c:pt idx="9802">
                  <c:v>1413185889</c:v>
                </c:pt>
                <c:pt idx="9803">
                  <c:v>1334244450</c:v>
                </c:pt>
                <c:pt idx="9804">
                  <c:v>739973025</c:v>
                </c:pt>
                <c:pt idx="9805">
                  <c:v>566413960</c:v>
                </c:pt>
                <c:pt idx="9806">
                  <c:v>653727775</c:v>
                </c:pt>
                <c:pt idx="9807">
                  <c:v>1109870514</c:v>
                </c:pt>
                <c:pt idx="9808">
                  <c:v>513560000</c:v>
                </c:pt>
                <c:pt idx="9809">
                  <c:v>1375324533</c:v>
                </c:pt>
                <c:pt idx="9810">
                  <c:v>683075640</c:v>
                </c:pt>
                <c:pt idx="9811">
                  <c:v>685962950</c:v>
                </c:pt>
                <c:pt idx="9812">
                  <c:v>669958950</c:v>
                </c:pt>
                <c:pt idx="9813">
                  <c:v>789325488</c:v>
                </c:pt>
                <c:pt idx="9814">
                  <c:v>1178335590</c:v>
                </c:pt>
                <c:pt idx="9815">
                  <c:v>237041370</c:v>
                </c:pt>
                <c:pt idx="9816">
                  <c:v>476040222</c:v>
                </c:pt>
                <c:pt idx="9817">
                  <c:v>2892438</c:v>
                </c:pt>
                <c:pt idx="9818">
                  <c:v>146885904</c:v>
                </c:pt>
                <c:pt idx="9819">
                  <c:v>1410947304</c:v>
                </c:pt>
                <c:pt idx="9820">
                  <c:v>999803064</c:v>
                </c:pt>
                <c:pt idx="9821">
                  <c:v>656782302</c:v>
                </c:pt>
                <c:pt idx="9822">
                  <c:v>812565130</c:v>
                </c:pt>
                <c:pt idx="9823">
                  <c:v>582918510</c:v>
                </c:pt>
                <c:pt idx="9824">
                  <c:v>140239464</c:v>
                </c:pt>
                <c:pt idx="9825">
                  <c:v>231114540</c:v>
                </c:pt>
                <c:pt idx="9826">
                  <c:v>764365637</c:v>
                </c:pt>
                <c:pt idx="9827">
                  <c:v>2069873600</c:v>
                </c:pt>
                <c:pt idx="9828">
                  <c:v>427380836</c:v>
                </c:pt>
                <c:pt idx="9829">
                  <c:v>224363628</c:v>
                </c:pt>
                <c:pt idx="9830">
                  <c:v>319703771</c:v>
                </c:pt>
                <c:pt idx="9831">
                  <c:v>193739948</c:v>
                </c:pt>
                <c:pt idx="9832">
                  <c:v>330188662</c:v>
                </c:pt>
                <c:pt idx="9833">
                  <c:v>199755870</c:v>
                </c:pt>
                <c:pt idx="9834">
                  <c:v>232925627</c:v>
                </c:pt>
                <c:pt idx="9835">
                  <c:v>219308715</c:v>
                </c:pt>
                <c:pt idx="9836">
                  <c:v>547092573</c:v>
                </c:pt>
                <c:pt idx="9837">
                  <c:v>19678730</c:v>
                </c:pt>
                <c:pt idx="9838">
                  <c:v>517341266</c:v>
                </c:pt>
                <c:pt idx="9839">
                  <c:v>285981140</c:v>
                </c:pt>
                <c:pt idx="9840">
                  <c:v>68456552</c:v>
                </c:pt>
                <c:pt idx="9841">
                  <c:v>321114136</c:v>
                </c:pt>
                <c:pt idx="9842">
                  <c:v>337292026</c:v>
                </c:pt>
                <c:pt idx="9843">
                  <c:v>220461804</c:v>
                </c:pt>
                <c:pt idx="9844">
                  <c:v>351567993</c:v>
                </c:pt>
                <c:pt idx="9845">
                  <c:v>581242920</c:v>
                </c:pt>
                <c:pt idx="9846">
                  <c:v>493826476</c:v>
                </c:pt>
                <c:pt idx="9847">
                  <c:v>930776350</c:v>
                </c:pt>
                <c:pt idx="9848">
                  <c:v>824348399</c:v>
                </c:pt>
                <c:pt idx="9849">
                  <c:v>572261508</c:v>
                </c:pt>
                <c:pt idx="9850">
                  <c:v>571445630</c:v>
                </c:pt>
                <c:pt idx="9851">
                  <c:v>262516464</c:v>
                </c:pt>
                <c:pt idx="9852">
                  <c:v>802871019</c:v>
                </c:pt>
                <c:pt idx="9853">
                  <c:v>337280578</c:v>
                </c:pt>
                <c:pt idx="9854">
                  <c:v>815227452</c:v>
                </c:pt>
                <c:pt idx="9855">
                  <c:v>747865278</c:v>
                </c:pt>
                <c:pt idx="9856">
                  <c:v>546088494</c:v>
                </c:pt>
                <c:pt idx="9857">
                  <c:v>212936100</c:v>
                </c:pt>
                <c:pt idx="9858">
                  <c:v>253119230</c:v>
                </c:pt>
                <c:pt idx="9859">
                  <c:v>922175625</c:v>
                </c:pt>
                <c:pt idx="9860">
                  <c:v>17225372</c:v>
                </c:pt>
                <c:pt idx="9861">
                  <c:v>644583968</c:v>
                </c:pt>
                <c:pt idx="9862">
                  <c:v>243358720</c:v>
                </c:pt>
                <c:pt idx="9863">
                  <c:v>401878500</c:v>
                </c:pt>
                <c:pt idx="9864">
                  <c:v>708020097</c:v>
                </c:pt>
                <c:pt idx="9865">
                  <c:v>266423887</c:v>
                </c:pt>
                <c:pt idx="9866">
                  <c:v>919803801</c:v>
                </c:pt>
                <c:pt idx="9867">
                  <c:v>1248369198</c:v>
                </c:pt>
                <c:pt idx="9868">
                  <c:v>442845046</c:v>
                </c:pt>
                <c:pt idx="9869">
                  <c:v>521229280</c:v>
                </c:pt>
                <c:pt idx="9870">
                  <c:v>232479938</c:v>
                </c:pt>
                <c:pt idx="9871">
                  <c:v>375900300</c:v>
                </c:pt>
                <c:pt idx="9872">
                  <c:v>1194170468</c:v>
                </c:pt>
                <c:pt idx="9873">
                  <c:v>1089160444</c:v>
                </c:pt>
                <c:pt idx="9874">
                  <c:v>745055017</c:v>
                </c:pt>
                <c:pt idx="9875">
                  <c:v>813567402</c:v>
                </c:pt>
                <c:pt idx="9876">
                  <c:v>688619272</c:v>
                </c:pt>
                <c:pt idx="9877">
                  <c:v>1683407225</c:v>
                </c:pt>
                <c:pt idx="9878">
                  <c:v>921709464</c:v>
                </c:pt>
                <c:pt idx="9879">
                  <c:v>1061787694</c:v>
                </c:pt>
                <c:pt idx="9880">
                  <c:v>343551747</c:v>
                </c:pt>
                <c:pt idx="9881">
                  <c:v>910225888</c:v>
                </c:pt>
                <c:pt idx="9882">
                  <c:v>888303</c:v>
                </c:pt>
                <c:pt idx="9883">
                  <c:v>1301743891</c:v>
                </c:pt>
                <c:pt idx="9884">
                  <c:v>1028442030</c:v>
                </c:pt>
                <c:pt idx="9885">
                  <c:v>884639145</c:v>
                </c:pt>
                <c:pt idx="9886">
                  <c:v>502865055</c:v>
                </c:pt>
                <c:pt idx="9887">
                  <c:v>970304</c:v>
                </c:pt>
                <c:pt idx="9888">
                  <c:v>1069268634</c:v>
                </c:pt>
                <c:pt idx="9889">
                  <c:v>259827975</c:v>
                </c:pt>
                <c:pt idx="9890">
                  <c:v>494079292</c:v>
                </c:pt>
                <c:pt idx="9891">
                  <c:v>838898124</c:v>
                </c:pt>
                <c:pt idx="9892">
                  <c:v>1438072631</c:v>
                </c:pt>
                <c:pt idx="9893">
                  <c:v>72795360</c:v>
                </c:pt>
                <c:pt idx="9894">
                  <c:v>2147483647</c:v>
                </c:pt>
                <c:pt idx="9895">
                  <c:v>638303047</c:v>
                </c:pt>
                <c:pt idx="9896">
                  <c:v>699034139</c:v>
                </c:pt>
                <c:pt idx="9897">
                  <c:v>334344066</c:v>
                </c:pt>
                <c:pt idx="9898">
                  <c:v>143010400</c:v>
                </c:pt>
                <c:pt idx="9899">
                  <c:v>837767072</c:v>
                </c:pt>
                <c:pt idx="9900">
                  <c:v>148338990</c:v>
                </c:pt>
                <c:pt idx="9901">
                  <c:v>20755904</c:v>
                </c:pt>
                <c:pt idx="9902">
                  <c:v>859769820</c:v>
                </c:pt>
                <c:pt idx="9903">
                  <c:v>775513557</c:v>
                </c:pt>
                <c:pt idx="9904">
                  <c:v>1313634465</c:v>
                </c:pt>
                <c:pt idx="9905">
                  <c:v>1192707316</c:v>
                </c:pt>
                <c:pt idx="9906">
                  <c:v>865408319</c:v>
                </c:pt>
                <c:pt idx="9907">
                  <c:v>1152334774</c:v>
                </c:pt>
                <c:pt idx="9908">
                  <c:v>119277145</c:v>
                </c:pt>
                <c:pt idx="9909">
                  <c:v>134314444</c:v>
                </c:pt>
                <c:pt idx="9910">
                  <c:v>676682484</c:v>
                </c:pt>
                <c:pt idx="9911">
                  <c:v>908850744</c:v>
                </c:pt>
                <c:pt idx="9912">
                  <c:v>55062304</c:v>
                </c:pt>
                <c:pt idx="9913">
                  <c:v>1386453294</c:v>
                </c:pt>
                <c:pt idx="9914">
                  <c:v>628171492</c:v>
                </c:pt>
                <c:pt idx="9915">
                  <c:v>775641090</c:v>
                </c:pt>
                <c:pt idx="9916">
                  <c:v>766020801</c:v>
                </c:pt>
                <c:pt idx="9917">
                  <c:v>90746040</c:v>
                </c:pt>
                <c:pt idx="9918">
                  <c:v>319980045</c:v>
                </c:pt>
                <c:pt idx="9919">
                  <c:v>2147483647</c:v>
                </c:pt>
                <c:pt idx="9920">
                  <c:v>2147483647</c:v>
                </c:pt>
                <c:pt idx="9921">
                  <c:v>582541056</c:v>
                </c:pt>
                <c:pt idx="9922">
                  <c:v>60618729</c:v>
                </c:pt>
                <c:pt idx="9923">
                  <c:v>120840771</c:v>
                </c:pt>
                <c:pt idx="9924">
                  <c:v>122887761</c:v>
                </c:pt>
                <c:pt idx="9925">
                  <c:v>186220212</c:v>
                </c:pt>
                <c:pt idx="9926">
                  <c:v>446830685</c:v>
                </c:pt>
                <c:pt idx="9927">
                  <c:v>268318750</c:v>
                </c:pt>
                <c:pt idx="9928">
                  <c:v>475180264</c:v>
                </c:pt>
                <c:pt idx="9929">
                  <c:v>1165660254</c:v>
                </c:pt>
                <c:pt idx="9930">
                  <c:v>2147483647</c:v>
                </c:pt>
                <c:pt idx="9931">
                  <c:v>153960804</c:v>
                </c:pt>
                <c:pt idx="9932">
                  <c:v>966815920</c:v>
                </c:pt>
                <c:pt idx="9933">
                  <c:v>364534095</c:v>
                </c:pt>
                <c:pt idx="9934">
                  <c:v>666658223</c:v>
                </c:pt>
                <c:pt idx="9935">
                  <c:v>127498668</c:v>
                </c:pt>
                <c:pt idx="9936">
                  <c:v>649665744</c:v>
                </c:pt>
                <c:pt idx="9937">
                  <c:v>1211803185</c:v>
                </c:pt>
                <c:pt idx="9938">
                  <c:v>540812580</c:v>
                </c:pt>
                <c:pt idx="9939">
                  <c:v>984171699</c:v>
                </c:pt>
                <c:pt idx="9940">
                  <c:v>458538880</c:v>
                </c:pt>
                <c:pt idx="9941">
                  <c:v>1825232790</c:v>
                </c:pt>
                <c:pt idx="9942">
                  <c:v>618537285</c:v>
                </c:pt>
                <c:pt idx="9943">
                  <c:v>797885200</c:v>
                </c:pt>
                <c:pt idx="9944">
                  <c:v>1663299685</c:v>
                </c:pt>
                <c:pt idx="9945">
                  <c:v>373789832</c:v>
                </c:pt>
                <c:pt idx="9946">
                  <c:v>173164233</c:v>
                </c:pt>
                <c:pt idx="9947">
                  <c:v>89855710</c:v>
                </c:pt>
                <c:pt idx="9948">
                  <c:v>903188128</c:v>
                </c:pt>
                <c:pt idx="9949">
                  <c:v>498158316</c:v>
                </c:pt>
                <c:pt idx="9950">
                  <c:v>121423401</c:v>
                </c:pt>
                <c:pt idx="9951">
                  <c:v>458400844</c:v>
                </c:pt>
                <c:pt idx="9952">
                  <c:v>55820928</c:v>
                </c:pt>
                <c:pt idx="9953">
                  <c:v>419434880</c:v>
                </c:pt>
                <c:pt idx="9954">
                  <c:v>748276526</c:v>
                </c:pt>
                <c:pt idx="9955">
                  <c:v>634123984</c:v>
                </c:pt>
                <c:pt idx="9956">
                  <c:v>198570744</c:v>
                </c:pt>
                <c:pt idx="9957">
                  <c:v>754006</c:v>
                </c:pt>
                <c:pt idx="9958">
                  <c:v>76708750</c:v>
                </c:pt>
                <c:pt idx="9959">
                  <c:v>63738752</c:v>
                </c:pt>
                <c:pt idx="9960">
                  <c:v>25591384</c:v>
                </c:pt>
                <c:pt idx="9961">
                  <c:v>530625920</c:v>
                </c:pt>
                <c:pt idx="9962">
                  <c:v>172621672</c:v>
                </c:pt>
                <c:pt idx="9963">
                  <c:v>452797225</c:v>
                </c:pt>
                <c:pt idx="9964">
                  <c:v>187005070</c:v>
                </c:pt>
                <c:pt idx="9965">
                  <c:v>387199692</c:v>
                </c:pt>
                <c:pt idx="9966">
                  <c:v>135500080</c:v>
                </c:pt>
                <c:pt idx="9967">
                  <c:v>80801050</c:v>
                </c:pt>
                <c:pt idx="9968">
                  <c:v>233808179</c:v>
                </c:pt>
                <c:pt idx="9969">
                  <c:v>102740476</c:v>
                </c:pt>
                <c:pt idx="9970">
                  <c:v>177208360</c:v>
                </c:pt>
                <c:pt idx="9971">
                  <c:v>634760448</c:v>
                </c:pt>
                <c:pt idx="9972">
                  <c:v>357872742</c:v>
                </c:pt>
                <c:pt idx="9973">
                  <c:v>257425472</c:v>
                </c:pt>
                <c:pt idx="9974">
                  <c:v>32797870</c:v>
                </c:pt>
                <c:pt idx="9975">
                  <c:v>233210176</c:v>
                </c:pt>
                <c:pt idx="9976">
                  <c:v>71310230</c:v>
                </c:pt>
                <c:pt idx="9977">
                  <c:v>207009533</c:v>
                </c:pt>
                <c:pt idx="9978">
                  <c:v>280019127</c:v>
                </c:pt>
                <c:pt idx="9979">
                  <c:v>2231796</c:v>
                </c:pt>
                <c:pt idx="9980">
                  <c:v>601751718</c:v>
                </c:pt>
                <c:pt idx="9981">
                  <c:v>102665330</c:v>
                </c:pt>
                <c:pt idx="9982">
                  <c:v>81117540</c:v>
                </c:pt>
                <c:pt idx="9983">
                  <c:v>324544774</c:v>
                </c:pt>
                <c:pt idx="9984">
                  <c:v>62860347</c:v>
                </c:pt>
                <c:pt idx="9985">
                  <c:v>270942750</c:v>
                </c:pt>
                <c:pt idx="9986">
                  <c:v>778887894</c:v>
                </c:pt>
                <c:pt idx="9987">
                  <c:v>104864854</c:v>
                </c:pt>
                <c:pt idx="9988">
                  <c:v>217938458</c:v>
                </c:pt>
                <c:pt idx="9989">
                  <c:v>59191377</c:v>
                </c:pt>
                <c:pt idx="9990">
                  <c:v>101014578</c:v>
                </c:pt>
                <c:pt idx="9991">
                  <c:v>463837420</c:v>
                </c:pt>
                <c:pt idx="9992">
                  <c:v>230610100</c:v>
                </c:pt>
                <c:pt idx="9993">
                  <c:v>42540709</c:v>
                </c:pt>
                <c:pt idx="9994">
                  <c:v>548991545</c:v>
                </c:pt>
                <c:pt idx="9995">
                  <c:v>323129732</c:v>
                </c:pt>
                <c:pt idx="9996">
                  <c:v>356532620</c:v>
                </c:pt>
                <c:pt idx="9997">
                  <c:v>161357935</c:v>
                </c:pt>
                <c:pt idx="9998">
                  <c:v>211704675</c:v>
                </c:pt>
                <c:pt idx="9999">
                  <c:v>76403568</c:v>
                </c:pt>
                <c:pt idx="10000">
                  <c:v>448415647</c:v>
                </c:pt>
                <c:pt idx="10001">
                  <c:v>430682128</c:v>
                </c:pt>
                <c:pt idx="10002">
                  <c:v>1046945464</c:v>
                </c:pt>
                <c:pt idx="10003">
                  <c:v>262828194</c:v>
                </c:pt>
                <c:pt idx="10004">
                  <c:v>618411436</c:v>
                </c:pt>
                <c:pt idx="10005">
                  <c:v>283352424</c:v>
                </c:pt>
                <c:pt idx="10006">
                  <c:v>354405919</c:v>
                </c:pt>
                <c:pt idx="10007">
                  <c:v>72326449</c:v>
                </c:pt>
                <c:pt idx="10008">
                  <c:v>76141632</c:v>
                </c:pt>
                <c:pt idx="10009">
                  <c:v>85005216</c:v>
                </c:pt>
                <c:pt idx="10010">
                  <c:v>55763976</c:v>
                </c:pt>
                <c:pt idx="10011">
                  <c:v>55699420</c:v>
                </c:pt>
                <c:pt idx="10012">
                  <c:v>115272772</c:v>
                </c:pt>
                <c:pt idx="10013">
                  <c:v>309261510</c:v>
                </c:pt>
                <c:pt idx="10014">
                  <c:v>204464112</c:v>
                </c:pt>
                <c:pt idx="10015">
                  <c:v>57706072</c:v>
                </c:pt>
                <c:pt idx="10016">
                  <c:v>355463559</c:v>
                </c:pt>
                <c:pt idx="10017">
                  <c:v>221613768</c:v>
                </c:pt>
                <c:pt idx="10018">
                  <c:v>526804096</c:v>
                </c:pt>
                <c:pt idx="10019">
                  <c:v>78745365</c:v>
                </c:pt>
                <c:pt idx="10020">
                  <c:v>67132416</c:v>
                </c:pt>
                <c:pt idx="10021">
                  <c:v>1302328502</c:v>
                </c:pt>
                <c:pt idx="10022">
                  <c:v>165562320</c:v>
                </c:pt>
                <c:pt idx="10023">
                  <c:v>17161055</c:v>
                </c:pt>
                <c:pt idx="10024">
                  <c:v>62774880</c:v>
                </c:pt>
                <c:pt idx="10025">
                  <c:v>212109822</c:v>
                </c:pt>
                <c:pt idx="10026">
                  <c:v>388830456</c:v>
                </c:pt>
                <c:pt idx="10027">
                  <c:v>33937800</c:v>
                </c:pt>
                <c:pt idx="10028">
                  <c:v>132126061</c:v>
                </c:pt>
                <c:pt idx="10029">
                  <c:v>201335056</c:v>
                </c:pt>
                <c:pt idx="10030">
                  <c:v>52397774</c:v>
                </c:pt>
                <c:pt idx="10031">
                  <c:v>94761564</c:v>
                </c:pt>
                <c:pt idx="10032">
                  <c:v>159929460</c:v>
                </c:pt>
                <c:pt idx="10033">
                  <c:v>673056505</c:v>
                </c:pt>
                <c:pt idx="10034">
                  <c:v>331403052</c:v>
                </c:pt>
                <c:pt idx="10035">
                  <c:v>111065963</c:v>
                </c:pt>
                <c:pt idx="10036">
                  <c:v>259773136</c:v>
                </c:pt>
                <c:pt idx="10037">
                  <c:v>1354287669</c:v>
                </c:pt>
                <c:pt idx="10038">
                  <c:v>462146364</c:v>
                </c:pt>
                <c:pt idx="10039">
                  <c:v>517532157</c:v>
                </c:pt>
                <c:pt idx="10040">
                  <c:v>215446485</c:v>
                </c:pt>
                <c:pt idx="10041">
                  <c:v>1263893883</c:v>
                </c:pt>
                <c:pt idx="10042">
                  <c:v>463562124</c:v>
                </c:pt>
                <c:pt idx="10043">
                  <c:v>981293790</c:v>
                </c:pt>
                <c:pt idx="10044">
                  <c:v>1642818156</c:v>
                </c:pt>
                <c:pt idx="10045">
                  <c:v>243637005</c:v>
                </c:pt>
                <c:pt idx="10046">
                  <c:v>123052075</c:v>
                </c:pt>
                <c:pt idx="10047">
                  <c:v>68632114</c:v>
                </c:pt>
                <c:pt idx="10048">
                  <c:v>382862712</c:v>
                </c:pt>
                <c:pt idx="10049">
                  <c:v>1030058688</c:v>
                </c:pt>
                <c:pt idx="10050">
                  <c:v>115936191</c:v>
                </c:pt>
                <c:pt idx="10051">
                  <c:v>1939131495</c:v>
                </c:pt>
                <c:pt idx="10052">
                  <c:v>216731520</c:v>
                </c:pt>
                <c:pt idx="10053">
                  <c:v>88972212</c:v>
                </c:pt>
                <c:pt idx="10054">
                  <c:v>68459070</c:v>
                </c:pt>
                <c:pt idx="10055">
                  <c:v>547844650</c:v>
                </c:pt>
                <c:pt idx="10056">
                  <c:v>2147483647</c:v>
                </c:pt>
                <c:pt idx="10057">
                  <c:v>1170589886</c:v>
                </c:pt>
                <c:pt idx="10058">
                  <c:v>1650508510</c:v>
                </c:pt>
                <c:pt idx="10059">
                  <c:v>488113984</c:v>
                </c:pt>
                <c:pt idx="10060">
                  <c:v>519225092</c:v>
                </c:pt>
                <c:pt idx="10061">
                  <c:v>1364876796</c:v>
                </c:pt>
                <c:pt idx="10062">
                  <c:v>969934428</c:v>
                </c:pt>
                <c:pt idx="10063">
                  <c:v>18090897</c:v>
                </c:pt>
                <c:pt idx="10064">
                  <c:v>83498472</c:v>
                </c:pt>
                <c:pt idx="10065">
                  <c:v>13404660</c:v>
                </c:pt>
                <c:pt idx="10066">
                  <c:v>101461250</c:v>
                </c:pt>
                <c:pt idx="10067">
                  <c:v>45496884</c:v>
                </c:pt>
                <c:pt idx="10068">
                  <c:v>65953200</c:v>
                </c:pt>
                <c:pt idx="10069">
                  <c:v>119796390</c:v>
                </c:pt>
                <c:pt idx="10070">
                  <c:v>317154840</c:v>
                </c:pt>
                <c:pt idx="10071">
                  <c:v>106955488</c:v>
                </c:pt>
                <c:pt idx="10072">
                  <c:v>19683216</c:v>
                </c:pt>
                <c:pt idx="10073">
                  <c:v>12825582</c:v>
                </c:pt>
                <c:pt idx="10074">
                  <c:v>56920732</c:v>
                </c:pt>
                <c:pt idx="10075">
                  <c:v>70571025</c:v>
                </c:pt>
                <c:pt idx="10076">
                  <c:v>52688650</c:v>
                </c:pt>
                <c:pt idx="10077">
                  <c:v>142899770</c:v>
                </c:pt>
                <c:pt idx="10078">
                  <c:v>14106736</c:v>
                </c:pt>
                <c:pt idx="10079">
                  <c:v>75462048</c:v>
                </c:pt>
                <c:pt idx="10080">
                  <c:v>605507430</c:v>
                </c:pt>
                <c:pt idx="10081">
                  <c:v>203429820</c:v>
                </c:pt>
                <c:pt idx="10082">
                  <c:v>687911784</c:v>
                </c:pt>
                <c:pt idx="10083">
                  <c:v>182488033</c:v>
                </c:pt>
                <c:pt idx="10084">
                  <c:v>42969440</c:v>
                </c:pt>
                <c:pt idx="10085">
                  <c:v>73897200</c:v>
                </c:pt>
                <c:pt idx="10086">
                  <c:v>133381911</c:v>
                </c:pt>
                <c:pt idx="10087">
                  <c:v>209239752</c:v>
                </c:pt>
                <c:pt idx="10088">
                  <c:v>240345732</c:v>
                </c:pt>
                <c:pt idx="10089">
                  <c:v>388176643</c:v>
                </c:pt>
                <c:pt idx="10090">
                  <c:v>73055817</c:v>
                </c:pt>
                <c:pt idx="10091">
                  <c:v>107023240</c:v>
                </c:pt>
                <c:pt idx="10092">
                  <c:v>16930092</c:v>
                </c:pt>
                <c:pt idx="10093">
                  <c:v>17375264</c:v>
                </c:pt>
                <c:pt idx="10094">
                  <c:v>2888404</c:v>
                </c:pt>
                <c:pt idx="10095">
                  <c:v>92695980</c:v>
                </c:pt>
                <c:pt idx="10096">
                  <c:v>40189113</c:v>
                </c:pt>
                <c:pt idx="10097">
                  <c:v>71581338</c:v>
                </c:pt>
                <c:pt idx="10098">
                  <c:v>112403496</c:v>
                </c:pt>
                <c:pt idx="10099">
                  <c:v>28833888</c:v>
                </c:pt>
                <c:pt idx="10100">
                  <c:v>98656100</c:v>
                </c:pt>
                <c:pt idx="10101">
                  <c:v>19359600</c:v>
                </c:pt>
                <c:pt idx="10102">
                  <c:v>234557202</c:v>
                </c:pt>
                <c:pt idx="10103">
                  <c:v>81602136</c:v>
                </c:pt>
                <c:pt idx="10104">
                  <c:v>49665211</c:v>
                </c:pt>
                <c:pt idx="10105">
                  <c:v>271514816</c:v>
                </c:pt>
                <c:pt idx="10106">
                  <c:v>231614943</c:v>
                </c:pt>
                <c:pt idx="10107">
                  <c:v>18166992</c:v>
                </c:pt>
                <c:pt idx="10108">
                  <c:v>39379736</c:v>
                </c:pt>
                <c:pt idx="10109">
                  <c:v>32716320</c:v>
                </c:pt>
                <c:pt idx="10110">
                  <c:v>23792748</c:v>
                </c:pt>
                <c:pt idx="10111">
                  <c:v>88358013</c:v>
                </c:pt>
                <c:pt idx="10112">
                  <c:v>129608956</c:v>
                </c:pt>
                <c:pt idx="10113">
                  <c:v>77440307</c:v>
                </c:pt>
                <c:pt idx="10114">
                  <c:v>92322092</c:v>
                </c:pt>
                <c:pt idx="10115">
                  <c:v>109564402</c:v>
                </c:pt>
                <c:pt idx="10116">
                  <c:v>104610720</c:v>
                </c:pt>
                <c:pt idx="10117">
                  <c:v>2564107</c:v>
                </c:pt>
                <c:pt idx="10118">
                  <c:v>36901518</c:v>
                </c:pt>
                <c:pt idx="10119">
                  <c:v>73828656</c:v>
                </c:pt>
                <c:pt idx="10120">
                  <c:v>78026496</c:v>
                </c:pt>
                <c:pt idx="10121">
                  <c:v>38033002</c:v>
                </c:pt>
                <c:pt idx="10122">
                  <c:v>158455440</c:v>
                </c:pt>
                <c:pt idx="10123">
                  <c:v>816021925</c:v>
                </c:pt>
                <c:pt idx="10124">
                  <c:v>1207478692</c:v>
                </c:pt>
                <c:pt idx="10125">
                  <c:v>52567179</c:v>
                </c:pt>
                <c:pt idx="10126">
                  <c:v>778251552</c:v>
                </c:pt>
                <c:pt idx="10127">
                  <c:v>796951602</c:v>
                </c:pt>
                <c:pt idx="10128">
                  <c:v>165499200</c:v>
                </c:pt>
                <c:pt idx="10129">
                  <c:v>82318310</c:v>
                </c:pt>
                <c:pt idx="10130">
                  <c:v>41290506</c:v>
                </c:pt>
                <c:pt idx="10131">
                  <c:v>121254402</c:v>
                </c:pt>
                <c:pt idx="10132">
                  <c:v>341870544</c:v>
                </c:pt>
                <c:pt idx="10133">
                  <c:v>104177304</c:v>
                </c:pt>
                <c:pt idx="10134">
                  <c:v>151383493</c:v>
                </c:pt>
                <c:pt idx="10135">
                  <c:v>778037897</c:v>
                </c:pt>
                <c:pt idx="10136">
                  <c:v>583361550</c:v>
                </c:pt>
                <c:pt idx="10137">
                  <c:v>366747284</c:v>
                </c:pt>
                <c:pt idx="10138">
                  <c:v>750929202</c:v>
                </c:pt>
                <c:pt idx="10139">
                  <c:v>94825290</c:v>
                </c:pt>
                <c:pt idx="10140">
                  <c:v>452427981</c:v>
                </c:pt>
                <c:pt idx="10141">
                  <c:v>113919200</c:v>
                </c:pt>
                <c:pt idx="10142">
                  <c:v>30786170</c:v>
                </c:pt>
                <c:pt idx="10143">
                  <c:v>81923878</c:v>
                </c:pt>
                <c:pt idx="10144">
                  <c:v>6227008</c:v>
                </c:pt>
                <c:pt idx="10145">
                  <c:v>335915940</c:v>
                </c:pt>
                <c:pt idx="10146">
                  <c:v>46354356</c:v>
                </c:pt>
                <c:pt idx="10147">
                  <c:v>274572832</c:v>
                </c:pt>
                <c:pt idx="10148">
                  <c:v>194303200</c:v>
                </c:pt>
                <c:pt idx="10149">
                  <c:v>158965377</c:v>
                </c:pt>
                <c:pt idx="10150">
                  <c:v>230482932</c:v>
                </c:pt>
                <c:pt idx="10151">
                  <c:v>560241174</c:v>
                </c:pt>
                <c:pt idx="10152">
                  <c:v>181734729</c:v>
                </c:pt>
                <c:pt idx="10153">
                  <c:v>41148372</c:v>
                </c:pt>
                <c:pt idx="10154">
                  <c:v>144625901</c:v>
                </c:pt>
                <c:pt idx="10155">
                  <c:v>199562625</c:v>
                </c:pt>
                <c:pt idx="10156">
                  <c:v>479423006</c:v>
                </c:pt>
                <c:pt idx="10157">
                  <c:v>170351935</c:v>
                </c:pt>
                <c:pt idx="10158">
                  <c:v>86583549</c:v>
                </c:pt>
                <c:pt idx="10159">
                  <c:v>210862054</c:v>
                </c:pt>
                <c:pt idx="10160">
                  <c:v>39640740</c:v>
                </c:pt>
                <c:pt idx="10161">
                  <c:v>245271602</c:v>
                </c:pt>
                <c:pt idx="10162">
                  <c:v>322322156</c:v>
                </c:pt>
                <c:pt idx="10163">
                  <c:v>1047047533</c:v>
                </c:pt>
                <c:pt idx="10164">
                  <c:v>395552189</c:v>
                </c:pt>
                <c:pt idx="10165">
                  <c:v>9335328</c:v>
                </c:pt>
                <c:pt idx="10166">
                  <c:v>48848904</c:v>
                </c:pt>
                <c:pt idx="10167">
                  <c:v>218774780</c:v>
                </c:pt>
                <c:pt idx="10168">
                  <c:v>984671380</c:v>
                </c:pt>
                <c:pt idx="10169">
                  <c:v>694274672</c:v>
                </c:pt>
                <c:pt idx="10170">
                  <c:v>2147483647</c:v>
                </c:pt>
                <c:pt idx="10171">
                  <c:v>408196366</c:v>
                </c:pt>
                <c:pt idx="10172">
                  <c:v>130721658</c:v>
                </c:pt>
                <c:pt idx="10173">
                  <c:v>462632300</c:v>
                </c:pt>
                <c:pt idx="10174">
                  <c:v>979282980</c:v>
                </c:pt>
                <c:pt idx="10175">
                  <c:v>20824118</c:v>
                </c:pt>
                <c:pt idx="10176">
                  <c:v>110194593</c:v>
                </c:pt>
                <c:pt idx="10177">
                  <c:v>6396867</c:v>
                </c:pt>
                <c:pt idx="10178">
                  <c:v>277963515</c:v>
                </c:pt>
                <c:pt idx="10179">
                  <c:v>289170728</c:v>
                </c:pt>
                <c:pt idx="10180">
                  <c:v>74210884</c:v>
                </c:pt>
                <c:pt idx="10181">
                  <c:v>98113728</c:v>
                </c:pt>
                <c:pt idx="10182">
                  <c:v>480195825</c:v>
                </c:pt>
                <c:pt idx="10183">
                  <c:v>8990217</c:v>
                </c:pt>
                <c:pt idx="10184">
                  <c:v>77786480</c:v>
                </c:pt>
                <c:pt idx="10185">
                  <c:v>1262831865</c:v>
                </c:pt>
                <c:pt idx="10186">
                  <c:v>1139439686</c:v>
                </c:pt>
                <c:pt idx="10187">
                  <c:v>1260852702</c:v>
                </c:pt>
                <c:pt idx="10188">
                  <c:v>368904996</c:v>
                </c:pt>
                <c:pt idx="10189">
                  <c:v>1105670344</c:v>
                </c:pt>
                <c:pt idx="10190">
                  <c:v>652957437</c:v>
                </c:pt>
                <c:pt idx="10191">
                  <c:v>1121514394</c:v>
                </c:pt>
                <c:pt idx="10192">
                  <c:v>272955620</c:v>
                </c:pt>
                <c:pt idx="10193">
                  <c:v>484622892</c:v>
                </c:pt>
                <c:pt idx="10194">
                  <c:v>440685764</c:v>
                </c:pt>
                <c:pt idx="10195">
                  <c:v>405319684</c:v>
                </c:pt>
                <c:pt idx="10196">
                  <c:v>271866176</c:v>
                </c:pt>
                <c:pt idx="10197">
                  <c:v>165407112</c:v>
                </c:pt>
                <c:pt idx="10198">
                  <c:v>298902354</c:v>
                </c:pt>
                <c:pt idx="10199">
                  <c:v>262722559</c:v>
                </c:pt>
                <c:pt idx="10200">
                  <c:v>470401950</c:v>
                </c:pt>
                <c:pt idx="10201">
                  <c:v>299449212</c:v>
                </c:pt>
                <c:pt idx="10202">
                  <c:v>175644351</c:v>
                </c:pt>
                <c:pt idx="10203">
                  <c:v>197894340</c:v>
                </c:pt>
                <c:pt idx="10204">
                  <c:v>285552630</c:v>
                </c:pt>
                <c:pt idx="10205">
                  <c:v>194560209</c:v>
                </c:pt>
                <c:pt idx="10206">
                  <c:v>340408866</c:v>
                </c:pt>
                <c:pt idx="10207">
                  <c:v>69335932</c:v>
                </c:pt>
                <c:pt idx="10208">
                  <c:v>96723802</c:v>
                </c:pt>
                <c:pt idx="10209">
                  <c:v>209681384</c:v>
                </c:pt>
                <c:pt idx="10210">
                  <c:v>122130645</c:v>
                </c:pt>
                <c:pt idx="10211">
                  <c:v>167555404</c:v>
                </c:pt>
                <c:pt idx="10212">
                  <c:v>71154903</c:v>
                </c:pt>
                <c:pt idx="10213">
                  <c:v>389775139</c:v>
                </c:pt>
                <c:pt idx="10214">
                  <c:v>101371932</c:v>
                </c:pt>
                <c:pt idx="10215">
                  <c:v>121834176</c:v>
                </c:pt>
                <c:pt idx="10216">
                  <c:v>22200850</c:v>
                </c:pt>
                <c:pt idx="10217">
                  <c:v>74200000</c:v>
                </c:pt>
                <c:pt idx="10218">
                  <c:v>53203416</c:v>
                </c:pt>
                <c:pt idx="10219">
                  <c:v>40775935</c:v>
                </c:pt>
                <c:pt idx="10220">
                  <c:v>532140558</c:v>
                </c:pt>
                <c:pt idx="10221">
                  <c:v>111579204</c:v>
                </c:pt>
                <c:pt idx="10222">
                  <c:v>130195105</c:v>
                </c:pt>
                <c:pt idx="10223">
                  <c:v>37019609</c:v>
                </c:pt>
                <c:pt idx="10224">
                  <c:v>104130240</c:v>
                </c:pt>
                <c:pt idx="10225">
                  <c:v>53856459</c:v>
                </c:pt>
                <c:pt idx="10226">
                  <c:v>187461225</c:v>
                </c:pt>
                <c:pt idx="10227">
                  <c:v>60259392</c:v>
                </c:pt>
                <c:pt idx="10228">
                  <c:v>52759570</c:v>
                </c:pt>
                <c:pt idx="10229">
                  <c:v>83857816</c:v>
                </c:pt>
                <c:pt idx="10230">
                  <c:v>51239232</c:v>
                </c:pt>
                <c:pt idx="10231">
                  <c:v>41543770</c:v>
                </c:pt>
                <c:pt idx="10232">
                  <c:v>48949572</c:v>
                </c:pt>
                <c:pt idx="10233">
                  <c:v>57416666</c:v>
                </c:pt>
                <c:pt idx="10234">
                  <c:v>105530664</c:v>
                </c:pt>
                <c:pt idx="10235">
                  <c:v>15738024</c:v>
                </c:pt>
                <c:pt idx="10236">
                  <c:v>97893544</c:v>
                </c:pt>
                <c:pt idx="10237">
                  <c:v>36125761</c:v>
                </c:pt>
                <c:pt idx="10238">
                  <c:v>25166646</c:v>
                </c:pt>
                <c:pt idx="10239">
                  <c:v>449306379</c:v>
                </c:pt>
                <c:pt idx="10240">
                  <c:v>175231296</c:v>
                </c:pt>
                <c:pt idx="10241">
                  <c:v>106801293</c:v>
                </c:pt>
                <c:pt idx="10242">
                  <c:v>69444383</c:v>
                </c:pt>
                <c:pt idx="10243">
                  <c:v>319535664</c:v>
                </c:pt>
                <c:pt idx="10244">
                  <c:v>40300344</c:v>
                </c:pt>
                <c:pt idx="10245">
                  <c:v>33490180</c:v>
                </c:pt>
                <c:pt idx="10246">
                  <c:v>8457246</c:v>
                </c:pt>
                <c:pt idx="10247">
                  <c:v>37708190</c:v>
                </c:pt>
                <c:pt idx="10248">
                  <c:v>76790188</c:v>
                </c:pt>
                <c:pt idx="10249">
                  <c:v>15724392</c:v>
                </c:pt>
                <c:pt idx="10250">
                  <c:v>48438839</c:v>
                </c:pt>
                <c:pt idx="10251">
                  <c:v>60133962</c:v>
                </c:pt>
                <c:pt idx="10252">
                  <c:v>288043085</c:v>
                </c:pt>
                <c:pt idx="10253">
                  <c:v>59832325</c:v>
                </c:pt>
                <c:pt idx="10254">
                  <c:v>46273770</c:v>
                </c:pt>
                <c:pt idx="10255">
                  <c:v>42702396</c:v>
                </c:pt>
                <c:pt idx="10256">
                  <c:v>115378039</c:v>
                </c:pt>
                <c:pt idx="10257">
                  <c:v>28130372</c:v>
                </c:pt>
                <c:pt idx="10258">
                  <c:v>325744308</c:v>
                </c:pt>
                <c:pt idx="10259">
                  <c:v>20039635</c:v>
                </c:pt>
                <c:pt idx="10260">
                  <c:v>119309388</c:v>
                </c:pt>
                <c:pt idx="10261">
                  <c:v>66104364</c:v>
                </c:pt>
                <c:pt idx="10262">
                  <c:v>35149863</c:v>
                </c:pt>
                <c:pt idx="10263">
                  <c:v>40535040</c:v>
                </c:pt>
                <c:pt idx="10264">
                  <c:v>399676770</c:v>
                </c:pt>
                <c:pt idx="10265">
                  <c:v>577588935</c:v>
                </c:pt>
                <c:pt idx="10266">
                  <c:v>789815248</c:v>
                </c:pt>
                <c:pt idx="10267">
                  <c:v>739778403</c:v>
                </c:pt>
                <c:pt idx="10268">
                  <c:v>50793130</c:v>
                </c:pt>
                <c:pt idx="10269">
                  <c:v>8498494</c:v>
                </c:pt>
                <c:pt idx="10270">
                  <c:v>21561540</c:v>
                </c:pt>
                <c:pt idx="10271">
                  <c:v>43374616</c:v>
                </c:pt>
                <c:pt idx="10272">
                  <c:v>381709549</c:v>
                </c:pt>
                <c:pt idx="10273">
                  <c:v>245560140</c:v>
                </c:pt>
                <c:pt idx="10274">
                  <c:v>73410126</c:v>
                </c:pt>
                <c:pt idx="10275">
                  <c:v>352948154</c:v>
                </c:pt>
                <c:pt idx="10276">
                  <c:v>195371121</c:v>
                </c:pt>
                <c:pt idx="10277">
                  <c:v>58857825</c:v>
                </c:pt>
                <c:pt idx="10278">
                  <c:v>105114690</c:v>
                </c:pt>
                <c:pt idx="10279">
                  <c:v>110523076</c:v>
                </c:pt>
                <c:pt idx="10280">
                  <c:v>617159976</c:v>
                </c:pt>
                <c:pt idx="10281">
                  <c:v>500771810</c:v>
                </c:pt>
                <c:pt idx="10282">
                  <c:v>200866050</c:v>
                </c:pt>
                <c:pt idx="10283">
                  <c:v>200526633</c:v>
                </c:pt>
                <c:pt idx="10284">
                  <c:v>548106400</c:v>
                </c:pt>
                <c:pt idx="10285">
                  <c:v>140884400</c:v>
                </c:pt>
                <c:pt idx="10286">
                  <c:v>239878737</c:v>
                </c:pt>
                <c:pt idx="10287">
                  <c:v>680604744</c:v>
                </c:pt>
                <c:pt idx="10288">
                  <c:v>228761520</c:v>
                </c:pt>
                <c:pt idx="10289">
                  <c:v>441642790</c:v>
                </c:pt>
                <c:pt idx="10290">
                  <c:v>1055434435</c:v>
                </c:pt>
                <c:pt idx="10291">
                  <c:v>1982968452</c:v>
                </c:pt>
                <c:pt idx="10292">
                  <c:v>557021280</c:v>
                </c:pt>
                <c:pt idx="10293">
                  <c:v>25562313</c:v>
                </c:pt>
                <c:pt idx="10294">
                  <c:v>282594592</c:v>
                </c:pt>
                <c:pt idx="10295">
                  <c:v>615768028</c:v>
                </c:pt>
                <c:pt idx="10296">
                  <c:v>129172004</c:v>
                </c:pt>
                <c:pt idx="10297">
                  <c:v>123583515</c:v>
                </c:pt>
                <c:pt idx="10298">
                  <c:v>48646020</c:v>
                </c:pt>
                <c:pt idx="10299">
                  <c:v>35085625</c:v>
                </c:pt>
                <c:pt idx="10300">
                  <c:v>33199100</c:v>
                </c:pt>
                <c:pt idx="10301">
                  <c:v>87997110</c:v>
                </c:pt>
                <c:pt idx="10302">
                  <c:v>41824188</c:v>
                </c:pt>
                <c:pt idx="10303">
                  <c:v>8233056</c:v>
                </c:pt>
                <c:pt idx="10304">
                  <c:v>216078482</c:v>
                </c:pt>
                <c:pt idx="10305">
                  <c:v>508851464</c:v>
                </c:pt>
                <c:pt idx="10306">
                  <c:v>147022204</c:v>
                </c:pt>
                <c:pt idx="10307">
                  <c:v>136797990</c:v>
                </c:pt>
                <c:pt idx="10308">
                  <c:v>37896128</c:v>
                </c:pt>
                <c:pt idx="10309">
                  <c:v>158164100</c:v>
                </c:pt>
                <c:pt idx="10310">
                  <c:v>333170930</c:v>
                </c:pt>
                <c:pt idx="10311">
                  <c:v>74439500</c:v>
                </c:pt>
                <c:pt idx="10312">
                  <c:v>228154451</c:v>
                </c:pt>
                <c:pt idx="10313">
                  <c:v>55979556</c:v>
                </c:pt>
                <c:pt idx="10314">
                  <c:v>126845472</c:v>
                </c:pt>
                <c:pt idx="10315">
                  <c:v>107867820</c:v>
                </c:pt>
                <c:pt idx="10316">
                  <c:v>78218292</c:v>
                </c:pt>
                <c:pt idx="10317">
                  <c:v>129017415</c:v>
                </c:pt>
                <c:pt idx="10318">
                  <c:v>941467860</c:v>
                </c:pt>
                <c:pt idx="10319">
                  <c:v>861498486</c:v>
                </c:pt>
                <c:pt idx="10320">
                  <c:v>642962900</c:v>
                </c:pt>
                <c:pt idx="10321">
                  <c:v>126663208</c:v>
                </c:pt>
                <c:pt idx="10322">
                  <c:v>56241216</c:v>
                </c:pt>
                <c:pt idx="10323">
                  <c:v>163444642</c:v>
                </c:pt>
                <c:pt idx="10324">
                  <c:v>10214622</c:v>
                </c:pt>
                <c:pt idx="10325">
                  <c:v>62779720</c:v>
                </c:pt>
                <c:pt idx="10326">
                  <c:v>29523074</c:v>
                </c:pt>
                <c:pt idx="10327">
                  <c:v>37377826</c:v>
                </c:pt>
                <c:pt idx="10328">
                  <c:v>57178872</c:v>
                </c:pt>
                <c:pt idx="10329">
                  <c:v>74296704</c:v>
                </c:pt>
                <c:pt idx="10330">
                  <c:v>41632027</c:v>
                </c:pt>
                <c:pt idx="10331">
                  <c:v>232296138</c:v>
                </c:pt>
                <c:pt idx="10332">
                  <c:v>181594710</c:v>
                </c:pt>
                <c:pt idx="10333">
                  <c:v>1156403328</c:v>
                </c:pt>
                <c:pt idx="10334">
                  <c:v>114244065</c:v>
                </c:pt>
                <c:pt idx="10335">
                  <c:v>29880285</c:v>
                </c:pt>
                <c:pt idx="10336">
                  <c:v>128293200</c:v>
                </c:pt>
                <c:pt idx="10337">
                  <c:v>267803250</c:v>
                </c:pt>
                <c:pt idx="10338">
                  <c:v>33459186</c:v>
                </c:pt>
                <c:pt idx="10339">
                  <c:v>199393740</c:v>
                </c:pt>
                <c:pt idx="10340">
                  <c:v>113365134</c:v>
                </c:pt>
                <c:pt idx="10341">
                  <c:v>149483496</c:v>
                </c:pt>
                <c:pt idx="10342">
                  <c:v>38920028</c:v>
                </c:pt>
                <c:pt idx="10343">
                  <c:v>477547212</c:v>
                </c:pt>
                <c:pt idx="10344">
                  <c:v>21127432</c:v>
                </c:pt>
                <c:pt idx="10345">
                  <c:v>11026275</c:v>
                </c:pt>
                <c:pt idx="10346">
                  <c:v>7878185</c:v>
                </c:pt>
                <c:pt idx="10347">
                  <c:v>23237184</c:v>
                </c:pt>
                <c:pt idx="10348">
                  <c:v>148665118</c:v>
                </c:pt>
                <c:pt idx="10349">
                  <c:v>51365355</c:v>
                </c:pt>
                <c:pt idx="10350">
                  <c:v>133952460</c:v>
                </c:pt>
                <c:pt idx="10351">
                  <c:v>265946772</c:v>
                </c:pt>
                <c:pt idx="10352">
                  <c:v>240750630</c:v>
                </c:pt>
                <c:pt idx="10353">
                  <c:v>15133743</c:v>
                </c:pt>
                <c:pt idx="10354">
                  <c:v>303573456</c:v>
                </c:pt>
                <c:pt idx="10355">
                  <c:v>35318815</c:v>
                </c:pt>
                <c:pt idx="10356">
                  <c:v>9200197</c:v>
                </c:pt>
                <c:pt idx="10357">
                  <c:v>14099600</c:v>
                </c:pt>
                <c:pt idx="10358">
                  <c:v>2246890</c:v>
                </c:pt>
                <c:pt idx="10359">
                  <c:v>68551581</c:v>
                </c:pt>
                <c:pt idx="10360">
                  <c:v>68489147</c:v>
                </c:pt>
                <c:pt idx="10361">
                  <c:v>11086488</c:v>
                </c:pt>
                <c:pt idx="10362">
                  <c:v>104157691</c:v>
                </c:pt>
                <c:pt idx="10363">
                  <c:v>6587976</c:v>
                </c:pt>
                <c:pt idx="10364">
                  <c:v>115830000</c:v>
                </c:pt>
                <c:pt idx="10365">
                  <c:v>57353160</c:v>
                </c:pt>
                <c:pt idx="10366">
                  <c:v>7130752</c:v>
                </c:pt>
                <c:pt idx="10367">
                  <c:v>41152536</c:v>
                </c:pt>
                <c:pt idx="10368">
                  <c:v>195452550</c:v>
                </c:pt>
                <c:pt idx="10369">
                  <c:v>214444440</c:v>
                </c:pt>
                <c:pt idx="10370">
                  <c:v>13419900</c:v>
                </c:pt>
                <c:pt idx="10371">
                  <c:v>85685928</c:v>
                </c:pt>
                <c:pt idx="10372">
                  <c:v>33557895</c:v>
                </c:pt>
                <c:pt idx="10373">
                  <c:v>90478680</c:v>
                </c:pt>
                <c:pt idx="10374">
                  <c:v>39035025</c:v>
                </c:pt>
                <c:pt idx="10375">
                  <c:v>13771970</c:v>
                </c:pt>
                <c:pt idx="10376">
                  <c:v>290767961</c:v>
                </c:pt>
                <c:pt idx="10377">
                  <c:v>28143936</c:v>
                </c:pt>
                <c:pt idx="10378">
                  <c:v>476117181</c:v>
                </c:pt>
                <c:pt idx="10379">
                  <c:v>26436533</c:v>
                </c:pt>
                <c:pt idx="10380">
                  <c:v>52421515</c:v>
                </c:pt>
                <c:pt idx="10381">
                  <c:v>141727382</c:v>
                </c:pt>
                <c:pt idx="10382">
                  <c:v>162035166</c:v>
                </c:pt>
                <c:pt idx="10383">
                  <c:v>57660976</c:v>
                </c:pt>
                <c:pt idx="10384">
                  <c:v>24648092</c:v>
                </c:pt>
                <c:pt idx="10385">
                  <c:v>51258624</c:v>
                </c:pt>
                <c:pt idx="10386">
                  <c:v>1144639274</c:v>
                </c:pt>
                <c:pt idx="10387">
                  <c:v>717034148</c:v>
                </c:pt>
                <c:pt idx="10388">
                  <c:v>75554566</c:v>
                </c:pt>
                <c:pt idx="10389">
                  <c:v>204849120</c:v>
                </c:pt>
                <c:pt idx="10390">
                  <c:v>1552498922</c:v>
                </c:pt>
                <c:pt idx="10391">
                  <c:v>1072526904</c:v>
                </c:pt>
                <c:pt idx="10392">
                  <c:v>12191368</c:v>
                </c:pt>
                <c:pt idx="10393">
                  <c:v>398255748</c:v>
                </c:pt>
                <c:pt idx="10394">
                  <c:v>587998236</c:v>
                </c:pt>
                <c:pt idx="10395">
                  <c:v>251759991</c:v>
                </c:pt>
                <c:pt idx="10396">
                  <c:v>194167771</c:v>
                </c:pt>
                <c:pt idx="10397">
                  <c:v>23074227</c:v>
                </c:pt>
                <c:pt idx="10398">
                  <c:v>207762490</c:v>
                </c:pt>
                <c:pt idx="10399">
                  <c:v>313499985</c:v>
                </c:pt>
                <c:pt idx="10400">
                  <c:v>89804260</c:v>
                </c:pt>
                <c:pt idx="10401">
                  <c:v>48742002</c:v>
                </c:pt>
                <c:pt idx="10402">
                  <c:v>103667634</c:v>
                </c:pt>
                <c:pt idx="10403">
                  <c:v>55016350</c:v>
                </c:pt>
                <c:pt idx="10404">
                  <c:v>474104517</c:v>
                </c:pt>
                <c:pt idx="10405">
                  <c:v>23083480</c:v>
                </c:pt>
                <c:pt idx="10406">
                  <c:v>386547979</c:v>
                </c:pt>
                <c:pt idx="10407">
                  <c:v>549502759</c:v>
                </c:pt>
                <c:pt idx="10408">
                  <c:v>237876190</c:v>
                </c:pt>
                <c:pt idx="10409">
                  <c:v>26280210</c:v>
                </c:pt>
                <c:pt idx="10410">
                  <c:v>580140740</c:v>
                </c:pt>
                <c:pt idx="10411">
                  <c:v>151203591</c:v>
                </c:pt>
                <c:pt idx="10412">
                  <c:v>41028288</c:v>
                </c:pt>
                <c:pt idx="10413">
                  <c:v>33816490</c:v>
                </c:pt>
                <c:pt idx="10414">
                  <c:v>132129368</c:v>
                </c:pt>
                <c:pt idx="10415">
                  <c:v>649257984</c:v>
                </c:pt>
                <c:pt idx="10416">
                  <c:v>27125920</c:v>
                </c:pt>
                <c:pt idx="10417">
                  <c:v>14094768</c:v>
                </c:pt>
                <c:pt idx="10418">
                  <c:v>21703275</c:v>
                </c:pt>
                <c:pt idx="10419">
                  <c:v>258429636</c:v>
                </c:pt>
                <c:pt idx="10420">
                  <c:v>27731844</c:v>
                </c:pt>
                <c:pt idx="10421">
                  <c:v>115019294</c:v>
                </c:pt>
                <c:pt idx="10422">
                  <c:v>299616075</c:v>
                </c:pt>
                <c:pt idx="10423">
                  <c:v>502126385</c:v>
                </c:pt>
                <c:pt idx="10424">
                  <c:v>514595198</c:v>
                </c:pt>
                <c:pt idx="10425">
                  <c:v>189864635</c:v>
                </c:pt>
                <c:pt idx="10426">
                  <c:v>1184477644</c:v>
                </c:pt>
                <c:pt idx="10427">
                  <c:v>710014129</c:v>
                </c:pt>
                <c:pt idx="10428">
                  <c:v>130291132</c:v>
                </c:pt>
                <c:pt idx="10429">
                  <c:v>110561208</c:v>
                </c:pt>
                <c:pt idx="10430">
                  <c:v>63180348</c:v>
                </c:pt>
                <c:pt idx="10431">
                  <c:v>253384560</c:v>
                </c:pt>
                <c:pt idx="10432">
                  <c:v>245668192</c:v>
                </c:pt>
                <c:pt idx="10433">
                  <c:v>406468566</c:v>
                </c:pt>
                <c:pt idx="10434">
                  <c:v>428197492</c:v>
                </c:pt>
                <c:pt idx="10435">
                  <c:v>656808880</c:v>
                </c:pt>
                <c:pt idx="10436">
                  <c:v>1680900664</c:v>
                </c:pt>
                <c:pt idx="10437">
                  <c:v>419848692</c:v>
                </c:pt>
                <c:pt idx="10438">
                  <c:v>202657916</c:v>
                </c:pt>
                <c:pt idx="10439">
                  <c:v>5929266</c:v>
                </c:pt>
                <c:pt idx="10440">
                  <c:v>93599586</c:v>
                </c:pt>
                <c:pt idx="10441">
                  <c:v>209360284</c:v>
                </c:pt>
                <c:pt idx="10442">
                  <c:v>26290968</c:v>
                </c:pt>
                <c:pt idx="10443">
                  <c:v>9305544</c:v>
                </c:pt>
                <c:pt idx="10444">
                  <c:v>23761742</c:v>
                </c:pt>
                <c:pt idx="10445">
                  <c:v>50469363</c:v>
                </c:pt>
                <c:pt idx="10446">
                  <c:v>102286474</c:v>
                </c:pt>
                <c:pt idx="10447">
                  <c:v>52740580</c:v>
                </c:pt>
                <c:pt idx="10448">
                  <c:v>9280953</c:v>
                </c:pt>
                <c:pt idx="10449">
                  <c:v>58087456</c:v>
                </c:pt>
                <c:pt idx="10450">
                  <c:v>5871800</c:v>
                </c:pt>
                <c:pt idx="10451">
                  <c:v>29240568</c:v>
                </c:pt>
                <c:pt idx="10452">
                  <c:v>63251990</c:v>
                </c:pt>
                <c:pt idx="10453">
                  <c:v>30273537</c:v>
                </c:pt>
                <c:pt idx="10454">
                  <c:v>30666280</c:v>
                </c:pt>
                <c:pt idx="10455">
                  <c:v>15909621</c:v>
                </c:pt>
                <c:pt idx="10456">
                  <c:v>2413608</c:v>
                </c:pt>
                <c:pt idx="10457">
                  <c:v>20585664</c:v>
                </c:pt>
                <c:pt idx="10458">
                  <c:v>14588462</c:v>
                </c:pt>
                <c:pt idx="10459">
                  <c:v>16666975</c:v>
                </c:pt>
                <c:pt idx="10460">
                  <c:v>38861862</c:v>
                </c:pt>
                <c:pt idx="10461">
                  <c:v>29286432</c:v>
                </c:pt>
                <c:pt idx="10462">
                  <c:v>23884913</c:v>
                </c:pt>
                <c:pt idx="10463">
                  <c:v>38979256</c:v>
                </c:pt>
                <c:pt idx="10464">
                  <c:v>17210556</c:v>
                </c:pt>
                <c:pt idx="10465">
                  <c:v>136602480</c:v>
                </c:pt>
                <c:pt idx="10466">
                  <c:v>20244798</c:v>
                </c:pt>
                <c:pt idx="10467">
                  <c:v>32154237</c:v>
                </c:pt>
                <c:pt idx="10468">
                  <c:v>30703554</c:v>
                </c:pt>
                <c:pt idx="10469">
                  <c:v>636377102</c:v>
                </c:pt>
                <c:pt idx="10470">
                  <c:v>454727325</c:v>
                </c:pt>
                <c:pt idx="10471">
                  <c:v>1818603600</c:v>
                </c:pt>
                <c:pt idx="10472">
                  <c:v>657224736</c:v>
                </c:pt>
                <c:pt idx="10473">
                  <c:v>49509908</c:v>
                </c:pt>
                <c:pt idx="10474">
                  <c:v>65797582</c:v>
                </c:pt>
                <c:pt idx="10475">
                  <c:v>241723176</c:v>
                </c:pt>
                <c:pt idx="10476">
                  <c:v>419280615</c:v>
                </c:pt>
                <c:pt idx="10477">
                  <c:v>34191828</c:v>
                </c:pt>
                <c:pt idx="10478">
                  <c:v>237897303</c:v>
                </c:pt>
                <c:pt idx="10479">
                  <c:v>12262656</c:v>
                </c:pt>
                <c:pt idx="10480">
                  <c:v>43737125</c:v>
                </c:pt>
                <c:pt idx="10481">
                  <c:v>117091212</c:v>
                </c:pt>
                <c:pt idx="10482">
                  <c:v>115144830</c:v>
                </c:pt>
                <c:pt idx="10483">
                  <c:v>265852658</c:v>
                </c:pt>
                <c:pt idx="10484">
                  <c:v>40051952</c:v>
                </c:pt>
                <c:pt idx="10485">
                  <c:v>14057816</c:v>
                </c:pt>
                <c:pt idx="10486">
                  <c:v>34171200</c:v>
                </c:pt>
                <c:pt idx="10487">
                  <c:v>6068736</c:v>
                </c:pt>
                <c:pt idx="10488">
                  <c:v>64868430</c:v>
                </c:pt>
                <c:pt idx="10489">
                  <c:v>426523648</c:v>
                </c:pt>
                <c:pt idx="10490">
                  <c:v>148959224</c:v>
                </c:pt>
                <c:pt idx="10491">
                  <c:v>35629594</c:v>
                </c:pt>
                <c:pt idx="10492">
                  <c:v>5316444</c:v>
                </c:pt>
                <c:pt idx="10493">
                  <c:v>95552390</c:v>
                </c:pt>
                <c:pt idx="10494">
                  <c:v>586205996</c:v>
                </c:pt>
                <c:pt idx="10495">
                  <c:v>461547324</c:v>
                </c:pt>
                <c:pt idx="10496">
                  <c:v>563265846</c:v>
                </c:pt>
                <c:pt idx="10497">
                  <c:v>23664870</c:v>
                </c:pt>
                <c:pt idx="10498">
                  <c:v>240494903</c:v>
                </c:pt>
                <c:pt idx="10499">
                  <c:v>91497400</c:v>
                </c:pt>
                <c:pt idx="10500">
                  <c:v>308277720</c:v>
                </c:pt>
                <c:pt idx="10501">
                  <c:v>103738166</c:v>
                </c:pt>
                <c:pt idx="10502">
                  <c:v>84455070</c:v>
                </c:pt>
                <c:pt idx="10503">
                  <c:v>34581876</c:v>
                </c:pt>
                <c:pt idx="10504">
                  <c:v>52838632</c:v>
                </c:pt>
                <c:pt idx="10505">
                  <c:v>38650240</c:v>
                </c:pt>
                <c:pt idx="10506">
                  <c:v>13592590</c:v>
                </c:pt>
                <c:pt idx="10507">
                  <c:v>19522437</c:v>
                </c:pt>
                <c:pt idx="10508">
                  <c:v>40812100</c:v>
                </c:pt>
                <c:pt idx="10509">
                  <c:v>21695286</c:v>
                </c:pt>
                <c:pt idx="10510">
                  <c:v>12524475</c:v>
                </c:pt>
                <c:pt idx="10511">
                  <c:v>52826207</c:v>
                </c:pt>
                <c:pt idx="10512">
                  <c:v>213559596</c:v>
                </c:pt>
                <c:pt idx="10513">
                  <c:v>53437032</c:v>
                </c:pt>
                <c:pt idx="10514">
                  <c:v>2147483647</c:v>
                </c:pt>
                <c:pt idx="10515">
                  <c:v>204310960</c:v>
                </c:pt>
                <c:pt idx="10516">
                  <c:v>520604172</c:v>
                </c:pt>
                <c:pt idx="10517">
                  <c:v>32677873</c:v>
                </c:pt>
                <c:pt idx="10518">
                  <c:v>48073500</c:v>
                </c:pt>
                <c:pt idx="10519">
                  <c:v>15378790</c:v>
                </c:pt>
                <c:pt idx="10520">
                  <c:v>142921548</c:v>
                </c:pt>
                <c:pt idx="10521">
                  <c:v>148431513</c:v>
                </c:pt>
                <c:pt idx="10522">
                  <c:v>32449918</c:v>
                </c:pt>
                <c:pt idx="10523">
                  <c:v>124466880</c:v>
                </c:pt>
                <c:pt idx="10524">
                  <c:v>59583925</c:v>
                </c:pt>
                <c:pt idx="10525">
                  <c:v>2147483647</c:v>
                </c:pt>
                <c:pt idx="10526">
                  <c:v>257154018</c:v>
                </c:pt>
                <c:pt idx="10527">
                  <c:v>232973523</c:v>
                </c:pt>
                <c:pt idx="10528">
                  <c:v>152274360</c:v>
                </c:pt>
                <c:pt idx="10529">
                  <c:v>160083564</c:v>
                </c:pt>
                <c:pt idx="10530">
                  <c:v>170911060</c:v>
                </c:pt>
                <c:pt idx="10531">
                  <c:v>216943045</c:v>
                </c:pt>
                <c:pt idx="10532">
                  <c:v>110603239</c:v>
                </c:pt>
                <c:pt idx="10533">
                  <c:v>139248855</c:v>
                </c:pt>
                <c:pt idx="10534">
                  <c:v>319664720</c:v>
                </c:pt>
                <c:pt idx="10535">
                  <c:v>1524509316</c:v>
                </c:pt>
                <c:pt idx="10536">
                  <c:v>2029542294</c:v>
                </c:pt>
                <c:pt idx="10537">
                  <c:v>1893711216</c:v>
                </c:pt>
                <c:pt idx="10538">
                  <c:v>346207980</c:v>
                </c:pt>
                <c:pt idx="10539">
                  <c:v>54059104</c:v>
                </c:pt>
                <c:pt idx="10540">
                  <c:v>270194436</c:v>
                </c:pt>
                <c:pt idx="10541">
                  <c:v>122031771</c:v>
                </c:pt>
                <c:pt idx="10542">
                  <c:v>35100443</c:v>
                </c:pt>
                <c:pt idx="10543">
                  <c:v>98866359</c:v>
                </c:pt>
                <c:pt idx="10544">
                  <c:v>63073808</c:v>
                </c:pt>
                <c:pt idx="10545">
                  <c:v>810393093</c:v>
                </c:pt>
                <c:pt idx="10546">
                  <c:v>13406720</c:v>
                </c:pt>
                <c:pt idx="10547">
                  <c:v>190501050</c:v>
                </c:pt>
                <c:pt idx="10548">
                  <c:v>33685932</c:v>
                </c:pt>
                <c:pt idx="10549">
                  <c:v>91636191</c:v>
                </c:pt>
                <c:pt idx="10550">
                  <c:v>102332750</c:v>
                </c:pt>
                <c:pt idx="10551">
                  <c:v>451167428</c:v>
                </c:pt>
                <c:pt idx="10552">
                  <c:v>2147483647</c:v>
                </c:pt>
                <c:pt idx="10553">
                  <c:v>2074157450</c:v>
                </c:pt>
                <c:pt idx="10554">
                  <c:v>1757312128</c:v>
                </c:pt>
                <c:pt idx="10555">
                  <c:v>1423881359</c:v>
                </c:pt>
                <c:pt idx="10556">
                  <c:v>1128103108</c:v>
                </c:pt>
                <c:pt idx="10557">
                  <c:v>471689394</c:v>
                </c:pt>
                <c:pt idx="10558">
                  <c:v>198491216</c:v>
                </c:pt>
                <c:pt idx="10559">
                  <c:v>2147483647</c:v>
                </c:pt>
                <c:pt idx="10560">
                  <c:v>1356483258</c:v>
                </c:pt>
                <c:pt idx="10561">
                  <c:v>10270602</c:v>
                </c:pt>
                <c:pt idx="10562">
                  <c:v>67255188</c:v>
                </c:pt>
                <c:pt idx="10563">
                  <c:v>275239716</c:v>
                </c:pt>
                <c:pt idx="10564">
                  <c:v>211687718</c:v>
                </c:pt>
                <c:pt idx="10565">
                  <c:v>359075870</c:v>
                </c:pt>
                <c:pt idx="10566">
                  <c:v>185562436</c:v>
                </c:pt>
                <c:pt idx="10567">
                  <c:v>1038506931</c:v>
                </c:pt>
                <c:pt idx="10568">
                  <c:v>1748322896</c:v>
                </c:pt>
                <c:pt idx="10569">
                  <c:v>496575388</c:v>
                </c:pt>
                <c:pt idx="10570">
                  <c:v>618648717</c:v>
                </c:pt>
                <c:pt idx="10571">
                  <c:v>59536769</c:v>
                </c:pt>
                <c:pt idx="10572">
                  <c:v>149066616</c:v>
                </c:pt>
                <c:pt idx="10573">
                  <c:v>53697038</c:v>
                </c:pt>
                <c:pt idx="10574">
                  <c:v>262007970</c:v>
                </c:pt>
                <c:pt idx="10575">
                  <c:v>160380454</c:v>
                </c:pt>
                <c:pt idx="10576">
                  <c:v>796761178</c:v>
                </c:pt>
                <c:pt idx="10577">
                  <c:v>1080323124</c:v>
                </c:pt>
                <c:pt idx="10578">
                  <c:v>36340264</c:v>
                </c:pt>
                <c:pt idx="10579">
                  <c:v>2147483647</c:v>
                </c:pt>
                <c:pt idx="10580">
                  <c:v>641130504</c:v>
                </c:pt>
                <c:pt idx="10581">
                  <c:v>2147483647</c:v>
                </c:pt>
                <c:pt idx="10582">
                  <c:v>2030249086</c:v>
                </c:pt>
                <c:pt idx="10583">
                  <c:v>1858362905</c:v>
                </c:pt>
                <c:pt idx="10584">
                  <c:v>73430552</c:v>
                </c:pt>
                <c:pt idx="10585">
                  <c:v>953061466</c:v>
                </c:pt>
                <c:pt idx="10586">
                  <c:v>56617104</c:v>
                </c:pt>
                <c:pt idx="10587">
                  <c:v>968257591</c:v>
                </c:pt>
                <c:pt idx="10588">
                  <c:v>38309700</c:v>
                </c:pt>
                <c:pt idx="10589">
                  <c:v>48839301</c:v>
                </c:pt>
                <c:pt idx="10590">
                  <c:v>156579930</c:v>
                </c:pt>
                <c:pt idx="10591">
                  <c:v>106373088</c:v>
                </c:pt>
                <c:pt idx="10592">
                  <c:v>68910338</c:v>
                </c:pt>
                <c:pt idx="10593">
                  <c:v>304693058</c:v>
                </c:pt>
                <c:pt idx="10594">
                  <c:v>625399740</c:v>
                </c:pt>
                <c:pt idx="10595">
                  <c:v>69887800</c:v>
                </c:pt>
                <c:pt idx="10596">
                  <c:v>80420886</c:v>
                </c:pt>
                <c:pt idx="10597">
                  <c:v>12696348</c:v>
                </c:pt>
                <c:pt idx="10598">
                  <c:v>163887660</c:v>
                </c:pt>
                <c:pt idx="10599">
                  <c:v>879827224</c:v>
                </c:pt>
                <c:pt idx="10600">
                  <c:v>720902</c:v>
                </c:pt>
                <c:pt idx="10601">
                  <c:v>340997052</c:v>
                </c:pt>
                <c:pt idx="10602">
                  <c:v>1842452430</c:v>
                </c:pt>
                <c:pt idx="10603">
                  <c:v>876065718</c:v>
                </c:pt>
                <c:pt idx="10604">
                  <c:v>1794036492</c:v>
                </c:pt>
                <c:pt idx="10605">
                  <c:v>26455121</c:v>
                </c:pt>
                <c:pt idx="10606">
                  <c:v>50361355</c:v>
                </c:pt>
                <c:pt idx="10607">
                  <c:v>634168320</c:v>
                </c:pt>
                <c:pt idx="10608">
                  <c:v>117275278</c:v>
                </c:pt>
                <c:pt idx="10609">
                  <c:v>47598990</c:v>
                </c:pt>
                <c:pt idx="10610">
                  <c:v>119930280</c:v>
                </c:pt>
                <c:pt idx="10611">
                  <c:v>192012106</c:v>
                </c:pt>
                <c:pt idx="10612">
                  <c:v>209740928</c:v>
                </c:pt>
                <c:pt idx="10613">
                  <c:v>236022546</c:v>
                </c:pt>
                <c:pt idx="10614">
                  <c:v>214146676</c:v>
                </c:pt>
                <c:pt idx="10615">
                  <c:v>578357664</c:v>
                </c:pt>
                <c:pt idx="10616">
                  <c:v>175835475</c:v>
                </c:pt>
                <c:pt idx="10617">
                  <c:v>239977416</c:v>
                </c:pt>
                <c:pt idx="10618">
                  <c:v>140394550</c:v>
                </c:pt>
                <c:pt idx="10619">
                  <c:v>102043847</c:v>
                </c:pt>
                <c:pt idx="10620">
                  <c:v>929449471</c:v>
                </c:pt>
                <c:pt idx="10621">
                  <c:v>1059899712</c:v>
                </c:pt>
                <c:pt idx="10622">
                  <c:v>2147483647</c:v>
                </c:pt>
                <c:pt idx="10623">
                  <c:v>1209685600</c:v>
                </c:pt>
                <c:pt idx="10624">
                  <c:v>1003491830</c:v>
                </c:pt>
                <c:pt idx="10625">
                  <c:v>655724796</c:v>
                </c:pt>
                <c:pt idx="10626">
                  <c:v>1517838620</c:v>
                </c:pt>
                <c:pt idx="10627">
                  <c:v>435950452</c:v>
                </c:pt>
                <c:pt idx="10628">
                  <c:v>2147483647</c:v>
                </c:pt>
                <c:pt idx="10629">
                  <c:v>1123234272</c:v>
                </c:pt>
                <c:pt idx="10630">
                  <c:v>1115745071</c:v>
                </c:pt>
                <c:pt idx="10631">
                  <c:v>2147483647</c:v>
                </c:pt>
                <c:pt idx="10632">
                  <c:v>805039380</c:v>
                </c:pt>
                <c:pt idx="10633">
                  <c:v>831362944</c:v>
                </c:pt>
                <c:pt idx="10634">
                  <c:v>392125194</c:v>
                </c:pt>
                <c:pt idx="10635">
                  <c:v>91329569</c:v>
                </c:pt>
                <c:pt idx="10636">
                  <c:v>537881192</c:v>
                </c:pt>
                <c:pt idx="10637">
                  <c:v>2075802932</c:v>
                </c:pt>
                <c:pt idx="10638">
                  <c:v>22834480</c:v>
                </c:pt>
                <c:pt idx="10639">
                  <c:v>212746755</c:v>
                </c:pt>
                <c:pt idx="10640">
                  <c:v>654399900</c:v>
                </c:pt>
                <c:pt idx="10641">
                  <c:v>61784380</c:v>
                </c:pt>
                <c:pt idx="10642">
                  <c:v>165732684</c:v>
                </c:pt>
                <c:pt idx="10643">
                  <c:v>90024330</c:v>
                </c:pt>
                <c:pt idx="10644">
                  <c:v>55594275</c:v>
                </c:pt>
                <c:pt idx="10645">
                  <c:v>97321510</c:v>
                </c:pt>
                <c:pt idx="10646">
                  <c:v>626031621</c:v>
                </c:pt>
                <c:pt idx="10647">
                  <c:v>1149659280</c:v>
                </c:pt>
                <c:pt idx="10648">
                  <c:v>25531020</c:v>
                </c:pt>
                <c:pt idx="10649">
                  <c:v>94674081</c:v>
                </c:pt>
                <c:pt idx="10650">
                  <c:v>33787908</c:v>
                </c:pt>
                <c:pt idx="10651">
                  <c:v>466758028</c:v>
                </c:pt>
                <c:pt idx="10652">
                  <c:v>200896416</c:v>
                </c:pt>
                <c:pt idx="10653">
                  <c:v>907337900</c:v>
                </c:pt>
                <c:pt idx="10654">
                  <c:v>126699430</c:v>
                </c:pt>
                <c:pt idx="10655">
                  <c:v>51348930</c:v>
                </c:pt>
                <c:pt idx="10656">
                  <c:v>8029140</c:v>
                </c:pt>
                <c:pt idx="10657">
                  <c:v>269986154</c:v>
                </c:pt>
                <c:pt idx="10658">
                  <c:v>40419162</c:v>
                </c:pt>
                <c:pt idx="10659">
                  <c:v>179392928</c:v>
                </c:pt>
                <c:pt idx="10660">
                  <c:v>179137466</c:v>
                </c:pt>
                <c:pt idx="10661">
                  <c:v>200172784</c:v>
                </c:pt>
                <c:pt idx="10662">
                  <c:v>67492040</c:v>
                </c:pt>
                <c:pt idx="10663">
                  <c:v>10880331</c:v>
                </c:pt>
                <c:pt idx="10664">
                  <c:v>665783020</c:v>
                </c:pt>
                <c:pt idx="10665">
                  <c:v>95476437</c:v>
                </c:pt>
                <c:pt idx="10666">
                  <c:v>136293423</c:v>
                </c:pt>
                <c:pt idx="10667">
                  <c:v>65879013</c:v>
                </c:pt>
                <c:pt idx="10668">
                  <c:v>26583660</c:v>
                </c:pt>
                <c:pt idx="10669">
                  <c:v>439719232</c:v>
                </c:pt>
                <c:pt idx="10670">
                  <c:v>98989460</c:v>
                </c:pt>
                <c:pt idx="10671">
                  <c:v>1692009375</c:v>
                </c:pt>
                <c:pt idx="10672">
                  <c:v>70513161</c:v>
                </c:pt>
                <c:pt idx="10673">
                  <c:v>216247128</c:v>
                </c:pt>
                <c:pt idx="10674">
                  <c:v>193985330</c:v>
                </c:pt>
                <c:pt idx="10675">
                  <c:v>5259150</c:v>
                </c:pt>
                <c:pt idx="10676">
                  <c:v>89882842</c:v>
                </c:pt>
                <c:pt idx="10677">
                  <c:v>161895922</c:v>
                </c:pt>
                <c:pt idx="10678">
                  <c:v>399349174</c:v>
                </c:pt>
                <c:pt idx="10679">
                  <c:v>721934864</c:v>
                </c:pt>
                <c:pt idx="10680">
                  <c:v>79382160</c:v>
                </c:pt>
                <c:pt idx="10681">
                  <c:v>133751610</c:v>
                </c:pt>
                <c:pt idx="10682">
                  <c:v>27386904</c:v>
                </c:pt>
                <c:pt idx="10683">
                  <c:v>62505702</c:v>
                </c:pt>
                <c:pt idx="10684">
                  <c:v>53402160</c:v>
                </c:pt>
                <c:pt idx="10685">
                  <c:v>66274656</c:v>
                </c:pt>
                <c:pt idx="10686">
                  <c:v>1542461772</c:v>
                </c:pt>
                <c:pt idx="10687">
                  <c:v>26247384</c:v>
                </c:pt>
                <c:pt idx="10688">
                  <c:v>32191625</c:v>
                </c:pt>
                <c:pt idx="10689">
                  <c:v>264097572</c:v>
                </c:pt>
                <c:pt idx="10690">
                  <c:v>15077846</c:v>
                </c:pt>
                <c:pt idx="10691">
                  <c:v>156545172</c:v>
                </c:pt>
                <c:pt idx="10692">
                  <c:v>89541261</c:v>
                </c:pt>
                <c:pt idx="10693">
                  <c:v>46755864</c:v>
                </c:pt>
                <c:pt idx="10694">
                  <c:v>117509535</c:v>
                </c:pt>
                <c:pt idx="10695">
                  <c:v>5422896</c:v>
                </c:pt>
                <c:pt idx="10696">
                  <c:v>926757048</c:v>
                </c:pt>
                <c:pt idx="10697">
                  <c:v>934852853</c:v>
                </c:pt>
                <c:pt idx="10698">
                  <c:v>149511700</c:v>
                </c:pt>
                <c:pt idx="10699">
                  <c:v>258867133</c:v>
                </c:pt>
                <c:pt idx="10700">
                  <c:v>178268760</c:v>
                </c:pt>
                <c:pt idx="10701">
                  <c:v>87685644</c:v>
                </c:pt>
                <c:pt idx="10702">
                  <c:v>768818952</c:v>
                </c:pt>
                <c:pt idx="10703">
                  <c:v>36026856</c:v>
                </c:pt>
                <c:pt idx="10704">
                  <c:v>2381292</c:v>
                </c:pt>
                <c:pt idx="10705">
                  <c:v>6867080</c:v>
                </c:pt>
                <c:pt idx="10706">
                  <c:v>255126872</c:v>
                </c:pt>
                <c:pt idx="10707">
                  <c:v>498888000</c:v>
                </c:pt>
                <c:pt idx="10708">
                  <c:v>121761774</c:v>
                </c:pt>
                <c:pt idx="10709">
                  <c:v>170745606</c:v>
                </c:pt>
                <c:pt idx="10710">
                  <c:v>347411122</c:v>
                </c:pt>
                <c:pt idx="10711">
                  <c:v>934803208</c:v>
                </c:pt>
                <c:pt idx="10712">
                  <c:v>227376160</c:v>
                </c:pt>
                <c:pt idx="10713">
                  <c:v>120498048</c:v>
                </c:pt>
                <c:pt idx="10714">
                  <c:v>134121500</c:v>
                </c:pt>
                <c:pt idx="10715">
                  <c:v>106765390</c:v>
                </c:pt>
                <c:pt idx="10716">
                  <c:v>53954316</c:v>
                </c:pt>
                <c:pt idx="10717">
                  <c:v>489289626</c:v>
                </c:pt>
                <c:pt idx="10718">
                  <c:v>610190820</c:v>
                </c:pt>
                <c:pt idx="10719">
                  <c:v>911912560</c:v>
                </c:pt>
                <c:pt idx="10720">
                  <c:v>415880962</c:v>
                </c:pt>
                <c:pt idx="10721">
                  <c:v>265644600</c:v>
                </c:pt>
                <c:pt idx="10722">
                  <c:v>2053700905</c:v>
                </c:pt>
                <c:pt idx="10723">
                  <c:v>962274995</c:v>
                </c:pt>
                <c:pt idx="10724">
                  <c:v>1204839742</c:v>
                </c:pt>
                <c:pt idx="10725">
                  <c:v>896377676</c:v>
                </c:pt>
                <c:pt idx="10726">
                  <c:v>104877530</c:v>
                </c:pt>
                <c:pt idx="10727">
                  <c:v>498877296</c:v>
                </c:pt>
                <c:pt idx="10728">
                  <c:v>364663472</c:v>
                </c:pt>
                <c:pt idx="10729">
                  <c:v>1038348219</c:v>
                </c:pt>
                <c:pt idx="10730">
                  <c:v>81477132</c:v>
                </c:pt>
                <c:pt idx="10731">
                  <c:v>242421516</c:v>
                </c:pt>
                <c:pt idx="10732">
                  <c:v>412074432</c:v>
                </c:pt>
                <c:pt idx="10733">
                  <c:v>800341300</c:v>
                </c:pt>
                <c:pt idx="10734">
                  <c:v>180469423</c:v>
                </c:pt>
                <c:pt idx="10735">
                  <c:v>319314137</c:v>
                </c:pt>
                <c:pt idx="10736">
                  <c:v>117752432</c:v>
                </c:pt>
                <c:pt idx="10737">
                  <c:v>23916272</c:v>
                </c:pt>
                <c:pt idx="10738">
                  <c:v>100564000</c:v>
                </c:pt>
                <c:pt idx="10739">
                  <c:v>909669291</c:v>
                </c:pt>
                <c:pt idx="10740">
                  <c:v>1120010940</c:v>
                </c:pt>
                <c:pt idx="10741">
                  <c:v>499834150</c:v>
                </c:pt>
                <c:pt idx="10742">
                  <c:v>977251050</c:v>
                </c:pt>
                <c:pt idx="10743">
                  <c:v>109078480</c:v>
                </c:pt>
                <c:pt idx="10744">
                  <c:v>165283770</c:v>
                </c:pt>
                <c:pt idx="10745">
                  <c:v>289553568</c:v>
                </c:pt>
                <c:pt idx="10746">
                  <c:v>319093872</c:v>
                </c:pt>
                <c:pt idx="10747">
                  <c:v>123593904</c:v>
                </c:pt>
                <c:pt idx="10748">
                  <c:v>22949715</c:v>
                </c:pt>
                <c:pt idx="10749">
                  <c:v>153233972</c:v>
                </c:pt>
                <c:pt idx="10750">
                  <c:v>127138392</c:v>
                </c:pt>
                <c:pt idx="10751">
                  <c:v>76658376</c:v>
                </c:pt>
                <c:pt idx="10752">
                  <c:v>249691836</c:v>
                </c:pt>
                <c:pt idx="10753">
                  <c:v>150017145</c:v>
                </c:pt>
                <c:pt idx="10754">
                  <c:v>158348620</c:v>
                </c:pt>
                <c:pt idx="10755">
                  <c:v>122394645</c:v>
                </c:pt>
                <c:pt idx="10756">
                  <c:v>17533387</c:v>
                </c:pt>
                <c:pt idx="10757">
                  <c:v>107755811</c:v>
                </c:pt>
                <c:pt idx="10758">
                  <c:v>21145176</c:v>
                </c:pt>
                <c:pt idx="10759">
                  <c:v>102058992</c:v>
                </c:pt>
                <c:pt idx="10760">
                  <c:v>13798066</c:v>
                </c:pt>
                <c:pt idx="10761">
                  <c:v>754690460</c:v>
                </c:pt>
                <c:pt idx="10762">
                  <c:v>381590190</c:v>
                </c:pt>
                <c:pt idx="10763">
                  <c:v>148836795</c:v>
                </c:pt>
                <c:pt idx="10764">
                  <c:v>29949348</c:v>
                </c:pt>
                <c:pt idx="10765">
                  <c:v>46821631</c:v>
                </c:pt>
                <c:pt idx="10766">
                  <c:v>497547870</c:v>
                </c:pt>
                <c:pt idx="10767">
                  <c:v>49021224</c:v>
                </c:pt>
                <c:pt idx="10768">
                  <c:v>48621118</c:v>
                </c:pt>
                <c:pt idx="10769">
                  <c:v>33605810</c:v>
                </c:pt>
                <c:pt idx="10770">
                  <c:v>222852312</c:v>
                </c:pt>
                <c:pt idx="10771">
                  <c:v>131910330</c:v>
                </c:pt>
                <c:pt idx="10772">
                  <c:v>211825863</c:v>
                </c:pt>
                <c:pt idx="10773">
                  <c:v>653099961</c:v>
                </c:pt>
                <c:pt idx="10774">
                  <c:v>476743680</c:v>
                </c:pt>
                <c:pt idx="10775">
                  <c:v>508823616</c:v>
                </c:pt>
                <c:pt idx="10776">
                  <c:v>157549024</c:v>
                </c:pt>
                <c:pt idx="10777">
                  <c:v>22997040</c:v>
                </c:pt>
                <c:pt idx="10778">
                  <c:v>92316744</c:v>
                </c:pt>
                <c:pt idx="10779">
                  <c:v>45151392</c:v>
                </c:pt>
                <c:pt idx="10780">
                  <c:v>57227000</c:v>
                </c:pt>
                <c:pt idx="10781">
                  <c:v>281305783</c:v>
                </c:pt>
                <c:pt idx="10782">
                  <c:v>352001832</c:v>
                </c:pt>
                <c:pt idx="10783">
                  <c:v>53271666</c:v>
                </c:pt>
                <c:pt idx="10784">
                  <c:v>640106205</c:v>
                </c:pt>
                <c:pt idx="10785">
                  <c:v>262442909</c:v>
                </c:pt>
                <c:pt idx="10786">
                  <c:v>14063258</c:v>
                </c:pt>
                <c:pt idx="10787">
                  <c:v>394098760</c:v>
                </c:pt>
                <c:pt idx="10788">
                  <c:v>150294466</c:v>
                </c:pt>
                <c:pt idx="10789">
                  <c:v>70883349</c:v>
                </c:pt>
                <c:pt idx="10790">
                  <c:v>442106392</c:v>
                </c:pt>
                <c:pt idx="10791">
                  <c:v>592409956</c:v>
                </c:pt>
                <c:pt idx="10792">
                  <c:v>717667800</c:v>
                </c:pt>
                <c:pt idx="10793">
                  <c:v>493559475</c:v>
                </c:pt>
                <c:pt idx="10794">
                  <c:v>95330213</c:v>
                </c:pt>
                <c:pt idx="10795">
                  <c:v>880635294</c:v>
                </c:pt>
                <c:pt idx="10796">
                  <c:v>1214047225</c:v>
                </c:pt>
                <c:pt idx="10797">
                  <c:v>729564726</c:v>
                </c:pt>
                <c:pt idx="10798">
                  <c:v>77341130</c:v>
                </c:pt>
                <c:pt idx="10799">
                  <c:v>256864270</c:v>
                </c:pt>
                <c:pt idx="10800">
                  <c:v>55899708</c:v>
                </c:pt>
                <c:pt idx="10801">
                  <c:v>36232754</c:v>
                </c:pt>
                <c:pt idx="10802">
                  <c:v>102890668</c:v>
                </c:pt>
                <c:pt idx="10803">
                  <c:v>342287728</c:v>
                </c:pt>
                <c:pt idx="10804">
                  <c:v>859635912</c:v>
                </c:pt>
                <c:pt idx="10805">
                  <c:v>124263216</c:v>
                </c:pt>
                <c:pt idx="10806">
                  <c:v>11282415</c:v>
                </c:pt>
                <c:pt idx="10807">
                  <c:v>176018296</c:v>
                </c:pt>
                <c:pt idx="10808">
                  <c:v>448450618</c:v>
                </c:pt>
                <c:pt idx="10809">
                  <c:v>245057577</c:v>
                </c:pt>
                <c:pt idx="10810">
                  <c:v>123607929</c:v>
                </c:pt>
                <c:pt idx="10811">
                  <c:v>74866940</c:v>
                </c:pt>
                <c:pt idx="10812">
                  <c:v>40328820</c:v>
                </c:pt>
                <c:pt idx="10813">
                  <c:v>1075853568</c:v>
                </c:pt>
                <c:pt idx="10814">
                  <c:v>297337687</c:v>
                </c:pt>
                <c:pt idx="10815">
                  <c:v>204882183</c:v>
                </c:pt>
                <c:pt idx="10816">
                  <c:v>128447424</c:v>
                </c:pt>
                <c:pt idx="10817">
                  <c:v>106330979</c:v>
                </c:pt>
                <c:pt idx="10818">
                  <c:v>56184440</c:v>
                </c:pt>
                <c:pt idx="10819">
                  <c:v>962500920</c:v>
                </c:pt>
                <c:pt idx="10820">
                  <c:v>55585028</c:v>
                </c:pt>
                <c:pt idx="10821">
                  <c:v>94544604</c:v>
                </c:pt>
                <c:pt idx="10822">
                  <c:v>327546208</c:v>
                </c:pt>
                <c:pt idx="10823">
                  <c:v>425349380</c:v>
                </c:pt>
                <c:pt idx="10824">
                  <c:v>100979732</c:v>
                </c:pt>
                <c:pt idx="10825">
                  <c:v>192310981</c:v>
                </c:pt>
                <c:pt idx="10826">
                  <c:v>642883281</c:v>
                </c:pt>
                <c:pt idx="10827">
                  <c:v>139209564</c:v>
                </c:pt>
                <c:pt idx="10828">
                  <c:v>810285894</c:v>
                </c:pt>
                <c:pt idx="10829">
                  <c:v>55342886</c:v>
                </c:pt>
                <c:pt idx="10830">
                  <c:v>102206136</c:v>
                </c:pt>
                <c:pt idx="10831">
                  <c:v>96021756</c:v>
                </c:pt>
                <c:pt idx="10832">
                  <c:v>239473824</c:v>
                </c:pt>
                <c:pt idx="10833">
                  <c:v>32814072</c:v>
                </c:pt>
                <c:pt idx="10834">
                  <c:v>85881532</c:v>
                </c:pt>
                <c:pt idx="10835">
                  <c:v>366678652</c:v>
                </c:pt>
                <c:pt idx="10836">
                  <c:v>851877208</c:v>
                </c:pt>
                <c:pt idx="10837">
                  <c:v>267530248</c:v>
                </c:pt>
                <c:pt idx="10838">
                  <c:v>9421061</c:v>
                </c:pt>
                <c:pt idx="10839">
                  <c:v>251212624</c:v>
                </c:pt>
                <c:pt idx="10840">
                  <c:v>92490996</c:v>
                </c:pt>
                <c:pt idx="10841">
                  <c:v>56240684</c:v>
                </c:pt>
                <c:pt idx="10842">
                  <c:v>105497374</c:v>
                </c:pt>
                <c:pt idx="10843">
                  <c:v>212630415</c:v>
                </c:pt>
                <c:pt idx="10844">
                  <c:v>106504024</c:v>
                </c:pt>
                <c:pt idx="10845">
                  <c:v>107526700</c:v>
                </c:pt>
                <c:pt idx="10846">
                  <c:v>68480303</c:v>
                </c:pt>
                <c:pt idx="10847">
                  <c:v>219405384</c:v>
                </c:pt>
                <c:pt idx="10848">
                  <c:v>93558264</c:v>
                </c:pt>
                <c:pt idx="10849">
                  <c:v>41071998</c:v>
                </c:pt>
                <c:pt idx="10850">
                  <c:v>114514634</c:v>
                </c:pt>
                <c:pt idx="10851">
                  <c:v>571762800</c:v>
                </c:pt>
                <c:pt idx="10852">
                  <c:v>505722544</c:v>
                </c:pt>
                <c:pt idx="10853">
                  <c:v>514976254</c:v>
                </c:pt>
                <c:pt idx="10854">
                  <c:v>81638634</c:v>
                </c:pt>
                <c:pt idx="10855">
                  <c:v>82546288</c:v>
                </c:pt>
                <c:pt idx="10856">
                  <c:v>698767845</c:v>
                </c:pt>
                <c:pt idx="10857">
                  <c:v>1385224720</c:v>
                </c:pt>
                <c:pt idx="10858">
                  <c:v>1668364740</c:v>
                </c:pt>
                <c:pt idx="10859">
                  <c:v>1209733002</c:v>
                </c:pt>
                <c:pt idx="10860">
                  <c:v>713465272</c:v>
                </c:pt>
                <c:pt idx="10861">
                  <c:v>2147483647</c:v>
                </c:pt>
                <c:pt idx="10862">
                  <c:v>1069775300</c:v>
                </c:pt>
                <c:pt idx="10863">
                  <c:v>357989898</c:v>
                </c:pt>
                <c:pt idx="10864">
                  <c:v>1151604864</c:v>
                </c:pt>
                <c:pt idx="10865">
                  <c:v>852856065</c:v>
                </c:pt>
                <c:pt idx="10866">
                  <c:v>1576948870</c:v>
                </c:pt>
                <c:pt idx="10867">
                  <c:v>675683640</c:v>
                </c:pt>
                <c:pt idx="10868">
                  <c:v>109943200</c:v>
                </c:pt>
                <c:pt idx="10869">
                  <c:v>1725742685</c:v>
                </c:pt>
                <c:pt idx="10870">
                  <c:v>415153401</c:v>
                </c:pt>
                <c:pt idx="10871">
                  <c:v>124279236</c:v>
                </c:pt>
                <c:pt idx="10872">
                  <c:v>203504048</c:v>
                </c:pt>
                <c:pt idx="10873">
                  <c:v>278319102</c:v>
                </c:pt>
                <c:pt idx="10874">
                  <c:v>287247154</c:v>
                </c:pt>
                <c:pt idx="10875">
                  <c:v>58842564</c:v>
                </c:pt>
                <c:pt idx="10876">
                  <c:v>1562177008</c:v>
                </c:pt>
                <c:pt idx="10877">
                  <c:v>2147483647</c:v>
                </c:pt>
                <c:pt idx="10878">
                  <c:v>1374785912</c:v>
                </c:pt>
                <c:pt idx="10879">
                  <c:v>388228334</c:v>
                </c:pt>
                <c:pt idx="10880">
                  <c:v>139530664</c:v>
                </c:pt>
                <c:pt idx="10881">
                  <c:v>916863260</c:v>
                </c:pt>
                <c:pt idx="10882">
                  <c:v>505221168</c:v>
                </c:pt>
                <c:pt idx="10883">
                  <c:v>12733929</c:v>
                </c:pt>
                <c:pt idx="10884">
                  <c:v>89321280</c:v>
                </c:pt>
                <c:pt idx="10885">
                  <c:v>21607433</c:v>
                </c:pt>
                <c:pt idx="10886">
                  <c:v>27670885</c:v>
                </c:pt>
                <c:pt idx="10887">
                  <c:v>111839480</c:v>
                </c:pt>
                <c:pt idx="10888">
                  <c:v>56390388</c:v>
                </c:pt>
                <c:pt idx="10889">
                  <c:v>17215551</c:v>
                </c:pt>
                <c:pt idx="10890">
                  <c:v>13286889</c:v>
                </c:pt>
                <c:pt idx="10891">
                  <c:v>94701474</c:v>
                </c:pt>
                <c:pt idx="10892">
                  <c:v>14962890</c:v>
                </c:pt>
                <c:pt idx="10893">
                  <c:v>91639061</c:v>
                </c:pt>
                <c:pt idx="10894">
                  <c:v>771666420</c:v>
                </c:pt>
                <c:pt idx="10895">
                  <c:v>118532781</c:v>
                </c:pt>
                <c:pt idx="10896">
                  <c:v>313279316</c:v>
                </c:pt>
                <c:pt idx="10897">
                  <c:v>177766056</c:v>
                </c:pt>
                <c:pt idx="10898">
                  <c:v>370956806</c:v>
                </c:pt>
                <c:pt idx="10899">
                  <c:v>32920992</c:v>
                </c:pt>
                <c:pt idx="10900">
                  <c:v>338064288</c:v>
                </c:pt>
                <c:pt idx="10901">
                  <c:v>134825057</c:v>
                </c:pt>
                <c:pt idx="10902">
                  <c:v>43567236</c:v>
                </c:pt>
                <c:pt idx="10903">
                  <c:v>289806283</c:v>
                </c:pt>
                <c:pt idx="10904">
                  <c:v>77731043</c:v>
                </c:pt>
                <c:pt idx="10905">
                  <c:v>91941729</c:v>
                </c:pt>
                <c:pt idx="10906">
                  <c:v>23708675</c:v>
                </c:pt>
                <c:pt idx="10907">
                  <c:v>62995482</c:v>
                </c:pt>
                <c:pt idx="10908">
                  <c:v>52322064</c:v>
                </c:pt>
                <c:pt idx="10909">
                  <c:v>868783976</c:v>
                </c:pt>
                <c:pt idx="10910">
                  <c:v>1005189785</c:v>
                </c:pt>
                <c:pt idx="10911">
                  <c:v>111729387</c:v>
                </c:pt>
                <c:pt idx="10912">
                  <c:v>376795350</c:v>
                </c:pt>
                <c:pt idx="10913">
                  <c:v>309746433</c:v>
                </c:pt>
                <c:pt idx="10914">
                  <c:v>259402668</c:v>
                </c:pt>
                <c:pt idx="10915">
                  <c:v>769362524</c:v>
                </c:pt>
                <c:pt idx="10916">
                  <c:v>1333051644</c:v>
                </c:pt>
                <c:pt idx="10917">
                  <c:v>461151579</c:v>
                </c:pt>
                <c:pt idx="10918">
                  <c:v>393510081</c:v>
                </c:pt>
                <c:pt idx="10919">
                  <c:v>746681376</c:v>
                </c:pt>
                <c:pt idx="10920">
                  <c:v>820412970</c:v>
                </c:pt>
                <c:pt idx="10921">
                  <c:v>1456173375</c:v>
                </c:pt>
                <c:pt idx="10922">
                  <c:v>664342575</c:v>
                </c:pt>
                <c:pt idx="10923">
                  <c:v>1089534012</c:v>
                </c:pt>
                <c:pt idx="10924">
                  <c:v>1289668149</c:v>
                </c:pt>
                <c:pt idx="10925">
                  <c:v>428571405</c:v>
                </c:pt>
                <c:pt idx="10926">
                  <c:v>1333773192</c:v>
                </c:pt>
                <c:pt idx="10927">
                  <c:v>79328907</c:v>
                </c:pt>
                <c:pt idx="10928">
                  <c:v>627005325</c:v>
                </c:pt>
                <c:pt idx="10929">
                  <c:v>827682940</c:v>
                </c:pt>
                <c:pt idx="10930">
                  <c:v>759637524</c:v>
                </c:pt>
                <c:pt idx="10931">
                  <c:v>916306272</c:v>
                </c:pt>
                <c:pt idx="10932">
                  <c:v>998281995</c:v>
                </c:pt>
                <c:pt idx="10933">
                  <c:v>1592284148</c:v>
                </c:pt>
                <c:pt idx="10934">
                  <c:v>1275906852</c:v>
                </c:pt>
                <c:pt idx="10935">
                  <c:v>545081740</c:v>
                </c:pt>
                <c:pt idx="10936">
                  <c:v>214095168</c:v>
                </c:pt>
                <c:pt idx="10937">
                  <c:v>32042367</c:v>
                </c:pt>
                <c:pt idx="10938">
                  <c:v>65189730</c:v>
                </c:pt>
                <c:pt idx="10939">
                  <c:v>46693648</c:v>
                </c:pt>
                <c:pt idx="10940">
                  <c:v>19759184</c:v>
                </c:pt>
                <c:pt idx="10941">
                  <c:v>162127888</c:v>
                </c:pt>
                <c:pt idx="10942">
                  <c:v>5083232</c:v>
                </c:pt>
                <c:pt idx="10943">
                  <c:v>66637256</c:v>
                </c:pt>
                <c:pt idx="10944">
                  <c:v>96791268</c:v>
                </c:pt>
                <c:pt idx="10945">
                  <c:v>38151936</c:v>
                </c:pt>
                <c:pt idx="10946">
                  <c:v>38560788</c:v>
                </c:pt>
                <c:pt idx="10947">
                  <c:v>65024934</c:v>
                </c:pt>
                <c:pt idx="10948">
                  <c:v>4340096</c:v>
                </c:pt>
                <c:pt idx="10949">
                  <c:v>27621869</c:v>
                </c:pt>
                <c:pt idx="10950">
                  <c:v>342229213</c:v>
                </c:pt>
                <c:pt idx="10951">
                  <c:v>61123171</c:v>
                </c:pt>
                <c:pt idx="10952">
                  <c:v>23562315</c:v>
                </c:pt>
                <c:pt idx="10953">
                  <c:v>466565376</c:v>
                </c:pt>
                <c:pt idx="10954">
                  <c:v>63620523</c:v>
                </c:pt>
                <c:pt idx="10955">
                  <c:v>27430224</c:v>
                </c:pt>
                <c:pt idx="10956">
                  <c:v>7763347</c:v>
                </c:pt>
                <c:pt idx="10957">
                  <c:v>57275900</c:v>
                </c:pt>
                <c:pt idx="10958">
                  <c:v>90239850</c:v>
                </c:pt>
                <c:pt idx="10959">
                  <c:v>120022335</c:v>
                </c:pt>
                <c:pt idx="10960">
                  <c:v>36162325</c:v>
                </c:pt>
                <c:pt idx="10961">
                  <c:v>12036324</c:v>
                </c:pt>
                <c:pt idx="10962">
                  <c:v>94760000</c:v>
                </c:pt>
                <c:pt idx="10963">
                  <c:v>393561146</c:v>
                </c:pt>
                <c:pt idx="10964">
                  <c:v>678179229</c:v>
                </c:pt>
                <c:pt idx="10965">
                  <c:v>1624999992</c:v>
                </c:pt>
                <c:pt idx="10966">
                  <c:v>150944265</c:v>
                </c:pt>
                <c:pt idx="10967">
                  <c:v>23665437</c:v>
                </c:pt>
                <c:pt idx="10968">
                  <c:v>118483008</c:v>
                </c:pt>
                <c:pt idx="10969">
                  <c:v>77472000</c:v>
                </c:pt>
                <c:pt idx="10970">
                  <c:v>56480256</c:v>
                </c:pt>
                <c:pt idx="10971">
                  <c:v>62462040</c:v>
                </c:pt>
                <c:pt idx="10972">
                  <c:v>249997377</c:v>
                </c:pt>
                <c:pt idx="10973">
                  <c:v>58731380</c:v>
                </c:pt>
                <c:pt idx="10974">
                  <c:v>78520662</c:v>
                </c:pt>
                <c:pt idx="10975">
                  <c:v>8449524</c:v>
                </c:pt>
                <c:pt idx="10976">
                  <c:v>73074432</c:v>
                </c:pt>
                <c:pt idx="10977">
                  <c:v>84650148</c:v>
                </c:pt>
                <c:pt idx="10978">
                  <c:v>29736806</c:v>
                </c:pt>
                <c:pt idx="10979">
                  <c:v>48791094</c:v>
                </c:pt>
                <c:pt idx="10980">
                  <c:v>31258664</c:v>
                </c:pt>
                <c:pt idx="10981">
                  <c:v>1340700</c:v>
                </c:pt>
                <c:pt idx="10982">
                  <c:v>12842271</c:v>
                </c:pt>
                <c:pt idx="10983">
                  <c:v>244617153</c:v>
                </c:pt>
                <c:pt idx="10984">
                  <c:v>56043711</c:v>
                </c:pt>
                <c:pt idx="10985">
                  <c:v>27945264</c:v>
                </c:pt>
                <c:pt idx="10986">
                  <c:v>426686650</c:v>
                </c:pt>
                <c:pt idx="10987">
                  <c:v>221118546</c:v>
                </c:pt>
                <c:pt idx="10988">
                  <c:v>38397804</c:v>
                </c:pt>
                <c:pt idx="10989">
                  <c:v>21330468</c:v>
                </c:pt>
                <c:pt idx="10990">
                  <c:v>414388845</c:v>
                </c:pt>
                <c:pt idx="10991">
                  <c:v>15498822</c:v>
                </c:pt>
                <c:pt idx="10992">
                  <c:v>265888370</c:v>
                </c:pt>
                <c:pt idx="10993">
                  <c:v>78748800</c:v>
                </c:pt>
                <c:pt idx="10994">
                  <c:v>76465522</c:v>
                </c:pt>
                <c:pt idx="10995">
                  <c:v>307387258</c:v>
                </c:pt>
                <c:pt idx="10996">
                  <c:v>6842760</c:v>
                </c:pt>
                <c:pt idx="10997">
                  <c:v>27073990</c:v>
                </c:pt>
                <c:pt idx="10998">
                  <c:v>33744000</c:v>
                </c:pt>
                <c:pt idx="10999">
                  <c:v>138475556</c:v>
                </c:pt>
                <c:pt idx="11000">
                  <c:v>68337136</c:v>
                </c:pt>
                <c:pt idx="11001">
                  <c:v>66653067</c:v>
                </c:pt>
                <c:pt idx="11002">
                  <c:v>39434220</c:v>
                </c:pt>
                <c:pt idx="11003">
                  <c:v>43289505</c:v>
                </c:pt>
                <c:pt idx="11004">
                  <c:v>23665896</c:v>
                </c:pt>
                <c:pt idx="11005">
                  <c:v>18670190</c:v>
                </c:pt>
                <c:pt idx="11006">
                  <c:v>409575096</c:v>
                </c:pt>
                <c:pt idx="11007">
                  <c:v>40448100</c:v>
                </c:pt>
                <c:pt idx="11008">
                  <c:v>163771564</c:v>
                </c:pt>
                <c:pt idx="11009">
                  <c:v>5746460</c:v>
                </c:pt>
                <c:pt idx="11010">
                  <c:v>35971306</c:v>
                </c:pt>
                <c:pt idx="11011">
                  <c:v>8992416</c:v>
                </c:pt>
                <c:pt idx="11012">
                  <c:v>31409676</c:v>
                </c:pt>
                <c:pt idx="11013">
                  <c:v>197839074</c:v>
                </c:pt>
                <c:pt idx="11014">
                  <c:v>12690318</c:v>
                </c:pt>
                <c:pt idx="11015">
                  <c:v>47954172</c:v>
                </c:pt>
                <c:pt idx="11016">
                  <c:v>24172738</c:v>
                </c:pt>
                <c:pt idx="11017">
                  <c:v>25281360</c:v>
                </c:pt>
                <c:pt idx="11018">
                  <c:v>2015723556</c:v>
                </c:pt>
                <c:pt idx="11019">
                  <c:v>51483729</c:v>
                </c:pt>
                <c:pt idx="11020">
                  <c:v>89613330</c:v>
                </c:pt>
                <c:pt idx="11021">
                  <c:v>50215718</c:v>
                </c:pt>
                <c:pt idx="11022">
                  <c:v>112040721</c:v>
                </c:pt>
                <c:pt idx="11023">
                  <c:v>31290771</c:v>
                </c:pt>
                <c:pt idx="11024">
                  <c:v>10872831</c:v>
                </c:pt>
                <c:pt idx="11025">
                  <c:v>26697871</c:v>
                </c:pt>
                <c:pt idx="11026">
                  <c:v>95758182</c:v>
                </c:pt>
                <c:pt idx="11027">
                  <c:v>13153974</c:v>
                </c:pt>
                <c:pt idx="11028">
                  <c:v>57046740</c:v>
                </c:pt>
                <c:pt idx="11029">
                  <c:v>28516454</c:v>
                </c:pt>
                <c:pt idx="11030">
                  <c:v>214528872</c:v>
                </c:pt>
                <c:pt idx="11031">
                  <c:v>59956780</c:v>
                </c:pt>
                <c:pt idx="11032">
                  <c:v>550562067</c:v>
                </c:pt>
                <c:pt idx="11033">
                  <c:v>151754987</c:v>
                </c:pt>
                <c:pt idx="11034">
                  <c:v>106395450</c:v>
                </c:pt>
                <c:pt idx="11035">
                  <c:v>93041900</c:v>
                </c:pt>
                <c:pt idx="11036">
                  <c:v>26427785</c:v>
                </c:pt>
                <c:pt idx="11037">
                  <c:v>211466045</c:v>
                </c:pt>
                <c:pt idx="11038">
                  <c:v>18689900</c:v>
                </c:pt>
                <c:pt idx="11039">
                  <c:v>28061792</c:v>
                </c:pt>
                <c:pt idx="11040">
                  <c:v>86183240</c:v>
                </c:pt>
                <c:pt idx="11041">
                  <c:v>440987702</c:v>
                </c:pt>
                <c:pt idx="11042">
                  <c:v>17365738</c:v>
                </c:pt>
                <c:pt idx="11043">
                  <c:v>50969400</c:v>
                </c:pt>
                <c:pt idx="11044">
                  <c:v>137964654</c:v>
                </c:pt>
                <c:pt idx="11045">
                  <c:v>164490340</c:v>
                </c:pt>
                <c:pt idx="11046">
                  <c:v>25607232</c:v>
                </c:pt>
                <c:pt idx="11047">
                  <c:v>30998538</c:v>
                </c:pt>
                <c:pt idx="11048">
                  <c:v>77130080</c:v>
                </c:pt>
                <c:pt idx="11049">
                  <c:v>1034901573</c:v>
                </c:pt>
                <c:pt idx="11050">
                  <c:v>870754320</c:v>
                </c:pt>
                <c:pt idx="11051">
                  <c:v>31819779</c:v>
                </c:pt>
                <c:pt idx="11052">
                  <c:v>12976812</c:v>
                </c:pt>
                <c:pt idx="11053">
                  <c:v>185299564</c:v>
                </c:pt>
                <c:pt idx="11054">
                  <c:v>31932934</c:v>
                </c:pt>
                <c:pt idx="11055">
                  <c:v>56613480</c:v>
                </c:pt>
                <c:pt idx="11056">
                  <c:v>21539224</c:v>
                </c:pt>
                <c:pt idx="11057">
                  <c:v>84059185</c:v>
                </c:pt>
                <c:pt idx="11058">
                  <c:v>65773744</c:v>
                </c:pt>
                <c:pt idx="11059">
                  <c:v>5069442</c:v>
                </c:pt>
                <c:pt idx="11060">
                  <c:v>60675150</c:v>
                </c:pt>
                <c:pt idx="11061">
                  <c:v>13799248</c:v>
                </c:pt>
                <c:pt idx="11062">
                  <c:v>551004423</c:v>
                </c:pt>
                <c:pt idx="11063">
                  <c:v>243849350</c:v>
                </c:pt>
                <c:pt idx="11064">
                  <c:v>316543436</c:v>
                </c:pt>
                <c:pt idx="11065">
                  <c:v>34963614</c:v>
                </c:pt>
                <c:pt idx="11066">
                  <c:v>27986280</c:v>
                </c:pt>
                <c:pt idx="11067">
                  <c:v>127701735</c:v>
                </c:pt>
                <c:pt idx="11068">
                  <c:v>68371735</c:v>
                </c:pt>
                <c:pt idx="11069">
                  <c:v>11439306</c:v>
                </c:pt>
                <c:pt idx="11070">
                  <c:v>19273512</c:v>
                </c:pt>
                <c:pt idx="11071">
                  <c:v>20625583</c:v>
                </c:pt>
                <c:pt idx="11072">
                  <c:v>55466384</c:v>
                </c:pt>
                <c:pt idx="11073">
                  <c:v>233666751</c:v>
                </c:pt>
                <c:pt idx="11074">
                  <c:v>408013554</c:v>
                </c:pt>
                <c:pt idx="11075">
                  <c:v>302359365</c:v>
                </c:pt>
                <c:pt idx="11076">
                  <c:v>64933418</c:v>
                </c:pt>
                <c:pt idx="11077">
                  <c:v>189211203</c:v>
                </c:pt>
                <c:pt idx="11078">
                  <c:v>21385125</c:v>
                </c:pt>
                <c:pt idx="11079">
                  <c:v>29570156</c:v>
                </c:pt>
                <c:pt idx="11080">
                  <c:v>28295676</c:v>
                </c:pt>
                <c:pt idx="11081">
                  <c:v>37820224</c:v>
                </c:pt>
                <c:pt idx="11082">
                  <c:v>84233655</c:v>
                </c:pt>
                <c:pt idx="11083">
                  <c:v>59095968</c:v>
                </c:pt>
                <c:pt idx="11084">
                  <c:v>585322668</c:v>
                </c:pt>
                <c:pt idx="11085">
                  <c:v>93652490</c:v>
                </c:pt>
                <c:pt idx="11086">
                  <c:v>26111130</c:v>
                </c:pt>
                <c:pt idx="11087">
                  <c:v>25099720</c:v>
                </c:pt>
                <c:pt idx="11088">
                  <c:v>44869872</c:v>
                </c:pt>
                <c:pt idx="11089">
                  <c:v>59667750</c:v>
                </c:pt>
                <c:pt idx="11090">
                  <c:v>359911251</c:v>
                </c:pt>
                <c:pt idx="11091">
                  <c:v>52876383</c:v>
                </c:pt>
                <c:pt idx="11092">
                  <c:v>422939056</c:v>
                </c:pt>
                <c:pt idx="11093">
                  <c:v>317765896</c:v>
                </c:pt>
                <c:pt idx="11094">
                  <c:v>7965601</c:v>
                </c:pt>
                <c:pt idx="11095">
                  <c:v>305267958</c:v>
                </c:pt>
                <c:pt idx="11096">
                  <c:v>85491724</c:v>
                </c:pt>
                <c:pt idx="11097">
                  <c:v>67619790</c:v>
                </c:pt>
                <c:pt idx="11098">
                  <c:v>27728712</c:v>
                </c:pt>
                <c:pt idx="11099">
                  <c:v>8208456</c:v>
                </c:pt>
                <c:pt idx="11100">
                  <c:v>28483840</c:v>
                </c:pt>
                <c:pt idx="11101">
                  <c:v>40895008</c:v>
                </c:pt>
                <c:pt idx="11102">
                  <c:v>36983632</c:v>
                </c:pt>
                <c:pt idx="11103">
                  <c:v>34337072</c:v>
                </c:pt>
                <c:pt idx="11104">
                  <c:v>13400611</c:v>
                </c:pt>
                <c:pt idx="11105">
                  <c:v>950350752</c:v>
                </c:pt>
                <c:pt idx="11106">
                  <c:v>46778526</c:v>
                </c:pt>
                <c:pt idx="11107">
                  <c:v>334087695</c:v>
                </c:pt>
                <c:pt idx="11108">
                  <c:v>605586410</c:v>
                </c:pt>
                <c:pt idx="11109">
                  <c:v>7900291</c:v>
                </c:pt>
                <c:pt idx="11110">
                  <c:v>68497332</c:v>
                </c:pt>
                <c:pt idx="11111">
                  <c:v>60578364</c:v>
                </c:pt>
                <c:pt idx="11112">
                  <c:v>17282384</c:v>
                </c:pt>
                <c:pt idx="11113">
                  <c:v>1601886</c:v>
                </c:pt>
                <c:pt idx="11114">
                  <c:v>25356969</c:v>
                </c:pt>
                <c:pt idx="11115">
                  <c:v>55402120</c:v>
                </c:pt>
                <c:pt idx="11116">
                  <c:v>126261468</c:v>
                </c:pt>
                <c:pt idx="11117">
                  <c:v>346157565</c:v>
                </c:pt>
                <c:pt idx="11118">
                  <c:v>378958338</c:v>
                </c:pt>
                <c:pt idx="11119">
                  <c:v>2047480952</c:v>
                </c:pt>
                <c:pt idx="11120">
                  <c:v>1400879568</c:v>
                </c:pt>
                <c:pt idx="11121">
                  <c:v>64705047</c:v>
                </c:pt>
                <c:pt idx="11122">
                  <c:v>52868943</c:v>
                </c:pt>
                <c:pt idx="11123">
                  <c:v>42557625</c:v>
                </c:pt>
                <c:pt idx="11124">
                  <c:v>259687584</c:v>
                </c:pt>
                <c:pt idx="11125">
                  <c:v>56103850</c:v>
                </c:pt>
                <c:pt idx="11126">
                  <c:v>69368278</c:v>
                </c:pt>
                <c:pt idx="11127">
                  <c:v>144298312</c:v>
                </c:pt>
                <c:pt idx="11128">
                  <c:v>360629828</c:v>
                </c:pt>
                <c:pt idx="11129">
                  <c:v>14908040</c:v>
                </c:pt>
                <c:pt idx="11130">
                  <c:v>938849394</c:v>
                </c:pt>
                <c:pt idx="11131">
                  <c:v>599027982</c:v>
                </c:pt>
                <c:pt idx="11132">
                  <c:v>39261920</c:v>
                </c:pt>
                <c:pt idx="11133">
                  <c:v>50088807</c:v>
                </c:pt>
                <c:pt idx="11134">
                  <c:v>94013940</c:v>
                </c:pt>
                <c:pt idx="11135">
                  <c:v>182876065</c:v>
                </c:pt>
                <c:pt idx="11136">
                  <c:v>69183296</c:v>
                </c:pt>
                <c:pt idx="11137">
                  <c:v>484074779</c:v>
                </c:pt>
                <c:pt idx="11138">
                  <c:v>205160640</c:v>
                </c:pt>
                <c:pt idx="11139">
                  <c:v>13193602</c:v>
                </c:pt>
                <c:pt idx="11140">
                  <c:v>23239062</c:v>
                </c:pt>
                <c:pt idx="11141">
                  <c:v>22828938</c:v>
                </c:pt>
                <c:pt idx="11142">
                  <c:v>10811340</c:v>
                </c:pt>
                <c:pt idx="11143">
                  <c:v>52071165</c:v>
                </c:pt>
                <c:pt idx="11144">
                  <c:v>399207568</c:v>
                </c:pt>
                <c:pt idx="11145">
                  <c:v>39597168</c:v>
                </c:pt>
                <c:pt idx="11146">
                  <c:v>12284400</c:v>
                </c:pt>
                <c:pt idx="11147">
                  <c:v>9730842</c:v>
                </c:pt>
                <c:pt idx="11148">
                  <c:v>56486820</c:v>
                </c:pt>
                <c:pt idx="11149">
                  <c:v>187298128</c:v>
                </c:pt>
                <c:pt idx="11150">
                  <c:v>29365960</c:v>
                </c:pt>
                <c:pt idx="11151">
                  <c:v>51183032</c:v>
                </c:pt>
                <c:pt idx="11152">
                  <c:v>186822544</c:v>
                </c:pt>
                <c:pt idx="11153">
                  <c:v>58220055</c:v>
                </c:pt>
                <c:pt idx="11154">
                  <c:v>16900355</c:v>
                </c:pt>
                <c:pt idx="11155">
                  <c:v>32914525</c:v>
                </c:pt>
                <c:pt idx="11156">
                  <c:v>35789796</c:v>
                </c:pt>
                <c:pt idx="11157">
                  <c:v>5704380</c:v>
                </c:pt>
                <c:pt idx="11158">
                  <c:v>25739680</c:v>
                </c:pt>
                <c:pt idx="11159">
                  <c:v>60176160</c:v>
                </c:pt>
                <c:pt idx="11160">
                  <c:v>51569546</c:v>
                </c:pt>
                <c:pt idx="11161">
                  <c:v>19674984</c:v>
                </c:pt>
                <c:pt idx="11162">
                  <c:v>22892124</c:v>
                </c:pt>
                <c:pt idx="11163">
                  <c:v>882111400</c:v>
                </c:pt>
                <c:pt idx="11164">
                  <c:v>558450816</c:v>
                </c:pt>
                <c:pt idx="11165">
                  <c:v>329611392</c:v>
                </c:pt>
                <c:pt idx="11166">
                  <c:v>170554472</c:v>
                </c:pt>
                <c:pt idx="11167">
                  <c:v>202207965</c:v>
                </c:pt>
                <c:pt idx="11168">
                  <c:v>78284479</c:v>
                </c:pt>
                <c:pt idx="11169">
                  <c:v>101069163</c:v>
                </c:pt>
                <c:pt idx="11170">
                  <c:v>403766592</c:v>
                </c:pt>
                <c:pt idx="11171">
                  <c:v>51206520</c:v>
                </c:pt>
                <c:pt idx="11172">
                  <c:v>732277784</c:v>
                </c:pt>
                <c:pt idx="11173">
                  <c:v>17854995</c:v>
                </c:pt>
                <c:pt idx="11174">
                  <c:v>71078300</c:v>
                </c:pt>
                <c:pt idx="11175">
                  <c:v>274610280</c:v>
                </c:pt>
                <c:pt idx="11176">
                  <c:v>43545675</c:v>
                </c:pt>
                <c:pt idx="11177">
                  <c:v>72758699</c:v>
                </c:pt>
                <c:pt idx="11178">
                  <c:v>17529600</c:v>
                </c:pt>
                <c:pt idx="11179">
                  <c:v>145461120</c:v>
                </c:pt>
                <c:pt idx="11180">
                  <c:v>51455425</c:v>
                </c:pt>
                <c:pt idx="11181">
                  <c:v>173149353</c:v>
                </c:pt>
                <c:pt idx="11182">
                  <c:v>202157340</c:v>
                </c:pt>
                <c:pt idx="11183">
                  <c:v>257131677</c:v>
                </c:pt>
                <c:pt idx="11184">
                  <c:v>51764328</c:v>
                </c:pt>
                <c:pt idx="11185">
                  <c:v>117772032</c:v>
                </c:pt>
                <c:pt idx="11186">
                  <c:v>151003328</c:v>
                </c:pt>
                <c:pt idx="11187">
                  <c:v>12809820</c:v>
                </c:pt>
                <c:pt idx="11188">
                  <c:v>135753256</c:v>
                </c:pt>
                <c:pt idx="11189">
                  <c:v>60205460</c:v>
                </c:pt>
                <c:pt idx="11190">
                  <c:v>453424248</c:v>
                </c:pt>
                <c:pt idx="11191">
                  <c:v>40596180</c:v>
                </c:pt>
                <c:pt idx="11192">
                  <c:v>96298020</c:v>
                </c:pt>
                <c:pt idx="11193">
                  <c:v>390738213</c:v>
                </c:pt>
                <c:pt idx="11194">
                  <c:v>119187177</c:v>
                </c:pt>
                <c:pt idx="11195">
                  <c:v>10331223</c:v>
                </c:pt>
                <c:pt idx="11196">
                  <c:v>66734064</c:v>
                </c:pt>
                <c:pt idx="11197">
                  <c:v>53629191</c:v>
                </c:pt>
                <c:pt idx="11198">
                  <c:v>63861600</c:v>
                </c:pt>
                <c:pt idx="11199">
                  <c:v>27139125</c:v>
                </c:pt>
                <c:pt idx="11200">
                  <c:v>51407811</c:v>
                </c:pt>
                <c:pt idx="11201">
                  <c:v>462029064</c:v>
                </c:pt>
                <c:pt idx="11202">
                  <c:v>6330256</c:v>
                </c:pt>
                <c:pt idx="11203">
                  <c:v>14215640</c:v>
                </c:pt>
                <c:pt idx="11204">
                  <c:v>92228706</c:v>
                </c:pt>
                <c:pt idx="11205">
                  <c:v>93840624</c:v>
                </c:pt>
                <c:pt idx="11206">
                  <c:v>87354720</c:v>
                </c:pt>
                <c:pt idx="11207">
                  <c:v>11243430</c:v>
                </c:pt>
                <c:pt idx="11208">
                  <c:v>84934520</c:v>
                </c:pt>
                <c:pt idx="11209">
                  <c:v>61169818</c:v>
                </c:pt>
                <c:pt idx="11210">
                  <c:v>8496344</c:v>
                </c:pt>
                <c:pt idx="11211">
                  <c:v>47254878</c:v>
                </c:pt>
                <c:pt idx="11212">
                  <c:v>11787390</c:v>
                </c:pt>
                <c:pt idx="11213">
                  <c:v>42057192</c:v>
                </c:pt>
                <c:pt idx="11214">
                  <c:v>464812326</c:v>
                </c:pt>
                <c:pt idx="11215">
                  <c:v>41050704</c:v>
                </c:pt>
                <c:pt idx="11216">
                  <c:v>44014016</c:v>
                </c:pt>
                <c:pt idx="11217">
                  <c:v>14653314</c:v>
                </c:pt>
                <c:pt idx="11218">
                  <c:v>3315289</c:v>
                </c:pt>
                <c:pt idx="11219">
                  <c:v>2216630</c:v>
                </c:pt>
                <c:pt idx="11220">
                  <c:v>42360112</c:v>
                </c:pt>
                <c:pt idx="11221">
                  <c:v>20971041</c:v>
                </c:pt>
                <c:pt idx="11222">
                  <c:v>11231472</c:v>
                </c:pt>
                <c:pt idx="11223">
                  <c:v>19277694</c:v>
                </c:pt>
                <c:pt idx="11224">
                  <c:v>11219464</c:v>
                </c:pt>
                <c:pt idx="11225">
                  <c:v>10862500</c:v>
                </c:pt>
                <c:pt idx="11226">
                  <c:v>50298930</c:v>
                </c:pt>
                <c:pt idx="11227">
                  <c:v>216717984</c:v>
                </c:pt>
                <c:pt idx="11228">
                  <c:v>5954280</c:v>
                </c:pt>
                <c:pt idx="11229">
                  <c:v>135880423</c:v>
                </c:pt>
                <c:pt idx="11230">
                  <c:v>93123408</c:v>
                </c:pt>
                <c:pt idx="11231">
                  <c:v>73660212</c:v>
                </c:pt>
                <c:pt idx="11232">
                  <c:v>79425378</c:v>
                </c:pt>
                <c:pt idx="11233">
                  <c:v>67403880</c:v>
                </c:pt>
                <c:pt idx="11234">
                  <c:v>1336842296</c:v>
                </c:pt>
                <c:pt idx="11235">
                  <c:v>75976476</c:v>
                </c:pt>
                <c:pt idx="11236">
                  <c:v>41236280</c:v>
                </c:pt>
                <c:pt idx="11237">
                  <c:v>712232721</c:v>
                </c:pt>
                <c:pt idx="11238">
                  <c:v>1688749875</c:v>
                </c:pt>
                <c:pt idx="11239">
                  <c:v>296806419</c:v>
                </c:pt>
                <c:pt idx="11240">
                  <c:v>916731965</c:v>
                </c:pt>
                <c:pt idx="11241">
                  <c:v>34357080</c:v>
                </c:pt>
                <c:pt idx="11242">
                  <c:v>381907944</c:v>
                </c:pt>
                <c:pt idx="11243">
                  <c:v>10386952</c:v>
                </c:pt>
                <c:pt idx="11244">
                  <c:v>39195036</c:v>
                </c:pt>
                <c:pt idx="11245">
                  <c:v>126172875</c:v>
                </c:pt>
                <c:pt idx="11246">
                  <c:v>19497600</c:v>
                </c:pt>
                <c:pt idx="11247">
                  <c:v>61399076</c:v>
                </c:pt>
                <c:pt idx="11248">
                  <c:v>246831228</c:v>
                </c:pt>
                <c:pt idx="11249">
                  <c:v>558478457</c:v>
                </c:pt>
                <c:pt idx="11250">
                  <c:v>253925991</c:v>
                </c:pt>
                <c:pt idx="11251">
                  <c:v>13795993</c:v>
                </c:pt>
                <c:pt idx="11252">
                  <c:v>12786250</c:v>
                </c:pt>
                <c:pt idx="11253">
                  <c:v>19785540</c:v>
                </c:pt>
                <c:pt idx="11254">
                  <c:v>163223280</c:v>
                </c:pt>
                <c:pt idx="11255">
                  <c:v>323577212</c:v>
                </c:pt>
                <c:pt idx="11256">
                  <c:v>73372366</c:v>
                </c:pt>
                <c:pt idx="11257">
                  <c:v>93035968</c:v>
                </c:pt>
                <c:pt idx="11258">
                  <c:v>102567650</c:v>
                </c:pt>
                <c:pt idx="11259">
                  <c:v>25869564</c:v>
                </c:pt>
                <c:pt idx="11260">
                  <c:v>4762880</c:v>
                </c:pt>
                <c:pt idx="11261">
                  <c:v>29372328</c:v>
                </c:pt>
                <c:pt idx="11262">
                  <c:v>2147483647</c:v>
                </c:pt>
                <c:pt idx="11263">
                  <c:v>179752521</c:v>
                </c:pt>
                <c:pt idx="11264">
                  <c:v>289612490</c:v>
                </c:pt>
                <c:pt idx="11265">
                  <c:v>53376512</c:v>
                </c:pt>
                <c:pt idx="11266">
                  <c:v>266420320</c:v>
                </c:pt>
                <c:pt idx="11267">
                  <c:v>133513380</c:v>
                </c:pt>
                <c:pt idx="11268">
                  <c:v>586959840</c:v>
                </c:pt>
                <c:pt idx="11269">
                  <c:v>51302424</c:v>
                </c:pt>
                <c:pt idx="11270">
                  <c:v>152357086</c:v>
                </c:pt>
                <c:pt idx="11271">
                  <c:v>53335920</c:v>
                </c:pt>
                <c:pt idx="11272">
                  <c:v>36448034</c:v>
                </c:pt>
                <c:pt idx="11273">
                  <c:v>93686544</c:v>
                </c:pt>
                <c:pt idx="11274">
                  <c:v>14969916</c:v>
                </c:pt>
                <c:pt idx="11275">
                  <c:v>57215652</c:v>
                </c:pt>
                <c:pt idx="11276">
                  <c:v>278193174</c:v>
                </c:pt>
                <c:pt idx="11277">
                  <c:v>13762604</c:v>
                </c:pt>
                <c:pt idx="11278">
                  <c:v>1067925016</c:v>
                </c:pt>
                <c:pt idx="11279">
                  <c:v>55441410</c:v>
                </c:pt>
                <c:pt idx="11280">
                  <c:v>45901142</c:v>
                </c:pt>
                <c:pt idx="11281">
                  <c:v>4983930</c:v>
                </c:pt>
                <c:pt idx="11282">
                  <c:v>11239000</c:v>
                </c:pt>
                <c:pt idx="11283">
                  <c:v>135421798</c:v>
                </c:pt>
                <c:pt idx="11284">
                  <c:v>35362122</c:v>
                </c:pt>
                <c:pt idx="11285">
                  <c:v>306824055</c:v>
                </c:pt>
                <c:pt idx="11286">
                  <c:v>71718080</c:v>
                </c:pt>
                <c:pt idx="11287">
                  <c:v>30605016</c:v>
                </c:pt>
                <c:pt idx="11288">
                  <c:v>38826384</c:v>
                </c:pt>
                <c:pt idx="11289">
                  <c:v>850785288</c:v>
                </c:pt>
                <c:pt idx="11290">
                  <c:v>353890522</c:v>
                </c:pt>
                <c:pt idx="11291">
                  <c:v>52375025</c:v>
                </c:pt>
                <c:pt idx="11292">
                  <c:v>179222407</c:v>
                </c:pt>
                <c:pt idx="11293">
                  <c:v>18060336</c:v>
                </c:pt>
                <c:pt idx="11294">
                  <c:v>260841504</c:v>
                </c:pt>
                <c:pt idx="11295">
                  <c:v>191169872</c:v>
                </c:pt>
                <c:pt idx="11296">
                  <c:v>71940600</c:v>
                </c:pt>
                <c:pt idx="11297">
                  <c:v>234685680</c:v>
                </c:pt>
                <c:pt idx="11298">
                  <c:v>527659920</c:v>
                </c:pt>
                <c:pt idx="11299">
                  <c:v>860697728</c:v>
                </c:pt>
                <c:pt idx="11300">
                  <c:v>439177795</c:v>
                </c:pt>
                <c:pt idx="11301">
                  <c:v>930087536</c:v>
                </c:pt>
                <c:pt idx="11302">
                  <c:v>659835252</c:v>
                </c:pt>
                <c:pt idx="11303">
                  <c:v>333922092</c:v>
                </c:pt>
                <c:pt idx="11304">
                  <c:v>126137398</c:v>
                </c:pt>
                <c:pt idx="11305">
                  <c:v>189485590</c:v>
                </c:pt>
                <c:pt idx="11306">
                  <c:v>367483590</c:v>
                </c:pt>
                <c:pt idx="11307">
                  <c:v>412635536</c:v>
                </c:pt>
                <c:pt idx="11308">
                  <c:v>545749932</c:v>
                </c:pt>
                <c:pt idx="11309">
                  <c:v>639183028</c:v>
                </c:pt>
                <c:pt idx="11310">
                  <c:v>239435514</c:v>
                </c:pt>
                <c:pt idx="11311">
                  <c:v>54036678</c:v>
                </c:pt>
                <c:pt idx="11312">
                  <c:v>29686250</c:v>
                </c:pt>
                <c:pt idx="11313">
                  <c:v>29622642</c:v>
                </c:pt>
                <c:pt idx="11314">
                  <c:v>193915512</c:v>
                </c:pt>
                <c:pt idx="11315">
                  <c:v>125361200</c:v>
                </c:pt>
                <c:pt idx="11316">
                  <c:v>77212815</c:v>
                </c:pt>
                <c:pt idx="11317">
                  <c:v>79529615</c:v>
                </c:pt>
                <c:pt idx="11318">
                  <c:v>51245440</c:v>
                </c:pt>
                <c:pt idx="11319">
                  <c:v>81916625</c:v>
                </c:pt>
                <c:pt idx="11320">
                  <c:v>15727446</c:v>
                </c:pt>
                <c:pt idx="11321">
                  <c:v>44110044</c:v>
                </c:pt>
                <c:pt idx="11322">
                  <c:v>65530053</c:v>
                </c:pt>
                <c:pt idx="11323">
                  <c:v>347057183</c:v>
                </c:pt>
                <c:pt idx="11324">
                  <c:v>93023084</c:v>
                </c:pt>
                <c:pt idx="11325">
                  <c:v>37948451</c:v>
                </c:pt>
                <c:pt idx="11326">
                  <c:v>114420470</c:v>
                </c:pt>
                <c:pt idx="11327">
                  <c:v>69562904</c:v>
                </c:pt>
                <c:pt idx="11328">
                  <c:v>20983489</c:v>
                </c:pt>
                <c:pt idx="11329">
                  <c:v>486529810</c:v>
                </c:pt>
                <c:pt idx="11330">
                  <c:v>45419200</c:v>
                </c:pt>
                <c:pt idx="11331">
                  <c:v>135964880</c:v>
                </c:pt>
                <c:pt idx="11332">
                  <c:v>7071111</c:v>
                </c:pt>
                <c:pt idx="11333">
                  <c:v>60581540</c:v>
                </c:pt>
                <c:pt idx="11334">
                  <c:v>28830672</c:v>
                </c:pt>
                <c:pt idx="11335">
                  <c:v>92254290</c:v>
                </c:pt>
                <c:pt idx="11336">
                  <c:v>20779478</c:v>
                </c:pt>
                <c:pt idx="11337">
                  <c:v>61827882</c:v>
                </c:pt>
                <c:pt idx="11338">
                  <c:v>158603944</c:v>
                </c:pt>
                <c:pt idx="11339">
                  <c:v>13040613</c:v>
                </c:pt>
                <c:pt idx="11340">
                  <c:v>325397772</c:v>
                </c:pt>
                <c:pt idx="11341">
                  <c:v>882174930</c:v>
                </c:pt>
                <c:pt idx="11342">
                  <c:v>1636054476</c:v>
                </c:pt>
                <c:pt idx="11343">
                  <c:v>75418272</c:v>
                </c:pt>
                <c:pt idx="11344">
                  <c:v>102694350</c:v>
                </c:pt>
                <c:pt idx="11345">
                  <c:v>53228940</c:v>
                </c:pt>
                <c:pt idx="11346">
                  <c:v>7254150</c:v>
                </c:pt>
                <c:pt idx="11347">
                  <c:v>72595160</c:v>
                </c:pt>
                <c:pt idx="11348">
                  <c:v>541122750</c:v>
                </c:pt>
                <c:pt idx="11349">
                  <c:v>26446648</c:v>
                </c:pt>
                <c:pt idx="11350">
                  <c:v>151297380</c:v>
                </c:pt>
                <c:pt idx="11351">
                  <c:v>339979776</c:v>
                </c:pt>
                <c:pt idx="11352">
                  <c:v>265904301</c:v>
                </c:pt>
                <c:pt idx="11353">
                  <c:v>92600802</c:v>
                </c:pt>
                <c:pt idx="11354">
                  <c:v>411395472</c:v>
                </c:pt>
                <c:pt idx="11355">
                  <c:v>587092962</c:v>
                </c:pt>
                <c:pt idx="11356">
                  <c:v>66309124</c:v>
                </c:pt>
                <c:pt idx="11357">
                  <c:v>658781376</c:v>
                </c:pt>
                <c:pt idx="11358">
                  <c:v>226574290</c:v>
                </c:pt>
                <c:pt idx="11359">
                  <c:v>14980280</c:v>
                </c:pt>
                <c:pt idx="11360">
                  <c:v>79069185</c:v>
                </c:pt>
                <c:pt idx="11361">
                  <c:v>26661258</c:v>
                </c:pt>
                <c:pt idx="11362">
                  <c:v>35599400</c:v>
                </c:pt>
                <c:pt idx="11363">
                  <c:v>66536563</c:v>
                </c:pt>
                <c:pt idx="11364">
                  <c:v>642249552</c:v>
                </c:pt>
                <c:pt idx="11365">
                  <c:v>642805636</c:v>
                </c:pt>
                <c:pt idx="11366">
                  <c:v>273912555</c:v>
                </c:pt>
                <c:pt idx="11367">
                  <c:v>98946596</c:v>
                </c:pt>
                <c:pt idx="11368">
                  <c:v>458859080</c:v>
                </c:pt>
                <c:pt idx="11369">
                  <c:v>135221124</c:v>
                </c:pt>
                <c:pt idx="11370">
                  <c:v>10662029</c:v>
                </c:pt>
                <c:pt idx="11371">
                  <c:v>45966424</c:v>
                </c:pt>
                <c:pt idx="11372">
                  <c:v>144805442</c:v>
                </c:pt>
                <c:pt idx="11373">
                  <c:v>65216704</c:v>
                </c:pt>
                <c:pt idx="11374">
                  <c:v>39598443</c:v>
                </c:pt>
                <c:pt idx="11375">
                  <c:v>303200582</c:v>
                </c:pt>
                <c:pt idx="11376">
                  <c:v>121126734</c:v>
                </c:pt>
                <c:pt idx="11377">
                  <c:v>360890376</c:v>
                </c:pt>
                <c:pt idx="11378">
                  <c:v>1456729824</c:v>
                </c:pt>
                <c:pt idx="11379">
                  <c:v>499710962</c:v>
                </c:pt>
                <c:pt idx="11380">
                  <c:v>549397728</c:v>
                </c:pt>
                <c:pt idx="11381">
                  <c:v>338341120</c:v>
                </c:pt>
                <c:pt idx="11382">
                  <c:v>183753776</c:v>
                </c:pt>
                <c:pt idx="11383">
                  <c:v>571386618</c:v>
                </c:pt>
                <c:pt idx="11384">
                  <c:v>964639819</c:v>
                </c:pt>
                <c:pt idx="11385">
                  <c:v>359996424</c:v>
                </c:pt>
                <c:pt idx="11386">
                  <c:v>453986096</c:v>
                </c:pt>
                <c:pt idx="11387">
                  <c:v>228954500</c:v>
                </c:pt>
                <c:pt idx="11388">
                  <c:v>590126985</c:v>
                </c:pt>
                <c:pt idx="11389">
                  <c:v>34371498</c:v>
                </c:pt>
                <c:pt idx="11390">
                  <c:v>486172950</c:v>
                </c:pt>
                <c:pt idx="11391">
                  <c:v>278759376</c:v>
                </c:pt>
                <c:pt idx="11392">
                  <c:v>1387325016</c:v>
                </c:pt>
                <c:pt idx="11393">
                  <c:v>644747470</c:v>
                </c:pt>
                <c:pt idx="11394">
                  <c:v>271235213</c:v>
                </c:pt>
                <c:pt idx="11395">
                  <c:v>395033760</c:v>
                </c:pt>
                <c:pt idx="11396">
                  <c:v>31965264</c:v>
                </c:pt>
                <c:pt idx="11397">
                  <c:v>279243557</c:v>
                </c:pt>
                <c:pt idx="11398">
                  <c:v>333737600</c:v>
                </c:pt>
                <c:pt idx="11399">
                  <c:v>179485362</c:v>
                </c:pt>
                <c:pt idx="11400">
                  <c:v>208411926</c:v>
                </c:pt>
                <c:pt idx="11401">
                  <c:v>237474000</c:v>
                </c:pt>
                <c:pt idx="11402">
                  <c:v>517666818</c:v>
                </c:pt>
                <c:pt idx="11403">
                  <c:v>145750770</c:v>
                </c:pt>
                <c:pt idx="11404">
                  <c:v>17304910</c:v>
                </c:pt>
                <c:pt idx="11405">
                  <c:v>66161565</c:v>
                </c:pt>
                <c:pt idx="11406">
                  <c:v>11363528</c:v>
                </c:pt>
                <c:pt idx="11407">
                  <c:v>69631200</c:v>
                </c:pt>
                <c:pt idx="11408">
                  <c:v>113527986</c:v>
                </c:pt>
                <c:pt idx="11409">
                  <c:v>13413620</c:v>
                </c:pt>
                <c:pt idx="11410">
                  <c:v>93450965</c:v>
                </c:pt>
                <c:pt idx="11411">
                  <c:v>350970996</c:v>
                </c:pt>
                <c:pt idx="11412">
                  <c:v>127087205</c:v>
                </c:pt>
                <c:pt idx="11413">
                  <c:v>55776069</c:v>
                </c:pt>
                <c:pt idx="11414">
                  <c:v>99150304</c:v>
                </c:pt>
                <c:pt idx="11415">
                  <c:v>11217552</c:v>
                </c:pt>
                <c:pt idx="11416">
                  <c:v>31528728</c:v>
                </c:pt>
                <c:pt idx="11417">
                  <c:v>59241468</c:v>
                </c:pt>
                <c:pt idx="11418">
                  <c:v>31265938</c:v>
                </c:pt>
                <c:pt idx="11419">
                  <c:v>52966419</c:v>
                </c:pt>
                <c:pt idx="11420">
                  <c:v>49067802</c:v>
                </c:pt>
                <c:pt idx="11421">
                  <c:v>16431084</c:v>
                </c:pt>
                <c:pt idx="11422">
                  <c:v>264475324</c:v>
                </c:pt>
                <c:pt idx="11423">
                  <c:v>241165580</c:v>
                </c:pt>
                <c:pt idx="11424">
                  <c:v>16083210</c:v>
                </c:pt>
                <c:pt idx="11425">
                  <c:v>98612706</c:v>
                </c:pt>
                <c:pt idx="11426">
                  <c:v>249342060</c:v>
                </c:pt>
                <c:pt idx="11427">
                  <c:v>545960844</c:v>
                </c:pt>
                <c:pt idx="11428">
                  <c:v>426446175</c:v>
                </c:pt>
                <c:pt idx="11429">
                  <c:v>278931724</c:v>
                </c:pt>
                <c:pt idx="11430">
                  <c:v>97746547</c:v>
                </c:pt>
                <c:pt idx="11431">
                  <c:v>4682764</c:v>
                </c:pt>
                <c:pt idx="11432">
                  <c:v>44873897</c:v>
                </c:pt>
                <c:pt idx="11433">
                  <c:v>158967195</c:v>
                </c:pt>
                <c:pt idx="11434">
                  <c:v>26760006</c:v>
                </c:pt>
                <c:pt idx="11435">
                  <c:v>58586022</c:v>
                </c:pt>
                <c:pt idx="11436">
                  <c:v>129960896</c:v>
                </c:pt>
                <c:pt idx="11437">
                  <c:v>11865375</c:v>
                </c:pt>
                <c:pt idx="11438">
                  <c:v>68191178</c:v>
                </c:pt>
                <c:pt idx="11439">
                  <c:v>37165326</c:v>
                </c:pt>
                <c:pt idx="11440">
                  <c:v>73453008</c:v>
                </c:pt>
                <c:pt idx="11441">
                  <c:v>34926668</c:v>
                </c:pt>
                <c:pt idx="11442">
                  <c:v>61298721</c:v>
                </c:pt>
                <c:pt idx="11443">
                  <c:v>25298350</c:v>
                </c:pt>
                <c:pt idx="11444">
                  <c:v>23343120</c:v>
                </c:pt>
                <c:pt idx="11445">
                  <c:v>1172892933</c:v>
                </c:pt>
                <c:pt idx="11446">
                  <c:v>82990386</c:v>
                </c:pt>
                <c:pt idx="11447">
                  <c:v>41931064</c:v>
                </c:pt>
                <c:pt idx="11448">
                  <c:v>48416109</c:v>
                </c:pt>
                <c:pt idx="11449">
                  <c:v>3027612</c:v>
                </c:pt>
                <c:pt idx="11450">
                  <c:v>35378011</c:v>
                </c:pt>
                <c:pt idx="11451">
                  <c:v>340662420</c:v>
                </c:pt>
                <c:pt idx="11452">
                  <c:v>28833300</c:v>
                </c:pt>
                <c:pt idx="11453">
                  <c:v>32365098</c:v>
                </c:pt>
                <c:pt idx="11454">
                  <c:v>24519862</c:v>
                </c:pt>
                <c:pt idx="11455">
                  <c:v>210113800</c:v>
                </c:pt>
                <c:pt idx="11456">
                  <c:v>309040182</c:v>
                </c:pt>
                <c:pt idx="11457">
                  <c:v>170605674</c:v>
                </c:pt>
                <c:pt idx="11458">
                  <c:v>9989630</c:v>
                </c:pt>
                <c:pt idx="11459">
                  <c:v>51778980</c:v>
                </c:pt>
                <c:pt idx="11460">
                  <c:v>16673700</c:v>
                </c:pt>
                <c:pt idx="11461">
                  <c:v>152880442</c:v>
                </c:pt>
                <c:pt idx="11462">
                  <c:v>321931552</c:v>
                </c:pt>
                <c:pt idx="11463">
                  <c:v>44172336</c:v>
                </c:pt>
                <c:pt idx="11464">
                  <c:v>168990202</c:v>
                </c:pt>
                <c:pt idx="11465">
                  <c:v>61991744</c:v>
                </c:pt>
                <c:pt idx="11466">
                  <c:v>31636390</c:v>
                </c:pt>
                <c:pt idx="11467">
                  <c:v>143888000</c:v>
                </c:pt>
                <c:pt idx="11468">
                  <c:v>214947282</c:v>
                </c:pt>
                <c:pt idx="11469">
                  <c:v>31847816</c:v>
                </c:pt>
                <c:pt idx="11470">
                  <c:v>35649306</c:v>
                </c:pt>
                <c:pt idx="11471">
                  <c:v>48970223</c:v>
                </c:pt>
                <c:pt idx="11472">
                  <c:v>19751948</c:v>
                </c:pt>
                <c:pt idx="11473">
                  <c:v>22077425</c:v>
                </c:pt>
                <c:pt idx="11474">
                  <c:v>33565849</c:v>
                </c:pt>
                <c:pt idx="11475">
                  <c:v>9504150</c:v>
                </c:pt>
                <c:pt idx="11476">
                  <c:v>5548914</c:v>
                </c:pt>
                <c:pt idx="11477">
                  <c:v>41691848</c:v>
                </c:pt>
                <c:pt idx="11478">
                  <c:v>12973191</c:v>
                </c:pt>
                <c:pt idx="11479">
                  <c:v>24889413</c:v>
                </c:pt>
                <c:pt idx="11480">
                  <c:v>93461526</c:v>
                </c:pt>
                <c:pt idx="11481">
                  <c:v>53946723</c:v>
                </c:pt>
                <c:pt idx="11482">
                  <c:v>917641527</c:v>
                </c:pt>
                <c:pt idx="11483">
                  <c:v>128059470</c:v>
                </c:pt>
                <c:pt idx="11484">
                  <c:v>104286974</c:v>
                </c:pt>
                <c:pt idx="11485">
                  <c:v>30896580</c:v>
                </c:pt>
                <c:pt idx="11486">
                  <c:v>26393963</c:v>
                </c:pt>
                <c:pt idx="11487">
                  <c:v>59244554</c:v>
                </c:pt>
                <c:pt idx="11488">
                  <c:v>288181075</c:v>
                </c:pt>
                <c:pt idx="11489">
                  <c:v>1003213719</c:v>
                </c:pt>
                <c:pt idx="11490">
                  <c:v>118048493</c:v>
                </c:pt>
                <c:pt idx="11491">
                  <c:v>34690983</c:v>
                </c:pt>
                <c:pt idx="11492">
                  <c:v>330171160</c:v>
                </c:pt>
                <c:pt idx="11493">
                  <c:v>98234422</c:v>
                </c:pt>
                <c:pt idx="11494">
                  <c:v>329661520</c:v>
                </c:pt>
                <c:pt idx="11495">
                  <c:v>798660525</c:v>
                </c:pt>
                <c:pt idx="11496">
                  <c:v>286661034</c:v>
                </c:pt>
                <c:pt idx="11497">
                  <c:v>65587088</c:v>
                </c:pt>
                <c:pt idx="11498">
                  <c:v>8361000</c:v>
                </c:pt>
                <c:pt idx="11499">
                  <c:v>89501280</c:v>
                </c:pt>
                <c:pt idx="11500">
                  <c:v>41319216</c:v>
                </c:pt>
                <c:pt idx="11501">
                  <c:v>727535016</c:v>
                </c:pt>
                <c:pt idx="11502">
                  <c:v>41519568</c:v>
                </c:pt>
                <c:pt idx="11503">
                  <c:v>126381944</c:v>
                </c:pt>
                <c:pt idx="11504">
                  <c:v>12463724</c:v>
                </c:pt>
                <c:pt idx="11505">
                  <c:v>66531894</c:v>
                </c:pt>
                <c:pt idx="11506">
                  <c:v>154551380</c:v>
                </c:pt>
                <c:pt idx="11507">
                  <c:v>122624775</c:v>
                </c:pt>
                <c:pt idx="11508">
                  <c:v>1792975452</c:v>
                </c:pt>
                <c:pt idx="11509">
                  <c:v>27339000</c:v>
                </c:pt>
                <c:pt idx="11510">
                  <c:v>992866220</c:v>
                </c:pt>
                <c:pt idx="11511">
                  <c:v>262250400</c:v>
                </c:pt>
                <c:pt idx="11512">
                  <c:v>110322088</c:v>
                </c:pt>
                <c:pt idx="11513">
                  <c:v>255929270</c:v>
                </c:pt>
                <c:pt idx="11514">
                  <c:v>13980762</c:v>
                </c:pt>
                <c:pt idx="11515">
                  <c:v>595988241</c:v>
                </c:pt>
                <c:pt idx="11516">
                  <c:v>22866181</c:v>
                </c:pt>
                <c:pt idx="11517">
                  <c:v>96554544</c:v>
                </c:pt>
                <c:pt idx="11518">
                  <c:v>19802902</c:v>
                </c:pt>
                <c:pt idx="11519">
                  <c:v>65061694</c:v>
                </c:pt>
                <c:pt idx="11520">
                  <c:v>27789840</c:v>
                </c:pt>
                <c:pt idx="11521">
                  <c:v>58917936</c:v>
                </c:pt>
                <c:pt idx="11522">
                  <c:v>382851886</c:v>
                </c:pt>
                <c:pt idx="11523">
                  <c:v>71408766</c:v>
                </c:pt>
                <c:pt idx="11524">
                  <c:v>12338440</c:v>
                </c:pt>
                <c:pt idx="11525">
                  <c:v>34759560</c:v>
                </c:pt>
                <c:pt idx="11526">
                  <c:v>14831727</c:v>
                </c:pt>
                <c:pt idx="11527">
                  <c:v>64492080</c:v>
                </c:pt>
                <c:pt idx="11528">
                  <c:v>248021240</c:v>
                </c:pt>
                <c:pt idx="11529">
                  <c:v>52955705</c:v>
                </c:pt>
                <c:pt idx="11530">
                  <c:v>9420111</c:v>
                </c:pt>
                <c:pt idx="11531">
                  <c:v>58963114</c:v>
                </c:pt>
                <c:pt idx="11532">
                  <c:v>169813632</c:v>
                </c:pt>
                <c:pt idx="11533">
                  <c:v>32028305</c:v>
                </c:pt>
                <c:pt idx="11534">
                  <c:v>13952300</c:v>
                </c:pt>
                <c:pt idx="11535">
                  <c:v>70692768</c:v>
                </c:pt>
                <c:pt idx="11536">
                  <c:v>123067870</c:v>
                </c:pt>
                <c:pt idx="11537">
                  <c:v>35743905</c:v>
                </c:pt>
                <c:pt idx="11538">
                  <c:v>21983707</c:v>
                </c:pt>
                <c:pt idx="11539">
                  <c:v>31568994</c:v>
                </c:pt>
                <c:pt idx="11540">
                  <c:v>584997114</c:v>
                </c:pt>
                <c:pt idx="11541">
                  <c:v>191106405</c:v>
                </c:pt>
                <c:pt idx="11542">
                  <c:v>1110055912</c:v>
                </c:pt>
                <c:pt idx="11543">
                  <c:v>471304224</c:v>
                </c:pt>
                <c:pt idx="11544">
                  <c:v>14914557</c:v>
                </c:pt>
                <c:pt idx="11545">
                  <c:v>48044384</c:v>
                </c:pt>
                <c:pt idx="11546">
                  <c:v>16468452</c:v>
                </c:pt>
                <c:pt idx="11547">
                  <c:v>138516450</c:v>
                </c:pt>
                <c:pt idx="11548">
                  <c:v>382200454</c:v>
                </c:pt>
                <c:pt idx="11549">
                  <c:v>704415332</c:v>
                </c:pt>
                <c:pt idx="11550">
                  <c:v>1228339349</c:v>
                </c:pt>
                <c:pt idx="11551">
                  <c:v>953758548</c:v>
                </c:pt>
                <c:pt idx="11552">
                  <c:v>1783888600</c:v>
                </c:pt>
                <c:pt idx="11553">
                  <c:v>233753160</c:v>
                </c:pt>
                <c:pt idx="11554">
                  <c:v>9112400</c:v>
                </c:pt>
                <c:pt idx="11555">
                  <c:v>227233188</c:v>
                </c:pt>
                <c:pt idx="11556">
                  <c:v>392571360</c:v>
                </c:pt>
                <c:pt idx="11557">
                  <c:v>269705570</c:v>
                </c:pt>
                <c:pt idx="11558">
                  <c:v>480066708</c:v>
                </c:pt>
                <c:pt idx="11559">
                  <c:v>1254625596</c:v>
                </c:pt>
                <c:pt idx="11560">
                  <c:v>364219815</c:v>
                </c:pt>
                <c:pt idx="11561">
                  <c:v>997529726</c:v>
                </c:pt>
                <c:pt idx="11562">
                  <c:v>539104392</c:v>
                </c:pt>
                <c:pt idx="11563">
                  <c:v>891307198</c:v>
                </c:pt>
                <c:pt idx="11564">
                  <c:v>967893960</c:v>
                </c:pt>
                <c:pt idx="11565">
                  <c:v>1290761511</c:v>
                </c:pt>
                <c:pt idx="11566">
                  <c:v>1119063530</c:v>
                </c:pt>
                <c:pt idx="11567">
                  <c:v>1240128470</c:v>
                </c:pt>
                <c:pt idx="11568">
                  <c:v>609791715</c:v>
                </c:pt>
                <c:pt idx="11569">
                  <c:v>1163510600</c:v>
                </c:pt>
                <c:pt idx="11570">
                  <c:v>1493305380</c:v>
                </c:pt>
                <c:pt idx="11571">
                  <c:v>429264416</c:v>
                </c:pt>
                <c:pt idx="11572">
                  <c:v>527881860</c:v>
                </c:pt>
                <c:pt idx="11573">
                  <c:v>2017876646</c:v>
                </c:pt>
                <c:pt idx="11574">
                  <c:v>743342835</c:v>
                </c:pt>
                <c:pt idx="11575">
                  <c:v>1037915241</c:v>
                </c:pt>
                <c:pt idx="11576">
                  <c:v>1494438946</c:v>
                </c:pt>
                <c:pt idx="11577">
                  <c:v>1661103268</c:v>
                </c:pt>
                <c:pt idx="11578">
                  <c:v>12067155</c:v>
                </c:pt>
                <c:pt idx="11579">
                  <c:v>165353360</c:v>
                </c:pt>
                <c:pt idx="11580">
                  <c:v>109852600</c:v>
                </c:pt>
                <c:pt idx="11581">
                  <c:v>67076764</c:v>
                </c:pt>
                <c:pt idx="11582">
                  <c:v>9763788</c:v>
                </c:pt>
                <c:pt idx="11583">
                  <c:v>58147353</c:v>
                </c:pt>
                <c:pt idx="11584">
                  <c:v>1680221270</c:v>
                </c:pt>
                <c:pt idx="11585">
                  <c:v>22708624</c:v>
                </c:pt>
                <c:pt idx="11586">
                  <c:v>529432890</c:v>
                </c:pt>
                <c:pt idx="11587">
                  <c:v>244574070</c:v>
                </c:pt>
                <c:pt idx="11588">
                  <c:v>104256240</c:v>
                </c:pt>
                <c:pt idx="11589">
                  <c:v>3613792</c:v>
                </c:pt>
                <c:pt idx="11590">
                  <c:v>686747216</c:v>
                </c:pt>
                <c:pt idx="11591">
                  <c:v>8776878</c:v>
                </c:pt>
                <c:pt idx="11592">
                  <c:v>170131506</c:v>
                </c:pt>
                <c:pt idx="11593">
                  <c:v>13594592</c:v>
                </c:pt>
                <c:pt idx="11594">
                  <c:v>546850005</c:v>
                </c:pt>
                <c:pt idx="11595">
                  <c:v>523114196</c:v>
                </c:pt>
                <c:pt idx="11596">
                  <c:v>1586507540</c:v>
                </c:pt>
                <c:pt idx="11597">
                  <c:v>36153876</c:v>
                </c:pt>
                <c:pt idx="11598">
                  <c:v>179433920</c:v>
                </c:pt>
                <c:pt idx="11599">
                  <c:v>216829860</c:v>
                </c:pt>
                <c:pt idx="11600">
                  <c:v>551036703</c:v>
                </c:pt>
                <c:pt idx="11601">
                  <c:v>80823165</c:v>
                </c:pt>
                <c:pt idx="11602">
                  <c:v>62333700</c:v>
                </c:pt>
                <c:pt idx="11603">
                  <c:v>62944482</c:v>
                </c:pt>
                <c:pt idx="11604">
                  <c:v>40884280</c:v>
                </c:pt>
                <c:pt idx="11605">
                  <c:v>125984672</c:v>
                </c:pt>
                <c:pt idx="11606">
                  <c:v>144872546</c:v>
                </c:pt>
                <c:pt idx="11607">
                  <c:v>818658126</c:v>
                </c:pt>
                <c:pt idx="11608">
                  <c:v>49261134</c:v>
                </c:pt>
                <c:pt idx="11609">
                  <c:v>33935400</c:v>
                </c:pt>
                <c:pt idx="11610">
                  <c:v>174453506</c:v>
                </c:pt>
                <c:pt idx="11611">
                  <c:v>1187708340</c:v>
                </c:pt>
                <c:pt idx="11612">
                  <c:v>37544520</c:v>
                </c:pt>
                <c:pt idx="11613">
                  <c:v>667480275</c:v>
                </c:pt>
                <c:pt idx="11614">
                  <c:v>75343392</c:v>
                </c:pt>
                <c:pt idx="11615">
                  <c:v>85516826</c:v>
                </c:pt>
                <c:pt idx="11616">
                  <c:v>684373599</c:v>
                </c:pt>
                <c:pt idx="11617">
                  <c:v>112339480</c:v>
                </c:pt>
                <c:pt idx="11618">
                  <c:v>63515904</c:v>
                </c:pt>
                <c:pt idx="11619">
                  <c:v>13406580</c:v>
                </c:pt>
                <c:pt idx="11620">
                  <c:v>409039575</c:v>
                </c:pt>
                <c:pt idx="11621">
                  <c:v>11725855</c:v>
                </c:pt>
                <c:pt idx="11622">
                  <c:v>121490991</c:v>
                </c:pt>
                <c:pt idx="11623">
                  <c:v>220007524</c:v>
                </c:pt>
                <c:pt idx="11624">
                  <c:v>14816736</c:v>
                </c:pt>
                <c:pt idx="11625">
                  <c:v>72797500</c:v>
                </c:pt>
                <c:pt idx="11626">
                  <c:v>27900628</c:v>
                </c:pt>
                <c:pt idx="11627">
                  <c:v>61766624</c:v>
                </c:pt>
                <c:pt idx="11628">
                  <c:v>28657077</c:v>
                </c:pt>
                <c:pt idx="11629">
                  <c:v>1917750628</c:v>
                </c:pt>
                <c:pt idx="11630">
                  <c:v>7810966</c:v>
                </c:pt>
                <c:pt idx="11631">
                  <c:v>306631314</c:v>
                </c:pt>
                <c:pt idx="11632">
                  <c:v>63154176</c:v>
                </c:pt>
                <c:pt idx="11633">
                  <c:v>84419126</c:v>
                </c:pt>
                <c:pt idx="11634">
                  <c:v>1526615230</c:v>
                </c:pt>
                <c:pt idx="11635">
                  <c:v>1113354309</c:v>
                </c:pt>
                <c:pt idx="11636">
                  <c:v>675149706</c:v>
                </c:pt>
                <c:pt idx="11637">
                  <c:v>673789980</c:v>
                </c:pt>
                <c:pt idx="11638">
                  <c:v>110667011</c:v>
                </c:pt>
                <c:pt idx="11639">
                  <c:v>480468690</c:v>
                </c:pt>
                <c:pt idx="11640">
                  <c:v>2036698456</c:v>
                </c:pt>
                <c:pt idx="11641">
                  <c:v>68793324</c:v>
                </c:pt>
                <c:pt idx="11642">
                  <c:v>1149579660</c:v>
                </c:pt>
                <c:pt idx="11643">
                  <c:v>704386650</c:v>
                </c:pt>
                <c:pt idx="11644">
                  <c:v>691185588</c:v>
                </c:pt>
                <c:pt idx="11645">
                  <c:v>1596705978</c:v>
                </c:pt>
                <c:pt idx="11646">
                  <c:v>108380171</c:v>
                </c:pt>
                <c:pt idx="11647">
                  <c:v>1052584608</c:v>
                </c:pt>
                <c:pt idx="11648">
                  <c:v>1753480624</c:v>
                </c:pt>
                <c:pt idx="11649">
                  <c:v>686585198</c:v>
                </c:pt>
                <c:pt idx="11650">
                  <c:v>103123374</c:v>
                </c:pt>
                <c:pt idx="11651">
                  <c:v>51225020</c:v>
                </c:pt>
                <c:pt idx="11652">
                  <c:v>44768435</c:v>
                </c:pt>
                <c:pt idx="11653">
                  <c:v>73436700</c:v>
                </c:pt>
                <c:pt idx="11654">
                  <c:v>596962009</c:v>
                </c:pt>
                <c:pt idx="11655">
                  <c:v>449564490</c:v>
                </c:pt>
                <c:pt idx="11656">
                  <c:v>32658912</c:v>
                </c:pt>
                <c:pt idx="11657">
                  <c:v>331298720</c:v>
                </c:pt>
                <c:pt idx="11658">
                  <c:v>4241482</c:v>
                </c:pt>
                <c:pt idx="11659">
                  <c:v>57339232</c:v>
                </c:pt>
                <c:pt idx="11660">
                  <c:v>11103673</c:v>
                </c:pt>
                <c:pt idx="11661">
                  <c:v>19416176</c:v>
                </c:pt>
                <c:pt idx="11662">
                  <c:v>7184859</c:v>
                </c:pt>
                <c:pt idx="11663">
                  <c:v>12598152</c:v>
                </c:pt>
                <c:pt idx="11664">
                  <c:v>14023070</c:v>
                </c:pt>
                <c:pt idx="11665">
                  <c:v>57269076</c:v>
                </c:pt>
                <c:pt idx="11666">
                  <c:v>9462808</c:v>
                </c:pt>
                <c:pt idx="11667">
                  <c:v>5618080</c:v>
                </c:pt>
                <c:pt idx="11668">
                  <c:v>15601950</c:v>
                </c:pt>
                <c:pt idx="11669">
                  <c:v>60806252</c:v>
                </c:pt>
                <c:pt idx="11670">
                  <c:v>84990924</c:v>
                </c:pt>
                <c:pt idx="11671">
                  <c:v>6385665</c:v>
                </c:pt>
                <c:pt idx="11672">
                  <c:v>13747080</c:v>
                </c:pt>
                <c:pt idx="11673">
                  <c:v>13345728</c:v>
                </c:pt>
                <c:pt idx="11674">
                  <c:v>13978881</c:v>
                </c:pt>
                <c:pt idx="11675">
                  <c:v>11595186</c:v>
                </c:pt>
                <c:pt idx="11676">
                  <c:v>10590329</c:v>
                </c:pt>
                <c:pt idx="11677">
                  <c:v>30193128</c:v>
                </c:pt>
                <c:pt idx="11678">
                  <c:v>13465056</c:v>
                </c:pt>
                <c:pt idx="11679">
                  <c:v>15763754</c:v>
                </c:pt>
                <c:pt idx="11680">
                  <c:v>223939392</c:v>
                </c:pt>
                <c:pt idx="11681">
                  <c:v>17824724</c:v>
                </c:pt>
                <c:pt idx="11682">
                  <c:v>10311706</c:v>
                </c:pt>
                <c:pt idx="11683">
                  <c:v>9759087</c:v>
                </c:pt>
                <c:pt idx="11684">
                  <c:v>35842000</c:v>
                </c:pt>
                <c:pt idx="11685">
                  <c:v>21446906</c:v>
                </c:pt>
                <c:pt idx="11686">
                  <c:v>2171950</c:v>
                </c:pt>
                <c:pt idx="11687">
                  <c:v>5932126</c:v>
                </c:pt>
                <c:pt idx="11688">
                  <c:v>5776187</c:v>
                </c:pt>
                <c:pt idx="11689">
                  <c:v>271115304</c:v>
                </c:pt>
                <c:pt idx="11690">
                  <c:v>199189064</c:v>
                </c:pt>
                <c:pt idx="11691">
                  <c:v>22793710</c:v>
                </c:pt>
                <c:pt idx="11692">
                  <c:v>146371148</c:v>
                </c:pt>
                <c:pt idx="11693">
                  <c:v>5852352</c:v>
                </c:pt>
                <c:pt idx="11694">
                  <c:v>6535620</c:v>
                </c:pt>
                <c:pt idx="11695">
                  <c:v>714952516</c:v>
                </c:pt>
                <c:pt idx="11696">
                  <c:v>78419650</c:v>
                </c:pt>
                <c:pt idx="11697">
                  <c:v>49536366</c:v>
                </c:pt>
                <c:pt idx="11698">
                  <c:v>86796739</c:v>
                </c:pt>
                <c:pt idx="11699">
                  <c:v>815872288</c:v>
                </c:pt>
                <c:pt idx="11700">
                  <c:v>103661787</c:v>
                </c:pt>
                <c:pt idx="11701">
                  <c:v>192417468</c:v>
                </c:pt>
                <c:pt idx="11702">
                  <c:v>194044650</c:v>
                </c:pt>
                <c:pt idx="11703">
                  <c:v>97313608</c:v>
                </c:pt>
                <c:pt idx="11704">
                  <c:v>1042370475</c:v>
                </c:pt>
                <c:pt idx="11705">
                  <c:v>169880898</c:v>
                </c:pt>
                <c:pt idx="11706">
                  <c:v>636451816</c:v>
                </c:pt>
                <c:pt idx="11707">
                  <c:v>177490520</c:v>
                </c:pt>
                <c:pt idx="11708">
                  <c:v>1924062930</c:v>
                </c:pt>
                <c:pt idx="11709">
                  <c:v>923324070</c:v>
                </c:pt>
                <c:pt idx="11710">
                  <c:v>168132910</c:v>
                </c:pt>
                <c:pt idx="11711">
                  <c:v>450084845</c:v>
                </c:pt>
                <c:pt idx="11712">
                  <c:v>66511048</c:v>
                </c:pt>
                <c:pt idx="11713">
                  <c:v>35082396</c:v>
                </c:pt>
                <c:pt idx="11714">
                  <c:v>315164802</c:v>
                </c:pt>
                <c:pt idx="11715">
                  <c:v>62942429</c:v>
                </c:pt>
                <c:pt idx="11716">
                  <c:v>162698121</c:v>
                </c:pt>
                <c:pt idx="11717">
                  <c:v>187249568</c:v>
                </c:pt>
                <c:pt idx="11718">
                  <c:v>1862289914</c:v>
                </c:pt>
                <c:pt idx="11719">
                  <c:v>59966859</c:v>
                </c:pt>
                <c:pt idx="11720">
                  <c:v>42974750</c:v>
                </c:pt>
                <c:pt idx="11721">
                  <c:v>41033070</c:v>
                </c:pt>
                <c:pt idx="11722">
                  <c:v>38617617</c:v>
                </c:pt>
                <c:pt idx="11723">
                  <c:v>719780600</c:v>
                </c:pt>
                <c:pt idx="11724">
                  <c:v>43561390</c:v>
                </c:pt>
                <c:pt idx="11725">
                  <c:v>1030670997</c:v>
                </c:pt>
                <c:pt idx="11726">
                  <c:v>77993372</c:v>
                </c:pt>
                <c:pt idx="11727">
                  <c:v>389452735</c:v>
                </c:pt>
                <c:pt idx="11728">
                  <c:v>103242550</c:v>
                </c:pt>
                <c:pt idx="11729">
                  <c:v>79280598</c:v>
                </c:pt>
                <c:pt idx="11730">
                  <c:v>43236476</c:v>
                </c:pt>
                <c:pt idx="11731">
                  <c:v>686058016</c:v>
                </c:pt>
                <c:pt idx="11732">
                  <c:v>230952640</c:v>
                </c:pt>
                <c:pt idx="11733">
                  <c:v>191025692</c:v>
                </c:pt>
                <c:pt idx="11734">
                  <c:v>778563990</c:v>
                </c:pt>
                <c:pt idx="11735">
                  <c:v>574279132</c:v>
                </c:pt>
                <c:pt idx="11736">
                  <c:v>64356984</c:v>
                </c:pt>
                <c:pt idx="11737">
                  <c:v>29662325</c:v>
                </c:pt>
                <c:pt idx="11738">
                  <c:v>21335188</c:v>
                </c:pt>
                <c:pt idx="11739">
                  <c:v>50932614</c:v>
                </c:pt>
                <c:pt idx="11740">
                  <c:v>1112474700</c:v>
                </c:pt>
                <c:pt idx="11741">
                  <c:v>93871590</c:v>
                </c:pt>
                <c:pt idx="11742">
                  <c:v>66209952</c:v>
                </c:pt>
                <c:pt idx="11743">
                  <c:v>478615147</c:v>
                </c:pt>
                <c:pt idx="11744">
                  <c:v>81488358</c:v>
                </c:pt>
                <c:pt idx="11745">
                  <c:v>173141136</c:v>
                </c:pt>
                <c:pt idx="11746">
                  <c:v>32385518</c:v>
                </c:pt>
                <c:pt idx="11747">
                  <c:v>508429740</c:v>
                </c:pt>
                <c:pt idx="11748">
                  <c:v>527141614</c:v>
                </c:pt>
                <c:pt idx="11749">
                  <c:v>44963640</c:v>
                </c:pt>
                <c:pt idx="11750">
                  <c:v>17599087</c:v>
                </c:pt>
                <c:pt idx="11751">
                  <c:v>294730895</c:v>
                </c:pt>
                <c:pt idx="11752">
                  <c:v>3818509</c:v>
                </c:pt>
                <c:pt idx="11753">
                  <c:v>220748332</c:v>
                </c:pt>
                <c:pt idx="11754">
                  <c:v>41822065</c:v>
                </c:pt>
                <c:pt idx="11755">
                  <c:v>288788396</c:v>
                </c:pt>
                <c:pt idx="11756">
                  <c:v>250571984</c:v>
                </c:pt>
                <c:pt idx="11757">
                  <c:v>5957920</c:v>
                </c:pt>
                <c:pt idx="11758">
                  <c:v>5047658</c:v>
                </c:pt>
                <c:pt idx="11759">
                  <c:v>250746111</c:v>
                </c:pt>
                <c:pt idx="11760">
                  <c:v>15025185</c:v>
                </c:pt>
                <c:pt idx="11761">
                  <c:v>78339717</c:v>
                </c:pt>
                <c:pt idx="11762">
                  <c:v>189697597</c:v>
                </c:pt>
                <c:pt idx="11763">
                  <c:v>60452570</c:v>
                </c:pt>
                <c:pt idx="11764">
                  <c:v>38681600</c:v>
                </c:pt>
                <c:pt idx="11765">
                  <c:v>124664640</c:v>
                </c:pt>
                <c:pt idx="11766">
                  <c:v>129310976</c:v>
                </c:pt>
                <c:pt idx="11767">
                  <c:v>15044900</c:v>
                </c:pt>
                <c:pt idx="11768">
                  <c:v>45264030</c:v>
                </c:pt>
                <c:pt idx="11769">
                  <c:v>33353487</c:v>
                </c:pt>
                <c:pt idx="11770">
                  <c:v>22005814</c:v>
                </c:pt>
                <c:pt idx="11771">
                  <c:v>13703404</c:v>
                </c:pt>
                <c:pt idx="11772">
                  <c:v>35721234</c:v>
                </c:pt>
                <c:pt idx="11773">
                  <c:v>27629112</c:v>
                </c:pt>
                <c:pt idx="11774">
                  <c:v>56926935</c:v>
                </c:pt>
                <c:pt idx="11775">
                  <c:v>81117234</c:v>
                </c:pt>
                <c:pt idx="11776">
                  <c:v>240540828</c:v>
                </c:pt>
                <c:pt idx="11777">
                  <c:v>25416720</c:v>
                </c:pt>
                <c:pt idx="11778">
                  <c:v>7856272</c:v>
                </c:pt>
                <c:pt idx="11779">
                  <c:v>8345630</c:v>
                </c:pt>
                <c:pt idx="11780">
                  <c:v>19682179</c:v>
                </c:pt>
                <c:pt idx="11781">
                  <c:v>129305386</c:v>
                </c:pt>
                <c:pt idx="11782">
                  <c:v>19105689</c:v>
                </c:pt>
                <c:pt idx="11783">
                  <c:v>12358089</c:v>
                </c:pt>
                <c:pt idx="11784">
                  <c:v>87275312</c:v>
                </c:pt>
                <c:pt idx="11785">
                  <c:v>12713982</c:v>
                </c:pt>
                <c:pt idx="11786">
                  <c:v>17234656</c:v>
                </c:pt>
                <c:pt idx="11787">
                  <c:v>12206729</c:v>
                </c:pt>
                <c:pt idx="11788">
                  <c:v>18105140</c:v>
                </c:pt>
                <c:pt idx="11789">
                  <c:v>11550081</c:v>
                </c:pt>
                <c:pt idx="11790">
                  <c:v>24704122</c:v>
                </c:pt>
                <c:pt idx="11791">
                  <c:v>74306382</c:v>
                </c:pt>
                <c:pt idx="11792">
                  <c:v>108449166</c:v>
                </c:pt>
                <c:pt idx="11793">
                  <c:v>71688843</c:v>
                </c:pt>
                <c:pt idx="11794">
                  <c:v>11272800</c:v>
                </c:pt>
                <c:pt idx="11795">
                  <c:v>19362315</c:v>
                </c:pt>
                <c:pt idx="11796">
                  <c:v>211537368</c:v>
                </c:pt>
                <c:pt idx="11797">
                  <c:v>17819265</c:v>
                </c:pt>
                <c:pt idx="11798">
                  <c:v>8377072</c:v>
                </c:pt>
                <c:pt idx="11799">
                  <c:v>7695291</c:v>
                </c:pt>
                <c:pt idx="11800">
                  <c:v>15410472</c:v>
                </c:pt>
                <c:pt idx="11801">
                  <c:v>4704896</c:v>
                </c:pt>
                <c:pt idx="11802">
                  <c:v>5110540</c:v>
                </c:pt>
                <c:pt idx="11803">
                  <c:v>22960417</c:v>
                </c:pt>
                <c:pt idx="11804">
                  <c:v>208006344</c:v>
                </c:pt>
                <c:pt idx="11805">
                  <c:v>200649900</c:v>
                </c:pt>
                <c:pt idx="11806">
                  <c:v>611729910</c:v>
                </c:pt>
                <c:pt idx="11807">
                  <c:v>14335290</c:v>
                </c:pt>
                <c:pt idx="11808">
                  <c:v>11237500</c:v>
                </c:pt>
                <c:pt idx="11809">
                  <c:v>8362144</c:v>
                </c:pt>
                <c:pt idx="11810">
                  <c:v>57169980</c:v>
                </c:pt>
                <c:pt idx="11811">
                  <c:v>11773632</c:v>
                </c:pt>
                <c:pt idx="11812">
                  <c:v>86310276</c:v>
                </c:pt>
                <c:pt idx="11813">
                  <c:v>21269940</c:v>
                </c:pt>
                <c:pt idx="11814">
                  <c:v>16850816</c:v>
                </c:pt>
                <c:pt idx="11815">
                  <c:v>12565696</c:v>
                </c:pt>
                <c:pt idx="11816">
                  <c:v>78046740</c:v>
                </c:pt>
                <c:pt idx="11817">
                  <c:v>33485760</c:v>
                </c:pt>
                <c:pt idx="11818">
                  <c:v>5757855</c:v>
                </c:pt>
                <c:pt idx="11819">
                  <c:v>8455513</c:v>
                </c:pt>
                <c:pt idx="11820">
                  <c:v>15657945</c:v>
                </c:pt>
                <c:pt idx="11821">
                  <c:v>37536422</c:v>
                </c:pt>
                <c:pt idx="11822">
                  <c:v>22176312</c:v>
                </c:pt>
                <c:pt idx="11823">
                  <c:v>41618148</c:v>
                </c:pt>
                <c:pt idx="11824">
                  <c:v>17153230</c:v>
                </c:pt>
                <c:pt idx="11825">
                  <c:v>42222460</c:v>
                </c:pt>
                <c:pt idx="11826">
                  <c:v>11926070</c:v>
                </c:pt>
                <c:pt idx="11827">
                  <c:v>74008000</c:v>
                </c:pt>
                <c:pt idx="11828">
                  <c:v>13041504</c:v>
                </c:pt>
                <c:pt idx="11829">
                  <c:v>32255158</c:v>
                </c:pt>
                <c:pt idx="11830">
                  <c:v>10500691</c:v>
                </c:pt>
                <c:pt idx="11831">
                  <c:v>16514424</c:v>
                </c:pt>
                <c:pt idx="11832">
                  <c:v>10682309</c:v>
                </c:pt>
                <c:pt idx="11833">
                  <c:v>18768204</c:v>
                </c:pt>
                <c:pt idx="11834">
                  <c:v>10275264</c:v>
                </c:pt>
                <c:pt idx="11835">
                  <c:v>58537524</c:v>
                </c:pt>
                <c:pt idx="11836">
                  <c:v>19213509</c:v>
                </c:pt>
                <c:pt idx="11837">
                  <c:v>17501526</c:v>
                </c:pt>
                <c:pt idx="11838">
                  <c:v>19578510</c:v>
                </c:pt>
                <c:pt idx="11839">
                  <c:v>21307892</c:v>
                </c:pt>
                <c:pt idx="11840">
                  <c:v>48022500</c:v>
                </c:pt>
                <c:pt idx="11841">
                  <c:v>5549564</c:v>
                </c:pt>
                <c:pt idx="11842">
                  <c:v>230282285</c:v>
                </c:pt>
                <c:pt idx="11843">
                  <c:v>23478417</c:v>
                </c:pt>
                <c:pt idx="11844">
                  <c:v>20122500</c:v>
                </c:pt>
                <c:pt idx="11845">
                  <c:v>12055552</c:v>
                </c:pt>
                <c:pt idx="11846">
                  <c:v>424691596</c:v>
                </c:pt>
                <c:pt idx="11847">
                  <c:v>10523358</c:v>
                </c:pt>
                <c:pt idx="11848">
                  <c:v>20595458</c:v>
                </c:pt>
                <c:pt idx="11849">
                  <c:v>17826198</c:v>
                </c:pt>
                <c:pt idx="11850">
                  <c:v>16631190</c:v>
                </c:pt>
                <c:pt idx="11851">
                  <c:v>34495034</c:v>
                </c:pt>
                <c:pt idx="11852">
                  <c:v>18199785</c:v>
                </c:pt>
                <c:pt idx="11853">
                  <c:v>12404232</c:v>
                </c:pt>
                <c:pt idx="11854">
                  <c:v>17670222</c:v>
                </c:pt>
                <c:pt idx="11855">
                  <c:v>54645105</c:v>
                </c:pt>
                <c:pt idx="11856">
                  <c:v>11037240</c:v>
                </c:pt>
                <c:pt idx="11857">
                  <c:v>19627687</c:v>
                </c:pt>
                <c:pt idx="11858">
                  <c:v>16488360</c:v>
                </c:pt>
                <c:pt idx="11859">
                  <c:v>75656920</c:v>
                </c:pt>
                <c:pt idx="11860">
                  <c:v>24094128</c:v>
                </c:pt>
                <c:pt idx="11861">
                  <c:v>16327826</c:v>
                </c:pt>
                <c:pt idx="11862">
                  <c:v>17927238</c:v>
                </c:pt>
                <c:pt idx="11863">
                  <c:v>15254790</c:v>
                </c:pt>
                <c:pt idx="11864">
                  <c:v>13337385</c:v>
                </c:pt>
                <c:pt idx="11865">
                  <c:v>32114048</c:v>
                </c:pt>
                <c:pt idx="11866">
                  <c:v>10519484</c:v>
                </c:pt>
                <c:pt idx="11867">
                  <c:v>10688390</c:v>
                </c:pt>
                <c:pt idx="11868">
                  <c:v>28180248</c:v>
                </c:pt>
                <c:pt idx="11869">
                  <c:v>12537024</c:v>
                </c:pt>
                <c:pt idx="11870">
                  <c:v>15157328</c:v>
                </c:pt>
                <c:pt idx="11871">
                  <c:v>12432411</c:v>
                </c:pt>
                <c:pt idx="11872">
                  <c:v>12259968</c:v>
                </c:pt>
                <c:pt idx="11873">
                  <c:v>16023128</c:v>
                </c:pt>
                <c:pt idx="11874">
                  <c:v>6745266</c:v>
                </c:pt>
                <c:pt idx="11875">
                  <c:v>17680568</c:v>
                </c:pt>
                <c:pt idx="11876">
                  <c:v>17066560</c:v>
                </c:pt>
                <c:pt idx="11877">
                  <c:v>178706816</c:v>
                </c:pt>
                <c:pt idx="11878">
                  <c:v>5661880</c:v>
                </c:pt>
                <c:pt idx="11879">
                  <c:v>13641840</c:v>
                </c:pt>
                <c:pt idx="11880">
                  <c:v>1123024768</c:v>
                </c:pt>
                <c:pt idx="11881">
                  <c:v>726124560</c:v>
                </c:pt>
                <c:pt idx="11882">
                  <c:v>49594356</c:v>
                </c:pt>
                <c:pt idx="11883">
                  <c:v>24120830</c:v>
                </c:pt>
                <c:pt idx="11884">
                  <c:v>59965715</c:v>
                </c:pt>
                <c:pt idx="11885">
                  <c:v>31720812</c:v>
                </c:pt>
                <c:pt idx="11886">
                  <c:v>601804350</c:v>
                </c:pt>
                <c:pt idx="11887">
                  <c:v>68979400</c:v>
                </c:pt>
                <c:pt idx="11888">
                  <c:v>15031807</c:v>
                </c:pt>
                <c:pt idx="11889">
                  <c:v>206036748</c:v>
                </c:pt>
                <c:pt idx="11890">
                  <c:v>96270720</c:v>
                </c:pt>
                <c:pt idx="11891">
                  <c:v>3899490</c:v>
                </c:pt>
                <c:pt idx="11892">
                  <c:v>33988252</c:v>
                </c:pt>
                <c:pt idx="11893">
                  <c:v>36069948</c:v>
                </c:pt>
                <c:pt idx="11894">
                  <c:v>143622759</c:v>
                </c:pt>
                <c:pt idx="11895">
                  <c:v>37784400</c:v>
                </c:pt>
                <c:pt idx="11896">
                  <c:v>26383875</c:v>
                </c:pt>
                <c:pt idx="11897">
                  <c:v>86680666</c:v>
                </c:pt>
                <c:pt idx="11898">
                  <c:v>117313352</c:v>
                </c:pt>
                <c:pt idx="11899">
                  <c:v>60144928</c:v>
                </c:pt>
                <c:pt idx="11900">
                  <c:v>40249825</c:v>
                </c:pt>
                <c:pt idx="11901">
                  <c:v>32523921</c:v>
                </c:pt>
                <c:pt idx="11902">
                  <c:v>53658668</c:v>
                </c:pt>
                <c:pt idx="11903">
                  <c:v>65206089</c:v>
                </c:pt>
                <c:pt idx="11904">
                  <c:v>148617960</c:v>
                </c:pt>
                <c:pt idx="11905">
                  <c:v>31335573</c:v>
                </c:pt>
                <c:pt idx="11906">
                  <c:v>70438320</c:v>
                </c:pt>
                <c:pt idx="11907">
                  <c:v>36563955</c:v>
                </c:pt>
                <c:pt idx="11908">
                  <c:v>51901600</c:v>
                </c:pt>
                <c:pt idx="11909">
                  <c:v>192917999</c:v>
                </c:pt>
                <c:pt idx="11910">
                  <c:v>581624414</c:v>
                </c:pt>
                <c:pt idx="11911">
                  <c:v>11900679</c:v>
                </c:pt>
                <c:pt idx="11912">
                  <c:v>729982050</c:v>
                </c:pt>
                <c:pt idx="11913">
                  <c:v>20970430</c:v>
                </c:pt>
                <c:pt idx="11914">
                  <c:v>41679330</c:v>
                </c:pt>
                <c:pt idx="11915">
                  <c:v>44856440</c:v>
                </c:pt>
                <c:pt idx="11916">
                  <c:v>71851337</c:v>
                </c:pt>
                <c:pt idx="11917">
                  <c:v>67383240</c:v>
                </c:pt>
                <c:pt idx="11918">
                  <c:v>14211450</c:v>
                </c:pt>
                <c:pt idx="11919">
                  <c:v>140731360</c:v>
                </c:pt>
                <c:pt idx="11920">
                  <c:v>67103545</c:v>
                </c:pt>
                <c:pt idx="11921">
                  <c:v>52371200</c:v>
                </c:pt>
                <c:pt idx="11922">
                  <c:v>1326836576</c:v>
                </c:pt>
                <c:pt idx="11923">
                  <c:v>1121848000</c:v>
                </c:pt>
                <c:pt idx="11924">
                  <c:v>1268658490</c:v>
                </c:pt>
                <c:pt idx="11925">
                  <c:v>60424240</c:v>
                </c:pt>
                <c:pt idx="11926">
                  <c:v>246393096</c:v>
                </c:pt>
                <c:pt idx="11927">
                  <c:v>31392336</c:v>
                </c:pt>
                <c:pt idx="11928">
                  <c:v>143626326</c:v>
                </c:pt>
                <c:pt idx="11929">
                  <c:v>145567208</c:v>
                </c:pt>
                <c:pt idx="11930">
                  <c:v>2050884</c:v>
                </c:pt>
                <c:pt idx="11931">
                  <c:v>34680800</c:v>
                </c:pt>
                <c:pt idx="11932">
                  <c:v>441920520</c:v>
                </c:pt>
                <c:pt idx="11933">
                  <c:v>23935275</c:v>
                </c:pt>
                <c:pt idx="11934">
                  <c:v>770090386</c:v>
                </c:pt>
                <c:pt idx="11935">
                  <c:v>8788062</c:v>
                </c:pt>
                <c:pt idx="11936">
                  <c:v>13151685</c:v>
                </c:pt>
                <c:pt idx="11937">
                  <c:v>57542124</c:v>
                </c:pt>
                <c:pt idx="11938">
                  <c:v>30618192</c:v>
                </c:pt>
                <c:pt idx="11939">
                  <c:v>388941876</c:v>
                </c:pt>
                <c:pt idx="11940">
                  <c:v>55058060</c:v>
                </c:pt>
                <c:pt idx="11941">
                  <c:v>196932820</c:v>
                </c:pt>
                <c:pt idx="11942">
                  <c:v>35473960</c:v>
                </c:pt>
                <c:pt idx="11943">
                  <c:v>173494200</c:v>
                </c:pt>
                <c:pt idx="11944">
                  <c:v>54425856</c:v>
                </c:pt>
                <c:pt idx="11945">
                  <c:v>23790480</c:v>
                </c:pt>
                <c:pt idx="11946">
                  <c:v>5639751</c:v>
                </c:pt>
                <c:pt idx="11947">
                  <c:v>138949888</c:v>
                </c:pt>
                <c:pt idx="11948">
                  <c:v>23480413</c:v>
                </c:pt>
                <c:pt idx="11949">
                  <c:v>103956900</c:v>
                </c:pt>
                <c:pt idx="11950">
                  <c:v>361299939</c:v>
                </c:pt>
                <c:pt idx="11951">
                  <c:v>12848458</c:v>
                </c:pt>
                <c:pt idx="11952">
                  <c:v>47818365</c:v>
                </c:pt>
                <c:pt idx="11953">
                  <c:v>72650350</c:v>
                </c:pt>
                <c:pt idx="11954">
                  <c:v>165746405</c:v>
                </c:pt>
                <c:pt idx="11955">
                  <c:v>15391740</c:v>
                </c:pt>
                <c:pt idx="11956">
                  <c:v>60575762</c:v>
                </c:pt>
                <c:pt idx="11957">
                  <c:v>23135040</c:v>
                </c:pt>
                <c:pt idx="11958">
                  <c:v>1125571632</c:v>
                </c:pt>
                <c:pt idx="11959">
                  <c:v>131275328</c:v>
                </c:pt>
                <c:pt idx="11960">
                  <c:v>21322496</c:v>
                </c:pt>
                <c:pt idx="11961">
                  <c:v>205507023</c:v>
                </c:pt>
                <c:pt idx="11962">
                  <c:v>169936800</c:v>
                </c:pt>
                <c:pt idx="11963">
                  <c:v>61934912</c:v>
                </c:pt>
                <c:pt idx="11964">
                  <c:v>76328368</c:v>
                </c:pt>
                <c:pt idx="11965">
                  <c:v>17951790</c:v>
                </c:pt>
                <c:pt idx="11966">
                  <c:v>376058716</c:v>
                </c:pt>
                <c:pt idx="11967">
                  <c:v>11388876</c:v>
                </c:pt>
                <c:pt idx="11968">
                  <c:v>37228455</c:v>
                </c:pt>
                <c:pt idx="11969">
                  <c:v>1351395264</c:v>
                </c:pt>
                <c:pt idx="11970">
                  <c:v>1337908627</c:v>
                </c:pt>
                <c:pt idx="11971">
                  <c:v>204018165</c:v>
                </c:pt>
                <c:pt idx="11972">
                  <c:v>9520960</c:v>
                </c:pt>
                <c:pt idx="11973">
                  <c:v>29346128</c:v>
                </c:pt>
                <c:pt idx="11974">
                  <c:v>30804964</c:v>
                </c:pt>
                <c:pt idx="11975">
                  <c:v>125108610</c:v>
                </c:pt>
                <c:pt idx="11976">
                  <c:v>26818185</c:v>
                </c:pt>
                <c:pt idx="11977">
                  <c:v>295326855</c:v>
                </c:pt>
                <c:pt idx="11978">
                  <c:v>17178344</c:v>
                </c:pt>
                <c:pt idx="11979">
                  <c:v>27409574</c:v>
                </c:pt>
                <c:pt idx="11980">
                  <c:v>22105512</c:v>
                </c:pt>
                <c:pt idx="11981">
                  <c:v>24534244</c:v>
                </c:pt>
                <c:pt idx="11982">
                  <c:v>15285725</c:v>
                </c:pt>
                <c:pt idx="11983">
                  <c:v>338790910</c:v>
                </c:pt>
                <c:pt idx="11984">
                  <c:v>149656848</c:v>
                </c:pt>
                <c:pt idx="11985">
                  <c:v>141205701</c:v>
                </c:pt>
                <c:pt idx="11986">
                  <c:v>31258572</c:v>
                </c:pt>
                <c:pt idx="11987">
                  <c:v>47983650</c:v>
                </c:pt>
                <c:pt idx="11988">
                  <c:v>134898192</c:v>
                </c:pt>
                <c:pt idx="11989">
                  <c:v>48290256</c:v>
                </c:pt>
                <c:pt idx="11990">
                  <c:v>7934226</c:v>
                </c:pt>
                <c:pt idx="11991">
                  <c:v>35544060</c:v>
                </c:pt>
                <c:pt idx="11992">
                  <c:v>12614387</c:v>
                </c:pt>
                <c:pt idx="11993">
                  <c:v>191254877</c:v>
                </c:pt>
                <c:pt idx="11994">
                  <c:v>15092120</c:v>
                </c:pt>
                <c:pt idx="11995">
                  <c:v>32051526</c:v>
                </c:pt>
                <c:pt idx="11996">
                  <c:v>5277514</c:v>
                </c:pt>
                <c:pt idx="11997">
                  <c:v>36674847</c:v>
                </c:pt>
                <c:pt idx="11998">
                  <c:v>194028160</c:v>
                </c:pt>
                <c:pt idx="11999">
                  <c:v>98429700</c:v>
                </c:pt>
                <c:pt idx="12000">
                  <c:v>45251606</c:v>
                </c:pt>
                <c:pt idx="12001">
                  <c:v>87397288</c:v>
                </c:pt>
                <c:pt idx="12002">
                  <c:v>6679764</c:v>
                </c:pt>
                <c:pt idx="12003">
                  <c:v>148421450</c:v>
                </c:pt>
                <c:pt idx="12004">
                  <c:v>58774870</c:v>
                </c:pt>
                <c:pt idx="12005">
                  <c:v>22704617</c:v>
                </c:pt>
                <c:pt idx="12006">
                  <c:v>49788430</c:v>
                </c:pt>
                <c:pt idx="12007">
                  <c:v>84933675</c:v>
                </c:pt>
                <c:pt idx="12008">
                  <c:v>1004232036</c:v>
                </c:pt>
                <c:pt idx="12009">
                  <c:v>667504836</c:v>
                </c:pt>
                <c:pt idx="12010">
                  <c:v>39905280</c:v>
                </c:pt>
                <c:pt idx="12011">
                  <c:v>161473180</c:v>
                </c:pt>
                <c:pt idx="12012">
                  <c:v>21827660</c:v>
                </c:pt>
                <c:pt idx="12013">
                  <c:v>44555208</c:v>
                </c:pt>
                <c:pt idx="12014">
                  <c:v>86046804</c:v>
                </c:pt>
                <c:pt idx="12015">
                  <c:v>311358130</c:v>
                </c:pt>
                <c:pt idx="12016">
                  <c:v>98459388</c:v>
                </c:pt>
                <c:pt idx="12017">
                  <c:v>74962965</c:v>
                </c:pt>
                <c:pt idx="12018">
                  <c:v>10519616</c:v>
                </c:pt>
                <c:pt idx="12019">
                  <c:v>70467334</c:v>
                </c:pt>
                <c:pt idx="12020">
                  <c:v>38614481</c:v>
                </c:pt>
                <c:pt idx="12021">
                  <c:v>41350764</c:v>
                </c:pt>
                <c:pt idx="12022">
                  <c:v>94543244</c:v>
                </c:pt>
                <c:pt idx="12023">
                  <c:v>28311360</c:v>
                </c:pt>
                <c:pt idx="12024">
                  <c:v>36421552</c:v>
                </c:pt>
                <c:pt idx="12025">
                  <c:v>2823375</c:v>
                </c:pt>
                <c:pt idx="12026">
                  <c:v>38515053</c:v>
                </c:pt>
                <c:pt idx="12027">
                  <c:v>438507315</c:v>
                </c:pt>
                <c:pt idx="12028">
                  <c:v>675050339</c:v>
                </c:pt>
                <c:pt idx="12029">
                  <c:v>63065808</c:v>
                </c:pt>
                <c:pt idx="12030">
                  <c:v>56643640</c:v>
                </c:pt>
                <c:pt idx="12031">
                  <c:v>42066588</c:v>
                </c:pt>
                <c:pt idx="12032">
                  <c:v>17857125</c:v>
                </c:pt>
                <c:pt idx="12033">
                  <c:v>180235510</c:v>
                </c:pt>
                <c:pt idx="12034">
                  <c:v>167585760</c:v>
                </c:pt>
                <c:pt idx="12035">
                  <c:v>127861006</c:v>
                </c:pt>
                <c:pt idx="12036">
                  <c:v>121730897</c:v>
                </c:pt>
                <c:pt idx="12037">
                  <c:v>198072302</c:v>
                </c:pt>
                <c:pt idx="12038">
                  <c:v>14461924</c:v>
                </c:pt>
                <c:pt idx="12039">
                  <c:v>127191346</c:v>
                </c:pt>
                <c:pt idx="12040">
                  <c:v>422842779</c:v>
                </c:pt>
                <c:pt idx="12041">
                  <c:v>32298024</c:v>
                </c:pt>
                <c:pt idx="12042">
                  <c:v>64785725</c:v>
                </c:pt>
                <c:pt idx="12043">
                  <c:v>254466744</c:v>
                </c:pt>
                <c:pt idx="12044">
                  <c:v>55401850</c:v>
                </c:pt>
                <c:pt idx="12045">
                  <c:v>31232742</c:v>
                </c:pt>
                <c:pt idx="12046">
                  <c:v>56977440</c:v>
                </c:pt>
                <c:pt idx="12047">
                  <c:v>1857793070</c:v>
                </c:pt>
                <c:pt idx="12048">
                  <c:v>34242912</c:v>
                </c:pt>
                <c:pt idx="12049">
                  <c:v>32687233</c:v>
                </c:pt>
                <c:pt idx="12050">
                  <c:v>41726868</c:v>
                </c:pt>
                <c:pt idx="12051">
                  <c:v>116559072</c:v>
                </c:pt>
                <c:pt idx="12052">
                  <c:v>683514108</c:v>
                </c:pt>
                <c:pt idx="12053">
                  <c:v>65031225</c:v>
                </c:pt>
                <c:pt idx="12054">
                  <c:v>10927818</c:v>
                </c:pt>
                <c:pt idx="12055">
                  <c:v>171836250</c:v>
                </c:pt>
                <c:pt idx="12056">
                  <c:v>117489600</c:v>
                </c:pt>
                <c:pt idx="12057">
                  <c:v>368879898</c:v>
                </c:pt>
                <c:pt idx="12058">
                  <c:v>34278416</c:v>
                </c:pt>
                <c:pt idx="12059">
                  <c:v>50044953</c:v>
                </c:pt>
                <c:pt idx="12060">
                  <c:v>36142807</c:v>
                </c:pt>
                <c:pt idx="12061">
                  <c:v>64917472</c:v>
                </c:pt>
                <c:pt idx="12062">
                  <c:v>7717985</c:v>
                </c:pt>
                <c:pt idx="12063">
                  <c:v>205506522</c:v>
                </c:pt>
                <c:pt idx="12064">
                  <c:v>40042188</c:v>
                </c:pt>
                <c:pt idx="12065">
                  <c:v>234102456</c:v>
                </c:pt>
                <c:pt idx="12066">
                  <c:v>125342640</c:v>
                </c:pt>
                <c:pt idx="12067">
                  <c:v>18900592</c:v>
                </c:pt>
                <c:pt idx="12068">
                  <c:v>339160040</c:v>
                </c:pt>
                <c:pt idx="12069">
                  <c:v>75963135</c:v>
                </c:pt>
                <c:pt idx="12070">
                  <c:v>11601568</c:v>
                </c:pt>
                <c:pt idx="12071">
                  <c:v>152040554</c:v>
                </c:pt>
                <c:pt idx="12072">
                  <c:v>46914048</c:v>
                </c:pt>
                <c:pt idx="12073">
                  <c:v>16486872</c:v>
                </c:pt>
                <c:pt idx="12074">
                  <c:v>68976036</c:v>
                </c:pt>
                <c:pt idx="12075">
                  <c:v>114802624</c:v>
                </c:pt>
                <c:pt idx="12076">
                  <c:v>23096238</c:v>
                </c:pt>
                <c:pt idx="12077">
                  <c:v>85476795</c:v>
                </c:pt>
                <c:pt idx="12078">
                  <c:v>1235599953</c:v>
                </c:pt>
                <c:pt idx="12079">
                  <c:v>9002136</c:v>
                </c:pt>
                <c:pt idx="12080">
                  <c:v>74350612</c:v>
                </c:pt>
                <c:pt idx="12081">
                  <c:v>2550100</c:v>
                </c:pt>
                <c:pt idx="12082">
                  <c:v>65798840</c:v>
                </c:pt>
                <c:pt idx="12083">
                  <c:v>5812572</c:v>
                </c:pt>
                <c:pt idx="12084">
                  <c:v>243413205</c:v>
                </c:pt>
                <c:pt idx="12085">
                  <c:v>64236695</c:v>
                </c:pt>
                <c:pt idx="12086">
                  <c:v>79144290</c:v>
                </c:pt>
                <c:pt idx="12087">
                  <c:v>2147483647</c:v>
                </c:pt>
                <c:pt idx="12088">
                  <c:v>2147483647</c:v>
                </c:pt>
                <c:pt idx="12089">
                  <c:v>2147483647</c:v>
                </c:pt>
                <c:pt idx="12090">
                  <c:v>262683264</c:v>
                </c:pt>
                <c:pt idx="12091">
                  <c:v>804245472</c:v>
                </c:pt>
                <c:pt idx="12092">
                  <c:v>102860738</c:v>
                </c:pt>
                <c:pt idx="12093">
                  <c:v>735862920</c:v>
                </c:pt>
                <c:pt idx="12094">
                  <c:v>199640640</c:v>
                </c:pt>
                <c:pt idx="12095">
                  <c:v>2147483647</c:v>
                </c:pt>
                <c:pt idx="12096">
                  <c:v>251090022</c:v>
                </c:pt>
                <c:pt idx="12097">
                  <c:v>13840335</c:v>
                </c:pt>
                <c:pt idx="12098">
                  <c:v>597467375</c:v>
                </c:pt>
                <c:pt idx="12099">
                  <c:v>12468672</c:v>
                </c:pt>
                <c:pt idx="12100">
                  <c:v>1711292730</c:v>
                </c:pt>
                <c:pt idx="12101">
                  <c:v>8101248</c:v>
                </c:pt>
                <c:pt idx="12102">
                  <c:v>1275311475</c:v>
                </c:pt>
                <c:pt idx="12103">
                  <c:v>154326886</c:v>
                </c:pt>
                <c:pt idx="12104">
                  <c:v>63810268</c:v>
                </c:pt>
                <c:pt idx="12105">
                  <c:v>142178729</c:v>
                </c:pt>
                <c:pt idx="12106">
                  <c:v>875783325</c:v>
                </c:pt>
                <c:pt idx="12107">
                  <c:v>2049837056</c:v>
                </c:pt>
                <c:pt idx="12108">
                  <c:v>1722962362</c:v>
                </c:pt>
                <c:pt idx="12109">
                  <c:v>620856594</c:v>
                </c:pt>
                <c:pt idx="12110">
                  <c:v>73870650</c:v>
                </c:pt>
                <c:pt idx="12111">
                  <c:v>222374097</c:v>
                </c:pt>
                <c:pt idx="12112">
                  <c:v>1158254113</c:v>
                </c:pt>
                <c:pt idx="12113">
                  <c:v>812195576</c:v>
                </c:pt>
                <c:pt idx="12114">
                  <c:v>2147483647</c:v>
                </c:pt>
                <c:pt idx="12115">
                  <c:v>63530160</c:v>
                </c:pt>
                <c:pt idx="12116">
                  <c:v>38280800</c:v>
                </c:pt>
                <c:pt idx="12117">
                  <c:v>1793783706</c:v>
                </c:pt>
                <c:pt idx="12118">
                  <c:v>81574610</c:v>
                </c:pt>
                <c:pt idx="12119">
                  <c:v>169848768</c:v>
                </c:pt>
                <c:pt idx="12120">
                  <c:v>622498135</c:v>
                </c:pt>
                <c:pt idx="12121">
                  <c:v>295906054</c:v>
                </c:pt>
                <c:pt idx="12122">
                  <c:v>4872985</c:v>
                </c:pt>
                <c:pt idx="12123">
                  <c:v>608959120</c:v>
                </c:pt>
                <c:pt idx="12124">
                  <c:v>123528852</c:v>
                </c:pt>
                <c:pt idx="12125">
                  <c:v>2147483647</c:v>
                </c:pt>
                <c:pt idx="12126">
                  <c:v>1812986454</c:v>
                </c:pt>
                <c:pt idx="12127">
                  <c:v>21545024</c:v>
                </c:pt>
                <c:pt idx="12128">
                  <c:v>1345401822</c:v>
                </c:pt>
                <c:pt idx="12129">
                  <c:v>7356615</c:v>
                </c:pt>
                <c:pt idx="12130">
                  <c:v>145262201</c:v>
                </c:pt>
                <c:pt idx="12131">
                  <c:v>397267340</c:v>
                </c:pt>
                <c:pt idx="12132">
                  <c:v>322438725</c:v>
                </c:pt>
                <c:pt idx="12133">
                  <c:v>41878484</c:v>
                </c:pt>
                <c:pt idx="12134">
                  <c:v>95514216</c:v>
                </c:pt>
                <c:pt idx="12135">
                  <c:v>4411908</c:v>
                </c:pt>
                <c:pt idx="12136">
                  <c:v>1381667625</c:v>
                </c:pt>
                <c:pt idx="12137">
                  <c:v>185586941</c:v>
                </c:pt>
                <c:pt idx="12138">
                  <c:v>677893935</c:v>
                </c:pt>
                <c:pt idx="12139">
                  <c:v>38473994</c:v>
                </c:pt>
                <c:pt idx="12140">
                  <c:v>83936034</c:v>
                </c:pt>
                <c:pt idx="12141">
                  <c:v>1058298232</c:v>
                </c:pt>
                <c:pt idx="12142">
                  <c:v>2147483647</c:v>
                </c:pt>
                <c:pt idx="12143">
                  <c:v>479256696</c:v>
                </c:pt>
                <c:pt idx="12144">
                  <c:v>10781360</c:v>
                </c:pt>
                <c:pt idx="12145">
                  <c:v>5684580</c:v>
                </c:pt>
                <c:pt idx="12146">
                  <c:v>56017074</c:v>
                </c:pt>
                <c:pt idx="12147">
                  <c:v>1812326723</c:v>
                </c:pt>
                <c:pt idx="12148">
                  <c:v>127308720</c:v>
                </c:pt>
                <c:pt idx="12149">
                  <c:v>75939276</c:v>
                </c:pt>
                <c:pt idx="12150">
                  <c:v>73373349</c:v>
                </c:pt>
                <c:pt idx="12151">
                  <c:v>510797410</c:v>
                </c:pt>
                <c:pt idx="12152">
                  <c:v>649295274</c:v>
                </c:pt>
                <c:pt idx="12153">
                  <c:v>3545820</c:v>
                </c:pt>
                <c:pt idx="12154">
                  <c:v>175591580</c:v>
                </c:pt>
                <c:pt idx="12155">
                  <c:v>7388963</c:v>
                </c:pt>
                <c:pt idx="12156">
                  <c:v>55080960</c:v>
                </c:pt>
                <c:pt idx="12157">
                  <c:v>335828710</c:v>
                </c:pt>
                <c:pt idx="12158">
                  <c:v>1887895620</c:v>
                </c:pt>
                <c:pt idx="12159">
                  <c:v>51374596</c:v>
                </c:pt>
                <c:pt idx="12160">
                  <c:v>75493608</c:v>
                </c:pt>
                <c:pt idx="12161">
                  <c:v>67861749</c:v>
                </c:pt>
                <c:pt idx="12162">
                  <c:v>5420924</c:v>
                </c:pt>
                <c:pt idx="12163">
                  <c:v>24875950</c:v>
                </c:pt>
                <c:pt idx="12164">
                  <c:v>34072269</c:v>
                </c:pt>
                <c:pt idx="12165">
                  <c:v>123950553</c:v>
                </c:pt>
                <c:pt idx="12166">
                  <c:v>86659536</c:v>
                </c:pt>
                <c:pt idx="12167">
                  <c:v>5930931</c:v>
                </c:pt>
                <c:pt idx="12168">
                  <c:v>9039348</c:v>
                </c:pt>
                <c:pt idx="12169">
                  <c:v>586322452</c:v>
                </c:pt>
                <c:pt idx="12170">
                  <c:v>221185181</c:v>
                </c:pt>
                <c:pt idx="12171">
                  <c:v>62207056</c:v>
                </c:pt>
                <c:pt idx="12172">
                  <c:v>907569472</c:v>
                </c:pt>
                <c:pt idx="12173">
                  <c:v>694969656</c:v>
                </c:pt>
                <c:pt idx="12174">
                  <c:v>207905436</c:v>
                </c:pt>
                <c:pt idx="12175">
                  <c:v>1176563388</c:v>
                </c:pt>
                <c:pt idx="12176">
                  <c:v>356453205</c:v>
                </c:pt>
                <c:pt idx="12177">
                  <c:v>968644960</c:v>
                </c:pt>
                <c:pt idx="12178">
                  <c:v>1183752368</c:v>
                </c:pt>
                <c:pt idx="12179">
                  <c:v>1457704521</c:v>
                </c:pt>
                <c:pt idx="12180">
                  <c:v>365901592</c:v>
                </c:pt>
                <c:pt idx="12181">
                  <c:v>1327317390</c:v>
                </c:pt>
                <c:pt idx="12182">
                  <c:v>1034270832</c:v>
                </c:pt>
                <c:pt idx="12183">
                  <c:v>1348626202</c:v>
                </c:pt>
                <c:pt idx="12184">
                  <c:v>942110454</c:v>
                </c:pt>
                <c:pt idx="12185">
                  <c:v>35891154</c:v>
                </c:pt>
                <c:pt idx="12186">
                  <c:v>691525350</c:v>
                </c:pt>
                <c:pt idx="12187">
                  <c:v>1554286860</c:v>
                </c:pt>
                <c:pt idx="12188">
                  <c:v>2141202649</c:v>
                </c:pt>
                <c:pt idx="12189">
                  <c:v>63262603</c:v>
                </c:pt>
                <c:pt idx="12190">
                  <c:v>521237780</c:v>
                </c:pt>
                <c:pt idx="12191">
                  <c:v>978124508</c:v>
                </c:pt>
                <c:pt idx="12192">
                  <c:v>523473610</c:v>
                </c:pt>
                <c:pt idx="12193">
                  <c:v>1536183720</c:v>
                </c:pt>
                <c:pt idx="12194">
                  <c:v>1298196447</c:v>
                </c:pt>
                <c:pt idx="12195">
                  <c:v>2147483647</c:v>
                </c:pt>
                <c:pt idx="12196">
                  <c:v>651735344</c:v>
                </c:pt>
                <c:pt idx="12197">
                  <c:v>1036163157</c:v>
                </c:pt>
                <c:pt idx="12198">
                  <c:v>2011852458</c:v>
                </c:pt>
                <c:pt idx="12199">
                  <c:v>327501100</c:v>
                </c:pt>
                <c:pt idx="12200">
                  <c:v>1343915880</c:v>
                </c:pt>
                <c:pt idx="12201">
                  <c:v>87235096</c:v>
                </c:pt>
                <c:pt idx="12202">
                  <c:v>588709331</c:v>
                </c:pt>
                <c:pt idx="12203">
                  <c:v>77764035</c:v>
                </c:pt>
                <c:pt idx="12204">
                  <c:v>215802648</c:v>
                </c:pt>
                <c:pt idx="12205">
                  <c:v>178074162</c:v>
                </c:pt>
                <c:pt idx="12206">
                  <c:v>3486420</c:v>
                </c:pt>
                <c:pt idx="12207">
                  <c:v>183809340</c:v>
                </c:pt>
                <c:pt idx="12208">
                  <c:v>43795220</c:v>
                </c:pt>
                <c:pt idx="12209">
                  <c:v>26264400</c:v>
                </c:pt>
                <c:pt idx="12210">
                  <c:v>7792320</c:v>
                </c:pt>
                <c:pt idx="12211">
                  <c:v>8149428</c:v>
                </c:pt>
                <c:pt idx="12212">
                  <c:v>19639464</c:v>
                </c:pt>
                <c:pt idx="12213">
                  <c:v>125037228</c:v>
                </c:pt>
                <c:pt idx="12214">
                  <c:v>340777198</c:v>
                </c:pt>
                <c:pt idx="12215">
                  <c:v>1437088</c:v>
                </c:pt>
                <c:pt idx="12216">
                  <c:v>152344800</c:v>
                </c:pt>
                <c:pt idx="12217">
                  <c:v>43893295</c:v>
                </c:pt>
                <c:pt idx="12218">
                  <c:v>26436885</c:v>
                </c:pt>
                <c:pt idx="12219">
                  <c:v>222452928</c:v>
                </c:pt>
                <c:pt idx="12220">
                  <c:v>23478816</c:v>
                </c:pt>
                <c:pt idx="12221">
                  <c:v>273408161</c:v>
                </c:pt>
                <c:pt idx="12222">
                  <c:v>52548547</c:v>
                </c:pt>
                <c:pt idx="12223">
                  <c:v>29272597</c:v>
                </c:pt>
                <c:pt idx="12224">
                  <c:v>135014850</c:v>
                </c:pt>
                <c:pt idx="12225">
                  <c:v>45026840</c:v>
                </c:pt>
                <c:pt idx="12226">
                  <c:v>192800600</c:v>
                </c:pt>
                <c:pt idx="12227">
                  <c:v>27568284</c:v>
                </c:pt>
                <c:pt idx="12228">
                  <c:v>39014466</c:v>
                </c:pt>
                <c:pt idx="12229">
                  <c:v>56589533</c:v>
                </c:pt>
                <c:pt idx="12230">
                  <c:v>5610853</c:v>
                </c:pt>
                <c:pt idx="12231">
                  <c:v>338535688</c:v>
                </c:pt>
                <c:pt idx="12232">
                  <c:v>40684644</c:v>
                </c:pt>
                <c:pt idx="12233">
                  <c:v>133673056</c:v>
                </c:pt>
                <c:pt idx="12234">
                  <c:v>78381484</c:v>
                </c:pt>
                <c:pt idx="12235">
                  <c:v>15629519</c:v>
                </c:pt>
                <c:pt idx="12236">
                  <c:v>60032180</c:v>
                </c:pt>
                <c:pt idx="12237">
                  <c:v>952728436</c:v>
                </c:pt>
                <c:pt idx="12238">
                  <c:v>42816018</c:v>
                </c:pt>
                <c:pt idx="12239">
                  <c:v>16314705</c:v>
                </c:pt>
                <c:pt idx="12240">
                  <c:v>6940232</c:v>
                </c:pt>
                <c:pt idx="12241">
                  <c:v>288059749</c:v>
                </c:pt>
                <c:pt idx="12242">
                  <c:v>159897560</c:v>
                </c:pt>
                <c:pt idx="12243">
                  <c:v>28560768</c:v>
                </c:pt>
                <c:pt idx="12244">
                  <c:v>102576780</c:v>
                </c:pt>
                <c:pt idx="12245">
                  <c:v>808811895</c:v>
                </c:pt>
                <c:pt idx="12246">
                  <c:v>143404166</c:v>
                </c:pt>
                <c:pt idx="12247">
                  <c:v>144025880</c:v>
                </c:pt>
                <c:pt idx="12248">
                  <c:v>154410575</c:v>
                </c:pt>
                <c:pt idx="12249">
                  <c:v>2251783</c:v>
                </c:pt>
                <c:pt idx="12250">
                  <c:v>47576565</c:v>
                </c:pt>
                <c:pt idx="12251">
                  <c:v>9665528</c:v>
                </c:pt>
                <c:pt idx="12252">
                  <c:v>18330278</c:v>
                </c:pt>
                <c:pt idx="12253">
                  <c:v>210013128</c:v>
                </c:pt>
                <c:pt idx="12254">
                  <c:v>22004716</c:v>
                </c:pt>
                <c:pt idx="12255">
                  <c:v>59452047</c:v>
                </c:pt>
                <c:pt idx="12256">
                  <c:v>43498686</c:v>
                </c:pt>
                <c:pt idx="12257">
                  <c:v>3523506</c:v>
                </c:pt>
                <c:pt idx="12258">
                  <c:v>122156042</c:v>
                </c:pt>
                <c:pt idx="12259">
                  <c:v>256278182</c:v>
                </c:pt>
                <c:pt idx="12260">
                  <c:v>133480766</c:v>
                </c:pt>
                <c:pt idx="12261">
                  <c:v>42404846</c:v>
                </c:pt>
                <c:pt idx="12262">
                  <c:v>548867340</c:v>
                </c:pt>
                <c:pt idx="12263">
                  <c:v>18594341</c:v>
                </c:pt>
                <c:pt idx="12264">
                  <c:v>41998976</c:v>
                </c:pt>
                <c:pt idx="12265">
                  <c:v>9320607</c:v>
                </c:pt>
                <c:pt idx="12266">
                  <c:v>230605560</c:v>
                </c:pt>
                <c:pt idx="12267">
                  <c:v>31638002</c:v>
                </c:pt>
                <c:pt idx="12268">
                  <c:v>13928304</c:v>
                </c:pt>
                <c:pt idx="12269">
                  <c:v>50706460</c:v>
                </c:pt>
                <c:pt idx="12270">
                  <c:v>143706108</c:v>
                </c:pt>
                <c:pt idx="12271">
                  <c:v>62777419</c:v>
                </c:pt>
                <c:pt idx="12272">
                  <c:v>2625615</c:v>
                </c:pt>
                <c:pt idx="12273">
                  <c:v>18924300</c:v>
                </c:pt>
                <c:pt idx="12274">
                  <c:v>111035340</c:v>
                </c:pt>
                <c:pt idx="12275">
                  <c:v>18051891</c:v>
                </c:pt>
                <c:pt idx="12276">
                  <c:v>218023106</c:v>
                </c:pt>
                <c:pt idx="12277">
                  <c:v>39251661</c:v>
                </c:pt>
                <c:pt idx="12278">
                  <c:v>1824090</c:v>
                </c:pt>
                <c:pt idx="12279">
                  <c:v>459572122</c:v>
                </c:pt>
                <c:pt idx="12280">
                  <c:v>35343990</c:v>
                </c:pt>
                <c:pt idx="12281">
                  <c:v>956109000</c:v>
                </c:pt>
                <c:pt idx="12282">
                  <c:v>256673340</c:v>
                </c:pt>
                <c:pt idx="12283">
                  <c:v>78624112</c:v>
                </c:pt>
                <c:pt idx="12284">
                  <c:v>96113628</c:v>
                </c:pt>
                <c:pt idx="12285">
                  <c:v>91768600</c:v>
                </c:pt>
                <c:pt idx="12286">
                  <c:v>10917828</c:v>
                </c:pt>
                <c:pt idx="12287">
                  <c:v>74511450</c:v>
                </c:pt>
                <c:pt idx="12288">
                  <c:v>133072797</c:v>
                </c:pt>
                <c:pt idx="12289">
                  <c:v>32489202</c:v>
                </c:pt>
                <c:pt idx="12290">
                  <c:v>41801932</c:v>
                </c:pt>
                <c:pt idx="12291">
                  <c:v>136047890</c:v>
                </c:pt>
                <c:pt idx="12292">
                  <c:v>76614330</c:v>
                </c:pt>
                <c:pt idx="12293">
                  <c:v>705278456</c:v>
                </c:pt>
                <c:pt idx="12294">
                  <c:v>5856560</c:v>
                </c:pt>
                <c:pt idx="12295">
                  <c:v>101838464</c:v>
                </c:pt>
                <c:pt idx="12296">
                  <c:v>41070989</c:v>
                </c:pt>
                <c:pt idx="12297">
                  <c:v>50289399</c:v>
                </c:pt>
                <c:pt idx="12298">
                  <c:v>15830404</c:v>
                </c:pt>
                <c:pt idx="12299">
                  <c:v>7634952</c:v>
                </c:pt>
                <c:pt idx="12300">
                  <c:v>1318897148</c:v>
                </c:pt>
                <c:pt idx="12301">
                  <c:v>59719000</c:v>
                </c:pt>
                <c:pt idx="12302">
                  <c:v>3697707</c:v>
                </c:pt>
                <c:pt idx="12303">
                  <c:v>248701782</c:v>
                </c:pt>
                <c:pt idx="12304">
                  <c:v>199061577</c:v>
                </c:pt>
                <c:pt idx="12305">
                  <c:v>457835590</c:v>
                </c:pt>
                <c:pt idx="12306">
                  <c:v>18735860</c:v>
                </c:pt>
                <c:pt idx="12307">
                  <c:v>25338858</c:v>
                </c:pt>
                <c:pt idx="12308">
                  <c:v>43649377</c:v>
                </c:pt>
                <c:pt idx="12309">
                  <c:v>2045091920</c:v>
                </c:pt>
                <c:pt idx="12310">
                  <c:v>15622510</c:v>
                </c:pt>
                <c:pt idx="12311">
                  <c:v>54659500</c:v>
                </c:pt>
                <c:pt idx="12312">
                  <c:v>44219196</c:v>
                </c:pt>
                <c:pt idx="12313">
                  <c:v>68733120</c:v>
                </c:pt>
                <c:pt idx="12314">
                  <c:v>456011668</c:v>
                </c:pt>
                <c:pt idx="12315">
                  <c:v>1645763469</c:v>
                </c:pt>
                <c:pt idx="12316">
                  <c:v>11692580</c:v>
                </c:pt>
                <c:pt idx="12317">
                  <c:v>369733050</c:v>
                </c:pt>
                <c:pt idx="12318">
                  <c:v>383439798</c:v>
                </c:pt>
                <c:pt idx="12319">
                  <c:v>81232256</c:v>
                </c:pt>
                <c:pt idx="12320">
                  <c:v>86096010</c:v>
                </c:pt>
                <c:pt idx="12321">
                  <c:v>311693675</c:v>
                </c:pt>
                <c:pt idx="12322">
                  <c:v>162604344</c:v>
                </c:pt>
                <c:pt idx="12323">
                  <c:v>402943422</c:v>
                </c:pt>
                <c:pt idx="12324">
                  <c:v>783968544</c:v>
                </c:pt>
                <c:pt idx="12325">
                  <c:v>397497632</c:v>
                </c:pt>
                <c:pt idx="12326">
                  <c:v>214997915</c:v>
                </c:pt>
                <c:pt idx="12327">
                  <c:v>379578100</c:v>
                </c:pt>
                <c:pt idx="12328">
                  <c:v>81662490</c:v>
                </c:pt>
                <c:pt idx="12329">
                  <c:v>473194870</c:v>
                </c:pt>
                <c:pt idx="12330">
                  <c:v>690058662</c:v>
                </c:pt>
                <c:pt idx="12331">
                  <c:v>882090432</c:v>
                </c:pt>
                <c:pt idx="12332">
                  <c:v>862917040</c:v>
                </c:pt>
                <c:pt idx="12333">
                  <c:v>1251783260</c:v>
                </c:pt>
                <c:pt idx="12334">
                  <c:v>721095205</c:v>
                </c:pt>
                <c:pt idx="12335">
                  <c:v>410595084</c:v>
                </c:pt>
                <c:pt idx="12336">
                  <c:v>268891581</c:v>
                </c:pt>
                <c:pt idx="12337">
                  <c:v>104833910</c:v>
                </c:pt>
                <c:pt idx="12338">
                  <c:v>662762340</c:v>
                </c:pt>
                <c:pt idx="12339">
                  <c:v>1525627727</c:v>
                </c:pt>
                <c:pt idx="12340">
                  <c:v>168723975</c:v>
                </c:pt>
                <c:pt idx="12341">
                  <c:v>52349885</c:v>
                </c:pt>
                <c:pt idx="12342">
                  <c:v>3984420</c:v>
                </c:pt>
                <c:pt idx="12343">
                  <c:v>98971092</c:v>
                </c:pt>
                <c:pt idx="12344">
                  <c:v>94734506</c:v>
                </c:pt>
                <c:pt idx="12345">
                  <c:v>28790864</c:v>
                </c:pt>
                <c:pt idx="12346">
                  <c:v>9457421</c:v>
                </c:pt>
                <c:pt idx="12347">
                  <c:v>107768934</c:v>
                </c:pt>
                <c:pt idx="12348">
                  <c:v>192870916</c:v>
                </c:pt>
                <c:pt idx="12349">
                  <c:v>524503518</c:v>
                </c:pt>
                <c:pt idx="12350">
                  <c:v>35377450</c:v>
                </c:pt>
                <c:pt idx="12351">
                  <c:v>29234352</c:v>
                </c:pt>
                <c:pt idx="12352">
                  <c:v>59171550</c:v>
                </c:pt>
                <c:pt idx="12353">
                  <c:v>114199552</c:v>
                </c:pt>
                <c:pt idx="12354">
                  <c:v>40063100</c:v>
                </c:pt>
                <c:pt idx="12355">
                  <c:v>63117704</c:v>
                </c:pt>
                <c:pt idx="12356">
                  <c:v>2558517</c:v>
                </c:pt>
                <c:pt idx="12357">
                  <c:v>92813040</c:v>
                </c:pt>
                <c:pt idx="12358">
                  <c:v>5908088</c:v>
                </c:pt>
                <c:pt idx="12359">
                  <c:v>20666880</c:v>
                </c:pt>
                <c:pt idx="12360">
                  <c:v>44655534</c:v>
                </c:pt>
                <c:pt idx="12361">
                  <c:v>72219087</c:v>
                </c:pt>
                <c:pt idx="12362">
                  <c:v>54862704</c:v>
                </c:pt>
                <c:pt idx="12363">
                  <c:v>54680440</c:v>
                </c:pt>
                <c:pt idx="12364">
                  <c:v>45022585</c:v>
                </c:pt>
                <c:pt idx="12365">
                  <c:v>121963008</c:v>
                </c:pt>
                <c:pt idx="12366">
                  <c:v>58366328</c:v>
                </c:pt>
                <c:pt idx="12367">
                  <c:v>31738482</c:v>
                </c:pt>
                <c:pt idx="12368">
                  <c:v>145107836</c:v>
                </c:pt>
                <c:pt idx="12369">
                  <c:v>187954786</c:v>
                </c:pt>
                <c:pt idx="12370">
                  <c:v>27666090</c:v>
                </c:pt>
                <c:pt idx="12371">
                  <c:v>36091930</c:v>
                </c:pt>
                <c:pt idx="12372">
                  <c:v>10926648</c:v>
                </c:pt>
                <c:pt idx="12373">
                  <c:v>48900553</c:v>
                </c:pt>
                <c:pt idx="12374">
                  <c:v>49850099</c:v>
                </c:pt>
                <c:pt idx="12375">
                  <c:v>62000596</c:v>
                </c:pt>
                <c:pt idx="12376">
                  <c:v>119533100</c:v>
                </c:pt>
                <c:pt idx="12377">
                  <c:v>37513364</c:v>
                </c:pt>
                <c:pt idx="12378">
                  <c:v>11862822</c:v>
                </c:pt>
                <c:pt idx="12379">
                  <c:v>94408740</c:v>
                </c:pt>
                <c:pt idx="12380">
                  <c:v>13763174</c:v>
                </c:pt>
                <c:pt idx="12381">
                  <c:v>135716490</c:v>
                </c:pt>
                <c:pt idx="12382">
                  <c:v>63603072</c:v>
                </c:pt>
                <c:pt idx="12383">
                  <c:v>15354360</c:v>
                </c:pt>
                <c:pt idx="12384">
                  <c:v>122003544</c:v>
                </c:pt>
                <c:pt idx="12385">
                  <c:v>31357443</c:v>
                </c:pt>
                <c:pt idx="12386">
                  <c:v>92588216</c:v>
                </c:pt>
                <c:pt idx="12387">
                  <c:v>15013880</c:v>
                </c:pt>
                <c:pt idx="12388">
                  <c:v>462517083</c:v>
                </c:pt>
                <c:pt idx="12389">
                  <c:v>119675908</c:v>
                </c:pt>
                <c:pt idx="12390">
                  <c:v>131638920</c:v>
                </c:pt>
                <c:pt idx="12391">
                  <c:v>97405630</c:v>
                </c:pt>
                <c:pt idx="12392">
                  <c:v>228506292</c:v>
                </c:pt>
                <c:pt idx="12393">
                  <c:v>194897664</c:v>
                </c:pt>
                <c:pt idx="12394">
                  <c:v>4358614</c:v>
                </c:pt>
                <c:pt idx="12395">
                  <c:v>3462297</c:v>
                </c:pt>
                <c:pt idx="12396">
                  <c:v>45071936</c:v>
                </c:pt>
                <c:pt idx="12397">
                  <c:v>25028073</c:v>
                </c:pt>
                <c:pt idx="12398">
                  <c:v>22587528</c:v>
                </c:pt>
                <c:pt idx="12399">
                  <c:v>110789728</c:v>
                </c:pt>
                <c:pt idx="12400">
                  <c:v>107017328</c:v>
                </c:pt>
                <c:pt idx="12401">
                  <c:v>60252000</c:v>
                </c:pt>
                <c:pt idx="12402">
                  <c:v>54398538</c:v>
                </c:pt>
                <c:pt idx="12403">
                  <c:v>192513492</c:v>
                </c:pt>
                <c:pt idx="12404">
                  <c:v>132680268</c:v>
                </c:pt>
                <c:pt idx="12405">
                  <c:v>21903700</c:v>
                </c:pt>
                <c:pt idx="12406">
                  <c:v>119509320</c:v>
                </c:pt>
                <c:pt idx="12407">
                  <c:v>160757088</c:v>
                </c:pt>
                <c:pt idx="12408">
                  <c:v>25861500</c:v>
                </c:pt>
                <c:pt idx="12409">
                  <c:v>38969924</c:v>
                </c:pt>
                <c:pt idx="12410">
                  <c:v>110590164</c:v>
                </c:pt>
                <c:pt idx="12411">
                  <c:v>541695574</c:v>
                </c:pt>
                <c:pt idx="12412">
                  <c:v>6721704</c:v>
                </c:pt>
                <c:pt idx="12413">
                  <c:v>24611314</c:v>
                </c:pt>
                <c:pt idx="12414">
                  <c:v>30638250</c:v>
                </c:pt>
                <c:pt idx="12415">
                  <c:v>47153285</c:v>
                </c:pt>
                <c:pt idx="12416">
                  <c:v>5437376</c:v>
                </c:pt>
                <c:pt idx="12417">
                  <c:v>189614215</c:v>
                </c:pt>
                <c:pt idx="12418">
                  <c:v>146270400</c:v>
                </c:pt>
                <c:pt idx="12419">
                  <c:v>8412170</c:v>
                </c:pt>
                <c:pt idx="12420">
                  <c:v>70259893</c:v>
                </c:pt>
                <c:pt idx="12421">
                  <c:v>86064586</c:v>
                </c:pt>
                <c:pt idx="12422">
                  <c:v>71272432</c:v>
                </c:pt>
                <c:pt idx="12423">
                  <c:v>73467163</c:v>
                </c:pt>
                <c:pt idx="12424">
                  <c:v>56104440</c:v>
                </c:pt>
                <c:pt idx="12425">
                  <c:v>141151420</c:v>
                </c:pt>
                <c:pt idx="12426">
                  <c:v>24563945</c:v>
                </c:pt>
                <c:pt idx="12427">
                  <c:v>450756208</c:v>
                </c:pt>
                <c:pt idx="12428">
                  <c:v>384458580</c:v>
                </c:pt>
                <c:pt idx="12429">
                  <c:v>374896136</c:v>
                </c:pt>
                <c:pt idx="12430">
                  <c:v>5869242</c:v>
                </c:pt>
                <c:pt idx="12431">
                  <c:v>2008608</c:v>
                </c:pt>
                <c:pt idx="12432">
                  <c:v>32882820</c:v>
                </c:pt>
                <c:pt idx="12433">
                  <c:v>248088966</c:v>
                </c:pt>
                <c:pt idx="12434">
                  <c:v>185794215</c:v>
                </c:pt>
                <c:pt idx="12435">
                  <c:v>34807730</c:v>
                </c:pt>
                <c:pt idx="12436">
                  <c:v>52053337</c:v>
                </c:pt>
                <c:pt idx="12437">
                  <c:v>43229844</c:v>
                </c:pt>
                <c:pt idx="12438">
                  <c:v>51776000</c:v>
                </c:pt>
                <c:pt idx="12439">
                  <c:v>6403644</c:v>
                </c:pt>
                <c:pt idx="12440">
                  <c:v>5036940</c:v>
                </c:pt>
                <c:pt idx="12441">
                  <c:v>45631750</c:v>
                </c:pt>
                <c:pt idx="12442">
                  <c:v>68487488</c:v>
                </c:pt>
                <c:pt idx="12443">
                  <c:v>817928496</c:v>
                </c:pt>
                <c:pt idx="12444">
                  <c:v>90430236</c:v>
                </c:pt>
                <c:pt idx="12445">
                  <c:v>754747227</c:v>
                </c:pt>
                <c:pt idx="12446">
                  <c:v>351570132</c:v>
                </c:pt>
                <c:pt idx="12447">
                  <c:v>38198448</c:v>
                </c:pt>
                <c:pt idx="12448">
                  <c:v>1243107124</c:v>
                </c:pt>
                <c:pt idx="12449">
                  <c:v>1219750056</c:v>
                </c:pt>
                <c:pt idx="12450">
                  <c:v>524375766</c:v>
                </c:pt>
                <c:pt idx="12451">
                  <c:v>178362096</c:v>
                </c:pt>
                <c:pt idx="12452">
                  <c:v>1530642372</c:v>
                </c:pt>
                <c:pt idx="12453">
                  <c:v>1131944627</c:v>
                </c:pt>
                <c:pt idx="12454">
                  <c:v>1048126720</c:v>
                </c:pt>
                <c:pt idx="12455">
                  <c:v>507653270</c:v>
                </c:pt>
                <c:pt idx="12456">
                  <c:v>381843182</c:v>
                </c:pt>
                <c:pt idx="12457">
                  <c:v>404863060</c:v>
                </c:pt>
                <c:pt idx="12458">
                  <c:v>73751412</c:v>
                </c:pt>
                <c:pt idx="12459">
                  <c:v>1667212848</c:v>
                </c:pt>
                <c:pt idx="12460">
                  <c:v>1326349156</c:v>
                </c:pt>
                <c:pt idx="12461">
                  <c:v>293851424</c:v>
                </c:pt>
                <c:pt idx="12462">
                  <c:v>376415766</c:v>
                </c:pt>
                <c:pt idx="12463">
                  <c:v>426297699</c:v>
                </c:pt>
                <c:pt idx="12464">
                  <c:v>23991913</c:v>
                </c:pt>
                <c:pt idx="12465">
                  <c:v>61362828</c:v>
                </c:pt>
                <c:pt idx="12466">
                  <c:v>265243360</c:v>
                </c:pt>
                <c:pt idx="12467">
                  <c:v>58327890</c:v>
                </c:pt>
                <c:pt idx="12468">
                  <c:v>4465000</c:v>
                </c:pt>
                <c:pt idx="12469">
                  <c:v>234469728</c:v>
                </c:pt>
                <c:pt idx="12470">
                  <c:v>586717666</c:v>
                </c:pt>
                <c:pt idx="12471">
                  <c:v>588210790</c:v>
                </c:pt>
                <c:pt idx="12472">
                  <c:v>461501003</c:v>
                </c:pt>
                <c:pt idx="12473">
                  <c:v>389848856</c:v>
                </c:pt>
                <c:pt idx="12474">
                  <c:v>586641151</c:v>
                </c:pt>
                <c:pt idx="12475">
                  <c:v>606271017</c:v>
                </c:pt>
                <c:pt idx="12476">
                  <c:v>2147483647</c:v>
                </c:pt>
                <c:pt idx="12477">
                  <c:v>347348025</c:v>
                </c:pt>
                <c:pt idx="12478">
                  <c:v>64417145</c:v>
                </c:pt>
                <c:pt idx="12479">
                  <c:v>194249760</c:v>
                </c:pt>
                <c:pt idx="12480">
                  <c:v>857460992</c:v>
                </c:pt>
                <c:pt idx="12481">
                  <c:v>1230149441</c:v>
                </c:pt>
                <c:pt idx="12482">
                  <c:v>260963453</c:v>
                </c:pt>
                <c:pt idx="12483">
                  <c:v>324122084</c:v>
                </c:pt>
                <c:pt idx="12484">
                  <c:v>125573976</c:v>
                </c:pt>
                <c:pt idx="12485">
                  <c:v>2121075080</c:v>
                </c:pt>
                <c:pt idx="12486">
                  <c:v>239059684</c:v>
                </c:pt>
                <c:pt idx="12487">
                  <c:v>36885844</c:v>
                </c:pt>
                <c:pt idx="12488">
                  <c:v>110683680</c:v>
                </c:pt>
                <c:pt idx="12489">
                  <c:v>105406190</c:v>
                </c:pt>
                <c:pt idx="12490">
                  <c:v>84101792</c:v>
                </c:pt>
                <c:pt idx="12491">
                  <c:v>1035087582</c:v>
                </c:pt>
                <c:pt idx="12492">
                  <c:v>684750042</c:v>
                </c:pt>
                <c:pt idx="12493">
                  <c:v>316493637</c:v>
                </c:pt>
                <c:pt idx="12494">
                  <c:v>591139742</c:v>
                </c:pt>
                <c:pt idx="12495">
                  <c:v>29527500</c:v>
                </c:pt>
                <c:pt idx="12496">
                  <c:v>1584296560</c:v>
                </c:pt>
                <c:pt idx="12497">
                  <c:v>1073299878</c:v>
                </c:pt>
                <c:pt idx="12498">
                  <c:v>54704676</c:v>
                </c:pt>
                <c:pt idx="12499">
                  <c:v>1002113036</c:v>
                </c:pt>
                <c:pt idx="12500">
                  <c:v>243376965</c:v>
                </c:pt>
                <c:pt idx="12501">
                  <c:v>250718127</c:v>
                </c:pt>
                <c:pt idx="12502">
                  <c:v>608045139</c:v>
                </c:pt>
                <c:pt idx="12503">
                  <c:v>784733180</c:v>
                </c:pt>
                <c:pt idx="12504">
                  <c:v>2063225367</c:v>
                </c:pt>
                <c:pt idx="12505">
                  <c:v>457506577</c:v>
                </c:pt>
                <c:pt idx="12506">
                  <c:v>831457327</c:v>
                </c:pt>
                <c:pt idx="12507">
                  <c:v>314292552</c:v>
                </c:pt>
                <c:pt idx="12508">
                  <c:v>1092403290</c:v>
                </c:pt>
                <c:pt idx="12509">
                  <c:v>948311594</c:v>
                </c:pt>
                <c:pt idx="12510">
                  <c:v>204087197</c:v>
                </c:pt>
                <c:pt idx="12511">
                  <c:v>177602880</c:v>
                </c:pt>
                <c:pt idx="12512">
                  <c:v>1303839144</c:v>
                </c:pt>
                <c:pt idx="12513">
                  <c:v>256079304</c:v>
                </c:pt>
                <c:pt idx="12514">
                  <c:v>1668774083</c:v>
                </c:pt>
                <c:pt idx="12515">
                  <c:v>333254640</c:v>
                </c:pt>
                <c:pt idx="12516">
                  <c:v>1169138070</c:v>
                </c:pt>
                <c:pt idx="12517">
                  <c:v>962224326</c:v>
                </c:pt>
                <c:pt idx="12518">
                  <c:v>2147483647</c:v>
                </c:pt>
                <c:pt idx="12519">
                  <c:v>479803970</c:v>
                </c:pt>
                <c:pt idx="12520">
                  <c:v>1979137052</c:v>
                </c:pt>
                <c:pt idx="12521">
                  <c:v>742098560</c:v>
                </c:pt>
                <c:pt idx="12522">
                  <c:v>676250550</c:v>
                </c:pt>
                <c:pt idx="12523">
                  <c:v>64735154</c:v>
                </c:pt>
                <c:pt idx="12524">
                  <c:v>615134982</c:v>
                </c:pt>
                <c:pt idx="12525">
                  <c:v>834304860</c:v>
                </c:pt>
                <c:pt idx="12526">
                  <c:v>1671871254</c:v>
                </c:pt>
                <c:pt idx="12527">
                  <c:v>917979472</c:v>
                </c:pt>
                <c:pt idx="12528">
                  <c:v>340244086</c:v>
                </c:pt>
                <c:pt idx="12529">
                  <c:v>1389612300</c:v>
                </c:pt>
                <c:pt idx="12530">
                  <c:v>1167644751</c:v>
                </c:pt>
                <c:pt idx="12531">
                  <c:v>664393158</c:v>
                </c:pt>
                <c:pt idx="12532">
                  <c:v>1130484003</c:v>
                </c:pt>
                <c:pt idx="12533">
                  <c:v>572342244</c:v>
                </c:pt>
                <c:pt idx="12534">
                  <c:v>953111367</c:v>
                </c:pt>
                <c:pt idx="12535">
                  <c:v>1444298208</c:v>
                </c:pt>
                <c:pt idx="12536">
                  <c:v>852563115</c:v>
                </c:pt>
                <c:pt idx="12537">
                  <c:v>809938689</c:v>
                </c:pt>
                <c:pt idx="12538">
                  <c:v>526061838</c:v>
                </c:pt>
                <c:pt idx="12539">
                  <c:v>1079785208</c:v>
                </c:pt>
                <c:pt idx="12540">
                  <c:v>596575530</c:v>
                </c:pt>
                <c:pt idx="12541">
                  <c:v>1973381384</c:v>
                </c:pt>
                <c:pt idx="12542">
                  <c:v>929666440</c:v>
                </c:pt>
                <c:pt idx="12543">
                  <c:v>1046027800</c:v>
                </c:pt>
                <c:pt idx="12544">
                  <c:v>1061358620</c:v>
                </c:pt>
                <c:pt idx="12545">
                  <c:v>209554044</c:v>
                </c:pt>
                <c:pt idx="12546">
                  <c:v>1198353520</c:v>
                </c:pt>
                <c:pt idx="12547">
                  <c:v>1210446255</c:v>
                </c:pt>
                <c:pt idx="12548">
                  <c:v>1644658510</c:v>
                </c:pt>
                <c:pt idx="12549">
                  <c:v>77043638</c:v>
                </c:pt>
                <c:pt idx="12550">
                  <c:v>73310177</c:v>
                </c:pt>
                <c:pt idx="12551">
                  <c:v>345334311</c:v>
                </c:pt>
                <c:pt idx="12552">
                  <c:v>96798240</c:v>
                </c:pt>
                <c:pt idx="12553">
                  <c:v>936556653</c:v>
                </c:pt>
                <c:pt idx="12554">
                  <c:v>771869880</c:v>
                </c:pt>
                <c:pt idx="12555">
                  <c:v>1613772600</c:v>
                </c:pt>
                <c:pt idx="12556">
                  <c:v>311581508</c:v>
                </c:pt>
                <c:pt idx="12557">
                  <c:v>244331164</c:v>
                </c:pt>
                <c:pt idx="12558">
                  <c:v>453767940</c:v>
                </c:pt>
                <c:pt idx="12559">
                  <c:v>129522143</c:v>
                </c:pt>
                <c:pt idx="12560">
                  <c:v>40592638</c:v>
                </c:pt>
                <c:pt idx="12561">
                  <c:v>1721845620</c:v>
                </c:pt>
                <c:pt idx="12562">
                  <c:v>1230343968</c:v>
                </c:pt>
                <c:pt idx="12563">
                  <c:v>603143000</c:v>
                </c:pt>
                <c:pt idx="12564">
                  <c:v>35003538</c:v>
                </c:pt>
                <c:pt idx="12565">
                  <c:v>46934400</c:v>
                </c:pt>
                <c:pt idx="12566">
                  <c:v>123064071</c:v>
                </c:pt>
                <c:pt idx="12567">
                  <c:v>134646182</c:v>
                </c:pt>
                <c:pt idx="12568">
                  <c:v>267210879</c:v>
                </c:pt>
                <c:pt idx="12569">
                  <c:v>2147483647</c:v>
                </c:pt>
                <c:pt idx="12570">
                  <c:v>449580956</c:v>
                </c:pt>
                <c:pt idx="12571">
                  <c:v>177498972</c:v>
                </c:pt>
                <c:pt idx="12572">
                  <c:v>150495600</c:v>
                </c:pt>
                <c:pt idx="12573">
                  <c:v>939188397</c:v>
                </c:pt>
                <c:pt idx="12574">
                  <c:v>257305863</c:v>
                </c:pt>
                <c:pt idx="12575">
                  <c:v>190158696</c:v>
                </c:pt>
                <c:pt idx="12576">
                  <c:v>256669950</c:v>
                </c:pt>
                <c:pt idx="12577">
                  <c:v>108348800</c:v>
                </c:pt>
                <c:pt idx="12578">
                  <c:v>90943008</c:v>
                </c:pt>
                <c:pt idx="12579">
                  <c:v>657899632</c:v>
                </c:pt>
                <c:pt idx="12580">
                  <c:v>240495204</c:v>
                </c:pt>
                <c:pt idx="12581">
                  <c:v>1311684032</c:v>
                </c:pt>
                <c:pt idx="12582">
                  <c:v>2405610</c:v>
                </c:pt>
                <c:pt idx="12583">
                  <c:v>449933832</c:v>
                </c:pt>
                <c:pt idx="12584">
                  <c:v>216270384</c:v>
                </c:pt>
                <c:pt idx="12585">
                  <c:v>70853896</c:v>
                </c:pt>
                <c:pt idx="12586">
                  <c:v>327449850</c:v>
                </c:pt>
                <c:pt idx="12587">
                  <c:v>112159275</c:v>
                </c:pt>
                <c:pt idx="12588">
                  <c:v>322182268</c:v>
                </c:pt>
                <c:pt idx="12589">
                  <c:v>42621552</c:v>
                </c:pt>
                <c:pt idx="12590">
                  <c:v>478431299</c:v>
                </c:pt>
                <c:pt idx="12591">
                  <c:v>381725280</c:v>
                </c:pt>
                <c:pt idx="12592">
                  <c:v>101240712</c:v>
                </c:pt>
                <c:pt idx="12593">
                  <c:v>25981507</c:v>
                </c:pt>
                <c:pt idx="12594">
                  <c:v>474361719</c:v>
                </c:pt>
                <c:pt idx="12595">
                  <c:v>86837328</c:v>
                </c:pt>
                <c:pt idx="12596">
                  <c:v>973038384</c:v>
                </c:pt>
                <c:pt idx="12597">
                  <c:v>1152040230</c:v>
                </c:pt>
                <c:pt idx="12598">
                  <c:v>420241024</c:v>
                </c:pt>
                <c:pt idx="12599">
                  <c:v>810002008</c:v>
                </c:pt>
                <c:pt idx="12600">
                  <c:v>458827863</c:v>
                </c:pt>
                <c:pt idx="12601">
                  <c:v>846763112</c:v>
                </c:pt>
                <c:pt idx="12602">
                  <c:v>1256675972</c:v>
                </c:pt>
                <c:pt idx="12603">
                  <c:v>70827814</c:v>
                </c:pt>
                <c:pt idx="12604">
                  <c:v>92270112</c:v>
                </c:pt>
                <c:pt idx="12605">
                  <c:v>123781485</c:v>
                </c:pt>
                <c:pt idx="12606">
                  <c:v>43291782</c:v>
                </c:pt>
                <c:pt idx="12607">
                  <c:v>178066460</c:v>
                </c:pt>
                <c:pt idx="12608">
                  <c:v>1042420192</c:v>
                </c:pt>
                <c:pt idx="12609">
                  <c:v>368894296</c:v>
                </c:pt>
                <c:pt idx="12610">
                  <c:v>612263392</c:v>
                </c:pt>
                <c:pt idx="12611">
                  <c:v>60052692</c:v>
                </c:pt>
                <c:pt idx="12612">
                  <c:v>86892124</c:v>
                </c:pt>
                <c:pt idx="12613">
                  <c:v>174384540</c:v>
                </c:pt>
                <c:pt idx="12614">
                  <c:v>38592800</c:v>
                </c:pt>
                <c:pt idx="12615">
                  <c:v>41600790</c:v>
                </c:pt>
                <c:pt idx="12616">
                  <c:v>413200620</c:v>
                </c:pt>
                <c:pt idx="12617">
                  <c:v>70609500</c:v>
                </c:pt>
                <c:pt idx="12618">
                  <c:v>456391362</c:v>
                </c:pt>
                <c:pt idx="12619">
                  <c:v>35315455</c:v>
                </c:pt>
                <c:pt idx="12620">
                  <c:v>90976104</c:v>
                </c:pt>
                <c:pt idx="12621">
                  <c:v>89862490</c:v>
                </c:pt>
                <c:pt idx="12622">
                  <c:v>77176332</c:v>
                </c:pt>
                <c:pt idx="12623">
                  <c:v>147342481</c:v>
                </c:pt>
                <c:pt idx="12624">
                  <c:v>280822035</c:v>
                </c:pt>
                <c:pt idx="12625">
                  <c:v>129185184</c:v>
                </c:pt>
                <c:pt idx="12626">
                  <c:v>120783840</c:v>
                </c:pt>
                <c:pt idx="12627">
                  <c:v>110552472</c:v>
                </c:pt>
                <c:pt idx="12628">
                  <c:v>11634999</c:v>
                </c:pt>
                <c:pt idx="12629">
                  <c:v>128848134</c:v>
                </c:pt>
                <c:pt idx="12630">
                  <c:v>83831425</c:v>
                </c:pt>
                <c:pt idx="12631">
                  <c:v>142298060</c:v>
                </c:pt>
                <c:pt idx="12632">
                  <c:v>58128544</c:v>
                </c:pt>
                <c:pt idx="12633">
                  <c:v>290479900</c:v>
                </c:pt>
                <c:pt idx="12634">
                  <c:v>92209912</c:v>
                </c:pt>
                <c:pt idx="12635">
                  <c:v>526808537</c:v>
                </c:pt>
                <c:pt idx="12636">
                  <c:v>51078640</c:v>
                </c:pt>
                <c:pt idx="12637">
                  <c:v>39759174</c:v>
                </c:pt>
                <c:pt idx="12638">
                  <c:v>107155830</c:v>
                </c:pt>
                <c:pt idx="12639">
                  <c:v>115913054</c:v>
                </c:pt>
                <c:pt idx="12640">
                  <c:v>19803498</c:v>
                </c:pt>
                <c:pt idx="12641">
                  <c:v>43691462</c:v>
                </c:pt>
                <c:pt idx="12642">
                  <c:v>746968530</c:v>
                </c:pt>
                <c:pt idx="12643">
                  <c:v>119951975</c:v>
                </c:pt>
                <c:pt idx="12644">
                  <c:v>249849504</c:v>
                </c:pt>
                <c:pt idx="12645">
                  <c:v>146448960</c:v>
                </c:pt>
                <c:pt idx="12646">
                  <c:v>254727990</c:v>
                </c:pt>
                <c:pt idx="12647">
                  <c:v>586349870</c:v>
                </c:pt>
                <c:pt idx="12648">
                  <c:v>706840244</c:v>
                </c:pt>
                <c:pt idx="12649">
                  <c:v>285112462</c:v>
                </c:pt>
                <c:pt idx="12650">
                  <c:v>21005595</c:v>
                </c:pt>
                <c:pt idx="12651">
                  <c:v>78460320</c:v>
                </c:pt>
                <c:pt idx="12652">
                  <c:v>131867328</c:v>
                </c:pt>
                <c:pt idx="12653">
                  <c:v>113381818</c:v>
                </c:pt>
                <c:pt idx="12654">
                  <c:v>324303488</c:v>
                </c:pt>
                <c:pt idx="12655">
                  <c:v>42853239</c:v>
                </c:pt>
                <c:pt idx="12656">
                  <c:v>67290244</c:v>
                </c:pt>
                <c:pt idx="12657">
                  <c:v>228411696</c:v>
                </c:pt>
                <c:pt idx="12658">
                  <c:v>24085060</c:v>
                </c:pt>
                <c:pt idx="12659">
                  <c:v>532160640</c:v>
                </c:pt>
                <c:pt idx="12660">
                  <c:v>1063030368</c:v>
                </c:pt>
                <c:pt idx="12661">
                  <c:v>873227520</c:v>
                </c:pt>
                <c:pt idx="12662">
                  <c:v>794362450</c:v>
                </c:pt>
                <c:pt idx="12663">
                  <c:v>907594844</c:v>
                </c:pt>
                <c:pt idx="12664">
                  <c:v>201773628</c:v>
                </c:pt>
                <c:pt idx="12665">
                  <c:v>53243345</c:v>
                </c:pt>
                <c:pt idx="12666">
                  <c:v>107637456</c:v>
                </c:pt>
                <c:pt idx="12667">
                  <c:v>5618585</c:v>
                </c:pt>
                <c:pt idx="12668">
                  <c:v>62485951</c:v>
                </c:pt>
                <c:pt idx="12669">
                  <c:v>178407768</c:v>
                </c:pt>
                <c:pt idx="12670">
                  <c:v>43569962</c:v>
                </c:pt>
                <c:pt idx="12671">
                  <c:v>512993291</c:v>
                </c:pt>
                <c:pt idx="12672">
                  <c:v>292079860</c:v>
                </c:pt>
                <c:pt idx="12673">
                  <c:v>192252046</c:v>
                </c:pt>
                <c:pt idx="12674">
                  <c:v>62054984</c:v>
                </c:pt>
                <c:pt idx="12675">
                  <c:v>104584852</c:v>
                </c:pt>
                <c:pt idx="12676">
                  <c:v>618309801</c:v>
                </c:pt>
                <c:pt idx="12677">
                  <c:v>185913275</c:v>
                </c:pt>
                <c:pt idx="12678">
                  <c:v>37447329</c:v>
                </c:pt>
                <c:pt idx="12679">
                  <c:v>94972477</c:v>
                </c:pt>
                <c:pt idx="12680">
                  <c:v>200547108</c:v>
                </c:pt>
                <c:pt idx="12681">
                  <c:v>35594965</c:v>
                </c:pt>
                <c:pt idx="12682">
                  <c:v>78977280</c:v>
                </c:pt>
                <c:pt idx="12683">
                  <c:v>331891510</c:v>
                </c:pt>
                <c:pt idx="12684">
                  <c:v>64232714</c:v>
                </c:pt>
                <c:pt idx="12685">
                  <c:v>54381082</c:v>
                </c:pt>
                <c:pt idx="12686">
                  <c:v>56152605</c:v>
                </c:pt>
                <c:pt idx="12687">
                  <c:v>29249396</c:v>
                </c:pt>
                <c:pt idx="12688">
                  <c:v>6005900</c:v>
                </c:pt>
                <c:pt idx="12689">
                  <c:v>6155700</c:v>
                </c:pt>
                <c:pt idx="12690">
                  <c:v>633786624</c:v>
                </c:pt>
                <c:pt idx="12691">
                  <c:v>93518670</c:v>
                </c:pt>
                <c:pt idx="12692">
                  <c:v>151231473</c:v>
                </c:pt>
                <c:pt idx="12693">
                  <c:v>98307675</c:v>
                </c:pt>
                <c:pt idx="12694">
                  <c:v>1505995678</c:v>
                </c:pt>
                <c:pt idx="12695">
                  <c:v>535825175</c:v>
                </c:pt>
                <c:pt idx="12696">
                  <c:v>18148078</c:v>
                </c:pt>
                <c:pt idx="12697">
                  <c:v>14419163</c:v>
                </c:pt>
                <c:pt idx="12698">
                  <c:v>15349582</c:v>
                </c:pt>
                <c:pt idx="12699">
                  <c:v>511320881</c:v>
                </c:pt>
                <c:pt idx="12700">
                  <c:v>80964967</c:v>
                </c:pt>
                <c:pt idx="12701">
                  <c:v>309708420</c:v>
                </c:pt>
                <c:pt idx="12702">
                  <c:v>3545416</c:v>
                </c:pt>
                <c:pt idx="12703">
                  <c:v>7063308</c:v>
                </c:pt>
                <c:pt idx="12704">
                  <c:v>295953197</c:v>
                </c:pt>
                <c:pt idx="12705">
                  <c:v>760136593</c:v>
                </c:pt>
                <c:pt idx="12706">
                  <c:v>91937507</c:v>
                </c:pt>
                <c:pt idx="12707">
                  <c:v>412503840</c:v>
                </c:pt>
                <c:pt idx="12708">
                  <c:v>51823882</c:v>
                </c:pt>
                <c:pt idx="12709">
                  <c:v>130069160</c:v>
                </c:pt>
                <c:pt idx="12710">
                  <c:v>75862332</c:v>
                </c:pt>
                <c:pt idx="12711">
                  <c:v>147533904</c:v>
                </c:pt>
                <c:pt idx="12712">
                  <c:v>69566000</c:v>
                </c:pt>
                <c:pt idx="12713">
                  <c:v>7641985</c:v>
                </c:pt>
                <c:pt idx="12714">
                  <c:v>136070963</c:v>
                </c:pt>
                <c:pt idx="12715">
                  <c:v>250085664</c:v>
                </c:pt>
                <c:pt idx="12716">
                  <c:v>34887972</c:v>
                </c:pt>
                <c:pt idx="12717">
                  <c:v>172721565</c:v>
                </c:pt>
                <c:pt idx="12718">
                  <c:v>1150807160</c:v>
                </c:pt>
                <c:pt idx="12719">
                  <c:v>6199124</c:v>
                </c:pt>
                <c:pt idx="12720">
                  <c:v>80463901</c:v>
                </c:pt>
                <c:pt idx="12721">
                  <c:v>10922019</c:v>
                </c:pt>
                <c:pt idx="12722">
                  <c:v>1379978236</c:v>
                </c:pt>
                <c:pt idx="12723">
                  <c:v>26912082</c:v>
                </c:pt>
                <c:pt idx="12724">
                  <c:v>8865500</c:v>
                </c:pt>
                <c:pt idx="12725">
                  <c:v>20541140</c:v>
                </c:pt>
                <c:pt idx="12726">
                  <c:v>166017348</c:v>
                </c:pt>
                <c:pt idx="12727">
                  <c:v>50819664</c:v>
                </c:pt>
                <c:pt idx="12728">
                  <c:v>370687473</c:v>
                </c:pt>
                <c:pt idx="12729">
                  <c:v>438834156</c:v>
                </c:pt>
                <c:pt idx="12730">
                  <c:v>162065340</c:v>
                </c:pt>
                <c:pt idx="12731">
                  <c:v>811553769</c:v>
                </c:pt>
                <c:pt idx="12732">
                  <c:v>515611056</c:v>
                </c:pt>
                <c:pt idx="12733">
                  <c:v>174233300</c:v>
                </c:pt>
                <c:pt idx="12734">
                  <c:v>270954830</c:v>
                </c:pt>
                <c:pt idx="12735">
                  <c:v>652538700</c:v>
                </c:pt>
                <c:pt idx="12736">
                  <c:v>1686661928</c:v>
                </c:pt>
                <c:pt idx="12737">
                  <c:v>521387390</c:v>
                </c:pt>
                <c:pt idx="12738">
                  <c:v>185281632</c:v>
                </c:pt>
                <c:pt idx="12739">
                  <c:v>29855540</c:v>
                </c:pt>
                <c:pt idx="12740">
                  <c:v>45863912</c:v>
                </c:pt>
                <c:pt idx="12741">
                  <c:v>915597800</c:v>
                </c:pt>
                <c:pt idx="12742">
                  <c:v>66006840</c:v>
                </c:pt>
                <c:pt idx="12743">
                  <c:v>407355216</c:v>
                </c:pt>
                <c:pt idx="12744">
                  <c:v>217612768</c:v>
                </c:pt>
                <c:pt idx="12745">
                  <c:v>72558024</c:v>
                </c:pt>
                <c:pt idx="12746">
                  <c:v>20580452</c:v>
                </c:pt>
                <c:pt idx="12747">
                  <c:v>45011648</c:v>
                </c:pt>
                <c:pt idx="12748">
                  <c:v>65735145</c:v>
                </c:pt>
                <c:pt idx="12749">
                  <c:v>501210000</c:v>
                </c:pt>
                <c:pt idx="12750">
                  <c:v>81920696</c:v>
                </c:pt>
                <c:pt idx="12751">
                  <c:v>105810224</c:v>
                </c:pt>
                <c:pt idx="12752">
                  <c:v>3755616</c:v>
                </c:pt>
                <c:pt idx="12753">
                  <c:v>38686635</c:v>
                </c:pt>
                <c:pt idx="12754">
                  <c:v>196881256</c:v>
                </c:pt>
                <c:pt idx="12755">
                  <c:v>473890244</c:v>
                </c:pt>
                <c:pt idx="12756">
                  <c:v>465376191</c:v>
                </c:pt>
                <c:pt idx="12757">
                  <c:v>69124860</c:v>
                </c:pt>
                <c:pt idx="12758">
                  <c:v>105400800</c:v>
                </c:pt>
                <c:pt idx="12759">
                  <c:v>6448112</c:v>
                </c:pt>
                <c:pt idx="12760">
                  <c:v>509940886</c:v>
                </c:pt>
                <c:pt idx="12761">
                  <c:v>100917398</c:v>
                </c:pt>
                <c:pt idx="12762">
                  <c:v>16745444</c:v>
                </c:pt>
                <c:pt idx="12763">
                  <c:v>148310440</c:v>
                </c:pt>
                <c:pt idx="12764">
                  <c:v>97879382</c:v>
                </c:pt>
                <c:pt idx="12765">
                  <c:v>28005210</c:v>
                </c:pt>
                <c:pt idx="12766">
                  <c:v>116142176</c:v>
                </c:pt>
                <c:pt idx="12767">
                  <c:v>116100488</c:v>
                </c:pt>
                <c:pt idx="12768">
                  <c:v>69081853</c:v>
                </c:pt>
                <c:pt idx="12769">
                  <c:v>136914336</c:v>
                </c:pt>
                <c:pt idx="12770">
                  <c:v>44205805</c:v>
                </c:pt>
                <c:pt idx="12771">
                  <c:v>46692576</c:v>
                </c:pt>
                <c:pt idx="12772">
                  <c:v>32059049</c:v>
                </c:pt>
                <c:pt idx="12773">
                  <c:v>2806000</c:v>
                </c:pt>
                <c:pt idx="12774">
                  <c:v>694189412</c:v>
                </c:pt>
                <c:pt idx="12775">
                  <c:v>71398353</c:v>
                </c:pt>
                <c:pt idx="12776">
                  <c:v>82356865</c:v>
                </c:pt>
                <c:pt idx="12777">
                  <c:v>87373278</c:v>
                </c:pt>
                <c:pt idx="12778">
                  <c:v>61082400</c:v>
                </c:pt>
                <c:pt idx="12779">
                  <c:v>76244980</c:v>
                </c:pt>
                <c:pt idx="12780">
                  <c:v>1150529770</c:v>
                </c:pt>
                <c:pt idx="12781">
                  <c:v>7269252</c:v>
                </c:pt>
                <c:pt idx="12782">
                  <c:v>371011689</c:v>
                </c:pt>
                <c:pt idx="12783">
                  <c:v>92845232</c:v>
                </c:pt>
                <c:pt idx="12784">
                  <c:v>4805437</c:v>
                </c:pt>
                <c:pt idx="12785">
                  <c:v>79990976</c:v>
                </c:pt>
                <c:pt idx="12786">
                  <c:v>2879388</c:v>
                </c:pt>
                <c:pt idx="12787">
                  <c:v>91489565</c:v>
                </c:pt>
                <c:pt idx="12788">
                  <c:v>828245656</c:v>
                </c:pt>
                <c:pt idx="12789">
                  <c:v>37099348</c:v>
                </c:pt>
                <c:pt idx="12790">
                  <c:v>227029708</c:v>
                </c:pt>
                <c:pt idx="12791">
                  <c:v>282873618</c:v>
                </c:pt>
                <c:pt idx="12792">
                  <c:v>82931030</c:v>
                </c:pt>
                <c:pt idx="12793">
                  <c:v>739013748</c:v>
                </c:pt>
                <c:pt idx="12794">
                  <c:v>490115220</c:v>
                </c:pt>
                <c:pt idx="12795">
                  <c:v>303394725</c:v>
                </c:pt>
                <c:pt idx="12796">
                  <c:v>474121312</c:v>
                </c:pt>
                <c:pt idx="12797">
                  <c:v>390623904</c:v>
                </c:pt>
                <c:pt idx="12798">
                  <c:v>19714400</c:v>
                </c:pt>
                <c:pt idx="12799">
                  <c:v>532082000</c:v>
                </c:pt>
                <c:pt idx="12800">
                  <c:v>13687148</c:v>
                </c:pt>
                <c:pt idx="12801">
                  <c:v>988224808</c:v>
                </c:pt>
                <c:pt idx="12802">
                  <c:v>2147483647</c:v>
                </c:pt>
                <c:pt idx="12803">
                  <c:v>1601085108</c:v>
                </c:pt>
                <c:pt idx="12804">
                  <c:v>1556817801</c:v>
                </c:pt>
                <c:pt idx="12805">
                  <c:v>267763620</c:v>
                </c:pt>
                <c:pt idx="12806">
                  <c:v>845726867</c:v>
                </c:pt>
                <c:pt idx="12807">
                  <c:v>22657086</c:v>
                </c:pt>
                <c:pt idx="12808">
                  <c:v>11510133</c:v>
                </c:pt>
                <c:pt idx="12809">
                  <c:v>60601548</c:v>
                </c:pt>
                <c:pt idx="12810">
                  <c:v>1618837704</c:v>
                </c:pt>
                <c:pt idx="12811">
                  <c:v>1417717775</c:v>
                </c:pt>
                <c:pt idx="12812">
                  <c:v>2147483647</c:v>
                </c:pt>
                <c:pt idx="12813">
                  <c:v>839471165</c:v>
                </c:pt>
                <c:pt idx="12814">
                  <c:v>1775741775</c:v>
                </c:pt>
                <c:pt idx="12815">
                  <c:v>445177834</c:v>
                </c:pt>
                <c:pt idx="12816">
                  <c:v>182155200</c:v>
                </c:pt>
                <c:pt idx="12817">
                  <c:v>120355200</c:v>
                </c:pt>
                <c:pt idx="12818">
                  <c:v>166082917</c:v>
                </c:pt>
                <c:pt idx="12819">
                  <c:v>611423188</c:v>
                </c:pt>
                <c:pt idx="12820">
                  <c:v>18981148</c:v>
                </c:pt>
                <c:pt idx="12821">
                  <c:v>134170383</c:v>
                </c:pt>
                <c:pt idx="12822">
                  <c:v>279009198</c:v>
                </c:pt>
                <c:pt idx="12823">
                  <c:v>1245906522</c:v>
                </c:pt>
                <c:pt idx="12824">
                  <c:v>420843283</c:v>
                </c:pt>
                <c:pt idx="12825">
                  <c:v>558650050</c:v>
                </c:pt>
                <c:pt idx="12826">
                  <c:v>2147483647</c:v>
                </c:pt>
                <c:pt idx="12827">
                  <c:v>2385018</c:v>
                </c:pt>
                <c:pt idx="12828">
                  <c:v>38282454</c:v>
                </c:pt>
                <c:pt idx="12829">
                  <c:v>726074330</c:v>
                </c:pt>
                <c:pt idx="12830">
                  <c:v>1274543820</c:v>
                </c:pt>
                <c:pt idx="12831">
                  <c:v>316137272</c:v>
                </c:pt>
                <c:pt idx="12832">
                  <c:v>253903410</c:v>
                </c:pt>
                <c:pt idx="12833">
                  <c:v>12198758</c:v>
                </c:pt>
                <c:pt idx="12834">
                  <c:v>1185301</c:v>
                </c:pt>
                <c:pt idx="12835">
                  <c:v>178535500</c:v>
                </c:pt>
                <c:pt idx="12836">
                  <c:v>126633232</c:v>
                </c:pt>
                <c:pt idx="12837">
                  <c:v>60251356</c:v>
                </c:pt>
                <c:pt idx="12838">
                  <c:v>218368710</c:v>
                </c:pt>
                <c:pt idx="12839">
                  <c:v>353586106</c:v>
                </c:pt>
                <c:pt idx="12840">
                  <c:v>221302396</c:v>
                </c:pt>
                <c:pt idx="12841">
                  <c:v>109953181</c:v>
                </c:pt>
                <c:pt idx="12842">
                  <c:v>5324330</c:v>
                </c:pt>
                <c:pt idx="12843">
                  <c:v>546677160</c:v>
                </c:pt>
                <c:pt idx="12844">
                  <c:v>159443725</c:v>
                </c:pt>
                <c:pt idx="12845">
                  <c:v>2147483647</c:v>
                </c:pt>
                <c:pt idx="12846">
                  <c:v>105834960</c:v>
                </c:pt>
                <c:pt idx="12847">
                  <c:v>96067059</c:v>
                </c:pt>
                <c:pt idx="12848">
                  <c:v>36059975</c:v>
                </c:pt>
                <c:pt idx="12849">
                  <c:v>46028860</c:v>
                </c:pt>
                <c:pt idx="12850">
                  <c:v>1382306400</c:v>
                </c:pt>
                <c:pt idx="12851">
                  <c:v>479550325</c:v>
                </c:pt>
                <c:pt idx="12852">
                  <c:v>68512069</c:v>
                </c:pt>
                <c:pt idx="12853">
                  <c:v>239417872</c:v>
                </c:pt>
                <c:pt idx="12854">
                  <c:v>9883650</c:v>
                </c:pt>
                <c:pt idx="12855">
                  <c:v>386654632</c:v>
                </c:pt>
                <c:pt idx="12856">
                  <c:v>18664074</c:v>
                </c:pt>
                <c:pt idx="12857">
                  <c:v>108253208</c:v>
                </c:pt>
                <c:pt idx="12858">
                  <c:v>9737224</c:v>
                </c:pt>
                <c:pt idx="12859">
                  <c:v>83005600</c:v>
                </c:pt>
                <c:pt idx="12860">
                  <c:v>5041548</c:v>
                </c:pt>
                <c:pt idx="12861">
                  <c:v>102999265</c:v>
                </c:pt>
                <c:pt idx="12862">
                  <c:v>37596280</c:v>
                </c:pt>
                <c:pt idx="12863">
                  <c:v>117512500</c:v>
                </c:pt>
                <c:pt idx="12864">
                  <c:v>152635648</c:v>
                </c:pt>
                <c:pt idx="12865">
                  <c:v>7117764</c:v>
                </c:pt>
                <c:pt idx="12866">
                  <c:v>172725465</c:v>
                </c:pt>
                <c:pt idx="12867">
                  <c:v>329135100</c:v>
                </c:pt>
                <c:pt idx="12868">
                  <c:v>659981630</c:v>
                </c:pt>
                <c:pt idx="12869">
                  <c:v>1022170026</c:v>
                </c:pt>
                <c:pt idx="12870">
                  <c:v>84750978</c:v>
                </c:pt>
                <c:pt idx="12871">
                  <c:v>143597630</c:v>
                </c:pt>
                <c:pt idx="12872">
                  <c:v>306733920</c:v>
                </c:pt>
                <c:pt idx="12873">
                  <c:v>463782176</c:v>
                </c:pt>
                <c:pt idx="12874">
                  <c:v>231376135</c:v>
                </c:pt>
                <c:pt idx="12875">
                  <c:v>1511110414</c:v>
                </c:pt>
                <c:pt idx="12876">
                  <c:v>597686208</c:v>
                </c:pt>
                <c:pt idx="12877">
                  <c:v>981012583</c:v>
                </c:pt>
                <c:pt idx="12878">
                  <c:v>659632428</c:v>
                </c:pt>
                <c:pt idx="12879">
                  <c:v>459232490</c:v>
                </c:pt>
                <c:pt idx="12880">
                  <c:v>162213000</c:v>
                </c:pt>
                <c:pt idx="12881">
                  <c:v>1159430800</c:v>
                </c:pt>
                <c:pt idx="12882">
                  <c:v>196969584</c:v>
                </c:pt>
                <c:pt idx="12883">
                  <c:v>219316932</c:v>
                </c:pt>
                <c:pt idx="12884">
                  <c:v>109800162</c:v>
                </c:pt>
                <c:pt idx="12885">
                  <c:v>317401906</c:v>
                </c:pt>
                <c:pt idx="12886">
                  <c:v>533181780</c:v>
                </c:pt>
                <c:pt idx="12887">
                  <c:v>367809552</c:v>
                </c:pt>
                <c:pt idx="12888">
                  <c:v>580009341</c:v>
                </c:pt>
                <c:pt idx="12889">
                  <c:v>107473563</c:v>
                </c:pt>
                <c:pt idx="12890">
                  <c:v>407746944</c:v>
                </c:pt>
                <c:pt idx="12891">
                  <c:v>825069960</c:v>
                </c:pt>
                <c:pt idx="12892">
                  <c:v>394705536</c:v>
                </c:pt>
                <c:pt idx="12893">
                  <c:v>1157868320</c:v>
                </c:pt>
                <c:pt idx="12894">
                  <c:v>1230113899</c:v>
                </c:pt>
                <c:pt idx="12895">
                  <c:v>106431422</c:v>
                </c:pt>
                <c:pt idx="12896">
                  <c:v>619791162</c:v>
                </c:pt>
                <c:pt idx="12897">
                  <c:v>1023856211</c:v>
                </c:pt>
                <c:pt idx="12898">
                  <c:v>587592826</c:v>
                </c:pt>
                <c:pt idx="12899">
                  <c:v>1415791182</c:v>
                </c:pt>
                <c:pt idx="12900">
                  <c:v>773510420</c:v>
                </c:pt>
                <c:pt idx="12901">
                  <c:v>808729104</c:v>
                </c:pt>
                <c:pt idx="12902">
                  <c:v>1299582900</c:v>
                </c:pt>
                <c:pt idx="12903">
                  <c:v>1357410264</c:v>
                </c:pt>
                <c:pt idx="12904">
                  <c:v>1467055296</c:v>
                </c:pt>
                <c:pt idx="12905">
                  <c:v>1434533880</c:v>
                </c:pt>
                <c:pt idx="12906">
                  <c:v>778429388</c:v>
                </c:pt>
                <c:pt idx="12907">
                  <c:v>462453005</c:v>
                </c:pt>
                <c:pt idx="12908">
                  <c:v>997440875</c:v>
                </c:pt>
                <c:pt idx="12909">
                  <c:v>911874840</c:v>
                </c:pt>
                <c:pt idx="12910">
                  <c:v>811346466</c:v>
                </c:pt>
                <c:pt idx="12911">
                  <c:v>678830936</c:v>
                </c:pt>
                <c:pt idx="12912">
                  <c:v>231012334</c:v>
                </c:pt>
                <c:pt idx="12913">
                  <c:v>1026246342</c:v>
                </c:pt>
                <c:pt idx="12914">
                  <c:v>147833325</c:v>
                </c:pt>
                <c:pt idx="12915">
                  <c:v>60894072</c:v>
                </c:pt>
                <c:pt idx="12916">
                  <c:v>216114880</c:v>
                </c:pt>
                <c:pt idx="12917">
                  <c:v>8644952</c:v>
                </c:pt>
                <c:pt idx="12918">
                  <c:v>554624004</c:v>
                </c:pt>
                <c:pt idx="12919">
                  <c:v>70756466</c:v>
                </c:pt>
                <c:pt idx="12920">
                  <c:v>6902875</c:v>
                </c:pt>
                <c:pt idx="12921">
                  <c:v>125389636</c:v>
                </c:pt>
                <c:pt idx="12922">
                  <c:v>408225120</c:v>
                </c:pt>
                <c:pt idx="12923">
                  <c:v>7975221</c:v>
                </c:pt>
                <c:pt idx="12924">
                  <c:v>181847440</c:v>
                </c:pt>
                <c:pt idx="12925">
                  <c:v>34018368</c:v>
                </c:pt>
                <c:pt idx="12926">
                  <c:v>116753025</c:v>
                </c:pt>
                <c:pt idx="12927">
                  <c:v>169133952</c:v>
                </c:pt>
                <c:pt idx="12928">
                  <c:v>4325100</c:v>
                </c:pt>
                <c:pt idx="12929">
                  <c:v>38974302</c:v>
                </c:pt>
                <c:pt idx="12930">
                  <c:v>152185818</c:v>
                </c:pt>
                <c:pt idx="12931">
                  <c:v>9221850</c:v>
                </c:pt>
                <c:pt idx="12932">
                  <c:v>485878239</c:v>
                </c:pt>
                <c:pt idx="12933">
                  <c:v>27157510</c:v>
                </c:pt>
                <c:pt idx="12934">
                  <c:v>748652980</c:v>
                </c:pt>
                <c:pt idx="12935">
                  <c:v>175141150</c:v>
                </c:pt>
                <c:pt idx="12936">
                  <c:v>1219989000</c:v>
                </c:pt>
                <c:pt idx="12937">
                  <c:v>89306112</c:v>
                </c:pt>
                <c:pt idx="12938">
                  <c:v>41126160</c:v>
                </c:pt>
                <c:pt idx="12939">
                  <c:v>290872269</c:v>
                </c:pt>
                <c:pt idx="12940">
                  <c:v>9677121</c:v>
                </c:pt>
                <c:pt idx="12941">
                  <c:v>23291360</c:v>
                </c:pt>
                <c:pt idx="12942">
                  <c:v>624755880</c:v>
                </c:pt>
                <c:pt idx="12943">
                  <c:v>14182609</c:v>
                </c:pt>
                <c:pt idx="12944">
                  <c:v>40205548</c:v>
                </c:pt>
                <c:pt idx="12945">
                  <c:v>67206692</c:v>
                </c:pt>
                <c:pt idx="12946">
                  <c:v>231498595</c:v>
                </c:pt>
                <c:pt idx="12947">
                  <c:v>2453202</c:v>
                </c:pt>
                <c:pt idx="12948">
                  <c:v>66733200</c:v>
                </c:pt>
                <c:pt idx="12949">
                  <c:v>140427342</c:v>
                </c:pt>
                <c:pt idx="12950">
                  <c:v>45746510</c:v>
                </c:pt>
                <c:pt idx="12951">
                  <c:v>11355744</c:v>
                </c:pt>
                <c:pt idx="12952">
                  <c:v>94849216</c:v>
                </c:pt>
                <c:pt idx="12953">
                  <c:v>1272446313</c:v>
                </c:pt>
                <c:pt idx="12954">
                  <c:v>534906127</c:v>
                </c:pt>
                <c:pt idx="12955">
                  <c:v>182319894</c:v>
                </c:pt>
                <c:pt idx="12956">
                  <c:v>62843526</c:v>
                </c:pt>
                <c:pt idx="12957">
                  <c:v>110609720</c:v>
                </c:pt>
                <c:pt idx="12958">
                  <c:v>24646500</c:v>
                </c:pt>
                <c:pt idx="12959">
                  <c:v>9190116</c:v>
                </c:pt>
                <c:pt idx="12960">
                  <c:v>2518208</c:v>
                </c:pt>
                <c:pt idx="12961">
                  <c:v>13295763</c:v>
                </c:pt>
                <c:pt idx="12962">
                  <c:v>18721773</c:v>
                </c:pt>
                <c:pt idx="12963">
                  <c:v>686001142</c:v>
                </c:pt>
                <c:pt idx="12964">
                  <c:v>8068284</c:v>
                </c:pt>
                <c:pt idx="12965">
                  <c:v>49230972</c:v>
                </c:pt>
                <c:pt idx="12966">
                  <c:v>11859218</c:v>
                </c:pt>
                <c:pt idx="12967">
                  <c:v>5588336</c:v>
                </c:pt>
                <c:pt idx="12968">
                  <c:v>33776418</c:v>
                </c:pt>
                <c:pt idx="12969">
                  <c:v>60424800</c:v>
                </c:pt>
                <c:pt idx="12970">
                  <c:v>907998819</c:v>
                </c:pt>
                <c:pt idx="12971">
                  <c:v>138031938</c:v>
                </c:pt>
                <c:pt idx="12972">
                  <c:v>148430646</c:v>
                </c:pt>
                <c:pt idx="12973">
                  <c:v>154021320</c:v>
                </c:pt>
                <c:pt idx="12974">
                  <c:v>884567976</c:v>
                </c:pt>
                <c:pt idx="12975">
                  <c:v>8534988</c:v>
                </c:pt>
                <c:pt idx="12976">
                  <c:v>1287187187</c:v>
                </c:pt>
                <c:pt idx="12977">
                  <c:v>540015578</c:v>
                </c:pt>
                <c:pt idx="12978">
                  <c:v>13248000</c:v>
                </c:pt>
                <c:pt idx="12979">
                  <c:v>248989983</c:v>
                </c:pt>
                <c:pt idx="12980">
                  <c:v>188789784</c:v>
                </c:pt>
                <c:pt idx="12981">
                  <c:v>40081832</c:v>
                </c:pt>
                <c:pt idx="12982">
                  <c:v>177948024</c:v>
                </c:pt>
                <c:pt idx="12983">
                  <c:v>23289600</c:v>
                </c:pt>
                <c:pt idx="12984">
                  <c:v>1371234690</c:v>
                </c:pt>
                <c:pt idx="12985">
                  <c:v>237710292</c:v>
                </c:pt>
                <c:pt idx="12986">
                  <c:v>24912667</c:v>
                </c:pt>
                <c:pt idx="12987">
                  <c:v>13438803</c:v>
                </c:pt>
                <c:pt idx="12988">
                  <c:v>70690022</c:v>
                </c:pt>
                <c:pt idx="12989">
                  <c:v>273121664</c:v>
                </c:pt>
                <c:pt idx="12990">
                  <c:v>256466560</c:v>
                </c:pt>
                <c:pt idx="12991">
                  <c:v>162667799</c:v>
                </c:pt>
                <c:pt idx="12992">
                  <c:v>399623280</c:v>
                </c:pt>
                <c:pt idx="12993">
                  <c:v>455005320</c:v>
                </c:pt>
                <c:pt idx="12994">
                  <c:v>303131312</c:v>
                </c:pt>
                <c:pt idx="12995">
                  <c:v>346373820</c:v>
                </c:pt>
                <c:pt idx="12996">
                  <c:v>653760798</c:v>
                </c:pt>
                <c:pt idx="12997">
                  <c:v>450088850</c:v>
                </c:pt>
                <c:pt idx="12998">
                  <c:v>117612270</c:v>
                </c:pt>
                <c:pt idx="12999">
                  <c:v>477323484</c:v>
                </c:pt>
                <c:pt idx="13000">
                  <c:v>833573120</c:v>
                </c:pt>
                <c:pt idx="13001">
                  <c:v>697530539</c:v>
                </c:pt>
                <c:pt idx="13002">
                  <c:v>1714652076</c:v>
                </c:pt>
                <c:pt idx="13003">
                  <c:v>356409046</c:v>
                </c:pt>
                <c:pt idx="13004">
                  <c:v>1199109955</c:v>
                </c:pt>
                <c:pt idx="13005">
                  <c:v>312328224</c:v>
                </c:pt>
                <c:pt idx="13006">
                  <c:v>1070483792</c:v>
                </c:pt>
                <c:pt idx="13007">
                  <c:v>550398905</c:v>
                </c:pt>
                <c:pt idx="13008">
                  <c:v>644909781</c:v>
                </c:pt>
                <c:pt idx="13009">
                  <c:v>263930028</c:v>
                </c:pt>
                <c:pt idx="13010">
                  <c:v>911354745</c:v>
                </c:pt>
                <c:pt idx="13011">
                  <c:v>549170928</c:v>
                </c:pt>
                <c:pt idx="13012">
                  <c:v>1858808352</c:v>
                </c:pt>
                <c:pt idx="13013">
                  <c:v>1312158064</c:v>
                </c:pt>
                <c:pt idx="13014">
                  <c:v>616978714</c:v>
                </c:pt>
                <c:pt idx="13015">
                  <c:v>913882878</c:v>
                </c:pt>
                <c:pt idx="13016">
                  <c:v>459531127</c:v>
                </c:pt>
                <c:pt idx="13017">
                  <c:v>402871520</c:v>
                </c:pt>
                <c:pt idx="13018">
                  <c:v>318342374</c:v>
                </c:pt>
                <c:pt idx="13019">
                  <c:v>1493972402</c:v>
                </c:pt>
                <c:pt idx="13020">
                  <c:v>100659573</c:v>
                </c:pt>
                <c:pt idx="13021">
                  <c:v>68512232</c:v>
                </c:pt>
                <c:pt idx="13022">
                  <c:v>125748728</c:v>
                </c:pt>
                <c:pt idx="13023">
                  <c:v>39747186</c:v>
                </c:pt>
                <c:pt idx="13024">
                  <c:v>243253560</c:v>
                </c:pt>
                <c:pt idx="13025">
                  <c:v>19049290</c:v>
                </c:pt>
                <c:pt idx="13026">
                  <c:v>8749878</c:v>
                </c:pt>
                <c:pt idx="13027">
                  <c:v>80507475</c:v>
                </c:pt>
                <c:pt idx="13028">
                  <c:v>158176710</c:v>
                </c:pt>
                <c:pt idx="13029">
                  <c:v>63905105</c:v>
                </c:pt>
                <c:pt idx="13030">
                  <c:v>5763452</c:v>
                </c:pt>
                <c:pt idx="13031">
                  <c:v>390202920</c:v>
                </c:pt>
                <c:pt idx="13032">
                  <c:v>38550600</c:v>
                </c:pt>
                <c:pt idx="13033">
                  <c:v>8356785</c:v>
                </c:pt>
                <c:pt idx="13034">
                  <c:v>473954998</c:v>
                </c:pt>
                <c:pt idx="13035">
                  <c:v>433239270</c:v>
                </c:pt>
                <c:pt idx="13036">
                  <c:v>143459328</c:v>
                </c:pt>
                <c:pt idx="13037">
                  <c:v>55942600</c:v>
                </c:pt>
                <c:pt idx="13038">
                  <c:v>85222620</c:v>
                </c:pt>
                <c:pt idx="13039">
                  <c:v>267386318</c:v>
                </c:pt>
                <c:pt idx="13040">
                  <c:v>12303897</c:v>
                </c:pt>
                <c:pt idx="13041">
                  <c:v>123931197</c:v>
                </c:pt>
                <c:pt idx="13042">
                  <c:v>92845116</c:v>
                </c:pt>
                <c:pt idx="13043">
                  <c:v>111373720</c:v>
                </c:pt>
                <c:pt idx="13044">
                  <c:v>24454188</c:v>
                </c:pt>
                <c:pt idx="13045">
                  <c:v>157571440</c:v>
                </c:pt>
                <c:pt idx="13046">
                  <c:v>35848389</c:v>
                </c:pt>
                <c:pt idx="13047">
                  <c:v>59813733</c:v>
                </c:pt>
                <c:pt idx="13048">
                  <c:v>46332167</c:v>
                </c:pt>
                <c:pt idx="13049">
                  <c:v>160989726</c:v>
                </c:pt>
                <c:pt idx="13050">
                  <c:v>161532420</c:v>
                </c:pt>
                <c:pt idx="13051">
                  <c:v>572115002</c:v>
                </c:pt>
                <c:pt idx="13052">
                  <c:v>132946572</c:v>
                </c:pt>
                <c:pt idx="13053">
                  <c:v>284429712</c:v>
                </c:pt>
                <c:pt idx="13054">
                  <c:v>34329117</c:v>
                </c:pt>
                <c:pt idx="13055">
                  <c:v>10638432</c:v>
                </c:pt>
                <c:pt idx="13056">
                  <c:v>20432152</c:v>
                </c:pt>
                <c:pt idx="13057">
                  <c:v>59226081</c:v>
                </c:pt>
                <c:pt idx="13058">
                  <c:v>274220096</c:v>
                </c:pt>
                <c:pt idx="13059">
                  <c:v>36038079</c:v>
                </c:pt>
                <c:pt idx="13060">
                  <c:v>50187384</c:v>
                </c:pt>
                <c:pt idx="13061">
                  <c:v>40780110</c:v>
                </c:pt>
                <c:pt idx="13062">
                  <c:v>38738136</c:v>
                </c:pt>
                <c:pt idx="13063">
                  <c:v>74571770</c:v>
                </c:pt>
                <c:pt idx="13064">
                  <c:v>437752564</c:v>
                </c:pt>
                <c:pt idx="13065">
                  <c:v>185148068</c:v>
                </c:pt>
                <c:pt idx="13066">
                  <c:v>226684568</c:v>
                </c:pt>
                <c:pt idx="13067">
                  <c:v>345927374</c:v>
                </c:pt>
                <c:pt idx="13068">
                  <c:v>16435804</c:v>
                </c:pt>
                <c:pt idx="13069">
                  <c:v>17067204</c:v>
                </c:pt>
                <c:pt idx="13070">
                  <c:v>165480448</c:v>
                </c:pt>
                <c:pt idx="13071">
                  <c:v>11932466</c:v>
                </c:pt>
                <c:pt idx="13072">
                  <c:v>772549799</c:v>
                </c:pt>
                <c:pt idx="13073">
                  <c:v>155811942</c:v>
                </c:pt>
                <c:pt idx="13074">
                  <c:v>26009972</c:v>
                </c:pt>
                <c:pt idx="13075">
                  <c:v>269025660</c:v>
                </c:pt>
                <c:pt idx="13076">
                  <c:v>53870600</c:v>
                </c:pt>
                <c:pt idx="13077">
                  <c:v>10472841</c:v>
                </c:pt>
                <c:pt idx="13078">
                  <c:v>16117272</c:v>
                </c:pt>
                <c:pt idx="13079">
                  <c:v>99396894</c:v>
                </c:pt>
                <c:pt idx="13080">
                  <c:v>63959049</c:v>
                </c:pt>
                <c:pt idx="13081">
                  <c:v>8818190</c:v>
                </c:pt>
                <c:pt idx="13082">
                  <c:v>49218400</c:v>
                </c:pt>
                <c:pt idx="13083">
                  <c:v>86996628</c:v>
                </c:pt>
                <c:pt idx="13084">
                  <c:v>53586486</c:v>
                </c:pt>
                <c:pt idx="13085">
                  <c:v>130576888</c:v>
                </c:pt>
                <c:pt idx="13086">
                  <c:v>29454688</c:v>
                </c:pt>
                <c:pt idx="13087">
                  <c:v>58222530</c:v>
                </c:pt>
                <c:pt idx="13088">
                  <c:v>29725350</c:v>
                </c:pt>
                <c:pt idx="13089">
                  <c:v>4561236</c:v>
                </c:pt>
                <c:pt idx="13090">
                  <c:v>866936878</c:v>
                </c:pt>
                <c:pt idx="13091">
                  <c:v>72896742</c:v>
                </c:pt>
                <c:pt idx="13092">
                  <c:v>41078169</c:v>
                </c:pt>
                <c:pt idx="13093">
                  <c:v>149644370</c:v>
                </c:pt>
                <c:pt idx="13094">
                  <c:v>22764372</c:v>
                </c:pt>
                <c:pt idx="13095">
                  <c:v>54937496</c:v>
                </c:pt>
                <c:pt idx="13096">
                  <c:v>49745716</c:v>
                </c:pt>
                <c:pt idx="13097">
                  <c:v>128417296</c:v>
                </c:pt>
                <c:pt idx="13098">
                  <c:v>21715827</c:v>
                </c:pt>
                <c:pt idx="13099">
                  <c:v>88129350</c:v>
                </c:pt>
                <c:pt idx="13100">
                  <c:v>35754534</c:v>
                </c:pt>
                <c:pt idx="13101">
                  <c:v>4806692</c:v>
                </c:pt>
                <c:pt idx="13102">
                  <c:v>66149300</c:v>
                </c:pt>
                <c:pt idx="13103">
                  <c:v>21593447</c:v>
                </c:pt>
                <c:pt idx="13104">
                  <c:v>16970149</c:v>
                </c:pt>
                <c:pt idx="13105">
                  <c:v>26869230</c:v>
                </c:pt>
                <c:pt idx="13106">
                  <c:v>106978755</c:v>
                </c:pt>
                <c:pt idx="13107">
                  <c:v>5182500</c:v>
                </c:pt>
                <c:pt idx="13108">
                  <c:v>100456200</c:v>
                </c:pt>
                <c:pt idx="13109">
                  <c:v>75019769</c:v>
                </c:pt>
                <c:pt idx="13110">
                  <c:v>22716280</c:v>
                </c:pt>
                <c:pt idx="13111">
                  <c:v>448058768</c:v>
                </c:pt>
                <c:pt idx="13112">
                  <c:v>310583975</c:v>
                </c:pt>
                <c:pt idx="13113">
                  <c:v>681318416</c:v>
                </c:pt>
                <c:pt idx="13114">
                  <c:v>409518960</c:v>
                </c:pt>
                <c:pt idx="13115">
                  <c:v>426423010</c:v>
                </c:pt>
                <c:pt idx="13116">
                  <c:v>10235700</c:v>
                </c:pt>
                <c:pt idx="13117">
                  <c:v>158055516</c:v>
                </c:pt>
                <c:pt idx="13118">
                  <c:v>42846472</c:v>
                </c:pt>
                <c:pt idx="13119">
                  <c:v>111288528</c:v>
                </c:pt>
                <c:pt idx="13120">
                  <c:v>80827090</c:v>
                </c:pt>
                <c:pt idx="13121">
                  <c:v>14828978</c:v>
                </c:pt>
                <c:pt idx="13122">
                  <c:v>209888592</c:v>
                </c:pt>
                <c:pt idx="13123">
                  <c:v>7685424</c:v>
                </c:pt>
                <c:pt idx="13124">
                  <c:v>16504488</c:v>
                </c:pt>
                <c:pt idx="13125">
                  <c:v>25701540</c:v>
                </c:pt>
                <c:pt idx="13126">
                  <c:v>618649135</c:v>
                </c:pt>
                <c:pt idx="13127">
                  <c:v>70363800</c:v>
                </c:pt>
                <c:pt idx="13128">
                  <c:v>9303480</c:v>
                </c:pt>
                <c:pt idx="13129">
                  <c:v>86255748</c:v>
                </c:pt>
                <c:pt idx="13130">
                  <c:v>190653888</c:v>
                </c:pt>
                <c:pt idx="13131">
                  <c:v>169869949</c:v>
                </c:pt>
                <c:pt idx="13132">
                  <c:v>104036152</c:v>
                </c:pt>
                <c:pt idx="13133">
                  <c:v>94431744</c:v>
                </c:pt>
                <c:pt idx="13134">
                  <c:v>328425720</c:v>
                </c:pt>
                <c:pt idx="13135">
                  <c:v>16797015</c:v>
                </c:pt>
                <c:pt idx="13136">
                  <c:v>36673726</c:v>
                </c:pt>
                <c:pt idx="13137">
                  <c:v>2954790</c:v>
                </c:pt>
                <c:pt idx="13138">
                  <c:v>1903640685</c:v>
                </c:pt>
                <c:pt idx="13139">
                  <c:v>31963415</c:v>
                </c:pt>
                <c:pt idx="13140">
                  <c:v>97607520</c:v>
                </c:pt>
                <c:pt idx="13141">
                  <c:v>105214300</c:v>
                </c:pt>
                <c:pt idx="13142">
                  <c:v>105187363</c:v>
                </c:pt>
                <c:pt idx="13143">
                  <c:v>135542792</c:v>
                </c:pt>
                <c:pt idx="13144">
                  <c:v>3385305</c:v>
                </c:pt>
                <c:pt idx="13145">
                  <c:v>24192960</c:v>
                </c:pt>
                <c:pt idx="13146">
                  <c:v>104155296</c:v>
                </c:pt>
                <c:pt idx="13147">
                  <c:v>24133208</c:v>
                </c:pt>
                <c:pt idx="13148">
                  <c:v>60797286</c:v>
                </c:pt>
                <c:pt idx="13149">
                  <c:v>9130734</c:v>
                </c:pt>
                <c:pt idx="13150">
                  <c:v>4404996</c:v>
                </c:pt>
                <c:pt idx="13151">
                  <c:v>157525680</c:v>
                </c:pt>
                <c:pt idx="13152">
                  <c:v>71784422</c:v>
                </c:pt>
                <c:pt idx="13153">
                  <c:v>11027536</c:v>
                </c:pt>
                <c:pt idx="13154">
                  <c:v>101206168</c:v>
                </c:pt>
                <c:pt idx="13155">
                  <c:v>8144566</c:v>
                </c:pt>
                <c:pt idx="13156">
                  <c:v>50972354</c:v>
                </c:pt>
                <c:pt idx="13157">
                  <c:v>35328771</c:v>
                </c:pt>
                <c:pt idx="13158">
                  <c:v>4244590</c:v>
                </c:pt>
                <c:pt idx="13159">
                  <c:v>217279124</c:v>
                </c:pt>
                <c:pt idx="13160">
                  <c:v>3315976</c:v>
                </c:pt>
                <c:pt idx="13161">
                  <c:v>40169920</c:v>
                </c:pt>
                <c:pt idx="13162">
                  <c:v>26046384</c:v>
                </c:pt>
                <c:pt idx="13163">
                  <c:v>190310274</c:v>
                </c:pt>
                <c:pt idx="13164">
                  <c:v>13516848</c:v>
                </c:pt>
                <c:pt idx="13165">
                  <c:v>57478662</c:v>
                </c:pt>
                <c:pt idx="13166">
                  <c:v>105225318</c:v>
                </c:pt>
                <c:pt idx="13167">
                  <c:v>69409101</c:v>
                </c:pt>
                <c:pt idx="13168">
                  <c:v>366617784</c:v>
                </c:pt>
                <c:pt idx="13169">
                  <c:v>34629637</c:v>
                </c:pt>
                <c:pt idx="13170">
                  <c:v>81948806</c:v>
                </c:pt>
                <c:pt idx="13171">
                  <c:v>168235298</c:v>
                </c:pt>
                <c:pt idx="13172">
                  <c:v>82991038</c:v>
                </c:pt>
                <c:pt idx="13173">
                  <c:v>51789344</c:v>
                </c:pt>
                <c:pt idx="13174">
                  <c:v>88042449</c:v>
                </c:pt>
                <c:pt idx="13175">
                  <c:v>134164888</c:v>
                </c:pt>
                <c:pt idx="13176">
                  <c:v>10326701</c:v>
                </c:pt>
                <c:pt idx="13177">
                  <c:v>400936704</c:v>
                </c:pt>
                <c:pt idx="13178">
                  <c:v>21434712</c:v>
                </c:pt>
                <c:pt idx="13179">
                  <c:v>112978484</c:v>
                </c:pt>
                <c:pt idx="13180">
                  <c:v>11541816</c:v>
                </c:pt>
                <c:pt idx="13181">
                  <c:v>51154238</c:v>
                </c:pt>
                <c:pt idx="13182">
                  <c:v>31541937</c:v>
                </c:pt>
                <c:pt idx="13183">
                  <c:v>428593194</c:v>
                </c:pt>
                <c:pt idx="13184">
                  <c:v>5287338</c:v>
                </c:pt>
                <c:pt idx="13185">
                  <c:v>22023656</c:v>
                </c:pt>
                <c:pt idx="13186">
                  <c:v>585590070</c:v>
                </c:pt>
                <c:pt idx="13187">
                  <c:v>58550828</c:v>
                </c:pt>
                <c:pt idx="13188">
                  <c:v>21081675</c:v>
                </c:pt>
                <c:pt idx="13189">
                  <c:v>5359676</c:v>
                </c:pt>
                <c:pt idx="13190">
                  <c:v>303492315</c:v>
                </c:pt>
                <c:pt idx="13191">
                  <c:v>569169320</c:v>
                </c:pt>
                <c:pt idx="13192">
                  <c:v>534265804</c:v>
                </c:pt>
                <c:pt idx="13193">
                  <c:v>485800602</c:v>
                </c:pt>
                <c:pt idx="13194">
                  <c:v>265837632</c:v>
                </c:pt>
                <c:pt idx="13195">
                  <c:v>163509706</c:v>
                </c:pt>
                <c:pt idx="13196">
                  <c:v>78859482</c:v>
                </c:pt>
                <c:pt idx="13197">
                  <c:v>109939170</c:v>
                </c:pt>
                <c:pt idx="13198">
                  <c:v>62542356</c:v>
                </c:pt>
                <c:pt idx="13199">
                  <c:v>2147483647</c:v>
                </c:pt>
                <c:pt idx="13200">
                  <c:v>2147483647</c:v>
                </c:pt>
                <c:pt idx="13201">
                  <c:v>270830330</c:v>
                </c:pt>
                <c:pt idx="13202">
                  <c:v>34414624</c:v>
                </c:pt>
                <c:pt idx="13203">
                  <c:v>286472361</c:v>
                </c:pt>
                <c:pt idx="13204">
                  <c:v>2147483647</c:v>
                </c:pt>
                <c:pt idx="13205">
                  <c:v>1914875939</c:v>
                </c:pt>
                <c:pt idx="13206">
                  <c:v>15367049</c:v>
                </c:pt>
                <c:pt idx="13207">
                  <c:v>765244690</c:v>
                </c:pt>
                <c:pt idx="13208">
                  <c:v>551581184</c:v>
                </c:pt>
                <c:pt idx="13209">
                  <c:v>88901566</c:v>
                </c:pt>
                <c:pt idx="13210">
                  <c:v>48461975</c:v>
                </c:pt>
                <c:pt idx="13211">
                  <c:v>37097900</c:v>
                </c:pt>
                <c:pt idx="13212">
                  <c:v>54079281</c:v>
                </c:pt>
                <c:pt idx="13213">
                  <c:v>99804609</c:v>
                </c:pt>
                <c:pt idx="13214">
                  <c:v>785886540</c:v>
                </c:pt>
                <c:pt idx="13215">
                  <c:v>766086301</c:v>
                </c:pt>
                <c:pt idx="13216">
                  <c:v>74788835</c:v>
                </c:pt>
                <c:pt idx="13217">
                  <c:v>33362145</c:v>
                </c:pt>
                <c:pt idx="13218">
                  <c:v>57111720</c:v>
                </c:pt>
                <c:pt idx="13219">
                  <c:v>1741510160</c:v>
                </c:pt>
                <c:pt idx="13220">
                  <c:v>1624519552</c:v>
                </c:pt>
                <c:pt idx="13221">
                  <c:v>8438286</c:v>
                </c:pt>
                <c:pt idx="13222">
                  <c:v>510459630</c:v>
                </c:pt>
                <c:pt idx="13223">
                  <c:v>96775360</c:v>
                </c:pt>
                <c:pt idx="13224">
                  <c:v>253364856</c:v>
                </c:pt>
                <c:pt idx="13225">
                  <c:v>58886705</c:v>
                </c:pt>
                <c:pt idx="13226">
                  <c:v>129226476</c:v>
                </c:pt>
                <c:pt idx="13227">
                  <c:v>278938008</c:v>
                </c:pt>
                <c:pt idx="13228">
                  <c:v>2007263376</c:v>
                </c:pt>
                <c:pt idx="13229">
                  <c:v>326773343</c:v>
                </c:pt>
                <c:pt idx="13230">
                  <c:v>41226296</c:v>
                </c:pt>
                <c:pt idx="13231">
                  <c:v>2147483647</c:v>
                </c:pt>
                <c:pt idx="13232">
                  <c:v>11060556</c:v>
                </c:pt>
                <c:pt idx="13233">
                  <c:v>9582832</c:v>
                </c:pt>
                <c:pt idx="13234">
                  <c:v>26133750</c:v>
                </c:pt>
                <c:pt idx="13235">
                  <c:v>63921168</c:v>
                </c:pt>
                <c:pt idx="13236">
                  <c:v>471484440</c:v>
                </c:pt>
                <c:pt idx="13237">
                  <c:v>347805495</c:v>
                </c:pt>
                <c:pt idx="13238">
                  <c:v>22545900</c:v>
                </c:pt>
                <c:pt idx="13239">
                  <c:v>9061470</c:v>
                </c:pt>
                <c:pt idx="13240">
                  <c:v>1675118698</c:v>
                </c:pt>
                <c:pt idx="13241">
                  <c:v>517018320</c:v>
                </c:pt>
                <c:pt idx="13242">
                  <c:v>41217990</c:v>
                </c:pt>
                <c:pt idx="13243">
                  <c:v>19041906</c:v>
                </c:pt>
                <c:pt idx="13244">
                  <c:v>164896524</c:v>
                </c:pt>
                <c:pt idx="13245">
                  <c:v>174358596</c:v>
                </c:pt>
                <c:pt idx="13246">
                  <c:v>163881792</c:v>
                </c:pt>
                <c:pt idx="13247">
                  <c:v>589163016</c:v>
                </c:pt>
                <c:pt idx="13248">
                  <c:v>1770015654</c:v>
                </c:pt>
                <c:pt idx="13249">
                  <c:v>223500847</c:v>
                </c:pt>
                <c:pt idx="13250">
                  <c:v>136901394</c:v>
                </c:pt>
                <c:pt idx="13251">
                  <c:v>5678664</c:v>
                </c:pt>
                <c:pt idx="13252">
                  <c:v>68340986</c:v>
                </c:pt>
                <c:pt idx="13253">
                  <c:v>84856408</c:v>
                </c:pt>
                <c:pt idx="13254">
                  <c:v>1017143568</c:v>
                </c:pt>
                <c:pt idx="13255">
                  <c:v>24257889</c:v>
                </c:pt>
                <c:pt idx="13256">
                  <c:v>464784138</c:v>
                </c:pt>
                <c:pt idx="13257">
                  <c:v>1465003410</c:v>
                </c:pt>
                <c:pt idx="13258">
                  <c:v>1307667420</c:v>
                </c:pt>
                <c:pt idx="13259">
                  <c:v>2147483647</c:v>
                </c:pt>
                <c:pt idx="13260">
                  <c:v>10904604</c:v>
                </c:pt>
                <c:pt idx="13261">
                  <c:v>96485382</c:v>
                </c:pt>
                <c:pt idx="13262">
                  <c:v>151545768</c:v>
                </c:pt>
                <c:pt idx="13263">
                  <c:v>68686060</c:v>
                </c:pt>
                <c:pt idx="13264">
                  <c:v>24772866</c:v>
                </c:pt>
                <c:pt idx="13265">
                  <c:v>1039318715</c:v>
                </c:pt>
                <c:pt idx="13266">
                  <c:v>27623312</c:v>
                </c:pt>
                <c:pt idx="13267">
                  <c:v>117312440</c:v>
                </c:pt>
                <c:pt idx="13268">
                  <c:v>844049001</c:v>
                </c:pt>
                <c:pt idx="13269">
                  <c:v>182163735</c:v>
                </c:pt>
                <c:pt idx="13270">
                  <c:v>63871040</c:v>
                </c:pt>
                <c:pt idx="13271">
                  <c:v>606757628</c:v>
                </c:pt>
                <c:pt idx="13272">
                  <c:v>172784146</c:v>
                </c:pt>
                <c:pt idx="13273">
                  <c:v>64135016</c:v>
                </c:pt>
                <c:pt idx="13274">
                  <c:v>73811360</c:v>
                </c:pt>
                <c:pt idx="13275">
                  <c:v>318153510</c:v>
                </c:pt>
                <c:pt idx="13276">
                  <c:v>1303485278</c:v>
                </c:pt>
                <c:pt idx="13277">
                  <c:v>58987362</c:v>
                </c:pt>
                <c:pt idx="13278">
                  <c:v>75772728</c:v>
                </c:pt>
                <c:pt idx="13279">
                  <c:v>268016850</c:v>
                </c:pt>
                <c:pt idx="13280">
                  <c:v>17939600</c:v>
                </c:pt>
                <c:pt idx="13281">
                  <c:v>840928256</c:v>
                </c:pt>
                <c:pt idx="13282">
                  <c:v>30056860</c:v>
                </c:pt>
                <c:pt idx="13283">
                  <c:v>218751630</c:v>
                </c:pt>
                <c:pt idx="13284">
                  <c:v>48083575</c:v>
                </c:pt>
                <c:pt idx="13285">
                  <c:v>416194614</c:v>
                </c:pt>
                <c:pt idx="13286">
                  <c:v>59498792</c:v>
                </c:pt>
                <c:pt idx="13287">
                  <c:v>659091256</c:v>
                </c:pt>
                <c:pt idx="13288">
                  <c:v>882271461</c:v>
                </c:pt>
                <c:pt idx="13289">
                  <c:v>970772252</c:v>
                </c:pt>
                <c:pt idx="13290">
                  <c:v>546021216</c:v>
                </c:pt>
                <c:pt idx="13291">
                  <c:v>1028609700</c:v>
                </c:pt>
                <c:pt idx="13292">
                  <c:v>633114585</c:v>
                </c:pt>
                <c:pt idx="13293">
                  <c:v>657999342</c:v>
                </c:pt>
                <c:pt idx="13294">
                  <c:v>99341424</c:v>
                </c:pt>
                <c:pt idx="13295">
                  <c:v>1200195360</c:v>
                </c:pt>
                <c:pt idx="13296">
                  <c:v>497674320</c:v>
                </c:pt>
                <c:pt idx="13297">
                  <c:v>988439760</c:v>
                </c:pt>
                <c:pt idx="13298">
                  <c:v>1956032100</c:v>
                </c:pt>
                <c:pt idx="13299">
                  <c:v>681164496</c:v>
                </c:pt>
                <c:pt idx="13300">
                  <c:v>612566820</c:v>
                </c:pt>
                <c:pt idx="13301">
                  <c:v>861519698</c:v>
                </c:pt>
                <c:pt idx="13302">
                  <c:v>111935460</c:v>
                </c:pt>
                <c:pt idx="13303">
                  <c:v>975242197</c:v>
                </c:pt>
                <c:pt idx="13304">
                  <c:v>1467748532</c:v>
                </c:pt>
                <c:pt idx="13305">
                  <c:v>557134092</c:v>
                </c:pt>
                <c:pt idx="13306">
                  <c:v>858702108</c:v>
                </c:pt>
                <c:pt idx="13307">
                  <c:v>371829236</c:v>
                </c:pt>
                <c:pt idx="13308">
                  <c:v>1019887279</c:v>
                </c:pt>
                <c:pt idx="13309">
                  <c:v>697057816</c:v>
                </c:pt>
                <c:pt idx="13310">
                  <c:v>1292829270</c:v>
                </c:pt>
                <c:pt idx="13311">
                  <c:v>1426271288</c:v>
                </c:pt>
                <c:pt idx="13312">
                  <c:v>1041243684</c:v>
                </c:pt>
                <c:pt idx="13313">
                  <c:v>1029753150</c:v>
                </c:pt>
                <c:pt idx="13314">
                  <c:v>649454908</c:v>
                </c:pt>
                <c:pt idx="13315">
                  <c:v>777853699</c:v>
                </c:pt>
                <c:pt idx="13316">
                  <c:v>1121927964</c:v>
                </c:pt>
                <c:pt idx="13317">
                  <c:v>1028457023</c:v>
                </c:pt>
                <c:pt idx="13318">
                  <c:v>661287774</c:v>
                </c:pt>
                <c:pt idx="13319">
                  <c:v>1356488650</c:v>
                </c:pt>
                <c:pt idx="13320">
                  <c:v>707189250</c:v>
                </c:pt>
                <c:pt idx="13321">
                  <c:v>483452076</c:v>
                </c:pt>
                <c:pt idx="13322">
                  <c:v>326561886</c:v>
                </c:pt>
                <c:pt idx="13323">
                  <c:v>42794408</c:v>
                </c:pt>
                <c:pt idx="13324">
                  <c:v>579202400</c:v>
                </c:pt>
                <c:pt idx="13325">
                  <c:v>1113237578</c:v>
                </c:pt>
                <c:pt idx="13326">
                  <c:v>2147483647</c:v>
                </c:pt>
                <c:pt idx="13327">
                  <c:v>404032463</c:v>
                </c:pt>
                <c:pt idx="13328">
                  <c:v>985814004</c:v>
                </c:pt>
                <c:pt idx="13329">
                  <c:v>513684283</c:v>
                </c:pt>
                <c:pt idx="13330">
                  <c:v>580071138</c:v>
                </c:pt>
                <c:pt idx="13331">
                  <c:v>250537857</c:v>
                </c:pt>
                <c:pt idx="13332">
                  <c:v>1133387200</c:v>
                </c:pt>
                <c:pt idx="13333">
                  <c:v>822811616</c:v>
                </c:pt>
                <c:pt idx="13334">
                  <c:v>557519548</c:v>
                </c:pt>
                <c:pt idx="13335">
                  <c:v>538241044</c:v>
                </c:pt>
                <c:pt idx="13336">
                  <c:v>210825195</c:v>
                </c:pt>
                <c:pt idx="13337">
                  <c:v>35623674</c:v>
                </c:pt>
                <c:pt idx="13338">
                  <c:v>354852256</c:v>
                </c:pt>
                <c:pt idx="13339">
                  <c:v>967020568</c:v>
                </c:pt>
                <c:pt idx="13340">
                  <c:v>2220692</c:v>
                </c:pt>
                <c:pt idx="13341">
                  <c:v>29231019</c:v>
                </c:pt>
                <c:pt idx="13342">
                  <c:v>145976250</c:v>
                </c:pt>
                <c:pt idx="13343">
                  <c:v>27036936</c:v>
                </c:pt>
                <c:pt idx="13344">
                  <c:v>97434443</c:v>
                </c:pt>
                <c:pt idx="13345">
                  <c:v>1433646264</c:v>
                </c:pt>
                <c:pt idx="13346">
                  <c:v>627884005</c:v>
                </c:pt>
                <c:pt idx="13347">
                  <c:v>1178902400</c:v>
                </c:pt>
                <c:pt idx="13348">
                  <c:v>27198028</c:v>
                </c:pt>
                <c:pt idx="13349">
                  <c:v>129596536</c:v>
                </c:pt>
                <c:pt idx="13350">
                  <c:v>1179081442</c:v>
                </c:pt>
                <c:pt idx="13351">
                  <c:v>132246510</c:v>
                </c:pt>
                <c:pt idx="13352">
                  <c:v>814617542</c:v>
                </c:pt>
                <c:pt idx="13353">
                  <c:v>41407266</c:v>
                </c:pt>
                <c:pt idx="13354">
                  <c:v>1030329336</c:v>
                </c:pt>
                <c:pt idx="13355">
                  <c:v>5292093</c:v>
                </c:pt>
                <c:pt idx="13356">
                  <c:v>13656081</c:v>
                </c:pt>
                <c:pt idx="13357">
                  <c:v>1491812</c:v>
                </c:pt>
                <c:pt idx="13358">
                  <c:v>82383200</c:v>
                </c:pt>
                <c:pt idx="13359">
                  <c:v>1438949193</c:v>
                </c:pt>
                <c:pt idx="13360">
                  <c:v>1871180372</c:v>
                </c:pt>
                <c:pt idx="13361">
                  <c:v>104530994</c:v>
                </c:pt>
                <c:pt idx="13362">
                  <c:v>182811616</c:v>
                </c:pt>
                <c:pt idx="13363">
                  <c:v>277463214</c:v>
                </c:pt>
                <c:pt idx="13364">
                  <c:v>336161934</c:v>
                </c:pt>
                <c:pt idx="13365">
                  <c:v>89630685</c:v>
                </c:pt>
                <c:pt idx="13366">
                  <c:v>278595132</c:v>
                </c:pt>
                <c:pt idx="13367">
                  <c:v>309443184</c:v>
                </c:pt>
                <c:pt idx="13368">
                  <c:v>260397834</c:v>
                </c:pt>
                <c:pt idx="13369">
                  <c:v>159729876</c:v>
                </c:pt>
                <c:pt idx="13370">
                  <c:v>158153706</c:v>
                </c:pt>
                <c:pt idx="13371">
                  <c:v>295520709</c:v>
                </c:pt>
                <c:pt idx="13372">
                  <c:v>106811012</c:v>
                </c:pt>
                <c:pt idx="13373">
                  <c:v>1167516000</c:v>
                </c:pt>
                <c:pt idx="13374">
                  <c:v>86524516</c:v>
                </c:pt>
                <c:pt idx="13375">
                  <c:v>89393150</c:v>
                </c:pt>
                <c:pt idx="13376">
                  <c:v>294578772</c:v>
                </c:pt>
                <c:pt idx="13377">
                  <c:v>305082605</c:v>
                </c:pt>
                <c:pt idx="13378">
                  <c:v>4283461</c:v>
                </c:pt>
                <c:pt idx="13379">
                  <c:v>115624405</c:v>
                </c:pt>
                <c:pt idx="13380">
                  <c:v>130427112</c:v>
                </c:pt>
                <c:pt idx="13381">
                  <c:v>1207500480</c:v>
                </c:pt>
                <c:pt idx="13382">
                  <c:v>774133524</c:v>
                </c:pt>
                <c:pt idx="13383">
                  <c:v>575214870</c:v>
                </c:pt>
                <c:pt idx="13384">
                  <c:v>62462628</c:v>
                </c:pt>
                <c:pt idx="13385">
                  <c:v>850659716</c:v>
                </c:pt>
                <c:pt idx="13386">
                  <c:v>701500046</c:v>
                </c:pt>
                <c:pt idx="13387">
                  <c:v>1647288840</c:v>
                </c:pt>
                <c:pt idx="13388">
                  <c:v>37138276</c:v>
                </c:pt>
                <c:pt idx="13389">
                  <c:v>40889709</c:v>
                </c:pt>
                <c:pt idx="13390">
                  <c:v>255441387</c:v>
                </c:pt>
                <c:pt idx="13391">
                  <c:v>97702607</c:v>
                </c:pt>
                <c:pt idx="13392">
                  <c:v>14041040</c:v>
                </c:pt>
                <c:pt idx="13393">
                  <c:v>160169152</c:v>
                </c:pt>
                <c:pt idx="13394">
                  <c:v>77959178</c:v>
                </c:pt>
                <c:pt idx="13395">
                  <c:v>477093470</c:v>
                </c:pt>
                <c:pt idx="13396">
                  <c:v>121106212</c:v>
                </c:pt>
                <c:pt idx="13397">
                  <c:v>98635668</c:v>
                </c:pt>
                <c:pt idx="13398">
                  <c:v>886931280</c:v>
                </c:pt>
                <c:pt idx="13399">
                  <c:v>789926240</c:v>
                </c:pt>
                <c:pt idx="13400">
                  <c:v>346216968</c:v>
                </c:pt>
                <c:pt idx="13401">
                  <c:v>189833315</c:v>
                </c:pt>
                <c:pt idx="13402">
                  <c:v>92061249</c:v>
                </c:pt>
                <c:pt idx="13403">
                  <c:v>139550592</c:v>
                </c:pt>
                <c:pt idx="13404">
                  <c:v>83685888</c:v>
                </c:pt>
                <c:pt idx="13405">
                  <c:v>446822628</c:v>
                </c:pt>
                <c:pt idx="13406">
                  <c:v>156666906</c:v>
                </c:pt>
                <c:pt idx="13407">
                  <c:v>638171100</c:v>
                </c:pt>
                <c:pt idx="13408">
                  <c:v>250048752</c:v>
                </c:pt>
                <c:pt idx="13409">
                  <c:v>337891932</c:v>
                </c:pt>
                <c:pt idx="13410">
                  <c:v>25979200</c:v>
                </c:pt>
                <c:pt idx="13411">
                  <c:v>140868492</c:v>
                </c:pt>
                <c:pt idx="13412">
                  <c:v>122438544</c:v>
                </c:pt>
                <c:pt idx="13413">
                  <c:v>252295350</c:v>
                </c:pt>
                <c:pt idx="13414">
                  <c:v>614420046</c:v>
                </c:pt>
                <c:pt idx="13415">
                  <c:v>434916270</c:v>
                </c:pt>
                <c:pt idx="13416">
                  <c:v>208481676</c:v>
                </c:pt>
                <c:pt idx="13417">
                  <c:v>91585571</c:v>
                </c:pt>
                <c:pt idx="13418">
                  <c:v>198128964</c:v>
                </c:pt>
                <c:pt idx="13419">
                  <c:v>1002640275</c:v>
                </c:pt>
                <c:pt idx="13420">
                  <c:v>383591344</c:v>
                </c:pt>
                <c:pt idx="13421">
                  <c:v>146237952</c:v>
                </c:pt>
                <c:pt idx="13422">
                  <c:v>595229865</c:v>
                </c:pt>
                <c:pt idx="13423">
                  <c:v>462982787</c:v>
                </c:pt>
                <c:pt idx="13424">
                  <c:v>722685600</c:v>
                </c:pt>
                <c:pt idx="13425">
                  <c:v>199587780</c:v>
                </c:pt>
                <c:pt idx="13426">
                  <c:v>601431770</c:v>
                </c:pt>
                <c:pt idx="13427">
                  <c:v>220174871</c:v>
                </c:pt>
                <c:pt idx="13428">
                  <c:v>67095600</c:v>
                </c:pt>
                <c:pt idx="13429">
                  <c:v>562531544</c:v>
                </c:pt>
                <c:pt idx="13430">
                  <c:v>57741608</c:v>
                </c:pt>
                <c:pt idx="13431">
                  <c:v>610630250</c:v>
                </c:pt>
                <c:pt idx="13432">
                  <c:v>164733235</c:v>
                </c:pt>
                <c:pt idx="13433">
                  <c:v>174587161</c:v>
                </c:pt>
                <c:pt idx="13434">
                  <c:v>432822720</c:v>
                </c:pt>
                <c:pt idx="13435">
                  <c:v>136274496</c:v>
                </c:pt>
                <c:pt idx="13436">
                  <c:v>259653552</c:v>
                </c:pt>
                <c:pt idx="13437">
                  <c:v>779970432</c:v>
                </c:pt>
                <c:pt idx="13438">
                  <c:v>25890696</c:v>
                </c:pt>
                <c:pt idx="13439">
                  <c:v>29657458</c:v>
                </c:pt>
                <c:pt idx="13440">
                  <c:v>72591730</c:v>
                </c:pt>
                <c:pt idx="13441">
                  <c:v>510246122</c:v>
                </c:pt>
                <c:pt idx="13442">
                  <c:v>245248626</c:v>
                </c:pt>
                <c:pt idx="13443">
                  <c:v>219259315</c:v>
                </c:pt>
                <c:pt idx="13444">
                  <c:v>76746672</c:v>
                </c:pt>
                <c:pt idx="13445">
                  <c:v>129816762</c:v>
                </c:pt>
                <c:pt idx="13446">
                  <c:v>116410448</c:v>
                </c:pt>
                <c:pt idx="13447">
                  <c:v>84195360</c:v>
                </c:pt>
                <c:pt idx="13448">
                  <c:v>57914560</c:v>
                </c:pt>
                <c:pt idx="13449">
                  <c:v>110417450</c:v>
                </c:pt>
                <c:pt idx="13450">
                  <c:v>73901835</c:v>
                </c:pt>
                <c:pt idx="13451">
                  <c:v>261177120</c:v>
                </c:pt>
                <c:pt idx="13452">
                  <c:v>728084987</c:v>
                </c:pt>
                <c:pt idx="13453">
                  <c:v>431174876</c:v>
                </c:pt>
                <c:pt idx="13454">
                  <c:v>30171262</c:v>
                </c:pt>
                <c:pt idx="13455">
                  <c:v>294445767</c:v>
                </c:pt>
                <c:pt idx="13456">
                  <c:v>41749950</c:v>
                </c:pt>
                <c:pt idx="13457">
                  <c:v>34593639</c:v>
                </c:pt>
                <c:pt idx="13458">
                  <c:v>228982572</c:v>
                </c:pt>
                <c:pt idx="13459">
                  <c:v>14633460</c:v>
                </c:pt>
                <c:pt idx="13460">
                  <c:v>209928625</c:v>
                </c:pt>
                <c:pt idx="13461">
                  <c:v>79396057</c:v>
                </c:pt>
                <c:pt idx="13462">
                  <c:v>67312970</c:v>
                </c:pt>
                <c:pt idx="13463">
                  <c:v>94054268</c:v>
                </c:pt>
                <c:pt idx="13464">
                  <c:v>514774551</c:v>
                </c:pt>
                <c:pt idx="13465">
                  <c:v>35985696</c:v>
                </c:pt>
                <c:pt idx="13466">
                  <c:v>195914286</c:v>
                </c:pt>
                <c:pt idx="13467">
                  <c:v>71291577</c:v>
                </c:pt>
                <c:pt idx="13468">
                  <c:v>23013120</c:v>
                </c:pt>
                <c:pt idx="13469">
                  <c:v>322185198</c:v>
                </c:pt>
                <c:pt idx="13470">
                  <c:v>69548661</c:v>
                </c:pt>
                <c:pt idx="13471">
                  <c:v>48402512</c:v>
                </c:pt>
                <c:pt idx="13472">
                  <c:v>128410425</c:v>
                </c:pt>
                <c:pt idx="13473">
                  <c:v>117543780</c:v>
                </c:pt>
                <c:pt idx="13474">
                  <c:v>43416036</c:v>
                </c:pt>
                <c:pt idx="13475">
                  <c:v>131797260</c:v>
                </c:pt>
                <c:pt idx="13476">
                  <c:v>135368730</c:v>
                </c:pt>
                <c:pt idx="13477">
                  <c:v>47657943</c:v>
                </c:pt>
                <c:pt idx="13478">
                  <c:v>229946841</c:v>
                </c:pt>
                <c:pt idx="13479">
                  <c:v>112412052</c:v>
                </c:pt>
                <c:pt idx="13480">
                  <c:v>34547010</c:v>
                </c:pt>
                <c:pt idx="13481">
                  <c:v>11106976</c:v>
                </c:pt>
                <c:pt idx="13482">
                  <c:v>279121005</c:v>
                </c:pt>
                <c:pt idx="13483">
                  <c:v>154684392</c:v>
                </c:pt>
                <c:pt idx="13484">
                  <c:v>1206981998</c:v>
                </c:pt>
                <c:pt idx="13485">
                  <c:v>631269768</c:v>
                </c:pt>
                <c:pt idx="13486">
                  <c:v>379714230</c:v>
                </c:pt>
                <c:pt idx="13487">
                  <c:v>396508140</c:v>
                </c:pt>
                <c:pt idx="13488">
                  <c:v>496993570</c:v>
                </c:pt>
                <c:pt idx="13489">
                  <c:v>240028389</c:v>
                </c:pt>
                <c:pt idx="13490">
                  <c:v>896019540</c:v>
                </c:pt>
                <c:pt idx="13491">
                  <c:v>778593540</c:v>
                </c:pt>
                <c:pt idx="13492">
                  <c:v>354291215</c:v>
                </c:pt>
                <c:pt idx="13493">
                  <c:v>686640815</c:v>
                </c:pt>
                <c:pt idx="13494">
                  <c:v>273044814</c:v>
                </c:pt>
                <c:pt idx="13495">
                  <c:v>982334483</c:v>
                </c:pt>
                <c:pt idx="13496">
                  <c:v>1188354075</c:v>
                </c:pt>
                <c:pt idx="13497">
                  <c:v>1263628975</c:v>
                </c:pt>
                <c:pt idx="13498">
                  <c:v>1133621007</c:v>
                </c:pt>
                <c:pt idx="13499">
                  <c:v>1105911456</c:v>
                </c:pt>
                <c:pt idx="13500">
                  <c:v>81904440</c:v>
                </c:pt>
                <c:pt idx="13501">
                  <c:v>55612800</c:v>
                </c:pt>
                <c:pt idx="13502">
                  <c:v>47401379</c:v>
                </c:pt>
                <c:pt idx="13503">
                  <c:v>72384000</c:v>
                </c:pt>
                <c:pt idx="13504">
                  <c:v>21441996</c:v>
                </c:pt>
                <c:pt idx="13505">
                  <c:v>50371300</c:v>
                </c:pt>
                <c:pt idx="13506">
                  <c:v>52689624</c:v>
                </c:pt>
                <c:pt idx="13507">
                  <c:v>36592826</c:v>
                </c:pt>
                <c:pt idx="13508">
                  <c:v>242246272</c:v>
                </c:pt>
                <c:pt idx="13509">
                  <c:v>42798516</c:v>
                </c:pt>
                <c:pt idx="13510">
                  <c:v>123344640</c:v>
                </c:pt>
                <c:pt idx="13511">
                  <c:v>87779121</c:v>
                </c:pt>
                <c:pt idx="13512">
                  <c:v>3633630</c:v>
                </c:pt>
                <c:pt idx="13513">
                  <c:v>5500872</c:v>
                </c:pt>
                <c:pt idx="13514">
                  <c:v>99099000</c:v>
                </c:pt>
                <c:pt idx="13515">
                  <c:v>159715255</c:v>
                </c:pt>
                <c:pt idx="13516">
                  <c:v>203691010</c:v>
                </c:pt>
                <c:pt idx="13517">
                  <c:v>67175424</c:v>
                </c:pt>
                <c:pt idx="13518">
                  <c:v>49310484</c:v>
                </c:pt>
                <c:pt idx="13519">
                  <c:v>80062080</c:v>
                </c:pt>
                <c:pt idx="13520">
                  <c:v>24937735</c:v>
                </c:pt>
                <c:pt idx="13521">
                  <c:v>4069395</c:v>
                </c:pt>
                <c:pt idx="13522">
                  <c:v>723102365</c:v>
                </c:pt>
                <c:pt idx="13523">
                  <c:v>10869531</c:v>
                </c:pt>
                <c:pt idx="13524">
                  <c:v>42250440</c:v>
                </c:pt>
                <c:pt idx="13525">
                  <c:v>549092775</c:v>
                </c:pt>
                <c:pt idx="13526">
                  <c:v>462405105</c:v>
                </c:pt>
                <c:pt idx="13527">
                  <c:v>12144621</c:v>
                </c:pt>
                <c:pt idx="13528">
                  <c:v>22408908</c:v>
                </c:pt>
                <c:pt idx="13529">
                  <c:v>12824948</c:v>
                </c:pt>
                <c:pt idx="13530">
                  <c:v>27748330</c:v>
                </c:pt>
                <c:pt idx="13531">
                  <c:v>214260218</c:v>
                </c:pt>
                <c:pt idx="13532">
                  <c:v>557349777</c:v>
                </c:pt>
                <c:pt idx="13533">
                  <c:v>41857662</c:v>
                </c:pt>
                <c:pt idx="13534">
                  <c:v>422127506</c:v>
                </c:pt>
                <c:pt idx="13535">
                  <c:v>60577723</c:v>
                </c:pt>
                <c:pt idx="13536">
                  <c:v>184034292</c:v>
                </c:pt>
                <c:pt idx="13537">
                  <c:v>72414328</c:v>
                </c:pt>
                <c:pt idx="13538">
                  <c:v>24855138</c:v>
                </c:pt>
                <c:pt idx="13539">
                  <c:v>49577968</c:v>
                </c:pt>
                <c:pt idx="13540">
                  <c:v>33959928</c:v>
                </c:pt>
                <c:pt idx="13541">
                  <c:v>17314723</c:v>
                </c:pt>
                <c:pt idx="13542">
                  <c:v>129688668</c:v>
                </c:pt>
                <c:pt idx="13543">
                  <c:v>19029950</c:v>
                </c:pt>
                <c:pt idx="13544">
                  <c:v>46753807</c:v>
                </c:pt>
                <c:pt idx="13545">
                  <c:v>499444736</c:v>
                </c:pt>
                <c:pt idx="13546">
                  <c:v>67843644</c:v>
                </c:pt>
                <c:pt idx="13547">
                  <c:v>170834066</c:v>
                </c:pt>
                <c:pt idx="13548">
                  <c:v>317107344</c:v>
                </c:pt>
                <c:pt idx="13549">
                  <c:v>37743025</c:v>
                </c:pt>
                <c:pt idx="13550">
                  <c:v>2493504</c:v>
                </c:pt>
                <c:pt idx="13551">
                  <c:v>430237185</c:v>
                </c:pt>
                <c:pt idx="13552">
                  <c:v>22528929</c:v>
                </c:pt>
                <c:pt idx="13553">
                  <c:v>316264500</c:v>
                </c:pt>
                <c:pt idx="13554">
                  <c:v>27359874</c:v>
                </c:pt>
                <c:pt idx="13555">
                  <c:v>22698181</c:v>
                </c:pt>
                <c:pt idx="13556">
                  <c:v>122005526</c:v>
                </c:pt>
                <c:pt idx="13557">
                  <c:v>26483600</c:v>
                </c:pt>
                <c:pt idx="13558">
                  <c:v>135295865</c:v>
                </c:pt>
                <c:pt idx="13559">
                  <c:v>62273008</c:v>
                </c:pt>
                <c:pt idx="13560">
                  <c:v>76056240</c:v>
                </c:pt>
                <c:pt idx="13561">
                  <c:v>737051624</c:v>
                </c:pt>
                <c:pt idx="13562">
                  <c:v>66044293</c:v>
                </c:pt>
                <c:pt idx="13563">
                  <c:v>194459040</c:v>
                </c:pt>
                <c:pt idx="13564">
                  <c:v>120458650</c:v>
                </c:pt>
                <c:pt idx="13565">
                  <c:v>2821696</c:v>
                </c:pt>
                <c:pt idx="13566">
                  <c:v>4658999</c:v>
                </c:pt>
                <c:pt idx="13567">
                  <c:v>43172262</c:v>
                </c:pt>
                <c:pt idx="13568">
                  <c:v>124786800</c:v>
                </c:pt>
                <c:pt idx="13569">
                  <c:v>18900576</c:v>
                </c:pt>
                <c:pt idx="13570">
                  <c:v>158664079</c:v>
                </c:pt>
                <c:pt idx="13571">
                  <c:v>208131954</c:v>
                </c:pt>
                <c:pt idx="13572">
                  <c:v>122993118</c:v>
                </c:pt>
                <c:pt idx="13573">
                  <c:v>137272904</c:v>
                </c:pt>
                <c:pt idx="13574">
                  <c:v>233982894</c:v>
                </c:pt>
                <c:pt idx="13575">
                  <c:v>136242090</c:v>
                </c:pt>
                <c:pt idx="13576">
                  <c:v>142472868</c:v>
                </c:pt>
                <c:pt idx="13577">
                  <c:v>55366001</c:v>
                </c:pt>
                <c:pt idx="13578">
                  <c:v>13649948</c:v>
                </c:pt>
                <c:pt idx="13579">
                  <c:v>565075332</c:v>
                </c:pt>
                <c:pt idx="13580">
                  <c:v>504171418</c:v>
                </c:pt>
                <c:pt idx="13581">
                  <c:v>13677174</c:v>
                </c:pt>
                <c:pt idx="13582">
                  <c:v>81387908</c:v>
                </c:pt>
                <c:pt idx="13583">
                  <c:v>7540065</c:v>
                </c:pt>
                <c:pt idx="13584">
                  <c:v>130181400</c:v>
                </c:pt>
                <c:pt idx="13585">
                  <c:v>73914000</c:v>
                </c:pt>
                <c:pt idx="13586">
                  <c:v>533349124</c:v>
                </c:pt>
                <c:pt idx="13587">
                  <c:v>26391764</c:v>
                </c:pt>
                <c:pt idx="13588">
                  <c:v>430288440</c:v>
                </c:pt>
                <c:pt idx="13589">
                  <c:v>188251020</c:v>
                </c:pt>
                <c:pt idx="13590">
                  <c:v>36535456</c:v>
                </c:pt>
                <c:pt idx="13591">
                  <c:v>139941126</c:v>
                </c:pt>
                <c:pt idx="13592">
                  <c:v>505124016</c:v>
                </c:pt>
                <c:pt idx="13593">
                  <c:v>1411098835</c:v>
                </c:pt>
                <c:pt idx="13594">
                  <c:v>32967198</c:v>
                </c:pt>
                <c:pt idx="13595">
                  <c:v>149305660</c:v>
                </c:pt>
                <c:pt idx="13596">
                  <c:v>36960928</c:v>
                </c:pt>
                <c:pt idx="13597">
                  <c:v>143529672</c:v>
                </c:pt>
                <c:pt idx="13598">
                  <c:v>57847572</c:v>
                </c:pt>
                <c:pt idx="13599">
                  <c:v>62613871</c:v>
                </c:pt>
                <c:pt idx="13600">
                  <c:v>16107364</c:v>
                </c:pt>
                <c:pt idx="13601">
                  <c:v>124841526</c:v>
                </c:pt>
                <c:pt idx="13602">
                  <c:v>51107264</c:v>
                </c:pt>
                <c:pt idx="13603">
                  <c:v>30865106</c:v>
                </c:pt>
                <c:pt idx="13604">
                  <c:v>1424560014</c:v>
                </c:pt>
                <c:pt idx="13605">
                  <c:v>1638908</c:v>
                </c:pt>
                <c:pt idx="13606">
                  <c:v>92182869</c:v>
                </c:pt>
                <c:pt idx="13607">
                  <c:v>13154240</c:v>
                </c:pt>
                <c:pt idx="13608">
                  <c:v>30902134</c:v>
                </c:pt>
                <c:pt idx="13609">
                  <c:v>93926424</c:v>
                </c:pt>
                <c:pt idx="13610">
                  <c:v>198838059</c:v>
                </c:pt>
                <c:pt idx="13611">
                  <c:v>34406091</c:v>
                </c:pt>
                <c:pt idx="13612">
                  <c:v>360262284</c:v>
                </c:pt>
                <c:pt idx="13613">
                  <c:v>356177368</c:v>
                </c:pt>
                <c:pt idx="13614">
                  <c:v>666508191</c:v>
                </c:pt>
                <c:pt idx="13615">
                  <c:v>49196752</c:v>
                </c:pt>
                <c:pt idx="13616">
                  <c:v>1652158602</c:v>
                </c:pt>
                <c:pt idx="13617">
                  <c:v>962659544</c:v>
                </c:pt>
                <c:pt idx="13618">
                  <c:v>167917917</c:v>
                </c:pt>
                <c:pt idx="13619">
                  <c:v>9263538</c:v>
                </c:pt>
                <c:pt idx="13620">
                  <c:v>10667904</c:v>
                </c:pt>
                <c:pt idx="13621">
                  <c:v>39915408</c:v>
                </c:pt>
                <c:pt idx="13622">
                  <c:v>65355721</c:v>
                </c:pt>
                <c:pt idx="13623">
                  <c:v>50012920</c:v>
                </c:pt>
                <c:pt idx="13624">
                  <c:v>18122454</c:v>
                </c:pt>
                <c:pt idx="13625">
                  <c:v>59543011</c:v>
                </c:pt>
                <c:pt idx="13626">
                  <c:v>48305424</c:v>
                </c:pt>
                <c:pt idx="13627">
                  <c:v>38618965</c:v>
                </c:pt>
                <c:pt idx="13628">
                  <c:v>654752080</c:v>
                </c:pt>
                <c:pt idx="13629">
                  <c:v>136317204</c:v>
                </c:pt>
                <c:pt idx="13630">
                  <c:v>15622654</c:v>
                </c:pt>
                <c:pt idx="13631">
                  <c:v>115605538</c:v>
                </c:pt>
                <c:pt idx="13632">
                  <c:v>4121580</c:v>
                </c:pt>
                <c:pt idx="13633">
                  <c:v>677865331</c:v>
                </c:pt>
                <c:pt idx="13634">
                  <c:v>40392876</c:v>
                </c:pt>
                <c:pt idx="13635">
                  <c:v>4196597</c:v>
                </c:pt>
                <c:pt idx="13636">
                  <c:v>41684328</c:v>
                </c:pt>
                <c:pt idx="13637">
                  <c:v>547701312</c:v>
                </c:pt>
                <c:pt idx="13638">
                  <c:v>45334830</c:v>
                </c:pt>
                <c:pt idx="13639">
                  <c:v>79362360</c:v>
                </c:pt>
                <c:pt idx="13640">
                  <c:v>904611072</c:v>
                </c:pt>
                <c:pt idx="13641">
                  <c:v>25407486</c:v>
                </c:pt>
                <c:pt idx="13642">
                  <c:v>40612671</c:v>
                </c:pt>
                <c:pt idx="13643">
                  <c:v>4822727</c:v>
                </c:pt>
                <c:pt idx="13644">
                  <c:v>123450188</c:v>
                </c:pt>
                <c:pt idx="13645">
                  <c:v>560366514</c:v>
                </c:pt>
                <c:pt idx="13646">
                  <c:v>536266071</c:v>
                </c:pt>
                <c:pt idx="13647">
                  <c:v>1035969649</c:v>
                </c:pt>
                <c:pt idx="13648">
                  <c:v>67383575</c:v>
                </c:pt>
                <c:pt idx="13649">
                  <c:v>117030659</c:v>
                </c:pt>
                <c:pt idx="13650">
                  <c:v>3561816</c:v>
                </c:pt>
                <c:pt idx="13651">
                  <c:v>14304973</c:v>
                </c:pt>
                <c:pt idx="13652">
                  <c:v>36368706</c:v>
                </c:pt>
                <c:pt idx="13653">
                  <c:v>139309932</c:v>
                </c:pt>
                <c:pt idx="13654">
                  <c:v>166893152</c:v>
                </c:pt>
                <c:pt idx="13655">
                  <c:v>566950439</c:v>
                </c:pt>
                <c:pt idx="13656">
                  <c:v>105326235</c:v>
                </c:pt>
                <c:pt idx="13657">
                  <c:v>16591125</c:v>
                </c:pt>
                <c:pt idx="13658">
                  <c:v>65747612</c:v>
                </c:pt>
                <c:pt idx="13659">
                  <c:v>3374721</c:v>
                </c:pt>
                <c:pt idx="13660">
                  <c:v>69091056</c:v>
                </c:pt>
                <c:pt idx="13661">
                  <c:v>11687130</c:v>
                </c:pt>
                <c:pt idx="13662">
                  <c:v>91185790</c:v>
                </c:pt>
                <c:pt idx="13663">
                  <c:v>96335360</c:v>
                </c:pt>
                <c:pt idx="13664">
                  <c:v>62942109</c:v>
                </c:pt>
                <c:pt idx="13665">
                  <c:v>3795635</c:v>
                </c:pt>
                <c:pt idx="13666">
                  <c:v>41793057</c:v>
                </c:pt>
                <c:pt idx="13667">
                  <c:v>104854750</c:v>
                </c:pt>
                <c:pt idx="13668">
                  <c:v>222559830</c:v>
                </c:pt>
                <c:pt idx="13669">
                  <c:v>10323456</c:v>
                </c:pt>
                <c:pt idx="13670">
                  <c:v>17525106</c:v>
                </c:pt>
                <c:pt idx="13671">
                  <c:v>160341756</c:v>
                </c:pt>
                <c:pt idx="13672">
                  <c:v>37872809</c:v>
                </c:pt>
                <c:pt idx="13673">
                  <c:v>84902800</c:v>
                </c:pt>
                <c:pt idx="13674">
                  <c:v>183131280</c:v>
                </c:pt>
                <c:pt idx="13675">
                  <c:v>20885001</c:v>
                </c:pt>
                <c:pt idx="13676">
                  <c:v>26065353</c:v>
                </c:pt>
                <c:pt idx="13677">
                  <c:v>96703270</c:v>
                </c:pt>
                <c:pt idx="13678">
                  <c:v>37906048</c:v>
                </c:pt>
                <c:pt idx="13679">
                  <c:v>6271104</c:v>
                </c:pt>
                <c:pt idx="13680">
                  <c:v>688232685</c:v>
                </c:pt>
                <c:pt idx="13681">
                  <c:v>58145280</c:v>
                </c:pt>
                <c:pt idx="13682">
                  <c:v>40326074</c:v>
                </c:pt>
                <c:pt idx="13683">
                  <c:v>3930180</c:v>
                </c:pt>
                <c:pt idx="13684">
                  <c:v>349375400</c:v>
                </c:pt>
                <c:pt idx="13685">
                  <c:v>51960960</c:v>
                </c:pt>
                <c:pt idx="13686">
                  <c:v>1188601344</c:v>
                </c:pt>
                <c:pt idx="13687">
                  <c:v>41771542</c:v>
                </c:pt>
                <c:pt idx="13688">
                  <c:v>3840177</c:v>
                </c:pt>
                <c:pt idx="13689">
                  <c:v>2944008</c:v>
                </c:pt>
                <c:pt idx="13690">
                  <c:v>88656810</c:v>
                </c:pt>
                <c:pt idx="13691">
                  <c:v>54849960</c:v>
                </c:pt>
                <c:pt idx="13692">
                  <c:v>56993897</c:v>
                </c:pt>
                <c:pt idx="13693">
                  <c:v>53303588</c:v>
                </c:pt>
                <c:pt idx="13694">
                  <c:v>16267440</c:v>
                </c:pt>
                <c:pt idx="13695">
                  <c:v>9416044</c:v>
                </c:pt>
                <c:pt idx="13696">
                  <c:v>122552924</c:v>
                </c:pt>
                <c:pt idx="13697">
                  <c:v>41853218</c:v>
                </c:pt>
                <c:pt idx="13698">
                  <c:v>249740826</c:v>
                </c:pt>
                <c:pt idx="13699">
                  <c:v>258946164</c:v>
                </c:pt>
                <c:pt idx="13700">
                  <c:v>1580130656</c:v>
                </c:pt>
                <c:pt idx="13701">
                  <c:v>1029258209</c:v>
                </c:pt>
                <c:pt idx="13702">
                  <c:v>700800998</c:v>
                </c:pt>
                <c:pt idx="13703">
                  <c:v>553847752</c:v>
                </c:pt>
                <c:pt idx="13704">
                  <c:v>871700214</c:v>
                </c:pt>
                <c:pt idx="13705">
                  <c:v>229307746</c:v>
                </c:pt>
                <c:pt idx="13706">
                  <c:v>277907148</c:v>
                </c:pt>
                <c:pt idx="13707">
                  <c:v>40545960</c:v>
                </c:pt>
                <c:pt idx="13708">
                  <c:v>120644188</c:v>
                </c:pt>
                <c:pt idx="13709">
                  <c:v>82104679</c:v>
                </c:pt>
                <c:pt idx="13710">
                  <c:v>41246340</c:v>
                </c:pt>
                <c:pt idx="13711">
                  <c:v>90332022</c:v>
                </c:pt>
                <c:pt idx="13712">
                  <c:v>253509399</c:v>
                </c:pt>
                <c:pt idx="13713">
                  <c:v>35200165</c:v>
                </c:pt>
                <c:pt idx="13714">
                  <c:v>225566880</c:v>
                </c:pt>
                <c:pt idx="13715">
                  <c:v>255199490</c:v>
                </c:pt>
                <c:pt idx="13716">
                  <c:v>8196300</c:v>
                </c:pt>
                <c:pt idx="13717">
                  <c:v>38533716</c:v>
                </c:pt>
                <c:pt idx="13718">
                  <c:v>139242920</c:v>
                </c:pt>
                <c:pt idx="13719">
                  <c:v>12402600</c:v>
                </c:pt>
                <c:pt idx="13720">
                  <c:v>226584061</c:v>
                </c:pt>
                <c:pt idx="13721">
                  <c:v>38251010</c:v>
                </c:pt>
                <c:pt idx="13722">
                  <c:v>142975923</c:v>
                </c:pt>
                <c:pt idx="13723">
                  <c:v>305665542</c:v>
                </c:pt>
                <c:pt idx="13724">
                  <c:v>151520556</c:v>
                </c:pt>
                <c:pt idx="13725">
                  <c:v>10227830</c:v>
                </c:pt>
                <c:pt idx="13726">
                  <c:v>8915616</c:v>
                </c:pt>
                <c:pt idx="13727">
                  <c:v>47187986</c:v>
                </c:pt>
                <c:pt idx="13728">
                  <c:v>44030884</c:v>
                </c:pt>
                <c:pt idx="13729">
                  <c:v>43972992</c:v>
                </c:pt>
                <c:pt idx="13730">
                  <c:v>114866660</c:v>
                </c:pt>
                <c:pt idx="13731">
                  <c:v>457210460</c:v>
                </c:pt>
                <c:pt idx="13732">
                  <c:v>118602981</c:v>
                </c:pt>
                <c:pt idx="13733">
                  <c:v>40911072</c:v>
                </c:pt>
                <c:pt idx="13734">
                  <c:v>12659316</c:v>
                </c:pt>
                <c:pt idx="13735">
                  <c:v>24527448</c:v>
                </c:pt>
                <c:pt idx="13736">
                  <c:v>40936794</c:v>
                </c:pt>
                <c:pt idx="13737">
                  <c:v>20701745</c:v>
                </c:pt>
                <c:pt idx="13738">
                  <c:v>67997760</c:v>
                </c:pt>
                <c:pt idx="13739">
                  <c:v>31156488</c:v>
                </c:pt>
                <c:pt idx="13740">
                  <c:v>8148593</c:v>
                </c:pt>
                <c:pt idx="13741">
                  <c:v>90864099</c:v>
                </c:pt>
                <c:pt idx="13742">
                  <c:v>23021901</c:v>
                </c:pt>
                <c:pt idx="13743">
                  <c:v>7368075</c:v>
                </c:pt>
                <c:pt idx="13744">
                  <c:v>67615443</c:v>
                </c:pt>
                <c:pt idx="13745">
                  <c:v>11378169</c:v>
                </c:pt>
                <c:pt idx="13746">
                  <c:v>29384671</c:v>
                </c:pt>
                <c:pt idx="13747">
                  <c:v>29238948</c:v>
                </c:pt>
                <c:pt idx="13748">
                  <c:v>139187636</c:v>
                </c:pt>
                <c:pt idx="13749">
                  <c:v>14457946</c:v>
                </c:pt>
                <c:pt idx="13750">
                  <c:v>24431885</c:v>
                </c:pt>
                <c:pt idx="13751">
                  <c:v>33417648</c:v>
                </c:pt>
                <c:pt idx="13752">
                  <c:v>271451817</c:v>
                </c:pt>
                <c:pt idx="13753">
                  <c:v>757504350</c:v>
                </c:pt>
                <c:pt idx="13754">
                  <c:v>17987656</c:v>
                </c:pt>
                <c:pt idx="13755">
                  <c:v>19818088</c:v>
                </c:pt>
                <c:pt idx="13756">
                  <c:v>223742088</c:v>
                </c:pt>
                <c:pt idx="13757">
                  <c:v>150026108</c:v>
                </c:pt>
                <c:pt idx="13758">
                  <c:v>41121918</c:v>
                </c:pt>
                <c:pt idx="13759">
                  <c:v>111586582</c:v>
                </c:pt>
                <c:pt idx="13760">
                  <c:v>43274925</c:v>
                </c:pt>
                <c:pt idx="13761">
                  <c:v>158811250</c:v>
                </c:pt>
                <c:pt idx="13762">
                  <c:v>43735944</c:v>
                </c:pt>
                <c:pt idx="13763">
                  <c:v>176213255</c:v>
                </c:pt>
                <c:pt idx="13764">
                  <c:v>13279168</c:v>
                </c:pt>
                <c:pt idx="13765">
                  <c:v>41553585</c:v>
                </c:pt>
                <c:pt idx="13766">
                  <c:v>12721336</c:v>
                </c:pt>
                <c:pt idx="13767">
                  <c:v>34878148</c:v>
                </c:pt>
                <c:pt idx="13768">
                  <c:v>16741769</c:v>
                </c:pt>
                <c:pt idx="13769">
                  <c:v>110165496</c:v>
                </c:pt>
                <c:pt idx="13770">
                  <c:v>90894020</c:v>
                </c:pt>
                <c:pt idx="13771">
                  <c:v>4239675</c:v>
                </c:pt>
                <c:pt idx="13772">
                  <c:v>15846013</c:v>
                </c:pt>
                <c:pt idx="13773">
                  <c:v>315791762</c:v>
                </c:pt>
                <c:pt idx="13774">
                  <c:v>21370615</c:v>
                </c:pt>
                <c:pt idx="13775">
                  <c:v>12947200</c:v>
                </c:pt>
                <c:pt idx="13776">
                  <c:v>751913604</c:v>
                </c:pt>
                <c:pt idx="13777">
                  <c:v>22771177</c:v>
                </c:pt>
                <c:pt idx="13778">
                  <c:v>82679293</c:v>
                </c:pt>
                <c:pt idx="13779">
                  <c:v>481646890</c:v>
                </c:pt>
                <c:pt idx="13780">
                  <c:v>136048380</c:v>
                </c:pt>
                <c:pt idx="13781">
                  <c:v>22632999</c:v>
                </c:pt>
                <c:pt idx="13782">
                  <c:v>15983275</c:v>
                </c:pt>
                <c:pt idx="13783">
                  <c:v>120314324</c:v>
                </c:pt>
                <c:pt idx="13784">
                  <c:v>56181041</c:v>
                </c:pt>
                <c:pt idx="13785">
                  <c:v>7050688</c:v>
                </c:pt>
                <c:pt idx="13786">
                  <c:v>56428959</c:v>
                </c:pt>
                <c:pt idx="13787">
                  <c:v>439819314</c:v>
                </c:pt>
                <c:pt idx="13788">
                  <c:v>1824317089</c:v>
                </c:pt>
                <c:pt idx="13789">
                  <c:v>64372601</c:v>
                </c:pt>
                <c:pt idx="13790">
                  <c:v>65563230</c:v>
                </c:pt>
                <c:pt idx="13791">
                  <c:v>58340898</c:v>
                </c:pt>
                <c:pt idx="13792">
                  <c:v>156256247</c:v>
                </c:pt>
                <c:pt idx="13793">
                  <c:v>41917184</c:v>
                </c:pt>
                <c:pt idx="13794">
                  <c:v>110926275</c:v>
                </c:pt>
                <c:pt idx="13795">
                  <c:v>22288320</c:v>
                </c:pt>
                <c:pt idx="13796">
                  <c:v>131709510</c:v>
                </c:pt>
                <c:pt idx="13797">
                  <c:v>33664950</c:v>
                </c:pt>
                <c:pt idx="13798">
                  <c:v>123340290</c:v>
                </c:pt>
                <c:pt idx="13799">
                  <c:v>124092189</c:v>
                </c:pt>
                <c:pt idx="13800">
                  <c:v>37098885</c:v>
                </c:pt>
                <c:pt idx="13801">
                  <c:v>317746108</c:v>
                </c:pt>
                <c:pt idx="13802">
                  <c:v>2216484</c:v>
                </c:pt>
                <c:pt idx="13803">
                  <c:v>36945216</c:v>
                </c:pt>
                <c:pt idx="13804">
                  <c:v>452569407</c:v>
                </c:pt>
                <c:pt idx="13805">
                  <c:v>1000750140</c:v>
                </c:pt>
                <c:pt idx="13806">
                  <c:v>719548932</c:v>
                </c:pt>
                <c:pt idx="13807">
                  <c:v>179729425</c:v>
                </c:pt>
                <c:pt idx="13808">
                  <c:v>864937425</c:v>
                </c:pt>
                <c:pt idx="13809">
                  <c:v>993038090</c:v>
                </c:pt>
                <c:pt idx="13810">
                  <c:v>579669316</c:v>
                </c:pt>
                <c:pt idx="13811">
                  <c:v>903339728</c:v>
                </c:pt>
                <c:pt idx="13812">
                  <c:v>972715352</c:v>
                </c:pt>
                <c:pt idx="13813">
                  <c:v>676298096</c:v>
                </c:pt>
                <c:pt idx="13814">
                  <c:v>233188578</c:v>
                </c:pt>
                <c:pt idx="13815">
                  <c:v>391201104</c:v>
                </c:pt>
                <c:pt idx="13816">
                  <c:v>182361714</c:v>
                </c:pt>
                <c:pt idx="13817">
                  <c:v>45360641</c:v>
                </c:pt>
                <c:pt idx="13818">
                  <c:v>29040558</c:v>
                </c:pt>
                <c:pt idx="13819">
                  <c:v>628131128</c:v>
                </c:pt>
                <c:pt idx="13820">
                  <c:v>25433640</c:v>
                </c:pt>
                <c:pt idx="13821">
                  <c:v>58477206</c:v>
                </c:pt>
                <c:pt idx="13822">
                  <c:v>68442066</c:v>
                </c:pt>
                <c:pt idx="13823">
                  <c:v>60652704</c:v>
                </c:pt>
                <c:pt idx="13824">
                  <c:v>272128122</c:v>
                </c:pt>
                <c:pt idx="13825">
                  <c:v>20099275</c:v>
                </c:pt>
                <c:pt idx="13826">
                  <c:v>27833904</c:v>
                </c:pt>
                <c:pt idx="13827">
                  <c:v>38192991</c:v>
                </c:pt>
                <c:pt idx="13828">
                  <c:v>13998780</c:v>
                </c:pt>
                <c:pt idx="13829">
                  <c:v>59717330</c:v>
                </c:pt>
                <c:pt idx="13830">
                  <c:v>5994516</c:v>
                </c:pt>
                <c:pt idx="13831">
                  <c:v>22010752</c:v>
                </c:pt>
                <c:pt idx="13832">
                  <c:v>18298168</c:v>
                </c:pt>
                <c:pt idx="13833">
                  <c:v>6948165</c:v>
                </c:pt>
                <c:pt idx="13834">
                  <c:v>41092284</c:v>
                </c:pt>
                <c:pt idx="13835">
                  <c:v>21773035</c:v>
                </c:pt>
                <c:pt idx="13836">
                  <c:v>7996552</c:v>
                </c:pt>
                <c:pt idx="13837">
                  <c:v>13415850</c:v>
                </c:pt>
                <c:pt idx="13838">
                  <c:v>35287075</c:v>
                </c:pt>
                <c:pt idx="13839">
                  <c:v>17308032</c:v>
                </c:pt>
                <c:pt idx="13840">
                  <c:v>68900076</c:v>
                </c:pt>
                <c:pt idx="13841">
                  <c:v>10864770</c:v>
                </c:pt>
                <c:pt idx="13842">
                  <c:v>162486704</c:v>
                </c:pt>
                <c:pt idx="13843">
                  <c:v>89353044</c:v>
                </c:pt>
                <c:pt idx="13844">
                  <c:v>75399390</c:v>
                </c:pt>
                <c:pt idx="13845">
                  <c:v>4267725</c:v>
                </c:pt>
                <c:pt idx="13846">
                  <c:v>199253712</c:v>
                </c:pt>
                <c:pt idx="13847">
                  <c:v>9194176</c:v>
                </c:pt>
                <c:pt idx="13848">
                  <c:v>270455780</c:v>
                </c:pt>
                <c:pt idx="13849">
                  <c:v>153498272</c:v>
                </c:pt>
                <c:pt idx="13850">
                  <c:v>374777303</c:v>
                </c:pt>
                <c:pt idx="13851">
                  <c:v>1332547616</c:v>
                </c:pt>
                <c:pt idx="13852">
                  <c:v>1857487856</c:v>
                </c:pt>
                <c:pt idx="13853">
                  <c:v>1297550620</c:v>
                </c:pt>
                <c:pt idx="13854">
                  <c:v>17605659</c:v>
                </c:pt>
                <c:pt idx="13855">
                  <c:v>151579512</c:v>
                </c:pt>
                <c:pt idx="13856">
                  <c:v>96309668</c:v>
                </c:pt>
                <c:pt idx="13857">
                  <c:v>33455493</c:v>
                </c:pt>
                <c:pt idx="13858">
                  <c:v>32278580</c:v>
                </c:pt>
                <c:pt idx="13859">
                  <c:v>102581397</c:v>
                </c:pt>
                <c:pt idx="13860">
                  <c:v>29045952</c:v>
                </c:pt>
                <c:pt idx="13861">
                  <c:v>44966310</c:v>
                </c:pt>
                <c:pt idx="13862">
                  <c:v>18597519</c:v>
                </c:pt>
                <c:pt idx="13863">
                  <c:v>34344039</c:v>
                </c:pt>
                <c:pt idx="13864">
                  <c:v>153485255</c:v>
                </c:pt>
                <c:pt idx="13865">
                  <c:v>847154472</c:v>
                </c:pt>
                <c:pt idx="13866">
                  <c:v>44126790</c:v>
                </c:pt>
                <c:pt idx="13867">
                  <c:v>38931970</c:v>
                </c:pt>
                <c:pt idx="13868">
                  <c:v>26345682</c:v>
                </c:pt>
                <c:pt idx="13869">
                  <c:v>14014120</c:v>
                </c:pt>
                <c:pt idx="13870">
                  <c:v>88594884</c:v>
                </c:pt>
                <c:pt idx="13871">
                  <c:v>55553511</c:v>
                </c:pt>
                <c:pt idx="13872">
                  <c:v>37887072</c:v>
                </c:pt>
                <c:pt idx="13873">
                  <c:v>35546330</c:v>
                </c:pt>
                <c:pt idx="13874">
                  <c:v>16593192</c:v>
                </c:pt>
                <c:pt idx="13875">
                  <c:v>37428252</c:v>
                </c:pt>
                <c:pt idx="13876">
                  <c:v>69257700</c:v>
                </c:pt>
                <c:pt idx="13877">
                  <c:v>62905612</c:v>
                </c:pt>
                <c:pt idx="13878">
                  <c:v>71892678</c:v>
                </c:pt>
                <c:pt idx="13879">
                  <c:v>24607367</c:v>
                </c:pt>
                <c:pt idx="13880">
                  <c:v>37857708</c:v>
                </c:pt>
                <c:pt idx="13881">
                  <c:v>4804900</c:v>
                </c:pt>
                <c:pt idx="13882">
                  <c:v>50920868</c:v>
                </c:pt>
                <c:pt idx="13883">
                  <c:v>444539732</c:v>
                </c:pt>
                <c:pt idx="13884">
                  <c:v>58965986</c:v>
                </c:pt>
                <c:pt idx="13885">
                  <c:v>1816590</c:v>
                </c:pt>
                <c:pt idx="13886">
                  <c:v>15824718</c:v>
                </c:pt>
                <c:pt idx="13887">
                  <c:v>9043528</c:v>
                </c:pt>
                <c:pt idx="13888">
                  <c:v>25680417</c:v>
                </c:pt>
                <c:pt idx="13889">
                  <c:v>31100652</c:v>
                </c:pt>
                <c:pt idx="13890">
                  <c:v>7792484</c:v>
                </c:pt>
                <c:pt idx="13891">
                  <c:v>67192069</c:v>
                </c:pt>
                <c:pt idx="13892">
                  <c:v>43073852</c:v>
                </c:pt>
                <c:pt idx="13893">
                  <c:v>35413460</c:v>
                </c:pt>
                <c:pt idx="13894">
                  <c:v>34259004</c:v>
                </c:pt>
                <c:pt idx="13895">
                  <c:v>75012912</c:v>
                </c:pt>
                <c:pt idx="13896">
                  <c:v>284169620</c:v>
                </c:pt>
                <c:pt idx="13897">
                  <c:v>34667584</c:v>
                </c:pt>
                <c:pt idx="13898">
                  <c:v>32503991</c:v>
                </c:pt>
                <c:pt idx="13899">
                  <c:v>3344817</c:v>
                </c:pt>
                <c:pt idx="13900">
                  <c:v>109636290</c:v>
                </c:pt>
                <c:pt idx="13901">
                  <c:v>40576069</c:v>
                </c:pt>
                <c:pt idx="13902">
                  <c:v>41193425</c:v>
                </c:pt>
                <c:pt idx="13903">
                  <c:v>51076832</c:v>
                </c:pt>
                <c:pt idx="13904">
                  <c:v>101853522</c:v>
                </c:pt>
                <c:pt idx="13905">
                  <c:v>13212180</c:v>
                </c:pt>
                <c:pt idx="13906">
                  <c:v>49568435</c:v>
                </c:pt>
                <c:pt idx="13907">
                  <c:v>3900616</c:v>
                </c:pt>
                <c:pt idx="13908">
                  <c:v>390411492</c:v>
                </c:pt>
                <c:pt idx="13909">
                  <c:v>112652236</c:v>
                </c:pt>
                <c:pt idx="13910">
                  <c:v>199132160</c:v>
                </c:pt>
                <c:pt idx="13911">
                  <c:v>197308759</c:v>
                </c:pt>
                <c:pt idx="13912">
                  <c:v>118099289</c:v>
                </c:pt>
                <c:pt idx="13913">
                  <c:v>2058817860</c:v>
                </c:pt>
                <c:pt idx="13914">
                  <c:v>132847786</c:v>
                </c:pt>
                <c:pt idx="13915">
                  <c:v>204942176</c:v>
                </c:pt>
                <c:pt idx="13916">
                  <c:v>533129634</c:v>
                </c:pt>
                <c:pt idx="13917">
                  <c:v>831860757</c:v>
                </c:pt>
                <c:pt idx="13918">
                  <c:v>92169000</c:v>
                </c:pt>
                <c:pt idx="13919">
                  <c:v>214479156</c:v>
                </c:pt>
                <c:pt idx="13920">
                  <c:v>1125890145</c:v>
                </c:pt>
                <c:pt idx="13921">
                  <c:v>496573657</c:v>
                </c:pt>
                <c:pt idx="13922">
                  <c:v>114124986</c:v>
                </c:pt>
                <c:pt idx="13923">
                  <c:v>53067980</c:v>
                </c:pt>
                <c:pt idx="13924">
                  <c:v>405713655</c:v>
                </c:pt>
                <c:pt idx="13925">
                  <c:v>64822596</c:v>
                </c:pt>
                <c:pt idx="13926">
                  <c:v>534280376</c:v>
                </c:pt>
                <c:pt idx="13927">
                  <c:v>541299474</c:v>
                </c:pt>
                <c:pt idx="13928">
                  <c:v>1156689144</c:v>
                </c:pt>
                <c:pt idx="13929">
                  <c:v>653906112</c:v>
                </c:pt>
                <c:pt idx="13930">
                  <c:v>1714338533</c:v>
                </c:pt>
                <c:pt idx="13931">
                  <c:v>234143250</c:v>
                </c:pt>
                <c:pt idx="13932">
                  <c:v>333822012</c:v>
                </c:pt>
                <c:pt idx="13933">
                  <c:v>166538301</c:v>
                </c:pt>
                <c:pt idx="13934">
                  <c:v>1362014960</c:v>
                </c:pt>
                <c:pt idx="13935">
                  <c:v>417093154</c:v>
                </c:pt>
                <c:pt idx="13936">
                  <c:v>2147483647</c:v>
                </c:pt>
                <c:pt idx="13937">
                  <c:v>1014808790</c:v>
                </c:pt>
                <c:pt idx="13938">
                  <c:v>1523457552</c:v>
                </c:pt>
                <c:pt idx="13939">
                  <c:v>227791395</c:v>
                </c:pt>
                <c:pt idx="13940">
                  <c:v>221687424</c:v>
                </c:pt>
                <c:pt idx="13941">
                  <c:v>55764674</c:v>
                </c:pt>
                <c:pt idx="13942">
                  <c:v>629763792</c:v>
                </c:pt>
                <c:pt idx="13943">
                  <c:v>269633664</c:v>
                </c:pt>
                <c:pt idx="13944">
                  <c:v>549474810</c:v>
                </c:pt>
                <c:pt idx="13945">
                  <c:v>1040951786</c:v>
                </c:pt>
                <c:pt idx="13946">
                  <c:v>303075534</c:v>
                </c:pt>
                <c:pt idx="13947">
                  <c:v>154384125</c:v>
                </c:pt>
                <c:pt idx="13948">
                  <c:v>139695858</c:v>
                </c:pt>
                <c:pt idx="13949">
                  <c:v>522241818</c:v>
                </c:pt>
                <c:pt idx="13950">
                  <c:v>1338028100</c:v>
                </c:pt>
                <c:pt idx="13951">
                  <c:v>1467846624</c:v>
                </c:pt>
                <c:pt idx="13952">
                  <c:v>203911850</c:v>
                </c:pt>
                <c:pt idx="13953">
                  <c:v>444752045</c:v>
                </c:pt>
                <c:pt idx="13954">
                  <c:v>1009205236</c:v>
                </c:pt>
                <c:pt idx="13955">
                  <c:v>770889561</c:v>
                </c:pt>
                <c:pt idx="13956">
                  <c:v>1645701252</c:v>
                </c:pt>
                <c:pt idx="13957">
                  <c:v>267164412</c:v>
                </c:pt>
                <c:pt idx="13958">
                  <c:v>740384568</c:v>
                </c:pt>
                <c:pt idx="13959">
                  <c:v>943912284</c:v>
                </c:pt>
                <c:pt idx="13960">
                  <c:v>523551600</c:v>
                </c:pt>
                <c:pt idx="13961">
                  <c:v>810262838</c:v>
                </c:pt>
                <c:pt idx="13962">
                  <c:v>764764136</c:v>
                </c:pt>
                <c:pt idx="13963">
                  <c:v>627966592</c:v>
                </c:pt>
                <c:pt idx="13964">
                  <c:v>932098317</c:v>
                </c:pt>
                <c:pt idx="13965">
                  <c:v>827161160</c:v>
                </c:pt>
                <c:pt idx="13966">
                  <c:v>1266829884</c:v>
                </c:pt>
                <c:pt idx="13967">
                  <c:v>817884594</c:v>
                </c:pt>
                <c:pt idx="13968">
                  <c:v>710489880</c:v>
                </c:pt>
                <c:pt idx="13969">
                  <c:v>687914916</c:v>
                </c:pt>
                <c:pt idx="13970">
                  <c:v>802186260</c:v>
                </c:pt>
                <c:pt idx="13971">
                  <c:v>790666400</c:v>
                </c:pt>
                <c:pt idx="13972">
                  <c:v>893165238</c:v>
                </c:pt>
                <c:pt idx="13973">
                  <c:v>288280608</c:v>
                </c:pt>
                <c:pt idx="13974">
                  <c:v>182762112</c:v>
                </c:pt>
                <c:pt idx="13975">
                  <c:v>144732060</c:v>
                </c:pt>
                <c:pt idx="13976">
                  <c:v>1340151890</c:v>
                </c:pt>
                <c:pt idx="13977">
                  <c:v>1014868860</c:v>
                </c:pt>
                <c:pt idx="13978">
                  <c:v>2147483647</c:v>
                </c:pt>
                <c:pt idx="13979">
                  <c:v>1817002080</c:v>
                </c:pt>
                <c:pt idx="13980">
                  <c:v>2038483920</c:v>
                </c:pt>
                <c:pt idx="13981">
                  <c:v>1253186984</c:v>
                </c:pt>
                <c:pt idx="13982">
                  <c:v>1558286926</c:v>
                </c:pt>
                <c:pt idx="13983">
                  <c:v>1047539490</c:v>
                </c:pt>
                <c:pt idx="13984">
                  <c:v>1299472168</c:v>
                </c:pt>
                <c:pt idx="13985">
                  <c:v>368534980</c:v>
                </c:pt>
                <c:pt idx="13986">
                  <c:v>645168750</c:v>
                </c:pt>
                <c:pt idx="13987">
                  <c:v>253906020</c:v>
                </c:pt>
                <c:pt idx="13988">
                  <c:v>246055320</c:v>
                </c:pt>
                <c:pt idx="13989">
                  <c:v>1237397991</c:v>
                </c:pt>
                <c:pt idx="13990">
                  <c:v>534142908</c:v>
                </c:pt>
                <c:pt idx="13991">
                  <c:v>862251210</c:v>
                </c:pt>
                <c:pt idx="13992">
                  <c:v>1043471968</c:v>
                </c:pt>
                <c:pt idx="13993">
                  <c:v>443654822</c:v>
                </c:pt>
                <c:pt idx="13994">
                  <c:v>893235519</c:v>
                </c:pt>
                <c:pt idx="13995">
                  <c:v>325057506</c:v>
                </c:pt>
                <c:pt idx="13996">
                  <c:v>170274790</c:v>
                </c:pt>
                <c:pt idx="13997">
                  <c:v>816312500</c:v>
                </c:pt>
                <c:pt idx="13998">
                  <c:v>773657193</c:v>
                </c:pt>
                <c:pt idx="13999">
                  <c:v>156181266</c:v>
                </c:pt>
                <c:pt idx="14000">
                  <c:v>631446731</c:v>
                </c:pt>
                <c:pt idx="14001">
                  <c:v>3004616</c:v>
                </c:pt>
                <c:pt idx="14002">
                  <c:v>128669444</c:v>
                </c:pt>
                <c:pt idx="14003">
                  <c:v>461420883</c:v>
                </c:pt>
                <c:pt idx="14004">
                  <c:v>422690301</c:v>
                </c:pt>
                <c:pt idx="14005">
                  <c:v>96296206</c:v>
                </c:pt>
                <c:pt idx="14006">
                  <c:v>942732404</c:v>
                </c:pt>
                <c:pt idx="14007">
                  <c:v>997808285</c:v>
                </c:pt>
                <c:pt idx="14008">
                  <c:v>1221015068</c:v>
                </c:pt>
                <c:pt idx="14009">
                  <c:v>1581837421</c:v>
                </c:pt>
                <c:pt idx="14010">
                  <c:v>36329952</c:v>
                </c:pt>
                <c:pt idx="14011">
                  <c:v>329526810</c:v>
                </c:pt>
                <c:pt idx="14012">
                  <c:v>83200652</c:v>
                </c:pt>
                <c:pt idx="14013">
                  <c:v>481977960</c:v>
                </c:pt>
                <c:pt idx="14014">
                  <c:v>818088586</c:v>
                </c:pt>
                <c:pt idx="14015">
                  <c:v>909640212</c:v>
                </c:pt>
                <c:pt idx="14016">
                  <c:v>380494832</c:v>
                </c:pt>
                <c:pt idx="14017">
                  <c:v>346730987</c:v>
                </c:pt>
                <c:pt idx="14018">
                  <c:v>413781046</c:v>
                </c:pt>
                <c:pt idx="14019">
                  <c:v>1510577888</c:v>
                </c:pt>
                <c:pt idx="14020">
                  <c:v>1753924392</c:v>
                </c:pt>
                <c:pt idx="14021">
                  <c:v>898626339</c:v>
                </c:pt>
                <c:pt idx="14022">
                  <c:v>2147483647</c:v>
                </c:pt>
                <c:pt idx="14023">
                  <c:v>451976772</c:v>
                </c:pt>
                <c:pt idx="14024">
                  <c:v>859855675</c:v>
                </c:pt>
                <c:pt idx="14025">
                  <c:v>1052251564</c:v>
                </c:pt>
                <c:pt idx="14026">
                  <c:v>1933890623</c:v>
                </c:pt>
                <c:pt idx="14027">
                  <c:v>173522415</c:v>
                </c:pt>
                <c:pt idx="14028">
                  <c:v>1695808045</c:v>
                </c:pt>
                <c:pt idx="14029">
                  <c:v>752499261</c:v>
                </c:pt>
                <c:pt idx="14030">
                  <c:v>1546759764</c:v>
                </c:pt>
                <c:pt idx="14031">
                  <c:v>444780850</c:v>
                </c:pt>
                <c:pt idx="14032">
                  <c:v>1427856048</c:v>
                </c:pt>
                <c:pt idx="14033">
                  <c:v>990269246</c:v>
                </c:pt>
                <c:pt idx="14034">
                  <c:v>2147483647</c:v>
                </c:pt>
                <c:pt idx="14035">
                  <c:v>2095614592</c:v>
                </c:pt>
                <c:pt idx="14036">
                  <c:v>559319104</c:v>
                </c:pt>
                <c:pt idx="14037">
                  <c:v>11131112</c:v>
                </c:pt>
                <c:pt idx="14038">
                  <c:v>170664477</c:v>
                </c:pt>
                <c:pt idx="14039">
                  <c:v>789212798</c:v>
                </c:pt>
                <c:pt idx="14040">
                  <c:v>553428260</c:v>
                </c:pt>
                <c:pt idx="14041">
                  <c:v>947614626</c:v>
                </c:pt>
                <c:pt idx="14042">
                  <c:v>2147483647</c:v>
                </c:pt>
                <c:pt idx="14043">
                  <c:v>1230162372</c:v>
                </c:pt>
                <c:pt idx="14044">
                  <c:v>366962105</c:v>
                </c:pt>
                <c:pt idx="14045">
                  <c:v>380532074</c:v>
                </c:pt>
                <c:pt idx="14046">
                  <c:v>395070325</c:v>
                </c:pt>
                <c:pt idx="14047">
                  <c:v>342721807</c:v>
                </c:pt>
                <c:pt idx="14048">
                  <c:v>627150624</c:v>
                </c:pt>
                <c:pt idx="14049">
                  <c:v>299343275</c:v>
                </c:pt>
                <c:pt idx="14050">
                  <c:v>615609766</c:v>
                </c:pt>
                <c:pt idx="14051">
                  <c:v>199876992</c:v>
                </c:pt>
                <c:pt idx="14052">
                  <c:v>435406707</c:v>
                </c:pt>
                <c:pt idx="14053">
                  <c:v>352199505</c:v>
                </c:pt>
                <c:pt idx="14054">
                  <c:v>67894855</c:v>
                </c:pt>
                <c:pt idx="14055">
                  <c:v>504136116</c:v>
                </c:pt>
                <c:pt idx="14056">
                  <c:v>312965904</c:v>
                </c:pt>
                <c:pt idx="14057">
                  <c:v>504065692</c:v>
                </c:pt>
                <c:pt idx="14058">
                  <c:v>238506536</c:v>
                </c:pt>
                <c:pt idx="14059">
                  <c:v>128675552</c:v>
                </c:pt>
                <c:pt idx="14060">
                  <c:v>130642527</c:v>
                </c:pt>
                <c:pt idx="14061">
                  <c:v>114023600</c:v>
                </c:pt>
                <c:pt idx="14062">
                  <c:v>884806916</c:v>
                </c:pt>
                <c:pt idx="14063">
                  <c:v>965736195</c:v>
                </c:pt>
                <c:pt idx="14064">
                  <c:v>1000310341</c:v>
                </c:pt>
                <c:pt idx="14065">
                  <c:v>492798504</c:v>
                </c:pt>
                <c:pt idx="14066">
                  <c:v>671386045</c:v>
                </c:pt>
                <c:pt idx="14067">
                  <c:v>351191680</c:v>
                </c:pt>
                <c:pt idx="14068">
                  <c:v>404241680</c:v>
                </c:pt>
                <c:pt idx="14069">
                  <c:v>641471858</c:v>
                </c:pt>
                <c:pt idx="14070">
                  <c:v>863323773</c:v>
                </c:pt>
                <c:pt idx="14071">
                  <c:v>164327735</c:v>
                </c:pt>
                <c:pt idx="14072">
                  <c:v>1197146137</c:v>
                </c:pt>
                <c:pt idx="14073">
                  <c:v>545230224</c:v>
                </c:pt>
                <c:pt idx="14074">
                  <c:v>870621070</c:v>
                </c:pt>
                <c:pt idx="14075">
                  <c:v>1939314187</c:v>
                </c:pt>
                <c:pt idx="14076">
                  <c:v>915517706</c:v>
                </c:pt>
                <c:pt idx="14077">
                  <c:v>421661296</c:v>
                </c:pt>
                <c:pt idx="14078">
                  <c:v>1022783892</c:v>
                </c:pt>
                <c:pt idx="14079">
                  <c:v>415660630</c:v>
                </c:pt>
                <c:pt idx="14080">
                  <c:v>1383022992</c:v>
                </c:pt>
                <c:pt idx="14081">
                  <c:v>1507474344</c:v>
                </c:pt>
                <c:pt idx="14082">
                  <c:v>1375625812</c:v>
                </c:pt>
                <c:pt idx="14083">
                  <c:v>1855156716</c:v>
                </c:pt>
                <c:pt idx="14084">
                  <c:v>2141091946</c:v>
                </c:pt>
                <c:pt idx="14085">
                  <c:v>1551929184</c:v>
                </c:pt>
                <c:pt idx="14086">
                  <c:v>1195709172</c:v>
                </c:pt>
                <c:pt idx="14087">
                  <c:v>1142138916</c:v>
                </c:pt>
                <c:pt idx="14088">
                  <c:v>1236134404</c:v>
                </c:pt>
                <c:pt idx="14089">
                  <c:v>826393320</c:v>
                </c:pt>
                <c:pt idx="14090">
                  <c:v>1253977648</c:v>
                </c:pt>
                <c:pt idx="14091">
                  <c:v>1283189628</c:v>
                </c:pt>
                <c:pt idx="14092">
                  <c:v>1000359232</c:v>
                </c:pt>
                <c:pt idx="14093">
                  <c:v>231436764</c:v>
                </c:pt>
                <c:pt idx="14094">
                  <c:v>1765223460</c:v>
                </c:pt>
                <c:pt idx="14095">
                  <c:v>1160855837</c:v>
                </c:pt>
                <c:pt idx="14096">
                  <c:v>1148978885</c:v>
                </c:pt>
                <c:pt idx="14097">
                  <c:v>1011255855</c:v>
                </c:pt>
                <c:pt idx="14098">
                  <c:v>759850364</c:v>
                </c:pt>
                <c:pt idx="14099">
                  <c:v>996135562</c:v>
                </c:pt>
                <c:pt idx="14100">
                  <c:v>918385728</c:v>
                </c:pt>
                <c:pt idx="14101">
                  <c:v>1264907072</c:v>
                </c:pt>
                <c:pt idx="14102">
                  <c:v>848832552</c:v>
                </c:pt>
                <c:pt idx="14103">
                  <c:v>1181579135</c:v>
                </c:pt>
                <c:pt idx="14104">
                  <c:v>1135583564</c:v>
                </c:pt>
                <c:pt idx="14105">
                  <c:v>561887780</c:v>
                </c:pt>
                <c:pt idx="14106">
                  <c:v>412468875</c:v>
                </c:pt>
                <c:pt idx="14107">
                  <c:v>244829103</c:v>
                </c:pt>
                <c:pt idx="14108">
                  <c:v>973910451</c:v>
                </c:pt>
                <c:pt idx="14109">
                  <c:v>1267918814</c:v>
                </c:pt>
                <c:pt idx="14110">
                  <c:v>313368642</c:v>
                </c:pt>
                <c:pt idx="14111">
                  <c:v>270907572</c:v>
                </c:pt>
                <c:pt idx="14112">
                  <c:v>339616849</c:v>
                </c:pt>
                <c:pt idx="14113">
                  <c:v>367192998</c:v>
                </c:pt>
                <c:pt idx="14114">
                  <c:v>444362140</c:v>
                </c:pt>
                <c:pt idx="14115">
                  <c:v>629309058</c:v>
                </c:pt>
                <c:pt idx="14116">
                  <c:v>680839060</c:v>
                </c:pt>
                <c:pt idx="14117">
                  <c:v>446673516</c:v>
                </c:pt>
                <c:pt idx="14118">
                  <c:v>184497639</c:v>
                </c:pt>
                <c:pt idx="14119">
                  <c:v>60241074</c:v>
                </c:pt>
                <c:pt idx="14120">
                  <c:v>1100289177</c:v>
                </c:pt>
                <c:pt idx="14121">
                  <c:v>1149199983</c:v>
                </c:pt>
                <c:pt idx="14122">
                  <c:v>1271444776</c:v>
                </c:pt>
                <c:pt idx="14123">
                  <c:v>861562695</c:v>
                </c:pt>
                <c:pt idx="14124">
                  <c:v>436912067</c:v>
                </c:pt>
                <c:pt idx="14125">
                  <c:v>671604862</c:v>
                </c:pt>
                <c:pt idx="14126">
                  <c:v>1159204800</c:v>
                </c:pt>
                <c:pt idx="14127">
                  <c:v>508102980</c:v>
                </c:pt>
                <c:pt idx="14128">
                  <c:v>764477560</c:v>
                </c:pt>
                <c:pt idx="14129">
                  <c:v>1014741728</c:v>
                </c:pt>
                <c:pt idx="14130">
                  <c:v>796382496</c:v>
                </c:pt>
                <c:pt idx="14131">
                  <c:v>41099877</c:v>
                </c:pt>
                <c:pt idx="14132">
                  <c:v>3112395</c:v>
                </c:pt>
                <c:pt idx="14133">
                  <c:v>208875208</c:v>
                </c:pt>
                <c:pt idx="14134">
                  <c:v>183773952</c:v>
                </c:pt>
                <c:pt idx="14135">
                  <c:v>87410036</c:v>
                </c:pt>
                <c:pt idx="14136">
                  <c:v>301629300</c:v>
                </c:pt>
                <c:pt idx="14137">
                  <c:v>148366452</c:v>
                </c:pt>
                <c:pt idx="14138">
                  <c:v>86519160</c:v>
                </c:pt>
                <c:pt idx="14139">
                  <c:v>141715812</c:v>
                </c:pt>
                <c:pt idx="14140">
                  <c:v>61504111</c:v>
                </c:pt>
                <c:pt idx="14141">
                  <c:v>655049232</c:v>
                </c:pt>
                <c:pt idx="14142">
                  <c:v>181116024</c:v>
                </c:pt>
                <c:pt idx="14143">
                  <c:v>164201529</c:v>
                </c:pt>
                <c:pt idx="14144">
                  <c:v>1125995148</c:v>
                </c:pt>
                <c:pt idx="14145">
                  <c:v>28893744</c:v>
                </c:pt>
                <c:pt idx="14146">
                  <c:v>74965268</c:v>
                </c:pt>
                <c:pt idx="14147">
                  <c:v>207954669</c:v>
                </c:pt>
                <c:pt idx="14148">
                  <c:v>262207002</c:v>
                </c:pt>
                <c:pt idx="14149">
                  <c:v>1731195294</c:v>
                </c:pt>
                <c:pt idx="14150">
                  <c:v>16957000</c:v>
                </c:pt>
                <c:pt idx="14151">
                  <c:v>917648949</c:v>
                </c:pt>
                <c:pt idx="14152">
                  <c:v>3111306</c:v>
                </c:pt>
                <c:pt idx="14153">
                  <c:v>68531352</c:v>
                </c:pt>
                <c:pt idx="14154">
                  <c:v>155473031</c:v>
                </c:pt>
                <c:pt idx="14155">
                  <c:v>11185828</c:v>
                </c:pt>
                <c:pt idx="14156">
                  <c:v>287204880</c:v>
                </c:pt>
                <c:pt idx="14157">
                  <c:v>2147483647</c:v>
                </c:pt>
                <c:pt idx="14158">
                  <c:v>111391610</c:v>
                </c:pt>
                <c:pt idx="14159">
                  <c:v>825897848</c:v>
                </c:pt>
                <c:pt idx="14160">
                  <c:v>277190096</c:v>
                </c:pt>
                <c:pt idx="14161">
                  <c:v>29340063</c:v>
                </c:pt>
                <c:pt idx="14162">
                  <c:v>936630080</c:v>
                </c:pt>
                <c:pt idx="14163">
                  <c:v>69610840</c:v>
                </c:pt>
                <c:pt idx="14164">
                  <c:v>142137765</c:v>
                </c:pt>
                <c:pt idx="14165">
                  <c:v>606773259</c:v>
                </c:pt>
                <c:pt idx="14166">
                  <c:v>124826492</c:v>
                </c:pt>
                <c:pt idx="14167">
                  <c:v>29757882</c:v>
                </c:pt>
                <c:pt idx="14168">
                  <c:v>357370720</c:v>
                </c:pt>
                <c:pt idx="14169">
                  <c:v>18687365</c:v>
                </c:pt>
                <c:pt idx="14170">
                  <c:v>215051298</c:v>
                </c:pt>
                <c:pt idx="14171">
                  <c:v>447827124</c:v>
                </c:pt>
                <c:pt idx="14172">
                  <c:v>91638542</c:v>
                </c:pt>
                <c:pt idx="14173">
                  <c:v>264278498</c:v>
                </c:pt>
                <c:pt idx="14174">
                  <c:v>543246913</c:v>
                </c:pt>
                <c:pt idx="14175">
                  <c:v>129105390</c:v>
                </c:pt>
                <c:pt idx="14176">
                  <c:v>54635944</c:v>
                </c:pt>
                <c:pt idx="14177">
                  <c:v>13162557</c:v>
                </c:pt>
                <c:pt idx="14178">
                  <c:v>42752904</c:v>
                </c:pt>
                <c:pt idx="14179">
                  <c:v>80295520</c:v>
                </c:pt>
                <c:pt idx="14180">
                  <c:v>38359810</c:v>
                </c:pt>
                <c:pt idx="14181">
                  <c:v>50151612</c:v>
                </c:pt>
                <c:pt idx="14182">
                  <c:v>16248266</c:v>
                </c:pt>
                <c:pt idx="14183">
                  <c:v>167560659</c:v>
                </c:pt>
                <c:pt idx="14184">
                  <c:v>41595378</c:v>
                </c:pt>
                <c:pt idx="14185">
                  <c:v>795961832</c:v>
                </c:pt>
                <c:pt idx="14186">
                  <c:v>72148230</c:v>
                </c:pt>
                <c:pt idx="14187">
                  <c:v>15351015</c:v>
                </c:pt>
                <c:pt idx="14188">
                  <c:v>481161066</c:v>
                </c:pt>
                <c:pt idx="14189">
                  <c:v>474079935</c:v>
                </c:pt>
                <c:pt idx="14190">
                  <c:v>262261683</c:v>
                </c:pt>
                <c:pt idx="14191">
                  <c:v>535261680</c:v>
                </c:pt>
                <c:pt idx="14192">
                  <c:v>617887071</c:v>
                </c:pt>
                <c:pt idx="14193">
                  <c:v>271806136</c:v>
                </c:pt>
                <c:pt idx="14194">
                  <c:v>211580490</c:v>
                </c:pt>
                <c:pt idx="14195">
                  <c:v>153922182</c:v>
                </c:pt>
                <c:pt idx="14196">
                  <c:v>519190512</c:v>
                </c:pt>
                <c:pt idx="14197">
                  <c:v>605505550</c:v>
                </c:pt>
                <c:pt idx="14198">
                  <c:v>586535472</c:v>
                </c:pt>
                <c:pt idx="14199">
                  <c:v>1099437736</c:v>
                </c:pt>
                <c:pt idx="14200">
                  <c:v>262822012</c:v>
                </c:pt>
                <c:pt idx="14201">
                  <c:v>33048432</c:v>
                </c:pt>
                <c:pt idx="14202">
                  <c:v>497968860</c:v>
                </c:pt>
                <c:pt idx="14203">
                  <c:v>83561072</c:v>
                </c:pt>
                <c:pt idx="14204">
                  <c:v>213785180</c:v>
                </c:pt>
                <c:pt idx="14205">
                  <c:v>225297375</c:v>
                </c:pt>
                <c:pt idx="14206">
                  <c:v>23660945</c:v>
                </c:pt>
                <c:pt idx="14207">
                  <c:v>26861124</c:v>
                </c:pt>
                <c:pt idx="14208">
                  <c:v>79138935</c:v>
                </c:pt>
                <c:pt idx="14209">
                  <c:v>207129000</c:v>
                </c:pt>
                <c:pt idx="14210">
                  <c:v>248074862</c:v>
                </c:pt>
                <c:pt idx="14211">
                  <c:v>135207110</c:v>
                </c:pt>
                <c:pt idx="14212">
                  <c:v>12803805</c:v>
                </c:pt>
                <c:pt idx="14213">
                  <c:v>22503716</c:v>
                </c:pt>
                <c:pt idx="14214">
                  <c:v>132176993</c:v>
                </c:pt>
                <c:pt idx="14215">
                  <c:v>504707805</c:v>
                </c:pt>
                <c:pt idx="14216">
                  <c:v>436952505</c:v>
                </c:pt>
                <c:pt idx="14217">
                  <c:v>248095309</c:v>
                </c:pt>
                <c:pt idx="14218">
                  <c:v>207910782</c:v>
                </c:pt>
                <c:pt idx="14219">
                  <c:v>77738460</c:v>
                </c:pt>
                <c:pt idx="14220">
                  <c:v>212869973</c:v>
                </c:pt>
                <c:pt idx="14221">
                  <c:v>168894044</c:v>
                </c:pt>
                <c:pt idx="14222">
                  <c:v>117964560</c:v>
                </c:pt>
                <c:pt idx="14223">
                  <c:v>165565872</c:v>
                </c:pt>
                <c:pt idx="14224">
                  <c:v>44975514</c:v>
                </c:pt>
                <c:pt idx="14225">
                  <c:v>18851350</c:v>
                </c:pt>
                <c:pt idx="14226">
                  <c:v>92932650</c:v>
                </c:pt>
                <c:pt idx="14227">
                  <c:v>464773198</c:v>
                </c:pt>
                <c:pt idx="14228">
                  <c:v>1239073024</c:v>
                </c:pt>
                <c:pt idx="14229">
                  <c:v>1330117676</c:v>
                </c:pt>
                <c:pt idx="14230">
                  <c:v>90286586</c:v>
                </c:pt>
                <c:pt idx="14231">
                  <c:v>36317190</c:v>
                </c:pt>
                <c:pt idx="14232">
                  <c:v>190297136</c:v>
                </c:pt>
                <c:pt idx="14233">
                  <c:v>122473050</c:v>
                </c:pt>
                <c:pt idx="14234">
                  <c:v>62025233</c:v>
                </c:pt>
                <c:pt idx="14235">
                  <c:v>345879045</c:v>
                </c:pt>
                <c:pt idx="14236">
                  <c:v>53230782</c:v>
                </c:pt>
                <c:pt idx="14237">
                  <c:v>172869810</c:v>
                </c:pt>
                <c:pt idx="14238">
                  <c:v>82182690</c:v>
                </c:pt>
                <c:pt idx="14239">
                  <c:v>264075192</c:v>
                </c:pt>
                <c:pt idx="14240">
                  <c:v>122913638</c:v>
                </c:pt>
                <c:pt idx="14241">
                  <c:v>54750344</c:v>
                </c:pt>
                <c:pt idx="14242">
                  <c:v>290612098</c:v>
                </c:pt>
                <c:pt idx="14243">
                  <c:v>46900275</c:v>
                </c:pt>
                <c:pt idx="14244">
                  <c:v>40918535</c:v>
                </c:pt>
                <c:pt idx="14245">
                  <c:v>95167410</c:v>
                </c:pt>
                <c:pt idx="14246">
                  <c:v>9834942</c:v>
                </c:pt>
                <c:pt idx="14247">
                  <c:v>1171048080</c:v>
                </c:pt>
                <c:pt idx="14248">
                  <c:v>668138944</c:v>
                </c:pt>
                <c:pt idx="14249">
                  <c:v>24773375</c:v>
                </c:pt>
                <c:pt idx="14250">
                  <c:v>12491940</c:v>
                </c:pt>
                <c:pt idx="14251">
                  <c:v>103577770</c:v>
                </c:pt>
                <c:pt idx="14252">
                  <c:v>329416004</c:v>
                </c:pt>
                <c:pt idx="14253">
                  <c:v>72197325</c:v>
                </c:pt>
                <c:pt idx="14254">
                  <c:v>149278915</c:v>
                </c:pt>
                <c:pt idx="14255">
                  <c:v>26152896</c:v>
                </c:pt>
                <c:pt idx="14256">
                  <c:v>9269123</c:v>
                </c:pt>
                <c:pt idx="14257">
                  <c:v>40417095</c:v>
                </c:pt>
                <c:pt idx="14258">
                  <c:v>140902848</c:v>
                </c:pt>
                <c:pt idx="14259">
                  <c:v>39401549</c:v>
                </c:pt>
                <c:pt idx="14260">
                  <c:v>337148020</c:v>
                </c:pt>
                <c:pt idx="14261">
                  <c:v>38156263</c:v>
                </c:pt>
                <c:pt idx="14262">
                  <c:v>349438936</c:v>
                </c:pt>
                <c:pt idx="14263">
                  <c:v>27345216</c:v>
                </c:pt>
                <c:pt idx="14264">
                  <c:v>27275412</c:v>
                </c:pt>
                <c:pt idx="14265">
                  <c:v>33226721</c:v>
                </c:pt>
                <c:pt idx="14266">
                  <c:v>92777170</c:v>
                </c:pt>
                <c:pt idx="14267">
                  <c:v>69727154</c:v>
                </c:pt>
                <c:pt idx="14268">
                  <c:v>48231570</c:v>
                </c:pt>
                <c:pt idx="14269">
                  <c:v>44246928</c:v>
                </c:pt>
                <c:pt idx="14270">
                  <c:v>121914310</c:v>
                </c:pt>
                <c:pt idx="14271">
                  <c:v>30078876</c:v>
                </c:pt>
                <c:pt idx="14272">
                  <c:v>4806032</c:v>
                </c:pt>
                <c:pt idx="14273">
                  <c:v>210835768</c:v>
                </c:pt>
                <c:pt idx="14274">
                  <c:v>49010745</c:v>
                </c:pt>
                <c:pt idx="14275">
                  <c:v>36100270</c:v>
                </c:pt>
                <c:pt idx="14276">
                  <c:v>32043842</c:v>
                </c:pt>
                <c:pt idx="14277">
                  <c:v>207509610</c:v>
                </c:pt>
                <c:pt idx="14278">
                  <c:v>26075946</c:v>
                </c:pt>
                <c:pt idx="14279">
                  <c:v>89915904</c:v>
                </c:pt>
                <c:pt idx="14280">
                  <c:v>75908888</c:v>
                </c:pt>
                <c:pt idx="14281">
                  <c:v>152000654</c:v>
                </c:pt>
                <c:pt idx="14282">
                  <c:v>107829772</c:v>
                </c:pt>
                <c:pt idx="14283">
                  <c:v>34529736</c:v>
                </c:pt>
                <c:pt idx="14284">
                  <c:v>19303816</c:v>
                </c:pt>
                <c:pt idx="14285">
                  <c:v>33897635</c:v>
                </c:pt>
                <c:pt idx="14286">
                  <c:v>131346454</c:v>
                </c:pt>
                <c:pt idx="14287">
                  <c:v>12911985</c:v>
                </c:pt>
                <c:pt idx="14288">
                  <c:v>29548353</c:v>
                </c:pt>
                <c:pt idx="14289">
                  <c:v>68697154</c:v>
                </c:pt>
                <c:pt idx="14290">
                  <c:v>225449726</c:v>
                </c:pt>
                <c:pt idx="14291">
                  <c:v>36049350</c:v>
                </c:pt>
                <c:pt idx="14292">
                  <c:v>323237409</c:v>
                </c:pt>
                <c:pt idx="14293">
                  <c:v>42232665</c:v>
                </c:pt>
                <c:pt idx="14294">
                  <c:v>24228720</c:v>
                </c:pt>
                <c:pt idx="14295">
                  <c:v>307732764</c:v>
                </c:pt>
                <c:pt idx="14296">
                  <c:v>294364350</c:v>
                </c:pt>
                <c:pt idx="14297">
                  <c:v>95796660</c:v>
                </c:pt>
                <c:pt idx="14298">
                  <c:v>649602096</c:v>
                </c:pt>
                <c:pt idx="14299">
                  <c:v>77309650</c:v>
                </c:pt>
                <c:pt idx="14300">
                  <c:v>152116030</c:v>
                </c:pt>
                <c:pt idx="14301">
                  <c:v>59022269</c:v>
                </c:pt>
                <c:pt idx="14302">
                  <c:v>77390442</c:v>
                </c:pt>
                <c:pt idx="14303">
                  <c:v>757091790</c:v>
                </c:pt>
                <c:pt idx="14304">
                  <c:v>249488892</c:v>
                </c:pt>
                <c:pt idx="14305">
                  <c:v>90828522</c:v>
                </c:pt>
                <c:pt idx="14306">
                  <c:v>1797273946</c:v>
                </c:pt>
                <c:pt idx="14307">
                  <c:v>29526384</c:v>
                </c:pt>
                <c:pt idx="14308">
                  <c:v>12727137</c:v>
                </c:pt>
                <c:pt idx="14309">
                  <c:v>616020500</c:v>
                </c:pt>
                <c:pt idx="14310">
                  <c:v>3751146</c:v>
                </c:pt>
                <c:pt idx="14311">
                  <c:v>518795769</c:v>
                </c:pt>
                <c:pt idx="14312">
                  <c:v>78313438</c:v>
                </c:pt>
                <c:pt idx="14313">
                  <c:v>93510266</c:v>
                </c:pt>
                <c:pt idx="14314">
                  <c:v>37204731</c:v>
                </c:pt>
                <c:pt idx="14315">
                  <c:v>49199254</c:v>
                </c:pt>
                <c:pt idx="14316">
                  <c:v>95266073</c:v>
                </c:pt>
                <c:pt idx="14317">
                  <c:v>454249929</c:v>
                </c:pt>
                <c:pt idx="14318">
                  <c:v>937547436</c:v>
                </c:pt>
                <c:pt idx="14319">
                  <c:v>489324030</c:v>
                </c:pt>
                <c:pt idx="14320">
                  <c:v>575684940</c:v>
                </c:pt>
                <c:pt idx="14321">
                  <c:v>24106592</c:v>
                </c:pt>
                <c:pt idx="14322">
                  <c:v>804130250</c:v>
                </c:pt>
                <c:pt idx="14323">
                  <c:v>1802848410</c:v>
                </c:pt>
                <c:pt idx="14324">
                  <c:v>21410700</c:v>
                </c:pt>
                <c:pt idx="14325">
                  <c:v>440178700</c:v>
                </c:pt>
                <c:pt idx="14326">
                  <c:v>157379670</c:v>
                </c:pt>
                <c:pt idx="14327">
                  <c:v>291968391</c:v>
                </c:pt>
                <c:pt idx="14328">
                  <c:v>170559904</c:v>
                </c:pt>
                <c:pt idx="14329">
                  <c:v>117089200</c:v>
                </c:pt>
                <c:pt idx="14330">
                  <c:v>61963932</c:v>
                </c:pt>
                <c:pt idx="14331">
                  <c:v>2897202</c:v>
                </c:pt>
                <c:pt idx="14332">
                  <c:v>13841984</c:v>
                </c:pt>
                <c:pt idx="14333">
                  <c:v>721462812</c:v>
                </c:pt>
                <c:pt idx="14334">
                  <c:v>577241692</c:v>
                </c:pt>
                <c:pt idx="14335">
                  <c:v>23865640</c:v>
                </c:pt>
                <c:pt idx="14336">
                  <c:v>103587686</c:v>
                </c:pt>
                <c:pt idx="14337">
                  <c:v>1076477280</c:v>
                </c:pt>
                <c:pt idx="14338">
                  <c:v>38463516</c:v>
                </c:pt>
                <c:pt idx="14339">
                  <c:v>73310995</c:v>
                </c:pt>
                <c:pt idx="14340">
                  <c:v>1210597168</c:v>
                </c:pt>
                <c:pt idx="14341">
                  <c:v>55208064</c:v>
                </c:pt>
                <c:pt idx="14342">
                  <c:v>128333296</c:v>
                </c:pt>
                <c:pt idx="14343">
                  <c:v>785685825</c:v>
                </c:pt>
                <c:pt idx="14344">
                  <c:v>2764472</c:v>
                </c:pt>
                <c:pt idx="14345">
                  <c:v>79548228</c:v>
                </c:pt>
                <c:pt idx="14346">
                  <c:v>205075992</c:v>
                </c:pt>
                <c:pt idx="14347">
                  <c:v>41290880</c:v>
                </c:pt>
                <c:pt idx="14348">
                  <c:v>4665888</c:v>
                </c:pt>
                <c:pt idx="14349">
                  <c:v>377364220</c:v>
                </c:pt>
                <c:pt idx="14350">
                  <c:v>130004245</c:v>
                </c:pt>
                <c:pt idx="14351">
                  <c:v>78247960</c:v>
                </c:pt>
                <c:pt idx="14352">
                  <c:v>35035506</c:v>
                </c:pt>
                <c:pt idx="14353">
                  <c:v>595653288</c:v>
                </c:pt>
                <c:pt idx="14354">
                  <c:v>177980250</c:v>
                </c:pt>
                <c:pt idx="14355">
                  <c:v>152607944</c:v>
                </c:pt>
                <c:pt idx="14356">
                  <c:v>187891920</c:v>
                </c:pt>
                <c:pt idx="14357">
                  <c:v>125830800</c:v>
                </c:pt>
                <c:pt idx="14358">
                  <c:v>31146125</c:v>
                </c:pt>
                <c:pt idx="14359">
                  <c:v>46434180</c:v>
                </c:pt>
                <c:pt idx="14360">
                  <c:v>158183382</c:v>
                </c:pt>
                <c:pt idx="14361">
                  <c:v>49928220</c:v>
                </c:pt>
                <c:pt idx="14362">
                  <c:v>47644905</c:v>
                </c:pt>
                <c:pt idx="14363">
                  <c:v>64181236</c:v>
                </c:pt>
                <c:pt idx="14364">
                  <c:v>197228064</c:v>
                </c:pt>
                <c:pt idx="14365">
                  <c:v>162651552</c:v>
                </c:pt>
                <c:pt idx="14366">
                  <c:v>69007984</c:v>
                </c:pt>
                <c:pt idx="14367">
                  <c:v>589244800</c:v>
                </c:pt>
                <c:pt idx="14368">
                  <c:v>5641176</c:v>
                </c:pt>
                <c:pt idx="14369">
                  <c:v>42173790</c:v>
                </c:pt>
                <c:pt idx="14370">
                  <c:v>720384084</c:v>
                </c:pt>
                <c:pt idx="14371">
                  <c:v>864125262</c:v>
                </c:pt>
                <c:pt idx="14372">
                  <c:v>1020883600</c:v>
                </c:pt>
                <c:pt idx="14373">
                  <c:v>538100325</c:v>
                </c:pt>
                <c:pt idx="14374">
                  <c:v>223773312</c:v>
                </c:pt>
                <c:pt idx="14375">
                  <c:v>1244045484</c:v>
                </c:pt>
                <c:pt idx="14376">
                  <c:v>64529412</c:v>
                </c:pt>
                <c:pt idx="14377">
                  <c:v>569126932</c:v>
                </c:pt>
                <c:pt idx="14378">
                  <c:v>722575217</c:v>
                </c:pt>
                <c:pt idx="14379">
                  <c:v>540186832</c:v>
                </c:pt>
                <c:pt idx="14380">
                  <c:v>626552300</c:v>
                </c:pt>
                <c:pt idx="14381">
                  <c:v>207560480</c:v>
                </c:pt>
                <c:pt idx="14382">
                  <c:v>575973576</c:v>
                </c:pt>
                <c:pt idx="14383">
                  <c:v>1952707449</c:v>
                </c:pt>
                <c:pt idx="14384">
                  <c:v>502264218</c:v>
                </c:pt>
                <c:pt idx="14385">
                  <c:v>65231061</c:v>
                </c:pt>
                <c:pt idx="14386">
                  <c:v>121351923</c:v>
                </c:pt>
                <c:pt idx="14387">
                  <c:v>114830170</c:v>
                </c:pt>
                <c:pt idx="14388">
                  <c:v>594388172</c:v>
                </c:pt>
                <c:pt idx="14389">
                  <c:v>924708150</c:v>
                </c:pt>
                <c:pt idx="14390">
                  <c:v>571492470</c:v>
                </c:pt>
                <c:pt idx="14391">
                  <c:v>186827862</c:v>
                </c:pt>
                <c:pt idx="14392">
                  <c:v>680688151</c:v>
                </c:pt>
                <c:pt idx="14393">
                  <c:v>1186182004</c:v>
                </c:pt>
                <c:pt idx="14394">
                  <c:v>50458617</c:v>
                </c:pt>
                <c:pt idx="14395">
                  <c:v>5276393</c:v>
                </c:pt>
                <c:pt idx="14396">
                  <c:v>152748656</c:v>
                </c:pt>
                <c:pt idx="14397">
                  <c:v>43519938</c:v>
                </c:pt>
                <c:pt idx="14398">
                  <c:v>55864998</c:v>
                </c:pt>
                <c:pt idx="14399">
                  <c:v>288344800</c:v>
                </c:pt>
                <c:pt idx="14400">
                  <c:v>82476454</c:v>
                </c:pt>
                <c:pt idx="14401">
                  <c:v>83889976</c:v>
                </c:pt>
                <c:pt idx="14402">
                  <c:v>67046967</c:v>
                </c:pt>
                <c:pt idx="14403">
                  <c:v>662930472</c:v>
                </c:pt>
                <c:pt idx="14404">
                  <c:v>436398396</c:v>
                </c:pt>
                <c:pt idx="14405">
                  <c:v>285488895</c:v>
                </c:pt>
                <c:pt idx="14406">
                  <c:v>93759092</c:v>
                </c:pt>
                <c:pt idx="14407">
                  <c:v>136700784</c:v>
                </c:pt>
                <c:pt idx="14408">
                  <c:v>37902492</c:v>
                </c:pt>
                <c:pt idx="14409">
                  <c:v>151649250</c:v>
                </c:pt>
                <c:pt idx="14410">
                  <c:v>291571815</c:v>
                </c:pt>
                <c:pt idx="14411">
                  <c:v>438170617</c:v>
                </c:pt>
                <c:pt idx="14412">
                  <c:v>670794084</c:v>
                </c:pt>
                <c:pt idx="14413">
                  <c:v>41255324</c:v>
                </c:pt>
                <c:pt idx="14414">
                  <c:v>98908224</c:v>
                </c:pt>
                <c:pt idx="14415">
                  <c:v>21212925</c:v>
                </c:pt>
                <c:pt idx="14416">
                  <c:v>252140670</c:v>
                </c:pt>
                <c:pt idx="14417">
                  <c:v>180002466</c:v>
                </c:pt>
                <c:pt idx="14418">
                  <c:v>83778380</c:v>
                </c:pt>
                <c:pt idx="14419">
                  <c:v>120801197</c:v>
                </c:pt>
                <c:pt idx="14420">
                  <c:v>588909444</c:v>
                </c:pt>
                <c:pt idx="14421">
                  <c:v>52184960</c:v>
                </c:pt>
                <c:pt idx="14422">
                  <c:v>97183263</c:v>
                </c:pt>
                <c:pt idx="14423">
                  <c:v>220428378</c:v>
                </c:pt>
                <c:pt idx="14424">
                  <c:v>15410944</c:v>
                </c:pt>
                <c:pt idx="14425">
                  <c:v>125823800</c:v>
                </c:pt>
                <c:pt idx="14426">
                  <c:v>564244434</c:v>
                </c:pt>
                <c:pt idx="14427">
                  <c:v>70802644</c:v>
                </c:pt>
                <c:pt idx="14428">
                  <c:v>466034785</c:v>
                </c:pt>
                <c:pt idx="14429">
                  <c:v>79799456</c:v>
                </c:pt>
                <c:pt idx="14430">
                  <c:v>120055676</c:v>
                </c:pt>
                <c:pt idx="14431">
                  <c:v>5584464</c:v>
                </c:pt>
                <c:pt idx="14432">
                  <c:v>105966641</c:v>
                </c:pt>
                <c:pt idx="14433">
                  <c:v>298369858</c:v>
                </c:pt>
                <c:pt idx="14434">
                  <c:v>393147405</c:v>
                </c:pt>
                <c:pt idx="14435">
                  <c:v>513392796</c:v>
                </c:pt>
                <c:pt idx="14436">
                  <c:v>166597298</c:v>
                </c:pt>
                <c:pt idx="14437">
                  <c:v>350277100</c:v>
                </c:pt>
                <c:pt idx="14438">
                  <c:v>1091409920</c:v>
                </c:pt>
                <c:pt idx="14439">
                  <c:v>229056768</c:v>
                </c:pt>
                <c:pt idx="14440">
                  <c:v>138596040</c:v>
                </c:pt>
                <c:pt idx="14441">
                  <c:v>41726848</c:v>
                </c:pt>
                <c:pt idx="14442">
                  <c:v>459209620</c:v>
                </c:pt>
                <c:pt idx="14443">
                  <c:v>502097040</c:v>
                </c:pt>
                <c:pt idx="14444">
                  <c:v>53839566</c:v>
                </c:pt>
                <c:pt idx="14445">
                  <c:v>529541484</c:v>
                </c:pt>
                <c:pt idx="14446">
                  <c:v>109087616</c:v>
                </c:pt>
                <c:pt idx="14447">
                  <c:v>92301204</c:v>
                </c:pt>
                <c:pt idx="14448">
                  <c:v>92566100</c:v>
                </c:pt>
                <c:pt idx="14449">
                  <c:v>419815578</c:v>
                </c:pt>
                <c:pt idx="14450">
                  <c:v>151041396</c:v>
                </c:pt>
                <c:pt idx="14451">
                  <c:v>189865858</c:v>
                </c:pt>
                <c:pt idx="14452">
                  <c:v>110236472</c:v>
                </c:pt>
                <c:pt idx="14453">
                  <c:v>46208880</c:v>
                </c:pt>
                <c:pt idx="14454">
                  <c:v>315107908</c:v>
                </c:pt>
                <c:pt idx="14455">
                  <c:v>180193572</c:v>
                </c:pt>
                <c:pt idx="14456">
                  <c:v>296456348</c:v>
                </c:pt>
                <c:pt idx="14457">
                  <c:v>92803585</c:v>
                </c:pt>
                <c:pt idx="14458">
                  <c:v>392139342</c:v>
                </c:pt>
                <c:pt idx="14459">
                  <c:v>51504468</c:v>
                </c:pt>
                <c:pt idx="14460">
                  <c:v>189610569</c:v>
                </c:pt>
                <c:pt idx="14461">
                  <c:v>3362205</c:v>
                </c:pt>
                <c:pt idx="14462">
                  <c:v>1127882002</c:v>
                </c:pt>
                <c:pt idx="14463">
                  <c:v>85893621</c:v>
                </c:pt>
                <c:pt idx="14464">
                  <c:v>29192779</c:v>
                </c:pt>
                <c:pt idx="14465">
                  <c:v>484456682</c:v>
                </c:pt>
                <c:pt idx="14466">
                  <c:v>122757660</c:v>
                </c:pt>
                <c:pt idx="14467">
                  <c:v>36804440</c:v>
                </c:pt>
                <c:pt idx="14468">
                  <c:v>55592460</c:v>
                </c:pt>
                <c:pt idx="14469">
                  <c:v>1319603040</c:v>
                </c:pt>
                <c:pt idx="14470">
                  <c:v>491871591</c:v>
                </c:pt>
                <c:pt idx="14471">
                  <c:v>982733479</c:v>
                </c:pt>
                <c:pt idx="14472">
                  <c:v>75773280</c:v>
                </c:pt>
                <c:pt idx="14473">
                  <c:v>997215840</c:v>
                </c:pt>
                <c:pt idx="14474">
                  <c:v>280223588</c:v>
                </c:pt>
                <c:pt idx="14475">
                  <c:v>28745454</c:v>
                </c:pt>
                <c:pt idx="14476">
                  <c:v>151791030</c:v>
                </c:pt>
                <c:pt idx="14477">
                  <c:v>118661634</c:v>
                </c:pt>
                <c:pt idx="14478">
                  <c:v>467678520</c:v>
                </c:pt>
                <c:pt idx="14479">
                  <c:v>58089984</c:v>
                </c:pt>
                <c:pt idx="14480">
                  <c:v>109935456</c:v>
                </c:pt>
                <c:pt idx="14481">
                  <c:v>121538136</c:v>
                </c:pt>
                <c:pt idx="14482">
                  <c:v>62924523</c:v>
                </c:pt>
                <c:pt idx="14483">
                  <c:v>167187900</c:v>
                </c:pt>
                <c:pt idx="14484">
                  <c:v>84230748</c:v>
                </c:pt>
                <c:pt idx="14485">
                  <c:v>56335889</c:v>
                </c:pt>
                <c:pt idx="14486">
                  <c:v>369057078</c:v>
                </c:pt>
                <c:pt idx="14487">
                  <c:v>67595955</c:v>
                </c:pt>
                <c:pt idx="14488">
                  <c:v>367051986</c:v>
                </c:pt>
                <c:pt idx="14489">
                  <c:v>104492808</c:v>
                </c:pt>
                <c:pt idx="14490">
                  <c:v>119171784</c:v>
                </c:pt>
                <c:pt idx="14491">
                  <c:v>146699399</c:v>
                </c:pt>
                <c:pt idx="14492">
                  <c:v>23175988</c:v>
                </c:pt>
                <c:pt idx="14493">
                  <c:v>126432691</c:v>
                </c:pt>
                <c:pt idx="14494">
                  <c:v>155912692</c:v>
                </c:pt>
                <c:pt idx="14495">
                  <c:v>203718852</c:v>
                </c:pt>
                <c:pt idx="14496">
                  <c:v>59074779</c:v>
                </c:pt>
                <c:pt idx="14497">
                  <c:v>120152284</c:v>
                </c:pt>
                <c:pt idx="14498">
                  <c:v>158715695</c:v>
                </c:pt>
                <c:pt idx="14499">
                  <c:v>38528814</c:v>
                </c:pt>
                <c:pt idx="14500">
                  <c:v>94056984</c:v>
                </c:pt>
                <c:pt idx="14501">
                  <c:v>84182705</c:v>
                </c:pt>
                <c:pt idx="14502">
                  <c:v>5997068</c:v>
                </c:pt>
                <c:pt idx="14503">
                  <c:v>31313302</c:v>
                </c:pt>
                <c:pt idx="14504">
                  <c:v>44986635</c:v>
                </c:pt>
                <c:pt idx="14505">
                  <c:v>203553750</c:v>
                </c:pt>
                <c:pt idx="14506">
                  <c:v>78632176</c:v>
                </c:pt>
                <c:pt idx="14507">
                  <c:v>147504704</c:v>
                </c:pt>
                <c:pt idx="14508">
                  <c:v>37129680</c:v>
                </c:pt>
                <c:pt idx="14509">
                  <c:v>171133116</c:v>
                </c:pt>
                <c:pt idx="14510">
                  <c:v>188551684</c:v>
                </c:pt>
                <c:pt idx="14511">
                  <c:v>54362674</c:v>
                </c:pt>
                <c:pt idx="14512">
                  <c:v>92467375</c:v>
                </c:pt>
                <c:pt idx="14513">
                  <c:v>91901464</c:v>
                </c:pt>
                <c:pt idx="14514">
                  <c:v>35775200</c:v>
                </c:pt>
                <c:pt idx="14515">
                  <c:v>104182528</c:v>
                </c:pt>
                <c:pt idx="14516">
                  <c:v>30007325</c:v>
                </c:pt>
                <c:pt idx="14517">
                  <c:v>86948550</c:v>
                </c:pt>
                <c:pt idx="14518">
                  <c:v>76053832</c:v>
                </c:pt>
                <c:pt idx="14519">
                  <c:v>213192913</c:v>
                </c:pt>
                <c:pt idx="14520">
                  <c:v>488277642</c:v>
                </c:pt>
                <c:pt idx="14521">
                  <c:v>78607628</c:v>
                </c:pt>
                <c:pt idx="14522">
                  <c:v>34155352</c:v>
                </c:pt>
                <c:pt idx="14523">
                  <c:v>1482424075</c:v>
                </c:pt>
                <c:pt idx="14524">
                  <c:v>375014540</c:v>
                </c:pt>
                <c:pt idx="14525">
                  <c:v>24404900</c:v>
                </c:pt>
                <c:pt idx="14526">
                  <c:v>68963661</c:v>
                </c:pt>
                <c:pt idx="14527">
                  <c:v>55793681</c:v>
                </c:pt>
                <c:pt idx="14528">
                  <c:v>442680576</c:v>
                </c:pt>
                <c:pt idx="14529">
                  <c:v>448056894</c:v>
                </c:pt>
                <c:pt idx="14530">
                  <c:v>45259170</c:v>
                </c:pt>
                <c:pt idx="14531">
                  <c:v>65556720</c:v>
                </c:pt>
                <c:pt idx="14532">
                  <c:v>4885947</c:v>
                </c:pt>
                <c:pt idx="14533">
                  <c:v>1011073980</c:v>
                </c:pt>
                <c:pt idx="14534">
                  <c:v>1044974730</c:v>
                </c:pt>
                <c:pt idx="14535">
                  <c:v>41437660</c:v>
                </c:pt>
                <c:pt idx="14536">
                  <c:v>568779133</c:v>
                </c:pt>
                <c:pt idx="14537">
                  <c:v>7581280</c:v>
                </c:pt>
                <c:pt idx="14538">
                  <c:v>514362827</c:v>
                </c:pt>
                <c:pt idx="14539">
                  <c:v>22631016</c:v>
                </c:pt>
                <c:pt idx="14540">
                  <c:v>332035314</c:v>
                </c:pt>
                <c:pt idx="14541">
                  <c:v>62962185</c:v>
                </c:pt>
                <c:pt idx="14542">
                  <c:v>146646192</c:v>
                </c:pt>
                <c:pt idx="14543">
                  <c:v>216524305</c:v>
                </c:pt>
                <c:pt idx="14544">
                  <c:v>123045634</c:v>
                </c:pt>
                <c:pt idx="14545">
                  <c:v>230364670</c:v>
                </c:pt>
                <c:pt idx="14546">
                  <c:v>149513000</c:v>
                </c:pt>
                <c:pt idx="14547">
                  <c:v>651459600</c:v>
                </c:pt>
                <c:pt idx="14548">
                  <c:v>88811926</c:v>
                </c:pt>
                <c:pt idx="14549">
                  <c:v>465243040</c:v>
                </c:pt>
                <c:pt idx="14550">
                  <c:v>95318300</c:v>
                </c:pt>
                <c:pt idx="14551">
                  <c:v>349751872</c:v>
                </c:pt>
                <c:pt idx="14552">
                  <c:v>46434336</c:v>
                </c:pt>
                <c:pt idx="14553">
                  <c:v>61352181</c:v>
                </c:pt>
                <c:pt idx="14554">
                  <c:v>61779194</c:v>
                </c:pt>
                <c:pt idx="14555">
                  <c:v>1658905248</c:v>
                </c:pt>
                <c:pt idx="14556">
                  <c:v>34759662</c:v>
                </c:pt>
                <c:pt idx="14557">
                  <c:v>182260617</c:v>
                </c:pt>
                <c:pt idx="14558">
                  <c:v>127268850</c:v>
                </c:pt>
                <c:pt idx="14559">
                  <c:v>468377508</c:v>
                </c:pt>
                <c:pt idx="14560">
                  <c:v>147282240</c:v>
                </c:pt>
                <c:pt idx="14561">
                  <c:v>41690150</c:v>
                </c:pt>
                <c:pt idx="14562">
                  <c:v>413633745</c:v>
                </c:pt>
                <c:pt idx="14563">
                  <c:v>185629970</c:v>
                </c:pt>
                <c:pt idx="14564">
                  <c:v>599604390</c:v>
                </c:pt>
                <c:pt idx="14565">
                  <c:v>40568532</c:v>
                </c:pt>
                <c:pt idx="14566">
                  <c:v>91535736</c:v>
                </c:pt>
                <c:pt idx="14567">
                  <c:v>281491182</c:v>
                </c:pt>
                <c:pt idx="14568">
                  <c:v>40798175</c:v>
                </c:pt>
                <c:pt idx="14569">
                  <c:v>42333778</c:v>
                </c:pt>
                <c:pt idx="14570">
                  <c:v>338927173</c:v>
                </c:pt>
                <c:pt idx="14571">
                  <c:v>41565125</c:v>
                </c:pt>
                <c:pt idx="14572">
                  <c:v>43668720</c:v>
                </c:pt>
                <c:pt idx="14573">
                  <c:v>304470986</c:v>
                </c:pt>
                <c:pt idx="14574">
                  <c:v>274372473</c:v>
                </c:pt>
                <c:pt idx="14575">
                  <c:v>1198324138</c:v>
                </c:pt>
                <c:pt idx="14576">
                  <c:v>1069726770</c:v>
                </c:pt>
                <c:pt idx="14577">
                  <c:v>282493156</c:v>
                </c:pt>
                <c:pt idx="14578">
                  <c:v>153181545</c:v>
                </c:pt>
                <c:pt idx="14579">
                  <c:v>119188410</c:v>
                </c:pt>
                <c:pt idx="14580">
                  <c:v>1493506992</c:v>
                </c:pt>
                <c:pt idx="14581">
                  <c:v>1801096306</c:v>
                </c:pt>
                <c:pt idx="14582">
                  <c:v>90694440</c:v>
                </c:pt>
                <c:pt idx="14583">
                  <c:v>1505444645</c:v>
                </c:pt>
                <c:pt idx="14584">
                  <c:v>960988750</c:v>
                </c:pt>
                <c:pt idx="14585">
                  <c:v>566049792</c:v>
                </c:pt>
                <c:pt idx="14586">
                  <c:v>131910975</c:v>
                </c:pt>
                <c:pt idx="14587">
                  <c:v>44993739</c:v>
                </c:pt>
                <c:pt idx="14588">
                  <c:v>203997000</c:v>
                </c:pt>
                <c:pt idx="14589">
                  <c:v>22152069</c:v>
                </c:pt>
                <c:pt idx="14590">
                  <c:v>1108845270</c:v>
                </c:pt>
                <c:pt idx="14591">
                  <c:v>868544740</c:v>
                </c:pt>
                <c:pt idx="14592">
                  <c:v>607420892</c:v>
                </c:pt>
                <c:pt idx="14593">
                  <c:v>801678240</c:v>
                </c:pt>
                <c:pt idx="14594">
                  <c:v>62641656</c:v>
                </c:pt>
                <c:pt idx="14595">
                  <c:v>143472060</c:v>
                </c:pt>
                <c:pt idx="14596">
                  <c:v>94531632</c:v>
                </c:pt>
                <c:pt idx="14597">
                  <c:v>45939522</c:v>
                </c:pt>
                <c:pt idx="14598">
                  <c:v>178050297</c:v>
                </c:pt>
                <c:pt idx="14599">
                  <c:v>48613782</c:v>
                </c:pt>
                <c:pt idx="14600">
                  <c:v>132710216</c:v>
                </c:pt>
                <c:pt idx="14601">
                  <c:v>130824240</c:v>
                </c:pt>
                <c:pt idx="14602">
                  <c:v>129615520</c:v>
                </c:pt>
                <c:pt idx="14603">
                  <c:v>879193575</c:v>
                </c:pt>
                <c:pt idx="14604">
                  <c:v>323289750</c:v>
                </c:pt>
                <c:pt idx="14605">
                  <c:v>1372104</c:v>
                </c:pt>
                <c:pt idx="14606">
                  <c:v>30367510</c:v>
                </c:pt>
                <c:pt idx="14607">
                  <c:v>350414925</c:v>
                </c:pt>
                <c:pt idx="14608">
                  <c:v>323334990</c:v>
                </c:pt>
                <c:pt idx="14609">
                  <c:v>1163328120</c:v>
                </c:pt>
                <c:pt idx="14610">
                  <c:v>1151812359</c:v>
                </c:pt>
                <c:pt idx="14611">
                  <c:v>1174293120</c:v>
                </c:pt>
                <c:pt idx="14612">
                  <c:v>963702825</c:v>
                </c:pt>
                <c:pt idx="14613">
                  <c:v>1589191626</c:v>
                </c:pt>
                <c:pt idx="14614">
                  <c:v>768892194</c:v>
                </c:pt>
                <c:pt idx="14615">
                  <c:v>1200972439</c:v>
                </c:pt>
                <c:pt idx="14616">
                  <c:v>642220145</c:v>
                </c:pt>
                <c:pt idx="14617">
                  <c:v>689923460</c:v>
                </c:pt>
                <c:pt idx="14618">
                  <c:v>823744485</c:v>
                </c:pt>
                <c:pt idx="14619">
                  <c:v>1378468200</c:v>
                </c:pt>
                <c:pt idx="14620">
                  <c:v>791028581</c:v>
                </c:pt>
                <c:pt idx="14621">
                  <c:v>332813511</c:v>
                </c:pt>
                <c:pt idx="14622">
                  <c:v>1642133588</c:v>
                </c:pt>
                <c:pt idx="14623">
                  <c:v>778792503</c:v>
                </c:pt>
                <c:pt idx="14624">
                  <c:v>652371589</c:v>
                </c:pt>
                <c:pt idx="14625">
                  <c:v>8940602</c:v>
                </c:pt>
                <c:pt idx="14626">
                  <c:v>52463694</c:v>
                </c:pt>
                <c:pt idx="14627">
                  <c:v>28417350</c:v>
                </c:pt>
                <c:pt idx="14628">
                  <c:v>86953986</c:v>
                </c:pt>
                <c:pt idx="14629">
                  <c:v>142613050</c:v>
                </c:pt>
                <c:pt idx="14630">
                  <c:v>46263308</c:v>
                </c:pt>
                <c:pt idx="14631">
                  <c:v>112023555</c:v>
                </c:pt>
                <c:pt idx="14632">
                  <c:v>20727663</c:v>
                </c:pt>
                <c:pt idx="14633">
                  <c:v>21065794</c:v>
                </c:pt>
                <c:pt idx="14634">
                  <c:v>66845264</c:v>
                </c:pt>
                <c:pt idx="14635">
                  <c:v>131316120</c:v>
                </c:pt>
                <c:pt idx="14636">
                  <c:v>69516810</c:v>
                </c:pt>
                <c:pt idx="14637">
                  <c:v>24606398</c:v>
                </c:pt>
                <c:pt idx="14638">
                  <c:v>26894136</c:v>
                </c:pt>
                <c:pt idx="14639">
                  <c:v>6744750</c:v>
                </c:pt>
                <c:pt idx="14640">
                  <c:v>9185805</c:v>
                </c:pt>
                <c:pt idx="14641">
                  <c:v>78568320</c:v>
                </c:pt>
                <c:pt idx="14642">
                  <c:v>75370548</c:v>
                </c:pt>
                <c:pt idx="14643">
                  <c:v>116460960</c:v>
                </c:pt>
                <c:pt idx="14644">
                  <c:v>25383050</c:v>
                </c:pt>
                <c:pt idx="14645">
                  <c:v>115243590</c:v>
                </c:pt>
                <c:pt idx="14646">
                  <c:v>2737320</c:v>
                </c:pt>
                <c:pt idx="14647">
                  <c:v>118261504</c:v>
                </c:pt>
                <c:pt idx="14648">
                  <c:v>46108884</c:v>
                </c:pt>
                <c:pt idx="14649">
                  <c:v>92958770</c:v>
                </c:pt>
                <c:pt idx="14650">
                  <c:v>17526300</c:v>
                </c:pt>
                <c:pt idx="14651">
                  <c:v>59832848</c:v>
                </c:pt>
                <c:pt idx="14652">
                  <c:v>48803904</c:v>
                </c:pt>
                <c:pt idx="14653">
                  <c:v>13703357</c:v>
                </c:pt>
                <c:pt idx="14654">
                  <c:v>248349537</c:v>
                </c:pt>
                <c:pt idx="14655">
                  <c:v>50544702</c:v>
                </c:pt>
                <c:pt idx="14656">
                  <c:v>40400615</c:v>
                </c:pt>
                <c:pt idx="14657">
                  <c:v>202307525</c:v>
                </c:pt>
                <c:pt idx="14658">
                  <c:v>112066350</c:v>
                </c:pt>
                <c:pt idx="14659">
                  <c:v>176650741</c:v>
                </c:pt>
                <c:pt idx="14660">
                  <c:v>108239016</c:v>
                </c:pt>
                <c:pt idx="14661">
                  <c:v>203215122</c:v>
                </c:pt>
                <c:pt idx="14662">
                  <c:v>78972687</c:v>
                </c:pt>
                <c:pt idx="14663">
                  <c:v>27331784</c:v>
                </c:pt>
                <c:pt idx="14664">
                  <c:v>82765648</c:v>
                </c:pt>
                <c:pt idx="14665">
                  <c:v>34999375</c:v>
                </c:pt>
                <c:pt idx="14666">
                  <c:v>95854518</c:v>
                </c:pt>
                <c:pt idx="14667">
                  <c:v>7402086</c:v>
                </c:pt>
                <c:pt idx="14668">
                  <c:v>174008124</c:v>
                </c:pt>
                <c:pt idx="14669">
                  <c:v>413487942</c:v>
                </c:pt>
                <c:pt idx="14670">
                  <c:v>130015332</c:v>
                </c:pt>
                <c:pt idx="14671">
                  <c:v>65709464</c:v>
                </c:pt>
                <c:pt idx="14672">
                  <c:v>90122940</c:v>
                </c:pt>
                <c:pt idx="14673">
                  <c:v>13038960</c:v>
                </c:pt>
                <c:pt idx="14674">
                  <c:v>74072877</c:v>
                </c:pt>
                <c:pt idx="14675">
                  <c:v>88433400</c:v>
                </c:pt>
                <c:pt idx="14676">
                  <c:v>32032568</c:v>
                </c:pt>
                <c:pt idx="14677">
                  <c:v>112637850</c:v>
                </c:pt>
                <c:pt idx="14678">
                  <c:v>179614248</c:v>
                </c:pt>
                <c:pt idx="14679">
                  <c:v>31611396</c:v>
                </c:pt>
                <c:pt idx="14680">
                  <c:v>41377563</c:v>
                </c:pt>
                <c:pt idx="14681">
                  <c:v>4285378</c:v>
                </c:pt>
                <c:pt idx="14682">
                  <c:v>178609008</c:v>
                </c:pt>
                <c:pt idx="14683">
                  <c:v>48993644</c:v>
                </c:pt>
                <c:pt idx="14684">
                  <c:v>815478600</c:v>
                </c:pt>
                <c:pt idx="14685">
                  <c:v>700257049</c:v>
                </c:pt>
                <c:pt idx="14686">
                  <c:v>982438652</c:v>
                </c:pt>
                <c:pt idx="14687">
                  <c:v>55463584</c:v>
                </c:pt>
                <c:pt idx="14688">
                  <c:v>55324800</c:v>
                </c:pt>
                <c:pt idx="14689">
                  <c:v>262437522</c:v>
                </c:pt>
                <c:pt idx="14690">
                  <c:v>360961640</c:v>
                </c:pt>
                <c:pt idx="14691">
                  <c:v>20401346</c:v>
                </c:pt>
                <c:pt idx="14692">
                  <c:v>22064406</c:v>
                </c:pt>
                <c:pt idx="14693">
                  <c:v>134388899</c:v>
                </c:pt>
                <c:pt idx="14694">
                  <c:v>604692572</c:v>
                </c:pt>
                <c:pt idx="14695">
                  <c:v>84775636</c:v>
                </c:pt>
                <c:pt idx="14696">
                  <c:v>9859975</c:v>
                </c:pt>
                <c:pt idx="14697">
                  <c:v>333739854</c:v>
                </c:pt>
                <c:pt idx="14698">
                  <c:v>71761840</c:v>
                </c:pt>
                <c:pt idx="14699">
                  <c:v>94549918</c:v>
                </c:pt>
                <c:pt idx="14700">
                  <c:v>32142360</c:v>
                </c:pt>
                <c:pt idx="14701">
                  <c:v>15423980</c:v>
                </c:pt>
                <c:pt idx="14702">
                  <c:v>60646320</c:v>
                </c:pt>
                <c:pt idx="14703">
                  <c:v>360880000</c:v>
                </c:pt>
                <c:pt idx="14704">
                  <c:v>371079930</c:v>
                </c:pt>
                <c:pt idx="14705">
                  <c:v>27193599</c:v>
                </c:pt>
                <c:pt idx="14706">
                  <c:v>18609162</c:v>
                </c:pt>
                <c:pt idx="14707">
                  <c:v>36393912</c:v>
                </c:pt>
                <c:pt idx="14708">
                  <c:v>229185285</c:v>
                </c:pt>
                <c:pt idx="14709">
                  <c:v>8995736</c:v>
                </c:pt>
                <c:pt idx="14710">
                  <c:v>53437176</c:v>
                </c:pt>
                <c:pt idx="14711">
                  <c:v>56509275</c:v>
                </c:pt>
                <c:pt idx="14712">
                  <c:v>44202960</c:v>
                </c:pt>
                <c:pt idx="14713">
                  <c:v>623975517</c:v>
                </c:pt>
                <c:pt idx="14714">
                  <c:v>11178636</c:v>
                </c:pt>
                <c:pt idx="14715">
                  <c:v>265205147</c:v>
                </c:pt>
                <c:pt idx="14716">
                  <c:v>336164780</c:v>
                </c:pt>
                <c:pt idx="14717">
                  <c:v>19937672</c:v>
                </c:pt>
                <c:pt idx="14718">
                  <c:v>19666407</c:v>
                </c:pt>
                <c:pt idx="14719">
                  <c:v>30167550</c:v>
                </c:pt>
                <c:pt idx="14720">
                  <c:v>81851010</c:v>
                </c:pt>
                <c:pt idx="14721">
                  <c:v>59227112</c:v>
                </c:pt>
                <c:pt idx="14722">
                  <c:v>3231494</c:v>
                </c:pt>
                <c:pt idx="14723">
                  <c:v>149060493</c:v>
                </c:pt>
                <c:pt idx="14724">
                  <c:v>74391090</c:v>
                </c:pt>
                <c:pt idx="14725">
                  <c:v>99494036</c:v>
                </c:pt>
                <c:pt idx="14726">
                  <c:v>55587084</c:v>
                </c:pt>
                <c:pt idx="14727">
                  <c:v>51667840</c:v>
                </c:pt>
                <c:pt idx="14728">
                  <c:v>114421059</c:v>
                </c:pt>
                <c:pt idx="14729">
                  <c:v>31415008</c:v>
                </c:pt>
                <c:pt idx="14730">
                  <c:v>43743072</c:v>
                </c:pt>
                <c:pt idx="14731">
                  <c:v>21211869</c:v>
                </c:pt>
                <c:pt idx="14732">
                  <c:v>18298467</c:v>
                </c:pt>
                <c:pt idx="14733">
                  <c:v>98855517</c:v>
                </c:pt>
                <c:pt idx="14734">
                  <c:v>66146014</c:v>
                </c:pt>
                <c:pt idx="14735">
                  <c:v>12100423</c:v>
                </c:pt>
                <c:pt idx="14736">
                  <c:v>40769145</c:v>
                </c:pt>
                <c:pt idx="14737">
                  <c:v>721427190</c:v>
                </c:pt>
                <c:pt idx="14738">
                  <c:v>74718336</c:v>
                </c:pt>
                <c:pt idx="14739">
                  <c:v>38630592</c:v>
                </c:pt>
                <c:pt idx="14740">
                  <c:v>95337054</c:v>
                </c:pt>
                <c:pt idx="14741">
                  <c:v>130508504</c:v>
                </c:pt>
                <c:pt idx="14742">
                  <c:v>42363360</c:v>
                </c:pt>
                <c:pt idx="14743">
                  <c:v>108601020</c:v>
                </c:pt>
                <c:pt idx="14744">
                  <c:v>26317333</c:v>
                </c:pt>
                <c:pt idx="14745">
                  <c:v>510208794</c:v>
                </c:pt>
                <c:pt idx="14746">
                  <c:v>40869984</c:v>
                </c:pt>
                <c:pt idx="14747">
                  <c:v>50110641</c:v>
                </c:pt>
                <c:pt idx="14748">
                  <c:v>19193895</c:v>
                </c:pt>
                <c:pt idx="14749">
                  <c:v>49813274</c:v>
                </c:pt>
                <c:pt idx="14750">
                  <c:v>384841696</c:v>
                </c:pt>
                <c:pt idx="14751">
                  <c:v>161016945</c:v>
                </c:pt>
                <c:pt idx="14752">
                  <c:v>12854120</c:v>
                </c:pt>
                <c:pt idx="14753">
                  <c:v>17254762</c:v>
                </c:pt>
                <c:pt idx="14754">
                  <c:v>98604062</c:v>
                </c:pt>
                <c:pt idx="14755">
                  <c:v>21505325</c:v>
                </c:pt>
                <c:pt idx="14756">
                  <c:v>34520532</c:v>
                </c:pt>
                <c:pt idx="14757">
                  <c:v>8116548</c:v>
                </c:pt>
                <c:pt idx="14758">
                  <c:v>19573120</c:v>
                </c:pt>
                <c:pt idx="14759">
                  <c:v>18535452</c:v>
                </c:pt>
                <c:pt idx="14760">
                  <c:v>33247330</c:v>
                </c:pt>
                <c:pt idx="14761">
                  <c:v>6250714</c:v>
                </c:pt>
                <c:pt idx="14762">
                  <c:v>36677916</c:v>
                </c:pt>
                <c:pt idx="14763">
                  <c:v>4782709</c:v>
                </c:pt>
                <c:pt idx="14764">
                  <c:v>23493113</c:v>
                </c:pt>
                <c:pt idx="14765">
                  <c:v>453902901</c:v>
                </c:pt>
                <c:pt idx="14766">
                  <c:v>22042322</c:v>
                </c:pt>
                <c:pt idx="14767">
                  <c:v>14236530</c:v>
                </c:pt>
                <c:pt idx="14768">
                  <c:v>20630742</c:v>
                </c:pt>
                <c:pt idx="14769">
                  <c:v>29056608</c:v>
                </c:pt>
                <c:pt idx="14770">
                  <c:v>295956628</c:v>
                </c:pt>
                <c:pt idx="14771">
                  <c:v>9829128</c:v>
                </c:pt>
                <c:pt idx="14772">
                  <c:v>22400424</c:v>
                </c:pt>
                <c:pt idx="14773">
                  <c:v>184736320</c:v>
                </c:pt>
                <c:pt idx="14774">
                  <c:v>35226688</c:v>
                </c:pt>
                <c:pt idx="14775">
                  <c:v>350032384</c:v>
                </c:pt>
                <c:pt idx="14776">
                  <c:v>5218293</c:v>
                </c:pt>
                <c:pt idx="14777">
                  <c:v>28935725</c:v>
                </c:pt>
                <c:pt idx="14778">
                  <c:v>186559088</c:v>
                </c:pt>
                <c:pt idx="14779">
                  <c:v>981416814</c:v>
                </c:pt>
                <c:pt idx="14780">
                  <c:v>328616505</c:v>
                </c:pt>
                <c:pt idx="14781">
                  <c:v>17210368</c:v>
                </c:pt>
                <c:pt idx="14782">
                  <c:v>83528190</c:v>
                </c:pt>
                <c:pt idx="14783">
                  <c:v>243601067</c:v>
                </c:pt>
                <c:pt idx="14784">
                  <c:v>106428985</c:v>
                </c:pt>
                <c:pt idx="14785">
                  <c:v>115576370</c:v>
                </c:pt>
                <c:pt idx="14786">
                  <c:v>13933920</c:v>
                </c:pt>
                <c:pt idx="14787">
                  <c:v>4946354</c:v>
                </c:pt>
                <c:pt idx="14788">
                  <c:v>2611218</c:v>
                </c:pt>
                <c:pt idx="14789">
                  <c:v>24549939</c:v>
                </c:pt>
                <c:pt idx="14790">
                  <c:v>39479120</c:v>
                </c:pt>
                <c:pt idx="14791">
                  <c:v>97580439</c:v>
                </c:pt>
                <c:pt idx="14792">
                  <c:v>27967028</c:v>
                </c:pt>
                <c:pt idx="14793">
                  <c:v>30916047</c:v>
                </c:pt>
                <c:pt idx="14794">
                  <c:v>11237064</c:v>
                </c:pt>
                <c:pt idx="14795">
                  <c:v>2414929</c:v>
                </c:pt>
                <c:pt idx="14796">
                  <c:v>9847032</c:v>
                </c:pt>
                <c:pt idx="14797">
                  <c:v>49688263</c:v>
                </c:pt>
                <c:pt idx="14798">
                  <c:v>16501616</c:v>
                </c:pt>
                <c:pt idx="14799">
                  <c:v>64925773</c:v>
                </c:pt>
                <c:pt idx="14800">
                  <c:v>12474420</c:v>
                </c:pt>
                <c:pt idx="14801">
                  <c:v>65879801</c:v>
                </c:pt>
                <c:pt idx="14802">
                  <c:v>42131271</c:v>
                </c:pt>
                <c:pt idx="14803">
                  <c:v>24553776</c:v>
                </c:pt>
                <c:pt idx="14804">
                  <c:v>24161254</c:v>
                </c:pt>
                <c:pt idx="14805">
                  <c:v>38402910</c:v>
                </c:pt>
                <c:pt idx="14806">
                  <c:v>9478795</c:v>
                </c:pt>
                <c:pt idx="14807">
                  <c:v>4027920</c:v>
                </c:pt>
                <c:pt idx="14808">
                  <c:v>4539366</c:v>
                </c:pt>
                <c:pt idx="14809">
                  <c:v>70606280</c:v>
                </c:pt>
                <c:pt idx="14810">
                  <c:v>62247256</c:v>
                </c:pt>
                <c:pt idx="14811">
                  <c:v>6328192</c:v>
                </c:pt>
                <c:pt idx="14812">
                  <c:v>72343336</c:v>
                </c:pt>
                <c:pt idx="14813">
                  <c:v>25758880</c:v>
                </c:pt>
                <c:pt idx="14814">
                  <c:v>171802680</c:v>
                </c:pt>
                <c:pt idx="14815">
                  <c:v>10976506</c:v>
                </c:pt>
                <c:pt idx="14816">
                  <c:v>110628180</c:v>
                </c:pt>
                <c:pt idx="14817">
                  <c:v>4156515</c:v>
                </c:pt>
                <c:pt idx="14818">
                  <c:v>4214112</c:v>
                </c:pt>
                <c:pt idx="14819">
                  <c:v>113904508</c:v>
                </c:pt>
                <c:pt idx="14820">
                  <c:v>29955840</c:v>
                </c:pt>
                <c:pt idx="14821">
                  <c:v>15321145</c:v>
                </c:pt>
                <c:pt idx="14822">
                  <c:v>9882976</c:v>
                </c:pt>
                <c:pt idx="14823">
                  <c:v>3905070</c:v>
                </c:pt>
                <c:pt idx="14824">
                  <c:v>200544432</c:v>
                </c:pt>
                <c:pt idx="14825">
                  <c:v>198689715</c:v>
                </c:pt>
                <c:pt idx="14826">
                  <c:v>20043126</c:v>
                </c:pt>
                <c:pt idx="14827">
                  <c:v>160136496</c:v>
                </c:pt>
                <c:pt idx="14828">
                  <c:v>216802528</c:v>
                </c:pt>
                <c:pt idx="14829">
                  <c:v>80669435</c:v>
                </c:pt>
                <c:pt idx="14830">
                  <c:v>100184392</c:v>
                </c:pt>
                <c:pt idx="14831">
                  <c:v>17755848</c:v>
                </c:pt>
                <c:pt idx="14832">
                  <c:v>13118265</c:v>
                </c:pt>
                <c:pt idx="14833">
                  <c:v>43765769</c:v>
                </c:pt>
                <c:pt idx="14834">
                  <c:v>2779585</c:v>
                </c:pt>
                <c:pt idx="14835">
                  <c:v>60790255</c:v>
                </c:pt>
                <c:pt idx="14836">
                  <c:v>7763984</c:v>
                </c:pt>
                <c:pt idx="14837">
                  <c:v>19469481</c:v>
                </c:pt>
                <c:pt idx="14838">
                  <c:v>11651970</c:v>
                </c:pt>
                <c:pt idx="14839">
                  <c:v>3575015</c:v>
                </c:pt>
                <c:pt idx="14840">
                  <c:v>3091010</c:v>
                </c:pt>
                <c:pt idx="14841">
                  <c:v>16103800</c:v>
                </c:pt>
                <c:pt idx="14842">
                  <c:v>6904533</c:v>
                </c:pt>
                <c:pt idx="14843">
                  <c:v>12589570</c:v>
                </c:pt>
                <c:pt idx="14844">
                  <c:v>21664080</c:v>
                </c:pt>
                <c:pt idx="14845">
                  <c:v>11006400</c:v>
                </c:pt>
                <c:pt idx="14846">
                  <c:v>64471233</c:v>
                </c:pt>
                <c:pt idx="14847">
                  <c:v>33201740</c:v>
                </c:pt>
                <c:pt idx="14848">
                  <c:v>10418715</c:v>
                </c:pt>
                <c:pt idx="14849">
                  <c:v>29205170</c:v>
                </c:pt>
                <c:pt idx="14850">
                  <c:v>54108485</c:v>
                </c:pt>
                <c:pt idx="14851">
                  <c:v>427822971</c:v>
                </c:pt>
                <c:pt idx="14852">
                  <c:v>23613612</c:v>
                </c:pt>
                <c:pt idx="14853">
                  <c:v>49427790</c:v>
                </c:pt>
                <c:pt idx="14854">
                  <c:v>26159392</c:v>
                </c:pt>
                <c:pt idx="14855">
                  <c:v>20059760</c:v>
                </c:pt>
                <c:pt idx="14856">
                  <c:v>740708048</c:v>
                </c:pt>
                <c:pt idx="14857">
                  <c:v>1108154820</c:v>
                </c:pt>
                <c:pt idx="14858">
                  <c:v>991842539</c:v>
                </c:pt>
                <c:pt idx="14859">
                  <c:v>39459995</c:v>
                </c:pt>
                <c:pt idx="14860">
                  <c:v>1259637468</c:v>
                </c:pt>
                <c:pt idx="14861">
                  <c:v>293598243</c:v>
                </c:pt>
                <c:pt idx="14862">
                  <c:v>1694608365</c:v>
                </c:pt>
                <c:pt idx="14863">
                  <c:v>95052422</c:v>
                </c:pt>
                <c:pt idx="14864">
                  <c:v>12417981</c:v>
                </c:pt>
                <c:pt idx="14865">
                  <c:v>7610732</c:v>
                </c:pt>
                <c:pt idx="14866">
                  <c:v>58142052</c:v>
                </c:pt>
                <c:pt idx="14867">
                  <c:v>13236256</c:v>
                </c:pt>
                <c:pt idx="14868">
                  <c:v>1038304</c:v>
                </c:pt>
                <c:pt idx="14869">
                  <c:v>6191094</c:v>
                </c:pt>
                <c:pt idx="14870">
                  <c:v>9990370</c:v>
                </c:pt>
                <c:pt idx="14871">
                  <c:v>358499740</c:v>
                </c:pt>
                <c:pt idx="14872">
                  <c:v>548637814</c:v>
                </c:pt>
                <c:pt idx="14873">
                  <c:v>19933732</c:v>
                </c:pt>
                <c:pt idx="14874">
                  <c:v>4094178</c:v>
                </c:pt>
                <c:pt idx="14875">
                  <c:v>5911224</c:v>
                </c:pt>
                <c:pt idx="14876">
                  <c:v>26987600</c:v>
                </c:pt>
                <c:pt idx="14877">
                  <c:v>67332627</c:v>
                </c:pt>
                <c:pt idx="14878">
                  <c:v>203805586</c:v>
                </c:pt>
                <c:pt idx="14879">
                  <c:v>24375795</c:v>
                </c:pt>
                <c:pt idx="14880">
                  <c:v>194758366</c:v>
                </c:pt>
                <c:pt idx="14881">
                  <c:v>18203126</c:v>
                </c:pt>
                <c:pt idx="14882">
                  <c:v>2740519</c:v>
                </c:pt>
                <c:pt idx="14883">
                  <c:v>105388640</c:v>
                </c:pt>
                <c:pt idx="14884">
                  <c:v>59362992</c:v>
                </c:pt>
                <c:pt idx="14885">
                  <c:v>41072724</c:v>
                </c:pt>
                <c:pt idx="14886">
                  <c:v>4439904</c:v>
                </c:pt>
                <c:pt idx="14887">
                  <c:v>54409848</c:v>
                </c:pt>
                <c:pt idx="14888">
                  <c:v>64426596</c:v>
                </c:pt>
                <c:pt idx="14889">
                  <c:v>124696078</c:v>
                </c:pt>
                <c:pt idx="14890">
                  <c:v>113293367</c:v>
                </c:pt>
                <c:pt idx="14891">
                  <c:v>5360229</c:v>
                </c:pt>
                <c:pt idx="14892">
                  <c:v>16032562</c:v>
                </c:pt>
                <c:pt idx="14893">
                  <c:v>5583104</c:v>
                </c:pt>
                <c:pt idx="14894">
                  <c:v>9312585</c:v>
                </c:pt>
                <c:pt idx="14895">
                  <c:v>34096694</c:v>
                </c:pt>
                <c:pt idx="14896">
                  <c:v>48836084</c:v>
                </c:pt>
                <c:pt idx="14897">
                  <c:v>31514034</c:v>
                </c:pt>
                <c:pt idx="14898">
                  <c:v>124282122</c:v>
                </c:pt>
                <c:pt idx="14899">
                  <c:v>60362638</c:v>
                </c:pt>
                <c:pt idx="14900">
                  <c:v>13696969</c:v>
                </c:pt>
                <c:pt idx="14901">
                  <c:v>23814200</c:v>
                </c:pt>
                <c:pt idx="14902">
                  <c:v>38261808</c:v>
                </c:pt>
                <c:pt idx="14903">
                  <c:v>2109008</c:v>
                </c:pt>
                <c:pt idx="14904">
                  <c:v>8728670</c:v>
                </c:pt>
                <c:pt idx="14905">
                  <c:v>2594316</c:v>
                </c:pt>
                <c:pt idx="14906">
                  <c:v>47297760</c:v>
                </c:pt>
                <c:pt idx="14907">
                  <c:v>46316127</c:v>
                </c:pt>
                <c:pt idx="14908">
                  <c:v>24036102</c:v>
                </c:pt>
                <c:pt idx="14909">
                  <c:v>9557847</c:v>
                </c:pt>
                <c:pt idx="14910">
                  <c:v>202425550</c:v>
                </c:pt>
                <c:pt idx="14911">
                  <c:v>668741160</c:v>
                </c:pt>
                <c:pt idx="14912">
                  <c:v>410630340</c:v>
                </c:pt>
                <c:pt idx="14913">
                  <c:v>85342046</c:v>
                </c:pt>
                <c:pt idx="14914">
                  <c:v>3299917</c:v>
                </c:pt>
                <c:pt idx="14915">
                  <c:v>25836648</c:v>
                </c:pt>
                <c:pt idx="14916">
                  <c:v>9438934</c:v>
                </c:pt>
                <c:pt idx="14917">
                  <c:v>15618824</c:v>
                </c:pt>
                <c:pt idx="14918">
                  <c:v>47609425</c:v>
                </c:pt>
                <c:pt idx="14919">
                  <c:v>38442890</c:v>
                </c:pt>
                <c:pt idx="14920">
                  <c:v>192932328</c:v>
                </c:pt>
                <c:pt idx="14921">
                  <c:v>682223255</c:v>
                </c:pt>
                <c:pt idx="14922">
                  <c:v>170209238</c:v>
                </c:pt>
                <c:pt idx="14923">
                  <c:v>9236760</c:v>
                </c:pt>
                <c:pt idx="14924">
                  <c:v>152590923</c:v>
                </c:pt>
                <c:pt idx="14925">
                  <c:v>57737475</c:v>
                </c:pt>
                <c:pt idx="14926">
                  <c:v>1214946376</c:v>
                </c:pt>
                <c:pt idx="14927">
                  <c:v>14238882</c:v>
                </c:pt>
                <c:pt idx="14928">
                  <c:v>13108026</c:v>
                </c:pt>
                <c:pt idx="14929">
                  <c:v>26832468</c:v>
                </c:pt>
                <c:pt idx="14930">
                  <c:v>41207100</c:v>
                </c:pt>
                <c:pt idx="14931">
                  <c:v>12937750</c:v>
                </c:pt>
                <c:pt idx="14932">
                  <c:v>386611002</c:v>
                </c:pt>
                <c:pt idx="14933">
                  <c:v>31412472</c:v>
                </c:pt>
                <c:pt idx="14934">
                  <c:v>64292448</c:v>
                </c:pt>
                <c:pt idx="14935">
                  <c:v>13806365</c:v>
                </c:pt>
                <c:pt idx="14936">
                  <c:v>26732576</c:v>
                </c:pt>
                <c:pt idx="14937">
                  <c:v>23191130</c:v>
                </c:pt>
                <c:pt idx="14938">
                  <c:v>70602105</c:v>
                </c:pt>
                <c:pt idx="14939">
                  <c:v>13880166</c:v>
                </c:pt>
                <c:pt idx="14940">
                  <c:v>8444331</c:v>
                </c:pt>
                <c:pt idx="14941">
                  <c:v>12567769</c:v>
                </c:pt>
                <c:pt idx="14942">
                  <c:v>26973436</c:v>
                </c:pt>
                <c:pt idx="14943">
                  <c:v>25910456</c:v>
                </c:pt>
                <c:pt idx="14944">
                  <c:v>21561272</c:v>
                </c:pt>
                <c:pt idx="14945">
                  <c:v>5498090</c:v>
                </c:pt>
                <c:pt idx="14946">
                  <c:v>40972468</c:v>
                </c:pt>
                <c:pt idx="14947">
                  <c:v>20121795</c:v>
                </c:pt>
                <c:pt idx="14948">
                  <c:v>5587135</c:v>
                </c:pt>
                <c:pt idx="14949">
                  <c:v>186906432</c:v>
                </c:pt>
                <c:pt idx="14950">
                  <c:v>20586915</c:v>
                </c:pt>
                <c:pt idx="14951">
                  <c:v>846714309</c:v>
                </c:pt>
                <c:pt idx="14952">
                  <c:v>13282800</c:v>
                </c:pt>
                <c:pt idx="14953">
                  <c:v>85766846</c:v>
                </c:pt>
                <c:pt idx="14954">
                  <c:v>45817230</c:v>
                </c:pt>
                <c:pt idx="14955">
                  <c:v>20251200</c:v>
                </c:pt>
                <c:pt idx="14956">
                  <c:v>18639104</c:v>
                </c:pt>
                <c:pt idx="14957">
                  <c:v>1023008</c:v>
                </c:pt>
                <c:pt idx="14958">
                  <c:v>63692047</c:v>
                </c:pt>
                <c:pt idx="14959">
                  <c:v>27623064</c:v>
                </c:pt>
                <c:pt idx="14960">
                  <c:v>34230618</c:v>
                </c:pt>
                <c:pt idx="14961">
                  <c:v>77423822</c:v>
                </c:pt>
                <c:pt idx="14962">
                  <c:v>98854337</c:v>
                </c:pt>
                <c:pt idx="14963">
                  <c:v>83141707</c:v>
                </c:pt>
                <c:pt idx="14964">
                  <c:v>21897582</c:v>
                </c:pt>
                <c:pt idx="14965">
                  <c:v>34358496</c:v>
                </c:pt>
                <c:pt idx="14966">
                  <c:v>345316995</c:v>
                </c:pt>
                <c:pt idx="14967">
                  <c:v>17406147</c:v>
                </c:pt>
                <c:pt idx="14968">
                  <c:v>78120612</c:v>
                </c:pt>
                <c:pt idx="14969">
                  <c:v>559500600</c:v>
                </c:pt>
                <c:pt idx="14970">
                  <c:v>53790488</c:v>
                </c:pt>
                <c:pt idx="14971">
                  <c:v>612915660</c:v>
                </c:pt>
                <c:pt idx="14972">
                  <c:v>109632153</c:v>
                </c:pt>
                <c:pt idx="14973">
                  <c:v>218381478</c:v>
                </c:pt>
                <c:pt idx="14974">
                  <c:v>30169565</c:v>
                </c:pt>
                <c:pt idx="14975">
                  <c:v>116847360</c:v>
                </c:pt>
                <c:pt idx="14976">
                  <c:v>17295576</c:v>
                </c:pt>
                <c:pt idx="14977">
                  <c:v>8821788</c:v>
                </c:pt>
                <c:pt idx="14978">
                  <c:v>528423588</c:v>
                </c:pt>
                <c:pt idx="14979">
                  <c:v>265071197</c:v>
                </c:pt>
                <c:pt idx="14980">
                  <c:v>12406263</c:v>
                </c:pt>
                <c:pt idx="14981">
                  <c:v>6684246</c:v>
                </c:pt>
                <c:pt idx="14982">
                  <c:v>91340296</c:v>
                </c:pt>
                <c:pt idx="14983">
                  <c:v>317974802</c:v>
                </c:pt>
                <c:pt idx="14984">
                  <c:v>1146393</c:v>
                </c:pt>
                <c:pt idx="14985">
                  <c:v>83151176</c:v>
                </c:pt>
                <c:pt idx="14986">
                  <c:v>45606555</c:v>
                </c:pt>
                <c:pt idx="14987">
                  <c:v>29131518</c:v>
                </c:pt>
                <c:pt idx="14988">
                  <c:v>4786464</c:v>
                </c:pt>
                <c:pt idx="14989">
                  <c:v>25478388</c:v>
                </c:pt>
                <c:pt idx="14990">
                  <c:v>38801736</c:v>
                </c:pt>
                <c:pt idx="14991">
                  <c:v>16013558</c:v>
                </c:pt>
                <c:pt idx="14992">
                  <c:v>8349314</c:v>
                </c:pt>
                <c:pt idx="14993">
                  <c:v>77170131</c:v>
                </c:pt>
                <c:pt idx="14994">
                  <c:v>135594784</c:v>
                </c:pt>
                <c:pt idx="14995">
                  <c:v>29354485</c:v>
                </c:pt>
                <c:pt idx="14996">
                  <c:v>108980388</c:v>
                </c:pt>
                <c:pt idx="14997">
                  <c:v>3476385</c:v>
                </c:pt>
                <c:pt idx="14998">
                  <c:v>15211734</c:v>
                </c:pt>
                <c:pt idx="14999">
                  <c:v>8969757</c:v>
                </c:pt>
                <c:pt idx="15000">
                  <c:v>76070962</c:v>
                </c:pt>
                <c:pt idx="15001">
                  <c:v>23043426</c:v>
                </c:pt>
                <c:pt idx="15002">
                  <c:v>94679290</c:v>
                </c:pt>
                <c:pt idx="15003">
                  <c:v>143854538</c:v>
                </c:pt>
                <c:pt idx="15004">
                  <c:v>35729988</c:v>
                </c:pt>
                <c:pt idx="15005">
                  <c:v>74657066</c:v>
                </c:pt>
                <c:pt idx="15006">
                  <c:v>51203350</c:v>
                </c:pt>
                <c:pt idx="15007">
                  <c:v>12507054</c:v>
                </c:pt>
                <c:pt idx="15008">
                  <c:v>1873320</c:v>
                </c:pt>
                <c:pt idx="15009">
                  <c:v>23769950</c:v>
                </c:pt>
                <c:pt idx="15010">
                  <c:v>37377592</c:v>
                </c:pt>
                <c:pt idx="15011">
                  <c:v>28804734</c:v>
                </c:pt>
                <c:pt idx="15012">
                  <c:v>137648844</c:v>
                </c:pt>
                <c:pt idx="15013">
                  <c:v>6583232</c:v>
                </c:pt>
                <c:pt idx="15014">
                  <c:v>1181086515</c:v>
                </c:pt>
                <c:pt idx="15015">
                  <c:v>1480981820</c:v>
                </c:pt>
                <c:pt idx="15016">
                  <c:v>1826671734</c:v>
                </c:pt>
                <c:pt idx="15017">
                  <c:v>20799480</c:v>
                </c:pt>
                <c:pt idx="15018">
                  <c:v>4076872</c:v>
                </c:pt>
                <c:pt idx="15019">
                  <c:v>27792500</c:v>
                </c:pt>
                <c:pt idx="15020">
                  <c:v>2888622</c:v>
                </c:pt>
                <c:pt idx="15021">
                  <c:v>304057083</c:v>
                </c:pt>
                <c:pt idx="15022">
                  <c:v>6594840</c:v>
                </c:pt>
                <c:pt idx="15023">
                  <c:v>13814900</c:v>
                </c:pt>
                <c:pt idx="15024">
                  <c:v>79002855</c:v>
                </c:pt>
                <c:pt idx="15025">
                  <c:v>15346200</c:v>
                </c:pt>
                <c:pt idx="15026">
                  <c:v>20586412</c:v>
                </c:pt>
                <c:pt idx="15027">
                  <c:v>444295209</c:v>
                </c:pt>
                <c:pt idx="15028">
                  <c:v>1036007550</c:v>
                </c:pt>
                <c:pt idx="15029">
                  <c:v>442530642</c:v>
                </c:pt>
                <c:pt idx="15030">
                  <c:v>896583645</c:v>
                </c:pt>
                <c:pt idx="15031">
                  <c:v>465595520</c:v>
                </c:pt>
                <c:pt idx="15032">
                  <c:v>195016101</c:v>
                </c:pt>
                <c:pt idx="15033">
                  <c:v>983775768</c:v>
                </c:pt>
                <c:pt idx="15034">
                  <c:v>297368064</c:v>
                </c:pt>
                <c:pt idx="15035">
                  <c:v>984655686</c:v>
                </c:pt>
                <c:pt idx="15036">
                  <c:v>695536740</c:v>
                </c:pt>
                <c:pt idx="15037">
                  <c:v>304058326</c:v>
                </c:pt>
                <c:pt idx="15038">
                  <c:v>1183182096</c:v>
                </c:pt>
                <c:pt idx="15039">
                  <c:v>960875390</c:v>
                </c:pt>
                <c:pt idx="15040">
                  <c:v>201440031</c:v>
                </c:pt>
                <c:pt idx="15041">
                  <c:v>963285657</c:v>
                </c:pt>
                <c:pt idx="15042">
                  <c:v>486918396</c:v>
                </c:pt>
                <c:pt idx="15043">
                  <c:v>957406950</c:v>
                </c:pt>
                <c:pt idx="15044">
                  <c:v>9990342</c:v>
                </c:pt>
                <c:pt idx="15045">
                  <c:v>74821308</c:v>
                </c:pt>
                <c:pt idx="15046">
                  <c:v>79079494</c:v>
                </c:pt>
                <c:pt idx="15047">
                  <c:v>50521926</c:v>
                </c:pt>
                <c:pt idx="15048">
                  <c:v>3030112</c:v>
                </c:pt>
                <c:pt idx="15049">
                  <c:v>410986160</c:v>
                </c:pt>
                <c:pt idx="15050">
                  <c:v>12061650</c:v>
                </c:pt>
                <c:pt idx="15051">
                  <c:v>4529120</c:v>
                </c:pt>
                <c:pt idx="15052">
                  <c:v>7630932</c:v>
                </c:pt>
                <c:pt idx="15053">
                  <c:v>4615623</c:v>
                </c:pt>
                <c:pt idx="15054">
                  <c:v>19111624</c:v>
                </c:pt>
                <c:pt idx="15055">
                  <c:v>172785672</c:v>
                </c:pt>
                <c:pt idx="15056">
                  <c:v>130177803</c:v>
                </c:pt>
                <c:pt idx="15057">
                  <c:v>8707000</c:v>
                </c:pt>
                <c:pt idx="15058">
                  <c:v>16250034</c:v>
                </c:pt>
                <c:pt idx="15059">
                  <c:v>147199902</c:v>
                </c:pt>
                <c:pt idx="15060">
                  <c:v>9709040</c:v>
                </c:pt>
                <c:pt idx="15061">
                  <c:v>16682710</c:v>
                </c:pt>
                <c:pt idx="15062">
                  <c:v>37232910</c:v>
                </c:pt>
                <c:pt idx="15063">
                  <c:v>23548896</c:v>
                </c:pt>
                <c:pt idx="15064">
                  <c:v>24155648</c:v>
                </c:pt>
                <c:pt idx="15065">
                  <c:v>92955870</c:v>
                </c:pt>
                <c:pt idx="15066">
                  <c:v>12910106</c:v>
                </c:pt>
                <c:pt idx="15067">
                  <c:v>23724316</c:v>
                </c:pt>
                <c:pt idx="15068">
                  <c:v>18158360</c:v>
                </c:pt>
                <c:pt idx="15069">
                  <c:v>11698670</c:v>
                </c:pt>
                <c:pt idx="15070">
                  <c:v>53244594</c:v>
                </c:pt>
                <c:pt idx="15071">
                  <c:v>10332352</c:v>
                </c:pt>
                <c:pt idx="15072">
                  <c:v>76145498</c:v>
                </c:pt>
                <c:pt idx="15073">
                  <c:v>104512234</c:v>
                </c:pt>
                <c:pt idx="15074">
                  <c:v>13195881</c:v>
                </c:pt>
                <c:pt idx="15075">
                  <c:v>171839232</c:v>
                </c:pt>
                <c:pt idx="15076">
                  <c:v>18853269</c:v>
                </c:pt>
                <c:pt idx="15077">
                  <c:v>4922190</c:v>
                </c:pt>
                <c:pt idx="15078">
                  <c:v>52636080</c:v>
                </c:pt>
                <c:pt idx="15079">
                  <c:v>2527812</c:v>
                </c:pt>
                <c:pt idx="15080">
                  <c:v>47628400</c:v>
                </c:pt>
                <c:pt idx="15081">
                  <c:v>45482510</c:v>
                </c:pt>
                <c:pt idx="15082">
                  <c:v>6264585</c:v>
                </c:pt>
                <c:pt idx="15083">
                  <c:v>19718684</c:v>
                </c:pt>
                <c:pt idx="15084">
                  <c:v>90999861</c:v>
                </c:pt>
                <c:pt idx="15085">
                  <c:v>7182136</c:v>
                </c:pt>
                <c:pt idx="15086">
                  <c:v>38157034</c:v>
                </c:pt>
                <c:pt idx="15087">
                  <c:v>17544448</c:v>
                </c:pt>
                <c:pt idx="15088">
                  <c:v>5310595</c:v>
                </c:pt>
                <c:pt idx="15089">
                  <c:v>25817040</c:v>
                </c:pt>
                <c:pt idx="15090">
                  <c:v>22622604</c:v>
                </c:pt>
                <c:pt idx="15091">
                  <c:v>25306677</c:v>
                </c:pt>
                <c:pt idx="15092">
                  <c:v>26265035</c:v>
                </c:pt>
                <c:pt idx="15093">
                  <c:v>25796736</c:v>
                </c:pt>
                <c:pt idx="15094">
                  <c:v>11827053</c:v>
                </c:pt>
                <c:pt idx="15095">
                  <c:v>838218440</c:v>
                </c:pt>
                <c:pt idx="15096">
                  <c:v>43143632</c:v>
                </c:pt>
                <c:pt idx="15097">
                  <c:v>237337750</c:v>
                </c:pt>
                <c:pt idx="15098">
                  <c:v>34112908</c:v>
                </c:pt>
                <c:pt idx="15099">
                  <c:v>9651096</c:v>
                </c:pt>
                <c:pt idx="15100">
                  <c:v>25455621</c:v>
                </c:pt>
                <c:pt idx="15101">
                  <c:v>30172428</c:v>
                </c:pt>
                <c:pt idx="15102">
                  <c:v>10593846</c:v>
                </c:pt>
                <c:pt idx="15103">
                  <c:v>23318784</c:v>
                </c:pt>
                <c:pt idx="15104">
                  <c:v>4747806</c:v>
                </c:pt>
                <c:pt idx="15105">
                  <c:v>25265269</c:v>
                </c:pt>
                <c:pt idx="15106">
                  <c:v>13584402</c:v>
                </c:pt>
                <c:pt idx="15107">
                  <c:v>23049664</c:v>
                </c:pt>
                <c:pt idx="15108">
                  <c:v>110196189</c:v>
                </c:pt>
                <c:pt idx="15109">
                  <c:v>3474484</c:v>
                </c:pt>
                <c:pt idx="15110">
                  <c:v>14828471</c:v>
                </c:pt>
                <c:pt idx="15111">
                  <c:v>26123427</c:v>
                </c:pt>
                <c:pt idx="15112">
                  <c:v>37991317</c:v>
                </c:pt>
                <c:pt idx="15113">
                  <c:v>6524432</c:v>
                </c:pt>
                <c:pt idx="15114">
                  <c:v>21394800</c:v>
                </c:pt>
                <c:pt idx="15115">
                  <c:v>115914177</c:v>
                </c:pt>
                <c:pt idx="15116">
                  <c:v>39962466</c:v>
                </c:pt>
                <c:pt idx="15117">
                  <c:v>123579408</c:v>
                </c:pt>
                <c:pt idx="15118">
                  <c:v>12965394</c:v>
                </c:pt>
                <c:pt idx="15119">
                  <c:v>11995698</c:v>
                </c:pt>
                <c:pt idx="15120">
                  <c:v>37579971</c:v>
                </c:pt>
                <c:pt idx="15121">
                  <c:v>27235500</c:v>
                </c:pt>
                <c:pt idx="15122">
                  <c:v>29439062</c:v>
                </c:pt>
                <c:pt idx="15123">
                  <c:v>42929772</c:v>
                </c:pt>
                <c:pt idx="15124">
                  <c:v>14607745</c:v>
                </c:pt>
                <c:pt idx="15125">
                  <c:v>3926100</c:v>
                </c:pt>
                <c:pt idx="15126">
                  <c:v>12161520</c:v>
                </c:pt>
                <c:pt idx="15127">
                  <c:v>190970550</c:v>
                </c:pt>
                <c:pt idx="15128">
                  <c:v>54897513</c:v>
                </c:pt>
                <c:pt idx="15129">
                  <c:v>5739300</c:v>
                </c:pt>
                <c:pt idx="15130">
                  <c:v>30589856</c:v>
                </c:pt>
                <c:pt idx="15131">
                  <c:v>19767600</c:v>
                </c:pt>
                <c:pt idx="15132">
                  <c:v>6527864</c:v>
                </c:pt>
                <c:pt idx="15133">
                  <c:v>17780994</c:v>
                </c:pt>
                <c:pt idx="15134">
                  <c:v>16759314</c:v>
                </c:pt>
                <c:pt idx="15135">
                  <c:v>17058048</c:v>
                </c:pt>
                <c:pt idx="15136">
                  <c:v>93749124</c:v>
                </c:pt>
                <c:pt idx="15137">
                  <c:v>13333422</c:v>
                </c:pt>
                <c:pt idx="15138">
                  <c:v>16897530</c:v>
                </c:pt>
                <c:pt idx="15139">
                  <c:v>7983602</c:v>
                </c:pt>
                <c:pt idx="15140">
                  <c:v>40090820</c:v>
                </c:pt>
                <c:pt idx="15141">
                  <c:v>23028552</c:v>
                </c:pt>
                <c:pt idx="15142">
                  <c:v>6165014</c:v>
                </c:pt>
                <c:pt idx="15143">
                  <c:v>10767500</c:v>
                </c:pt>
                <c:pt idx="15144">
                  <c:v>66865590</c:v>
                </c:pt>
                <c:pt idx="15145">
                  <c:v>23076177</c:v>
                </c:pt>
                <c:pt idx="15146">
                  <c:v>8063661</c:v>
                </c:pt>
                <c:pt idx="15147">
                  <c:v>12213054</c:v>
                </c:pt>
                <c:pt idx="15148">
                  <c:v>17637669</c:v>
                </c:pt>
                <c:pt idx="15149">
                  <c:v>70065396</c:v>
                </c:pt>
                <c:pt idx="15150">
                  <c:v>19839474</c:v>
                </c:pt>
                <c:pt idx="15151">
                  <c:v>7959210</c:v>
                </c:pt>
                <c:pt idx="15152">
                  <c:v>78690258</c:v>
                </c:pt>
                <c:pt idx="15153">
                  <c:v>34814355</c:v>
                </c:pt>
                <c:pt idx="15154">
                  <c:v>6514212</c:v>
                </c:pt>
                <c:pt idx="15155">
                  <c:v>357295484</c:v>
                </c:pt>
                <c:pt idx="15156">
                  <c:v>26921193</c:v>
                </c:pt>
                <c:pt idx="15157">
                  <c:v>12333720</c:v>
                </c:pt>
                <c:pt idx="15158">
                  <c:v>8723736</c:v>
                </c:pt>
                <c:pt idx="15159">
                  <c:v>261889459</c:v>
                </c:pt>
                <c:pt idx="15160">
                  <c:v>39240864</c:v>
                </c:pt>
                <c:pt idx="15161">
                  <c:v>29324350</c:v>
                </c:pt>
                <c:pt idx="15162">
                  <c:v>14422912</c:v>
                </c:pt>
                <c:pt idx="15163">
                  <c:v>74110576</c:v>
                </c:pt>
                <c:pt idx="15164">
                  <c:v>47366100</c:v>
                </c:pt>
                <c:pt idx="15165">
                  <c:v>10856619</c:v>
                </c:pt>
                <c:pt idx="15166">
                  <c:v>48347292</c:v>
                </c:pt>
                <c:pt idx="15167">
                  <c:v>6867952</c:v>
                </c:pt>
                <c:pt idx="15168">
                  <c:v>19960920</c:v>
                </c:pt>
                <c:pt idx="15169">
                  <c:v>12656574</c:v>
                </c:pt>
                <c:pt idx="15170">
                  <c:v>16725280</c:v>
                </c:pt>
                <c:pt idx="15171">
                  <c:v>12141996</c:v>
                </c:pt>
                <c:pt idx="15172">
                  <c:v>16228524</c:v>
                </c:pt>
                <c:pt idx="15173">
                  <c:v>1557488030</c:v>
                </c:pt>
                <c:pt idx="15174">
                  <c:v>297630720</c:v>
                </c:pt>
                <c:pt idx="15175">
                  <c:v>73113975</c:v>
                </c:pt>
                <c:pt idx="15176">
                  <c:v>2695896</c:v>
                </c:pt>
                <c:pt idx="15177">
                  <c:v>56299734</c:v>
                </c:pt>
                <c:pt idx="15178">
                  <c:v>126980140</c:v>
                </c:pt>
                <c:pt idx="15179">
                  <c:v>66162699</c:v>
                </c:pt>
                <c:pt idx="15180">
                  <c:v>24153444</c:v>
                </c:pt>
                <c:pt idx="15181">
                  <c:v>54681000</c:v>
                </c:pt>
                <c:pt idx="15182">
                  <c:v>86476572</c:v>
                </c:pt>
                <c:pt idx="15183">
                  <c:v>31945614</c:v>
                </c:pt>
                <c:pt idx="15184">
                  <c:v>81954621</c:v>
                </c:pt>
                <c:pt idx="15185">
                  <c:v>52035660</c:v>
                </c:pt>
                <c:pt idx="15186">
                  <c:v>5926062</c:v>
                </c:pt>
                <c:pt idx="15187">
                  <c:v>43509556</c:v>
                </c:pt>
                <c:pt idx="15188">
                  <c:v>15634742</c:v>
                </c:pt>
                <c:pt idx="15189">
                  <c:v>26704891</c:v>
                </c:pt>
                <c:pt idx="15190">
                  <c:v>50759070</c:v>
                </c:pt>
                <c:pt idx="15191">
                  <c:v>61494992</c:v>
                </c:pt>
                <c:pt idx="15192">
                  <c:v>116734410</c:v>
                </c:pt>
                <c:pt idx="15193">
                  <c:v>33987320</c:v>
                </c:pt>
                <c:pt idx="15194">
                  <c:v>24824225</c:v>
                </c:pt>
                <c:pt idx="15195">
                  <c:v>121197008</c:v>
                </c:pt>
                <c:pt idx="15196">
                  <c:v>295178748</c:v>
                </c:pt>
                <c:pt idx="15197">
                  <c:v>35584761</c:v>
                </c:pt>
                <c:pt idx="15198">
                  <c:v>79411398</c:v>
                </c:pt>
                <c:pt idx="15199">
                  <c:v>133565674</c:v>
                </c:pt>
                <c:pt idx="15200">
                  <c:v>19539338</c:v>
                </c:pt>
                <c:pt idx="15201">
                  <c:v>111609179</c:v>
                </c:pt>
                <c:pt idx="15202">
                  <c:v>2517696</c:v>
                </c:pt>
                <c:pt idx="15203">
                  <c:v>19960263</c:v>
                </c:pt>
                <c:pt idx="15204">
                  <c:v>20446075</c:v>
                </c:pt>
                <c:pt idx="15205">
                  <c:v>2803720</c:v>
                </c:pt>
                <c:pt idx="15206">
                  <c:v>85767859</c:v>
                </c:pt>
                <c:pt idx="15207">
                  <c:v>201156676</c:v>
                </c:pt>
                <c:pt idx="15208">
                  <c:v>35311803</c:v>
                </c:pt>
                <c:pt idx="15209">
                  <c:v>156830480</c:v>
                </c:pt>
                <c:pt idx="15210">
                  <c:v>76629195</c:v>
                </c:pt>
                <c:pt idx="15211">
                  <c:v>22207470</c:v>
                </c:pt>
                <c:pt idx="15212">
                  <c:v>24963200</c:v>
                </c:pt>
                <c:pt idx="15213">
                  <c:v>35507901</c:v>
                </c:pt>
                <c:pt idx="15214">
                  <c:v>95674572</c:v>
                </c:pt>
                <c:pt idx="15215">
                  <c:v>84889758</c:v>
                </c:pt>
                <c:pt idx="15216">
                  <c:v>6006448</c:v>
                </c:pt>
                <c:pt idx="15217">
                  <c:v>12753684</c:v>
                </c:pt>
                <c:pt idx="15218">
                  <c:v>5462976</c:v>
                </c:pt>
                <c:pt idx="15219">
                  <c:v>126399028</c:v>
                </c:pt>
                <c:pt idx="15220">
                  <c:v>75695157</c:v>
                </c:pt>
                <c:pt idx="15221">
                  <c:v>77511566</c:v>
                </c:pt>
                <c:pt idx="15222">
                  <c:v>408051448</c:v>
                </c:pt>
                <c:pt idx="15223">
                  <c:v>31410346</c:v>
                </c:pt>
                <c:pt idx="15224">
                  <c:v>15441480</c:v>
                </c:pt>
                <c:pt idx="15225">
                  <c:v>58072815</c:v>
                </c:pt>
                <c:pt idx="15226">
                  <c:v>1086785232</c:v>
                </c:pt>
                <c:pt idx="15227">
                  <c:v>566776928</c:v>
                </c:pt>
                <c:pt idx="15228">
                  <c:v>400965810</c:v>
                </c:pt>
                <c:pt idx="15229">
                  <c:v>214088061</c:v>
                </c:pt>
                <c:pt idx="15230">
                  <c:v>243485160</c:v>
                </c:pt>
                <c:pt idx="15231">
                  <c:v>50426651</c:v>
                </c:pt>
                <c:pt idx="15232">
                  <c:v>57475665</c:v>
                </c:pt>
                <c:pt idx="15233">
                  <c:v>12554814</c:v>
                </c:pt>
                <c:pt idx="15234">
                  <c:v>10416150</c:v>
                </c:pt>
                <c:pt idx="15235">
                  <c:v>95505985</c:v>
                </c:pt>
                <c:pt idx="15236">
                  <c:v>1720416</c:v>
                </c:pt>
                <c:pt idx="15237">
                  <c:v>9729636</c:v>
                </c:pt>
                <c:pt idx="15238">
                  <c:v>21246400</c:v>
                </c:pt>
                <c:pt idx="15239">
                  <c:v>44200912</c:v>
                </c:pt>
                <c:pt idx="15240">
                  <c:v>1492884</c:v>
                </c:pt>
                <c:pt idx="15241">
                  <c:v>82524080</c:v>
                </c:pt>
                <c:pt idx="15242">
                  <c:v>58430414</c:v>
                </c:pt>
                <c:pt idx="15243">
                  <c:v>22580460</c:v>
                </c:pt>
                <c:pt idx="15244">
                  <c:v>61025355</c:v>
                </c:pt>
                <c:pt idx="15245">
                  <c:v>6207784</c:v>
                </c:pt>
                <c:pt idx="15246">
                  <c:v>23300460</c:v>
                </c:pt>
                <c:pt idx="15247">
                  <c:v>23457500</c:v>
                </c:pt>
                <c:pt idx="15248">
                  <c:v>3397300</c:v>
                </c:pt>
                <c:pt idx="15249">
                  <c:v>16404305</c:v>
                </c:pt>
                <c:pt idx="15250">
                  <c:v>11892001</c:v>
                </c:pt>
                <c:pt idx="15251">
                  <c:v>5843520</c:v>
                </c:pt>
                <c:pt idx="15252">
                  <c:v>55115260</c:v>
                </c:pt>
                <c:pt idx="15253">
                  <c:v>71620605</c:v>
                </c:pt>
                <c:pt idx="15254">
                  <c:v>79133040</c:v>
                </c:pt>
                <c:pt idx="15255">
                  <c:v>64326115</c:v>
                </c:pt>
                <c:pt idx="15256">
                  <c:v>30258450</c:v>
                </c:pt>
                <c:pt idx="15257">
                  <c:v>48222189</c:v>
                </c:pt>
                <c:pt idx="15258">
                  <c:v>36821268</c:v>
                </c:pt>
                <c:pt idx="15259">
                  <c:v>30848895</c:v>
                </c:pt>
                <c:pt idx="15260">
                  <c:v>5398588</c:v>
                </c:pt>
                <c:pt idx="15261">
                  <c:v>4217598</c:v>
                </c:pt>
                <c:pt idx="15262">
                  <c:v>1427300</c:v>
                </c:pt>
                <c:pt idx="15263">
                  <c:v>206384857</c:v>
                </c:pt>
                <c:pt idx="15264">
                  <c:v>18991326</c:v>
                </c:pt>
                <c:pt idx="15265">
                  <c:v>30613940</c:v>
                </c:pt>
                <c:pt idx="15266">
                  <c:v>17864784</c:v>
                </c:pt>
                <c:pt idx="15267">
                  <c:v>17566976</c:v>
                </c:pt>
                <c:pt idx="15268">
                  <c:v>13540236</c:v>
                </c:pt>
                <c:pt idx="15269">
                  <c:v>24790128</c:v>
                </c:pt>
                <c:pt idx="15270">
                  <c:v>101587434</c:v>
                </c:pt>
                <c:pt idx="15271">
                  <c:v>82434231</c:v>
                </c:pt>
                <c:pt idx="15272">
                  <c:v>54351584</c:v>
                </c:pt>
                <c:pt idx="15273">
                  <c:v>31594218</c:v>
                </c:pt>
                <c:pt idx="15274">
                  <c:v>44113389</c:v>
                </c:pt>
                <c:pt idx="15275">
                  <c:v>84719603</c:v>
                </c:pt>
                <c:pt idx="15276">
                  <c:v>12379554</c:v>
                </c:pt>
                <c:pt idx="15277">
                  <c:v>64449216</c:v>
                </c:pt>
                <c:pt idx="15278">
                  <c:v>426719340</c:v>
                </c:pt>
                <c:pt idx="15279">
                  <c:v>11809025</c:v>
                </c:pt>
                <c:pt idx="15280">
                  <c:v>47731376</c:v>
                </c:pt>
                <c:pt idx="15281">
                  <c:v>65195704</c:v>
                </c:pt>
                <c:pt idx="15282">
                  <c:v>30553159</c:v>
                </c:pt>
                <c:pt idx="15283">
                  <c:v>59258367</c:v>
                </c:pt>
                <c:pt idx="15284">
                  <c:v>106240120</c:v>
                </c:pt>
                <c:pt idx="15285">
                  <c:v>97045385</c:v>
                </c:pt>
                <c:pt idx="15286">
                  <c:v>193644970</c:v>
                </c:pt>
                <c:pt idx="15287">
                  <c:v>7030780</c:v>
                </c:pt>
                <c:pt idx="15288">
                  <c:v>3069312</c:v>
                </c:pt>
                <c:pt idx="15289">
                  <c:v>54264320</c:v>
                </c:pt>
                <c:pt idx="15290">
                  <c:v>35417190</c:v>
                </c:pt>
                <c:pt idx="15291">
                  <c:v>12755380</c:v>
                </c:pt>
                <c:pt idx="15292">
                  <c:v>15674911</c:v>
                </c:pt>
                <c:pt idx="15293">
                  <c:v>110733971</c:v>
                </c:pt>
                <c:pt idx="15294">
                  <c:v>38467512</c:v>
                </c:pt>
                <c:pt idx="15295">
                  <c:v>33655832</c:v>
                </c:pt>
                <c:pt idx="15296">
                  <c:v>235378312</c:v>
                </c:pt>
                <c:pt idx="15297">
                  <c:v>46661460</c:v>
                </c:pt>
                <c:pt idx="15298">
                  <c:v>11615760</c:v>
                </c:pt>
                <c:pt idx="15299">
                  <c:v>36740588</c:v>
                </c:pt>
                <c:pt idx="15300">
                  <c:v>14609330</c:v>
                </c:pt>
                <c:pt idx="15301">
                  <c:v>10940656</c:v>
                </c:pt>
                <c:pt idx="15302">
                  <c:v>13037330</c:v>
                </c:pt>
                <c:pt idx="15303">
                  <c:v>35287200</c:v>
                </c:pt>
                <c:pt idx="15304">
                  <c:v>13105950</c:v>
                </c:pt>
                <c:pt idx="15305">
                  <c:v>395810480</c:v>
                </c:pt>
                <c:pt idx="15306">
                  <c:v>700764828</c:v>
                </c:pt>
                <c:pt idx="15307">
                  <c:v>200801278</c:v>
                </c:pt>
                <c:pt idx="15308">
                  <c:v>920247858</c:v>
                </c:pt>
                <c:pt idx="15309">
                  <c:v>182709945</c:v>
                </c:pt>
                <c:pt idx="15310">
                  <c:v>101984418</c:v>
                </c:pt>
                <c:pt idx="15311">
                  <c:v>171613923</c:v>
                </c:pt>
                <c:pt idx="15312">
                  <c:v>12377588</c:v>
                </c:pt>
                <c:pt idx="15313">
                  <c:v>16472962</c:v>
                </c:pt>
                <c:pt idx="15314">
                  <c:v>2068282</c:v>
                </c:pt>
                <c:pt idx="15315">
                  <c:v>24735445</c:v>
                </c:pt>
                <c:pt idx="15316">
                  <c:v>42188458</c:v>
                </c:pt>
                <c:pt idx="15317">
                  <c:v>26553184</c:v>
                </c:pt>
                <c:pt idx="15318">
                  <c:v>52862868</c:v>
                </c:pt>
                <c:pt idx="15319">
                  <c:v>40006077</c:v>
                </c:pt>
                <c:pt idx="15320">
                  <c:v>106991808</c:v>
                </c:pt>
                <c:pt idx="15321">
                  <c:v>51574296</c:v>
                </c:pt>
                <c:pt idx="15322">
                  <c:v>72186001</c:v>
                </c:pt>
                <c:pt idx="15323">
                  <c:v>9126612</c:v>
                </c:pt>
                <c:pt idx="15324">
                  <c:v>19763254</c:v>
                </c:pt>
                <c:pt idx="15325">
                  <c:v>8063224</c:v>
                </c:pt>
                <c:pt idx="15326">
                  <c:v>35714894</c:v>
                </c:pt>
                <c:pt idx="15327">
                  <c:v>106726425</c:v>
                </c:pt>
                <c:pt idx="15328">
                  <c:v>156225600</c:v>
                </c:pt>
                <c:pt idx="15329">
                  <c:v>46176264</c:v>
                </c:pt>
                <c:pt idx="15330">
                  <c:v>109124224</c:v>
                </c:pt>
                <c:pt idx="15331">
                  <c:v>293297675</c:v>
                </c:pt>
                <c:pt idx="15332">
                  <c:v>355003614</c:v>
                </c:pt>
                <c:pt idx="15333">
                  <c:v>52307300</c:v>
                </c:pt>
                <c:pt idx="15334">
                  <c:v>15052959</c:v>
                </c:pt>
                <c:pt idx="15335">
                  <c:v>198691209</c:v>
                </c:pt>
                <c:pt idx="15336">
                  <c:v>27317202</c:v>
                </c:pt>
                <c:pt idx="15337">
                  <c:v>3247684</c:v>
                </c:pt>
                <c:pt idx="15338">
                  <c:v>40682380</c:v>
                </c:pt>
                <c:pt idx="15339">
                  <c:v>7350000</c:v>
                </c:pt>
                <c:pt idx="15340">
                  <c:v>16831952</c:v>
                </c:pt>
                <c:pt idx="15341">
                  <c:v>52031829</c:v>
                </c:pt>
                <c:pt idx="15342">
                  <c:v>56404181</c:v>
                </c:pt>
                <c:pt idx="15343">
                  <c:v>11287332</c:v>
                </c:pt>
                <c:pt idx="15344">
                  <c:v>174670866</c:v>
                </c:pt>
                <c:pt idx="15345">
                  <c:v>38633755</c:v>
                </c:pt>
                <c:pt idx="15346">
                  <c:v>42793247</c:v>
                </c:pt>
                <c:pt idx="15347">
                  <c:v>23943128</c:v>
                </c:pt>
                <c:pt idx="15348">
                  <c:v>39756442</c:v>
                </c:pt>
                <c:pt idx="15349">
                  <c:v>338712179</c:v>
                </c:pt>
                <c:pt idx="15350">
                  <c:v>4093425</c:v>
                </c:pt>
                <c:pt idx="15351">
                  <c:v>26862255</c:v>
                </c:pt>
                <c:pt idx="15352">
                  <c:v>13720269</c:v>
                </c:pt>
                <c:pt idx="15353">
                  <c:v>13051442</c:v>
                </c:pt>
                <c:pt idx="15354">
                  <c:v>392955605</c:v>
                </c:pt>
                <c:pt idx="15355">
                  <c:v>30653612</c:v>
                </c:pt>
                <c:pt idx="15356">
                  <c:v>13335200</c:v>
                </c:pt>
                <c:pt idx="15357">
                  <c:v>939198</c:v>
                </c:pt>
                <c:pt idx="15358">
                  <c:v>12240810</c:v>
                </c:pt>
                <c:pt idx="15359">
                  <c:v>28750302</c:v>
                </c:pt>
                <c:pt idx="15360">
                  <c:v>21506800</c:v>
                </c:pt>
                <c:pt idx="15361">
                  <c:v>7094050</c:v>
                </c:pt>
                <c:pt idx="15362">
                  <c:v>8024155</c:v>
                </c:pt>
                <c:pt idx="15363">
                  <c:v>210232918</c:v>
                </c:pt>
                <c:pt idx="15364">
                  <c:v>47704250</c:v>
                </c:pt>
                <c:pt idx="15365">
                  <c:v>10403822</c:v>
                </c:pt>
                <c:pt idx="15366">
                  <c:v>93105351</c:v>
                </c:pt>
                <c:pt idx="15367">
                  <c:v>26575368</c:v>
                </c:pt>
                <c:pt idx="15368">
                  <c:v>7902798</c:v>
                </c:pt>
                <c:pt idx="15369">
                  <c:v>15131612</c:v>
                </c:pt>
                <c:pt idx="15370">
                  <c:v>58396932</c:v>
                </c:pt>
                <c:pt idx="15371">
                  <c:v>66518400</c:v>
                </c:pt>
                <c:pt idx="15372">
                  <c:v>2385488</c:v>
                </c:pt>
                <c:pt idx="15373">
                  <c:v>4851232</c:v>
                </c:pt>
                <c:pt idx="15374">
                  <c:v>17645628</c:v>
                </c:pt>
                <c:pt idx="15375">
                  <c:v>42632928</c:v>
                </c:pt>
                <c:pt idx="15376">
                  <c:v>93101775</c:v>
                </c:pt>
                <c:pt idx="15377">
                  <c:v>41380784</c:v>
                </c:pt>
                <c:pt idx="15378">
                  <c:v>3034900</c:v>
                </c:pt>
                <c:pt idx="15379">
                  <c:v>46600323</c:v>
                </c:pt>
                <c:pt idx="15380">
                  <c:v>32611722</c:v>
                </c:pt>
                <c:pt idx="15381">
                  <c:v>16687614</c:v>
                </c:pt>
                <c:pt idx="15382">
                  <c:v>20410272</c:v>
                </c:pt>
                <c:pt idx="15383">
                  <c:v>38727960</c:v>
                </c:pt>
                <c:pt idx="15384">
                  <c:v>18615402</c:v>
                </c:pt>
                <c:pt idx="15385">
                  <c:v>889092876</c:v>
                </c:pt>
                <c:pt idx="15386">
                  <c:v>1308037485</c:v>
                </c:pt>
                <c:pt idx="15387">
                  <c:v>114521301</c:v>
                </c:pt>
                <c:pt idx="15388">
                  <c:v>63542934</c:v>
                </c:pt>
                <c:pt idx="15389">
                  <c:v>12465336</c:v>
                </c:pt>
                <c:pt idx="15390">
                  <c:v>39077299</c:v>
                </c:pt>
                <c:pt idx="15391">
                  <c:v>75363768</c:v>
                </c:pt>
                <c:pt idx="15392">
                  <c:v>19628994</c:v>
                </c:pt>
                <c:pt idx="15393">
                  <c:v>24447300</c:v>
                </c:pt>
                <c:pt idx="15394">
                  <c:v>51294768</c:v>
                </c:pt>
                <c:pt idx="15395">
                  <c:v>17784354</c:v>
                </c:pt>
                <c:pt idx="15396">
                  <c:v>21357834</c:v>
                </c:pt>
                <c:pt idx="15397">
                  <c:v>17551728</c:v>
                </c:pt>
                <c:pt idx="15398">
                  <c:v>33758098</c:v>
                </c:pt>
                <c:pt idx="15399">
                  <c:v>319034268</c:v>
                </c:pt>
                <c:pt idx="15400">
                  <c:v>62921694</c:v>
                </c:pt>
                <c:pt idx="15401">
                  <c:v>12948732</c:v>
                </c:pt>
                <c:pt idx="15402">
                  <c:v>243834420</c:v>
                </c:pt>
                <c:pt idx="15403">
                  <c:v>11205931</c:v>
                </c:pt>
                <c:pt idx="15404">
                  <c:v>7926546</c:v>
                </c:pt>
                <c:pt idx="15405">
                  <c:v>43539584</c:v>
                </c:pt>
                <c:pt idx="15406">
                  <c:v>10408224</c:v>
                </c:pt>
                <c:pt idx="15407">
                  <c:v>16002465</c:v>
                </c:pt>
                <c:pt idx="15408">
                  <c:v>5840286</c:v>
                </c:pt>
                <c:pt idx="15409">
                  <c:v>121823190</c:v>
                </c:pt>
                <c:pt idx="15410">
                  <c:v>19385190</c:v>
                </c:pt>
                <c:pt idx="15411">
                  <c:v>20450080</c:v>
                </c:pt>
                <c:pt idx="15412">
                  <c:v>3449875</c:v>
                </c:pt>
                <c:pt idx="15413">
                  <c:v>73618090</c:v>
                </c:pt>
                <c:pt idx="15414">
                  <c:v>7250176</c:v>
                </c:pt>
                <c:pt idx="15415">
                  <c:v>32224980</c:v>
                </c:pt>
                <c:pt idx="15416">
                  <c:v>149115177</c:v>
                </c:pt>
                <c:pt idx="15417">
                  <c:v>16814174</c:v>
                </c:pt>
                <c:pt idx="15418">
                  <c:v>30465536</c:v>
                </c:pt>
                <c:pt idx="15419">
                  <c:v>19902636</c:v>
                </c:pt>
                <c:pt idx="15420">
                  <c:v>65054160</c:v>
                </c:pt>
                <c:pt idx="15421">
                  <c:v>60065080</c:v>
                </c:pt>
                <c:pt idx="15422">
                  <c:v>35250294</c:v>
                </c:pt>
                <c:pt idx="15423">
                  <c:v>15154868</c:v>
                </c:pt>
                <c:pt idx="15424">
                  <c:v>18992388</c:v>
                </c:pt>
                <c:pt idx="15425">
                  <c:v>11637719</c:v>
                </c:pt>
                <c:pt idx="15426">
                  <c:v>22010853</c:v>
                </c:pt>
                <c:pt idx="15427">
                  <c:v>229065888</c:v>
                </c:pt>
                <c:pt idx="15428">
                  <c:v>35306616</c:v>
                </c:pt>
                <c:pt idx="15429">
                  <c:v>18972240</c:v>
                </c:pt>
                <c:pt idx="15430">
                  <c:v>15003469</c:v>
                </c:pt>
                <c:pt idx="15431">
                  <c:v>35647079</c:v>
                </c:pt>
                <c:pt idx="15432">
                  <c:v>58469000</c:v>
                </c:pt>
                <c:pt idx="15433">
                  <c:v>74854218</c:v>
                </c:pt>
                <c:pt idx="15434">
                  <c:v>31335930</c:v>
                </c:pt>
                <c:pt idx="15435">
                  <c:v>5890620</c:v>
                </c:pt>
                <c:pt idx="15436">
                  <c:v>73671664</c:v>
                </c:pt>
                <c:pt idx="15437">
                  <c:v>134192982</c:v>
                </c:pt>
                <c:pt idx="15438">
                  <c:v>8557465</c:v>
                </c:pt>
                <c:pt idx="15439">
                  <c:v>164961016</c:v>
                </c:pt>
                <c:pt idx="15440">
                  <c:v>13120800</c:v>
                </c:pt>
                <c:pt idx="15441">
                  <c:v>5628000</c:v>
                </c:pt>
                <c:pt idx="15442">
                  <c:v>39805920</c:v>
                </c:pt>
                <c:pt idx="15443">
                  <c:v>27673236</c:v>
                </c:pt>
                <c:pt idx="15444">
                  <c:v>46321440</c:v>
                </c:pt>
                <c:pt idx="15445">
                  <c:v>14664348</c:v>
                </c:pt>
                <c:pt idx="15446">
                  <c:v>24889360</c:v>
                </c:pt>
                <c:pt idx="15447">
                  <c:v>13305684</c:v>
                </c:pt>
                <c:pt idx="15448">
                  <c:v>12186332</c:v>
                </c:pt>
                <c:pt idx="15449">
                  <c:v>7574350</c:v>
                </c:pt>
                <c:pt idx="15450">
                  <c:v>3924076</c:v>
                </c:pt>
                <c:pt idx="15451">
                  <c:v>44151796</c:v>
                </c:pt>
                <c:pt idx="15452">
                  <c:v>47777263</c:v>
                </c:pt>
                <c:pt idx="15453">
                  <c:v>8978840</c:v>
                </c:pt>
                <c:pt idx="15454">
                  <c:v>1359556972</c:v>
                </c:pt>
                <c:pt idx="15455">
                  <c:v>687046800</c:v>
                </c:pt>
                <c:pt idx="15456">
                  <c:v>586437797</c:v>
                </c:pt>
                <c:pt idx="15457">
                  <c:v>10701670</c:v>
                </c:pt>
                <c:pt idx="15458">
                  <c:v>195311454</c:v>
                </c:pt>
                <c:pt idx="15459">
                  <c:v>45553200</c:v>
                </c:pt>
                <c:pt idx="15460">
                  <c:v>111462176</c:v>
                </c:pt>
                <c:pt idx="15461">
                  <c:v>29740599</c:v>
                </c:pt>
                <c:pt idx="15462">
                  <c:v>4300416</c:v>
                </c:pt>
                <c:pt idx="15463">
                  <c:v>32821552</c:v>
                </c:pt>
                <c:pt idx="15464">
                  <c:v>15244240</c:v>
                </c:pt>
                <c:pt idx="15465">
                  <c:v>32455475</c:v>
                </c:pt>
                <c:pt idx="15466">
                  <c:v>196968480</c:v>
                </c:pt>
                <c:pt idx="15467">
                  <c:v>64643744</c:v>
                </c:pt>
                <c:pt idx="15468">
                  <c:v>54797044</c:v>
                </c:pt>
                <c:pt idx="15469">
                  <c:v>56301412</c:v>
                </c:pt>
                <c:pt idx="15470">
                  <c:v>78313200</c:v>
                </c:pt>
                <c:pt idx="15471">
                  <c:v>94309050</c:v>
                </c:pt>
                <c:pt idx="15472">
                  <c:v>17131230</c:v>
                </c:pt>
                <c:pt idx="15473">
                  <c:v>7529356</c:v>
                </c:pt>
                <c:pt idx="15474">
                  <c:v>40390119</c:v>
                </c:pt>
                <c:pt idx="15475">
                  <c:v>7671972</c:v>
                </c:pt>
                <c:pt idx="15476">
                  <c:v>18499836</c:v>
                </c:pt>
                <c:pt idx="15477">
                  <c:v>102649248</c:v>
                </c:pt>
                <c:pt idx="15478">
                  <c:v>40760550</c:v>
                </c:pt>
                <c:pt idx="15479">
                  <c:v>34880870</c:v>
                </c:pt>
                <c:pt idx="15480">
                  <c:v>8810590</c:v>
                </c:pt>
                <c:pt idx="15481">
                  <c:v>315786900</c:v>
                </c:pt>
                <c:pt idx="15482">
                  <c:v>242314740</c:v>
                </c:pt>
                <c:pt idx="15483">
                  <c:v>27368605</c:v>
                </c:pt>
                <c:pt idx="15484">
                  <c:v>26178714</c:v>
                </c:pt>
                <c:pt idx="15485">
                  <c:v>2439610</c:v>
                </c:pt>
                <c:pt idx="15486">
                  <c:v>201074720</c:v>
                </c:pt>
                <c:pt idx="15487">
                  <c:v>44096832</c:v>
                </c:pt>
                <c:pt idx="15488">
                  <c:v>33524007</c:v>
                </c:pt>
                <c:pt idx="15489">
                  <c:v>3297294</c:v>
                </c:pt>
                <c:pt idx="15490">
                  <c:v>17298820</c:v>
                </c:pt>
                <c:pt idx="15491">
                  <c:v>49651574</c:v>
                </c:pt>
                <c:pt idx="15492">
                  <c:v>10760530</c:v>
                </c:pt>
                <c:pt idx="15493">
                  <c:v>4874298</c:v>
                </c:pt>
                <c:pt idx="15494">
                  <c:v>65669947</c:v>
                </c:pt>
                <c:pt idx="15495">
                  <c:v>9673160</c:v>
                </c:pt>
                <c:pt idx="15496">
                  <c:v>20435517</c:v>
                </c:pt>
                <c:pt idx="15497">
                  <c:v>25090533</c:v>
                </c:pt>
                <c:pt idx="15498">
                  <c:v>428928576</c:v>
                </c:pt>
                <c:pt idx="15499">
                  <c:v>63026868</c:v>
                </c:pt>
                <c:pt idx="15500">
                  <c:v>16842930</c:v>
                </c:pt>
                <c:pt idx="15501">
                  <c:v>8843041</c:v>
                </c:pt>
                <c:pt idx="15502">
                  <c:v>21197604</c:v>
                </c:pt>
                <c:pt idx="15503">
                  <c:v>169843223</c:v>
                </c:pt>
                <c:pt idx="15504">
                  <c:v>20373222</c:v>
                </c:pt>
                <c:pt idx="15505">
                  <c:v>38280858</c:v>
                </c:pt>
                <c:pt idx="15506">
                  <c:v>38082478</c:v>
                </c:pt>
                <c:pt idx="15507">
                  <c:v>38377528</c:v>
                </c:pt>
                <c:pt idx="15508">
                  <c:v>26288856</c:v>
                </c:pt>
                <c:pt idx="15509">
                  <c:v>33569160</c:v>
                </c:pt>
                <c:pt idx="15510">
                  <c:v>52864320</c:v>
                </c:pt>
                <c:pt idx="15511">
                  <c:v>24607641</c:v>
                </c:pt>
                <c:pt idx="15512">
                  <c:v>43205889</c:v>
                </c:pt>
                <c:pt idx="15513">
                  <c:v>24020891</c:v>
                </c:pt>
                <c:pt idx="15514">
                  <c:v>55119210</c:v>
                </c:pt>
                <c:pt idx="15515">
                  <c:v>86911470</c:v>
                </c:pt>
                <c:pt idx="15516">
                  <c:v>40741491</c:v>
                </c:pt>
                <c:pt idx="15517">
                  <c:v>55205460</c:v>
                </c:pt>
                <c:pt idx="15518">
                  <c:v>84954777</c:v>
                </c:pt>
                <c:pt idx="15519">
                  <c:v>8974350</c:v>
                </c:pt>
                <c:pt idx="15520">
                  <c:v>8473347</c:v>
                </c:pt>
                <c:pt idx="15521">
                  <c:v>38702902</c:v>
                </c:pt>
                <c:pt idx="15522">
                  <c:v>3674220</c:v>
                </c:pt>
                <c:pt idx="15523">
                  <c:v>9055653</c:v>
                </c:pt>
                <c:pt idx="15524">
                  <c:v>11753040</c:v>
                </c:pt>
                <c:pt idx="15525">
                  <c:v>17715484</c:v>
                </c:pt>
                <c:pt idx="15526">
                  <c:v>34432074</c:v>
                </c:pt>
                <c:pt idx="15527">
                  <c:v>179098960</c:v>
                </c:pt>
                <c:pt idx="15528">
                  <c:v>99636115</c:v>
                </c:pt>
                <c:pt idx="15529">
                  <c:v>56368920</c:v>
                </c:pt>
                <c:pt idx="15530">
                  <c:v>37591824</c:v>
                </c:pt>
                <c:pt idx="15531">
                  <c:v>108981379</c:v>
                </c:pt>
                <c:pt idx="15532">
                  <c:v>234749421</c:v>
                </c:pt>
                <c:pt idx="15533">
                  <c:v>107799804</c:v>
                </c:pt>
                <c:pt idx="15534">
                  <c:v>11032430</c:v>
                </c:pt>
                <c:pt idx="15535">
                  <c:v>96041292</c:v>
                </c:pt>
                <c:pt idx="15536">
                  <c:v>29197935</c:v>
                </c:pt>
                <c:pt idx="15537">
                  <c:v>17838984</c:v>
                </c:pt>
                <c:pt idx="15538">
                  <c:v>91343175</c:v>
                </c:pt>
                <c:pt idx="15539">
                  <c:v>11988196</c:v>
                </c:pt>
                <c:pt idx="15540">
                  <c:v>136627004</c:v>
                </c:pt>
                <c:pt idx="15541">
                  <c:v>123324497</c:v>
                </c:pt>
                <c:pt idx="15542">
                  <c:v>28799680</c:v>
                </c:pt>
                <c:pt idx="15543">
                  <c:v>40649040</c:v>
                </c:pt>
                <c:pt idx="15544">
                  <c:v>18507489</c:v>
                </c:pt>
                <c:pt idx="15545">
                  <c:v>62192052</c:v>
                </c:pt>
                <c:pt idx="15546">
                  <c:v>5595520</c:v>
                </c:pt>
                <c:pt idx="15547">
                  <c:v>5635368</c:v>
                </c:pt>
                <c:pt idx="15548">
                  <c:v>6565900</c:v>
                </c:pt>
                <c:pt idx="15549">
                  <c:v>20630402</c:v>
                </c:pt>
                <c:pt idx="15550">
                  <c:v>37070273</c:v>
                </c:pt>
                <c:pt idx="15551">
                  <c:v>70660920</c:v>
                </c:pt>
                <c:pt idx="15552">
                  <c:v>12507121</c:v>
                </c:pt>
                <c:pt idx="15553">
                  <c:v>120017118</c:v>
                </c:pt>
                <c:pt idx="15554">
                  <c:v>222355306</c:v>
                </c:pt>
                <c:pt idx="15555">
                  <c:v>27725208</c:v>
                </c:pt>
                <c:pt idx="15556">
                  <c:v>9535938</c:v>
                </c:pt>
                <c:pt idx="15557">
                  <c:v>231694194</c:v>
                </c:pt>
                <c:pt idx="15558">
                  <c:v>25416353</c:v>
                </c:pt>
                <c:pt idx="15559">
                  <c:v>27429600</c:v>
                </c:pt>
                <c:pt idx="15560">
                  <c:v>44717975</c:v>
                </c:pt>
                <c:pt idx="15561">
                  <c:v>1131498078</c:v>
                </c:pt>
                <c:pt idx="15562">
                  <c:v>949158608</c:v>
                </c:pt>
                <c:pt idx="15563">
                  <c:v>864723668</c:v>
                </c:pt>
                <c:pt idx="15564">
                  <c:v>892882775</c:v>
                </c:pt>
                <c:pt idx="15565">
                  <c:v>146507568</c:v>
                </c:pt>
                <c:pt idx="15566">
                  <c:v>58675050</c:v>
                </c:pt>
                <c:pt idx="15567">
                  <c:v>26917982</c:v>
                </c:pt>
                <c:pt idx="15568">
                  <c:v>18466385</c:v>
                </c:pt>
                <c:pt idx="15569">
                  <c:v>113744032</c:v>
                </c:pt>
                <c:pt idx="15570">
                  <c:v>24835755</c:v>
                </c:pt>
                <c:pt idx="15571">
                  <c:v>41007006</c:v>
                </c:pt>
                <c:pt idx="15572">
                  <c:v>117378072</c:v>
                </c:pt>
                <c:pt idx="15573">
                  <c:v>1647646956</c:v>
                </c:pt>
                <c:pt idx="15574">
                  <c:v>22583097</c:v>
                </c:pt>
                <c:pt idx="15575">
                  <c:v>43324122</c:v>
                </c:pt>
                <c:pt idx="15576">
                  <c:v>6845268</c:v>
                </c:pt>
                <c:pt idx="15577">
                  <c:v>21986785</c:v>
                </c:pt>
                <c:pt idx="15578">
                  <c:v>220893912</c:v>
                </c:pt>
                <c:pt idx="15579">
                  <c:v>1500310</c:v>
                </c:pt>
                <c:pt idx="15580">
                  <c:v>11995200</c:v>
                </c:pt>
                <c:pt idx="15581">
                  <c:v>185366412</c:v>
                </c:pt>
                <c:pt idx="15582">
                  <c:v>42896007</c:v>
                </c:pt>
                <c:pt idx="15583">
                  <c:v>40734032</c:v>
                </c:pt>
                <c:pt idx="15584">
                  <c:v>1023064410</c:v>
                </c:pt>
                <c:pt idx="15585">
                  <c:v>37804688</c:v>
                </c:pt>
                <c:pt idx="15586">
                  <c:v>33584790</c:v>
                </c:pt>
                <c:pt idx="15587">
                  <c:v>12561696</c:v>
                </c:pt>
                <c:pt idx="15588">
                  <c:v>63131270</c:v>
                </c:pt>
                <c:pt idx="15589">
                  <c:v>23309580</c:v>
                </c:pt>
                <c:pt idx="15590">
                  <c:v>86648562</c:v>
                </c:pt>
                <c:pt idx="15591">
                  <c:v>19315276</c:v>
                </c:pt>
                <c:pt idx="15592">
                  <c:v>21532462</c:v>
                </c:pt>
                <c:pt idx="15593">
                  <c:v>119785575</c:v>
                </c:pt>
                <c:pt idx="15594">
                  <c:v>150788898</c:v>
                </c:pt>
                <c:pt idx="15595">
                  <c:v>20709826</c:v>
                </c:pt>
                <c:pt idx="15596">
                  <c:v>36944791</c:v>
                </c:pt>
                <c:pt idx="15597">
                  <c:v>49995624</c:v>
                </c:pt>
                <c:pt idx="15598">
                  <c:v>323632240</c:v>
                </c:pt>
                <c:pt idx="15599">
                  <c:v>16819717</c:v>
                </c:pt>
                <c:pt idx="15600">
                  <c:v>93455125</c:v>
                </c:pt>
                <c:pt idx="15601">
                  <c:v>23427216</c:v>
                </c:pt>
                <c:pt idx="15602">
                  <c:v>203240532</c:v>
                </c:pt>
                <c:pt idx="15603">
                  <c:v>92449332</c:v>
                </c:pt>
                <c:pt idx="15604">
                  <c:v>166911500</c:v>
                </c:pt>
                <c:pt idx="15605">
                  <c:v>51238710</c:v>
                </c:pt>
                <c:pt idx="15606">
                  <c:v>77430025</c:v>
                </c:pt>
                <c:pt idx="15607">
                  <c:v>53195961</c:v>
                </c:pt>
                <c:pt idx="15608">
                  <c:v>34991236</c:v>
                </c:pt>
                <c:pt idx="15609">
                  <c:v>45707330</c:v>
                </c:pt>
                <c:pt idx="15610">
                  <c:v>2166311</c:v>
                </c:pt>
                <c:pt idx="15611">
                  <c:v>257934880</c:v>
                </c:pt>
                <c:pt idx="15612">
                  <c:v>62636553</c:v>
                </c:pt>
                <c:pt idx="15613">
                  <c:v>63536820</c:v>
                </c:pt>
                <c:pt idx="15614">
                  <c:v>262569152</c:v>
                </c:pt>
                <c:pt idx="15615">
                  <c:v>8140800</c:v>
                </c:pt>
                <c:pt idx="15616">
                  <c:v>7126911</c:v>
                </c:pt>
                <c:pt idx="15617">
                  <c:v>78563736</c:v>
                </c:pt>
                <c:pt idx="15618">
                  <c:v>133678941</c:v>
                </c:pt>
                <c:pt idx="15619">
                  <c:v>9532680</c:v>
                </c:pt>
                <c:pt idx="15620">
                  <c:v>164568076</c:v>
                </c:pt>
                <c:pt idx="15621">
                  <c:v>22632480</c:v>
                </c:pt>
                <c:pt idx="15622">
                  <c:v>70216608</c:v>
                </c:pt>
                <c:pt idx="15623">
                  <c:v>1492285119</c:v>
                </c:pt>
                <c:pt idx="15624">
                  <c:v>1012327974</c:v>
                </c:pt>
                <c:pt idx="15625">
                  <c:v>1230232370</c:v>
                </c:pt>
                <c:pt idx="15626">
                  <c:v>887897922</c:v>
                </c:pt>
                <c:pt idx="15627">
                  <c:v>641941096</c:v>
                </c:pt>
                <c:pt idx="15628">
                  <c:v>815012730</c:v>
                </c:pt>
                <c:pt idx="15629">
                  <c:v>29978010</c:v>
                </c:pt>
                <c:pt idx="15630">
                  <c:v>174514425</c:v>
                </c:pt>
                <c:pt idx="15631">
                  <c:v>30544614</c:v>
                </c:pt>
                <c:pt idx="15632">
                  <c:v>14493388</c:v>
                </c:pt>
                <c:pt idx="15633">
                  <c:v>25212300</c:v>
                </c:pt>
                <c:pt idx="15634">
                  <c:v>25424864</c:v>
                </c:pt>
                <c:pt idx="15635">
                  <c:v>230570000</c:v>
                </c:pt>
                <c:pt idx="15636">
                  <c:v>30618980</c:v>
                </c:pt>
                <c:pt idx="15637">
                  <c:v>11344284</c:v>
                </c:pt>
                <c:pt idx="15638">
                  <c:v>10630890</c:v>
                </c:pt>
                <c:pt idx="15639">
                  <c:v>187711650</c:v>
                </c:pt>
                <c:pt idx="15640">
                  <c:v>1912388</c:v>
                </c:pt>
                <c:pt idx="15641">
                  <c:v>12631690</c:v>
                </c:pt>
                <c:pt idx="15642">
                  <c:v>16579008</c:v>
                </c:pt>
                <c:pt idx="15643">
                  <c:v>15613367</c:v>
                </c:pt>
                <c:pt idx="15644">
                  <c:v>31029483</c:v>
                </c:pt>
                <c:pt idx="15645">
                  <c:v>39584457</c:v>
                </c:pt>
                <c:pt idx="15646">
                  <c:v>27376000</c:v>
                </c:pt>
                <c:pt idx="15647">
                  <c:v>3522288</c:v>
                </c:pt>
                <c:pt idx="15648">
                  <c:v>388368232</c:v>
                </c:pt>
                <c:pt idx="15649">
                  <c:v>4946592</c:v>
                </c:pt>
                <c:pt idx="15650">
                  <c:v>23315418</c:v>
                </c:pt>
                <c:pt idx="15651">
                  <c:v>48678504</c:v>
                </c:pt>
                <c:pt idx="15652">
                  <c:v>63592128</c:v>
                </c:pt>
                <c:pt idx="15653">
                  <c:v>5721840</c:v>
                </c:pt>
                <c:pt idx="15654">
                  <c:v>16208694</c:v>
                </c:pt>
                <c:pt idx="15655">
                  <c:v>1379720</c:v>
                </c:pt>
                <c:pt idx="15656">
                  <c:v>30003600</c:v>
                </c:pt>
                <c:pt idx="15657">
                  <c:v>36050653</c:v>
                </c:pt>
                <c:pt idx="15658">
                  <c:v>50309337</c:v>
                </c:pt>
                <c:pt idx="15659">
                  <c:v>24678302</c:v>
                </c:pt>
                <c:pt idx="15660">
                  <c:v>9862236</c:v>
                </c:pt>
                <c:pt idx="15661">
                  <c:v>14182178</c:v>
                </c:pt>
                <c:pt idx="15662">
                  <c:v>14487462</c:v>
                </c:pt>
                <c:pt idx="15663">
                  <c:v>435032208</c:v>
                </c:pt>
                <c:pt idx="15664">
                  <c:v>16113540</c:v>
                </c:pt>
                <c:pt idx="15665">
                  <c:v>10000234</c:v>
                </c:pt>
                <c:pt idx="15666">
                  <c:v>10496920</c:v>
                </c:pt>
                <c:pt idx="15667">
                  <c:v>13780007</c:v>
                </c:pt>
                <c:pt idx="15668">
                  <c:v>24207156</c:v>
                </c:pt>
                <c:pt idx="15669">
                  <c:v>14266206</c:v>
                </c:pt>
                <c:pt idx="15670">
                  <c:v>24279894</c:v>
                </c:pt>
                <c:pt idx="15671">
                  <c:v>99397200</c:v>
                </c:pt>
                <c:pt idx="15672">
                  <c:v>9136872</c:v>
                </c:pt>
                <c:pt idx="15673">
                  <c:v>13075361</c:v>
                </c:pt>
                <c:pt idx="15674">
                  <c:v>10922792</c:v>
                </c:pt>
                <c:pt idx="15675">
                  <c:v>923448870</c:v>
                </c:pt>
                <c:pt idx="15676">
                  <c:v>20200707</c:v>
                </c:pt>
                <c:pt idx="15677">
                  <c:v>23052302</c:v>
                </c:pt>
                <c:pt idx="15678">
                  <c:v>32776935</c:v>
                </c:pt>
                <c:pt idx="15679">
                  <c:v>74076672</c:v>
                </c:pt>
                <c:pt idx="15680">
                  <c:v>28127416</c:v>
                </c:pt>
                <c:pt idx="15681">
                  <c:v>68576960</c:v>
                </c:pt>
                <c:pt idx="15682">
                  <c:v>27675102</c:v>
                </c:pt>
                <c:pt idx="15683">
                  <c:v>344092441</c:v>
                </c:pt>
                <c:pt idx="15684">
                  <c:v>8010618</c:v>
                </c:pt>
                <c:pt idx="15685">
                  <c:v>2680106</c:v>
                </c:pt>
                <c:pt idx="15686">
                  <c:v>319979688</c:v>
                </c:pt>
                <c:pt idx="15687">
                  <c:v>23067418</c:v>
                </c:pt>
                <c:pt idx="15688">
                  <c:v>89289892</c:v>
                </c:pt>
                <c:pt idx="15689">
                  <c:v>14734920</c:v>
                </c:pt>
                <c:pt idx="15690">
                  <c:v>54531886</c:v>
                </c:pt>
                <c:pt idx="15691">
                  <c:v>48983242</c:v>
                </c:pt>
                <c:pt idx="15692">
                  <c:v>333527376</c:v>
                </c:pt>
                <c:pt idx="15693">
                  <c:v>10443719</c:v>
                </c:pt>
                <c:pt idx="15694">
                  <c:v>94983974</c:v>
                </c:pt>
                <c:pt idx="15695">
                  <c:v>9069636</c:v>
                </c:pt>
                <c:pt idx="15696">
                  <c:v>4663820</c:v>
                </c:pt>
                <c:pt idx="15697">
                  <c:v>26481600</c:v>
                </c:pt>
                <c:pt idx="15698">
                  <c:v>25693984</c:v>
                </c:pt>
                <c:pt idx="15699">
                  <c:v>11143242</c:v>
                </c:pt>
                <c:pt idx="15700">
                  <c:v>99073584</c:v>
                </c:pt>
                <c:pt idx="15701">
                  <c:v>45796026</c:v>
                </c:pt>
                <c:pt idx="15702">
                  <c:v>126444106</c:v>
                </c:pt>
                <c:pt idx="15703">
                  <c:v>86500413</c:v>
                </c:pt>
                <c:pt idx="15704">
                  <c:v>2040808</c:v>
                </c:pt>
                <c:pt idx="15705">
                  <c:v>31944360</c:v>
                </c:pt>
                <c:pt idx="15706">
                  <c:v>36416992</c:v>
                </c:pt>
                <c:pt idx="15707">
                  <c:v>14730716</c:v>
                </c:pt>
                <c:pt idx="15708">
                  <c:v>2625120</c:v>
                </c:pt>
                <c:pt idx="15709">
                  <c:v>33003477</c:v>
                </c:pt>
                <c:pt idx="15710">
                  <c:v>33183606</c:v>
                </c:pt>
                <c:pt idx="15711">
                  <c:v>1911333228</c:v>
                </c:pt>
                <c:pt idx="15712">
                  <c:v>228386574</c:v>
                </c:pt>
                <c:pt idx="15713">
                  <c:v>9307410</c:v>
                </c:pt>
                <c:pt idx="15714">
                  <c:v>27504850</c:v>
                </c:pt>
                <c:pt idx="15715">
                  <c:v>28223415</c:v>
                </c:pt>
                <c:pt idx="15716">
                  <c:v>159563520</c:v>
                </c:pt>
                <c:pt idx="15717">
                  <c:v>25308304</c:v>
                </c:pt>
                <c:pt idx="15718">
                  <c:v>70174125</c:v>
                </c:pt>
                <c:pt idx="15719">
                  <c:v>746255511</c:v>
                </c:pt>
                <c:pt idx="15720">
                  <c:v>7037680</c:v>
                </c:pt>
                <c:pt idx="15721">
                  <c:v>95330952</c:v>
                </c:pt>
                <c:pt idx="15722">
                  <c:v>18063536</c:v>
                </c:pt>
                <c:pt idx="15723">
                  <c:v>294248814</c:v>
                </c:pt>
                <c:pt idx="15724">
                  <c:v>18115850</c:v>
                </c:pt>
                <c:pt idx="15725">
                  <c:v>41394404</c:v>
                </c:pt>
                <c:pt idx="15726">
                  <c:v>72205664</c:v>
                </c:pt>
                <c:pt idx="15727">
                  <c:v>403745763</c:v>
                </c:pt>
                <c:pt idx="15728">
                  <c:v>40525195</c:v>
                </c:pt>
                <c:pt idx="15729">
                  <c:v>12843225</c:v>
                </c:pt>
                <c:pt idx="15730">
                  <c:v>34453719</c:v>
                </c:pt>
                <c:pt idx="15731">
                  <c:v>11174840</c:v>
                </c:pt>
                <c:pt idx="15732">
                  <c:v>230809940</c:v>
                </c:pt>
                <c:pt idx="15733">
                  <c:v>60640108</c:v>
                </c:pt>
                <c:pt idx="15734">
                  <c:v>71707212</c:v>
                </c:pt>
                <c:pt idx="15735">
                  <c:v>96901003</c:v>
                </c:pt>
                <c:pt idx="15736">
                  <c:v>6426000</c:v>
                </c:pt>
                <c:pt idx="15737">
                  <c:v>10015224</c:v>
                </c:pt>
                <c:pt idx="15738">
                  <c:v>17063477</c:v>
                </c:pt>
                <c:pt idx="15739">
                  <c:v>884771972</c:v>
                </c:pt>
                <c:pt idx="15740">
                  <c:v>16980525</c:v>
                </c:pt>
                <c:pt idx="15741">
                  <c:v>24884064</c:v>
                </c:pt>
                <c:pt idx="15742">
                  <c:v>46784075</c:v>
                </c:pt>
                <c:pt idx="15743">
                  <c:v>21985260</c:v>
                </c:pt>
                <c:pt idx="15744">
                  <c:v>181881188</c:v>
                </c:pt>
                <c:pt idx="15745">
                  <c:v>98902374</c:v>
                </c:pt>
                <c:pt idx="15746">
                  <c:v>4043010</c:v>
                </c:pt>
                <c:pt idx="15747">
                  <c:v>140874720</c:v>
                </c:pt>
                <c:pt idx="15748">
                  <c:v>30912528</c:v>
                </c:pt>
                <c:pt idx="15749">
                  <c:v>167111280</c:v>
                </c:pt>
                <c:pt idx="15750">
                  <c:v>247887864</c:v>
                </c:pt>
                <c:pt idx="15751">
                  <c:v>755528909</c:v>
                </c:pt>
                <c:pt idx="15752">
                  <c:v>774055220</c:v>
                </c:pt>
                <c:pt idx="15753">
                  <c:v>826275860</c:v>
                </c:pt>
                <c:pt idx="15754">
                  <c:v>661005072</c:v>
                </c:pt>
                <c:pt idx="15755">
                  <c:v>82222785</c:v>
                </c:pt>
                <c:pt idx="15756">
                  <c:v>82463022</c:v>
                </c:pt>
                <c:pt idx="15757">
                  <c:v>4767774</c:v>
                </c:pt>
                <c:pt idx="15758">
                  <c:v>131731110</c:v>
                </c:pt>
                <c:pt idx="15759">
                  <c:v>1179856213</c:v>
                </c:pt>
                <c:pt idx="15760">
                  <c:v>62324556</c:v>
                </c:pt>
                <c:pt idx="15761">
                  <c:v>52495615</c:v>
                </c:pt>
                <c:pt idx="15762">
                  <c:v>296159136</c:v>
                </c:pt>
                <c:pt idx="15763">
                  <c:v>86279377</c:v>
                </c:pt>
                <c:pt idx="15764">
                  <c:v>908152800</c:v>
                </c:pt>
                <c:pt idx="15765">
                  <c:v>124822943</c:v>
                </c:pt>
                <c:pt idx="15766">
                  <c:v>260588988</c:v>
                </c:pt>
                <c:pt idx="15767">
                  <c:v>90335868</c:v>
                </c:pt>
                <c:pt idx="15768">
                  <c:v>10046635</c:v>
                </c:pt>
                <c:pt idx="15769">
                  <c:v>274198016</c:v>
                </c:pt>
                <c:pt idx="15770">
                  <c:v>441528624</c:v>
                </c:pt>
                <c:pt idx="15771">
                  <c:v>63171172</c:v>
                </c:pt>
                <c:pt idx="15772">
                  <c:v>163419529</c:v>
                </c:pt>
                <c:pt idx="15773">
                  <c:v>186754925</c:v>
                </c:pt>
                <c:pt idx="15774">
                  <c:v>910988350</c:v>
                </c:pt>
                <c:pt idx="15775">
                  <c:v>52561980</c:v>
                </c:pt>
                <c:pt idx="15776">
                  <c:v>834954480</c:v>
                </c:pt>
                <c:pt idx="15777">
                  <c:v>863734360</c:v>
                </c:pt>
                <c:pt idx="15778">
                  <c:v>1172366004</c:v>
                </c:pt>
                <c:pt idx="15779">
                  <c:v>155432880</c:v>
                </c:pt>
                <c:pt idx="15780">
                  <c:v>344047522</c:v>
                </c:pt>
                <c:pt idx="15781">
                  <c:v>54538470</c:v>
                </c:pt>
                <c:pt idx="15782">
                  <c:v>85576896</c:v>
                </c:pt>
                <c:pt idx="15783">
                  <c:v>118975240</c:v>
                </c:pt>
                <c:pt idx="15784">
                  <c:v>390368058</c:v>
                </c:pt>
                <c:pt idx="15785">
                  <c:v>161233485</c:v>
                </c:pt>
                <c:pt idx="15786">
                  <c:v>148696344</c:v>
                </c:pt>
                <c:pt idx="15787">
                  <c:v>321403335</c:v>
                </c:pt>
                <c:pt idx="15788">
                  <c:v>233887808</c:v>
                </c:pt>
                <c:pt idx="15789">
                  <c:v>156742160</c:v>
                </c:pt>
                <c:pt idx="15790">
                  <c:v>1498936218</c:v>
                </c:pt>
                <c:pt idx="15791">
                  <c:v>55869702</c:v>
                </c:pt>
                <c:pt idx="15792">
                  <c:v>4999928</c:v>
                </c:pt>
                <c:pt idx="15793">
                  <c:v>113030189</c:v>
                </c:pt>
                <c:pt idx="15794">
                  <c:v>94177097</c:v>
                </c:pt>
                <c:pt idx="15795">
                  <c:v>215250984</c:v>
                </c:pt>
                <c:pt idx="15796">
                  <c:v>1984499992</c:v>
                </c:pt>
                <c:pt idx="15797">
                  <c:v>66621121</c:v>
                </c:pt>
                <c:pt idx="15798">
                  <c:v>187984020</c:v>
                </c:pt>
                <c:pt idx="15799">
                  <c:v>66947772</c:v>
                </c:pt>
                <c:pt idx="15800">
                  <c:v>176213856</c:v>
                </c:pt>
                <c:pt idx="15801">
                  <c:v>58740615</c:v>
                </c:pt>
                <c:pt idx="15802">
                  <c:v>90211658</c:v>
                </c:pt>
                <c:pt idx="15803">
                  <c:v>1898103500</c:v>
                </c:pt>
                <c:pt idx="15804">
                  <c:v>33247071</c:v>
                </c:pt>
                <c:pt idx="15805">
                  <c:v>172338614</c:v>
                </c:pt>
                <c:pt idx="15806">
                  <c:v>1559082448</c:v>
                </c:pt>
                <c:pt idx="15807">
                  <c:v>519069492</c:v>
                </c:pt>
                <c:pt idx="15808">
                  <c:v>463012200</c:v>
                </c:pt>
                <c:pt idx="15809">
                  <c:v>124325199</c:v>
                </c:pt>
                <c:pt idx="15810">
                  <c:v>165497740</c:v>
                </c:pt>
                <c:pt idx="15811">
                  <c:v>65133064</c:v>
                </c:pt>
                <c:pt idx="15812">
                  <c:v>48508390</c:v>
                </c:pt>
                <c:pt idx="15813">
                  <c:v>189791456</c:v>
                </c:pt>
                <c:pt idx="15814">
                  <c:v>1257168040</c:v>
                </c:pt>
                <c:pt idx="15815">
                  <c:v>773648400</c:v>
                </c:pt>
                <c:pt idx="15816">
                  <c:v>413699582</c:v>
                </c:pt>
                <c:pt idx="15817">
                  <c:v>419393664</c:v>
                </c:pt>
                <c:pt idx="15818">
                  <c:v>8769750</c:v>
                </c:pt>
                <c:pt idx="15819">
                  <c:v>904047480</c:v>
                </c:pt>
                <c:pt idx="15820">
                  <c:v>813582900</c:v>
                </c:pt>
                <c:pt idx="15821">
                  <c:v>1362252514</c:v>
                </c:pt>
                <c:pt idx="15822">
                  <c:v>67147467</c:v>
                </c:pt>
                <c:pt idx="15823">
                  <c:v>550319990</c:v>
                </c:pt>
                <c:pt idx="15824">
                  <c:v>1093403374</c:v>
                </c:pt>
                <c:pt idx="15825">
                  <c:v>481600872</c:v>
                </c:pt>
                <c:pt idx="15826">
                  <c:v>348813058</c:v>
                </c:pt>
                <c:pt idx="15827">
                  <c:v>208669824</c:v>
                </c:pt>
                <c:pt idx="15828">
                  <c:v>243184864</c:v>
                </c:pt>
                <c:pt idx="15829">
                  <c:v>1263235740</c:v>
                </c:pt>
                <c:pt idx="15830">
                  <c:v>133968427</c:v>
                </c:pt>
                <c:pt idx="15831">
                  <c:v>626040358</c:v>
                </c:pt>
                <c:pt idx="15832">
                  <c:v>70263704</c:v>
                </c:pt>
                <c:pt idx="15833">
                  <c:v>515300786</c:v>
                </c:pt>
                <c:pt idx="15834">
                  <c:v>331133719</c:v>
                </c:pt>
                <c:pt idx="15835">
                  <c:v>251158284</c:v>
                </c:pt>
                <c:pt idx="15836">
                  <c:v>451668600</c:v>
                </c:pt>
                <c:pt idx="15837">
                  <c:v>685291326</c:v>
                </c:pt>
                <c:pt idx="15838">
                  <c:v>345975616</c:v>
                </c:pt>
                <c:pt idx="15839">
                  <c:v>179155067</c:v>
                </c:pt>
                <c:pt idx="15840">
                  <c:v>323261064</c:v>
                </c:pt>
                <c:pt idx="15841">
                  <c:v>293946100</c:v>
                </c:pt>
                <c:pt idx="15842">
                  <c:v>599704770</c:v>
                </c:pt>
                <c:pt idx="15843">
                  <c:v>296619468</c:v>
                </c:pt>
                <c:pt idx="15844">
                  <c:v>1569539457</c:v>
                </c:pt>
                <c:pt idx="15845">
                  <c:v>63242500</c:v>
                </c:pt>
                <c:pt idx="15846">
                  <c:v>98072208</c:v>
                </c:pt>
                <c:pt idx="15847">
                  <c:v>808719490</c:v>
                </c:pt>
                <c:pt idx="15848">
                  <c:v>1205086164</c:v>
                </c:pt>
                <c:pt idx="15849">
                  <c:v>662855940</c:v>
                </c:pt>
                <c:pt idx="15850">
                  <c:v>884483523</c:v>
                </c:pt>
                <c:pt idx="15851">
                  <c:v>391479044</c:v>
                </c:pt>
                <c:pt idx="15852">
                  <c:v>751334100</c:v>
                </c:pt>
                <c:pt idx="15853">
                  <c:v>906974640</c:v>
                </c:pt>
                <c:pt idx="15854">
                  <c:v>1179785848</c:v>
                </c:pt>
                <c:pt idx="15855">
                  <c:v>1593805200</c:v>
                </c:pt>
                <c:pt idx="15856">
                  <c:v>126029756</c:v>
                </c:pt>
                <c:pt idx="15857">
                  <c:v>1494073490</c:v>
                </c:pt>
                <c:pt idx="15858">
                  <c:v>111823200</c:v>
                </c:pt>
                <c:pt idx="15859">
                  <c:v>736939472</c:v>
                </c:pt>
                <c:pt idx="15860">
                  <c:v>15179717</c:v>
                </c:pt>
                <c:pt idx="15861">
                  <c:v>389774498</c:v>
                </c:pt>
                <c:pt idx="15862">
                  <c:v>94889635</c:v>
                </c:pt>
                <c:pt idx="15863">
                  <c:v>635238344</c:v>
                </c:pt>
                <c:pt idx="15864">
                  <c:v>235158388</c:v>
                </c:pt>
                <c:pt idx="15865">
                  <c:v>102089585</c:v>
                </c:pt>
                <c:pt idx="15866">
                  <c:v>240699420</c:v>
                </c:pt>
                <c:pt idx="15867">
                  <c:v>347355500</c:v>
                </c:pt>
                <c:pt idx="15868">
                  <c:v>342888804</c:v>
                </c:pt>
                <c:pt idx="15869">
                  <c:v>157719197</c:v>
                </c:pt>
                <c:pt idx="15870">
                  <c:v>137571420</c:v>
                </c:pt>
                <c:pt idx="15871">
                  <c:v>823105412</c:v>
                </c:pt>
                <c:pt idx="15872">
                  <c:v>1207339884</c:v>
                </c:pt>
                <c:pt idx="15873">
                  <c:v>1362438350</c:v>
                </c:pt>
                <c:pt idx="15874">
                  <c:v>1255129736</c:v>
                </c:pt>
                <c:pt idx="15875">
                  <c:v>431987288</c:v>
                </c:pt>
                <c:pt idx="15876">
                  <c:v>140024852</c:v>
                </c:pt>
                <c:pt idx="15877">
                  <c:v>2022018</c:v>
                </c:pt>
                <c:pt idx="15878">
                  <c:v>1353042196</c:v>
                </c:pt>
                <c:pt idx="15879">
                  <c:v>127376352</c:v>
                </c:pt>
                <c:pt idx="15880">
                  <c:v>670580532</c:v>
                </c:pt>
                <c:pt idx="15881">
                  <c:v>146931297</c:v>
                </c:pt>
                <c:pt idx="15882">
                  <c:v>328581568</c:v>
                </c:pt>
                <c:pt idx="15883">
                  <c:v>1294625462</c:v>
                </c:pt>
                <c:pt idx="15884">
                  <c:v>680968626</c:v>
                </c:pt>
                <c:pt idx="15885">
                  <c:v>1051985487</c:v>
                </c:pt>
                <c:pt idx="15886">
                  <c:v>478565136</c:v>
                </c:pt>
                <c:pt idx="15887">
                  <c:v>1617023340</c:v>
                </c:pt>
                <c:pt idx="15888">
                  <c:v>781203372</c:v>
                </c:pt>
                <c:pt idx="15889">
                  <c:v>1359464120</c:v>
                </c:pt>
                <c:pt idx="15890">
                  <c:v>1040734748</c:v>
                </c:pt>
                <c:pt idx="15891">
                  <c:v>1112886970</c:v>
                </c:pt>
                <c:pt idx="15892">
                  <c:v>607022023</c:v>
                </c:pt>
                <c:pt idx="15893">
                  <c:v>1993343001</c:v>
                </c:pt>
                <c:pt idx="15894">
                  <c:v>795552965</c:v>
                </c:pt>
                <c:pt idx="15895">
                  <c:v>1036572892</c:v>
                </c:pt>
                <c:pt idx="15896">
                  <c:v>966741600</c:v>
                </c:pt>
                <c:pt idx="15897">
                  <c:v>1141859825</c:v>
                </c:pt>
                <c:pt idx="15898">
                  <c:v>840393682</c:v>
                </c:pt>
                <c:pt idx="15899">
                  <c:v>835648400</c:v>
                </c:pt>
                <c:pt idx="15900">
                  <c:v>526635892</c:v>
                </c:pt>
                <c:pt idx="15901">
                  <c:v>587457572</c:v>
                </c:pt>
                <c:pt idx="15902">
                  <c:v>853867935</c:v>
                </c:pt>
                <c:pt idx="15903">
                  <c:v>771677048</c:v>
                </c:pt>
                <c:pt idx="15904">
                  <c:v>547166460</c:v>
                </c:pt>
                <c:pt idx="15905">
                  <c:v>121099968</c:v>
                </c:pt>
                <c:pt idx="15906">
                  <c:v>329003947</c:v>
                </c:pt>
                <c:pt idx="15907">
                  <c:v>1249165044</c:v>
                </c:pt>
                <c:pt idx="15908">
                  <c:v>723977177</c:v>
                </c:pt>
                <c:pt idx="15909">
                  <c:v>281861973</c:v>
                </c:pt>
                <c:pt idx="15910">
                  <c:v>789563778</c:v>
                </c:pt>
                <c:pt idx="15911">
                  <c:v>990230252</c:v>
                </c:pt>
                <c:pt idx="15912">
                  <c:v>77199640</c:v>
                </c:pt>
                <c:pt idx="15913">
                  <c:v>79584242</c:v>
                </c:pt>
                <c:pt idx="15914">
                  <c:v>76617030</c:v>
                </c:pt>
                <c:pt idx="15915">
                  <c:v>22101579</c:v>
                </c:pt>
                <c:pt idx="15916">
                  <c:v>27276920</c:v>
                </c:pt>
                <c:pt idx="15917">
                  <c:v>88696256</c:v>
                </c:pt>
                <c:pt idx="15918">
                  <c:v>239404308</c:v>
                </c:pt>
                <c:pt idx="15919">
                  <c:v>47395170</c:v>
                </c:pt>
                <c:pt idx="15920">
                  <c:v>1311165345</c:v>
                </c:pt>
                <c:pt idx="15921">
                  <c:v>117191694</c:v>
                </c:pt>
                <c:pt idx="15922">
                  <c:v>95072765</c:v>
                </c:pt>
                <c:pt idx="15923">
                  <c:v>76855152</c:v>
                </c:pt>
                <c:pt idx="15924">
                  <c:v>41749616</c:v>
                </c:pt>
                <c:pt idx="15925">
                  <c:v>220557528</c:v>
                </c:pt>
                <c:pt idx="15926">
                  <c:v>144245680</c:v>
                </c:pt>
                <c:pt idx="15927">
                  <c:v>27260226</c:v>
                </c:pt>
                <c:pt idx="15928">
                  <c:v>214812000</c:v>
                </c:pt>
                <c:pt idx="15929">
                  <c:v>133995060</c:v>
                </c:pt>
                <c:pt idx="15930">
                  <c:v>19937268</c:v>
                </c:pt>
                <c:pt idx="15931">
                  <c:v>480504285</c:v>
                </c:pt>
                <c:pt idx="15932">
                  <c:v>266758492</c:v>
                </c:pt>
                <c:pt idx="15933">
                  <c:v>91572844</c:v>
                </c:pt>
                <c:pt idx="15934">
                  <c:v>136017676</c:v>
                </c:pt>
                <c:pt idx="15935">
                  <c:v>177453101</c:v>
                </c:pt>
                <c:pt idx="15936">
                  <c:v>637418208</c:v>
                </c:pt>
                <c:pt idx="15937">
                  <c:v>257870969</c:v>
                </c:pt>
                <c:pt idx="15938">
                  <c:v>436330559</c:v>
                </c:pt>
                <c:pt idx="15939">
                  <c:v>334498890</c:v>
                </c:pt>
                <c:pt idx="15940">
                  <c:v>28427256</c:v>
                </c:pt>
                <c:pt idx="15941">
                  <c:v>700237842</c:v>
                </c:pt>
                <c:pt idx="15942">
                  <c:v>28244944</c:v>
                </c:pt>
                <c:pt idx="15943">
                  <c:v>56345575</c:v>
                </c:pt>
                <c:pt idx="15944">
                  <c:v>27299184</c:v>
                </c:pt>
                <c:pt idx="15945">
                  <c:v>800235630</c:v>
                </c:pt>
                <c:pt idx="15946">
                  <c:v>931655648</c:v>
                </c:pt>
                <c:pt idx="15947">
                  <c:v>635022576</c:v>
                </c:pt>
                <c:pt idx="15948">
                  <c:v>159146335</c:v>
                </c:pt>
                <c:pt idx="15949">
                  <c:v>396865076</c:v>
                </c:pt>
                <c:pt idx="15950">
                  <c:v>36774030</c:v>
                </c:pt>
                <c:pt idx="15951">
                  <c:v>327781464</c:v>
                </c:pt>
                <c:pt idx="15952">
                  <c:v>19422069</c:v>
                </c:pt>
                <c:pt idx="15953">
                  <c:v>24656632</c:v>
                </c:pt>
                <c:pt idx="15954">
                  <c:v>429161845</c:v>
                </c:pt>
                <c:pt idx="15955">
                  <c:v>73495420</c:v>
                </c:pt>
                <c:pt idx="15956">
                  <c:v>13187746</c:v>
                </c:pt>
                <c:pt idx="15957">
                  <c:v>600327715</c:v>
                </c:pt>
                <c:pt idx="15958">
                  <c:v>211680563</c:v>
                </c:pt>
                <c:pt idx="15959">
                  <c:v>153057920</c:v>
                </c:pt>
                <c:pt idx="15960">
                  <c:v>91332780</c:v>
                </c:pt>
                <c:pt idx="15961">
                  <c:v>1614305052</c:v>
                </c:pt>
                <c:pt idx="15962">
                  <c:v>429415086</c:v>
                </c:pt>
                <c:pt idx="15963">
                  <c:v>165193856</c:v>
                </c:pt>
                <c:pt idx="15964">
                  <c:v>519490972</c:v>
                </c:pt>
                <c:pt idx="15965">
                  <c:v>34745886</c:v>
                </c:pt>
                <c:pt idx="15966">
                  <c:v>106541056</c:v>
                </c:pt>
                <c:pt idx="15967">
                  <c:v>433818154</c:v>
                </c:pt>
                <c:pt idx="15968">
                  <c:v>89844436</c:v>
                </c:pt>
                <c:pt idx="15969">
                  <c:v>162036476</c:v>
                </c:pt>
                <c:pt idx="15970">
                  <c:v>849768714</c:v>
                </c:pt>
                <c:pt idx="15971">
                  <c:v>67257756</c:v>
                </c:pt>
                <c:pt idx="15972">
                  <c:v>53041395</c:v>
                </c:pt>
                <c:pt idx="15973">
                  <c:v>274835700</c:v>
                </c:pt>
                <c:pt idx="15974">
                  <c:v>50623832</c:v>
                </c:pt>
                <c:pt idx="15975">
                  <c:v>12429648</c:v>
                </c:pt>
                <c:pt idx="15976">
                  <c:v>286879270</c:v>
                </c:pt>
                <c:pt idx="15977">
                  <c:v>35794920</c:v>
                </c:pt>
                <c:pt idx="15978">
                  <c:v>227819826</c:v>
                </c:pt>
                <c:pt idx="15979">
                  <c:v>64912640</c:v>
                </c:pt>
                <c:pt idx="15980">
                  <c:v>55564845</c:v>
                </c:pt>
                <c:pt idx="15981">
                  <c:v>40407252</c:v>
                </c:pt>
                <c:pt idx="15982">
                  <c:v>150230696</c:v>
                </c:pt>
                <c:pt idx="15983">
                  <c:v>845949000</c:v>
                </c:pt>
                <c:pt idx="15984">
                  <c:v>1811990201</c:v>
                </c:pt>
                <c:pt idx="15985">
                  <c:v>1548269564</c:v>
                </c:pt>
                <c:pt idx="15986">
                  <c:v>186176419</c:v>
                </c:pt>
                <c:pt idx="15987">
                  <c:v>1071289632</c:v>
                </c:pt>
                <c:pt idx="15988">
                  <c:v>3090395</c:v>
                </c:pt>
                <c:pt idx="15989">
                  <c:v>1548301176</c:v>
                </c:pt>
                <c:pt idx="15990">
                  <c:v>1812501376</c:v>
                </c:pt>
                <c:pt idx="15991">
                  <c:v>1248277797</c:v>
                </c:pt>
                <c:pt idx="15992">
                  <c:v>2147483647</c:v>
                </c:pt>
                <c:pt idx="15993">
                  <c:v>730793148</c:v>
                </c:pt>
                <c:pt idx="15994">
                  <c:v>562387560</c:v>
                </c:pt>
                <c:pt idx="15995">
                  <c:v>316738799</c:v>
                </c:pt>
                <c:pt idx="15996">
                  <c:v>810876246</c:v>
                </c:pt>
                <c:pt idx="15997">
                  <c:v>789948115</c:v>
                </c:pt>
                <c:pt idx="15998">
                  <c:v>768754300</c:v>
                </c:pt>
                <c:pt idx="15999">
                  <c:v>1554752472</c:v>
                </c:pt>
                <c:pt idx="16000">
                  <c:v>242870880</c:v>
                </c:pt>
                <c:pt idx="16001">
                  <c:v>28904980</c:v>
                </c:pt>
                <c:pt idx="16002">
                  <c:v>1813890</c:v>
                </c:pt>
                <c:pt idx="16003">
                  <c:v>35116506</c:v>
                </c:pt>
                <c:pt idx="16004">
                  <c:v>38317534</c:v>
                </c:pt>
                <c:pt idx="16005">
                  <c:v>142429593</c:v>
                </c:pt>
                <c:pt idx="16006">
                  <c:v>49927239</c:v>
                </c:pt>
                <c:pt idx="16007">
                  <c:v>141514792</c:v>
                </c:pt>
                <c:pt idx="16008">
                  <c:v>26971334</c:v>
                </c:pt>
                <c:pt idx="16009">
                  <c:v>118461450</c:v>
                </c:pt>
                <c:pt idx="16010">
                  <c:v>10926450</c:v>
                </c:pt>
                <c:pt idx="16011">
                  <c:v>116830278</c:v>
                </c:pt>
                <c:pt idx="16012">
                  <c:v>10573160</c:v>
                </c:pt>
                <c:pt idx="16013">
                  <c:v>188184870</c:v>
                </c:pt>
                <c:pt idx="16014">
                  <c:v>19283825</c:v>
                </c:pt>
                <c:pt idx="16015">
                  <c:v>5647817</c:v>
                </c:pt>
                <c:pt idx="16016">
                  <c:v>393591926</c:v>
                </c:pt>
                <c:pt idx="16017">
                  <c:v>75670309</c:v>
                </c:pt>
                <c:pt idx="16018">
                  <c:v>214161165</c:v>
                </c:pt>
                <c:pt idx="16019">
                  <c:v>14059968</c:v>
                </c:pt>
                <c:pt idx="16020">
                  <c:v>37620286</c:v>
                </c:pt>
                <c:pt idx="16021">
                  <c:v>8256651</c:v>
                </c:pt>
                <c:pt idx="16022">
                  <c:v>459881090</c:v>
                </c:pt>
                <c:pt idx="16023">
                  <c:v>83390076</c:v>
                </c:pt>
                <c:pt idx="16024">
                  <c:v>52238736</c:v>
                </c:pt>
                <c:pt idx="16025">
                  <c:v>714666848</c:v>
                </c:pt>
                <c:pt idx="16026">
                  <c:v>830243085</c:v>
                </c:pt>
                <c:pt idx="16027">
                  <c:v>75074883</c:v>
                </c:pt>
                <c:pt idx="16028">
                  <c:v>17746128</c:v>
                </c:pt>
                <c:pt idx="16029">
                  <c:v>37583091</c:v>
                </c:pt>
                <c:pt idx="16030">
                  <c:v>63944139</c:v>
                </c:pt>
                <c:pt idx="16031">
                  <c:v>37540500</c:v>
                </c:pt>
                <c:pt idx="16032">
                  <c:v>309958242</c:v>
                </c:pt>
                <c:pt idx="16033">
                  <c:v>42934698</c:v>
                </c:pt>
                <c:pt idx="16034">
                  <c:v>3394592</c:v>
                </c:pt>
                <c:pt idx="16035">
                  <c:v>77381676</c:v>
                </c:pt>
                <c:pt idx="16036">
                  <c:v>42301446</c:v>
                </c:pt>
                <c:pt idx="16037">
                  <c:v>8801375</c:v>
                </c:pt>
                <c:pt idx="16038">
                  <c:v>79824553</c:v>
                </c:pt>
                <c:pt idx="16039">
                  <c:v>103497695</c:v>
                </c:pt>
                <c:pt idx="16040">
                  <c:v>114735036</c:v>
                </c:pt>
                <c:pt idx="16041">
                  <c:v>6982250</c:v>
                </c:pt>
                <c:pt idx="16042">
                  <c:v>35281425</c:v>
                </c:pt>
                <c:pt idx="16043">
                  <c:v>30836910</c:v>
                </c:pt>
                <c:pt idx="16044">
                  <c:v>10150938</c:v>
                </c:pt>
                <c:pt idx="16045">
                  <c:v>94644194</c:v>
                </c:pt>
                <c:pt idx="16046">
                  <c:v>3886383</c:v>
                </c:pt>
                <c:pt idx="16047">
                  <c:v>33394880</c:v>
                </c:pt>
                <c:pt idx="16048">
                  <c:v>64800175</c:v>
                </c:pt>
                <c:pt idx="16049">
                  <c:v>149547015</c:v>
                </c:pt>
                <c:pt idx="16050">
                  <c:v>11356980</c:v>
                </c:pt>
                <c:pt idx="16051">
                  <c:v>227797582</c:v>
                </c:pt>
                <c:pt idx="16052">
                  <c:v>189940140</c:v>
                </c:pt>
                <c:pt idx="16053">
                  <c:v>157097379</c:v>
                </c:pt>
                <c:pt idx="16054">
                  <c:v>66644730</c:v>
                </c:pt>
                <c:pt idx="16055">
                  <c:v>86840460</c:v>
                </c:pt>
                <c:pt idx="16056">
                  <c:v>3390210</c:v>
                </c:pt>
                <c:pt idx="16057">
                  <c:v>245215877</c:v>
                </c:pt>
                <c:pt idx="16058">
                  <c:v>228642434</c:v>
                </c:pt>
                <c:pt idx="16059">
                  <c:v>97848268</c:v>
                </c:pt>
                <c:pt idx="16060">
                  <c:v>461751264</c:v>
                </c:pt>
                <c:pt idx="16061">
                  <c:v>121943259</c:v>
                </c:pt>
                <c:pt idx="16062">
                  <c:v>35447336</c:v>
                </c:pt>
                <c:pt idx="16063">
                  <c:v>404303663</c:v>
                </c:pt>
                <c:pt idx="16064">
                  <c:v>100584936</c:v>
                </c:pt>
                <c:pt idx="16065">
                  <c:v>346399287</c:v>
                </c:pt>
                <c:pt idx="16066">
                  <c:v>60774624</c:v>
                </c:pt>
                <c:pt idx="16067">
                  <c:v>7834860</c:v>
                </c:pt>
                <c:pt idx="16068">
                  <c:v>261196959</c:v>
                </c:pt>
                <c:pt idx="16069">
                  <c:v>221553505</c:v>
                </c:pt>
                <c:pt idx="16070">
                  <c:v>46592700</c:v>
                </c:pt>
                <c:pt idx="16071">
                  <c:v>60392108</c:v>
                </c:pt>
                <c:pt idx="16072">
                  <c:v>100007948</c:v>
                </c:pt>
                <c:pt idx="16073">
                  <c:v>26728245</c:v>
                </c:pt>
                <c:pt idx="16074">
                  <c:v>35101703</c:v>
                </c:pt>
                <c:pt idx="16075">
                  <c:v>79859318</c:v>
                </c:pt>
                <c:pt idx="16076">
                  <c:v>257251518</c:v>
                </c:pt>
                <c:pt idx="16077">
                  <c:v>127328832</c:v>
                </c:pt>
                <c:pt idx="16078">
                  <c:v>84473244</c:v>
                </c:pt>
                <c:pt idx="16079">
                  <c:v>153136205</c:v>
                </c:pt>
                <c:pt idx="16080">
                  <c:v>1736381898</c:v>
                </c:pt>
                <c:pt idx="16081">
                  <c:v>681106320</c:v>
                </c:pt>
                <c:pt idx="16082">
                  <c:v>273792888</c:v>
                </c:pt>
                <c:pt idx="16083">
                  <c:v>291547035</c:v>
                </c:pt>
                <c:pt idx="16084">
                  <c:v>852492870</c:v>
                </c:pt>
                <c:pt idx="16085">
                  <c:v>179519904</c:v>
                </c:pt>
                <c:pt idx="16086">
                  <c:v>176594670</c:v>
                </c:pt>
                <c:pt idx="16087">
                  <c:v>247328961</c:v>
                </c:pt>
                <c:pt idx="16088">
                  <c:v>83323008</c:v>
                </c:pt>
                <c:pt idx="16089">
                  <c:v>41271051</c:v>
                </c:pt>
                <c:pt idx="16090">
                  <c:v>76291056</c:v>
                </c:pt>
                <c:pt idx="16091">
                  <c:v>71026150</c:v>
                </c:pt>
                <c:pt idx="16092">
                  <c:v>107737524</c:v>
                </c:pt>
                <c:pt idx="16093">
                  <c:v>22112604</c:v>
                </c:pt>
                <c:pt idx="16094">
                  <c:v>13972420</c:v>
                </c:pt>
                <c:pt idx="16095">
                  <c:v>32328690</c:v>
                </c:pt>
                <c:pt idx="16096">
                  <c:v>190544400</c:v>
                </c:pt>
                <c:pt idx="16097">
                  <c:v>125904600</c:v>
                </c:pt>
                <c:pt idx="16098">
                  <c:v>181026225</c:v>
                </c:pt>
                <c:pt idx="16099">
                  <c:v>83982793</c:v>
                </c:pt>
                <c:pt idx="16100">
                  <c:v>79607270</c:v>
                </c:pt>
                <c:pt idx="16101">
                  <c:v>151801152</c:v>
                </c:pt>
                <c:pt idx="16102">
                  <c:v>170887025</c:v>
                </c:pt>
                <c:pt idx="16103">
                  <c:v>2033963876</c:v>
                </c:pt>
                <c:pt idx="16104">
                  <c:v>16611288</c:v>
                </c:pt>
                <c:pt idx="16105">
                  <c:v>7167556</c:v>
                </c:pt>
                <c:pt idx="16106">
                  <c:v>94865320</c:v>
                </c:pt>
                <c:pt idx="16107">
                  <c:v>4253418</c:v>
                </c:pt>
                <c:pt idx="16108">
                  <c:v>91628393</c:v>
                </c:pt>
                <c:pt idx="16109">
                  <c:v>15117795</c:v>
                </c:pt>
                <c:pt idx="16110">
                  <c:v>149612608</c:v>
                </c:pt>
                <c:pt idx="16111">
                  <c:v>2725303</c:v>
                </c:pt>
                <c:pt idx="16112">
                  <c:v>54634770</c:v>
                </c:pt>
                <c:pt idx="16113">
                  <c:v>129399084</c:v>
                </c:pt>
                <c:pt idx="16114">
                  <c:v>1026526884</c:v>
                </c:pt>
                <c:pt idx="16115">
                  <c:v>64157520</c:v>
                </c:pt>
                <c:pt idx="16116">
                  <c:v>218002140</c:v>
                </c:pt>
                <c:pt idx="16117">
                  <c:v>38446398</c:v>
                </c:pt>
                <c:pt idx="16118">
                  <c:v>30624784</c:v>
                </c:pt>
                <c:pt idx="16119">
                  <c:v>102277995</c:v>
                </c:pt>
                <c:pt idx="16120">
                  <c:v>276391920</c:v>
                </c:pt>
                <c:pt idx="16121">
                  <c:v>107099224</c:v>
                </c:pt>
                <c:pt idx="16122">
                  <c:v>487953680</c:v>
                </c:pt>
                <c:pt idx="16123">
                  <c:v>35198810</c:v>
                </c:pt>
                <c:pt idx="16124">
                  <c:v>19813832</c:v>
                </c:pt>
                <c:pt idx="16125">
                  <c:v>100012539</c:v>
                </c:pt>
                <c:pt idx="16126">
                  <c:v>6589536</c:v>
                </c:pt>
                <c:pt idx="16127">
                  <c:v>224287650</c:v>
                </c:pt>
                <c:pt idx="16128">
                  <c:v>171097375</c:v>
                </c:pt>
                <c:pt idx="16129">
                  <c:v>369656364</c:v>
                </c:pt>
                <c:pt idx="16130">
                  <c:v>35516278</c:v>
                </c:pt>
                <c:pt idx="16131">
                  <c:v>179870019</c:v>
                </c:pt>
                <c:pt idx="16132">
                  <c:v>41534432</c:v>
                </c:pt>
                <c:pt idx="16133">
                  <c:v>8028638</c:v>
                </c:pt>
                <c:pt idx="16134">
                  <c:v>82974720</c:v>
                </c:pt>
                <c:pt idx="16135">
                  <c:v>291377680</c:v>
                </c:pt>
                <c:pt idx="16136">
                  <c:v>246883721</c:v>
                </c:pt>
                <c:pt idx="16137">
                  <c:v>518885378</c:v>
                </c:pt>
                <c:pt idx="16138">
                  <c:v>161589456</c:v>
                </c:pt>
                <c:pt idx="16139">
                  <c:v>123724545</c:v>
                </c:pt>
                <c:pt idx="16140">
                  <c:v>147069875</c:v>
                </c:pt>
                <c:pt idx="16141">
                  <c:v>173586688</c:v>
                </c:pt>
                <c:pt idx="16142">
                  <c:v>103140224</c:v>
                </c:pt>
                <c:pt idx="16143">
                  <c:v>45640800</c:v>
                </c:pt>
                <c:pt idx="16144">
                  <c:v>83143355</c:v>
                </c:pt>
                <c:pt idx="16145">
                  <c:v>115320957</c:v>
                </c:pt>
                <c:pt idx="16146">
                  <c:v>160341216</c:v>
                </c:pt>
                <c:pt idx="16147">
                  <c:v>66962960</c:v>
                </c:pt>
                <c:pt idx="16148">
                  <c:v>65722779</c:v>
                </c:pt>
                <c:pt idx="16149">
                  <c:v>72528300</c:v>
                </c:pt>
                <c:pt idx="16150">
                  <c:v>5092880</c:v>
                </c:pt>
                <c:pt idx="16151">
                  <c:v>222632520</c:v>
                </c:pt>
                <c:pt idx="16152">
                  <c:v>83287282</c:v>
                </c:pt>
                <c:pt idx="16153">
                  <c:v>40314675</c:v>
                </c:pt>
                <c:pt idx="16154">
                  <c:v>12064668</c:v>
                </c:pt>
                <c:pt idx="16155">
                  <c:v>40774400</c:v>
                </c:pt>
                <c:pt idx="16156">
                  <c:v>45990882</c:v>
                </c:pt>
                <c:pt idx="16157">
                  <c:v>18596864</c:v>
                </c:pt>
                <c:pt idx="16158">
                  <c:v>4864353</c:v>
                </c:pt>
                <c:pt idx="16159">
                  <c:v>195763840</c:v>
                </c:pt>
                <c:pt idx="16160">
                  <c:v>257003768</c:v>
                </c:pt>
                <c:pt idx="16161">
                  <c:v>1269345548</c:v>
                </c:pt>
                <c:pt idx="16162">
                  <c:v>56403506</c:v>
                </c:pt>
                <c:pt idx="16163">
                  <c:v>94791660</c:v>
                </c:pt>
                <c:pt idx="16164">
                  <c:v>183412719</c:v>
                </c:pt>
                <c:pt idx="16165">
                  <c:v>150861906</c:v>
                </c:pt>
                <c:pt idx="16166">
                  <c:v>32804485</c:v>
                </c:pt>
                <c:pt idx="16167">
                  <c:v>73029492</c:v>
                </c:pt>
                <c:pt idx="16168">
                  <c:v>694649358</c:v>
                </c:pt>
                <c:pt idx="16169">
                  <c:v>450469313</c:v>
                </c:pt>
                <c:pt idx="16170">
                  <c:v>71961000</c:v>
                </c:pt>
                <c:pt idx="16171">
                  <c:v>32136005</c:v>
                </c:pt>
                <c:pt idx="16172">
                  <c:v>79539480</c:v>
                </c:pt>
                <c:pt idx="16173">
                  <c:v>766269840</c:v>
                </c:pt>
                <c:pt idx="16174">
                  <c:v>814326608</c:v>
                </c:pt>
                <c:pt idx="16175">
                  <c:v>684700470</c:v>
                </c:pt>
                <c:pt idx="16176">
                  <c:v>835375830</c:v>
                </c:pt>
                <c:pt idx="16177">
                  <c:v>1346747764</c:v>
                </c:pt>
                <c:pt idx="16178">
                  <c:v>1822570485</c:v>
                </c:pt>
                <c:pt idx="16179">
                  <c:v>1103761972</c:v>
                </c:pt>
                <c:pt idx="16180">
                  <c:v>879355838</c:v>
                </c:pt>
                <c:pt idx="16181">
                  <c:v>74026162</c:v>
                </c:pt>
                <c:pt idx="16182">
                  <c:v>141313248</c:v>
                </c:pt>
                <c:pt idx="16183">
                  <c:v>49705292</c:v>
                </c:pt>
                <c:pt idx="16184">
                  <c:v>35240640</c:v>
                </c:pt>
                <c:pt idx="16185">
                  <c:v>34985576</c:v>
                </c:pt>
                <c:pt idx="16186">
                  <c:v>377667722</c:v>
                </c:pt>
                <c:pt idx="16187">
                  <c:v>65021068</c:v>
                </c:pt>
                <c:pt idx="16188">
                  <c:v>157516032</c:v>
                </c:pt>
                <c:pt idx="16189">
                  <c:v>69313463</c:v>
                </c:pt>
                <c:pt idx="16190">
                  <c:v>4974060</c:v>
                </c:pt>
                <c:pt idx="16191">
                  <c:v>92841731</c:v>
                </c:pt>
                <c:pt idx="16192">
                  <c:v>39184341</c:v>
                </c:pt>
                <c:pt idx="16193">
                  <c:v>407800</c:v>
                </c:pt>
                <c:pt idx="16194">
                  <c:v>29261220</c:v>
                </c:pt>
                <c:pt idx="16195">
                  <c:v>36719066</c:v>
                </c:pt>
                <c:pt idx="16196">
                  <c:v>92335865</c:v>
                </c:pt>
                <c:pt idx="16197">
                  <c:v>31644837</c:v>
                </c:pt>
                <c:pt idx="16198">
                  <c:v>83147976</c:v>
                </c:pt>
                <c:pt idx="16199">
                  <c:v>55079898</c:v>
                </c:pt>
                <c:pt idx="16200">
                  <c:v>52122516</c:v>
                </c:pt>
                <c:pt idx="16201">
                  <c:v>138682368</c:v>
                </c:pt>
                <c:pt idx="16202">
                  <c:v>37303198</c:v>
                </c:pt>
                <c:pt idx="16203">
                  <c:v>26205270</c:v>
                </c:pt>
                <c:pt idx="16204">
                  <c:v>3403890</c:v>
                </c:pt>
                <c:pt idx="16205">
                  <c:v>49766784</c:v>
                </c:pt>
                <c:pt idx="16206">
                  <c:v>60059460</c:v>
                </c:pt>
                <c:pt idx="16207">
                  <c:v>54252325</c:v>
                </c:pt>
                <c:pt idx="16208">
                  <c:v>83893005</c:v>
                </c:pt>
                <c:pt idx="16209">
                  <c:v>90797952</c:v>
                </c:pt>
                <c:pt idx="16210">
                  <c:v>34517360</c:v>
                </c:pt>
                <c:pt idx="16211">
                  <c:v>37847032</c:v>
                </c:pt>
                <c:pt idx="16212">
                  <c:v>81818979</c:v>
                </c:pt>
                <c:pt idx="16213">
                  <c:v>84537570</c:v>
                </c:pt>
                <c:pt idx="16214">
                  <c:v>11405946</c:v>
                </c:pt>
                <c:pt idx="16215">
                  <c:v>155978816</c:v>
                </c:pt>
                <c:pt idx="16216">
                  <c:v>971713974</c:v>
                </c:pt>
                <c:pt idx="16217">
                  <c:v>12430236</c:v>
                </c:pt>
                <c:pt idx="16218">
                  <c:v>329996126</c:v>
                </c:pt>
                <c:pt idx="16219">
                  <c:v>591883270</c:v>
                </c:pt>
                <c:pt idx="16220">
                  <c:v>41279175</c:v>
                </c:pt>
                <c:pt idx="16221">
                  <c:v>756964610</c:v>
                </c:pt>
                <c:pt idx="16222">
                  <c:v>163029185</c:v>
                </c:pt>
                <c:pt idx="16223">
                  <c:v>291301528</c:v>
                </c:pt>
                <c:pt idx="16224">
                  <c:v>3869476</c:v>
                </c:pt>
                <c:pt idx="16225">
                  <c:v>37060782</c:v>
                </c:pt>
                <c:pt idx="16226">
                  <c:v>69701424</c:v>
                </c:pt>
                <c:pt idx="16227">
                  <c:v>10915458</c:v>
                </c:pt>
                <c:pt idx="16228">
                  <c:v>24836205</c:v>
                </c:pt>
                <c:pt idx="16229">
                  <c:v>18404876</c:v>
                </c:pt>
                <c:pt idx="16230">
                  <c:v>83032320</c:v>
                </c:pt>
                <c:pt idx="16231">
                  <c:v>526412040</c:v>
                </c:pt>
                <c:pt idx="16232">
                  <c:v>53086330</c:v>
                </c:pt>
                <c:pt idx="16233">
                  <c:v>51969016</c:v>
                </c:pt>
                <c:pt idx="16234">
                  <c:v>66202947</c:v>
                </c:pt>
                <c:pt idx="16235">
                  <c:v>84396752</c:v>
                </c:pt>
                <c:pt idx="16236">
                  <c:v>154710432</c:v>
                </c:pt>
                <c:pt idx="16237">
                  <c:v>49588840</c:v>
                </c:pt>
                <c:pt idx="16238">
                  <c:v>684974536</c:v>
                </c:pt>
                <c:pt idx="16239">
                  <c:v>105831000</c:v>
                </c:pt>
                <c:pt idx="16240">
                  <c:v>37027244</c:v>
                </c:pt>
                <c:pt idx="16241">
                  <c:v>778308412</c:v>
                </c:pt>
                <c:pt idx="16242">
                  <c:v>430056437</c:v>
                </c:pt>
                <c:pt idx="16243">
                  <c:v>194423860</c:v>
                </c:pt>
                <c:pt idx="16244">
                  <c:v>10691912</c:v>
                </c:pt>
                <c:pt idx="16245">
                  <c:v>58897635</c:v>
                </c:pt>
                <c:pt idx="16246">
                  <c:v>338649564</c:v>
                </c:pt>
                <c:pt idx="16247">
                  <c:v>30210921</c:v>
                </c:pt>
                <c:pt idx="16248">
                  <c:v>47217742</c:v>
                </c:pt>
                <c:pt idx="16249">
                  <c:v>24641738</c:v>
                </c:pt>
                <c:pt idx="16250">
                  <c:v>45871916</c:v>
                </c:pt>
                <c:pt idx="16251">
                  <c:v>19358699</c:v>
                </c:pt>
                <c:pt idx="16252">
                  <c:v>914773008</c:v>
                </c:pt>
                <c:pt idx="16253">
                  <c:v>185051436</c:v>
                </c:pt>
                <c:pt idx="16254">
                  <c:v>65923230</c:v>
                </c:pt>
                <c:pt idx="16255">
                  <c:v>85090851</c:v>
                </c:pt>
                <c:pt idx="16256">
                  <c:v>680069581</c:v>
                </c:pt>
                <c:pt idx="16257">
                  <c:v>39781842</c:v>
                </c:pt>
                <c:pt idx="16258">
                  <c:v>40271308</c:v>
                </c:pt>
                <c:pt idx="16259">
                  <c:v>17198056</c:v>
                </c:pt>
                <c:pt idx="16260">
                  <c:v>70035840</c:v>
                </c:pt>
                <c:pt idx="16261">
                  <c:v>15656784</c:v>
                </c:pt>
                <c:pt idx="16262">
                  <c:v>6083239</c:v>
                </c:pt>
                <c:pt idx="16263">
                  <c:v>40313962</c:v>
                </c:pt>
                <c:pt idx="16264">
                  <c:v>93975672</c:v>
                </c:pt>
                <c:pt idx="16265">
                  <c:v>317596755</c:v>
                </c:pt>
                <c:pt idx="16266">
                  <c:v>51813855</c:v>
                </c:pt>
                <c:pt idx="16267">
                  <c:v>17428887</c:v>
                </c:pt>
                <c:pt idx="16268">
                  <c:v>10206648</c:v>
                </c:pt>
                <c:pt idx="16269">
                  <c:v>16006230</c:v>
                </c:pt>
                <c:pt idx="16270">
                  <c:v>24060030</c:v>
                </c:pt>
                <c:pt idx="16271">
                  <c:v>31598160</c:v>
                </c:pt>
                <c:pt idx="16272">
                  <c:v>16663704</c:v>
                </c:pt>
                <c:pt idx="16273">
                  <c:v>45765174</c:v>
                </c:pt>
                <c:pt idx="16274">
                  <c:v>66674790</c:v>
                </c:pt>
                <c:pt idx="16275">
                  <c:v>4919200</c:v>
                </c:pt>
                <c:pt idx="16276">
                  <c:v>13089182</c:v>
                </c:pt>
                <c:pt idx="16277">
                  <c:v>81428928</c:v>
                </c:pt>
                <c:pt idx="16278">
                  <c:v>54746528</c:v>
                </c:pt>
                <c:pt idx="16279">
                  <c:v>30125538</c:v>
                </c:pt>
                <c:pt idx="16280">
                  <c:v>31918164</c:v>
                </c:pt>
                <c:pt idx="16281">
                  <c:v>13067885</c:v>
                </c:pt>
                <c:pt idx="16282">
                  <c:v>40728492</c:v>
                </c:pt>
                <c:pt idx="16283">
                  <c:v>32422716</c:v>
                </c:pt>
                <c:pt idx="16284">
                  <c:v>41043609</c:v>
                </c:pt>
                <c:pt idx="16285">
                  <c:v>245143296</c:v>
                </c:pt>
                <c:pt idx="16286">
                  <c:v>17345380</c:v>
                </c:pt>
                <c:pt idx="16287">
                  <c:v>136588492</c:v>
                </c:pt>
                <c:pt idx="16288">
                  <c:v>34754000</c:v>
                </c:pt>
                <c:pt idx="16289">
                  <c:v>149341968</c:v>
                </c:pt>
                <c:pt idx="16290">
                  <c:v>34156840</c:v>
                </c:pt>
                <c:pt idx="16291">
                  <c:v>41777460</c:v>
                </c:pt>
                <c:pt idx="16292">
                  <c:v>83498880</c:v>
                </c:pt>
                <c:pt idx="16293">
                  <c:v>2643600</c:v>
                </c:pt>
                <c:pt idx="16294">
                  <c:v>27502902</c:v>
                </c:pt>
                <c:pt idx="16295">
                  <c:v>22838805</c:v>
                </c:pt>
                <c:pt idx="16296">
                  <c:v>61204500</c:v>
                </c:pt>
                <c:pt idx="16297">
                  <c:v>28456432</c:v>
                </c:pt>
                <c:pt idx="16298">
                  <c:v>8952441</c:v>
                </c:pt>
                <c:pt idx="16299">
                  <c:v>40096640</c:v>
                </c:pt>
                <c:pt idx="16300">
                  <c:v>172587338</c:v>
                </c:pt>
                <c:pt idx="16301">
                  <c:v>1578772740</c:v>
                </c:pt>
                <c:pt idx="16302">
                  <c:v>462536400</c:v>
                </c:pt>
                <c:pt idx="16303">
                  <c:v>48886920</c:v>
                </c:pt>
                <c:pt idx="16304">
                  <c:v>34760322</c:v>
                </c:pt>
                <c:pt idx="16305">
                  <c:v>152947195</c:v>
                </c:pt>
                <c:pt idx="16306">
                  <c:v>90560340</c:v>
                </c:pt>
                <c:pt idx="16307">
                  <c:v>301727542</c:v>
                </c:pt>
                <c:pt idx="16308">
                  <c:v>77991691</c:v>
                </c:pt>
                <c:pt idx="16309">
                  <c:v>67269204</c:v>
                </c:pt>
                <c:pt idx="16310">
                  <c:v>103798632</c:v>
                </c:pt>
                <c:pt idx="16311">
                  <c:v>44998869</c:v>
                </c:pt>
                <c:pt idx="16312">
                  <c:v>68335466</c:v>
                </c:pt>
                <c:pt idx="16313">
                  <c:v>71775132</c:v>
                </c:pt>
                <c:pt idx="16314">
                  <c:v>50885240</c:v>
                </c:pt>
                <c:pt idx="16315">
                  <c:v>10972060</c:v>
                </c:pt>
                <c:pt idx="16316">
                  <c:v>43244354</c:v>
                </c:pt>
                <c:pt idx="16317">
                  <c:v>71481420</c:v>
                </c:pt>
                <c:pt idx="16318">
                  <c:v>28518664</c:v>
                </c:pt>
                <c:pt idx="16319">
                  <c:v>81808999</c:v>
                </c:pt>
                <c:pt idx="16320">
                  <c:v>147360150</c:v>
                </c:pt>
                <c:pt idx="16321">
                  <c:v>56882972</c:v>
                </c:pt>
                <c:pt idx="16322">
                  <c:v>38824650</c:v>
                </c:pt>
                <c:pt idx="16323">
                  <c:v>101273205</c:v>
                </c:pt>
                <c:pt idx="16324">
                  <c:v>52859300</c:v>
                </c:pt>
                <c:pt idx="16325">
                  <c:v>637586895</c:v>
                </c:pt>
                <c:pt idx="16326">
                  <c:v>6448179</c:v>
                </c:pt>
                <c:pt idx="16327">
                  <c:v>38457829</c:v>
                </c:pt>
                <c:pt idx="16328">
                  <c:v>62540082</c:v>
                </c:pt>
                <c:pt idx="16329">
                  <c:v>62716821</c:v>
                </c:pt>
                <c:pt idx="16330">
                  <c:v>38780752</c:v>
                </c:pt>
                <c:pt idx="16331">
                  <c:v>1572197</c:v>
                </c:pt>
                <c:pt idx="16332">
                  <c:v>107248036</c:v>
                </c:pt>
                <c:pt idx="16333">
                  <c:v>40029792</c:v>
                </c:pt>
                <c:pt idx="16334">
                  <c:v>1114859302</c:v>
                </c:pt>
                <c:pt idx="16335">
                  <c:v>28156500</c:v>
                </c:pt>
                <c:pt idx="16336">
                  <c:v>23469642</c:v>
                </c:pt>
                <c:pt idx="16337">
                  <c:v>32243810</c:v>
                </c:pt>
                <c:pt idx="16338">
                  <c:v>3412796</c:v>
                </c:pt>
                <c:pt idx="16339">
                  <c:v>45254600</c:v>
                </c:pt>
                <c:pt idx="16340">
                  <c:v>536878764</c:v>
                </c:pt>
                <c:pt idx="16341">
                  <c:v>7148160</c:v>
                </c:pt>
                <c:pt idx="16342">
                  <c:v>86785920</c:v>
                </c:pt>
                <c:pt idx="16343">
                  <c:v>35615466</c:v>
                </c:pt>
                <c:pt idx="16344">
                  <c:v>532359890</c:v>
                </c:pt>
                <c:pt idx="16345">
                  <c:v>130507033</c:v>
                </c:pt>
                <c:pt idx="16346">
                  <c:v>43146594</c:v>
                </c:pt>
                <c:pt idx="16347">
                  <c:v>240968480</c:v>
                </c:pt>
                <c:pt idx="16348">
                  <c:v>94083754</c:v>
                </c:pt>
                <c:pt idx="16349">
                  <c:v>142677540</c:v>
                </c:pt>
                <c:pt idx="16350">
                  <c:v>294515907</c:v>
                </c:pt>
                <c:pt idx="16351">
                  <c:v>42369804</c:v>
                </c:pt>
                <c:pt idx="16352">
                  <c:v>1501139136</c:v>
                </c:pt>
                <c:pt idx="16353">
                  <c:v>1361764490</c:v>
                </c:pt>
                <c:pt idx="16354">
                  <c:v>267037407</c:v>
                </c:pt>
                <c:pt idx="16355">
                  <c:v>44613920</c:v>
                </c:pt>
                <c:pt idx="16356">
                  <c:v>138606543</c:v>
                </c:pt>
                <c:pt idx="16357">
                  <c:v>34940136</c:v>
                </c:pt>
                <c:pt idx="16358">
                  <c:v>203083643</c:v>
                </c:pt>
                <c:pt idx="16359">
                  <c:v>109020832</c:v>
                </c:pt>
                <c:pt idx="16360">
                  <c:v>50664776</c:v>
                </c:pt>
                <c:pt idx="16361">
                  <c:v>137569773</c:v>
                </c:pt>
                <c:pt idx="16362">
                  <c:v>177075145</c:v>
                </c:pt>
                <c:pt idx="16363">
                  <c:v>1207139804</c:v>
                </c:pt>
                <c:pt idx="16364">
                  <c:v>177238200</c:v>
                </c:pt>
                <c:pt idx="16365">
                  <c:v>21495275</c:v>
                </c:pt>
                <c:pt idx="16366">
                  <c:v>82229536</c:v>
                </c:pt>
                <c:pt idx="16367">
                  <c:v>37047549</c:v>
                </c:pt>
                <c:pt idx="16368">
                  <c:v>22433929</c:v>
                </c:pt>
                <c:pt idx="16369">
                  <c:v>143305610</c:v>
                </c:pt>
                <c:pt idx="16370">
                  <c:v>18599544</c:v>
                </c:pt>
                <c:pt idx="16371">
                  <c:v>134676489</c:v>
                </c:pt>
                <c:pt idx="16372">
                  <c:v>171331200</c:v>
                </c:pt>
                <c:pt idx="16373">
                  <c:v>62320800</c:v>
                </c:pt>
                <c:pt idx="16374">
                  <c:v>42459950</c:v>
                </c:pt>
                <c:pt idx="16375">
                  <c:v>177420180</c:v>
                </c:pt>
                <c:pt idx="16376">
                  <c:v>78005628</c:v>
                </c:pt>
                <c:pt idx="16377">
                  <c:v>18463368</c:v>
                </c:pt>
                <c:pt idx="16378">
                  <c:v>74715284</c:v>
                </c:pt>
                <c:pt idx="16379">
                  <c:v>39112640</c:v>
                </c:pt>
                <c:pt idx="16380">
                  <c:v>44004328</c:v>
                </c:pt>
                <c:pt idx="16381">
                  <c:v>41734360</c:v>
                </c:pt>
                <c:pt idx="16382">
                  <c:v>729116936</c:v>
                </c:pt>
                <c:pt idx="16383">
                  <c:v>43444912</c:v>
                </c:pt>
                <c:pt idx="16384">
                  <c:v>211379168</c:v>
                </c:pt>
                <c:pt idx="16385">
                  <c:v>30713571</c:v>
                </c:pt>
                <c:pt idx="16386">
                  <c:v>103456210</c:v>
                </c:pt>
                <c:pt idx="16387">
                  <c:v>147267186</c:v>
                </c:pt>
                <c:pt idx="16388">
                  <c:v>47011525</c:v>
                </c:pt>
                <c:pt idx="16389">
                  <c:v>5681825</c:v>
                </c:pt>
                <c:pt idx="16390">
                  <c:v>35413481</c:v>
                </c:pt>
                <c:pt idx="16391">
                  <c:v>37383150</c:v>
                </c:pt>
                <c:pt idx="16392">
                  <c:v>34174132</c:v>
                </c:pt>
                <c:pt idx="16393">
                  <c:v>48124775</c:v>
                </c:pt>
                <c:pt idx="16394">
                  <c:v>116860298</c:v>
                </c:pt>
                <c:pt idx="16395">
                  <c:v>122071584</c:v>
                </c:pt>
                <c:pt idx="16396">
                  <c:v>21309543</c:v>
                </c:pt>
                <c:pt idx="16397">
                  <c:v>66279420</c:v>
                </c:pt>
                <c:pt idx="16398">
                  <c:v>115976942</c:v>
                </c:pt>
                <c:pt idx="16399">
                  <c:v>29582176</c:v>
                </c:pt>
                <c:pt idx="16400">
                  <c:v>107525403</c:v>
                </c:pt>
                <c:pt idx="16401">
                  <c:v>197335059</c:v>
                </c:pt>
                <c:pt idx="16402">
                  <c:v>50320448</c:v>
                </c:pt>
                <c:pt idx="16403">
                  <c:v>319296324</c:v>
                </c:pt>
                <c:pt idx="16404">
                  <c:v>88093320</c:v>
                </c:pt>
                <c:pt idx="16405">
                  <c:v>146168134</c:v>
                </c:pt>
                <c:pt idx="16406">
                  <c:v>17166240</c:v>
                </c:pt>
                <c:pt idx="16407">
                  <c:v>99393052</c:v>
                </c:pt>
                <c:pt idx="16408">
                  <c:v>73249884</c:v>
                </c:pt>
                <c:pt idx="16409">
                  <c:v>62216359</c:v>
                </c:pt>
                <c:pt idx="16410">
                  <c:v>26985797</c:v>
                </c:pt>
                <c:pt idx="16411">
                  <c:v>54106920</c:v>
                </c:pt>
                <c:pt idx="16412">
                  <c:v>145965456</c:v>
                </c:pt>
                <c:pt idx="16413">
                  <c:v>75204720</c:v>
                </c:pt>
                <c:pt idx="16414">
                  <c:v>28961775</c:v>
                </c:pt>
                <c:pt idx="16415">
                  <c:v>12588240</c:v>
                </c:pt>
                <c:pt idx="16416">
                  <c:v>24686380</c:v>
                </c:pt>
                <c:pt idx="16417">
                  <c:v>163591230</c:v>
                </c:pt>
                <c:pt idx="16418">
                  <c:v>117865846</c:v>
                </c:pt>
                <c:pt idx="16419">
                  <c:v>12624645</c:v>
                </c:pt>
                <c:pt idx="16420">
                  <c:v>26284784</c:v>
                </c:pt>
                <c:pt idx="16421">
                  <c:v>41347298</c:v>
                </c:pt>
                <c:pt idx="16422">
                  <c:v>109451700</c:v>
                </c:pt>
                <c:pt idx="16423">
                  <c:v>39795000</c:v>
                </c:pt>
                <c:pt idx="16424">
                  <c:v>7899960</c:v>
                </c:pt>
                <c:pt idx="16425">
                  <c:v>125755905</c:v>
                </c:pt>
                <c:pt idx="16426">
                  <c:v>7868280</c:v>
                </c:pt>
                <c:pt idx="16427">
                  <c:v>5105392</c:v>
                </c:pt>
                <c:pt idx="16428">
                  <c:v>449826195</c:v>
                </c:pt>
                <c:pt idx="16429">
                  <c:v>8925696</c:v>
                </c:pt>
                <c:pt idx="16430">
                  <c:v>3008400</c:v>
                </c:pt>
                <c:pt idx="16431">
                  <c:v>18311622</c:v>
                </c:pt>
                <c:pt idx="16432">
                  <c:v>94912160</c:v>
                </c:pt>
                <c:pt idx="16433">
                  <c:v>155959647</c:v>
                </c:pt>
                <c:pt idx="16434">
                  <c:v>68750092</c:v>
                </c:pt>
                <c:pt idx="16435">
                  <c:v>16462171</c:v>
                </c:pt>
                <c:pt idx="16436">
                  <c:v>120748572</c:v>
                </c:pt>
                <c:pt idx="16437">
                  <c:v>33716835</c:v>
                </c:pt>
                <c:pt idx="16438">
                  <c:v>19985298</c:v>
                </c:pt>
                <c:pt idx="16439">
                  <c:v>46473210</c:v>
                </c:pt>
                <c:pt idx="16440">
                  <c:v>42203679</c:v>
                </c:pt>
                <c:pt idx="16441">
                  <c:v>66048950</c:v>
                </c:pt>
                <c:pt idx="16442">
                  <c:v>8507304</c:v>
                </c:pt>
                <c:pt idx="16443">
                  <c:v>43442464</c:v>
                </c:pt>
                <c:pt idx="16444">
                  <c:v>17772425</c:v>
                </c:pt>
                <c:pt idx="16445">
                  <c:v>11751645</c:v>
                </c:pt>
                <c:pt idx="16446">
                  <c:v>500289501</c:v>
                </c:pt>
                <c:pt idx="16447">
                  <c:v>65961000</c:v>
                </c:pt>
                <c:pt idx="16448">
                  <c:v>88279614</c:v>
                </c:pt>
                <c:pt idx="16449">
                  <c:v>80883747</c:v>
                </c:pt>
                <c:pt idx="16450">
                  <c:v>116699869</c:v>
                </c:pt>
                <c:pt idx="16451">
                  <c:v>131518205</c:v>
                </c:pt>
                <c:pt idx="16452">
                  <c:v>35561364</c:v>
                </c:pt>
                <c:pt idx="16453">
                  <c:v>64843960</c:v>
                </c:pt>
                <c:pt idx="16454">
                  <c:v>929044540</c:v>
                </c:pt>
                <c:pt idx="16455">
                  <c:v>40773023</c:v>
                </c:pt>
                <c:pt idx="16456">
                  <c:v>90523772</c:v>
                </c:pt>
                <c:pt idx="16457">
                  <c:v>119654724</c:v>
                </c:pt>
                <c:pt idx="16458">
                  <c:v>118379576</c:v>
                </c:pt>
                <c:pt idx="16459">
                  <c:v>24599484</c:v>
                </c:pt>
                <c:pt idx="16460">
                  <c:v>42980844</c:v>
                </c:pt>
                <c:pt idx="16461">
                  <c:v>897415227</c:v>
                </c:pt>
                <c:pt idx="16462">
                  <c:v>676680200</c:v>
                </c:pt>
                <c:pt idx="16463">
                  <c:v>965937348</c:v>
                </c:pt>
                <c:pt idx="16464">
                  <c:v>64469544</c:v>
                </c:pt>
                <c:pt idx="16465">
                  <c:v>781127832</c:v>
                </c:pt>
                <c:pt idx="16466">
                  <c:v>1174491769</c:v>
                </c:pt>
                <c:pt idx="16467">
                  <c:v>1489732050</c:v>
                </c:pt>
                <c:pt idx="16468">
                  <c:v>1569338428</c:v>
                </c:pt>
                <c:pt idx="16469">
                  <c:v>40135368</c:v>
                </c:pt>
                <c:pt idx="16470">
                  <c:v>40397778</c:v>
                </c:pt>
                <c:pt idx="16471">
                  <c:v>269204617</c:v>
                </c:pt>
                <c:pt idx="16472">
                  <c:v>18104217</c:v>
                </c:pt>
                <c:pt idx="16473">
                  <c:v>11679864</c:v>
                </c:pt>
                <c:pt idx="16474">
                  <c:v>267665860</c:v>
                </c:pt>
                <c:pt idx="16475">
                  <c:v>53549190</c:v>
                </c:pt>
                <c:pt idx="16476">
                  <c:v>11819962</c:v>
                </c:pt>
                <c:pt idx="16477">
                  <c:v>45825633</c:v>
                </c:pt>
                <c:pt idx="16478">
                  <c:v>6824620</c:v>
                </c:pt>
                <c:pt idx="16479">
                  <c:v>1265194879</c:v>
                </c:pt>
                <c:pt idx="16480">
                  <c:v>776982632</c:v>
                </c:pt>
                <c:pt idx="16481">
                  <c:v>171006540</c:v>
                </c:pt>
                <c:pt idx="16482">
                  <c:v>100120100</c:v>
                </c:pt>
                <c:pt idx="16483">
                  <c:v>478056693</c:v>
                </c:pt>
                <c:pt idx="16484">
                  <c:v>54152416</c:v>
                </c:pt>
                <c:pt idx="16485">
                  <c:v>374181354</c:v>
                </c:pt>
                <c:pt idx="16486">
                  <c:v>122187264</c:v>
                </c:pt>
                <c:pt idx="16487">
                  <c:v>99535927</c:v>
                </c:pt>
                <c:pt idx="16488">
                  <c:v>5535024</c:v>
                </c:pt>
                <c:pt idx="16489">
                  <c:v>123942240</c:v>
                </c:pt>
                <c:pt idx="16490">
                  <c:v>73653309</c:v>
                </c:pt>
                <c:pt idx="16491">
                  <c:v>959499459</c:v>
                </c:pt>
                <c:pt idx="16492">
                  <c:v>1766234300</c:v>
                </c:pt>
                <c:pt idx="16493">
                  <c:v>35982438</c:v>
                </c:pt>
                <c:pt idx="16494">
                  <c:v>73196480</c:v>
                </c:pt>
                <c:pt idx="16495">
                  <c:v>553183911</c:v>
                </c:pt>
                <c:pt idx="16496">
                  <c:v>30730362</c:v>
                </c:pt>
                <c:pt idx="16497">
                  <c:v>244398700</c:v>
                </c:pt>
                <c:pt idx="16498">
                  <c:v>28572048</c:v>
                </c:pt>
                <c:pt idx="16499">
                  <c:v>43530378</c:v>
                </c:pt>
                <c:pt idx="16500">
                  <c:v>56588118</c:v>
                </c:pt>
                <c:pt idx="16501">
                  <c:v>11557430</c:v>
                </c:pt>
                <c:pt idx="16502">
                  <c:v>83113030</c:v>
                </c:pt>
                <c:pt idx="16503">
                  <c:v>92971720</c:v>
                </c:pt>
                <c:pt idx="16504">
                  <c:v>331178452</c:v>
                </c:pt>
                <c:pt idx="16505">
                  <c:v>55470800</c:v>
                </c:pt>
                <c:pt idx="16506">
                  <c:v>45980004</c:v>
                </c:pt>
                <c:pt idx="16507">
                  <c:v>61730226</c:v>
                </c:pt>
                <c:pt idx="16508">
                  <c:v>7131126</c:v>
                </c:pt>
                <c:pt idx="16509">
                  <c:v>589287150</c:v>
                </c:pt>
                <c:pt idx="16510">
                  <c:v>216390853</c:v>
                </c:pt>
                <c:pt idx="16511">
                  <c:v>129908073</c:v>
                </c:pt>
                <c:pt idx="16512">
                  <c:v>94965780</c:v>
                </c:pt>
                <c:pt idx="16513">
                  <c:v>220144260</c:v>
                </c:pt>
                <c:pt idx="16514">
                  <c:v>201873096</c:v>
                </c:pt>
                <c:pt idx="16515">
                  <c:v>109859802</c:v>
                </c:pt>
                <c:pt idx="16516">
                  <c:v>175422660</c:v>
                </c:pt>
                <c:pt idx="16517">
                  <c:v>101898304</c:v>
                </c:pt>
                <c:pt idx="16518">
                  <c:v>65842218</c:v>
                </c:pt>
                <c:pt idx="16519">
                  <c:v>528070329</c:v>
                </c:pt>
                <c:pt idx="16520">
                  <c:v>315506283</c:v>
                </c:pt>
                <c:pt idx="16521">
                  <c:v>456593357</c:v>
                </c:pt>
                <c:pt idx="16522">
                  <c:v>62570996</c:v>
                </c:pt>
                <c:pt idx="16523">
                  <c:v>264088008</c:v>
                </c:pt>
                <c:pt idx="16524">
                  <c:v>1118810160</c:v>
                </c:pt>
                <c:pt idx="16525">
                  <c:v>1560684895</c:v>
                </c:pt>
                <c:pt idx="16526">
                  <c:v>23872200</c:v>
                </c:pt>
                <c:pt idx="16527">
                  <c:v>37751766</c:v>
                </c:pt>
                <c:pt idx="16528">
                  <c:v>86926748</c:v>
                </c:pt>
                <c:pt idx="16529">
                  <c:v>219027825</c:v>
                </c:pt>
                <c:pt idx="16530">
                  <c:v>927809664</c:v>
                </c:pt>
                <c:pt idx="16531">
                  <c:v>1417288084</c:v>
                </c:pt>
                <c:pt idx="16532">
                  <c:v>1093119885</c:v>
                </c:pt>
                <c:pt idx="16533">
                  <c:v>21618240</c:v>
                </c:pt>
                <c:pt idx="16534">
                  <c:v>92522034</c:v>
                </c:pt>
                <c:pt idx="16535">
                  <c:v>1867606</c:v>
                </c:pt>
                <c:pt idx="16536">
                  <c:v>37861344</c:v>
                </c:pt>
                <c:pt idx="16537">
                  <c:v>75429417</c:v>
                </c:pt>
                <c:pt idx="16538">
                  <c:v>134018331</c:v>
                </c:pt>
                <c:pt idx="16539">
                  <c:v>1212221868</c:v>
                </c:pt>
                <c:pt idx="16540">
                  <c:v>822411</c:v>
                </c:pt>
                <c:pt idx="16541">
                  <c:v>127939770</c:v>
                </c:pt>
                <c:pt idx="16542">
                  <c:v>1104958800</c:v>
                </c:pt>
                <c:pt idx="16543">
                  <c:v>485905515</c:v>
                </c:pt>
                <c:pt idx="16544">
                  <c:v>289243523</c:v>
                </c:pt>
                <c:pt idx="16545">
                  <c:v>883839558</c:v>
                </c:pt>
                <c:pt idx="16546">
                  <c:v>185755000</c:v>
                </c:pt>
                <c:pt idx="16547">
                  <c:v>2147483647</c:v>
                </c:pt>
                <c:pt idx="16548">
                  <c:v>331445448</c:v>
                </c:pt>
                <c:pt idx="16549">
                  <c:v>193058848</c:v>
                </c:pt>
                <c:pt idx="16550">
                  <c:v>158149168</c:v>
                </c:pt>
                <c:pt idx="16551">
                  <c:v>83332368</c:v>
                </c:pt>
                <c:pt idx="16552">
                  <c:v>288029115</c:v>
                </c:pt>
                <c:pt idx="16553">
                  <c:v>63248265</c:v>
                </c:pt>
                <c:pt idx="16554">
                  <c:v>33833520</c:v>
                </c:pt>
                <c:pt idx="16555">
                  <c:v>122732895</c:v>
                </c:pt>
                <c:pt idx="16556">
                  <c:v>134878066</c:v>
                </c:pt>
                <c:pt idx="16557">
                  <c:v>536992155</c:v>
                </c:pt>
                <c:pt idx="16558">
                  <c:v>812939094</c:v>
                </c:pt>
                <c:pt idx="16559">
                  <c:v>1100208992</c:v>
                </c:pt>
                <c:pt idx="16560">
                  <c:v>288564442</c:v>
                </c:pt>
                <c:pt idx="16561">
                  <c:v>52268230</c:v>
                </c:pt>
                <c:pt idx="16562">
                  <c:v>659026137</c:v>
                </c:pt>
                <c:pt idx="16563">
                  <c:v>1481926216</c:v>
                </c:pt>
                <c:pt idx="16564">
                  <c:v>156593192</c:v>
                </c:pt>
                <c:pt idx="16565">
                  <c:v>267699711</c:v>
                </c:pt>
                <c:pt idx="16566">
                  <c:v>215554698</c:v>
                </c:pt>
                <c:pt idx="16567">
                  <c:v>77120910</c:v>
                </c:pt>
                <c:pt idx="16568">
                  <c:v>181837117</c:v>
                </c:pt>
                <c:pt idx="16569">
                  <c:v>90183023</c:v>
                </c:pt>
                <c:pt idx="16570">
                  <c:v>660984488</c:v>
                </c:pt>
                <c:pt idx="16571">
                  <c:v>930641934</c:v>
                </c:pt>
                <c:pt idx="16572">
                  <c:v>744517341</c:v>
                </c:pt>
                <c:pt idx="16573">
                  <c:v>343858718</c:v>
                </c:pt>
                <c:pt idx="16574">
                  <c:v>120871440</c:v>
                </c:pt>
                <c:pt idx="16575">
                  <c:v>1959828642</c:v>
                </c:pt>
                <c:pt idx="16576">
                  <c:v>62755966</c:v>
                </c:pt>
                <c:pt idx="16577">
                  <c:v>16269000</c:v>
                </c:pt>
                <c:pt idx="16578">
                  <c:v>17629864</c:v>
                </c:pt>
                <c:pt idx="16579">
                  <c:v>84227800</c:v>
                </c:pt>
                <c:pt idx="16580">
                  <c:v>65609180</c:v>
                </c:pt>
                <c:pt idx="16581">
                  <c:v>10634004</c:v>
                </c:pt>
                <c:pt idx="16582">
                  <c:v>440641126</c:v>
                </c:pt>
                <c:pt idx="16583">
                  <c:v>425276964</c:v>
                </c:pt>
                <c:pt idx="16584">
                  <c:v>896380386</c:v>
                </c:pt>
                <c:pt idx="16585">
                  <c:v>312042572</c:v>
                </c:pt>
                <c:pt idx="16586">
                  <c:v>1611742821</c:v>
                </c:pt>
                <c:pt idx="16587">
                  <c:v>1697712768</c:v>
                </c:pt>
                <c:pt idx="16588">
                  <c:v>1332424782</c:v>
                </c:pt>
                <c:pt idx="16589">
                  <c:v>462766915</c:v>
                </c:pt>
                <c:pt idx="16590">
                  <c:v>696857625</c:v>
                </c:pt>
                <c:pt idx="16591">
                  <c:v>1124409748</c:v>
                </c:pt>
                <c:pt idx="16592">
                  <c:v>1812346812</c:v>
                </c:pt>
                <c:pt idx="16593">
                  <c:v>1795822560</c:v>
                </c:pt>
                <c:pt idx="16594">
                  <c:v>1923885675</c:v>
                </c:pt>
                <c:pt idx="16595">
                  <c:v>145716469</c:v>
                </c:pt>
                <c:pt idx="16596">
                  <c:v>571349922</c:v>
                </c:pt>
                <c:pt idx="16597">
                  <c:v>1319571985</c:v>
                </c:pt>
                <c:pt idx="16598">
                  <c:v>1366444046</c:v>
                </c:pt>
                <c:pt idx="16599">
                  <c:v>1326108148</c:v>
                </c:pt>
                <c:pt idx="16600">
                  <c:v>1387595974</c:v>
                </c:pt>
                <c:pt idx="16601">
                  <c:v>278634678</c:v>
                </c:pt>
                <c:pt idx="16602">
                  <c:v>342773779</c:v>
                </c:pt>
                <c:pt idx="16603">
                  <c:v>1460567272</c:v>
                </c:pt>
                <c:pt idx="16604">
                  <c:v>1612032762</c:v>
                </c:pt>
                <c:pt idx="16605">
                  <c:v>2147483647</c:v>
                </c:pt>
                <c:pt idx="16606">
                  <c:v>2147483647</c:v>
                </c:pt>
                <c:pt idx="16607">
                  <c:v>1496729400</c:v>
                </c:pt>
                <c:pt idx="16608">
                  <c:v>1132784640</c:v>
                </c:pt>
                <c:pt idx="16609">
                  <c:v>1095243485</c:v>
                </c:pt>
                <c:pt idx="16610">
                  <c:v>1676907810</c:v>
                </c:pt>
                <c:pt idx="16611">
                  <c:v>361362263</c:v>
                </c:pt>
                <c:pt idx="16612">
                  <c:v>8178696</c:v>
                </c:pt>
                <c:pt idx="16613">
                  <c:v>496658996</c:v>
                </c:pt>
                <c:pt idx="16614">
                  <c:v>287483420</c:v>
                </c:pt>
                <c:pt idx="16615">
                  <c:v>2060421880</c:v>
                </c:pt>
                <c:pt idx="16616">
                  <c:v>2147483647</c:v>
                </c:pt>
                <c:pt idx="16617">
                  <c:v>1319662876</c:v>
                </c:pt>
                <c:pt idx="16618">
                  <c:v>610914948</c:v>
                </c:pt>
                <c:pt idx="16619">
                  <c:v>96390298</c:v>
                </c:pt>
                <c:pt idx="16620">
                  <c:v>335530962</c:v>
                </c:pt>
                <c:pt idx="16621">
                  <c:v>832067720</c:v>
                </c:pt>
                <c:pt idx="16622">
                  <c:v>53339518</c:v>
                </c:pt>
                <c:pt idx="16623">
                  <c:v>2147483647</c:v>
                </c:pt>
                <c:pt idx="16624">
                  <c:v>44580950</c:v>
                </c:pt>
                <c:pt idx="16625">
                  <c:v>1013407830</c:v>
                </c:pt>
                <c:pt idx="16626">
                  <c:v>34195304</c:v>
                </c:pt>
                <c:pt idx="16627">
                  <c:v>291041821</c:v>
                </c:pt>
                <c:pt idx="16628">
                  <c:v>1049626225</c:v>
                </c:pt>
                <c:pt idx="16629">
                  <c:v>1302043428</c:v>
                </c:pt>
                <c:pt idx="16630">
                  <c:v>1366307540</c:v>
                </c:pt>
                <c:pt idx="16631">
                  <c:v>224957436</c:v>
                </c:pt>
                <c:pt idx="16632">
                  <c:v>220961382</c:v>
                </c:pt>
                <c:pt idx="16633">
                  <c:v>153517184</c:v>
                </c:pt>
                <c:pt idx="16634">
                  <c:v>169553953</c:v>
                </c:pt>
                <c:pt idx="16635">
                  <c:v>42945377</c:v>
                </c:pt>
                <c:pt idx="16636">
                  <c:v>150172566</c:v>
                </c:pt>
                <c:pt idx="16637">
                  <c:v>296175600</c:v>
                </c:pt>
                <c:pt idx="16638">
                  <c:v>407611413</c:v>
                </c:pt>
                <c:pt idx="16639">
                  <c:v>61265841</c:v>
                </c:pt>
                <c:pt idx="16640">
                  <c:v>1681154180</c:v>
                </c:pt>
                <c:pt idx="16641">
                  <c:v>1604315296</c:v>
                </c:pt>
                <c:pt idx="16642">
                  <c:v>50683545</c:v>
                </c:pt>
                <c:pt idx="16643">
                  <c:v>18739476</c:v>
                </c:pt>
                <c:pt idx="16644">
                  <c:v>86881509</c:v>
                </c:pt>
                <c:pt idx="16645">
                  <c:v>47102850</c:v>
                </c:pt>
                <c:pt idx="16646">
                  <c:v>256097104</c:v>
                </c:pt>
                <c:pt idx="16647">
                  <c:v>1784310468</c:v>
                </c:pt>
                <c:pt idx="16648">
                  <c:v>666888170</c:v>
                </c:pt>
                <c:pt idx="16649">
                  <c:v>166311018</c:v>
                </c:pt>
                <c:pt idx="16650">
                  <c:v>57542847</c:v>
                </c:pt>
                <c:pt idx="16651">
                  <c:v>1198901520</c:v>
                </c:pt>
                <c:pt idx="16652">
                  <c:v>748520050</c:v>
                </c:pt>
                <c:pt idx="16653">
                  <c:v>1292356520</c:v>
                </c:pt>
                <c:pt idx="16654">
                  <c:v>978077900</c:v>
                </c:pt>
                <c:pt idx="16655">
                  <c:v>2147483647</c:v>
                </c:pt>
                <c:pt idx="16656">
                  <c:v>138082386</c:v>
                </c:pt>
                <c:pt idx="16657">
                  <c:v>715936200</c:v>
                </c:pt>
                <c:pt idx="16658">
                  <c:v>405931125</c:v>
                </c:pt>
                <c:pt idx="16659">
                  <c:v>114246452</c:v>
                </c:pt>
                <c:pt idx="16660">
                  <c:v>95467680</c:v>
                </c:pt>
                <c:pt idx="16661">
                  <c:v>318533240</c:v>
                </c:pt>
                <c:pt idx="16662">
                  <c:v>649057357</c:v>
                </c:pt>
                <c:pt idx="16663">
                  <c:v>214918916</c:v>
                </c:pt>
                <c:pt idx="16664">
                  <c:v>203953715</c:v>
                </c:pt>
                <c:pt idx="16665">
                  <c:v>495100800</c:v>
                </c:pt>
                <c:pt idx="16666">
                  <c:v>119547164</c:v>
                </c:pt>
                <c:pt idx="16667">
                  <c:v>657270500</c:v>
                </c:pt>
                <c:pt idx="16668">
                  <c:v>157028704</c:v>
                </c:pt>
                <c:pt idx="16669">
                  <c:v>970056736</c:v>
                </c:pt>
                <c:pt idx="16670">
                  <c:v>12765168</c:v>
                </c:pt>
                <c:pt idx="16671">
                  <c:v>33343222</c:v>
                </c:pt>
                <c:pt idx="16672">
                  <c:v>71049011</c:v>
                </c:pt>
                <c:pt idx="16673">
                  <c:v>1884565020</c:v>
                </c:pt>
                <c:pt idx="16674">
                  <c:v>20892760</c:v>
                </c:pt>
                <c:pt idx="16675">
                  <c:v>563861560</c:v>
                </c:pt>
                <c:pt idx="16676">
                  <c:v>1940239428</c:v>
                </c:pt>
                <c:pt idx="16677">
                  <c:v>221255216</c:v>
                </c:pt>
                <c:pt idx="16678">
                  <c:v>785590522</c:v>
                </c:pt>
                <c:pt idx="16679">
                  <c:v>171395334</c:v>
                </c:pt>
                <c:pt idx="16680">
                  <c:v>794266962</c:v>
                </c:pt>
                <c:pt idx="16681">
                  <c:v>1508043908</c:v>
                </c:pt>
                <c:pt idx="16682">
                  <c:v>1983912339</c:v>
                </c:pt>
                <c:pt idx="16683">
                  <c:v>67334262</c:v>
                </c:pt>
                <c:pt idx="16684">
                  <c:v>148944150</c:v>
                </c:pt>
                <c:pt idx="16685">
                  <c:v>101364032</c:v>
                </c:pt>
                <c:pt idx="16686">
                  <c:v>37542660</c:v>
                </c:pt>
                <c:pt idx="16687">
                  <c:v>579830069</c:v>
                </c:pt>
                <c:pt idx="16688">
                  <c:v>610393896</c:v>
                </c:pt>
                <c:pt idx="16689">
                  <c:v>224725592</c:v>
                </c:pt>
                <c:pt idx="16690">
                  <c:v>80410605</c:v>
                </c:pt>
                <c:pt idx="16691">
                  <c:v>113163996</c:v>
                </c:pt>
                <c:pt idx="16692">
                  <c:v>1583823679</c:v>
                </c:pt>
                <c:pt idx="16693">
                  <c:v>81707625</c:v>
                </c:pt>
                <c:pt idx="16694">
                  <c:v>74657830</c:v>
                </c:pt>
                <c:pt idx="16695">
                  <c:v>99583332</c:v>
                </c:pt>
                <c:pt idx="16696">
                  <c:v>645808608</c:v>
                </c:pt>
                <c:pt idx="16697">
                  <c:v>1143317835</c:v>
                </c:pt>
                <c:pt idx="16698">
                  <c:v>989278023</c:v>
                </c:pt>
                <c:pt idx="16699">
                  <c:v>710385630</c:v>
                </c:pt>
                <c:pt idx="16700">
                  <c:v>864617962</c:v>
                </c:pt>
                <c:pt idx="16701">
                  <c:v>1563388362</c:v>
                </c:pt>
                <c:pt idx="16702">
                  <c:v>1341623455</c:v>
                </c:pt>
                <c:pt idx="16703">
                  <c:v>1424549100</c:v>
                </c:pt>
                <c:pt idx="16704">
                  <c:v>557105118</c:v>
                </c:pt>
                <c:pt idx="16705">
                  <c:v>1494668130</c:v>
                </c:pt>
                <c:pt idx="16706">
                  <c:v>650261577</c:v>
                </c:pt>
                <c:pt idx="16707">
                  <c:v>651217491</c:v>
                </c:pt>
                <c:pt idx="16708">
                  <c:v>615233010</c:v>
                </c:pt>
                <c:pt idx="16709">
                  <c:v>845090808</c:v>
                </c:pt>
                <c:pt idx="16710">
                  <c:v>415370077</c:v>
                </c:pt>
                <c:pt idx="16711">
                  <c:v>2147483647</c:v>
                </c:pt>
                <c:pt idx="16712">
                  <c:v>1342437400</c:v>
                </c:pt>
                <c:pt idx="16713">
                  <c:v>1432709208</c:v>
                </c:pt>
                <c:pt idx="16714">
                  <c:v>1855785820</c:v>
                </c:pt>
                <c:pt idx="16715">
                  <c:v>720805695</c:v>
                </c:pt>
                <c:pt idx="16716">
                  <c:v>995267997</c:v>
                </c:pt>
                <c:pt idx="16717">
                  <c:v>1307783936</c:v>
                </c:pt>
                <c:pt idx="16718">
                  <c:v>1467773906</c:v>
                </c:pt>
                <c:pt idx="16719">
                  <c:v>1060448670</c:v>
                </c:pt>
                <c:pt idx="16720">
                  <c:v>337354545</c:v>
                </c:pt>
                <c:pt idx="16721">
                  <c:v>1270888976</c:v>
                </c:pt>
                <c:pt idx="16722">
                  <c:v>1070192214</c:v>
                </c:pt>
                <c:pt idx="16723">
                  <c:v>1021593321</c:v>
                </c:pt>
                <c:pt idx="16724">
                  <c:v>797107509</c:v>
                </c:pt>
                <c:pt idx="16725">
                  <c:v>593657604</c:v>
                </c:pt>
                <c:pt idx="16726">
                  <c:v>881730487</c:v>
                </c:pt>
                <c:pt idx="16727">
                  <c:v>1030713790</c:v>
                </c:pt>
                <c:pt idx="16728">
                  <c:v>1120690592</c:v>
                </c:pt>
                <c:pt idx="16729">
                  <c:v>1051060224</c:v>
                </c:pt>
                <c:pt idx="16730">
                  <c:v>731851104</c:v>
                </c:pt>
                <c:pt idx="16731">
                  <c:v>1145229064</c:v>
                </c:pt>
                <c:pt idx="16732">
                  <c:v>954572344</c:v>
                </c:pt>
                <c:pt idx="16733">
                  <c:v>931906833</c:v>
                </c:pt>
                <c:pt idx="16734">
                  <c:v>765084980</c:v>
                </c:pt>
                <c:pt idx="16735">
                  <c:v>1028968160</c:v>
                </c:pt>
                <c:pt idx="16736">
                  <c:v>806547296</c:v>
                </c:pt>
                <c:pt idx="16737">
                  <c:v>1235410400</c:v>
                </c:pt>
                <c:pt idx="16738">
                  <c:v>589833168</c:v>
                </c:pt>
                <c:pt idx="16739">
                  <c:v>544721872</c:v>
                </c:pt>
                <c:pt idx="16740">
                  <c:v>1833322504</c:v>
                </c:pt>
                <c:pt idx="16741">
                  <c:v>1321517542</c:v>
                </c:pt>
                <c:pt idx="16742">
                  <c:v>1060347750</c:v>
                </c:pt>
                <c:pt idx="16743">
                  <c:v>1504882008</c:v>
                </c:pt>
                <c:pt idx="16744">
                  <c:v>113548160</c:v>
                </c:pt>
                <c:pt idx="16745">
                  <c:v>8018780</c:v>
                </c:pt>
                <c:pt idx="16746">
                  <c:v>12307575</c:v>
                </c:pt>
                <c:pt idx="16747">
                  <c:v>11568999</c:v>
                </c:pt>
                <c:pt idx="16748">
                  <c:v>134162798</c:v>
                </c:pt>
                <c:pt idx="16749">
                  <c:v>17707953</c:v>
                </c:pt>
                <c:pt idx="16750">
                  <c:v>8678962</c:v>
                </c:pt>
                <c:pt idx="16751">
                  <c:v>5740114</c:v>
                </c:pt>
                <c:pt idx="16752">
                  <c:v>22653658</c:v>
                </c:pt>
                <c:pt idx="16753">
                  <c:v>19242850</c:v>
                </c:pt>
                <c:pt idx="16754">
                  <c:v>93697120</c:v>
                </c:pt>
                <c:pt idx="16755">
                  <c:v>11316060</c:v>
                </c:pt>
                <c:pt idx="16756">
                  <c:v>259090250</c:v>
                </c:pt>
                <c:pt idx="16757">
                  <c:v>13858790</c:v>
                </c:pt>
                <c:pt idx="16758">
                  <c:v>24810660</c:v>
                </c:pt>
                <c:pt idx="16759">
                  <c:v>28473325</c:v>
                </c:pt>
                <c:pt idx="16760">
                  <c:v>96552896</c:v>
                </c:pt>
                <c:pt idx="16761">
                  <c:v>48638070</c:v>
                </c:pt>
                <c:pt idx="16762">
                  <c:v>99780424</c:v>
                </c:pt>
                <c:pt idx="16763">
                  <c:v>22091784</c:v>
                </c:pt>
                <c:pt idx="16764">
                  <c:v>123426174</c:v>
                </c:pt>
                <c:pt idx="16765">
                  <c:v>54855582</c:v>
                </c:pt>
                <c:pt idx="16766">
                  <c:v>13500921</c:v>
                </c:pt>
                <c:pt idx="16767">
                  <c:v>16328292</c:v>
                </c:pt>
                <c:pt idx="16768">
                  <c:v>29562906</c:v>
                </c:pt>
                <c:pt idx="16769">
                  <c:v>7113111</c:v>
                </c:pt>
                <c:pt idx="16770">
                  <c:v>14954125</c:v>
                </c:pt>
                <c:pt idx="16771">
                  <c:v>99902544</c:v>
                </c:pt>
                <c:pt idx="16772">
                  <c:v>207346816</c:v>
                </c:pt>
                <c:pt idx="16773">
                  <c:v>527542375</c:v>
                </c:pt>
                <c:pt idx="16774">
                  <c:v>119035490</c:v>
                </c:pt>
                <c:pt idx="16775">
                  <c:v>25261728</c:v>
                </c:pt>
                <c:pt idx="16776">
                  <c:v>71204987</c:v>
                </c:pt>
                <c:pt idx="16777">
                  <c:v>26472392</c:v>
                </c:pt>
                <c:pt idx="16778">
                  <c:v>3639222</c:v>
                </c:pt>
                <c:pt idx="16779">
                  <c:v>27058020</c:v>
                </c:pt>
                <c:pt idx="16780">
                  <c:v>185847468</c:v>
                </c:pt>
                <c:pt idx="16781">
                  <c:v>46361204</c:v>
                </c:pt>
                <c:pt idx="16782">
                  <c:v>240668078</c:v>
                </c:pt>
                <c:pt idx="16783">
                  <c:v>199021784</c:v>
                </c:pt>
                <c:pt idx="16784">
                  <c:v>45525706</c:v>
                </c:pt>
                <c:pt idx="16785">
                  <c:v>39024195</c:v>
                </c:pt>
                <c:pt idx="16786">
                  <c:v>20439432</c:v>
                </c:pt>
                <c:pt idx="16787">
                  <c:v>107260010</c:v>
                </c:pt>
                <c:pt idx="16788">
                  <c:v>6472102</c:v>
                </c:pt>
                <c:pt idx="16789">
                  <c:v>644827694</c:v>
                </c:pt>
                <c:pt idx="16790">
                  <c:v>523630296</c:v>
                </c:pt>
                <c:pt idx="16791">
                  <c:v>32404722</c:v>
                </c:pt>
                <c:pt idx="16792">
                  <c:v>16989120</c:v>
                </c:pt>
                <c:pt idx="16793">
                  <c:v>60802248</c:v>
                </c:pt>
                <c:pt idx="16794">
                  <c:v>49667148</c:v>
                </c:pt>
                <c:pt idx="16795">
                  <c:v>13759222</c:v>
                </c:pt>
                <c:pt idx="16796">
                  <c:v>25482240</c:v>
                </c:pt>
                <c:pt idx="16797">
                  <c:v>9900695</c:v>
                </c:pt>
                <c:pt idx="16798">
                  <c:v>18291084</c:v>
                </c:pt>
                <c:pt idx="16799">
                  <c:v>4076475</c:v>
                </c:pt>
                <c:pt idx="16800">
                  <c:v>82958118</c:v>
                </c:pt>
                <c:pt idx="16801">
                  <c:v>20460228</c:v>
                </c:pt>
                <c:pt idx="16802">
                  <c:v>11105029</c:v>
                </c:pt>
                <c:pt idx="16803">
                  <c:v>24785904</c:v>
                </c:pt>
                <c:pt idx="16804">
                  <c:v>82626774</c:v>
                </c:pt>
                <c:pt idx="16805">
                  <c:v>88806588</c:v>
                </c:pt>
                <c:pt idx="16806">
                  <c:v>81376085</c:v>
                </c:pt>
                <c:pt idx="16807">
                  <c:v>51743605</c:v>
                </c:pt>
                <c:pt idx="16808">
                  <c:v>51216462</c:v>
                </c:pt>
                <c:pt idx="16809">
                  <c:v>152140760</c:v>
                </c:pt>
                <c:pt idx="16810">
                  <c:v>4650010</c:v>
                </c:pt>
                <c:pt idx="16811">
                  <c:v>27825630</c:v>
                </c:pt>
                <c:pt idx="16812">
                  <c:v>16257120</c:v>
                </c:pt>
                <c:pt idx="16813">
                  <c:v>85150406</c:v>
                </c:pt>
                <c:pt idx="16814">
                  <c:v>2995776</c:v>
                </c:pt>
                <c:pt idx="16815">
                  <c:v>6385775</c:v>
                </c:pt>
                <c:pt idx="16816">
                  <c:v>8947266</c:v>
                </c:pt>
                <c:pt idx="16817">
                  <c:v>17674272</c:v>
                </c:pt>
                <c:pt idx="16818">
                  <c:v>72454891</c:v>
                </c:pt>
                <c:pt idx="16819">
                  <c:v>283598454</c:v>
                </c:pt>
                <c:pt idx="16820">
                  <c:v>18934499</c:v>
                </c:pt>
                <c:pt idx="16821">
                  <c:v>52600704</c:v>
                </c:pt>
                <c:pt idx="16822">
                  <c:v>3206320</c:v>
                </c:pt>
                <c:pt idx="16823">
                  <c:v>46244820</c:v>
                </c:pt>
                <c:pt idx="16824">
                  <c:v>22270118</c:v>
                </c:pt>
                <c:pt idx="16825">
                  <c:v>86423001</c:v>
                </c:pt>
                <c:pt idx="16826">
                  <c:v>783110712</c:v>
                </c:pt>
                <c:pt idx="16827">
                  <c:v>720312752</c:v>
                </c:pt>
                <c:pt idx="16828">
                  <c:v>268825949</c:v>
                </c:pt>
                <c:pt idx="16829">
                  <c:v>235148318</c:v>
                </c:pt>
                <c:pt idx="16830">
                  <c:v>278230733</c:v>
                </c:pt>
                <c:pt idx="16831">
                  <c:v>162174600</c:v>
                </c:pt>
                <c:pt idx="16832">
                  <c:v>281717953</c:v>
                </c:pt>
                <c:pt idx="16833">
                  <c:v>1057223175</c:v>
                </c:pt>
                <c:pt idx="16834">
                  <c:v>313058464</c:v>
                </c:pt>
                <c:pt idx="16835">
                  <c:v>2147483647</c:v>
                </c:pt>
                <c:pt idx="16836">
                  <c:v>1844831982</c:v>
                </c:pt>
                <c:pt idx="16837">
                  <c:v>984407830</c:v>
                </c:pt>
                <c:pt idx="16838">
                  <c:v>1004875506</c:v>
                </c:pt>
                <c:pt idx="16839">
                  <c:v>51177830</c:v>
                </c:pt>
                <c:pt idx="16840">
                  <c:v>42099712</c:v>
                </c:pt>
                <c:pt idx="16841">
                  <c:v>839220756</c:v>
                </c:pt>
                <c:pt idx="16842">
                  <c:v>113164992</c:v>
                </c:pt>
                <c:pt idx="16843">
                  <c:v>31358040</c:v>
                </c:pt>
                <c:pt idx="16844">
                  <c:v>38955924</c:v>
                </c:pt>
                <c:pt idx="16845">
                  <c:v>399323090</c:v>
                </c:pt>
                <c:pt idx="16846">
                  <c:v>160315134</c:v>
                </c:pt>
                <c:pt idx="16847">
                  <c:v>21495544</c:v>
                </c:pt>
                <c:pt idx="16848">
                  <c:v>165052758</c:v>
                </c:pt>
                <c:pt idx="16849">
                  <c:v>42207048</c:v>
                </c:pt>
                <c:pt idx="16850">
                  <c:v>43055672</c:v>
                </c:pt>
                <c:pt idx="16851">
                  <c:v>26451600</c:v>
                </c:pt>
                <c:pt idx="16852">
                  <c:v>150803974</c:v>
                </c:pt>
                <c:pt idx="16853">
                  <c:v>42815949</c:v>
                </c:pt>
                <c:pt idx="16854">
                  <c:v>11712624</c:v>
                </c:pt>
                <c:pt idx="16855">
                  <c:v>84576884</c:v>
                </c:pt>
                <c:pt idx="16856">
                  <c:v>7157969</c:v>
                </c:pt>
                <c:pt idx="16857">
                  <c:v>131617704</c:v>
                </c:pt>
                <c:pt idx="16858">
                  <c:v>42653799</c:v>
                </c:pt>
                <c:pt idx="16859">
                  <c:v>65483754</c:v>
                </c:pt>
                <c:pt idx="16860">
                  <c:v>58739634</c:v>
                </c:pt>
                <c:pt idx="16861">
                  <c:v>95819612</c:v>
                </c:pt>
                <c:pt idx="16862">
                  <c:v>36152385</c:v>
                </c:pt>
                <c:pt idx="16863">
                  <c:v>88834794</c:v>
                </c:pt>
                <c:pt idx="16864">
                  <c:v>294675994</c:v>
                </c:pt>
                <c:pt idx="16865">
                  <c:v>51057198</c:v>
                </c:pt>
                <c:pt idx="16866">
                  <c:v>109404055</c:v>
                </c:pt>
                <c:pt idx="16867">
                  <c:v>298096890</c:v>
                </c:pt>
                <c:pt idx="16868">
                  <c:v>61314546</c:v>
                </c:pt>
                <c:pt idx="16869">
                  <c:v>3211376</c:v>
                </c:pt>
                <c:pt idx="16870">
                  <c:v>46426752</c:v>
                </c:pt>
                <c:pt idx="16871">
                  <c:v>95420700</c:v>
                </c:pt>
                <c:pt idx="16872">
                  <c:v>26916239</c:v>
                </c:pt>
                <c:pt idx="16873">
                  <c:v>38241520</c:v>
                </c:pt>
                <c:pt idx="16874">
                  <c:v>127898166</c:v>
                </c:pt>
                <c:pt idx="16875">
                  <c:v>97625912</c:v>
                </c:pt>
                <c:pt idx="16876">
                  <c:v>24205646</c:v>
                </c:pt>
                <c:pt idx="16877">
                  <c:v>59931375</c:v>
                </c:pt>
                <c:pt idx="16878">
                  <c:v>161587008</c:v>
                </c:pt>
                <c:pt idx="16879">
                  <c:v>15227247</c:v>
                </c:pt>
                <c:pt idx="16880">
                  <c:v>23161788</c:v>
                </c:pt>
                <c:pt idx="16881">
                  <c:v>225879086</c:v>
                </c:pt>
                <c:pt idx="16882">
                  <c:v>151944282</c:v>
                </c:pt>
                <c:pt idx="16883">
                  <c:v>74348538</c:v>
                </c:pt>
                <c:pt idx="16884">
                  <c:v>37678080</c:v>
                </c:pt>
                <c:pt idx="16885">
                  <c:v>3822864</c:v>
                </c:pt>
                <c:pt idx="16886">
                  <c:v>37171717</c:v>
                </c:pt>
                <c:pt idx="16887">
                  <c:v>35718884</c:v>
                </c:pt>
                <c:pt idx="16888">
                  <c:v>88268904</c:v>
                </c:pt>
                <c:pt idx="16889">
                  <c:v>230242914</c:v>
                </c:pt>
                <c:pt idx="16890">
                  <c:v>8691588</c:v>
                </c:pt>
                <c:pt idx="16891">
                  <c:v>64033200</c:v>
                </c:pt>
                <c:pt idx="16892">
                  <c:v>147946977</c:v>
                </c:pt>
                <c:pt idx="16893">
                  <c:v>298303950</c:v>
                </c:pt>
                <c:pt idx="16894">
                  <c:v>4771271</c:v>
                </c:pt>
                <c:pt idx="16895">
                  <c:v>28401504</c:v>
                </c:pt>
                <c:pt idx="16896">
                  <c:v>140357240</c:v>
                </c:pt>
                <c:pt idx="16897">
                  <c:v>57686577</c:v>
                </c:pt>
                <c:pt idx="16898">
                  <c:v>56751111</c:v>
                </c:pt>
                <c:pt idx="16899">
                  <c:v>56043414</c:v>
                </c:pt>
                <c:pt idx="16900">
                  <c:v>1006531960</c:v>
                </c:pt>
                <c:pt idx="16901">
                  <c:v>31951354</c:v>
                </c:pt>
                <c:pt idx="16902">
                  <c:v>64208043</c:v>
                </c:pt>
                <c:pt idx="16903">
                  <c:v>201627258</c:v>
                </c:pt>
                <c:pt idx="16904">
                  <c:v>1504472585</c:v>
                </c:pt>
                <c:pt idx="16905">
                  <c:v>711833248</c:v>
                </c:pt>
                <c:pt idx="16906">
                  <c:v>656199042</c:v>
                </c:pt>
                <c:pt idx="16907">
                  <c:v>50387102</c:v>
                </c:pt>
                <c:pt idx="16908">
                  <c:v>39854457</c:v>
                </c:pt>
                <c:pt idx="16909">
                  <c:v>358823550</c:v>
                </c:pt>
                <c:pt idx="16910">
                  <c:v>144590446</c:v>
                </c:pt>
                <c:pt idx="16911">
                  <c:v>19792734</c:v>
                </c:pt>
                <c:pt idx="16912">
                  <c:v>36014706</c:v>
                </c:pt>
                <c:pt idx="16913">
                  <c:v>72626400</c:v>
                </c:pt>
                <c:pt idx="16914">
                  <c:v>22993304</c:v>
                </c:pt>
                <c:pt idx="16915">
                  <c:v>2711787</c:v>
                </c:pt>
                <c:pt idx="16916">
                  <c:v>46988748</c:v>
                </c:pt>
                <c:pt idx="16917">
                  <c:v>17304678</c:v>
                </c:pt>
                <c:pt idx="16918">
                  <c:v>116075715</c:v>
                </c:pt>
                <c:pt idx="16919">
                  <c:v>16545890</c:v>
                </c:pt>
                <c:pt idx="16920">
                  <c:v>68285106</c:v>
                </c:pt>
                <c:pt idx="16921">
                  <c:v>31722894</c:v>
                </c:pt>
                <c:pt idx="16922">
                  <c:v>43704624</c:v>
                </c:pt>
                <c:pt idx="16923">
                  <c:v>17346150</c:v>
                </c:pt>
                <c:pt idx="16924">
                  <c:v>403887601</c:v>
                </c:pt>
                <c:pt idx="16925">
                  <c:v>8388830</c:v>
                </c:pt>
                <c:pt idx="16926">
                  <c:v>12437280</c:v>
                </c:pt>
                <c:pt idx="16927">
                  <c:v>13505937</c:v>
                </c:pt>
                <c:pt idx="16928">
                  <c:v>15595239</c:v>
                </c:pt>
                <c:pt idx="16929">
                  <c:v>65040948</c:v>
                </c:pt>
                <c:pt idx="16930">
                  <c:v>53661052</c:v>
                </c:pt>
                <c:pt idx="16931">
                  <c:v>32036083</c:v>
                </c:pt>
                <c:pt idx="16932">
                  <c:v>36509553</c:v>
                </c:pt>
                <c:pt idx="16933">
                  <c:v>28697948</c:v>
                </c:pt>
                <c:pt idx="16934">
                  <c:v>13189575</c:v>
                </c:pt>
                <c:pt idx="16935">
                  <c:v>80170146</c:v>
                </c:pt>
                <c:pt idx="16936">
                  <c:v>28266707</c:v>
                </c:pt>
                <c:pt idx="16937">
                  <c:v>3307484</c:v>
                </c:pt>
                <c:pt idx="16938">
                  <c:v>141561664</c:v>
                </c:pt>
                <c:pt idx="16939">
                  <c:v>43602825</c:v>
                </c:pt>
                <c:pt idx="16940">
                  <c:v>15859800</c:v>
                </c:pt>
                <c:pt idx="16941">
                  <c:v>25746084</c:v>
                </c:pt>
                <c:pt idx="16942">
                  <c:v>32684940</c:v>
                </c:pt>
                <c:pt idx="16943">
                  <c:v>141972800</c:v>
                </c:pt>
                <c:pt idx="16944">
                  <c:v>1511598</c:v>
                </c:pt>
                <c:pt idx="16945">
                  <c:v>139946800</c:v>
                </c:pt>
                <c:pt idx="16946">
                  <c:v>199841784</c:v>
                </c:pt>
                <c:pt idx="16947">
                  <c:v>11582088</c:v>
                </c:pt>
                <c:pt idx="16948">
                  <c:v>101194030</c:v>
                </c:pt>
                <c:pt idx="16949">
                  <c:v>143208756</c:v>
                </c:pt>
                <c:pt idx="16950">
                  <c:v>85035706</c:v>
                </c:pt>
                <c:pt idx="16951">
                  <c:v>33670650</c:v>
                </c:pt>
                <c:pt idx="16952">
                  <c:v>156132585</c:v>
                </c:pt>
                <c:pt idx="16953">
                  <c:v>526934860</c:v>
                </c:pt>
                <c:pt idx="16954">
                  <c:v>65957346</c:v>
                </c:pt>
                <c:pt idx="16955">
                  <c:v>571417524</c:v>
                </c:pt>
                <c:pt idx="16956">
                  <c:v>63697908</c:v>
                </c:pt>
                <c:pt idx="16957">
                  <c:v>3785415</c:v>
                </c:pt>
                <c:pt idx="16958">
                  <c:v>16011072</c:v>
                </c:pt>
                <c:pt idx="16959">
                  <c:v>23577680</c:v>
                </c:pt>
                <c:pt idx="16960">
                  <c:v>180918808</c:v>
                </c:pt>
                <c:pt idx="16961">
                  <c:v>422687580</c:v>
                </c:pt>
                <c:pt idx="16962">
                  <c:v>24172544</c:v>
                </c:pt>
                <c:pt idx="16963">
                  <c:v>161270432</c:v>
                </c:pt>
                <c:pt idx="16964">
                  <c:v>90663826</c:v>
                </c:pt>
                <c:pt idx="16965">
                  <c:v>62718208</c:v>
                </c:pt>
                <c:pt idx="16966">
                  <c:v>23039016</c:v>
                </c:pt>
                <c:pt idx="16967">
                  <c:v>8625040</c:v>
                </c:pt>
                <c:pt idx="16968">
                  <c:v>423214626</c:v>
                </c:pt>
                <c:pt idx="16969">
                  <c:v>98118738</c:v>
                </c:pt>
                <c:pt idx="16970">
                  <c:v>102128697</c:v>
                </c:pt>
                <c:pt idx="16971">
                  <c:v>57585807</c:v>
                </c:pt>
                <c:pt idx="16972">
                  <c:v>192423000</c:v>
                </c:pt>
                <c:pt idx="16973">
                  <c:v>48660209</c:v>
                </c:pt>
                <c:pt idx="16974">
                  <c:v>21326114</c:v>
                </c:pt>
                <c:pt idx="16975">
                  <c:v>7886400</c:v>
                </c:pt>
                <c:pt idx="16976">
                  <c:v>12834300</c:v>
                </c:pt>
                <c:pt idx="16977">
                  <c:v>39241284</c:v>
                </c:pt>
                <c:pt idx="16978">
                  <c:v>23677025</c:v>
                </c:pt>
                <c:pt idx="16979">
                  <c:v>11957250</c:v>
                </c:pt>
                <c:pt idx="16980">
                  <c:v>17427900</c:v>
                </c:pt>
                <c:pt idx="16981">
                  <c:v>28636740</c:v>
                </c:pt>
                <c:pt idx="16982">
                  <c:v>29179506</c:v>
                </c:pt>
                <c:pt idx="16983">
                  <c:v>16323852</c:v>
                </c:pt>
                <c:pt idx="16984">
                  <c:v>16470772</c:v>
                </c:pt>
                <c:pt idx="16985">
                  <c:v>13206678</c:v>
                </c:pt>
                <c:pt idx="16986">
                  <c:v>2094794</c:v>
                </c:pt>
                <c:pt idx="16987">
                  <c:v>14247460</c:v>
                </c:pt>
                <c:pt idx="16988">
                  <c:v>63365406</c:v>
                </c:pt>
                <c:pt idx="16989">
                  <c:v>21516260</c:v>
                </c:pt>
                <c:pt idx="16990">
                  <c:v>69535440</c:v>
                </c:pt>
                <c:pt idx="16991">
                  <c:v>23201409</c:v>
                </c:pt>
                <c:pt idx="16992">
                  <c:v>14260348</c:v>
                </c:pt>
                <c:pt idx="16993">
                  <c:v>48107514</c:v>
                </c:pt>
                <c:pt idx="16994">
                  <c:v>35719670</c:v>
                </c:pt>
                <c:pt idx="16995">
                  <c:v>36132480</c:v>
                </c:pt>
                <c:pt idx="16996">
                  <c:v>10942448</c:v>
                </c:pt>
                <c:pt idx="16997">
                  <c:v>10261336</c:v>
                </c:pt>
                <c:pt idx="16998">
                  <c:v>27769924</c:v>
                </c:pt>
                <c:pt idx="16999">
                  <c:v>168682696</c:v>
                </c:pt>
                <c:pt idx="17000">
                  <c:v>31054706</c:v>
                </c:pt>
                <c:pt idx="17001">
                  <c:v>11606697</c:v>
                </c:pt>
                <c:pt idx="17002">
                  <c:v>1208696</c:v>
                </c:pt>
                <c:pt idx="17003">
                  <c:v>6531679</c:v>
                </c:pt>
                <c:pt idx="17004">
                  <c:v>35142180</c:v>
                </c:pt>
                <c:pt idx="17005">
                  <c:v>74740974</c:v>
                </c:pt>
                <c:pt idx="17006">
                  <c:v>27014400</c:v>
                </c:pt>
                <c:pt idx="17007">
                  <c:v>42589908</c:v>
                </c:pt>
                <c:pt idx="17008">
                  <c:v>4060287</c:v>
                </c:pt>
                <c:pt idx="17009">
                  <c:v>16391392</c:v>
                </c:pt>
                <c:pt idx="17010">
                  <c:v>215825770</c:v>
                </c:pt>
                <c:pt idx="17011">
                  <c:v>24542784</c:v>
                </c:pt>
                <c:pt idx="17012">
                  <c:v>9145435</c:v>
                </c:pt>
                <c:pt idx="17013">
                  <c:v>66646860</c:v>
                </c:pt>
                <c:pt idx="17014">
                  <c:v>5081130</c:v>
                </c:pt>
                <c:pt idx="17015">
                  <c:v>14070528</c:v>
                </c:pt>
                <c:pt idx="17016">
                  <c:v>7674889</c:v>
                </c:pt>
                <c:pt idx="17017">
                  <c:v>191424761</c:v>
                </c:pt>
                <c:pt idx="17018">
                  <c:v>10986750</c:v>
                </c:pt>
                <c:pt idx="17019">
                  <c:v>6080925</c:v>
                </c:pt>
                <c:pt idx="17020">
                  <c:v>23213800</c:v>
                </c:pt>
                <c:pt idx="17021">
                  <c:v>19834077</c:v>
                </c:pt>
                <c:pt idx="17022">
                  <c:v>24189323</c:v>
                </c:pt>
                <c:pt idx="17023">
                  <c:v>16166500</c:v>
                </c:pt>
                <c:pt idx="17024">
                  <c:v>55406088</c:v>
                </c:pt>
                <c:pt idx="17025">
                  <c:v>104186635</c:v>
                </c:pt>
                <c:pt idx="17026">
                  <c:v>8000272</c:v>
                </c:pt>
                <c:pt idx="17027">
                  <c:v>10157704</c:v>
                </c:pt>
                <c:pt idx="17028">
                  <c:v>86082192</c:v>
                </c:pt>
                <c:pt idx="17029">
                  <c:v>35263316</c:v>
                </c:pt>
                <c:pt idx="17030">
                  <c:v>58767520</c:v>
                </c:pt>
                <c:pt idx="17031">
                  <c:v>33059318</c:v>
                </c:pt>
                <c:pt idx="17032">
                  <c:v>33011100</c:v>
                </c:pt>
                <c:pt idx="17033">
                  <c:v>36375807</c:v>
                </c:pt>
                <c:pt idx="17034">
                  <c:v>15230808</c:v>
                </c:pt>
                <c:pt idx="17035">
                  <c:v>12881424</c:v>
                </c:pt>
                <c:pt idx="17036">
                  <c:v>360623312</c:v>
                </c:pt>
                <c:pt idx="17037">
                  <c:v>654663072</c:v>
                </c:pt>
                <c:pt idx="17038">
                  <c:v>6327760</c:v>
                </c:pt>
                <c:pt idx="17039">
                  <c:v>65753336</c:v>
                </c:pt>
                <c:pt idx="17040">
                  <c:v>72726841</c:v>
                </c:pt>
                <c:pt idx="17041">
                  <c:v>15917944</c:v>
                </c:pt>
                <c:pt idx="17042">
                  <c:v>10158848</c:v>
                </c:pt>
                <c:pt idx="17043">
                  <c:v>15264179</c:v>
                </c:pt>
                <c:pt idx="17044">
                  <c:v>23059025</c:v>
                </c:pt>
                <c:pt idx="17045">
                  <c:v>148290450</c:v>
                </c:pt>
                <c:pt idx="17046">
                  <c:v>23781528</c:v>
                </c:pt>
                <c:pt idx="17047">
                  <c:v>17344914</c:v>
                </c:pt>
                <c:pt idx="17048">
                  <c:v>25398674</c:v>
                </c:pt>
                <c:pt idx="17049">
                  <c:v>82194061</c:v>
                </c:pt>
                <c:pt idx="17050">
                  <c:v>24051888</c:v>
                </c:pt>
                <c:pt idx="17051">
                  <c:v>60901860</c:v>
                </c:pt>
                <c:pt idx="17052">
                  <c:v>38501512</c:v>
                </c:pt>
                <c:pt idx="17053">
                  <c:v>10287879</c:v>
                </c:pt>
                <c:pt idx="17054">
                  <c:v>22729980</c:v>
                </c:pt>
                <c:pt idx="17055">
                  <c:v>8144208</c:v>
                </c:pt>
                <c:pt idx="17056">
                  <c:v>26839108</c:v>
                </c:pt>
                <c:pt idx="17057">
                  <c:v>70413783</c:v>
                </c:pt>
                <c:pt idx="17058">
                  <c:v>22163025</c:v>
                </c:pt>
                <c:pt idx="17059">
                  <c:v>12875184</c:v>
                </c:pt>
                <c:pt idx="17060">
                  <c:v>76871424</c:v>
                </c:pt>
                <c:pt idx="17061">
                  <c:v>17209800</c:v>
                </c:pt>
                <c:pt idx="17062">
                  <c:v>17335968</c:v>
                </c:pt>
                <c:pt idx="17063">
                  <c:v>18419778</c:v>
                </c:pt>
                <c:pt idx="17064">
                  <c:v>22640760</c:v>
                </c:pt>
                <c:pt idx="17065">
                  <c:v>24509034</c:v>
                </c:pt>
                <c:pt idx="17066">
                  <c:v>121846309</c:v>
                </c:pt>
                <c:pt idx="17067">
                  <c:v>52945040</c:v>
                </c:pt>
                <c:pt idx="17068">
                  <c:v>72638256</c:v>
                </c:pt>
                <c:pt idx="17069">
                  <c:v>18988770</c:v>
                </c:pt>
                <c:pt idx="17070">
                  <c:v>27701450</c:v>
                </c:pt>
                <c:pt idx="17071">
                  <c:v>13220952</c:v>
                </c:pt>
                <c:pt idx="17072">
                  <c:v>32449659</c:v>
                </c:pt>
                <c:pt idx="17073">
                  <c:v>34574808</c:v>
                </c:pt>
                <c:pt idx="17074">
                  <c:v>31293432</c:v>
                </c:pt>
                <c:pt idx="17075">
                  <c:v>11533764</c:v>
                </c:pt>
                <c:pt idx="17076">
                  <c:v>80714235</c:v>
                </c:pt>
                <c:pt idx="17077">
                  <c:v>12466224</c:v>
                </c:pt>
                <c:pt idx="17078">
                  <c:v>497261472</c:v>
                </c:pt>
                <c:pt idx="17079">
                  <c:v>30868508</c:v>
                </c:pt>
                <c:pt idx="17080">
                  <c:v>25969944</c:v>
                </c:pt>
                <c:pt idx="17081">
                  <c:v>13166208</c:v>
                </c:pt>
                <c:pt idx="17082">
                  <c:v>67184515</c:v>
                </c:pt>
                <c:pt idx="17083">
                  <c:v>241018076</c:v>
                </c:pt>
                <c:pt idx="17084">
                  <c:v>43040322</c:v>
                </c:pt>
                <c:pt idx="17085">
                  <c:v>252937785</c:v>
                </c:pt>
                <c:pt idx="17086">
                  <c:v>28390544</c:v>
                </c:pt>
                <c:pt idx="17087">
                  <c:v>36894390</c:v>
                </c:pt>
                <c:pt idx="17088">
                  <c:v>185462316</c:v>
                </c:pt>
                <c:pt idx="17089">
                  <c:v>9076626</c:v>
                </c:pt>
                <c:pt idx="17090">
                  <c:v>5656128</c:v>
                </c:pt>
                <c:pt idx="17091">
                  <c:v>99556914</c:v>
                </c:pt>
                <c:pt idx="17092">
                  <c:v>95254017</c:v>
                </c:pt>
                <c:pt idx="17093">
                  <c:v>41237658</c:v>
                </c:pt>
                <c:pt idx="17094">
                  <c:v>14913380</c:v>
                </c:pt>
                <c:pt idx="17095">
                  <c:v>24426780</c:v>
                </c:pt>
                <c:pt idx="17096">
                  <c:v>45673290</c:v>
                </c:pt>
                <c:pt idx="17097">
                  <c:v>188006521</c:v>
                </c:pt>
                <c:pt idx="17098">
                  <c:v>55484631</c:v>
                </c:pt>
                <c:pt idx="17099">
                  <c:v>35335359</c:v>
                </c:pt>
                <c:pt idx="17100">
                  <c:v>240789458</c:v>
                </c:pt>
                <c:pt idx="17101">
                  <c:v>22785940</c:v>
                </c:pt>
                <c:pt idx="17102">
                  <c:v>15352225</c:v>
                </c:pt>
                <c:pt idx="17103">
                  <c:v>17335080</c:v>
                </c:pt>
                <c:pt idx="17104">
                  <c:v>35589490</c:v>
                </c:pt>
                <c:pt idx="17105">
                  <c:v>7957752</c:v>
                </c:pt>
                <c:pt idx="17106">
                  <c:v>56890698</c:v>
                </c:pt>
                <c:pt idx="17107">
                  <c:v>26717628</c:v>
                </c:pt>
                <c:pt idx="17108">
                  <c:v>1026590390</c:v>
                </c:pt>
                <c:pt idx="17109">
                  <c:v>773240325</c:v>
                </c:pt>
                <c:pt idx="17110">
                  <c:v>451184176</c:v>
                </c:pt>
                <c:pt idx="17111">
                  <c:v>180425880</c:v>
                </c:pt>
                <c:pt idx="17112">
                  <c:v>1045513392</c:v>
                </c:pt>
                <c:pt idx="17113">
                  <c:v>43104969</c:v>
                </c:pt>
                <c:pt idx="17114">
                  <c:v>197429551</c:v>
                </c:pt>
                <c:pt idx="17115">
                  <c:v>21163659</c:v>
                </c:pt>
                <c:pt idx="17116">
                  <c:v>77227580</c:v>
                </c:pt>
                <c:pt idx="17117">
                  <c:v>1587488</c:v>
                </c:pt>
                <c:pt idx="17118">
                  <c:v>49349291</c:v>
                </c:pt>
                <c:pt idx="17119">
                  <c:v>58933728</c:v>
                </c:pt>
                <c:pt idx="17120">
                  <c:v>46087899</c:v>
                </c:pt>
                <c:pt idx="17121">
                  <c:v>33219936</c:v>
                </c:pt>
                <c:pt idx="17122">
                  <c:v>55296682</c:v>
                </c:pt>
                <c:pt idx="17123">
                  <c:v>314635860</c:v>
                </c:pt>
                <c:pt idx="17124">
                  <c:v>16746990</c:v>
                </c:pt>
                <c:pt idx="17125">
                  <c:v>41006160</c:v>
                </c:pt>
                <c:pt idx="17126">
                  <c:v>6879573</c:v>
                </c:pt>
                <c:pt idx="17127">
                  <c:v>59910032</c:v>
                </c:pt>
                <c:pt idx="17128">
                  <c:v>33039960</c:v>
                </c:pt>
                <c:pt idx="17129">
                  <c:v>6454679</c:v>
                </c:pt>
                <c:pt idx="17130">
                  <c:v>245772978</c:v>
                </c:pt>
                <c:pt idx="17131">
                  <c:v>53644400</c:v>
                </c:pt>
                <c:pt idx="17132">
                  <c:v>90653409</c:v>
                </c:pt>
                <c:pt idx="17133">
                  <c:v>63017332</c:v>
                </c:pt>
                <c:pt idx="17134">
                  <c:v>205684460</c:v>
                </c:pt>
                <c:pt idx="17135">
                  <c:v>6071760</c:v>
                </c:pt>
                <c:pt idx="17136">
                  <c:v>60935754</c:v>
                </c:pt>
                <c:pt idx="17137">
                  <c:v>50914292</c:v>
                </c:pt>
                <c:pt idx="17138">
                  <c:v>26281200</c:v>
                </c:pt>
                <c:pt idx="17139">
                  <c:v>78148844</c:v>
                </c:pt>
                <c:pt idx="17140">
                  <c:v>86302608</c:v>
                </c:pt>
                <c:pt idx="17141">
                  <c:v>34621992</c:v>
                </c:pt>
                <c:pt idx="17142">
                  <c:v>455944128</c:v>
                </c:pt>
                <c:pt idx="17143">
                  <c:v>197370602</c:v>
                </c:pt>
                <c:pt idx="17144">
                  <c:v>29093502</c:v>
                </c:pt>
                <c:pt idx="17145">
                  <c:v>10216000</c:v>
                </c:pt>
                <c:pt idx="17146">
                  <c:v>183548692</c:v>
                </c:pt>
                <c:pt idx="17147">
                  <c:v>290392179</c:v>
                </c:pt>
                <c:pt idx="17148">
                  <c:v>57094737</c:v>
                </c:pt>
                <c:pt idx="17149">
                  <c:v>17105234</c:v>
                </c:pt>
                <c:pt idx="17150">
                  <c:v>7585982</c:v>
                </c:pt>
                <c:pt idx="17151">
                  <c:v>42199064</c:v>
                </c:pt>
                <c:pt idx="17152">
                  <c:v>94440924</c:v>
                </c:pt>
                <c:pt idx="17153">
                  <c:v>86378604</c:v>
                </c:pt>
                <c:pt idx="17154">
                  <c:v>126259634</c:v>
                </c:pt>
                <c:pt idx="17155">
                  <c:v>72364600</c:v>
                </c:pt>
                <c:pt idx="17156">
                  <c:v>206315552</c:v>
                </c:pt>
                <c:pt idx="17157">
                  <c:v>5649440</c:v>
                </c:pt>
                <c:pt idx="17158">
                  <c:v>177302530</c:v>
                </c:pt>
                <c:pt idx="17159">
                  <c:v>252967260</c:v>
                </c:pt>
                <c:pt idx="17160">
                  <c:v>147280788</c:v>
                </c:pt>
                <c:pt idx="17161">
                  <c:v>14343090</c:v>
                </c:pt>
                <c:pt idx="17162">
                  <c:v>2075182</c:v>
                </c:pt>
                <c:pt idx="17163">
                  <c:v>100706643</c:v>
                </c:pt>
                <c:pt idx="17164">
                  <c:v>319435920</c:v>
                </c:pt>
                <c:pt idx="17165">
                  <c:v>31823921</c:v>
                </c:pt>
                <c:pt idx="17166">
                  <c:v>9295104</c:v>
                </c:pt>
                <c:pt idx="17167">
                  <c:v>795688480</c:v>
                </c:pt>
                <c:pt idx="17168">
                  <c:v>265133700</c:v>
                </c:pt>
                <c:pt idx="17169">
                  <c:v>579816996</c:v>
                </c:pt>
                <c:pt idx="17170">
                  <c:v>84841709</c:v>
                </c:pt>
                <c:pt idx="17171">
                  <c:v>43963686</c:v>
                </c:pt>
                <c:pt idx="17172">
                  <c:v>8045494</c:v>
                </c:pt>
                <c:pt idx="17173">
                  <c:v>30918600</c:v>
                </c:pt>
                <c:pt idx="17174">
                  <c:v>20835276</c:v>
                </c:pt>
                <c:pt idx="17175">
                  <c:v>199947260</c:v>
                </c:pt>
                <c:pt idx="17176">
                  <c:v>2006712</c:v>
                </c:pt>
                <c:pt idx="17177">
                  <c:v>930623148</c:v>
                </c:pt>
                <c:pt idx="17178">
                  <c:v>271913148</c:v>
                </c:pt>
                <c:pt idx="17179">
                  <c:v>248189455</c:v>
                </c:pt>
                <c:pt idx="17180">
                  <c:v>47769081</c:v>
                </c:pt>
                <c:pt idx="17181">
                  <c:v>6732291</c:v>
                </c:pt>
                <c:pt idx="17182">
                  <c:v>81440040</c:v>
                </c:pt>
                <c:pt idx="17183">
                  <c:v>27715648</c:v>
                </c:pt>
                <c:pt idx="17184">
                  <c:v>71909508</c:v>
                </c:pt>
                <c:pt idx="17185">
                  <c:v>28718316</c:v>
                </c:pt>
                <c:pt idx="17186">
                  <c:v>112866768</c:v>
                </c:pt>
                <c:pt idx="17187">
                  <c:v>146626560</c:v>
                </c:pt>
                <c:pt idx="17188">
                  <c:v>59431188</c:v>
                </c:pt>
                <c:pt idx="17189">
                  <c:v>119366433</c:v>
                </c:pt>
                <c:pt idx="17190">
                  <c:v>39932160</c:v>
                </c:pt>
                <c:pt idx="17191">
                  <c:v>26357745</c:v>
                </c:pt>
                <c:pt idx="17192">
                  <c:v>17464852</c:v>
                </c:pt>
                <c:pt idx="17193">
                  <c:v>62799500</c:v>
                </c:pt>
                <c:pt idx="17194">
                  <c:v>31756140</c:v>
                </c:pt>
                <c:pt idx="17195">
                  <c:v>76784140</c:v>
                </c:pt>
                <c:pt idx="17196">
                  <c:v>24163377</c:v>
                </c:pt>
                <c:pt idx="17197">
                  <c:v>45109394</c:v>
                </c:pt>
                <c:pt idx="17198">
                  <c:v>11538820</c:v>
                </c:pt>
                <c:pt idx="17199">
                  <c:v>111725688</c:v>
                </c:pt>
                <c:pt idx="17200">
                  <c:v>112139368</c:v>
                </c:pt>
                <c:pt idx="17201">
                  <c:v>72502395</c:v>
                </c:pt>
                <c:pt idx="17202">
                  <c:v>85654010</c:v>
                </c:pt>
                <c:pt idx="17203">
                  <c:v>89817560</c:v>
                </c:pt>
                <c:pt idx="17204">
                  <c:v>195409728</c:v>
                </c:pt>
                <c:pt idx="17205">
                  <c:v>30206844</c:v>
                </c:pt>
                <c:pt idx="17206">
                  <c:v>328572032</c:v>
                </c:pt>
                <c:pt idx="17207">
                  <c:v>276084574</c:v>
                </c:pt>
                <c:pt idx="17208">
                  <c:v>106080041</c:v>
                </c:pt>
                <c:pt idx="17209">
                  <c:v>124306432</c:v>
                </c:pt>
                <c:pt idx="17210">
                  <c:v>46252637</c:v>
                </c:pt>
                <c:pt idx="17211">
                  <c:v>73051616</c:v>
                </c:pt>
                <c:pt idx="17212">
                  <c:v>117405552</c:v>
                </c:pt>
                <c:pt idx="17213">
                  <c:v>64308072</c:v>
                </c:pt>
                <c:pt idx="17214">
                  <c:v>193651675</c:v>
                </c:pt>
                <c:pt idx="17215">
                  <c:v>101460222</c:v>
                </c:pt>
                <c:pt idx="17216">
                  <c:v>701310804</c:v>
                </c:pt>
                <c:pt idx="17217">
                  <c:v>69002742</c:v>
                </c:pt>
                <c:pt idx="17218">
                  <c:v>85166550</c:v>
                </c:pt>
                <c:pt idx="17219">
                  <c:v>127022448</c:v>
                </c:pt>
                <c:pt idx="17220">
                  <c:v>108119869</c:v>
                </c:pt>
                <c:pt idx="17221">
                  <c:v>10329618</c:v>
                </c:pt>
                <c:pt idx="17222">
                  <c:v>10161485</c:v>
                </c:pt>
                <c:pt idx="17223">
                  <c:v>9578888</c:v>
                </c:pt>
                <c:pt idx="17224">
                  <c:v>8012535</c:v>
                </c:pt>
                <c:pt idx="17225">
                  <c:v>124480284</c:v>
                </c:pt>
                <c:pt idx="17226">
                  <c:v>23682961</c:v>
                </c:pt>
                <c:pt idx="17227">
                  <c:v>13588225</c:v>
                </c:pt>
                <c:pt idx="17228">
                  <c:v>13482456</c:v>
                </c:pt>
                <c:pt idx="17229">
                  <c:v>25712040</c:v>
                </c:pt>
                <c:pt idx="17230">
                  <c:v>2587488</c:v>
                </c:pt>
                <c:pt idx="17231">
                  <c:v>21320286</c:v>
                </c:pt>
                <c:pt idx="17232">
                  <c:v>61353750</c:v>
                </c:pt>
                <c:pt idx="17233">
                  <c:v>184701847</c:v>
                </c:pt>
                <c:pt idx="17234">
                  <c:v>72503092</c:v>
                </c:pt>
                <c:pt idx="17235">
                  <c:v>8965524</c:v>
                </c:pt>
                <c:pt idx="17236">
                  <c:v>56865820</c:v>
                </c:pt>
                <c:pt idx="17237">
                  <c:v>33427512</c:v>
                </c:pt>
                <c:pt idx="17238">
                  <c:v>13228640</c:v>
                </c:pt>
                <c:pt idx="17239">
                  <c:v>645629460</c:v>
                </c:pt>
                <c:pt idx="17240">
                  <c:v>54836232</c:v>
                </c:pt>
                <c:pt idx="17241">
                  <c:v>2275911</c:v>
                </c:pt>
                <c:pt idx="17242">
                  <c:v>70695532</c:v>
                </c:pt>
                <c:pt idx="17243">
                  <c:v>62181912</c:v>
                </c:pt>
                <c:pt idx="17244">
                  <c:v>7727616</c:v>
                </c:pt>
                <c:pt idx="17245">
                  <c:v>168275000</c:v>
                </c:pt>
                <c:pt idx="17246">
                  <c:v>22592400</c:v>
                </c:pt>
                <c:pt idx="17247">
                  <c:v>8182140</c:v>
                </c:pt>
                <c:pt idx="17248">
                  <c:v>92067570</c:v>
                </c:pt>
                <c:pt idx="17249">
                  <c:v>22442496</c:v>
                </c:pt>
                <c:pt idx="17250">
                  <c:v>186148766</c:v>
                </c:pt>
                <c:pt idx="17251">
                  <c:v>10081500</c:v>
                </c:pt>
                <c:pt idx="17252">
                  <c:v>64842012</c:v>
                </c:pt>
                <c:pt idx="17253">
                  <c:v>14664796</c:v>
                </c:pt>
                <c:pt idx="17254">
                  <c:v>99328288</c:v>
                </c:pt>
                <c:pt idx="17255">
                  <c:v>30003456</c:v>
                </c:pt>
                <c:pt idx="17256">
                  <c:v>1393044235</c:v>
                </c:pt>
                <c:pt idx="17257">
                  <c:v>1792194</c:v>
                </c:pt>
                <c:pt idx="17258">
                  <c:v>8648497</c:v>
                </c:pt>
                <c:pt idx="17259">
                  <c:v>94739365</c:v>
                </c:pt>
                <c:pt idx="17260">
                  <c:v>3105424</c:v>
                </c:pt>
                <c:pt idx="17261">
                  <c:v>33459504</c:v>
                </c:pt>
                <c:pt idx="17262">
                  <c:v>32355165</c:v>
                </c:pt>
                <c:pt idx="17263">
                  <c:v>75265800</c:v>
                </c:pt>
                <c:pt idx="17264">
                  <c:v>184880175</c:v>
                </c:pt>
                <c:pt idx="17265">
                  <c:v>222202296</c:v>
                </c:pt>
                <c:pt idx="17266">
                  <c:v>9575935</c:v>
                </c:pt>
                <c:pt idx="17267">
                  <c:v>15876368</c:v>
                </c:pt>
                <c:pt idx="17268">
                  <c:v>32486443</c:v>
                </c:pt>
                <c:pt idx="17269">
                  <c:v>31924987</c:v>
                </c:pt>
                <c:pt idx="17270">
                  <c:v>39446196</c:v>
                </c:pt>
                <c:pt idx="17271">
                  <c:v>47905284</c:v>
                </c:pt>
                <c:pt idx="17272">
                  <c:v>7355270</c:v>
                </c:pt>
                <c:pt idx="17273">
                  <c:v>43065882</c:v>
                </c:pt>
                <c:pt idx="17274">
                  <c:v>31693288</c:v>
                </c:pt>
                <c:pt idx="17275">
                  <c:v>70022064</c:v>
                </c:pt>
                <c:pt idx="17276">
                  <c:v>50987656</c:v>
                </c:pt>
                <c:pt idx="17277">
                  <c:v>13616185</c:v>
                </c:pt>
                <c:pt idx="17278">
                  <c:v>47601296</c:v>
                </c:pt>
                <c:pt idx="17279">
                  <c:v>12285407</c:v>
                </c:pt>
                <c:pt idx="17280">
                  <c:v>6174144</c:v>
                </c:pt>
                <c:pt idx="17281">
                  <c:v>13625873</c:v>
                </c:pt>
                <c:pt idx="17282">
                  <c:v>19915524</c:v>
                </c:pt>
                <c:pt idx="17283">
                  <c:v>1038536542</c:v>
                </c:pt>
                <c:pt idx="17284">
                  <c:v>120261876</c:v>
                </c:pt>
                <c:pt idx="17285">
                  <c:v>4379696</c:v>
                </c:pt>
                <c:pt idx="17286">
                  <c:v>77254102</c:v>
                </c:pt>
                <c:pt idx="17287">
                  <c:v>4817277</c:v>
                </c:pt>
                <c:pt idx="17288">
                  <c:v>6375544</c:v>
                </c:pt>
                <c:pt idx="17289">
                  <c:v>41617550</c:v>
                </c:pt>
                <c:pt idx="17290">
                  <c:v>6097230</c:v>
                </c:pt>
                <c:pt idx="17291">
                  <c:v>48244892</c:v>
                </c:pt>
                <c:pt idx="17292">
                  <c:v>109988972</c:v>
                </c:pt>
                <c:pt idx="17293">
                  <c:v>51135405</c:v>
                </c:pt>
                <c:pt idx="17294">
                  <c:v>134559936</c:v>
                </c:pt>
                <c:pt idx="17295">
                  <c:v>5800434</c:v>
                </c:pt>
                <c:pt idx="17296">
                  <c:v>8925012</c:v>
                </c:pt>
                <c:pt idx="17297">
                  <c:v>8119320</c:v>
                </c:pt>
                <c:pt idx="17298">
                  <c:v>16682408</c:v>
                </c:pt>
                <c:pt idx="17299">
                  <c:v>10065545</c:v>
                </c:pt>
                <c:pt idx="17300">
                  <c:v>23563266</c:v>
                </c:pt>
                <c:pt idx="17301">
                  <c:v>294004965</c:v>
                </c:pt>
                <c:pt idx="17302">
                  <c:v>30023440</c:v>
                </c:pt>
                <c:pt idx="17303">
                  <c:v>13883217</c:v>
                </c:pt>
                <c:pt idx="17304">
                  <c:v>14080014</c:v>
                </c:pt>
                <c:pt idx="17305">
                  <c:v>39706240</c:v>
                </c:pt>
                <c:pt idx="17306">
                  <c:v>2028212</c:v>
                </c:pt>
                <c:pt idx="17307">
                  <c:v>46578342</c:v>
                </c:pt>
                <c:pt idx="17308">
                  <c:v>6002280</c:v>
                </c:pt>
                <c:pt idx="17309">
                  <c:v>9840384</c:v>
                </c:pt>
                <c:pt idx="17310">
                  <c:v>7398825</c:v>
                </c:pt>
                <c:pt idx="17311">
                  <c:v>29485494</c:v>
                </c:pt>
                <c:pt idx="17312">
                  <c:v>17294046</c:v>
                </c:pt>
                <c:pt idx="17313">
                  <c:v>11765880</c:v>
                </c:pt>
                <c:pt idx="17314">
                  <c:v>27488735</c:v>
                </c:pt>
                <c:pt idx="17315">
                  <c:v>8280010</c:v>
                </c:pt>
                <c:pt idx="17316">
                  <c:v>5972508</c:v>
                </c:pt>
                <c:pt idx="17317">
                  <c:v>19334100</c:v>
                </c:pt>
                <c:pt idx="17318">
                  <c:v>46562592</c:v>
                </c:pt>
                <c:pt idx="17319">
                  <c:v>60444596</c:v>
                </c:pt>
                <c:pt idx="17320">
                  <c:v>9530400</c:v>
                </c:pt>
                <c:pt idx="17321">
                  <c:v>52596810</c:v>
                </c:pt>
                <c:pt idx="17322">
                  <c:v>48568395</c:v>
                </c:pt>
                <c:pt idx="17323">
                  <c:v>3314790</c:v>
                </c:pt>
                <c:pt idx="17324">
                  <c:v>5817968</c:v>
                </c:pt>
                <c:pt idx="17325">
                  <c:v>24026398</c:v>
                </c:pt>
                <c:pt idx="17326">
                  <c:v>10864935</c:v>
                </c:pt>
                <c:pt idx="17327">
                  <c:v>4559914</c:v>
                </c:pt>
                <c:pt idx="17328">
                  <c:v>27339799</c:v>
                </c:pt>
                <c:pt idx="17329">
                  <c:v>3406912</c:v>
                </c:pt>
                <c:pt idx="17330">
                  <c:v>436188726</c:v>
                </c:pt>
                <c:pt idx="17331">
                  <c:v>14115664</c:v>
                </c:pt>
                <c:pt idx="17332">
                  <c:v>33908145</c:v>
                </c:pt>
                <c:pt idx="17333">
                  <c:v>31572002</c:v>
                </c:pt>
                <c:pt idx="17334">
                  <c:v>8934866</c:v>
                </c:pt>
                <c:pt idx="17335">
                  <c:v>261874698</c:v>
                </c:pt>
                <c:pt idx="17336">
                  <c:v>340305490</c:v>
                </c:pt>
                <c:pt idx="17337">
                  <c:v>13205730</c:v>
                </c:pt>
                <c:pt idx="17338">
                  <c:v>33051548</c:v>
                </c:pt>
                <c:pt idx="17339">
                  <c:v>3647112</c:v>
                </c:pt>
                <c:pt idx="17340">
                  <c:v>26879010</c:v>
                </c:pt>
                <c:pt idx="17341">
                  <c:v>46828117</c:v>
                </c:pt>
                <c:pt idx="17342">
                  <c:v>30833595</c:v>
                </c:pt>
                <c:pt idx="17343">
                  <c:v>39006252</c:v>
                </c:pt>
                <c:pt idx="17344">
                  <c:v>2222398</c:v>
                </c:pt>
                <c:pt idx="17345">
                  <c:v>27168690</c:v>
                </c:pt>
                <c:pt idx="17346">
                  <c:v>13929668</c:v>
                </c:pt>
                <c:pt idx="17347">
                  <c:v>15861069</c:v>
                </c:pt>
                <c:pt idx="17348">
                  <c:v>19980628</c:v>
                </c:pt>
                <c:pt idx="17349">
                  <c:v>29532992</c:v>
                </c:pt>
                <c:pt idx="17350">
                  <c:v>24054654</c:v>
                </c:pt>
                <c:pt idx="17351">
                  <c:v>43556304</c:v>
                </c:pt>
                <c:pt idx="17352">
                  <c:v>22703933</c:v>
                </c:pt>
                <c:pt idx="17353">
                  <c:v>17975826</c:v>
                </c:pt>
                <c:pt idx="17354">
                  <c:v>20728260</c:v>
                </c:pt>
                <c:pt idx="17355">
                  <c:v>76724715</c:v>
                </c:pt>
                <c:pt idx="17356">
                  <c:v>178994321</c:v>
                </c:pt>
                <c:pt idx="17357">
                  <c:v>20652128</c:v>
                </c:pt>
                <c:pt idx="17358">
                  <c:v>1892800</c:v>
                </c:pt>
                <c:pt idx="17359">
                  <c:v>2632096</c:v>
                </c:pt>
                <c:pt idx="17360">
                  <c:v>16148790</c:v>
                </c:pt>
                <c:pt idx="17361">
                  <c:v>27914360</c:v>
                </c:pt>
                <c:pt idx="17362">
                  <c:v>8571948</c:v>
                </c:pt>
                <c:pt idx="17363">
                  <c:v>10638332</c:v>
                </c:pt>
                <c:pt idx="17364">
                  <c:v>16139655</c:v>
                </c:pt>
                <c:pt idx="17365">
                  <c:v>10784173</c:v>
                </c:pt>
                <c:pt idx="17366">
                  <c:v>70879578</c:v>
                </c:pt>
                <c:pt idx="17367">
                  <c:v>153593040</c:v>
                </c:pt>
                <c:pt idx="17368">
                  <c:v>47206224</c:v>
                </c:pt>
                <c:pt idx="17369">
                  <c:v>47875516</c:v>
                </c:pt>
                <c:pt idx="17370">
                  <c:v>64987944</c:v>
                </c:pt>
                <c:pt idx="17371">
                  <c:v>128571188</c:v>
                </c:pt>
                <c:pt idx="17372">
                  <c:v>532070910</c:v>
                </c:pt>
                <c:pt idx="17373">
                  <c:v>687261600</c:v>
                </c:pt>
                <c:pt idx="17374">
                  <c:v>21988680</c:v>
                </c:pt>
                <c:pt idx="17375">
                  <c:v>38505838</c:v>
                </c:pt>
                <c:pt idx="17376">
                  <c:v>174742796</c:v>
                </c:pt>
                <c:pt idx="17377">
                  <c:v>44320770</c:v>
                </c:pt>
                <c:pt idx="17378">
                  <c:v>39622125</c:v>
                </c:pt>
                <c:pt idx="17379">
                  <c:v>33860968</c:v>
                </c:pt>
                <c:pt idx="17380">
                  <c:v>46785700</c:v>
                </c:pt>
                <c:pt idx="17381">
                  <c:v>60623750</c:v>
                </c:pt>
                <c:pt idx="17382">
                  <c:v>83209280</c:v>
                </c:pt>
                <c:pt idx="17383">
                  <c:v>210358276</c:v>
                </c:pt>
                <c:pt idx="17384">
                  <c:v>22659574</c:v>
                </c:pt>
                <c:pt idx="17385">
                  <c:v>99728562</c:v>
                </c:pt>
                <c:pt idx="17386">
                  <c:v>44622942</c:v>
                </c:pt>
                <c:pt idx="17387">
                  <c:v>7318976</c:v>
                </c:pt>
                <c:pt idx="17388">
                  <c:v>90927750</c:v>
                </c:pt>
                <c:pt idx="17389">
                  <c:v>60266784</c:v>
                </c:pt>
                <c:pt idx="17390">
                  <c:v>103593852</c:v>
                </c:pt>
                <c:pt idx="17391">
                  <c:v>34224012</c:v>
                </c:pt>
                <c:pt idx="17392">
                  <c:v>319020324</c:v>
                </c:pt>
                <c:pt idx="17393">
                  <c:v>242314173</c:v>
                </c:pt>
                <c:pt idx="17394">
                  <c:v>33921872</c:v>
                </c:pt>
                <c:pt idx="17395">
                  <c:v>32662576</c:v>
                </c:pt>
                <c:pt idx="17396">
                  <c:v>19079883</c:v>
                </c:pt>
                <c:pt idx="17397">
                  <c:v>30153870</c:v>
                </c:pt>
                <c:pt idx="17398">
                  <c:v>92536641</c:v>
                </c:pt>
                <c:pt idx="17399">
                  <c:v>124558456</c:v>
                </c:pt>
                <c:pt idx="17400">
                  <c:v>11122225</c:v>
                </c:pt>
                <c:pt idx="17401">
                  <c:v>259475454</c:v>
                </c:pt>
                <c:pt idx="17402">
                  <c:v>47963056</c:v>
                </c:pt>
                <c:pt idx="17403">
                  <c:v>32178612</c:v>
                </c:pt>
                <c:pt idx="17404">
                  <c:v>31587480</c:v>
                </c:pt>
                <c:pt idx="17405">
                  <c:v>8528100</c:v>
                </c:pt>
                <c:pt idx="17406">
                  <c:v>45998080</c:v>
                </c:pt>
                <c:pt idx="17407">
                  <c:v>401715888</c:v>
                </c:pt>
                <c:pt idx="17408">
                  <c:v>11842744</c:v>
                </c:pt>
                <c:pt idx="17409">
                  <c:v>7725438</c:v>
                </c:pt>
                <c:pt idx="17410">
                  <c:v>74790617</c:v>
                </c:pt>
                <c:pt idx="17411">
                  <c:v>24301589</c:v>
                </c:pt>
                <c:pt idx="17412">
                  <c:v>59992064</c:v>
                </c:pt>
                <c:pt idx="17413">
                  <c:v>6744639</c:v>
                </c:pt>
                <c:pt idx="17414">
                  <c:v>62539954</c:v>
                </c:pt>
                <c:pt idx="17415">
                  <c:v>50734452</c:v>
                </c:pt>
                <c:pt idx="17416">
                  <c:v>3739584</c:v>
                </c:pt>
                <c:pt idx="17417">
                  <c:v>33190704</c:v>
                </c:pt>
                <c:pt idx="17418">
                  <c:v>26342279</c:v>
                </c:pt>
                <c:pt idx="17419">
                  <c:v>252210578</c:v>
                </c:pt>
                <c:pt idx="17420">
                  <c:v>9698535</c:v>
                </c:pt>
                <c:pt idx="17421">
                  <c:v>40732860</c:v>
                </c:pt>
                <c:pt idx="17422">
                  <c:v>61713624</c:v>
                </c:pt>
                <c:pt idx="17423">
                  <c:v>335426740</c:v>
                </c:pt>
                <c:pt idx="17424">
                  <c:v>35860276</c:v>
                </c:pt>
                <c:pt idx="17425">
                  <c:v>105110320</c:v>
                </c:pt>
                <c:pt idx="17426">
                  <c:v>21814005</c:v>
                </c:pt>
                <c:pt idx="17427">
                  <c:v>14078944</c:v>
                </c:pt>
                <c:pt idx="17428">
                  <c:v>65476291</c:v>
                </c:pt>
                <c:pt idx="17429">
                  <c:v>18178576</c:v>
                </c:pt>
                <c:pt idx="17430">
                  <c:v>41929404</c:v>
                </c:pt>
                <c:pt idx="17431">
                  <c:v>662886994</c:v>
                </c:pt>
                <c:pt idx="17432">
                  <c:v>1118297300</c:v>
                </c:pt>
                <c:pt idx="17433">
                  <c:v>677042934</c:v>
                </c:pt>
                <c:pt idx="17434">
                  <c:v>805568192</c:v>
                </c:pt>
                <c:pt idx="17435">
                  <c:v>1677517677</c:v>
                </c:pt>
                <c:pt idx="17436">
                  <c:v>310884743</c:v>
                </c:pt>
                <c:pt idx="17437">
                  <c:v>1694787936</c:v>
                </c:pt>
                <c:pt idx="17438">
                  <c:v>815585474</c:v>
                </c:pt>
                <c:pt idx="17439">
                  <c:v>849288865</c:v>
                </c:pt>
                <c:pt idx="17440">
                  <c:v>78962226</c:v>
                </c:pt>
                <c:pt idx="17441">
                  <c:v>11852772</c:v>
                </c:pt>
                <c:pt idx="17442">
                  <c:v>3348813</c:v>
                </c:pt>
                <c:pt idx="17443">
                  <c:v>46763360</c:v>
                </c:pt>
                <c:pt idx="17444">
                  <c:v>5732373</c:v>
                </c:pt>
                <c:pt idx="17445">
                  <c:v>12919095</c:v>
                </c:pt>
                <c:pt idx="17446">
                  <c:v>14589536</c:v>
                </c:pt>
                <c:pt idx="17447">
                  <c:v>34270404</c:v>
                </c:pt>
                <c:pt idx="17448">
                  <c:v>28448883</c:v>
                </c:pt>
                <c:pt idx="17449">
                  <c:v>41195340</c:v>
                </c:pt>
                <c:pt idx="17450">
                  <c:v>9543624</c:v>
                </c:pt>
                <c:pt idx="17451">
                  <c:v>47781084</c:v>
                </c:pt>
                <c:pt idx="17452">
                  <c:v>53261712</c:v>
                </c:pt>
                <c:pt idx="17453">
                  <c:v>6963770</c:v>
                </c:pt>
                <c:pt idx="17454">
                  <c:v>55492647</c:v>
                </c:pt>
                <c:pt idx="17455">
                  <c:v>34080480</c:v>
                </c:pt>
                <c:pt idx="17456">
                  <c:v>9384270</c:v>
                </c:pt>
                <c:pt idx="17457">
                  <c:v>40317732</c:v>
                </c:pt>
                <c:pt idx="17458">
                  <c:v>25883514</c:v>
                </c:pt>
                <c:pt idx="17459">
                  <c:v>12555976</c:v>
                </c:pt>
                <c:pt idx="17460">
                  <c:v>12986556</c:v>
                </c:pt>
                <c:pt idx="17461">
                  <c:v>28262283</c:v>
                </c:pt>
                <c:pt idx="17462">
                  <c:v>11325340</c:v>
                </c:pt>
                <c:pt idx="17463">
                  <c:v>17238132</c:v>
                </c:pt>
                <c:pt idx="17464">
                  <c:v>4278895</c:v>
                </c:pt>
                <c:pt idx="17465">
                  <c:v>7716024</c:v>
                </c:pt>
                <c:pt idx="17466">
                  <c:v>7427625</c:v>
                </c:pt>
                <c:pt idx="17467">
                  <c:v>30345510</c:v>
                </c:pt>
                <c:pt idx="17468">
                  <c:v>28208180</c:v>
                </c:pt>
                <c:pt idx="17469">
                  <c:v>181326285</c:v>
                </c:pt>
                <c:pt idx="17470">
                  <c:v>9375175</c:v>
                </c:pt>
                <c:pt idx="17471">
                  <c:v>5891820</c:v>
                </c:pt>
                <c:pt idx="17472">
                  <c:v>21823665</c:v>
                </c:pt>
                <c:pt idx="17473">
                  <c:v>32208385</c:v>
                </c:pt>
                <c:pt idx="17474">
                  <c:v>15229382</c:v>
                </c:pt>
                <c:pt idx="17475">
                  <c:v>124403633</c:v>
                </c:pt>
                <c:pt idx="17476">
                  <c:v>17503296</c:v>
                </c:pt>
                <c:pt idx="17477">
                  <c:v>8070047</c:v>
                </c:pt>
                <c:pt idx="17478">
                  <c:v>5235972</c:v>
                </c:pt>
                <c:pt idx="17479">
                  <c:v>12591570</c:v>
                </c:pt>
                <c:pt idx="17480">
                  <c:v>16229400</c:v>
                </c:pt>
                <c:pt idx="17481">
                  <c:v>8014930</c:v>
                </c:pt>
                <c:pt idx="17482">
                  <c:v>14757152</c:v>
                </c:pt>
                <c:pt idx="17483">
                  <c:v>3409400</c:v>
                </c:pt>
                <c:pt idx="17484">
                  <c:v>5026228</c:v>
                </c:pt>
                <c:pt idx="17485">
                  <c:v>24117069</c:v>
                </c:pt>
                <c:pt idx="17486">
                  <c:v>80007352</c:v>
                </c:pt>
                <c:pt idx="17487">
                  <c:v>35289870</c:v>
                </c:pt>
                <c:pt idx="17488">
                  <c:v>21450807</c:v>
                </c:pt>
                <c:pt idx="17489">
                  <c:v>33615986</c:v>
                </c:pt>
                <c:pt idx="17490">
                  <c:v>564775029</c:v>
                </c:pt>
                <c:pt idx="17491">
                  <c:v>46253644</c:v>
                </c:pt>
                <c:pt idx="17492">
                  <c:v>29928384</c:v>
                </c:pt>
                <c:pt idx="17493">
                  <c:v>34913970</c:v>
                </c:pt>
                <c:pt idx="17494">
                  <c:v>20801913</c:v>
                </c:pt>
                <c:pt idx="17495">
                  <c:v>34383792</c:v>
                </c:pt>
                <c:pt idx="17496">
                  <c:v>12258442</c:v>
                </c:pt>
                <c:pt idx="17497">
                  <c:v>31249060</c:v>
                </c:pt>
                <c:pt idx="17498">
                  <c:v>9899200</c:v>
                </c:pt>
                <c:pt idx="17499">
                  <c:v>10218048</c:v>
                </c:pt>
                <c:pt idx="17500">
                  <c:v>6453900</c:v>
                </c:pt>
                <c:pt idx="17501">
                  <c:v>15401480</c:v>
                </c:pt>
                <c:pt idx="17502">
                  <c:v>99563321</c:v>
                </c:pt>
                <c:pt idx="17503">
                  <c:v>35214990</c:v>
                </c:pt>
                <c:pt idx="17504">
                  <c:v>9379300</c:v>
                </c:pt>
                <c:pt idx="17505">
                  <c:v>13500080</c:v>
                </c:pt>
                <c:pt idx="17506">
                  <c:v>11777090</c:v>
                </c:pt>
                <c:pt idx="17507">
                  <c:v>21814672</c:v>
                </c:pt>
                <c:pt idx="17508">
                  <c:v>25439565</c:v>
                </c:pt>
                <c:pt idx="17509">
                  <c:v>6289030</c:v>
                </c:pt>
                <c:pt idx="17510">
                  <c:v>12044640</c:v>
                </c:pt>
                <c:pt idx="17511">
                  <c:v>6195705</c:v>
                </c:pt>
                <c:pt idx="17512">
                  <c:v>2911384</c:v>
                </c:pt>
                <c:pt idx="17513">
                  <c:v>8050250</c:v>
                </c:pt>
                <c:pt idx="17514">
                  <c:v>38827450</c:v>
                </c:pt>
                <c:pt idx="17515">
                  <c:v>22127976</c:v>
                </c:pt>
                <c:pt idx="17516">
                  <c:v>33139460</c:v>
                </c:pt>
                <c:pt idx="17517">
                  <c:v>453874076</c:v>
                </c:pt>
                <c:pt idx="17518">
                  <c:v>27602971</c:v>
                </c:pt>
                <c:pt idx="17519">
                  <c:v>11685600</c:v>
                </c:pt>
                <c:pt idx="17520">
                  <c:v>51099165</c:v>
                </c:pt>
                <c:pt idx="17521">
                  <c:v>36202426</c:v>
                </c:pt>
                <c:pt idx="17522">
                  <c:v>36999670</c:v>
                </c:pt>
                <c:pt idx="17523">
                  <c:v>18488304</c:v>
                </c:pt>
                <c:pt idx="17524">
                  <c:v>60474705</c:v>
                </c:pt>
                <c:pt idx="17525">
                  <c:v>30734912</c:v>
                </c:pt>
                <c:pt idx="17526">
                  <c:v>20195484</c:v>
                </c:pt>
                <c:pt idx="17527">
                  <c:v>87455329</c:v>
                </c:pt>
                <c:pt idx="17528">
                  <c:v>9326198</c:v>
                </c:pt>
                <c:pt idx="17529">
                  <c:v>39361279</c:v>
                </c:pt>
                <c:pt idx="17530">
                  <c:v>72166761</c:v>
                </c:pt>
                <c:pt idx="17531">
                  <c:v>19101706</c:v>
                </c:pt>
                <c:pt idx="17532">
                  <c:v>14615684</c:v>
                </c:pt>
                <c:pt idx="17533">
                  <c:v>10546137</c:v>
                </c:pt>
                <c:pt idx="17534">
                  <c:v>25877655</c:v>
                </c:pt>
                <c:pt idx="17535">
                  <c:v>28220075</c:v>
                </c:pt>
                <c:pt idx="17536">
                  <c:v>2815785</c:v>
                </c:pt>
                <c:pt idx="17537">
                  <c:v>72684528</c:v>
                </c:pt>
                <c:pt idx="17538">
                  <c:v>18420050</c:v>
                </c:pt>
                <c:pt idx="17539">
                  <c:v>49366590</c:v>
                </c:pt>
                <c:pt idx="17540">
                  <c:v>28010752</c:v>
                </c:pt>
                <c:pt idx="17541">
                  <c:v>33573320</c:v>
                </c:pt>
                <c:pt idx="17542">
                  <c:v>34737550</c:v>
                </c:pt>
                <c:pt idx="17543">
                  <c:v>14488936</c:v>
                </c:pt>
                <c:pt idx="17544">
                  <c:v>1129079175</c:v>
                </c:pt>
                <c:pt idx="17545">
                  <c:v>5395896</c:v>
                </c:pt>
                <c:pt idx="17546">
                  <c:v>7870309</c:v>
                </c:pt>
                <c:pt idx="17547">
                  <c:v>23689955</c:v>
                </c:pt>
                <c:pt idx="17548">
                  <c:v>17018838</c:v>
                </c:pt>
                <c:pt idx="17549">
                  <c:v>2835585</c:v>
                </c:pt>
                <c:pt idx="17550">
                  <c:v>67601079</c:v>
                </c:pt>
                <c:pt idx="17551">
                  <c:v>16163030</c:v>
                </c:pt>
                <c:pt idx="17552">
                  <c:v>32340400</c:v>
                </c:pt>
                <c:pt idx="17553">
                  <c:v>10311257</c:v>
                </c:pt>
                <c:pt idx="17554">
                  <c:v>17147778</c:v>
                </c:pt>
                <c:pt idx="17555">
                  <c:v>49922400</c:v>
                </c:pt>
                <c:pt idx="17556">
                  <c:v>27208792</c:v>
                </c:pt>
                <c:pt idx="17557">
                  <c:v>19813960</c:v>
                </c:pt>
                <c:pt idx="17558">
                  <c:v>17070900</c:v>
                </c:pt>
                <c:pt idx="17559">
                  <c:v>64418744</c:v>
                </c:pt>
                <c:pt idx="17560">
                  <c:v>64152816</c:v>
                </c:pt>
                <c:pt idx="17561">
                  <c:v>14677652</c:v>
                </c:pt>
                <c:pt idx="17562">
                  <c:v>15025212</c:v>
                </c:pt>
                <c:pt idx="17563">
                  <c:v>77007348</c:v>
                </c:pt>
                <c:pt idx="17564">
                  <c:v>5358675</c:v>
                </c:pt>
                <c:pt idx="17565">
                  <c:v>23137680</c:v>
                </c:pt>
                <c:pt idx="17566">
                  <c:v>4468900</c:v>
                </c:pt>
                <c:pt idx="17567">
                  <c:v>17457232</c:v>
                </c:pt>
                <c:pt idx="17568">
                  <c:v>3832306</c:v>
                </c:pt>
                <c:pt idx="17569">
                  <c:v>10688928</c:v>
                </c:pt>
                <c:pt idx="17570">
                  <c:v>18888736</c:v>
                </c:pt>
                <c:pt idx="17571">
                  <c:v>8420648</c:v>
                </c:pt>
                <c:pt idx="17572">
                  <c:v>108815370</c:v>
                </c:pt>
                <c:pt idx="17573">
                  <c:v>17072184</c:v>
                </c:pt>
                <c:pt idx="17574">
                  <c:v>26196048</c:v>
                </c:pt>
                <c:pt idx="17575">
                  <c:v>3654800</c:v>
                </c:pt>
                <c:pt idx="17576">
                  <c:v>5810125</c:v>
                </c:pt>
                <c:pt idx="17577">
                  <c:v>12984842</c:v>
                </c:pt>
                <c:pt idx="17578">
                  <c:v>4852100</c:v>
                </c:pt>
                <c:pt idx="17579">
                  <c:v>32237632</c:v>
                </c:pt>
                <c:pt idx="17580">
                  <c:v>13436931</c:v>
                </c:pt>
                <c:pt idx="17581">
                  <c:v>607861320</c:v>
                </c:pt>
                <c:pt idx="17582">
                  <c:v>5428544</c:v>
                </c:pt>
                <c:pt idx="17583">
                  <c:v>2064192</c:v>
                </c:pt>
                <c:pt idx="17584">
                  <c:v>19692392</c:v>
                </c:pt>
                <c:pt idx="17585">
                  <c:v>29865998</c:v>
                </c:pt>
                <c:pt idx="17586">
                  <c:v>5711628</c:v>
                </c:pt>
                <c:pt idx="17587">
                  <c:v>25596705</c:v>
                </c:pt>
                <c:pt idx="17588">
                  <c:v>123016508</c:v>
                </c:pt>
                <c:pt idx="17589">
                  <c:v>43890792</c:v>
                </c:pt>
                <c:pt idx="17590">
                  <c:v>4503730</c:v>
                </c:pt>
                <c:pt idx="17591">
                  <c:v>15802050</c:v>
                </c:pt>
                <c:pt idx="17592">
                  <c:v>5657316</c:v>
                </c:pt>
                <c:pt idx="17593">
                  <c:v>5053090</c:v>
                </c:pt>
                <c:pt idx="17594">
                  <c:v>9825270</c:v>
                </c:pt>
                <c:pt idx="17595">
                  <c:v>12667428</c:v>
                </c:pt>
                <c:pt idx="17596">
                  <c:v>15462783</c:v>
                </c:pt>
                <c:pt idx="17597">
                  <c:v>47526696</c:v>
                </c:pt>
                <c:pt idx="17598">
                  <c:v>21409440</c:v>
                </c:pt>
                <c:pt idx="17599">
                  <c:v>43721784</c:v>
                </c:pt>
                <c:pt idx="17600">
                  <c:v>17866086</c:v>
                </c:pt>
                <c:pt idx="17601">
                  <c:v>28591941</c:v>
                </c:pt>
                <c:pt idx="17602">
                  <c:v>27991518</c:v>
                </c:pt>
                <c:pt idx="17603">
                  <c:v>18985197</c:v>
                </c:pt>
                <c:pt idx="17604">
                  <c:v>5729325</c:v>
                </c:pt>
                <c:pt idx="17605">
                  <c:v>16908480</c:v>
                </c:pt>
                <c:pt idx="17606">
                  <c:v>13720190</c:v>
                </c:pt>
                <c:pt idx="17607">
                  <c:v>4056492</c:v>
                </c:pt>
                <c:pt idx="17608">
                  <c:v>19574475</c:v>
                </c:pt>
                <c:pt idx="17609">
                  <c:v>100542024</c:v>
                </c:pt>
                <c:pt idx="17610">
                  <c:v>3800720</c:v>
                </c:pt>
                <c:pt idx="17611">
                  <c:v>128333682</c:v>
                </c:pt>
                <c:pt idx="17612">
                  <c:v>18289285</c:v>
                </c:pt>
                <c:pt idx="17613">
                  <c:v>1380213</c:v>
                </c:pt>
                <c:pt idx="17614">
                  <c:v>17704562</c:v>
                </c:pt>
                <c:pt idx="17615">
                  <c:v>61779920</c:v>
                </c:pt>
                <c:pt idx="17616">
                  <c:v>27130803</c:v>
                </c:pt>
                <c:pt idx="17617">
                  <c:v>13732740</c:v>
                </c:pt>
                <c:pt idx="17618">
                  <c:v>24390828</c:v>
                </c:pt>
                <c:pt idx="17619">
                  <c:v>16763670</c:v>
                </c:pt>
                <c:pt idx="17620">
                  <c:v>52065202</c:v>
                </c:pt>
                <c:pt idx="17621">
                  <c:v>7316386</c:v>
                </c:pt>
                <c:pt idx="17622">
                  <c:v>34276200</c:v>
                </c:pt>
                <c:pt idx="17623">
                  <c:v>9667440</c:v>
                </c:pt>
                <c:pt idx="17624">
                  <c:v>4559425</c:v>
                </c:pt>
                <c:pt idx="17625">
                  <c:v>7231059</c:v>
                </c:pt>
                <c:pt idx="17626">
                  <c:v>13308120</c:v>
                </c:pt>
                <c:pt idx="17627">
                  <c:v>7030618</c:v>
                </c:pt>
                <c:pt idx="17628">
                  <c:v>25778064</c:v>
                </c:pt>
                <c:pt idx="17629">
                  <c:v>5885715</c:v>
                </c:pt>
                <c:pt idx="17630">
                  <c:v>2742501</c:v>
                </c:pt>
                <c:pt idx="17631">
                  <c:v>2116896</c:v>
                </c:pt>
                <c:pt idx="17632">
                  <c:v>1293012954</c:v>
                </c:pt>
                <c:pt idx="17633">
                  <c:v>1559288965</c:v>
                </c:pt>
                <c:pt idx="17634">
                  <c:v>513031479</c:v>
                </c:pt>
                <c:pt idx="17635">
                  <c:v>4882400</c:v>
                </c:pt>
                <c:pt idx="17636">
                  <c:v>208963609</c:v>
                </c:pt>
                <c:pt idx="17637">
                  <c:v>267668160</c:v>
                </c:pt>
                <c:pt idx="17638">
                  <c:v>294564802</c:v>
                </c:pt>
                <c:pt idx="17639">
                  <c:v>20971170</c:v>
                </c:pt>
                <c:pt idx="17640">
                  <c:v>4019787</c:v>
                </c:pt>
                <c:pt idx="17641">
                  <c:v>5436067</c:v>
                </c:pt>
                <c:pt idx="17642">
                  <c:v>212451993</c:v>
                </c:pt>
                <c:pt idx="17643">
                  <c:v>52707368</c:v>
                </c:pt>
                <c:pt idx="17644">
                  <c:v>34464157</c:v>
                </c:pt>
                <c:pt idx="17645">
                  <c:v>59663489</c:v>
                </c:pt>
                <c:pt idx="17646">
                  <c:v>53232580</c:v>
                </c:pt>
                <c:pt idx="17647">
                  <c:v>172838588</c:v>
                </c:pt>
                <c:pt idx="17648">
                  <c:v>6971834</c:v>
                </c:pt>
                <c:pt idx="17649">
                  <c:v>35130585</c:v>
                </c:pt>
                <c:pt idx="17650">
                  <c:v>103438728</c:v>
                </c:pt>
                <c:pt idx="17651">
                  <c:v>22209520</c:v>
                </c:pt>
                <c:pt idx="17652">
                  <c:v>36510942</c:v>
                </c:pt>
                <c:pt idx="17653">
                  <c:v>13278260</c:v>
                </c:pt>
                <c:pt idx="17654">
                  <c:v>10413138</c:v>
                </c:pt>
                <c:pt idx="17655">
                  <c:v>126942800</c:v>
                </c:pt>
                <c:pt idx="17656">
                  <c:v>60777954</c:v>
                </c:pt>
                <c:pt idx="17657">
                  <c:v>13039341</c:v>
                </c:pt>
                <c:pt idx="17658">
                  <c:v>11673267</c:v>
                </c:pt>
                <c:pt idx="17659">
                  <c:v>650610952</c:v>
                </c:pt>
                <c:pt idx="17660">
                  <c:v>276637340</c:v>
                </c:pt>
                <c:pt idx="17661">
                  <c:v>12990360</c:v>
                </c:pt>
                <c:pt idx="17662">
                  <c:v>35292141</c:v>
                </c:pt>
                <c:pt idx="17663">
                  <c:v>6161820</c:v>
                </c:pt>
                <c:pt idx="17664">
                  <c:v>62052865</c:v>
                </c:pt>
                <c:pt idx="17665">
                  <c:v>7242170</c:v>
                </c:pt>
                <c:pt idx="17666">
                  <c:v>13253667</c:v>
                </c:pt>
                <c:pt idx="17667">
                  <c:v>48895110</c:v>
                </c:pt>
                <c:pt idx="17668">
                  <c:v>22160809</c:v>
                </c:pt>
                <c:pt idx="17669">
                  <c:v>11788128</c:v>
                </c:pt>
                <c:pt idx="17670">
                  <c:v>14796026</c:v>
                </c:pt>
                <c:pt idx="17671">
                  <c:v>120455244</c:v>
                </c:pt>
                <c:pt idx="17672">
                  <c:v>8543700</c:v>
                </c:pt>
                <c:pt idx="17673">
                  <c:v>12203904</c:v>
                </c:pt>
                <c:pt idx="17674">
                  <c:v>12719046</c:v>
                </c:pt>
                <c:pt idx="17675">
                  <c:v>18523166</c:v>
                </c:pt>
                <c:pt idx="17676">
                  <c:v>17114700</c:v>
                </c:pt>
                <c:pt idx="17677">
                  <c:v>45294012</c:v>
                </c:pt>
                <c:pt idx="17678">
                  <c:v>25583325</c:v>
                </c:pt>
                <c:pt idx="17679">
                  <c:v>11749248</c:v>
                </c:pt>
                <c:pt idx="17680">
                  <c:v>32123816</c:v>
                </c:pt>
                <c:pt idx="17681">
                  <c:v>20205762</c:v>
                </c:pt>
                <c:pt idx="17682">
                  <c:v>10962816</c:v>
                </c:pt>
                <c:pt idx="17683">
                  <c:v>8424033</c:v>
                </c:pt>
                <c:pt idx="17684">
                  <c:v>10786456</c:v>
                </c:pt>
                <c:pt idx="17685">
                  <c:v>39266667</c:v>
                </c:pt>
                <c:pt idx="17686">
                  <c:v>52903588</c:v>
                </c:pt>
                <c:pt idx="17687">
                  <c:v>74724447</c:v>
                </c:pt>
                <c:pt idx="17688">
                  <c:v>7287573</c:v>
                </c:pt>
                <c:pt idx="17689">
                  <c:v>76167910</c:v>
                </c:pt>
                <c:pt idx="17690">
                  <c:v>19972993</c:v>
                </c:pt>
                <c:pt idx="17691">
                  <c:v>5485032</c:v>
                </c:pt>
                <c:pt idx="17692">
                  <c:v>272896734</c:v>
                </c:pt>
                <c:pt idx="17693">
                  <c:v>16873036</c:v>
                </c:pt>
                <c:pt idx="17694">
                  <c:v>15603108</c:v>
                </c:pt>
                <c:pt idx="17695">
                  <c:v>78293400</c:v>
                </c:pt>
                <c:pt idx="17696">
                  <c:v>25292872</c:v>
                </c:pt>
                <c:pt idx="17697">
                  <c:v>38213064</c:v>
                </c:pt>
                <c:pt idx="17698">
                  <c:v>103056690</c:v>
                </c:pt>
                <c:pt idx="17699">
                  <c:v>11470712</c:v>
                </c:pt>
                <c:pt idx="17700">
                  <c:v>2957490</c:v>
                </c:pt>
                <c:pt idx="17701">
                  <c:v>54729546</c:v>
                </c:pt>
                <c:pt idx="17702">
                  <c:v>42232140</c:v>
                </c:pt>
                <c:pt idx="17703">
                  <c:v>8001664</c:v>
                </c:pt>
                <c:pt idx="17704">
                  <c:v>16884119</c:v>
                </c:pt>
                <c:pt idx="17705">
                  <c:v>10010640</c:v>
                </c:pt>
                <c:pt idx="17706">
                  <c:v>10641552</c:v>
                </c:pt>
                <c:pt idx="17707">
                  <c:v>5198128</c:v>
                </c:pt>
                <c:pt idx="17708">
                  <c:v>16895748</c:v>
                </c:pt>
                <c:pt idx="17709">
                  <c:v>275201360</c:v>
                </c:pt>
                <c:pt idx="17710">
                  <c:v>275380886</c:v>
                </c:pt>
                <c:pt idx="17711">
                  <c:v>28595697</c:v>
                </c:pt>
                <c:pt idx="17712">
                  <c:v>1778218116</c:v>
                </c:pt>
                <c:pt idx="17713">
                  <c:v>17240524</c:v>
                </c:pt>
                <c:pt idx="17714">
                  <c:v>38798578</c:v>
                </c:pt>
                <c:pt idx="17715">
                  <c:v>1088215675</c:v>
                </c:pt>
                <c:pt idx="17716">
                  <c:v>1618633588</c:v>
                </c:pt>
                <c:pt idx="17717">
                  <c:v>2034774468</c:v>
                </c:pt>
                <c:pt idx="17718">
                  <c:v>1588691385</c:v>
                </c:pt>
                <c:pt idx="17719">
                  <c:v>439193080</c:v>
                </c:pt>
                <c:pt idx="17720">
                  <c:v>11193344</c:v>
                </c:pt>
                <c:pt idx="17721">
                  <c:v>11623860</c:v>
                </c:pt>
                <c:pt idx="17722">
                  <c:v>17124480</c:v>
                </c:pt>
                <c:pt idx="17723">
                  <c:v>32914836</c:v>
                </c:pt>
                <c:pt idx="17724">
                  <c:v>74541708</c:v>
                </c:pt>
                <c:pt idx="17725">
                  <c:v>6750156</c:v>
                </c:pt>
                <c:pt idx="17726">
                  <c:v>34622016</c:v>
                </c:pt>
                <c:pt idx="17727">
                  <c:v>21450468</c:v>
                </c:pt>
                <c:pt idx="17728">
                  <c:v>26237222</c:v>
                </c:pt>
                <c:pt idx="17729">
                  <c:v>1997385</c:v>
                </c:pt>
                <c:pt idx="17730">
                  <c:v>25011763</c:v>
                </c:pt>
                <c:pt idx="17731">
                  <c:v>12529677</c:v>
                </c:pt>
                <c:pt idx="17732">
                  <c:v>12973720</c:v>
                </c:pt>
                <c:pt idx="17733">
                  <c:v>13556860</c:v>
                </c:pt>
                <c:pt idx="17734">
                  <c:v>176738760</c:v>
                </c:pt>
                <c:pt idx="17735">
                  <c:v>39865896</c:v>
                </c:pt>
                <c:pt idx="17736">
                  <c:v>7798736</c:v>
                </c:pt>
                <c:pt idx="17737">
                  <c:v>18735948</c:v>
                </c:pt>
                <c:pt idx="17738">
                  <c:v>1304704</c:v>
                </c:pt>
                <c:pt idx="17739">
                  <c:v>113586741</c:v>
                </c:pt>
                <c:pt idx="17740">
                  <c:v>6865100</c:v>
                </c:pt>
                <c:pt idx="17741">
                  <c:v>86505080</c:v>
                </c:pt>
                <c:pt idx="17742">
                  <c:v>17060316</c:v>
                </c:pt>
                <c:pt idx="17743">
                  <c:v>28766536</c:v>
                </c:pt>
                <c:pt idx="17744">
                  <c:v>66720059</c:v>
                </c:pt>
                <c:pt idx="17745">
                  <c:v>8354176</c:v>
                </c:pt>
                <c:pt idx="17746">
                  <c:v>14202254</c:v>
                </c:pt>
                <c:pt idx="17747">
                  <c:v>4539797</c:v>
                </c:pt>
                <c:pt idx="17748">
                  <c:v>45071792</c:v>
                </c:pt>
                <c:pt idx="17749">
                  <c:v>15512112</c:v>
                </c:pt>
                <c:pt idx="17750">
                  <c:v>43736490</c:v>
                </c:pt>
                <c:pt idx="17751">
                  <c:v>7641554</c:v>
                </c:pt>
                <c:pt idx="17752">
                  <c:v>60225694</c:v>
                </c:pt>
                <c:pt idx="17753">
                  <c:v>20345668</c:v>
                </c:pt>
                <c:pt idx="17754">
                  <c:v>7044544</c:v>
                </c:pt>
                <c:pt idx="17755">
                  <c:v>5023074</c:v>
                </c:pt>
                <c:pt idx="17756">
                  <c:v>3633984</c:v>
                </c:pt>
                <c:pt idx="17757">
                  <c:v>36169848</c:v>
                </c:pt>
                <c:pt idx="17758">
                  <c:v>31006406</c:v>
                </c:pt>
                <c:pt idx="17759">
                  <c:v>20324850</c:v>
                </c:pt>
                <c:pt idx="17760">
                  <c:v>8123700</c:v>
                </c:pt>
                <c:pt idx="17761">
                  <c:v>82551578</c:v>
                </c:pt>
                <c:pt idx="17762">
                  <c:v>36700360</c:v>
                </c:pt>
                <c:pt idx="17763">
                  <c:v>309890875</c:v>
                </c:pt>
                <c:pt idx="17764">
                  <c:v>1446700</c:v>
                </c:pt>
                <c:pt idx="17765">
                  <c:v>118265038</c:v>
                </c:pt>
                <c:pt idx="17766">
                  <c:v>9449298</c:v>
                </c:pt>
                <c:pt idx="17767">
                  <c:v>146433372</c:v>
                </c:pt>
                <c:pt idx="17768">
                  <c:v>40248125</c:v>
                </c:pt>
                <c:pt idx="17769">
                  <c:v>10706688</c:v>
                </c:pt>
                <c:pt idx="17770">
                  <c:v>44453097</c:v>
                </c:pt>
                <c:pt idx="17771">
                  <c:v>18723072</c:v>
                </c:pt>
                <c:pt idx="17772">
                  <c:v>6949068</c:v>
                </c:pt>
                <c:pt idx="17773">
                  <c:v>9710346</c:v>
                </c:pt>
                <c:pt idx="17774">
                  <c:v>9482824</c:v>
                </c:pt>
                <c:pt idx="17775">
                  <c:v>2982291</c:v>
                </c:pt>
                <c:pt idx="17776">
                  <c:v>76752654</c:v>
                </c:pt>
                <c:pt idx="17777">
                  <c:v>23634828</c:v>
                </c:pt>
                <c:pt idx="17778">
                  <c:v>5827671</c:v>
                </c:pt>
                <c:pt idx="17779">
                  <c:v>15859260</c:v>
                </c:pt>
                <c:pt idx="17780">
                  <c:v>21275466</c:v>
                </c:pt>
                <c:pt idx="17781">
                  <c:v>10219392</c:v>
                </c:pt>
                <c:pt idx="17782">
                  <c:v>16659432</c:v>
                </c:pt>
                <c:pt idx="17783">
                  <c:v>3490914</c:v>
                </c:pt>
                <c:pt idx="17784">
                  <c:v>49223727</c:v>
                </c:pt>
                <c:pt idx="17785">
                  <c:v>12958128</c:v>
                </c:pt>
                <c:pt idx="17786">
                  <c:v>10385944</c:v>
                </c:pt>
                <c:pt idx="17787">
                  <c:v>3951600</c:v>
                </c:pt>
                <c:pt idx="17788">
                  <c:v>4160038</c:v>
                </c:pt>
                <c:pt idx="17789">
                  <c:v>19930436</c:v>
                </c:pt>
                <c:pt idx="17790">
                  <c:v>33649350</c:v>
                </c:pt>
                <c:pt idx="17791">
                  <c:v>100563002</c:v>
                </c:pt>
                <c:pt idx="17792">
                  <c:v>26330857</c:v>
                </c:pt>
                <c:pt idx="17793">
                  <c:v>16383685</c:v>
                </c:pt>
                <c:pt idx="17794">
                  <c:v>26178960</c:v>
                </c:pt>
                <c:pt idx="17795">
                  <c:v>18566448</c:v>
                </c:pt>
                <c:pt idx="17796">
                  <c:v>16767852</c:v>
                </c:pt>
                <c:pt idx="17797">
                  <c:v>4742080</c:v>
                </c:pt>
                <c:pt idx="17798">
                  <c:v>11617368</c:v>
                </c:pt>
                <c:pt idx="17799">
                  <c:v>6788376</c:v>
                </c:pt>
                <c:pt idx="17800">
                  <c:v>3454990</c:v>
                </c:pt>
                <c:pt idx="17801">
                  <c:v>584200674</c:v>
                </c:pt>
                <c:pt idx="17802">
                  <c:v>40180747</c:v>
                </c:pt>
                <c:pt idx="17803">
                  <c:v>9693910</c:v>
                </c:pt>
                <c:pt idx="17804">
                  <c:v>19794208</c:v>
                </c:pt>
                <c:pt idx="17805">
                  <c:v>8297112</c:v>
                </c:pt>
                <c:pt idx="17806">
                  <c:v>110775085</c:v>
                </c:pt>
                <c:pt idx="17807">
                  <c:v>8875104</c:v>
                </c:pt>
                <c:pt idx="17808">
                  <c:v>8691550</c:v>
                </c:pt>
                <c:pt idx="17809">
                  <c:v>55664514</c:v>
                </c:pt>
                <c:pt idx="17810">
                  <c:v>9978530</c:v>
                </c:pt>
                <c:pt idx="17811">
                  <c:v>7308606</c:v>
                </c:pt>
                <c:pt idx="17812">
                  <c:v>10253232</c:v>
                </c:pt>
                <c:pt idx="17813">
                  <c:v>37007992</c:v>
                </c:pt>
                <c:pt idx="17814">
                  <c:v>51220264</c:v>
                </c:pt>
                <c:pt idx="17815">
                  <c:v>29685824</c:v>
                </c:pt>
                <c:pt idx="17816">
                  <c:v>12490065</c:v>
                </c:pt>
                <c:pt idx="17817">
                  <c:v>12036068</c:v>
                </c:pt>
                <c:pt idx="17818">
                  <c:v>7093191</c:v>
                </c:pt>
                <c:pt idx="17819">
                  <c:v>13859164</c:v>
                </c:pt>
                <c:pt idx="17820">
                  <c:v>3997090</c:v>
                </c:pt>
                <c:pt idx="17821">
                  <c:v>10140442</c:v>
                </c:pt>
                <c:pt idx="17822">
                  <c:v>9173922</c:v>
                </c:pt>
                <c:pt idx="17823">
                  <c:v>19406660</c:v>
                </c:pt>
                <c:pt idx="17824">
                  <c:v>33270367</c:v>
                </c:pt>
                <c:pt idx="17825">
                  <c:v>6708525</c:v>
                </c:pt>
                <c:pt idx="17826">
                  <c:v>14580712</c:v>
                </c:pt>
                <c:pt idx="17827">
                  <c:v>18692094</c:v>
                </c:pt>
                <c:pt idx="17828">
                  <c:v>8272607</c:v>
                </c:pt>
                <c:pt idx="17829">
                  <c:v>22448923</c:v>
                </c:pt>
                <c:pt idx="17830">
                  <c:v>18654507</c:v>
                </c:pt>
                <c:pt idx="17831">
                  <c:v>13647600</c:v>
                </c:pt>
                <c:pt idx="17832">
                  <c:v>87181908</c:v>
                </c:pt>
                <c:pt idx="17833">
                  <c:v>5278896</c:v>
                </c:pt>
                <c:pt idx="17834">
                  <c:v>11965400</c:v>
                </c:pt>
                <c:pt idx="17835">
                  <c:v>3648105</c:v>
                </c:pt>
                <c:pt idx="17836">
                  <c:v>9605214</c:v>
                </c:pt>
                <c:pt idx="17837">
                  <c:v>7107700</c:v>
                </c:pt>
                <c:pt idx="17838">
                  <c:v>11896684</c:v>
                </c:pt>
                <c:pt idx="17839">
                  <c:v>30115670</c:v>
                </c:pt>
                <c:pt idx="17840">
                  <c:v>9589140</c:v>
                </c:pt>
                <c:pt idx="17841">
                  <c:v>7138425</c:v>
                </c:pt>
                <c:pt idx="17842">
                  <c:v>10423085</c:v>
                </c:pt>
                <c:pt idx="17843">
                  <c:v>8856960</c:v>
                </c:pt>
                <c:pt idx="17844">
                  <c:v>21435484</c:v>
                </c:pt>
                <c:pt idx="17845">
                  <c:v>11826780</c:v>
                </c:pt>
                <c:pt idx="17846">
                  <c:v>35724830</c:v>
                </c:pt>
                <c:pt idx="17847">
                  <c:v>6263037</c:v>
                </c:pt>
                <c:pt idx="17848">
                  <c:v>6477165</c:v>
                </c:pt>
                <c:pt idx="17849">
                  <c:v>932752078</c:v>
                </c:pt>
                <c:pt idx="17850">
                  <c:v>1754082672</c:v>
                </c:pt>
                <c:pt idx="17851">
                  <c:v>1009341258</c:v>
                </c:pt>
                <c:pt idx="17852">
                  <c:v>36479422</c:v>
                </c:pt>
                <c:pt idx="17853">
                  <c:v>120850093</c:v>
                </c:pt>
                <c:pt idx="17854">
                  <c:v>2491420</c:v>
                </c:pt>
                <c:pt idx="17855">
                  <c:v>5526264</c:v>
                </c:pt>
                <c:pt idx="17856">
                  <c:v>29995504</c:v>
                </c:pt>
                <c:pt idx="17857">
                  <c:v>34014820</c:v>
                </c:pt>
                <c:pt idx="17858">
                  <c:v>17588340</c:v>
                </c:pt>
                <c:pt idx="17859">
                  <c:v>8429707</c:v>
                </c:pt>
                <c:pt idx="17860">
                  <c:v>32574052</c:v>
                </c:pt>
                <c:pt idx="17861">
                  <c:v>15108309</c:v>
                </c:pt>
                <c:pt idx="17862">
                  <c:v>30775628</c:v>
                </c:pt>
                <c:pt idx="17863">
                  <c:v>92229290</c:v>
                </c:pt>
                <c:pt idx="17864">
                  <c:v>17590584</c:v>
                </c:pt>
                <c:pt idx="17865">
                  <c:v>8045856</c:v>
                </c:pt>
                <c:pt idx="17866">
                  <c:v>19655719</c:v>
                </c:pt>
                <c:pt idx="17867">
                  <c:v>136375680</c:v>
                </c:pt>
                <c:pt idx="17868">
                  <c:v>6705765</c:v>
                </c:pt>
                <c:pt idx="17869">
                  <c:v>51445652</c:v>
                </c:pt>
                <c:pt idx="17870">
                  <c:v>1065514107</c:v>
                </c:pt>
                <c:pt idx="17871">
                  <c:v>35580320</c:v>
                </c:pt>
                <c:pt idx="17872">
                  <c:v>11384008</c:v>
                </c:pt>
                <c:pt idx="17873">
                  <c:v>11897431</c:v>
                </c:pt>
                <c:pt idx="17874">
                  <c:v>29826879</c:v>
                </c:pt>
                <c:pt idx="17875">
                  <c:v>10846157</c:v>
                </c:pt>
                <c:pt idx="17876">
                  <c:v>61922198</c:v>
                </c:pt>
                <c:pt idx="17877">
                  <c:v>9384768</c:v>
                </c:pt>
                <c:pt idx="17878">
                  <c:v>15669162</c:v>
                </c:pt>
                <c:pt idx="17879">
                  <c:v>14403720</c:v>
                </c:pt>
                <c:pt idx="17880">
                  <c:v>18707190</c:v>
                </c:pt>
                <c:pt idx="17881">
                  <c:v>10204080</c:v>
                </c:pt>
                <c:pt idx="17882">
                  <c:v>19126198</c:v>
                </c:pt>
                <c:pt idx="17883">
                  <c:v>30824164</c:v>
                </c:pt>
                <c:pt idx="17884">
                  <c:v>52633812</c:v>
                </c:pt>
                <c:pt idx="17885">
                  <c:v>66958052</c:v>
                </c:pt>
                <c:pt idx="17886">
                  <c:v>47296466</c:v>
                </c:pt>
                <c:pt idx="17887">
                  <c:v>8104224</c:v>
                </c:pt>
                <c:pt idx="17888">
                  <c:v>13607565</c:v>
                </c:pt>
                <c:pt idx="17889">
                  <c:v>1041555800</c:v>
                </c:pt>
                <c:pt idx="17890">
                  <c:v>4035008</c:v>
                </c:pt>
                <c:pt idx="17891">
                  <c:v>54159675</c:v>
                </c:pt>
                <c:pt idx="17892">
                  <c:v>63400423</c:v>
                </c:pt>
                <c:pt idx="17893">
                  <c:v>65260116</c:v>
                </c:pt>
                <c:pt idx="17894">
                  <c:v>19539190</c:v>
                </c:pt>
                <c:pt idx="17895">
                  <c:v>14783968</c:v>
                </c:pt>
                <c:pt idx="17896">
                  <c:v>24230380</c:v>
                </c:pt>
                <c:pt idx="17897">
                  <c:v>28708992</c:v>
                </c:pt>
                <c:pt idx="17898">
                  <c:v>5419386</c:v>
                </c:pt>
                <c:pt idx="17899">
                  <c:v>22647762</c:v>
                </c:pt>
                <c:pt idx="17900">
                  <c:v>31370640</c:v>
                </c:pt>
                <c:pt idx="17901">
                  <c:v>30217467</c:v>
                </c:pt>
                <c:pt idx="17902">
                  <c:v>61047012</c:v>
                </c:pt>
                <c:pt idx="17903">
                  <c:v>60332250</c:v>
                </c:pt>
                <c:pt idx="17904">
                  <c:v>1538682</c:v>
                </c:pt>
                <c:pt idx="17905">
                  <c:v>12110967</c:v>
                </c:pt>
                <c:pt idx="17906">
                  <c:v>4461396</c:v>
                </c:pt>
                <c:pt idx="17907">
                  <c:v>33377376</c:v>
                </c:pt>
                <c:pt idx="17908">
                  <c:v>31811928</c:v>
                </c:pt>
                <c:pt idx="17909">
                  <c:v>9081858</c:v>
                </c:pt>
                <c:pt idx="17910">
                  <c:v>18270420</c:v>
                </c:pt>
                <c:pt idx="17911">
                  <c:v>22854601</c:v>
                </c:pt>
                <c:pt idx="17912">
                  <c:v>45017224</c:v>
                </c:pt>
                <c:pt idx="17913">
                  <c:v>27418630</c:v>
                </c:pt>
                <c:pt idx="17914">
                  <c:v>10238128</c:v>
                </c:pt>
                <c:pt idx="17915">
                  <c:v>30061460</c:v>
                </c:pt>
                <c:pt idx="17916">
                  <c:v>15353368</c:v>
                </c:pt>
                <c:pt idx="17917">
                  <c:v>1265245602</c:v>
                </c:pt>
                <c:pt idx="17918">
                  <c:v>820799573</c:v>
                </c:pt>
                <c:pt idx="17919">
                  <c:v>20845056</c:v>
                </c:pt>
                <c:pt idx="17920">
                  <c:v>7040601</c:v>
                </c:pt>
                <c:pt idx="17921">
                  <c:v>4864720</c:v>
                </c:pt>
                <c:pt idx="17922">
                  <c:v>43147512</c:v>
                </c:pt>
                <c:pt idx="17923">
                  <c:v>24247912</c:v>
                </c:pt>
                <c:pt idx="17924">
                  <c:v>56750850</c:v>
                </c:pt>
                <c:pt idx="17925">
                  <c:v>6475638</c:v>
                </c:pt>
                <c:pt idx="17926">
                  <c:v>17282808</c:v>
                </c:pt>
                <c:pt idx="17927">
                  <c:v>7992983</c:v>
                </c:pt>
                <c:pt idx="17928">
                  <c:v>48277476</c:v>
                </c:pt>
                <c:pt idx="17929">
                  <c:v>13923752</c:v>
                </c:pt>
                <c:pt idx="17930">
                  <c:v>16619255</c:v>
                </c:pt>
                <c:pt idx="17931">
                  <c:v>8540590</c:v>
                </c:pt>
                <c:pt idx="17932">
                  <c:v>29639704</c:v>
                </c:pt>
                <c:pt idx="17933">
                  <c:v>14851438</c:v>
                </c:pt>
                <c:pt idx="17934">
                  <c:v>5252280</c:v>
                </c:pt>
                <c:pt idx="17935">
                  <c:v>24517174</c:v>
                </c:pt>
                <c:pt idx="17936">
                  <c:v>32056851</c:v>
                </c:pt>
                <c:pt idx="17937">
                  <c:v>4473791</c:v>
                </c:pt>
                <c:pt idx="17938">
                  <c:v>45128930</c:v>
                </c:pt>
                <c:pt idx="17939">
                  <c:v>14488756</c:v>
                </c:pt>
                <c:pt idx="17940">
                  <c:v>13383615</c:v>
                </c:pt>
                <c:pt idx="17941">
                  <c:v>26701835</c:v>
                </c:pt>
                <c:pt idx="17942">
                  <c:v>11698245</c:v>
                </c:pt>
                <c:pt idx="17943">
                  <c:v>24949717</c:v>
                </c:pt>
                <c:pt idx="17944">
                  <c:v>9551304</c:v>
                </c:pt>
                <c:pt idx="17945">
                  <c:v>23962912</c:v>
                </c:pt>
                <c:pt idx="17946">
                  <c:v>5670129</c:v>
                </c:pt>
                <c:pt idx="17947">
                  <c:v>114258788</c:v>
                </c:pt>
                <c:pt idx="17948">
                  <c:v>13126950</c:v>
                </c:pt>
                <c:pt idx="17949">
                  <c:v>10352258</c:v>
                </c:pt>
                <c:pt idx="17950">
                  <c:v>13945168</c:v>
                </c:pt>
                <c:pt idx="17951">
                  <c:v>50896152</c:v>
                </c:pt>
                <c:pt idx="17952">
                  <c:v>17162590</c:v>
                </c:pt>
                <c:pt idx="17953">
                  <c:v>9395325</c:v>
                </c:pt>
                <c:pt idx="17954">
                  <c:v>48290064</c:v>
                </c:pt>
                <c:pt idx="17955">
                  <c:v>13020546</c:v>
                </c:pt>
                <c:pt idx="17956">
                  <c:v>23068498</c:v>
                </c:pt>
                <c:pt idx="17957">
                  <c:v>16114752</c:v>
                </c:pt>
                <c:pt idx="17958">
                  <c:v>22362158</c:v>
                </c:pt>
                <c:pt idx="17959">
                  <c:v>110041245</c:v>
                </c:pt>
                <c:pt idx="17960">
                  <c:v>52900472</c:v>
                </c:pt>
                <c:pt idx="17961">
                  <c:v>5091670</c:v>
                </c:pt>
                <c:pt idx="17962">
                  <c:v>36506505</c:v>
                </c:pt>
                <c:pt idx="17963">
                  <c:v>13510140</c:v>
                </c:pt>
                <c:pt idx="17964">
                  <c:v>50196121</c:v>
                </c:pt>
                <c:pt idx="17965">
                  <c:v>10287759</c:v>
                </c:pt>
                <c:pt idx="17966">
                  <c:v>19538178</c:v>
                </c:pt>
                <c:pt idx="17967">
                  <c:v>5579896</c:v>
                </c:pt>
                <c:pt idx="17968">
                  <c:v>1385764025</c:v>
                </c:pt>
                <c:pt idx="17969">
                  <c:v>7951768</c:v>
                </c:pt>
                <c:pt idx="17970">
                  <c:v>53049522</c:v>
                </c:pt>
                <c:pt idx="17971">
                  <c:v>10743830</c:v>
                </c:pt>
                <c:pt idx="17972">
                  <c:v>40847360</c:v>
                </c:pt>
                <c:pt idx="17973">
                  <c:v>13291740</c:v>
                </c:pt>
                <c:pt idx="17974">
                  <c:v>33582043</c:v>
                </c:pt>
                <c:pt idx="17975">
                  <c:v>25380432</c:v>
                </c:pt>
                <c:pt idx="17976">
                  <c:v>52554563</c:v>
                </c:pt>
                <c:pt idx="17977">
                  <c:v>77185032</c:v>
                </c:pt>
                <c:pt idx="17978">
                  <c:v>17284386</c:v>
                </c:pt>
                <c:pt idx="17979">
                  <c:v>359141568</c:v>
                </c:pt>
                <c:pt idx="17980">
                  <c:v>54899820</c:v>
                </c:pt>
                <c:pt idx="17981">
                  <c:v>26462820</c:v>
                </c:pt>
                <c:pt idx="17982">
                  <c:v>25966686</c:v>
                </c:pt>
                <c:pt idx="17983">
                  <c:v>8639070</c:v>
                </c:pt>
                <c:pt idx="17984">
                  <c:v>14253561</c:v>
                </c:pt>
                <c:pt idx="17985">
                  <c:v>8025966</c:v>
                </c:pt>
                <c:pt idx="17986">
                  <c:v>83765830</c:v>
                </c:pt>
                <c:pt idx="17987">
                  <c:v>2268896</c:v>
                </c:pt>
                <c:pt idx="17988">
                  <c:v>40916382</c:v>
                </c:pt>
                <c:pt idx="17989">
                  <c:v>12633768</c:v>
                </c:pt>
                <c:pt idx="17990">
                  <c:v>15422118</c:v>
                </c:pt>
                <c:pt idx="17991">
                  <c:v>27058620</c:v>
                </c:pt>
                <c:pt idx="17992">
                  <c:v>162798265</c:v>
                </c:pt>
                <c:pt idx="17993">
                  <c:v>20178584</c:v>
                </c:pt>
                <c:pt idx="17994">
                  <c:v>10882170</c:v>
                </c:pt>
                <c:pt idx="17995">
                  <c:v>5531618</c:v>
                </c:pt>
                <c:pt idx="17996">
                  <c:v>28924048</c:v>
                </c:pt>
                <c:pt idx="17997">
                  <c:v>19625508</c:v>
                </c:pt>
                <c:pt idx="17998">
                  <c:v>26744716</c:v>
                </c:pt>
                <c:pt idx="17999">
                  <c:v>49602480</c:v>
                </c:pt>
                <c:pt idx="18000">
                  <c:v>6686994</c:v>
                </c:pt>
                <c:pt idx="18001">
                  <c:v>12719883</c:v>
                </c:pt>
                <c:pt idx="18002">
                  <c:v>108183375</c:v>
                </c:pt>
                <c:pt idx="18003">
                  <c:v>34969440</c:v>
                </c:pt>
                <c:pt idx="18004">
                  <c:v>82995946</c:v>
                </c:pt>
                <c:pt idx="18005">
                  <c:v>17885898</c:v>
                </c:pt>
                <c:pt idx="18006">
                  <c:v>70930898</c:v>
                </c:pt>
                <c:pt idx="18007">
                  <c:v>32498970</c:v>
                </c:pt>
                <c:pt idx="18008">
                  <c:v>513652536</c:v>
                </c:pt>
                <c:pt idx="18009">
                  <c:v>14501047</c:v>
                </c:pt>
                <c:pt idx="18010">
                  <c:v>460035392</c:v>
                </c:pt>
                <c:pt idx="18011">
                  <c:v>26479481</c:v>
                </c:pt>
                <c:pt idx="18012">
                  <c:v>8456427</c:v>
                </c:pt>
                <c:pt idx="18013">
                  <c:v>8379912</c:v>
                </c:pt>
                <c:pt idx="18014">
                  <c:v>2567306</c:v>
                </c:pt>
                <c:pt idx="18015">
                  <c:v>34019700</c:v>
                </c:pt>
                <c:pt idx="18016">
                  <c:v>2421600</c:v>
                </c:pt>
                <c:pt idx="18017">
                  <c:v>13243950</c:v>
                </c:pt>
                <c:pt idx="18018">
                  <c:v>63273718</c:v>
                </c:pt>
                <c:pt idx="18019">
                  <c:v>9393555</c:v>
                </c:pt>
                <c:pt idx="18020">
                  <c:v>7762408</c:v>
                </c:pt>
                <c:pt idx="18021">
                  <c:v>128848586</c:v>
                </c:pt>
                <c:pt idx="18022">
                  <c:v>22664622</c:v>
                </c:pt>
                <c:pt idx="18023">
                  <c:v>34126071</c:v>
                </c:pt>
                <c:pt idx="18024">
                  <c:v>135465264</c:v>
                </c:pt>
                <c:pt idx="18025">
                  <c:v>10260845</c:v>
                </c:pt>
                <c:pt idx="18026">
                  <c:v>6573160</c:v>
                </c:pt>
                <c:pt idx="18027">
                  <c:v>115969161</c:v>
                </c:pt>
                <c:pt idx="18028">
                  <c:v>32910888</c:v>
                </c:pt>
                <c:pt idx="18029">
                  <c:v>12923124</c:v>
                </c:pt>
                <c:pt idx="18030">
                  <c:v>36494790</c:v>
                </c:pt>
                <c:pt idx="18031">
                  <c:v>8161290</c:v>
                </c:pt>
                <c:pt idx="18032">
                  <c:v>1110297870</c:v>
                </c:pt>
                <c:pt idx="18033">
                  <c:v>1900845087</c:v>
                </c:pt>
                <c:pt idx="18034">
                  <c:v>1095094570</c:v>
                </c:pt>
                <c:pt idx="18035">
                  <c:v>1198043385</c:v>
                </c:pt>
                <c:pt idx="18036">
                  <c:v>92440458</c:v>
                </c:pt>
                <c:pt idx="18037">
                  <c:v>11702364</c:v>
                </c:pt>
                <c:pt idx="18038">
                  <c:v>11742508</c:v>
                </c:pt>
                <c:pt idx="18039">
                  <c:v>36138520</c:v>
                </c:pt>
                <c:pt idx="18040">
                  <c:v>32592230</c:v>
                </c:pt>
                <c:pt idx="18041">
                  <c:v>9983472</c:v>
                </c:pt>
                <c:pt idx="18042">
                  <c:v>63143696</c:v>
                </c:pt>
                <c:pt idx="18043">
                  <c:v>6650898</c:v>
                </c:pt>
                <c:pt idx="18044">
                  <c:v>7029360</c:v>
                </c:pt>
                <c:pt idx="18045">
                  <c:v>10216628</c:v>
                </c:pt>
                <c:pt idx="18046">
                  <c:v>132424422</c:v>
                </c:pt>
                <c:pt idx="18047">
                  <c:v>9699690</c:v>
                </c:pt>
                <c:pt idx="18048">
                  <c:v>11019294</c:v>
                </c:pt>
                <c:pt idx="18049">
                  <c:v>1281504</c:v>
                </c:pt>
                <c:pt idx="18050">
                  <c:v>9893434</c:v>
                </c:pt>
                <c:pt idx="18051">
                  <c:v>27733665</c:v>
                </c:pt>
                <c:pt idx="18052">
                  <c:v>73331750</c:v>
                </c:pt>
                <c:pt idx="18053">
                  <c:v>39255300</c:v>
                </c:pt>
                <c:pt idx="18054">
                  <c:v>8564390</c:v>
                </c:pt>
                <c:pt idx="18055">
                  <c:v>10945266</c:v>
                </c:pt>
                <c:pt idx="18056">
                  <c:v>2823916</c:v>
                </c:pt>
                <c:pt idx="18057">
                  <c:v>13163916</c:v>
                </c:pt>
                <c:pt idx="18058">
                  <c:v>20136736</c:v>
                </c:pt>
                <c:pt idx="18059">
                  <c:v>41426575</c:v>
                </c:pt>
                <c:pt idx="18060">
                  <c:v>262509744</c:v>
                </c:pt>
                <c:pt idx="18061">
                  <c:v>11224896</c:v>
                </c:pt>
                <c:pt idx="18062">
                  <c:v>12453524</c:v>
                </c:pt>
                <c:pt idx="18063">
                  <c:v>351258208</c:v>
                </c:pt>
                <c:pt idx="18064">
                  <c:v>82974108</c:v>
                </c:pt>
                <c:pt idx="18065">
                  <c:v>2116800</c:v>
                </c:pt>
                <c:pt idx="18066">
                  <c:v>39066032</c:v>
                </c:pt>
                <c:pt idx="18067">
                  <c:v>5346810</c:v>
                </c:pt>
                <c:pt idx="18068">
                  <c:v>78715208</c:v>
                </c:pt>
                <c:pt idx="18069">
                  <c:v>19984670</c:v>
                </c:pt>
                <c:pt idx="18070">
                  <c:v>5212944</c:v>
                </c:pt>
                <c:pt idx="18071">
                  <c:v>57962214</c:v>
                </c:pt>
                <c:pt idx="18072">
                  <c:v>260515992</c:v>
                </c:pt>
                <c:pt idx="18073">
                  <c:v>8452224</c:v>
                </c:pt>
                <c:pt idx="18074">
                  <c:v>20120832</c:v>
                </c:pt>
                <c:pt idx="18075">
                  <c:v>8932000</c:v>
                </c:pt>
                <c:pt idx="18076">
                  <c:v>3625076</c:v>
                </c:pt>
                <c:pt idx="18077">
                  <c:v>36666459</c:v>
                </c:pt>
                <c:pt idx="18078">
                  <c:v>2632806</c:v>
                </c:pt>
                <c:pt idx="18079">
                  <c:v>14764559</c:v>
                </c:pt>
                <c:pt idx="18080">
                  <c:v>25974521</c:v>
                </c:pt>
                <c:pt idx="18081">
                  <c:v>28242984</c:v>
                </c:pt>
                <c:pt idx="18082">
                  <c:v>356391585</c:v>
                </c:pt>
                <c:pt idx="18083">
                  <c:v>1027840905</c:v>
                </c:pt>
                <c:pt idx="18084">
                  <c:v>861560986</c:v>
                </c:pt>
                <c:pt idx="18085">
                  <c:v>14606688</c:v>
                </c:pt>
                <c:pt idx="18086">
                  <c:v>48202452</c:v>
                </c:pt>
                <c:pt idx="18087">
                  <c:v>19356174</c:v>
                </c:pt>
                <c:pt idx="18088">
                  <c:v>17097936</c:v>
                </c:pt>
                <c:pt idx="18089">
                  <c:v>100620576</c:v>
                </c:pt>
                <c:pt idx="18090">
                  <c:v>4592000</c:v>
                </c:pt>
                <c:pt idx="18091">
                  <c:v>3531792</c:v>
                </c:pt>
                <c:pt idx="18092">
                  <c:v>5929187</c:v>
                </c:pt>
                <c:pt idx="18093">
                  <c:v>90176190</c:v>
                </c:pt>
                <c:pt idx="18094">
                  <c:v>63841905</c:v>
                </c:pt>
                <c:pt idx="18095">
                  <c:v>107728232</c:v>
                </c:pt>
                <c:pt idx="18096">
                  <c:v>110468160</c:v>
                </c:pt>
                <c:pt idx="18097">
                  <c:v>24205430</c:v>
                </c:pt>
                <c:pt idx="18098">
                  <c:v>4023825</c:v>
                </c:pt>
                <c:pt idx="18099">
                  <c:v>12623352</c:v>
                </c:pt>
                <c:pt idx="18100">
                  <c:v>10232980</c:v>
                </c:pt>
                <c:pt idx="18101">
                  <c:v>35617782</c:v>
                </c:pt>
                <c:pt idx="18102">
                  <c:v>3710736</c:v>
                </c:pt>
                <c:pt idx="18103">
                  <c:v>84800500</c:v>
                </c:pt>
                <c:pt idx="18104">
                  <c:v>66562092</c:v>
                </c:pt>
                <c:pt idx="18105">
                  <c:v>8649610</c:v>
                </c:pt>
                <c:pt idx="18106">
                  <c:v>49947264</c:v>
                </c:pt>
                <c:pt idx="18107">
                  <c:v>16780197</c:v>
                </c:pt>
                <c:pt idx="18108">
                  <c:v>7027375</c:v>
                </c:pt>
                <c:pt idx="18109">
                  <c:v>11816442</c:v>
                </c:pt>
                <c:pt idx="18110">
                  <c:v>9190064</c:v>
                </c:pt>
                <c:pt idx="18111">
                  <c:v>8959440</c:v>
                </c:pt>
                <c:pt idx="18112">
                  <c:v>16959360</c:v>
                </c:pt>
                <c:pt idx="18113">
                  <c:v>13229067</c:v>
                </c:pt>
                <c:pt idx="18114">
                  <c:v>9057070</c:v>
                </c:pt>
                <c:pt idx="18115">
                  <c:v>2904704</c:v>
                </c:pt>
                <c:pt idx="18116">
                  <c:v>269224656</c:v>
                </c:pt>
                <c:pt idx="18117">
                  <c:v>5305743</c:v>
                </c:pt>
                <c:pt idx="18118">
                  <c:v>13620308</c:v>
                </c:pt>
                <c:pt idx="18119">
                  <c:v>4881919</c:v>
                </c:pt>
                <c:pt idx="18120">
                  <c:v>2787103</c:v>
                </c:pt>
                <c:pt idx="18121">
                  <c:v>24132617</c:v>
                </c:pt>
                <c:pt idx="18122">
                  <c:v>3013317</c:v>
                </c:pt>
                <c:pt idx="18123">
                  <c:v>12764771</c:v>
                </c:pt>
                <c:pt idx="18124">
                  <c:v>23566653</c:v>
                </c:pt>
                <c:pt idx="18125">
                  <c:v>99360480</c:v>
                </c:pt>
                <c:pt idx="18126">
                  <c:v>8967068</c:v>
                </c:pt>
                <c:pt idx="18127">
                  <c:v>21503160</c:v>
                </c:pt>
                <c:pt idx="18128">
                  <c:v>15597734</c:v>
                </c:pt>
                <c:pt idx="18129">
                  <c:v>20951949</c:v>
                </c:pt>
                <c:pt idx="18130">
                  <c:v>19915860</c:v>
                </c:pt>
                <c:pt idx="18131">
                  <c:v>3924501</c:v>
                </c:pt>
                <c:pt idx="18132">
                  <c:v>20651280</c:v>
                </c:pt>
                <c:pt idx="18133">
                  <c:v>35108184</c:v>
                </c:pt>
                <c:pt idx="18134">
                  <c:v>31437472</c:v>
                </c:pt>
                <c:pt idx="18135">
                  <c:v>339423524</c:v>
                </c:pt>
                <c:pt idx="18136">
                  <c:v>32271057</c:v>
                </c:pt>
                <c:pt idx="18137">
                  <c:v>50560672</c:v>
                </c:pt>
                <c:pt idx="18138">
                  <c:v>35623709</c:v>
                </c:pt>
                <c:pt idx="18139">
                  <c:v>64502727</c:v>
                </c:pt>
                <c:pt idx="18140">
                  <c:v>12146904</c:v>
                </c:pt>
                <c:pt idx="18141">
                  <c:v>5708900</c:v>
                </c:pt>
                <c:pt idx="18142">
                  <c:v>40323903</c:v>
                </c:pt>
                <c:pt idx="18143">
                  <c:v>13930484</c:v>
                </c:pt>
                <c:pt idx="18144">
                  <c:v>8943660</c:v>
                </c:pt>
                <c:pt idx="18145">
                  <c:v>13420132</c:v>
                </c:pt>
                <c:pt idx="18146">
                  <c:v>4933478</c:v>
                </c:pt>
                <c:pt idx="18147">
                  <c:v>78994938</c:v>
                </c:pt>
                <c:pt idx="18148">
                  <c:v>11708264</c:v>
                </c:pt>
                <c:pt idx="18149">
                  <c:v>7839486</c:v>
                </c:pt>
                <c:pt idx="18150">
                  <c:v>5549434</c:v>
                </c:pt>
                <c:pt idx="18151">
                  <c:v>1687812</c:v>
                </c:pt>
                <c:pt idx="18152">
                  <c:v>1258891060</c:v>
                </c:pt>
                <c:pt idx="18153">
                  <c:v>1050444306</c:v>
                </c:pt>
                <c:pt idx="18154">
                  <c:v>10051760</c:v>
                </c:pt>
                <c:pt idx="18155">
                  <c:v>61618470</c:v>
                </c:pt>
                <c:pt idx="18156">
                  <c:v>16712780</c:v>
                </c:pt>
                <c:pt idx="18157">
                  <c:v>224488768</c:v>
                </c:pt>
                <c:pt idx="18158">
                  <c:v>228519445</c:v>
                </c:pt>
                <c:pt idx="18159">
                  <c:v>15068664</c:v>
                </c:pt>
                <c:pt idx="18160">
                  <c:v>34196058</c:v>
                </c:pt>
                <c:pt idx="18161">
                  <c:v>2896810</c:v>
                </c:pt>
                <c:pt idx="18162">
                  <c:v>28870543</c:v>
                </c:pt>
                <c:pt idx="18163">
                  <c:v>130406792</c:v>
                </c:pt>
                <c:pt idx="18164">
                  <c:v>43652367</c:v>
                </c:pt>
                <c:pt idx="18165">
                  <c:v>14266725</c:v>
                </c:pt>
                <c:pt idx="18166">
                  <c:v>16269890</c:v>
                </c:pt>
                <c:pt idx="18167">
                  <c:v>986225280</c:v>
                </c:pt>
                <c:pt idx="18168">
                  <c:v>6933024</c:v>
                </c:pt>
                <c:pt idx="18169">
                  <c:v>262716560</c:v>
                </c:pt>
                <c:pt idx="18170">
                  <c:v>835607232</c:v>
                </c:pt>
                <c:pt idx="18171">
                  <c:v>1703949100</c:v>
                </c:pt>
                <c:pt idx="18172">
                  <c:v>133099208</c:v>
                </c:pt>
                <c:pt idx="18173">
                  <c:v>1762645153</c:v>
                </c:pt>
                <c:pt idx="18174">
                  <c:v>15731928</c:v>
                </c:pt>
                <c:pt idx="18175">
                  <c:v>105276348</c:v>
                </c:pt>
                <c:pt idx="18176">
                  <c:v>220930062</c:v>
                </c:pt>
                <c:pt idx="18177">
                  <c:v>7985945</c:v>
                </c:pt>
                <c:pt idx="18178">
                  <c:v>11604744</c:v>
                </c:pt>
                <c:pt idx="18179">
                  <c:v>76780632</c:v>
                </c:pt>
                <c:pt idx="18180">
                  <c:v>81004800</c:v>
                </c:pt>
                <c:pt idx="18181">
                  <c:v>2720799</c:v>
                </c:pt>
                <c:pt idx="18182">
                  <c:v>6060896</c:v>
                </c:pt>
                <c:pt idx="18183">
                  <c:v>5420912</c:v>
                </c:pt>
                <c:pt idx="18184">
                  <c:v>6698260</c:v>
                </c:pt>
                <c:pt idx="18185">
                  <c:v>7070108</c:v>
                </c:pt>
                <c:pt idx="18186">
                  <c:v>8470920</c:v>
                </c:pt>
                <c:pt idx="18187">
                  <c:v>15747314</c:v>
                </c:pt>
                <c:pt idx="18188">
                  <c:v>195988320</c:v>
                </c:pt>
                <c:pt idx="18189">
                  <c:v>3799093</c:v>
                </c:pt>
                <c:pt idx="18190">
                  <c:v>4586016</c:v>
                </c:pt>
                <c:pt idx="18191">
                  <c:v>4754295</c:v>
                </c:pt>
                <c:pt idx="18192">
                  <c:v>8214690</c:v>
                </c:pt>
                <c:pt idx="18193">
                  <c:v>57703974</c:v>
                </c:pt>
                <c:pt idx="18194">
                  <c:v>10278252</c:v>
                </c:pt>
                <c:pt idx="18195">
                  <c:v>3954676</c:v>
                </c:pt>
                <c:pt idx="18196">
                  <c:v>120899832</c:v>
                </c:pt>
                <c:pt idx="18197">
                  <c:v>33094296</c:v>
                </c:pt>
                <c:pt idx="18198">
                  <c:v>3845380</c:v>
                </c:pt>
                <c:pt idx="18199">
                  <c:v>62184857</c:v>
                </c:pt>
                <c:pt idx="18200">
                  <c:v>111084148</c:v>
                </c:pt>
                <c:pt idx="18201">
                  <c:v>9569536</c:v>
                </c:pt>
                <c:pt idx="18202">
                  <c:v>14309608</c:v>
                </c:pt>
                <c:pt idx="18203">
                  <c:v>9275375</c:v>
                </c:pt>
                <c:pt idx="18204">
                  <c:v>995136310</c:v>
                </c:pt>
                <c:pt idx="18205">
                  <c:v>649739736</c:v>
                </c:pt>
                <c:pt idx="18206">
                  <c:v>766622157</c:v>
                </c:pt>
                <c:pt idx="18207">
                  <c:v>296277904</c:v>
                </c:pt>
                <c:pt idx="18208">
                  <c:v>847157130</c:v>
                </c:pt>
                <c:pt idx="18209">
                  <c:v>65415852</c:v>
                </c:pt>
                <c:pt idx="18210">
                  <c:v>71095401</c:v>
                </c:pt>
                <c:pt idx="18211">
                  <c:v>63688288</c:v>
                </c:pt>
                <c:pt idx="18212">
                  <c:v>39325824</c:v>
                </c:pt>
                <c:pt idx="18213">
                  <c:v>80483700</c:v>
                </c:pt>
                <c:pt idx="18214">
                  <c:v>18289674</c:v>
                </c:pt>
                <c:pt idx="18215">
                  <c:v>8430300</c:v>
                </c:pt>
                <c:pt idx="18216">
                  <c:v>213402631</c:v>
                </c:pt>
                <c:pt idx="18217">
                  <c:v>92175600</c:v>
                </c:pt>
                <c:pt idx="18218">
                  <c:v>10933476</c:v>
                </c:pt>
                <c:pt idx="18219">
                  <c:v>35689401</c:v>
                </c:pt>
                <c:pt idx="18220">
                  <c:v>203420844</c:v>
                </c:pt>
                <c:pt idx="18221">
                  <c:v>90375075</c:v>
                </c:pt>
                <c:pt idx="18222">
                  <c:v>10604165</c:v>
                </c:pt>
                <c:pt idx="18223">
                  <c:v>439036880</c:v>
                </c:pt>
                <c:pt idx="18224">
                  <c:v>12594240</c:v>
                </c:pt>
                <c:pt idx="18225">
                  <c:v>12194050</c:v>
                </c:pt>
                <c:pt idx="18226">
                  <c:v>17296092</c:v>
                </c:pt>
                <c:pt idx="18227">
                  <c:v>26001452</c:v>
                </c:pt>
                <c:pt idx="18228">
                  <c:v>44064836</c:v>
                </c:pt>
                <c:pt idx="18229">
                  <c:v>198016156</c:v>
                </c:pt>
                <c:pt idx="18230">
                  <c:v>27473985</c:v>
                </c:pt>
                <c:pt idx="18231">
                  <c:v>7055358</c:v>
                </c:pt>
                <c:pt idx="18232">
                  <c:v>4534190</c:v>
                </c:pt>
                <c:pt idx="18233">
                  <c:v>43579979</c:v>
                </c:pt>
                <c:pt idx="18234">
                  <c:v>99502359</c:v>
                </c:pt>
                <c:pt idx="18235">
                  <c:v>351954060</c:v>
                </c:pt>
                <c:pt idx="18236">
                  <c:v>131558340</c:v>
                </c:pt>
                <c:pt idx="18237">
                  <c:v>89579908</c:v>
                </c:pt>
                <c:pt idx="18238">
                  <c:v>38702232</c:v>
                </c:pt>
                <c:pt idx="18239">
                  <c:v>74399964</c:v>
                </c:pt>
                <c:pt idx="18240">
                  <c:v>440085825</c:v>
                </c:pt>
                <c:pt idx="18241">
                  <c:v>12734826</c:v>
                </c:pt>
                <c:pt idx="18242">
                  <c:v>52321640</c:v>
                </c:pt>
                <c:pt idx="18243">
                  <c:v>78895380</c:v>
                </c:pt>
                <c:pt idx="18244">
                  <c:v>54794517</c:v>
                </c:pt>
                <c:pt idx="18245">
                  <c:v>126290688</c:v>
                </c:pt>
                <c:pt idx="18246">
                  <c:v>1804788755</c:v>
                </c:pt>
                <c:pt idx="18247">
                  <c:v>28646768</c:v>
                </c:pt>
                <c:pt idx="18248">
                  <c:v>346187300</c:v>
                </c:pt>
                <c:pt idx="18249">
                  <c:v>461678802</c:v>
                </c:pt>
                <c:pt idx="18250">
                  <c:v>13475840</c:v>
                </c:pt>
                <c:pt idx="18251">
                  <c:v>11025639</c:v>
                </c:pt>
                <c:pt idx="18252">
                  <c:v>6219720</c:v>
                </c:pt>
                <c:pt idx="18253">
                  <c:v>135614408</c:v>
                </c:pt>
                <c:pt idx="18254">
                  <c:v>17915784</c:v>
                </c:pt>
                <c:pt idx="18255">
                  <c:v>48987877</c:v>
                </c:pt>
                <c:pt idx="18256">
                  <c:v>72276880</c:v>
                </c:pt>
                <c:pt idx="18257">
                  <c:v>245154558</c:v>
                </c:pt>
                <c:pt idx="18258">
                  <c:v>43231760</c:v>
                </c:pt>
                <c:pt idx="18259">
                  <c:v>6791463</c:v>
                </c:pt>
                <c:pt idx="18260">
                  <c:v>18061363</c:v>
                </c:pt>
                <c:pt idx="18261">
                  <c:v>41788562</c:v>
                </c:pt>
                <c:pt idx="18262">
                  <c:v>21380593</c:v>
                </c:pt>
                <c:pt idx="18263">
                  <c:v>82384749</c:v>
                </c:pt>
                <c:pt idx="18264">
                  <c:v>12624512</c:v>
                </c:pt>
                <c:pt idx="18265">
                  <c:v>679601670</c:v>
                </c:pt>
                <c:pt idx="18266">
                  <c:v>1081355030</c:v>
                </c:pt>
                <c:pt idx="18267">
                  <c:v>2147483647</c:v>
                </c:pt>
                <c:pt idx="18268">
                  <c:v>1465601130</c:v>
                </c:pt>
                <c:pt idx="18269">
                  <c:v>1381940350</c:v>
                </c:pt>
                <c:pt idx="18270">
                  <c:v>887218027</c:v>
                </c:pt>
                <c:pt idx="18271">
                  <c:v>2147483647</c:v>
                </c:pt>
                <c:pt idx="18272">
                  <c:v>707624687</c:v>
                </c:pt>
                <c:pt idx="18273">
                  <c:v>1290467430</c:v>
                </c:pt>
                <c:pt idx="18274">
                  <c:v>1989852388</c:v>
                </c:pt>
                <c:pt idx="18275">
                  <c:v>2147483647</c:v>
                </c:pt>
                <c:pt idx="18276">
                  <c:v>2147483647</c:v>
                </c:pt>
                <c:pt idx="18277">
                  <c:v>841781460</c:v>
                </c:pt>
                <c:pt idx="18278">
                  <c:v>401405229</c:v>
                </c:pt>
                <c:pt idx="18279">
                  <c:v>244693440</c:v>
                </c:pt>
                <c:pt idx="18280">
                  <c:v>1067311674</c:v>
                </c:pt>
                <c:pt idx="18281">
                  <c:v>2147483647</c:v>
                </c:pt>
                <c:pt idx="18282">
                  <c:v>980422758</c:v>
                </c:pt>
                <c:pt idx="18283">
                  <c:v>53759560</c:v>
                </c:pt>
                <c:pt idx="18284">
                  <c:v>1725219576</c:v>
                </c:pt>
                <c:pt idx="18285">
                  <c:v>1828346114</c:v>
                </c:pt>
                <c:pt idx="18286">
                  <c:v>360083372</c:v>
                </c:pt>
                <c:pt idx="18287">
                  <c:v>78821731</c:v>
                </c:pt>
                <c:pt idx="18288">
                  <c:v>2147483647</c:v>
                </c:pt>
                <c:pt idx="18289">
                  <c:v>217143948</c:v>
                </c:pt>
                <c:pt idx="18290">
                  <c:v>333526358</c:v>
                </c:pt>
                <c:pt idx="18291">
                  <c:v>305727680</c:v>
                </c:pt>
                <c:pt idx="18292">
                  <c:v>292402440</c:v>
                </c:pt>
                <c:pt idx="18293">
                  <c:v>772176204</c:v>
                </c:pt>
                <c:pt idx="18294">
                  <c:v>2050643637</c:v>
                </c:pt>
                <c:pt idx="18295">
                  <c:v>1547717256</c:v>
                </c:pt>
                <c:pt idx="18296">
                  <c:v>2147483647</c:v>
                </c:pt>
                <c:pt idx="18297">
                  <c:v>2147483647</c:v>
                </c:pt>
                <c:pt idx="18298">
                  <c:v>1286441520</c:v>
                </c:pt>
                <c:pt idx="18299">
                  <c:v>1119070112</c:v>
                </c:pt>
                <c:pt idx="18300">
                  <c:v>1017087360</c:v>
                </c:pt>
                <c:pt idx="18301">
                  <c:v>2147483647</c:v>
                </c:pt>
                <c:pt idx="18302">
                  <c:v>1562246595</c:v>
                </c:pt>
                <c:pt idx="18303">
                  <c:v>1451597952</c:v>
                </c:pt>
                <c:pt idx="18304">
                  <c:v>2147483647</c:v>
                </c:pt>
                <c:pt idx="18305">
                  <c:v>310467852</c:v>
                </c:pt>
                <c:pt idx="18306">
                  <c:v>2147483647</c:v>
                </c:pt>
                <c:pt idx="18307">
                  <c:v>2147483647</c:v>
                </c:pt>
                <c:pt idx="18308">
                  <c:v>661205776</c:v>
                </c:pt>
                <c:pt idx="18309">
                  <c:v>657638016</c:v>
                </c:pt>
                <c:pt idx="18310">
                  <c:v>186351822</c:v>
                </c:pt>
                <c:pt idx="18311">
                  <c:v>43768634</c:v>
                </c:pt>
                <c:pt idx="18312">
                  <c:v>1884747264</c:v>
                </c:pt>
                <c:pt idx="18313">
                  <c:v>1347430932</c:v>
                </c:pt>
                <c:pt idx="18314">
                  <c:v>1322706748</c:v>
                </c:pt>
                <c:pt idx="18315">
                  <c:v>1002929844</c:v>
                </c:pt>
                <c:pt idx="18316">
                  <c:v>414875111</c:v>
                </c:pt>
                <c:pt idx="18317">
                  <c:v>393199290</c:v>
                </c:pt>
                <c:pt idx="18318">
                  <c:v>702437940</c:v>
                </c:pt>
                <c:pt idx="18319">
                  <c:v>1662531500</c:v>
                </c:pt>
                <c:pt idx="18320">
                  <c:v>731125525</c:v>
                </c:pt>
                <c:pt idx="18321">
                  <c:v>2147483647</c:v>
                </c:pt>
                <c:pt idx="18322">
                  <c:v>1437430676</c:v>
                </c:pt>
                <c:pt idx="18323">
                  <c:v>2147483647</c:v>
                </c:pt>
                <c:pt idx="18324">
                  <c:v>2147483647</c:v>
                </c:pt>
                <c:pt idx="18325">
                  <c:v>282155805</c:v>
                </c:pt>
                <c:pt idx="18326">
                  <c:v>406138161</c:v>
                </c:pt>
                <c:pt idx="18327">
                  <c:v>1242111760</c:v>
                </c:pt>
                <c:pt idx="18328">
                  <c:v>875442988</c:v>
                </c:pt>
                <c:pt idx="18329">
                  <c:v>1218013966</c:v>
                </c:pt>
                <c:pt idx="18330">
                  <c:v>1566489147</c:v>
                </c:pt>
                <c:pt idx="18331">
                  <c:v>1848295360</c:v>
                </c:pt>
                <c:pt idx="18332">
                  <c:v>463756368</c:v>
                </c:pt>
                <c:pt idx="18333">
                  <c:v>621092214</c:v>
                </c:pt>
                <c:pt idx="18334">
                  <c:v>1274011356</c:v>
                </c:pt>
                <c:pt idx="18335">
                  <c:v>1140230432</c:v>
                </c:pt>
                <c:pt idx="18336">
                  <c:v>23220784</c:v>
                </c:pt>
                <c:pt idx="18337">
                  <c:v>1095608452</c:v>
                </c:pt>
                <c:pt idx="18338">
                  <c:v>10364970</c:v>
                </c:pt>
                <c:pt idx="18339">
                  <c:v>152317022</c:v>
                </c:pt>
                <c:pt idx="18340">
                  <c:v>15912021</c:v>
                </c:pt>
                <c:pt idx="18341">
                  <c:v>1056384784</c:v>
                </c:pt>
                <c:pt idx="18342">
                  <c:v>786596580</c:v>
                </c:pt>
                <c:pt idx="18343">
                  <c:v>547889132</c:v>
                </c:pt>
                <c:pt idx="18344">
                  <c:v>1343689284</c:v>
                </c:pt>
                <c:pt idx="18345">
                  <c:v>1556403310</c:v>
                </c:pt>
                <c:pt idx="18346">
                  <c:v>1275216216</c:v>
                </c:pt>
                <c:pt idx="18347">
                  <c:v>2147483647</c:v>
                </c:pt>
                <c:pt idx="18348">
                  <c:v>10114416</c:v>
                </c:pt>
                <c:pt idx="18349">
                  <c:v>664009790</c:v>
                </c:pt>
                <c:pt idx="18350">
                  <c:v>483348735</c:v>
                </c:pt>
                <c:pt idx="18351">
                  <c:v>1017923280</c:v>
                </c:pt>
                <c:pt idx="18352">
                  <c:v>1770076992</c:v>
                </c:pt>
                <c:pt idx="18353">
                  <c:v>287647854</c:v>
                </c:pt>
                <c:pt idx="18354">
                  <c:v>310840426</c:v>
                </c:pt>
                <c:pt idx="18355">
                  <c:v>2147483647</c:v>
                </c:pt>
                <c:pt idx="18356">
                  <c:v>1010826476</c:v>
                </c:pt>
                <c:pt idx="18357">
                  <c:v>969138170</c:v>
                </c:pt>
                <c:pt idx="18358">
                  <c:v>1240529260</c:v>
                </c:pt>
                <c:pt idx="18359">
                  <c:v>671921158</c:v>
                </c:pt>
                <c:pt idx="18360">
                  <c:v>3140118</c:v>
                </c:pt>
                <c:pt idx="18361">
                  <c:v>91311616</c:v>
                </c:pt>
                <c:pt idx="18362">
                  <c:v>81632547</c:v>
                </c:pt>
                <c:pt idx="18363">
                  <c:v>2147483647</c:v>
                </c:pt>
                <c:pt idx="18364">
                  <c:v>60943080</c:v>
                </c:pt>
                <c:pt idx="18365">
                  <c:v>181568160</c:v>
                </c:pt>
                <c:pt idx="18366">
                  <c:v>457322160</c:v>
                </c:pt>
                <c:pt idx="18367">
                  <c:v>561314250</c:v>
                </c:pt>
                <c:pt idx="18368">
                  <c:v>764861658</c:v>
                </c:pt>
                <c:pt idx="18369">
                  <c:v>216458586</c:v>
                </c:pt>
                <c:pt idx="18370">
                  <c:v>1174909008</c:v>
                </c:pt>
                <c:pt idx="18371">
                  <c:v>125125932</c:v>
                </c:pt>
                <c:pt idx="18372">
                  <c:v>604004765</c:v>
                </c:pt>
                <c:pt idx="18373">
                  <c:v>229819780</c:v>
                </c:pt>
                <c:pt idx="18374">
                  <c:v>158933953</c:v>
                </c:pt>
                <c:pt idx="18375">
                  <c:v>534299524</c:v>
                </c:pt>
                <c:pt idx="18376">
                  <c:v>91411580</c:v>
                </c:pt>
                <c:pt idx="18377">
                  <c:v>1159964824</c:v>
                </c:pt>
                <c:pt idx="18378">
                  <c:v>282443436</c:v>
                </c:pt>
                <c:pt idx="18379">
                  <c:v>1045031078</c:v>
                </c:pt>
                <c:pt idx="18380">
                  <c:v>811712286</c:v>
                </c:pt>
                <c:pt idx="18381">
                  <c:v>1596571720</c:v>
                </c:pt>
                <c:pt idx="18382">
                  <c:v>1762474560</c:v>
                </c:pt>
                <c:pt idx="18383">
                  <c:v>327648285</c:v>
                </c:pt>
                <c:pt idx="18384">
                  <c:v>1092600366</c:v>
                </c:pt>
                <c:pt idx="18385">
                  <c:v>782268223</c:v>
                </c:pt>
                <c:pt idx="18386">
                  <c:v>56613330</c:v>
                </c:pt>
                <c:pt idx="18387">
                  <c:v>1093262924</c:v>
                </c:pt>
                <c:pt idx="18388">
                  <c:v>168690721</c:v>
                </c:pt>
                <c:pt idx="18389">
                  <c:v>1202775537</c:v>
                </c:pt>
                <c:pt idx="18390">
                  <c:v>1545886431</c:v>
                </c:pt>
                <c:pt idx="18391">
                  <c:v>1675678404</c:v>
                </c:pt>
                <c:pt idx="18392">
                  <c:v>1784481300</c:v>
                </c:pt>
                <c:pt idx="18393">
                  <c:v>659736816</c:v>
                </c:pt>
                <c:pt idx="18394">
                  <c:v>504683136</c:v>
                </c:pt>
                <c:pt idx="18395">
                  <c:v>904392190</c:v>
                </c:pt>
                <c:pt idx="18396">
                  <c:v>1573924352</c:v>
                </c:pt>
                <c:pt idx="18397">
                  <c:v>854774567</c:v>
                </c:pt>
                <c:pt idx="18398">
                  <c:v>201633006</c:v>
                </c:pt>
                <c:pt idx="18399">
                  <c:v>2147483647</c:v>
                </c:pt>
                <c:pt idx="18400">
                  <c:v>1899041856</c:v>
                </c:pt>
                <c:pt idx="18401">
                  <c:v>270955830</c:v>
                </c:pt>
                <c:pt idx="18402">
                  <c:v>201341652</c:v>
                </c:pt>
                <c:pt idx="18403">
                  <c:v>2077848750</c:v>
                </c:pt>
                <c:pt idx="18404">
                  <c:v>970492656</c:v>
                </c:pt>
                <c:pt idx="18405">
                  <c:v>936539712</c:v>
                </c:pt>
                <c:pt idx="18406">
                  <c:v>256977570</c:v>
                </c:pt>
                <c:pt idx="18407">
                  <c:v>1785991680</c:v>
                </c:pt>
                <c:pt idx="18408">
                  <c:v>547880446</c:v>
                </c:pt>
                <c:pt idx="18409">
                  <c:v>816718560</c:v>
                </c:pt>
                <c:pt idx="18410">
                  <c:v>554999886</c:v>
                </c:pt>
                <c:pt idx="18411">
                  <c:v>45297000</c:v>
                </c:pt>
                <c:pt idx="18412">
                  <c:v>197881143</c:v>
                </c:pt>
                <c:pt idx="18413">
                  <c:v>843898930</c:v>
                </c:pt>
                <c:pt idx="18414">
                  <c:v>554347768</c:v>
                </c:pt>
                <c:pt idx="18415">
                  <c:v>1203089158</c:v>
                </c:pt>
                <c:pt idx="18416">
                  <c:v>375124125</c:v>
                </c:pt>
                <c:pt idx="18417">
                  <c:v>361396854</c:v>
                </c:pt>
                <c:pt idx="18418">
                  <c:v>683528983</c:v>
                </c:pt>
                <c:pt idx="18419">
                  <c:v>333957162</c:v>
                </c:pt>
                <c:pt idx="18420">
                  <c:v>489889155</c:v>
                </c:pt>
                <c:pt idx="18421">
                  <c:v>138579531</c:v>
                </c:pt>
                <c:pt idx="18422">
                  <c:v>160827069</c:v>
                </c:pt>
                <c:pt idx="18423">
                  <c:v>591211085</c:v>
                </c:pt>
                <c:pt idx="18424">
                  <c:v>1531488608</c:v>
                </c:pt>
                <c:pt idx="18425">
                  <c:v>76123736</c:v>
                </c:pt>
                <c:pt idx="18426">
                  <c:v>238348026</c:v>
                </c:pt>
                <c:pt idx="18427">
                  <c:v>458010532</c:v>
                </c:pt>
                <c:pt idx="18428">
                  <c:v>217949688</c:v>
                </c:pt>
                <c:pt idx="18429">
                  <c:v>366252768</c:v>
                </c:pt>
                <c:pt idx="18430">
                  <c:v>709499826</c:v>
                </c:pt>
                <c:pt idx="18431">
                  <c:v>1003072664</c:v>
                </c:pt>
                <c:pt idx="18432">
                  <c:v>432585590</c:v>
                </c:pt>
                <c:pt idx="18433">
                  <c:v>361080408</c:v>
                </c:pt>
                <c:pt idx="18434">
                  <c:v>1475078899</c:v>
                </c:pt>
                <c:pt idx="18435">
                  <c:v>418421836</c:v>
                </c:pt>
                <c:pt idx="18436">
                  <c:v>4090200</c:v>
                </c:pt>
                <c:pt idx="18437">
                  <c:v>910404344</c:v>
                </c:pt>
                <c:pt idx="18438">
                  <c:v>1213585032</c:v>
                </c:pt>
                <c:pt idx="18439">
                  <c:v>1683922875</c:v>
                </c:pt>
                <c:pt idx="18440">
                  <c:v>1235292410</c:v>
                </c:pt>
                <c:pt idx="18441">
                  <c:v>549731088</c:v>
                </c:pt>
                <c:pt idx="18442">
                  <c:v>750612220</c:v>
                </c:pt>
                <c:pt idx="18443">
                  <c:v>66502467</c:v>
                </c:pt>
                <c:pt idx="18444">
                  <c:v>432049626</c:v>
                </c:pt>
                <c:pt idx="18445">
                  <c:v>1208787282</c:v>
                </c:pt>
                <c:pt idx="18446">
                  <c:v>598022096</c:v>
                </c:pt>
                <c:pt idx="18447">
                  <c:v>1183192664</c:v>
                </c:pt>
                <c:pt idx="18448">
                  <c:v>428315685</c:v>
                </c:pt>
                <c:pt idx="18449">
                  <c:v>794661056</c:v>
                </c:pt>
                <c:pt idx="18450">
                  <c:v>1608951936</c:v>
                </c:pt>
                <c:pt idx="18451">
                  <c:v>998209860</c:v>
                </c:pt>
                <c:pt idx="18452">
                  <c:v>2068014592</c:v>
                </c:pt>
                <c:pt idx="18453">
                  <c:v>430409793</c:v>
                </c:pt>
                <c:pt idx="18454">
                  <c:v>112195370</c:v>
                </c:pt>
                <c:pt idx="18455">
                  <c:v>435337448</c:v>
                </c:pt>
                <c:pt idx="18456">
                  <c:v>358052910</c:v>
                </c:pt>
                <c:pt idx="18457">
                  <c:v>873254272</c:v>
                </c:pt>
                <c:pt idx="18458">
                  <c:v>48808239</c:v>
                </c:pt>
                <c:pt idx="18459">
                  <c:v>214472556</c:v>
                </c:pt>
                <c:pt idx="18460">
                  <c:v>1704279528</c:v>
                </c:pt>
                <c:pt idx="18461">
                  <c:v>636104700</c:v>
                </c:pt>
                <c:pt idx="18462">
                  <c:v>549836856</c:v>
                </c:pt>
                <c:pt idx="18463">
                  <c:v>670286342</c:v>
                </c:pt>
                <c:pt idx="18464">
                  <c:v>532963164</c:v>
                </c:pt>
                <c:pt idx="18465">
                  <c:v>1235348982</c:v>
                </c:pt>
                <c:pt idx="18466">
                  <c:v>223750254</c:v>
                </c:pt>
                <c:pt idx="18467">
                  <c:v>107895820</c:v>
                </c:pt>
                <c:pt idx="18468">
                  <c:v>14446998</c:v>
                </c:pt>
                <c:pt idx="18469">
                  <c:v>386110920</c:v>
                </c:pt>
                <c:pt idx="18470">
                  <c:v>74410800</c:v>
                </c:pt>
                <c:pt idx="18471">
                  <c:v>641267880</c:v>
                </c:pt>
                <c:pt idx="18472">
                  <c:v>27747104</c:v>
                </c:pt>
                <c:pt idx="18473">
                  <c:v>268502040</c:v>
                </c:pt>
                <c:pt idx="18474">
                  <c:v>73134217</c:v>
                </c:pt>
                <c:pt idx="18475">
                  <c:v>1564638036</c:v>
                </c:pt>
                <c:pt idx="18476">
                  <c:v>469755084</c:v>
                </c:pt>
                <c:pt idx="18477">
                  <c:v>30608316</c:v>
                </c:pt>
                <c:pt idx="18478">
                  <c:v>267089750</c:v>
                </c:pt>
                <c:pt idx="18479">
                  <c:v>400878478</c:v>
                </c:pt>
                <c:pt idx="18480">
                  <c:v>303935786</c:v>
                </c:pt>
                <c:pt idx="18481">
                  <c:v>169620208</c:v>
                </c:pt>
                <c:pt idx="18482">
                  <c:v>1178611668</c:v>
                </c:pt>
                <c:pt idx="18483">
                  <c:v>1089411120</c:v>
                </c:pt>
                <c:pt idx="18484">
                  <c:v>1039353832</c:v>
                </c:pt>
                <c:pt idx="18485">
                  <c:v>259320900</c:v>
                </c:pt>
                <c:pt idx="18486">
                  <c:v>1338384687</c:v>
                </c:pt>
                <c:pt idx="18487">
                  <c:v>707005023</c:v>
                </c:pt>
                <c:pt idx="18488">
                  <c:v>1495353990</c:v>
                </c:pt>
                <c:pt idx="18489">
                  <c:v>1402090040</c:v>
                </c:pt>
                <c:pt idx="18490">
                  <c:v>1462560694</c:v>
                </c:pt>
                <c:pt idx="18491">
                  <c:v>1452422400</c:v>
                </c:pt>
                <c:pt idx="18492">
                  <c:v>80024562</c:v>
                </c:pt>
                <c:pt idx="18493">
                  <c:v>43206880</c:v>
                </c:pt>
                <c:pt idx="18494">
                  <c:v>820545624</c:v>
                </c:pt>
                <c:pt idx="18495">
                  <c:v>652067892</c:v>
                </c:pt>
                <c:pt idx="18496">
                  <c:v>1779285400</c:v>
                </c:pt>
                <c:pt idx="18497">
                  <c:v>1469249982</c:v>
                </c:pt>
                <c:pt idx="18498">
                  <c:v>1416533520</c:v>
                </c:pt>
                <c:pt idx="18499">
                  <c:v>108381008</c:v>
                </c:pt>
                <c:pt idx="18500">
                  <c:v>110473254</c:v>
                </c:pt>
                <c:pt idx="18501">
                  <c:v>1991000620</c:v>
                </c:pt>
                <c:pt idx="18502">
                  <c:v>781525110</c:v>
                </c:pt>
                <c:pt idx="18503">
                  <c:v>1757536610</c:v>
                </c:pt>
                <c:pt idx="18504">
                  <c:v>687701168</c:v>
                </c:pt>
                <c:pt idx="18505">
                  <c:v>2072727800</c:v>
                </c:pt>
                <c:pt idx="18506">
                  <c:v>26639037</c:v>
                </c:pt>
                <c:pt idx="18507">
                  <c:v>61667645</c:v>
                </c:pt>
                <c:pt idx="18508">
                  <c:v>1536292926</c:v>
                </c:pt>
                <c:pt idx="18509">
                  <c:v>318669000</c:v>
                </c:pt>
                <c:pt idx="18510">
                  <c:v>4803500</c:v>
                </c:pt>
                <c:pt idx="18511">
                  <c:v>26077500</c:v>
                </c:pt>
                <c:pt idx="18512">
                  <c:v>883436160</c:v>
                </c:pt>
                <c:pt idx="18513">
                  <c:v>2147483647</c:v>
                </c:pt>
                <c:pt idx="18514">
                  <c:v>128896230</c:v>
                </c:pt>
                <c:pt idx="18515">
                  <c:v>787938272</c:v>
                </c:pt>
                <c:pt idx="18516">
                  <c:v>1718863734</c:v>
                </c:pt>
                <c:pt idx="18517">
                  <c:v>1145566674</c:v>
                </c:pt>
                <c:pt idx="18518">
                  <c:v>428863920</c:v>
                </c:pt>
                <c:pt idx="18519">
                  <c:v>808967772</c:v>
                </c:pt>
                <c:pt idx="18520">
                  <c:v>383624710</c:v>
                </c:pt>
                <c:pt idx="18521">
                  <c:v>14960778</c:v>
                </c:pt>
                <c:pt idx="18522">
                  <c:v>41244873</c:v>
                </c:pt>
                <c:pt idx="18523">
                  <c:v>139891895</c:v>
                </c:pt>
                <c:pt idx="18524">
                  <c:v>167696347</c:v>
                </c:pt>
                <c:pt idx="18525">
                  <c:v>26513284</c:v>
                </c:pt>
                <c:pt idx="18526">
                  <c:v>620672148</c:v>
                </c:pt>
                <c:pt idx="18527">
                  <c:v>565906679</c:v>
                </c:pt>
                <c:pt idx="18528">
                  <c:v>68625000</c:v>
                </c:pt>
                <c:pt idx="18529">
                  <c:v>1168049410</c:v>
                </c:pt>
                <c:pt idx="18530">
                  <c:v>1086154876</c:v>
                </c:pt>
                <c:pt idx="18531">
                  <c:v>1135239624</c:v>
                </c:pt>
                <c:pt idx="18532">
                  <c:v>1189954134</c:v>
                </c:pt>
                <c:pt idx="18533">
                  <c:v>2115862852</c:v>
                </c:pt>
                <c:pt idx="18534">
                  <c:v>2147483647</c:v>
                </c:pt>
                <c:pt idx="18535">
                  <c:v>2147483647</c:v>
                </c:pt>
                <c:pt idx="18536">
                  <c:v>1219528755</c:v>
                </c:pt>
                <c:pt idx="18537">
                  <c:v>1771252020</c:v>
                </c:pt>
                <c:pt idx="18538">
                  <c:v>2022837696</c:v>
                </c:pt>
                <c:pt idx="18539">
                  <c:v>158764934</c:v>
                </c:pt>
                <c:pt idx="18540">
                  <c:v>56911925</c:v>
                </c:pt>
                <c:pt idx="18541">
                  <c:v>2147483647</c:v>
                </c:pt>
                <c:pt idx="18542">
                  <c:v>439793184</c:v>
                </c:pt>
                <c:pt idx="18543">
                  <c:v>1913258165</c:v>
                </c:pt>
                <c:pt idx="18544">
                  <c:v>2147483647</c:v>
                </c:pt>
                <c:pt idx="18545">
                  <c:v>1366118764</c:v>
                </c:pt>
                <c:pt idx="18546">
                  <c:v>2147483647</c:v>
                </c:pt>
                <c:pt idx="18547">
                  <c:v>2147483647</c:v>
                </c:pt>
                <c:pt idx="18548">
                  <c:v>1220617454</c:v>
                </c:pt>
                <c:pt idx="18549">
                  <c:v>2147483647</c:v>
                </c:pt>
                <c:pt idx="18550">
                  <c:v>2147483647</c:v>
                </c:pt>
                <c:pt idx="18551">
                  <c:v>1770998511</c:v>
                </c:pt>
                <c:pt idx="18552">
                  <c:v>2147483647</c:v>
                </c:pt>
                <c:pt idx="18553">
                  <c:v>1892493108</c:v>
                </c:pt>
                <c:pt idx="18554">
                  <c:v>2147483647</c:v>
                </c:pt>
                <c:pt idx="18555">
                  <c:v>1641829220</c:v>
                </c:pt>
                <c:pt idx="18556">
                  <c:v>1457821250</c:v>
                </c:pt>
                <c:pt idx="18557">
                  <c:v>394431357</c:v>
                </c:pt>
                <c:pt idx="18558">
                  <c:v>2147483647</c:v>
                </c:pt>
                <c:pt idx="18559">
                  <c:v>1326355600</c:v>
                </c:pt>
                <c:pt idx="18560">
                  <c:v>588990828</c:v>
                </c:pt>
                <c:pt idx="18561">
                  <c:v>2147483647</c:v>
                </c:pt>
                <c:pt idx="18562">
                  <c:v>1627829856</c:v>
                </c:pt>
                <c:pt idx="18563">
                  <c:v>1421619836</c:v>
                </c:pt>
                <c:pt idx="18564">
                  <c:v>2131228350</c:v>
                </c:pt>
                <c:pt idx="18565">
                  <c:v>2147483647</c:v>
                </c:pt>
                <c:pt idx="18566">
                  <c:v>1531937898</c:v>
                </c:pt>
                <c:pt idx="18567">
                  <c:v>1677987200</c:v>
                </c:pt>
                <c:pt idx="18568">
                  <c:v>334480353</c:v>
                </c:pt>
                <c:pt idx="18569">
                  <c:v>2147483647</c:v>
                </c:pt>
                <c:pt idx="18570">
                  <c:v>517105836</c:v>
                </c:pt>
                <c:pt idx="18571">
                  <c:v>1447724850</c:v>
                </c:pt>
                <c:pt idx="18572">
                  <c:v>1884853425</c:v>
                </c:pt>
                <c:pt idx="18573">
                  <c:v>1896554220</c:v>
                </c:pt>
                <c:pt idx="18574">
                  <c:v>2147483647</c:v>
                </c:pt>
                <c:pt idx="18575">
                  <c:v>2147483647</c:v>
                </c:pt>
                <c:pt idx="18576">
                  <c:v>1598942445</c:v>
                </c:pt>
                <c:pt idx="18577">
                  <c:v>1823134875</c:v>
                </c:pt>
                <c:pt idx="18578">
                  <c:v>837245240</c:v>
                </c:pt>
                <c:pt idx="18579">
                  <c:v>1504607568</c:v>
                </c:pt>
                <c:pt idx="18580">
                  <c:v>1659774818</c:v>
                </c:pt>
                <c:pt idx="18581">
                  <c:v>2147483647</c:v>
                </c:pt>
                <c:pt idx="18582">
                  <c:v>1310649417</c:v>
                </c:pt>
                <c:pt idx="18583">
                  <c:v>1295100156</c:v>
                </c:pt>
                <c:pt idx="18584">
                  <c:v>1095370935</c:v>
                </c:pt>
                <c:pt idx="18585">
                  <c:v>1112835675</c:v>
                </c:pt>
                <c:pt idx="18586">
                  <c:v>2147483647</c:v>
                </c:pt>
                <c:pt idx="18587">
                  <c:v>1281848720</c:v>
                </c:pt>
                <c:pt idx="18588">
                  <c:v>1168445403</c:v>
                </c:pt>
                <c:pt idx="18589">
                  <c:v>2147483647</c:v>
                </c:pt>
                <c:pt idx="18590">
                  <c:v>1135753850</c:v>
                </c:pt>
                <c:pt idx="18591">
                  <c:v>1810338562</c:v>
                </c:pt>
                <c:pt idx="18592">
                  <c:v>1148429900</c:v>
                </c:pt>
                <c:pt idx="18593">
                  <c:v>925935360</c:v>
                </c:pt>
                <c:pt idx="18594">
                  <c:v>1373790891</c:v>
                </c:pt>
                <c:pt idx="18595">
                  <c:v>638310380</c:v>
                </c:pt>
                <c:pt idx="18596">
                  <c:v>1096924832</c:v>
                </c:pt>
                <c:pt idx="18597">
                  <c:v>666286950</c:v>
                </c:pt>
                <c:pt idx="18598">
                  <c:v>1696027885</c:v>
                </c:pt>
                <c:pt idx="18599">
                  <c:v>726730190</c:v>
                </c:pt>
                <c:pt idx="18600">
                  <c:v>471059625</c:v>
                </c:pt>
                <c:pt idx="18601">
                  <c:v>886616874</c:v>
                </c:pt>
                <c:pt idx="18602">
                  <c:v>15004800</c:v>
                </c:pt>
                <c:pt idx="18603">
                  <c:v>42948854</c:v>
                </c:pt>
                <c:pt idx="18604">
                  <c:v>11888825</c:v>
                </c:pt>
                <c:pt idx="18605">
                  <c:v>67855024</c:v>
                </c:pt>
                <c:pt idx="18606">
                  <c:v>893528625</c:v>
                </c:pt>
                <c:pt idx="18607">
                  <c:v>243732602</c:v>
                </c:pt>
                <c:pt idx="18608">
                  <c:v>12429270</c:v>
                </c:pt>
                <c:pt idx="18609">
                  <c:v>20036943</c:v>
                </c:pt>
                <c:pt idx="18610">
                  <c:v>18596294</c:v>
                </c:pt>
                <c:pt idx="18611">
                  <c:v>5857029</c:v>
                </c:pt>
                <c:pt idx="18612">
                  <c:v>43985220</c:v>
                </c:pt>
                <c:pt idx="18613">
                  <c:v>83785968</c:v>
                </c:pt>
                <c:pt idx="18614">
                  <c:v>49201535</c:v>
                </c:pt>
                <c:pt idx="18615">
                  <c:v>2432120</c:v>
                </c:pt>
                <c:pt idx="18616">
                  <c:v>81240180</c:v>
                </c:pt>
                <c:pt idx="18617">
                  <c:v>20189628</c:v>
                </c:pt>
                <c:pt idx="18618">
                  <c:v>19181172</c:v>
                </c:pt>
                <c:pt idx="18619">
                  <c:v>15789875</c:v>
                </c:pt>
                <c:pt idx="18620">
                  <c:v>13696416</c:v>
                </c:pt>
                <c:pt idx="18621">
                  <c:v>8363171</c:v>
                </c:pt>
                <c:pt idx="18622">
                  <c:v>10446596</c:v>
                </c:pt>
                <c:pt idx="18623">
                  <c:v>48538014</c:v>
                </c:pt>
                <c:pt idx="18624">
                  <c:v>144699096</c:v>
                </c:pt>
                <c:pt idx="18625">
                  <c:v>50772084</c:v>
                </c:pt>
                <c:pt idx="18626">
                  <c:v>100261700</c:v>
                </c:pt>
                <c:pt idx="18627">
                  <c:v>61845550</c:v>
                </c:pt>
                <c:pt idx="18628">
                  <c:v>127780290</c:v>
                </c:pt>
                <c:pt idx="18629">
                  <c:v>6507620</c:v>
                </c:pt>
                <c:pt idx="18630">
                  <c:v>13748160</c:v>
                </c:pt>
                <c:pt idx="18631">
                  <c:v>59543596</c:v>
                </c:pt>
                <c:pt idx="18632">
                  <c:v>11476296</c:v>
                </c:pt>
                <c:pt idx="18633">
                  <c:v>438242922</c:v>
                </c:pt>
                <c:pt idx="18634">
                  <c:v>27749456</c:v>
                </c:pt>
                <c:pt idx="18635">
                  <c:v>18653814</c:v>
                </c:pt>
                <c:pt idx="18636">
                  <c:v>9163476</c:v>
                </c:pt>
                <c:pt idx="18637">
                  <c:v>67613920</c:v>
                </c:pt>
                <c:pt idx="18638">
                  <c:v>149418962</c:v>
                </c:pt>
                <c:pt idx="18639">
                  <c:v>44744680</c:v>
                </c:pt>
                <c:pt idx="18640">
                  <c:v>2778400</c:v>
                </c:pt>
                <c:pt idx="18641">
                  <c:v>180734612</c:v>
                </c:pt>
                <c:pt idx="18642">
                  <c:v>28867802</c:v>
                </c:pt>
                <c:pt idx="18643">
                  <c:v>24617184</c:v>
                </c:pt>
                <c:pt idx="18644">
                  <c:v>21292573</c:v>
                </c:pt>
                <c:pt idx="18645">
                  <c:v>32705937</c:v>
                </c:pt>
                <c:pt idx="18646">
                  <c:v>14208974</c:v>
                </c:pt>
                <c:pt idx="18647">
                  <c:v>33841684</c:v>
                </c:pt>
                <c:pt idx="18648">
                  <c:v>143865635</c:v>
                </c:pt>
                <c:pt idx="18649">
                  <c:v>41952009</c:v>
                </c:pt>
                <c:pt idx="18650">
                  <c:v>15622992</c:v>
                </c:pt>
                <c:pt idx="18651">
                  <c:v>183843590</c:v>
                </c:pt>
                <c:pt idx="18652">
                  <c:v>5409920</c:v>
                </c:pt>
                <c:pt idx="18653">
                  <c:v>5583338</c:v>
                </c:pt>
                <c:pt idx="18654">
                  <c:v>42102880</c:v>
                </c:pt>
                <c:pt idx="18655">
                  <c:v>42410732</c:v>
                </c:pt>
                <c:pt idx="18656">
                  <c:v>12793348</c:v>
                </c:pt>
                <c:pt idx="18657">
                  <c:v>1059414653</c:v>
                </c:pt>
                <c:pt idx="18658">
                  <c:v>278327357</c:v>
                </c:pt>
                <c:pt idx="18659">
                  <c:v>147695247</c:v>
                </c:pt>
                <c:pt idx="18660">
                  <c:v>82461900</c:v>
                </c:pt>
                <c:pt idx="18661">
                  <c:v>20014689</c:v>
                </c:pt>
                <c:pt idx="18662">
                  <c:v>33600398</c:v>
                </c:pt>
                <c:pt idx="18663">
                  <c:v>33142432</c:v>
                </c:pt>
                <c:pt idx="18664">
                  <c:v>218890821</c:v>
                </c:pt>
                <c:pt idx="18665">
                  <c:v>29080480</c:v>
                </c:pt>
                <c:pt idx="18666">
                  <c:v>118967700</c:v>
                </c:pt>
                <c:pt idx="18667">
                  <c:v>86328128</c:v>
                </c:pt>
                <c:pt idx="18668">
                  <c:v>672665547</c:v>
                </c:pt>
                <c:pt idx="18669">
                  <c:v>73606500</c:v>
                </c:pt>
                <c:pt idx="18670">
                  <c:v>138366438</c:v>
                </c:pt>
                <c:pt idx="18671">
                  <c:v>63395850</c:v>
                </c:pt>
                <c:pt idx="18672">
                  <c:v>57369352</c:v>
                </c:pt>
                <c:pt idx="18673">
                  <c:v>45738342</c:v>
                </c:pt>
                <c:pt idx="18674">
                  <c:v>819626444</c:v>
                </c:pt>
                <c:pt idx="18675">
                  <c:v>314993052</c:v>
                </c:pt>
                <c:pt idx="18676">
                  <c:v>30246678</c:v>
                </c:pt>
                <c:pt idx="18677">
                  <c:v>23662144</c:v>
                </c:pt>
                <c:pt idx="18678">
                  <c:v>34739187</c:v>
                </c:pt>
                <c:pt idx="18679">
                  <c:v>12846528</c:v>
                </c:pt>
                <c:pt idx="18680">
                  <c:v>2768500</c:v>
                </c:pt>
                <c:pt idx="18681">
                  <c:v>94559802</c:v>
                </c:pt>
                <c:pt idx="18682">
                  <c:v>52578840</c:v>
                </c:pt>
                <c:pt idx="18683">
                  <c:v>132399234</c:v>
                </c:pt>
                <c:pt idx="18684">
                  <c:v>18366696</c:v>
                </c:pt>
                <c:pt idx="18685">
                  <c:v>41716565</c:v>
                </c:pt>
                <c:pt idx="18686">
                  <c:v>36089432</c:v>
                </c:pt>
                <c:pt idx="18687">
                  <c:v>77924616</c:v>
                </c:pt>
                <c:pt idx="18688">
                  <c:v>102598950</c:v>
                </c:pt>
                <c:pt idx="18689">
                  <c:v>4705040</c:v>
                </c:pt>
                <c:pt idx="18690">
                  <c:v>42819747</c:v>
                </c:pt>
                <c:pt idx="18691">
                  <c:v>257184180</c:v>
                </c:pt>
                <c:pt idx="18692">
                  <c:v>62078998</c:v>
                </c:pt>
                <c:pt idx="18693">
                  <c:v>176148444</c:v>
                </c:pt>
                <c:pt idx="18694">
                  <c:v>134128951</c:v>
                </c:pt>
                <c:pt idx="18695">
                  <c:v>343538031</c:v>
                </c:pt>
                <c:pt idx="18696">
                  <c:v>23525629</c:v>
                </c:pt>
                <c:pt idx="18697">
                  <c:v>420031000</c:v>
                </c:pt>
                <c:pt idx="18698">
                  <c:v>58528704</c:v>
                </c:pt>
                <c:pt idx="18699">
                  <c:v>394691045</c:v>
                </c:pt>
                <c:pt idx="18700">
                  <c:v>452913816</c:v>
                </c:pt>
                <c:pt idx="18701">
                  <c:v>827697360</c:v>
                </c:pt>
                <c:pt idx="18702">
                  <c:v>121850714</c:v>
                </c:pt>
                <c:pt idx="18703">
                  <c:v>34339707</c:v>
                </c:pt>
                <c:pt idx="18704">
                  <c:v>37497900</c:v>
                </c:pt>
                <c:pt idx="18705">
                  <c:v>4666880</c:v>
                </c:pt>
                <c:pt idx="18706">
                  <c:v>348885852</c:v>
                </c:pt>
                <c:pt idx="18707">
                  <c:v>663729584</c:v>
                </c:pt>
                <c:pt idx="18708">
                  <c:v>106151668</c:v>
                </c:pt>
                <c:pt idx="18709">
                  <c:v>91358634</c:v>
                </c:pt>
                <c:pt idx="18710">
                  <c:v>40604291</c:v>
                </c:pt>
                <c:pt idx="18711">
                  <c:v>256752306</c:v>
                </c:pt>
                <c:pt idx="18712">
                  <c:v>24580649</c:v>
                </c:pt>
                <c:pt idx="18713">
                  <c:v>407516886</c:v>
                </c:pt>
                <c:pt idx="18714">
                  <c:v>339463439</c:v>
                </c:pt>
                <c:pt idx="18715">
                  <c:v>594328842</c:v>
                </c:pt>
                <c:pt idx="18716">
                  <c:v>344502957</c:v>
                </c:pt>
                <c:pt idx="18717">
                  <c:v>1196943750</c:v>
                </c:pt>
                <c:pt idx="18718">
                  <c:v>785186388</c:v>
                </c:pt>
                <c:pt idx="18719">
                  <c:v>678311590</c:v>
                </c:pt>
                <c:pt idx="18720">
                  <c:v>725518752</c:v>
                </c:pt>
                <c:pt idx="18721">
                  <c:v>1690185</c:v>
                </c:pt>
                <c:pt idx="18722">
                  <c:v>672221316</c:v>
                </c:pt>
                <c:pt idx="18723">
                  <c:v>697283480</c:v>
                </c:pt>
                <c:pt idx="18724">
                  <c:v>1018110661</c:v>
                </c:pt>
                <c:pt idx="18725">
                  <c:v>28274158</c:v>
                </c:pt>
                <c:pt idx="18726">
                  <c:v>144174800</c:v>
                </c:pt>
                <c:pt idx="18727">
                  <c:v>52039179</c:v>
                </c:pt>
                <c:pt idx="18728">
                  <c:v>7266049</c:v>
                </c:pt>
                <c:pt idx="18729">
                  <c:v>38493468</c:v>
                </c:pt>
                <c:pt idx="18730">
                  <c:v>53017776</c:v>
                </c:pt>
                <c:pt idx="18731">
                  <c:v>1477491</c:v>
                </c:pt>
                <c:pt idx="18732">
                  <c:v>86832096</c:v>
                </c:pt>
                <c:pt idx="18733">
                  <c:v>21069486</c:v>
                </c:pt>
                <c:pt idx="18734">
                  <c:v>269798144</c:v>
                </c:pt>
                <c:pt idx="18735">
                  <c:v>265382500</c:v>
                </c:pt>
                <c:pt idx="18736">
                  <c:v>45248220</c:v>
                </c:pt>
                <c:pt idx="18737">
                  <c:v>15230786</c:v>
                </c:pt>
                <c:pt idx="18738">
                  <c:v>619333441</c:v>
                </c:pt>
                <c:pt idx="18739">
                  <c:v>95179941</c:v>
                </c:pt>
                <c:pt idx="18740">
                  <c:v>15987743</c:v>
                </c:pt>
                <c:pt idx="18741">
                  <c:v>197913264</c:v>
                </c:pt>
                <c:pt idx="18742">
                  <c:v>469063410</c:v>
                </c:pt>
                <c:pt idx="18743">
                  <c:v>71096832</c:v>
                </c:pt>
                <c:pt idx="18744">
                  <c:v>23478161</c:v>
                </c:pt>
                <c:pt idx="18745">
                  <c:v>3962482</c:v>
                </c:pt>
                <c:pt idx="18746">
                  <c:v>52341209</c:v>
                </c:pt>
                <c:pt idx="18747">
                  <c:v>16471778</c:v>
                </c:pt>
                <c:pt idx="18748">
                  <c:v>20223507</c:v>
                </c:pt>
                <c:pt idx="18749">
                  <c:v>22333565</c:v>
                </c:pt>
                <c:pt idx="18750">
                  <c:v>21563196</c:v>
                </c:pt>
                <c:pt idx="18751">
                  <c:v>416450265</c:v>
                </c:pt>
                <c:pt idx="18752">
                  <c:v>1406414432</c:v>
                </c:pt>
                <c:pt idx="18753">
                  <c:v>241296570</c:v>
                </c:pt>
                <c:pt idx="18754">
                  <c:v>35340948</c:v>
                </c:pt>
                <c:pt idx="18755">
                  <c:v>116009312</c:v>
                </c:pt>
                <c:pt idx="18756">
                  <c:v>11251746</c:v>
                </c:pt>
                <c:pt idx="18757">
                  <c:v>178494340</c:v>
                </c:pt>
                <c:pt idx="18758">
                  <c:v>107886504</c:v>
                </c:pt>
                <c:pt idx="18759">
                  <c:v>25538058</c:v>
                </c:pt>
                <c:pt idx="18760">
                  <c:v>32350098</c:v>
                </c:pt>
                <c:pt idx="18761">
                  <c:v>83472500</c:v>
                </c:pt>
                <c:pt idx="18762">
                  <c:v>279625554</c:v>
                </c:pt>
                <c:pt idx="18763">
                  <c:v>40095972</c:v>
                </c:pt>
                <c:pt idx="18764">
                  <c:v>97696733</c:v>
                </c:pt>
                <c:pt idx="18765">
                  <c:v>52853724</c:v>
                </c:pt>
                <c:pt idx="18766">
                  <c:v>300457326</c:v>
                </c:pt>
                <c:pt idx="18767">
                  <c:v>110823936</c:v>
                </c:pt>
                <c:pt idx="18768">
                  <c:v>10327920</c:v>
                </c:pt>
                <c:pt idx="18769">
                  <c:v>16655802</c:v>
                </c:pt>
                <c:pt idx="18770">
                  <c:v>9741766</c:v>
                </c:pt>
                <c:pt idx="18771">
                  <c:v>25785056</c:v>
                </c:pt>
                <c:pt idx="18772">
                  <c:v>5472126</c:v>
                </c:pt>
                <c:pt idx="18773">
                  <c:v>8043492</c:v>
                </c:pt>
                <c:pt idx="18774">
                  <c:v>13601892</c:v>
                </c:pt>
                <c:pt idx="18775">
                  <c:v>18477186</c:v>
                </c:pt>
                <c:pt idx="18776">
                  <c:v>38476165</c:v>
                </c:pt>
                <c:pt idx="18777">
                  <c:v>19643009</c:v>
                </c:pt>
                <c:pt idx="18778">
                  <c:v>11263720</c:v>
                </c:pt>
                <c:pt idx="18779">
                  <c:v>42592056</c:v>
                </c:pt>
                <c:pt idx="18780">
                  <c:v>4148574</c:v>
                </c:pt>
                <c:pt idx="18781">
                  <c:v>45658300</c:v>
                </c:pt>
                <c:pt idx="18782">
                  <c:v>56552778</c:v>
                </c:pt>
                <c:pt idx="18783">
                  <c:v>53950230</c:v>
                </c:pt>
                <c:pt idx="18784">
                  <c:v>38408823</c:v>
                </c:pt>
                <c:pt idx="18785">
                  <c:v>43439835</c:v>
                </c:pt>
                <c:pt idx="18786">
                  <c:v>4703288</c:v>
                </c:pt>
                <c:pt idx="18787">
                  <c:v>8725740</c:v>
                </c:pt>
                <c:pt idx="18788">
                  <c:v>25162896</c:v>
                </c:pt>
                <c:pt idx="18789">
                  <c:v>9809152</c:v>
                </c:pt>
                <c:pt idx="18790">
                  <c:v>13271299</c:v>
                </c:pt>
                <c:pt idx="18791">
                  <c:v>11195400</c:v>
                </c:pt>
                <c:pt idx="18792">
                  <c:v>6676670</c:v>
                </c:pt>
                <c:pt idx="18793">
                  <c:v>18121614</c:v>
                </c:pt>
                <c:pt idx="18794">
                  <c:v>245910456</c:v>
                </c:pt>
                <c:pt idx="18795">
                  <c:v>288644964</c:v>
                </c:pt>
                <c:pt idx="18796">
                  <c:v>6827440</c:v>
                </c:pt>
                <c:pt idx="18797">
                  <c:v>24280800</c:v>
                </c:pt>
                <c:pt idx="18798">
                  <c:v>144940536</c:v>
                </c:pt>
                <c:pt idx="18799">
                  <c:v>36404160</c:v>
                </c:pt>
                <c:pt idx="18800">
                  <c:v>811736704</c:v>
                </c:pt>
                <c:pt idx="18801">
                  <c:v>33051942</c:v>
                </c:pt>
                <c:pt idx="18802">
                  <c:v>361610462</c:v>
                </c:pt>
                <c:pt idx="18803">
                  <c:v>382136447</c:v>
                </c:pt>
                <c:pt idx="18804">
                  <c:v>9524304</c:v>
                </c:pt>
                <c:pt idx="18805">
                  <c:v>11852025</c:v>
                </c:pt>
                <c:pt idx="18806">
                  <c:v>133060367</c:v>
                </c:pt>
                <c:pt idx="18807">
                  <c:v>43112856</c:v>
                </c:pt>
                <c:pt idx="18808">
                  <c:v>168094764</c:v>
                </c:pt>
                <c:pt idx="18809">
                  <c:v>10668645</c:v>
                </c:pt>
                <c:pt idx="18810">
                  <c:v>528044300</c:v>
                </c:pt>
                <c:pt idx="18811">
                  <c:v>31297968</c:v>
                </c:pt>
                <c:pt idx="18812">
                  <c:v>38071520</c:v>
                </c:pt>
                <c:pt idx="18813">
                  <c:v>39880776</c:v>
                </c:pt>
                <c:pt idx="18814">
                  <c:v>41232240</c:v>
                </c:pt>
                <c:pt idx="18815">
                  <c:v>7402395</c:v>
                </c:pt>
                <c:pt idx="18816">
                  <c:v>75928842</c:v>
                </c:pt>
                <c:pt idx="18817">
                  <c:v>38655915</c:v>
                </c:pt>
                <c:pt idx="18818">
                  <c:v>47581638</c:v>
                </c:pt>
                <c:pt idx="18819">
                  <c:v>40014702</c:v>
                </c:pt>
                <c:pt idx="18820">
                  <c:v>14609928</c:v>
                </c:pt>
                <c:pt idx="18821">
                  <c:v>34601472</c:v>
                </c:pt>
                <c:pt idx="18822">
                  <c:v>4086720</c:v>
                </c:pt>
                <c:pt idx="18823">
                  <c:v>778589220</c:v>
                </c:pt>
                <c:pt idx="18824">
                  <c:v>88796968</c:v>
                </c:pt>
                <c:pt idx="18825">
                  <c:v>16643682</c:v>
                </c:pt>
                <c:pt idx="18826">
                  <c:v>37532794</c:v>
                </c:pt>
                <c:pt idx="18827">
                  <c:v>32852230</c:v>
                </c:pt>
                <c:pt idx="18828">
                  <c:v>22545780</c:v>
                </c:pt>
                <c:pt idx="18829">
                  <c:v>55514907</c:v>
                </c:pt>
                <c:pt idx="18830">
                  <c:v>5182360</c:v>
                </c:pt>
                <c:pt idx="18831">
                  <c:v>7671190</c:v>
                </c:pt>
                <c:pt idx="18832">
                  <c:v>31109112</c:v>
                </c:pt>
                <c:pt idx="18833">
                  <c:v>3356718</c:v>
                </c:pt>
                <c:pt idx="18834">
                  <c:v>25932032</c:v>
                </c:pt>
                <c:pt idx="18835">
                  <c:v>40967025</c:v>
                </c:pt>
                <c:pt idx="18836">
                  <c:v>72086348</c:v>
                </c:pt>
                <c:pt idx="18837">
                  <c:v>21933008</c:v>
                </c:pt>
                <c:pt idx="18838">
                  <c:v>1659608</c:v>
                </c:pt>
                <c:pt idx="18839">
                  <c:v>11024771</c:v>
                </c:pt>
                <c:pt idx="18840">
                  <c:v>65976457</c:v>
                </c:pt>
                <c:pt idx="18841">
                  <c:v>45059564</c:v>
                </c:pt>
                <c:pt idx="18842">
                  <c:v>26872395</c:v>
                </c:pt>
                <c:pt idx="18843">
                  <c:v>8478748</c:v>
                </c:pt>
                <c:pt idx="18844">
                  <c:v>21095403</c:v>
                </c:pt>
                <c:pt idx="18845">
                  <c:v>76373568</c:v>
                </c:pt>
                <c:pt idx="18846">
                  <c:v>25005108</c:v>
                </c:pt>
                <c:pt idx="18847">
                  <c:v>20801970</c:v>
                </c:pt>
                <c:pt idx="18848">
                  <c:v>21516600</c:v>
                </c:pt>
                <c:pt idx="18849">
                  <c:v>5478463</c:v>
                </c:pt>
                <c:pt idx="18850">
                  <c:v>18149094</c:v>
                </c:pt>
                <c:pt idx="18851">
                  <c:v>23820786</c:v>
                </c:pt>
                <c:pt idx="18852">
                  <c:v>23798424</c:v>
                </c:pt>
                <c:pt idx="18853">
                  <c:v>320844589</c:v>
                </c:pt>
                <c:pt idx="18854">
                  <c:v>56591574</c:v>
                </c:pt>
                <c:pt idx="18855">
                  <c:v>110052900</c:v>
                </c:pt>
                <c:pt idx="18856">
                  <c:v>8672195</c:v>
                </c:pt>
                <c:pt idx="18857">
                  <c:v>49270360</c:v>
                </c:pt>
                <c:pt idx="18858">
                  <c:v>6258093</c:v>
                </c:pt>
                <c:pt idx="18859">
                  <c:v>4884088</c:v>
                </c:pt>
                <c:pt idx="18860">
                  <c:v>15617760</c:v>
                </c:pt>
                <c:pt idx="18861">
                  <c:v>9817824</c:v>
                </c:pt>
                <c:pt idx="18862">
                  <c:v>450585129</c:v>
                </c:pt>
                <c:pt idx="18863">
                  <c:v>16415560</c:v>
                </c:pt>
                <c:pt idx="18864">
                  <c:v>9439437</c:v>
                </c:pt>
                <c:pt idx="18865">
                  <c:v>7311895</c:v>
                </c:pt>
                <c:pt idx="18866">
                  <c:v>308687360</c:v>
                </c:pt>
                <c:pt idx="18867">
                  <c:v>39405425</c:v>
                </c:pt>
                <c:pt idx="18868">
                  <c:v>12140142</c:v>
                </c:pt>
                <c:pt idx="18869">
                  <c:v>37933658</c:v>
                </c:pt>
                <c:pt idx="18870">
                  <c:v>54438696</c:v>
                </c:pt>
                <c:pt idx="18871">
                  <c:v>12048036</c:v>
                </c:pt>
                <c:pt idx="18872">
                  <c:v>15517245</c:v>
                </c:pt>
                <c:pt idx="18873">
                  <c:v>32514040</c:v>
                </c:pt>
                <c:pt idx="18874">
                  <c:v>6347748</c:v>
                </c:pt>
                <c:pt idx="18875">
                  <c:v>7050780</c:v>
                </c:pt>
                <c:pt idx="18876">
                  <c:v>22144773</c:v>
                </c:pt>
                <c:pt idx="18877">
                  <c:v>12553254</c:v>
                </c:pt>
                <c:pt idx="18878">
                  <c:v>31400160</c:v>
                </c:pt>
                <c:pt idx="18879">
                  <c:v>13494923</c:v>
                </c:pt>
                <c:pt idx="18880">
                  <c:v>60220761</c:v>
                </c:pt>
                <c:pt idx="18881">
                  <c:v>21430640</c:v>
                </c:pt>
                <c:pt idx="18882">
                  <c:v>11374731</c:v>
                </c:pt>
                <c:pt idx="18883">
                  <c:v>45845072</c:v>
                </c:pt>
                <c:pt idx="18884">
                  <c:v>44731578</c:v>
                </c:pt>
                <c:pt idx="18885">
                  <c:v>31485300</c:v>
                </c:pt>
                <c:pt idx="18886">
                  <c:v>37027888</c:v>
                </c:pt>
                <c:pt idx="18887">
                  <c:v>69292874</c:v>
                </c:pt>
                <c:pt idx="18888">
                  <c:v>45221979</c:v>
                </c:pt>
                <c:pt idx="18889">
                  <c:v>24301272</c:v>
                </c:pt>
                <c:pt idx="18890">
                  <c:v>134569253</c:v>
                </c:pt>
                <c:pt idx="18891">
                  <c:v>7612701</c:v>
                </c:pt>
                <c:pt idx="18892">
                  <c:v>489169566</c:v>
                </c:pt>
                <c:pt idx="18893">
                  <c:v>357816544</c:v>
                </c:pt>
                <c:pt idx="18894">
                  <c:v>9535449</c:v>
                </c:pt>
                <c:pt idx="18895">
                  <c:v>688290663</c:v>
                </c:pt>
                <c:pt idx="18896">
                  <c:v>39644694</c:v>
                </c:pt>
                <c:pt idx="18897">
                  <c:v>187858398</c:v>
                </c:pt>
                <c:pt idx="18898">
                  <c:v>111375810</c:v>
                </c:pt>
                <c:pt idx="18899">
                  <c:v>229500855</c:v>
                </c:pt>
                <c:pt idx="18900">
                  <c:v>95830624</c:v>
                </c:pt>
                <c:pt idx="18901">
                  <c:v>10598820</c:v>
                </c:pt>
                <c:pt idx="18902">
                  <c:v>65412354</c:v>
                </c:pt>
                <c:pt idx="18903">
                  <c:v>59701572</c:v>
                </c:pt>
                <c:pt idx="18904">
                  <c:v>76243627</c:v>
                </c:pt>
                <c:pt idx="18905">
                  <c:v>104626452</c:v>
                </c:pt>
                <c:pt idx="18906">
                  <c:v>74245916</c:v>
                </c:pt>
                <c:pt idx="18907">
                  <c:v>4011620</c:v>
                </c:pt>
                <c:pt idx="18908">
                  <c:v>86827964</c:v>
                </c:pt>
                <c:pt idx="18909">
                  <c:v>3108874</c:v>
                </c:pt>
                <c:pt idx="18910">
                  <c:v>108158925</c:v>
                </c:pt>
                <c:pt idx="18911">
                  <c:v>2469480</c:v>
                </c:pt>
                <c:pt idx="18912">
                  <c:v>29038716</c:v>
                </c:pt>
                <c:pt idx="18913">
                  <c:v>25142664</c:v>
                </c:pt>
                <c:pt idx="18914">
                  <c:v>127372036</c:v>
                </c:pt>
                <c:pt idx="18915">
                  <c:v>151655852</c:v>
                </c:pt>
                <c:pt idx="18916">
                  <c:v>555414896</c:v>
                </c:pt>
                <c:pt idx="18917">
                  <c:v>781301808</c:v>
                </c:pt>
                <c:pt idx="18918">
                  <c:v>6720828</c:v>
                </c:pt>
                <c:pt idx="18919">
                  <c:v>5673920</c:v>
                </c:pt>
                <c:pt idx="18920">
                  <c:v>1235481130</c:v>
                </c:pt>
                <c:pt idx="18921">
                  <c:v>102038706</c:v>
                </c:pt>
                <c:pt idx="18922">
                  <c:v>18450612</c:v>
                </c:pt>
                <c:pt idx="18923">
                  <c:v>75105220</c:v>
                </c:pt>
                <c:pt idx="18924">
                  <c:v>12551994</c:v>
                </c:pt>
                <c:pt idx="18925">
                  <c:v>27195018</c:v>
                </c:pt>
                <c:pt idx="18926">
                  <c:v>44249940</c:v>
                </c:pt>
                <c:pt idx="18927">
                  <c:v>15971406</c:v>
                </c:pt>
                <c:pt idx="18928">
                  <c:v>172153008</c:v>
                </c:pt>
                <c:pt idx="18929">
                  <c:v>39024298</c:v>
                </c:pt>
                <c:pt idx="18930">
                  <c:v>49151168</c:v>
                </c:pt>
                <c:pt idx="18931">
                  <c:v>945816208</c:v>
                </c:pt>
                <c:pt idx="18932">
                  <c:v>31380510</c:v>
                </c:pt>
                <c:pt idx="18933">
                  <c:v>22424490</c:v>
                </c:pt>
                <c:pt idx="18934">
                  <c:v>325030132</c:v>
                </c:pt>
                <c:pt idx="18935">
                  <c:v>736824456</c:v>
                </c:pt>
                <c:pt idx="18936">
                  <c:v>195841800</c:v>
                </c:pt>
                <c:pt idx="18937">
                  <c:v>177101144</c:v>
                </c:pt>
                <c:pt idx="18938">
                  <c:v>333120914</c:v>
                </c:pt>
                <c:pt idx="18939">
                  <c:v>155196468</c:v>
                </c:pt>
                <c:pt idx="18940">
                  <c:v>820001706</c:v>
                </c:pt>
                <c:pt idx="18941">
                  <c:v>1123764544</c:v>
                </c:pt>
                <c:pt idx="18942">
                  <c:v>1173530991</c:v>
                </c:pt>
                <c:pt idx="18943">
                  <c:v>219979864</c:v>
                </c:pt>
                <c:pt idx="18944">
                  <c:v>984125070</c:v>
                </c:pt>
                <c:pt idx="18945">
                  <c:v>1732607084</c:v>
                </c:pt>
                <c:pt idx="18946">
                  <c:v>605968614</c:v>
                </c:pt>
                <c:pt idx="18947">
                  <c:v>5434380</c:v>
                </c:pt>
                <c:pt idx="18948">
                  <c:v>16276302</c:v>
                </c:pt>
                <c:pt idx="18949">
                  <c:v>18684970</c:v>
                </c:pt>
                <c:pt idx="18950">
                  <c:v>82031103</c:v>
                </c:pt>
                <c:pt idx="18951">
                  <c:v>16951022</c:v>
                </c:pt>
                <c:pt idx="18952">
                  <c:v>74608274</c:v>
                </c:pt>
                <c:pt idx="18953">
                  <c:v>107958830</c:v>
                </c:pt>
                <c:pt idx="18954">
                  <c:v>287580678</c:v>
                </c:pt>
                <c:pt idx="18955">
                  <c:v>44900040</c:v>
                </c:pt>
                <c:pt idx="18956">
                  <c:v>35878128</c:v>
                </c:pt>
                <c:pt idx="18957">
                  <c:v>10849915</c:v>
                </c:pt>
                <c:pt idx="18958">
                  <c:v>82411642</c:v>
                </c:pt>
                <c:pt idx="18959">
                  <c:v>28443900</c:v>
                </c:pt>
                <c:pt idx="18960">
                  <c:v>77683465</c:v>
                </c:pt>
                <c:pt idx="18961">
                  <c:v>13391406</c:v>
                </c:pt>
                <c:pt idx="18962">
                  <c:v>115587680</c:v>
                </c:pt>
                <c:pt idx="18963">
                  <c:v>14847880</c:v>
                </c:pt>
                <c:pt idx="18964">
                  <c:v>150470082</c:v>
                </c:pt>
                <c:pt idx="18965">
                  <c:v>152180010</c:v>
                </c:pt>
                <c:pt idx="18966">
                  <c:v>59690700</c:v>
                </c:pt>
                <c:pt idx="18967">
                  <c:v>51243108</c:v>
                </c:pt>
                <c:pt idx="18968">
                  <c:v>50140020</c:v>
                </c:pt>
                <c:pt idx="18969">
                  <c:v>5520704</c:v>
                </c:pt>
                <c:pt idx="18970">
                  <c:v>54397518</c:v>
                </c:pt>
                <c:pt idx="18971">
                  <c:v>164704178</c:v>
                </c:pt>
                <c:pt idx="18972">
                  <c:v>59025820</c:v>
                </c:pt>
                <c:pt idx="18973">
                  <c:v>117277069</c:v>
                </c:pt>
                <c:pt idx="18974">
                  <c:v>22996260</c:v>
                </c:pt>
                <c:pt idx="18975">
                  <c:v>2323512</c:v>
                </c:pt>
                <c:pt idx="18976">
                  <c:v>169378344</c:v>
                </c:pt>
                <c:pt idx="18977">
                  <c:v>121021856</c:v>
                </c:pt>
                <c:pt idx="18978">
                  <c:v>38414646</c:v>
                </c:pt>
                <c:pt idx="18979">
                  <c:v>180107550</c:v>
                </c:pt>
                <c:pt idx="18980">
                  <c:v>85905996</c:v>
                </c:pt>
                <c:pt idx="18981">
                  <c:v>47801820</c:v>
                </c:pt>
                <c:pt idx="18982">
                  <c:v>69692784</c:v>
                </c:pt>
                <c:pt idx="18983">
                  <c:v>1717181378</c:v>
                </c:pt>
                <c:pt idx="18984">
                  <c:v>391648368</c:v>
                </c:pt>
                <c:pt idx="18985">
                  <c:v>16820453</c:v>
                </c:pt>
                <c:pt idx="18986">
                  <c:v>30265840</c:v>
                </c:pt>
                <c:pt idx="18987">
                  <c:v>26941225</c:v>
                </c:pt>
                <c:pt idx="18988">
                  <c:v>5605110</c:v>
                </c:pt>
                <c:pt idx="18989">
                  <c:v>8707140</c:v>
                </c:pt>
                <c:pt idx="18990">
                  <c:v>30664704</c:v>
                </c:pt>
                <c:pt idx="18991">
                  <c:v>8904414</c:v>
                </c:pt>
                <c:pt idx="18992">
                  <c:v>64146967</c:v>
                </c:pt>
                <c:pt idx="18993">
                  <c:v>37537920</c:v>
                </c:pt>
                <c:pt idx="18994">
                  <c:v>17259075</c:v>
                </c:pt>
                <c:pt idx="18995">
                  <c:v>597105420</c:v>
                </c:pt>
                <c:pt idx="18996">
                  <c:v>637324620</c:v>
                </c:pt>
                <c:pt idx="18997">
                  <c:v>6286570</c:v>
                </c:pt>
                <c:pt idx="18998">
                  <c:v>16604662</c:v>
                </c:pt>
                <c:pt idx="18999">
                  <c:v>14421528</c:v>
                </c:pt>
                <c:pt idx="19000">
                  <c:v>50327635</c:v>
                </c:pt>
                <c:pt idx="19001">
                  <c:v>35928525</c:v>
                </c:pt>
                <c:pt idx="19002">
                  <c:v>12058400</c:v>
                </c:pt>
                <c:pt idx="19003">
                  <c:v>16883280</c:v>
                </c:pt>
                <c:pt idx="19004">
                  <c:v>74131990</c:v>
                </c:pt>
                <c:pt idx="19005">
                  <c:v>47283075</c:v>
                </c:pt>
                <c:pt idx="19006">
                  <c:v>752504110</c:v>
                </c:pt>
                <c:pt idx="19007">
                  <c:v>1017874080</c:v>
                </c:pt>
                <c:pt idx="19008">
                  <c:v>1298384533</c:v>
                </c:pt>
                <c:pt idx="19009">
                  <c:v>13077318</c:v>
                </c:pt>
                <c:pt idx="19010">
                  <c:v>7654192</c:v>
                </c:pt>
                <c:pt idx="19011">
                  <c:v>794018859</c:v>
                </c:pt>
                <c:pt idx="19012">
                  <c:v>45902559</c:v>
                </c:pt>
                <c:pt idx="19013">
                  <c:v>233570337</c:v>
                </c:pt>
                <c:pt idx="19014">
                  <c:v>16803432</c:v>
                </c:pt>
                <c:pt idx="19015">
                  <c:v>18143334</c:v>
                </c:pt>
                <c:pt idx="19016">
                  <c:v>31155894</c:v>
                </c:pt>
                <c:pt idx="19017">
                  <c:v>80399536</c:v>
                </c:pt>
                <c:pt idx="19018">
                  <c:v>79477170</c:v>
                </c:pt>
                <c:pt idx="19019">
                  <c:v>37578162</c:v>
                </c:pt>
                <c:pt idx="19020">
                  <c:v>26925912</c:v>
                </c:pt>
                <c:pt idx="19021">
                  <c:v>138398736</c:v>
                </c:pt>
                <c:pt idx="19022">
                  <c:v>41235460</c:v>
                </c:pt>
                <c:pt idx="19023">
                  <c:v>6536600</c:v>
                </c:pt>
                <c:pt idx="19024">
                  <c:v>100034935</c:v>
                </c:pt>
                <c:pt idx="19025">
                  <c:v>8603100</c:v>
                </c:pt>
                <c:pt idx="19026">
                  <c:v>13475864</c:v>
                </c:pt>
                <c:pt idx="19027">
                  <c:v>578109126</c:v>
                </c:pt>
                <c:pt idx="19028">
                  <c:v>42724876</c:v>
                </c:pt>
                <c:pt idx="19029">
                  <c:v>2560404</c:v>
                </c:pt>
                <c:pt idx="19030">
                  <c:v>297273714</c:v>
                </c:pt>
                <c:pt idx="19031">
                  <c:v>4392804</c:v>
                </c:pt>
                <c:pt idx="19032">
                  <c:v>78509662</c:v>
                </c:pt>
                <c:pt idx="19033">
                  <c:v>51884307</c:v>
                </c:pt>
                <c:pt idx="19034">
                  <c:v>26221752</c:v>
                </c:pt>
                <c:pt idx="19035">
                  <c:v>30538440</c:v>
                </c:pt>
                <c:pt idx="19036">
                  <c:v>58143650</c:v>
                </c:pt>
                <c:pt idx="19037">
                  <c:v>41365647</c:v>
                </c:pt>
                <c:pt idx="19038">
                  <c:v>892500</c:v>
                </c:pt>
                <c:pt idx="19039">
                  <c:v>304499292</c:v>
                </c:pt>
                <c:pt idx="19040">
                  <c:v>27386445</c:v>
                </c:pt>
                <c:pt idx="19041">
                  <c:v>14372446</c:v>
                </c:pt>
                <c:pt idx="19042">
                  <c:v>20006210</c:v>
                </c:pt>
                <c:pt idx="19043">
                  <c:v>219704980</c:v>
                </c:pt>
                <c:pt idx="19044">
                  <c:v>349057836</c:v>
                </c:pt>
                <c:pt idx="19045">
                  <c:v>42130386</c:v>
                </c:pt>
                <c:pt idx="19046">
                  <c:v>14944744</c:v>
                </c:pt>
                <c:pt idx="19047">
                  <c:v>50683374</c:v>
                </c:pt>
                <c:pt idx="19048">
                  <c:v>50793949</c:v>
                </c:pt>
                <c:pt idx="19049">
                  <c:v>154173480</c:v>
                </c:pt>
                <c:pt idx="19050">
                  <c:v>20324520</c:v>
                </c:pt>
                <c:pt idx="19051">
                  <c:v>110564741</c:v>
                </c:pt>
                <c:pt idx="19052">
                  <c:v>70326046</c:v>
                </c:pt>
                <c:pt idx="19053">
                  <c:v>114822048</c:v>
                </c:pt>
                <c:pt idx="19054">
                  <c:v>140950600</c:v>
                </c:pt>
                <c:pt idx="19055">
                  <c:v>38398707</c:v>
                </c:pt>
                <c:pt idx="19056">
                  <c:v>37468254</c:v>
                </c:pt>
                <c:pt idx="19057">
                  <c:v>63023820</c:v>
                </c:pt>
                <c:pt idx="19058">
                  <c:v>13677360</c:v>
                </c:pt>
                <c:pt idx="19059">
                  <c:v>22973910</c:v>
                </c:pt>
                <c:pt idx="19060">
                  <c:v>621036213</c:v>
                </c:pt>
                <c:pt idx="19061">
                  <c:v>69470268</c:v>
                </c:pt>
                <c:pt idx="19062">
                  <c:v>49170544</c:v>
                </c:pt>
                <c:pt idx="19063">
                  <c:v>23982760</c:v>
                </c:pt>
                <c:pt idx="19064">
                  <c:v>29683808</c:v>
                </c:pt>
                <c:pt idx="19065">
                  <c:v>22215080</c:v>
                </c:pt>
                <c:pt idx="19066">
                  <c:v>36583080</c:v>
                </c:pt>
                <c:pt idx="19067">
                  <c:v>15402410</c:v>
                </c:pt>
                <c:pt idx="19068">
                  <c:v>36216793</c:v>
                </c:pt>
                <c:pt idx="19069">
                  <c:v>12996875</c:v>
                </c:pt>
                <c:pt idx="19070">
                  <c:v>48438411</c:v>
                </c:pt>
                <c:pt idx="19071">
                  <c:v>662551605</c:v>
                </c:pt>
                <c:pt idx="19072">
                  <c:v>7723952</c:v>
                </c:pt>
                <c:pt idx="19073">
                  <c:v>31322134</c:v>
                </c:pt>
                <c:pt idx="19074">
                  <c:v>49791840</c:v>
                </c:pt>
                <c:pt idx="19075">
                  <c:v>335575385</c:v>
                </c:pt>
                <c:pt idx="19076">
                  <c:v>5849520</c:v>
                </c:pt>
                <c:pt idx="19077">
                  <c:v>255369338</c:v>
                </c:pt>
                <c:pt idx="19078">
                  <c:v>206063091</c:v>
                </c:pt>
                <c:pt idx="19079">
                  <c:v>4140690</c:v>
                </c:pt>
                <c:pt idx="19080">
                  <c:v>87578186</c:v>
                </c:pt>
                <c:pt idx="19081">
                  <c:v>47078304</c:v>
                </c:pt>
                <c:pt idx="19082">
                  <c:v>52852501</c:v>
                </c:pt>
                <c:pt idx="19083">
                  <c:v>912717036</c:v>
                </c:pt>
                <c:pt idx="19084">
                  <c:v>13798674</c:v>
                </c:pt>
                <c:pt idx="19085">
                  <c:v>37890984</c:v>
                </c:pt>
                <c:pt idx="19086">
                  <c:v>387423244</c:v>
                </c:pt>
                <c:pt idx="19087">
                  <c:v>213610654</c:v>
                </c:pt>
                <c:pt idx="19088">
                  <c:v>13559148</c:v>
                </c:pt>
                <c:pt idx="19089">
                  <c:v>124833852</c:v>
                </c:pt>
                <c:pt idx="19090">
                  <c:v>9153195</c:v>
                </c:pt>
                <c:pt idx="19091">
                  <c:v>14644394</c:v>
                </c:pt>
                <c:pt idx="19092">
                  <c:v>126053216</c:v>
                </c:pt>
                <c:pt idx="19093">
                  <c:v>31064496</c:v>
                </c:pt>
                <c:pt idx="19094">
                  <c:v>56679166</c:v>
                </c:pt>
                <c:pt idx="19095">
                  <c:v>33386174</c:v>
                </c:pt>
                <c:pt idx="19096">
                  <c:v>36773280</c:v>
                </c:pt>
                <c:pt idx="19097">
                  <c:v>2521513</c:v>
                </c:pt>
                <c:pt idx="19098">
                  <c:v>302603575</c:v>
                </c:pt>
                <c:pt idx="19099">
                  <c:v>1469109904</c:v>
                </c:pt>
                <c:pt idx="19100">
                  <c:v>17175480</c:v>
                </c:pt>
                <c:pt idx="19101">
                  <c:v>15920227</c:v>
                </c:pt>
                <c:pt idx="19102">
                  <c:v>22904310</c:v>
                </c:pt>
                <c:pt idx="19103">
                  <c:v>23507888</c:v>
                </c:pt>
                <c:pt idx="19104">
                  <c:v>143347517</c:v>
                </c:pt>
                <c:pt idx="19105">
                  <c:v>659880000</c:v>
                </c:pt>
                <c:pt idx="19106">
                  <c:v>622262664</c:v>
                </c:pt>
                <c:pt idx="19107">
                  <c:v>21200608</c:v>
                </c:pt>
                <c:pt idx="19108">
                  <c:v>95442014</c:v>
                </c:pt>
                <c:pt idx="19109">
                  <c:v>1081134135</c:v>
                </c:pt>
                <c:pt idx="19110">
                  <c:v>63472395</c:v>
                </c:pt>
                <c:pt idx="19111">
                  <c:v>11739728</c:v>
                </c:pt>
                <c:pt idx="19112">
                  <c:v>28333888</c:v>
                </c:pt>
                <c:pt idx="19113">
                  <c:v>38867512</c:v>
                </c:pt>
                <c:pt idx="19114">
                  <c:v>41099800</c:v>
                </c:pt>
                <c:pt idx="19115">
                  <c:v>212430240</c:v>
                </c:pt>
                <c:pt idx="19116">
                  <c:v>11565435</c:v>
                </c:pt>
                <c:pt idx="19117">
                  <c:v>16959534</c:v>
                </c:pt>
                <c:pt idx="19118">
                  <c:v>402856720</c:v>
                </c:pt>
                <c:pt idx="19119">
                  <c:v>9469560</c:v>
                </c:pt>
                <c:pt idx="19120">
                  <c:v>6359264</c:v>
                </c:pt>
                <c:pt idx="19121">
                  <c:v>257051243</c:v>
                </c:pt>
                <c:pt idx="19122">
                  <c:v>27254799</c:v>
                </c:pt>
                <c:pt idx="19123">
                  <c:v>12282479</c:v>
                </c:pt>
                <c:pt idx="19124">
                  <c:v>77807774</c:v>
                </c:pt>
                <c:pt idx="19125">
                  <c:v>54486741</c:v>
                </c:pt>
                <c:pt idx="19126">
                  <c:v>352544400</c:v>
                </c:pt>
                <c:pt idx="19127">
                  <c:v>31578358</c:v>
                </c:pt>
                <c:pt idx="19128">
                  <c:v>74134440</c:v>
                </c:pt>
                <c:pt idx="19129">
                  <c:v>99244032</c:v>
                </c:pt>
                <c:pt idx="19130">
                  <c:v>41670827</c:v>
                </c:pt>
                <c:pt idx="19131">
                  <c:v>96651792</c:v>
                </c:pt>
                <c:pt idx="19132">
                  <c:v>2176608</c:v>
                </c:pt>
                <c:pt idx="19133">
                  <c:v>6622478</c:v>
                </c:pt>
                <c:pt idx="19134">
                  <c:v>6796880</c:v>
                </c:pt>
                <c:pt idx="19135">
                  <c:v>44737572</c:v>
                </c:pt>
                <c:pt idx="19136">
                  <c:v>55545528</c:v>
                </c:pt>
                <c:pt idx="19137">
                  <c:v>6135264</c:v>
                </c:pt>
                <c:pt idx="19138">
                  <c:v>64270542</c:v>
                </c:pt>
                <c:pt idx="19139">
                  <c:v>53154154</c:v>
                </c:pt>
                <c:pt idx="19140">
                  <c:v>3584070</c:v>
                </c:pt>
                <c:pt idx="19141">
                  <c:v>31671360</c:v>
                </c:pt>
                <c:pt idx="19142">
                  <c:v>43310184</c:v>
                </c:pt>
                <c:pt idx="19143">
                  <c:v>192666488</c:v>
                </c:pt>
                <c:pt idx="19144">
                  <c:v>17837007</c:v>
                </c:pt>
                <c:pt idx="19145">
                  <c:v>23113525</c:v>
                </c:pt>
                <c:pt idx="19146">
                  <c:v>12407681</c:v>
                </c:pt>
                <c:pt idx="19147">
                  <c:v>62906292</c:v>
                </c:pt>
                <c:pt idx="19148">
                  <c:v>12388475</c:v>
                </c:pt>
                <c:pt idx="19149">
                  <c:v>23646660</c:v>
                </c:pt>
                <c:pt idx="19150">
                  <c:v>319454226</c:v>
                </c:pt>
                <c:pt idx="19151">
                  <c:v>106330224</c:v>
                </c:pt>
                <c:pt idx="19152">
                  <c:v>69174644</c:v>
                </c:pt>
                <c:pt idx="19153">
                  <c:v>113711348</c:v>
                </c:pt>
                <c:pt idx="19154">
                  <c:v>84991651</c:v>
                </c:pt>
                <c:pt idx="19155">
                  <c:v>98178048</c:v>
                </c:pt>
                <c:pt idx="19156">
                  <c:v>212736741</c:v>
                </c:pt>
                <c:pt idx="19157">
                  <c:v>104396546</c:v>
                </c:pt>
                <c:pt idx="19158">
                  <c:v>562890704</c:v>
                </c:pt>
                <c:pt idx="19159">
                  <c:v>42204600</c:v>
                </c:pt>
                <c:pt idx="19160">
                  <c:v>79493428</c:v>
                </c:pt>
                <c:pt idx="19161">
                  <c:v>113093520</c:v>
                </c:pt>
                <c:pt idx="19162">
                  <c:v>21438432</c:v>
                </c:pt>
                <c:pt idx="19163">
                  <c:v>74562252</c:v>
                </c:pt>
                <c:pt idx="19164">
                  <c:v>23304094</c:v>
                </c:pt>
                <c:pt idx="19165">
                  <c:v>555236898</c:v>
                </c:pt>
                <c:pt idx="19166">
                  <c:v>1099948620</c:v>
                </c:pt>
                <c:pt idx="19167">
                  <c:v>578222299</c:v>
                </c:pt>
                <c:pt idx="19168">
                  <c:v>1012814880</c:v>
                </c:pt>
                <c:pt idx="19169">
                  <c:v>264501730</c:v>
                </c:pt>
                <c:pt idx="19170">
                  <c:v>240424363</c:v>
                </c:pt>
                <c:pt idx="19171">
                  <c:v>237983103</c:v>
                </c:pt>
                <c:pt idx="19172">
                  <c:v>178398099</c:v>
                </c:pt>
                <c:pt idx="19173">
                  <c:v>1131752300</c:v>
                </c:pt>
                <c:pt idx="19174">
                  <c:v>683960332</c:v>
                </c:pt>
                <c:pt idx="19175">
                  <c:v>69502630</c:v>
                </c:pt>
                <c:pt idx="19176">
                  <c:v>14297904</c:v>
                </c:pt>
                <c:pt idx="19177">
                  <c:v>113754126</c:v>
                </c:pt>
                <c:pt idx="19178">
                  <c:v>38165596</c:v>
                </c:pt>
                <c:pt idx="19179">
                  <c:v>24382032</c:v>
                </c:pt>
                <c:pt idx="19180">
                  <c:v>36886839</c:v>
                </c:pt>
                <c:pt idx="19181">
                  <c:v>209842588</c:v>
                </c:pt>
                <c:pt idx="19182">
                  <c:v>28028682</c:v>
                </c:pt>
                <c:pt idx="19183">
                  <c:v>64961712</c:v>
                </c:pt>
                <c:pt idx="19184">
                  <c:v>264416928</c:v>
                </c:pt>
                <c:pt idx="19185">
                  <c:v>18030924</c:v>
                </c:pt>
                <c:pt idx="19186">
                  <c:v>693062754</c:v>
                </c:pt>
                <c:pt idx="19187">
                  <c:v>14486160</c:v>
                </c:pt>
                <c:pt idx="19188">
                  <c:v>13891206</c:v>
                </c:pt>
                <c:pt idx="19189">
                  <c:v>202227016</c:v>
                </c:pt>
                <c:pt idx="19190">
                  <c:v>27612485</c:v>
                </c:pt>
                <c:pt idx="19191">
                  <c:v>1565700</c:v>
                </c:pt>
                <c:pt idx="19192">
                  <c:v>59271982</c:v>
                </c:pt>
                <c:pt idx="19193">
                  <c:v>319071024</c:v>
                </c:pt>
                <c:pt idx="19194">
                  <c:v>270376822</c:v>
                </c:pt>
                <c:pt idx="19195">
                  <c:v>41598565</c:v>
                </c:pt>
                <c:pt idx="19196">
                  <c:v>182312130</c:v>
                </c:pt>
                <c:pt idx="19197">
                  <c:v>111623070</c:v>
                </c:pt>
                <c:pt idx="19198">
                  <c:v>182470162</c:v>
                </c:pt>
                <c:pt idx="19199">
                  <c:v>33874576</c:v>
                </c:pt>
                <c:pt idx="19200">
                  <c:v>1500843218</c:v>
                </c:pt>
                <c:pt idx="19201">
                  <c:v>63385176</c:v>
                </c:pt>
                <c:pt idx="19202">
                  <c:v>37815348</c:v>
                </c:pt>
                <c:pt idx="19203">
                  <c:v>6222771</c:v>
                </c:pt>
                <c:pt idx="19204">
                  <c:v>174860970</c:v>
                </c:pt>
                <c:pt idx="19205">
                  <c:v>92782828</c:v>
                </c:pt>
                <c:pt idx="19206">
                  <c:v>31214160</c:v>
                </c:pt>
                <c:pt idx="19207">
                  <c:v>236556519</c:v>
                </c:pt>
                <c:pt idx="19208">
                  <c:v>27481894</c:v>
                </c:pt>
                <c:pt idx="19209">
                  <c:v>150360959</c:v>
                </c:pt>
                <c:pt idx="19210">
                  <c:v>25143840</c:v>
                </c:pt>
                <c:pt idx="19211">
                  <c:v>14009620</c:v>
                </c:pt>
                <c:pt idx="19212">
                  <c:v>216812160</c:v>
                </c:pt>
                <c:pt idx="19213">
                  <c:v>187238736</c:v>
                </c:pt>
                <c:pt idx="19214">
                  <c:v>79393904</c:v>
                </c:pt>
                <c:pt idx="19215">
                  <c:v>8850735</c:v>
                </c:pt>
                <c:pt idx="19216">
                  <c:v>18543651</c:v>
                </c:pt>
                <c:pt idx="19217">
                  <c:v>192286580</c:v>
                </c:pt>
                <c:pt idx="19218">
                  <c:v>605527215</c:v>
                </c:pt>
                <c:pt idx="19219">
                  <c:v>53598480</c:v>
                </c:pt>
                <c:pt idx="19220">
                  <c:v>683008864</c:v>
                </c:pt>
                <c:pt idx="19221">
                  <c:v>860870800</c:v>
                </c:pt>
                <c:pt idx="19222">
                  <c:v>772766302</c:v>
                </c:pt>
                <c:pt idx="19223">
                  <c:v>26170600</c:v>
                </c:pt>
                <c:pt idx="19224">
                  <c:v>43818312</c:v>
                </c:pt>
                <c:pt idx="19225">
                  <c:v>10287474</c:v>
                </c:pt>
                <c:pt idx="19226">
                  <c:v>18688768</c:v>
                </c:pt>
                <c:pt idx="19227">
                  <c:v>17349090</c:v>
                </c:pt>
                <c:pt idx="19228">
                  <c:v>6402880</c:v>
                </c:pt>
                <c:pt idx="19229">
                  <c:v>66193575</c:v>
                </c:pt>
                <c:pt idx="19230">
                  <c:v>139075288</c:v>
                </c:pt>
                <c:pt idx="19231">
                  <c:v>6714734</c:v>
                </c:pt>
                <c:pt idx="19232">
                  <c:v>39340692</c:v>
                </c:pt>
                <c:pt idx="19233">
                  <c:v>12628373</c:v>
                </c:pt>
                <c:pt idx="19234">
                  <c:v>62237138</c:v>
                </c:pt>
                <c:pt idx="19235">
                  <c:v>46106050</c:v>
                </c:pt>
                <c:pt idx="19236">
                  <c:v>3794720</c:v>
                </c:pt>
                <c:pt idx="19237">
                  <c:v>2160095</c:v>
                </c:pt>
                <c:pt idx="19238">
                  <c:v>37594960</c:v>
                </c:pt>
                <c:pt idx="19239">
                  <c:v>29835520</c:v>
                </c:pt>
                <c:pt idx="19240">
                  <c:v>41668089</c:v>
                </c:pt>
                <c:pt idx="19241">
                  <c:v>131255487</c:v>
                </c:pt>
                <c:pt idx="19242">
                  <c:v>19237410</c:v>
                </c:pt>
                <c:pt idx="19243">
                  <c:v>11138482</c:v>
                </c:pt>
                <c:pt idx="19244">
                  <c:v>5519025</c:v>
                </c:pt>
                <c:pt idx="19245">
                  <c:v>52534590</c:v>
                </c:pt>
                <c:pt idx="19246">
                  <c:v>5977424</c:v>
                </c:pt>
                <c:pt idx="19247">
                  <c:v>19676547</c:v>
                </c:pt>
                <c:pt idx="19248">
                  <c:v>63144750</c:v>
                </c:pt>
                <c:pt idx="19249">
                  <c:v>4748568</c:v>
                </c:pt>
                <c:pt idx="19250">
                  <c:v>95398765</c:v>
                </c:pt>
                <c:pt idx="19251">
                  <c:v>30658597</c:v>
                </c:pt>
                <c:pt idx="19252">
                  <c:v>19255632</c:v>
                </c:pt>
                <c:pt idx="19253">
                  <c:v>14869106</c:v>
                </c:pt>
                <c:pt idx="19254">
                  <c:v>7438278</c:v>
                </c:pt>
                <c:pt idx="19255">
                  <c:v>16487200</c:v>
                </c:pt>
                <c:pt idx="19256">
                  <c:v>4112496</c:v>
                </c:pt>
                <c:pt idx="19257">
                  <c:v>50320800</c:v>
                </c:pt>
                <c:pt idx="19258">
                  <c:v>5982678</c:v>
                </c:pt>
                <c:pt idx="19259">
                  <c:v>10408588</c:v>
                </c:pt>
                <c:pt idx="19260">
                  <c:v>139459488</c:v>
                </c:pt>
                <c:pt idx="19261">
                  <c:v>12560760</c:v>
                </c:pt>
                <c:pt idx="19262">
                  <c:v>34443396</c:v>
                </c:pt>
                <c:pt idx="19263">
                  <c:v>34890544</c:v>
                </c:pt>
                <c:pt idx="19264">
                  <c:v>9849578</c:v>
                </c:pt>
                <c:pt idx="19265">
                  <c:v>9101360</c:v>
                </c:pt>
                <c:pt idx="19266">
                  <c:v>9621180</c:v>
                </c:pt>
                <c:pt idx="19267">
                  <c:v>20626920</c:v>
                </c:pt>
                <c:pt idx="19268">
                  <c:v>35536310</c:v>
                </c:pt>
                <c:pt idx="19269">
                  <c:v>22545340</c:v>
                </c:pt>
                <c:pt idx="19270">
                  <c:v>58040016</c:v>
                </c:pt>
                <c:pt idx="19271">
                  <c:v>6394896</c:v>
                </c:pt>
                <c:pt idx="19272">
                  <c:v>688259147</c:v>
                </c:pt>
                <c:pt idx="19273">
                  <c:v>146697996</c:v>
                </c:pt>
                <c:pt idx="19274">
                  <c:v>13516548</c:v>
                </c:pt>
                <c:pt idx="19275">
                  <c:v>41842575</c:v>
                </c:pt>
                <c:pt idx="19276">
                  <c:v>89762490</c:v>
                </c:pt>
                <c:pt idx="19277">
                  <c:v>60175821</c:v>
                </c:pt>
                <c:pt idx="19278">
                  <c:v>6448988</c:v>
                </c:pt>
                <c:pt idx="19279">
                  <c:v>134147904</c:v>
                </c:pt>
                <c:pt idx="19280">
                  <c:v>14528676</c:v>
                </c:pt>
                <c:pt idx="19281">
                  <c:v>26664000</c:v>
                </c:pt>
                <c:pt idx="19282">
                  <c:v>23278995</c:v>
                </c:pt>
                <c:pt idx="19283">
                  <c:v>74786208</c:v>
                </c:pt>
                <c:pt idx="19284">
                  <c:v>20131840</c:v>
                </c:pt>
                <c:pt idx="19285">
                  <c:v>20909390</c:v>
                </c:pt>
                <c:pt idx="19286">
                  <c:v>59126964</c:v>
                </c:pt>
                <c:pt idx="19287">
                  <c:v>86944320</c:v>
                </c:pt>
                <c:pt idx="19288">
                  <c:v>22603347</c:v>
                </c:pt>
                <c:pt idx="19289">
                  <c:v>32337474</c:v>
                </c:pt>
                <c:pt idx="19290">
                  <c:v>16464198</c:v>
                </c:pt>
                <c:pt idx="19291">
                  <c:v>202197438</c:v>
                </c:pt>
                <c:pt idx="19292">
                  <c:v>30075122</c:v>
                </c:pt>
                <c:pt idx="19293">
                  <c:v>241397850</c:v>
                </c:pt>
                <c:pt idx="19294">
                  <c:v>65957857</c:v>
                </c:pt>
                <c:pt idx="19295">
                  <c:v>54307264</c:v>
                </c:pt>
                <c:pt idx="19296">
                  <c:v>7392798</c:v>
                </c:pt>
                <c:pt idx="19297">
                  <c:v>31404912</c:v>
                </c:pt>
                <c:pt idx="19298">
                  <c:v>12356382</c:v>
                </c:pt>
                <c:pt idx="19299">
                  <c:v>108262944</c:v>
                </c:pt>
                <c:pt idx="19300">
                  <c:v>157423278</c:v>
                </c:pt>
                <c:pt idx="19301">
                  <c:v>89851644</c:v>
                </c:pt>
                <c:pt idx="19302">
                  <c:v>352488213</c:v>
                </c:pt>
                <c:pt idx="19303">
                  <c:v>72803856</c:v>
                </c:pt>
                <c:pt idx="19304">
                  <c:v>9312912</c:v>
                </c:pt>
                <c:pt idx="19305">
                  <c:v>307707620</c:v>
                </c:pt>
                <c:pt idx="19306">
                  <c:v>56981058</c:v>
                </c:pt>
                <c:pt idx="19307">
                  <c:v>6590249</c:v>
                </c:pt>
                <c:pt idx="19308">
                  <c:v>36486464</c:v>
                </c:pt>
                <c:pt idx="19309">
                  <c:v>28348656</c:v>
                </c:pt>
                <c:pt idx="19310">
                  <c:v>38033721</c:v>
                </c:pt>
                <c:pt idx="19311">
                  <c:v>28589787</c:v>
                </c:pt>
                <c:pt idx="19312">
                  <c:v>3683424</c:v>
                </c:pt>
                <c:pt idx="19313">
                  <c:v>25930775</c:v>
                </c:pt>
                <c:pt idx="19314">
                  <c:v>71555198</c:v>
                </c:pt>
                <c:pt idx="19315">
                  <c:v>166864635</c:v>
                </c:pt>
                <c:pt idx="19316">
                  <c:v>79421552</c:v>
                </c:pt>
                <c:pt idx="19317">
                  <c:v>209466673</c:v>
                </c:pt>
                <c:pt idx="19318">
                  <c:v>34153413</c:v>
                </c:pt>
                <c:pt idx="19319">
                  <c:v>18597390</c:v>
                </c:pt>
                <c:pt idx="19320">
                  <c:v>9180533</c:v>
                </c:pt>
                <c:pt idx="19321">
                  <c:v>42128430</c:v>
                </c:pt>
                <c:pt idx="19322">
                  <c:v>20715720</c:v>
                </c:pt>
                <c:pt idx="19323">
                  <c:v>9437280</c:v>
                </c:pt>
                <c:pt idx="19324">
                  <c:v>20496504</c:v>
                </c:pt>
                <c:pt idx="19325">
                  <c:v>11206601</c:v>
                </c:pt>
                <c:pt idx="19326">
                  <c:v>8688330</c:v>
                </c:pt>
                <c:pt idx="19327">
                  <c:v>85683298</c:v>
                </c:pt>
                <c:pt idx="19328">
                  <c:v>44639358</c:v>
                </c:pt>
                <c:pt idx="19329">
                  <c:v>17750880</c:v>
                </c:pt>
                <c:pt idx="19330">
                  <c:v>51582980</c:v>
                </c:pt>
                <c:pt idx="19331">
                  <c:v>11650926</c:v>
                </c:pt>
                <c:pt idx="19332">
                  <c:v>35794224</c:v>
                </c:pt>
                <c:pt idx="19333">
                  <c:v>6095408</c:v>
                </c:pt>
                <c:pt idx="19334">
                  <c:v>49580720</c:v>
                </c:pt>
                <c:pt idx="19335">
                  <c:v>1121319600</c:v>
                </c:pt>
                <c:pt idx="19336">
                  <c:v>362479644</c:v>
                </c:pt>
                <c:pt idx="19337">
                  <c:v>894487962</c:v>
                </c:pt>
                <c:pt idx="19338">
                  <c:v>41315736</c:v>
                </c:pt>
                <c:pt idx="19339">
                  <c:v>65630810</c:v>
                </c:pt>
                <c:pt idx="19340">
                  <c:v>26803062</c:v>
                </c:pt>
                <c:pt idx="19341">
                  <c:v>34004530</c:v>
                </c:pt>
                <c:pt idx="19342">
                  <c:v>200662236</c:v>
                </c:pt>
                <c:pt idx="19343">
                  <c:v>47719208</c:v>
                </c:pt>
                <c:pt idx="19344">
                  <c:v>7747609</c:v>
                </c:pt>
                <c:pt idx="19345">
                  <c:v>11440793</c:v>
                </c:pt>
                <c:pt idx="19346">
                  <c:v>34390926</c:v>
                </c:pt>
                <c:pt idx="19347">
                  <c:v>44822146</c:v>
                </c:pt>
                <c:pt idx="19348">
                  <c:v>17360642</c:v>
                </c:pt>
                <c:pt idx="19349">
                  <c:v>56680860</c:v>
                </c:pt>
                <c:pt idx="19350">
                  <c:v>53457020</c:v>
                </c:pt>
                <c:pt idx="19351">
                  <c:v>47604904</c:v>
                </c:pt>
                <c:pt idx="19352">
                  <c:v>24660027</c:v>
                </c:pt>
                <c:pt idx="19353">
                  <c:v>25687324</c:v>
                </c:pt>
                <c:pt idx="19354">
                  <c:v>76662670</c:v>
                </c:pt>
                <c:pt idx="19355">
                  <c:v>234903760</c:v>
                </c:pt>
                <c:pt idx="19356">
                  <c:v>87743444</c:v>
                </c:pt>
                <c:pt idx="19357">
                  <c:v>25607484</c:v>
                </c:pt>
                <c:pt idx="19358">
                  <c:v>10083744</c:v>
                </c:pt>
                <c:pt idx="19359">
                  <c:v>70946414</c:v>
                </c:pt>
                <c:pt idx="19360">
                  <c:v>16681670</c:v>
                </c:pt>
                <c:pt idx="19361">
                  <c:v>7566167</c:v>
                </c:pt>
                <c:pt idx="19362">
                  <c:v>188986508</c:v>
                </c:pt>
                <c:pt idx="19363">
                  <c:v>133800128</c:v>
                </c:pt>
                <c:pt idx="19364">
                  <c:v>38434048</c:v>
                </c:pt>
                <c:pt idx="19365">
                  <c:v>176216785</c:v>
                </c:pt>
                <c:pt idx="19366">
                  <c:v>271463665</c:v>
                </c:pt>
                <c:pt idx="19367">
                  <c:v>220674212</c:v>
                </c:pt>
                <c:pt idx="19368">
                  <c:v>25114890</c:v>
                </c:pt>
                <c:pt idx="19369">
                  <c:v>418731929</c:v>
                </c:pt>
                <c:pt idx="19370">
                  <c:v>20641122</c:v>
                </c:pt>
                <c:pt idx="19371">
                  <c:v>38580120</c:v>
                </c:pt>
                <c:pt idx="19372">
                  <c:v>16227996</c:v>
                </c:pt>
                <c:pt idx="19373">
                  <c:v>39269542</c:v>
                </c:pt>
                <c:pt idx="19374">
                  <c:v>11098470</c:v>
                </c:pt>
                <c:pt idx="19375">
                  <c:v>3368592</c:v>
                </c:pt>
                <c:pt idx="19376">
                  <c:v>39949955</c:v>
                </c:pt>
                <c:pt idx="19377">
                  <c:v>53117559</c:v>
                </c:pt>
                <c:pt idx="19378">
                  <c:v>161761792</c:v>
                </c:pt>
                <c:pt idx="19379">
                  <c:v>189867126</c:v>
                </c:pt>
                <c:pt idx="19380">
                  <c:v>17932148</c:v>
                </c:pt>
                <c:pt idx="19381">
                  <c:v>172170819</c:v>
                </c:pt>
                <c:pt idx="19382">
                  <c:v>37193990</c:v>
                </c:pt>
                <c:pt idx="19383">
                  <c:v>8962668</c:v>
                </c:pt>
                <c:pt idx="19384">
                  <c:v>50930250</c:v>
                </c:pt>
                <c:pt idx="19385">
                  <c:v>221950209</c:v>
                </c:pt>
                <c:pt idx="19386">
                  <c:v>29333556</c:v>
                </c:pt>
                <c:pt idx="19387">
                  <c:v>24047725</c:v>
                </c:pt>
                <c:pt idx="19388">
                  <c:v>652196450</c:v>
                </c:pt>
                <c:pt idx="19389">
                  <c:v>23905464</c:v>
                </c:pt>
                <c:pt idx="19390">
                  <c:v>6796151</c:v>
                </c:pt>
                <c:pt idx="19391">
                  <c:v>13605228</c:v>
                </c:pt>
                <c:pt idx="19392">
                  <c:v>39580512</c:v>
                </c:pt>
                <c:pt idx="19393">
                  <c:v>21442075</c:v>
                </c:pt>
                <c:pt idx="19394">
                  <c:v>50808384</c:v>
                </c:pt>
                <c:pt idx="19395">
                  <c:v>91287495</c:v>
                </c:pt>
                <c:pt idx="19396">
                  <c:v>39018730</c:v>
                </c:pt>
                <c:pt idx="19397">
                  <c:v>22616412</c:v>
                </c:pt>
                <c:pt idx="19398">
                  <c:v>134482135</c:v>
                </c:pt>
                <c:pt idx="19399">
                  <c:v>14218688</c:v>
                </c:pt>
                <c:pt idx="19400">
                  <c:v>707361055</c:v>
                </c:pt>
                <c:pt idx="19401">
                  <c:v>14381226</c:v>
                </c:pt>
                <c:pt idx="19402">
                  <c:v>540647868</c:v>
                </c:pt>
                <c:pt idx="19403">
                  <c:v>41139360</c:v>
                </c:pt>
                <c:pt idx="19404">
                  <c:v>6795712</c:v>
                </c:pt>
                <c:pt idx="19405">
                  <c:v>108080172</c:v>
                </c:pt>
                <c:pt idx="19406">
                  <c:v>33471724</c:v>
                </c:pt>
                <c:pt idx="19407">
                  <c:v>13847328</c:v>
                </c:pt>
                <c:pt idx="19408">
                  <c:v>15939898</c:v>
                </c:pt>
                <c:pt idx="19409">
                  <c:v>32104968</c:v>
                </c:pt>
                <c:pt idx="19410">
                  <c:v>90764136</c:v>
                </c:pt>
                <c:pt idx="19411">
                  <c:v>23143948</c:v>
                </c:pt>
                <c:pt idx="19412">
                  <c:v>4025293</c:v>
                </c:pt>
                <c:pt idx="19413">
                  <c:v>11825352</c:v>
                </c:pt>
                <c:pt idx="19414">
                  <c:v>28779832</c:v>
                </c:pt>
                <c:pt idx="19415">
                  <c:v>243882810</c:v>
                </c:pt>
                <c:pt idx="19416">
                  <c:v>101930724</c:v>
                </c:pt>
                <c:pt idx="19417">
                  <c:v>147819010</c:v>
                </c:pt>
                <c:pt idx="19418">
                  <c:v>21094911</c:v>
                </c:pt>
                <c:pt idx="19419">
                  <c:v>280805830</c:v>
                </c:pt>
                <c:pt idx="19420">
                  <c:v>49004672</c:v>
                </c:pt>
                <c:pt idx="19421">
                  <c:v>27704103</c:v>
                </c:pt>
                <c:pt idx="19422">
                  <c:v>18175914</c:v>
                </c:pt>
                <c:pt idx="19423">
                  <c:v>109933425</c:v>
                </c:pt>
                <c:pt idx="19424">
                  <c:v>66626560</c:v>
                </c:pt>
                <c:pt idx="19425">
                  <c:v>64744748</c:v>
                </c:pt>
                <c:pt idx="19426">
                  <c:v>88874717</c:v>
                </c:pt>
                <c:pt idx="19427">
                  <c:v>83247759</c:v>
                </c:pt>
                <c:pt idx="19428">
                  <c:v>13088790</c:v>
                </c:pt>
                <c:pt idx="19429">
                  <c:v>890803411</c:v>
                </c:pt>
                <c:pt idx="19430">
                  <c:v>670452228</c:v>
                </c:pt>
                <c:pt idx="19431">
                  <c:v>1513926750</c:v>
                </c:pt>
                <c:pt idx="19432">
                  <c:v>37105690</c:v>
                </c:pt>
                <c:pt idx="19433">
                  <c:v>322857500</c:v>
                </c:pt>
                <c:pt idx="19434">
                  <c:v>1052958400</c:v>
                </c:pt>
                <c:pt idx="19435">
                  <c:v>531058584</c:v>
                </c:pt>
                <c:pt idx="19436">
                  <c:v>485291785</c:v>
                </c:pt>
                <c:pt idx="19437">
                  <c:v>31181220</c:v>
                </c:pt>
                <c:pt idx="19438">
                  <c:v>92185472</c:v>
                </c:pt>
                <c:pt idx="19439">
                  <c:v>34840545</c:v>
                </c:pt>
                <c:pt idx="19440">
                  <c:v>48791384</c:v>
                </c:pt>
                <c:pt idx="19441">
                  <c:v>7846102</c:v>
                </c:pt>
                <c:pt idx="19442">
                  <c:v>6861660</c:v>
                </c:pt>
                <c:pt idx="19443">
                  <c:v>314240001</c:v>
                </c:pt>
                <c:pt idx="19444">
                  <c:v>51652006</c:v>
                </c:pt>
                <c:pt idx="19445">
                  <c:v>6569190</c:v>
                </c:pt>
                <c:pt idx="19446">
                  <c:v>28737840</c:v>
                </c:pt>
                <c:pt idx="19447">
                  <c:v>12123969</c:v>
                </c:pt>
                <c:pt idx="19448">
                  <c:v>7070256</c:v>
                </c:pt>
                <c:pt idx="19449">
                  <c:v>4266532</c:v>
                </c:pt>
                <c:pt idx="19450">
                  <c:v>209415666</c:v>
                </c:pt>
                <c:pt idx="19451">
                  <c:v>61039405</c:v>
                </c:pt>
                <c:pt idx="19452">
                  <c:v>45032320</c:v>
                </c:pt>
                <c:pt idx="19453">
                  <c:v>43943175</c:v>
                </c:pt>
                <c:pt idx="19454">
                  <c:v>29553824</c:v>
                </c:pt>
                <c:pt idx="19455">
                  <c:v>6740396</c:v>
                </c:pt>
                <c:pt idx="19456">
                  <c:v>29992459</c:v>
                </c:pt>
                <c:pt idx="19457">
                  <c:v>32146560</c:v>
                </c:pt>
                <c:pt idx="19458">
                  <c:v>14464725</c:v>
                </c:pt>
                <c:pt idx="19459">
                  <c:v>241020546</c:v>
                </c:pt>
                <c:pt idx="19460">
                  <c:v>9925916</c:v>
                </c:pt>
                <c:pt idx="19461">
                  <c:v>30742488</c:v>
                </c:pt>
                <c:pt idx="19462">
                  <c:v>28925026</c:v>
                </c:pt>
                <c:pt idx="19463">
                  <c:v>239622611</c:v>
                </c:pt>
                <c:pt idx="19464">
                  <c:v>51446964</c:v>
                </c:pt>
                <c:pt idx="19465">
                  <c:v>227154924</c:v>
                </c:pt>
                <c:pt idx="19466">
                  <c:v>3410400</c:v>
                </c:pt>
                <c:pt idx="19467">
                  <c:v>20100960</c:v>
                </c:pt>
                <c:pt idx="19468">
                  <c:v>1777776</c:v>
                </c:pt>
                <c:pt idx="19469">
                  <c:v>53224368</c:v>
                </c:pt>
                <c:pt idx="19470">
                  <c:v>20090707</c:v>
                </c:pt>
                <c:pt idx="19471">
                  <c:v>16924492</c:v>
                </c:pt>
                <c:pt idx="19472">
                  <c:v>53163792</c:v>
                </c:pt>
                <c:pt idx="19473">
                  <c:v>6029660</c:v>
                </c:pt>
                <c:pt idx="19474">
                  <c:v>3643225</c:v>
                </c:pt>
                <c:pt idx="19475">
                  <c:v>25379927</c:v>
                </c:pt>
                <c:pt idx="19476">
                  <c:v>40548592</c:v>
                </c:pt>
                <c:pt idx="19477">
                  <c:v>9056040</c:v>
                </c:pt>
                <c:pt idx="19478">
                  <c:v>77889903</c:v>
                </c:pt>
                <c:pt idx="19479">
                  <c:v>152240418</c:v>
                </c:pt>
                <c:pt idx="19480">
                  <c:v>14702796</c:v>
                </c:pt>
                <c:pt idx="19481">
                  <c:v>3209696</c:v>
                </c:pt>
                <c:pt idx="19482">
                  <c:v>11171556</c:v>
                </c:pt>
                <c:pt idx="19483">
                  <c:v>272134640</c:v>
                </c:pt>
                <c:pt idx="19484">
                  <c:v>686081280</c:v>
                </c:pt>
                <c:pt idx="19485">
                  <c:v>67349310</c:v>
                </c:pt>
                <c:pt idx="19486">
                  <c:v>7029000</c:v>
                </c:pt>
                <c:pt idx="19487">
                  <c:v>46179110</c:v>
                </c:pt>
                <c:pt idx="19488">
                  <c:v>64526704</c:v>
                </c:pt>
                <c:pt idx="19489">
                  <c:v>63970134</c:v>
                </c:pt>
                <c:pt idx="19490">
                  <c:v>19414719</c:v>
                </c:pt>
                <c:pt idx="19491">
                  <c:v>29543904</c:v>
                </c:pt>
                <c:pt idx="19492">
                  <c:v>8520000</c:v>
                </c:pt>
                <c:pt idx="19493">
                  <c:v>35878419</c:v>
                </c:pt>
                <c:pt idx="19494">
                  <c:v>4339692</c:v>
                </c:pt>
                <c:pt idx="19495">
                  <c:v>11712234</c:v>
                </c:pt>
                <c:pt idx="19496">
                  <c:v>7259560</c:v>
                </c:pt>
                <c:pt idx="19497">
                  <c:v>16444014</c:v>
                </c:pt>
                <c:pt idx="19498">
                  <c:v>325303986</c:v>
                </c:pt>
                <c:pt idx="19499">
                  <c:v>45555510</c:v>
                </c:pt>
                <c:pt idx="19500">
                  <c:v>19437460</c:v>
                </c:pt>
                <c:pt idx="19501">
                  <c:v>76497870</c:v>
                </c:pt>
                <c:pt idx="19502">
                  <c:v>14625100</c:v>
                </c:pt>
                <c:pt idx="19503">
                  <c:v>8101196</c:v>
                </c:pt>
                <c:pt idx="19504">
                  <c:v>4430412</c:v>
                </c:pt>
                <c:pt idx="19505">
                  <c:v>56420030</c:v>
                </c:pt>
                <c:pt idx="19506">
                  <c:v>5248869</c:v>
                </c:pt>
                <c:pt idx="19507">
                  <c:v>53100871</c:v>
                </c:pt>
                <c:pt idx="19508">
                  <c:v>15330610</c:v>
                </c:pt>
                <c:pt idx="19509">
                  <c:v>5312067</c:v>
                </c:pt>
                <c:pt idx="19510">
                  <c:v>26705835</c:v>
                </c:pt>
                <c:pt idx="19511">
                  <c:v>26532704</c:v>
                </c:pt>
                <c:pt idx="19512">
                  <c:v>48087480</c:v>
                </c:pt>
                <c:pt idx="19513">
                  <c:v>271071132</c:v>
                </c:pt>
                <c:pt idx="19514">
                  <c:v>11618571</c:v>
                </c:pt>
                <c:pt idx="19515">
                  <c:v>71727120</c:v>
                </c:pt>
                <c:pt idx="19516">
                  <c:v>32030160</c:v>
                </c:pt>
                <c:pt idx="19517">
                  <c:v>552852126</c:v>
                </c:pt>
                <c:pt idx="19518">
                  <c:v>174587630</c:v>
                </c:pt>
                <c:pt idx="19519">
                  <c:v>83889198</c:v>
                </c:pt>
                <c:pt idx="19520">
                  <c:v>16212900</c:v>
                </c:pt>
                <c:pt idx="19521">
                  <c:v>200962692</c:v>
                </c:pt>
                <c:pt idx="19522">
                  <c:v>58265485</c:v>
                </c:pt>
                <c:pt idx="19523">
                  <c:v>13201024</c:v>
                </c:pt>
                <c:pt idx="19524">
                  <c:v>45788552</c:v>
                </c:pt>
                <c:pt idx="19525">
                  <c:v>36041598</c:v>
                </c:pt>
                <c:pt idx="19526">
                  <c:v>30751917</c:v>
                </c:pt>
                <c:pt idx="19527">
                  <c:v>8122192</c:v>
                </c:pt>
                <c:pt idx="19528">
                  <c:v>24668371</c:v>
                </c:pt>
                <c:pt idx="19529">
                  <c:v>82850169</c:v>
                </c:pt>
                <c:pt idx="19530">
                  <c:v>362083328</c:v>
                </c:pt>
                <c:pt idx="19531">
                  <c:v>30360970</c:v>
                </c:pt>
                <c:pt idx="19532">
                  <c:v>84849350</c:v>
                </c:pt>
                <c:pt idx="19533">
                  <c:v>4331589</c:v>
                </c:pt>
                <c:pt idx="19534">
                  <c:v>111271802</c:v>
                </c:pt>
                <c:pt idx="19535">
                  <c:v>13524246</c:v>
                </c:pt>
                <c:pt idx="19536">
                  <c:v>71771988</c:v>
                </c:pt>
                <c:pt idx="19537">
                  <c:v>51032844</c:v>
                </c:pt>
                <c:pt idx="19538">
                  <c:v>6641526</c:v>
                </c:pt>
                <c:pt idx="19539">
                  <c:v>188795149</c:v>
                </c:pt>
                <c:pt idx="19540">
                  <c:v>33120836</c:v>
                </c:pt>
                <c:pt idx="19541">
                  <c:v>25388148</c:v>
                </c:pt>
                <c:pt idx="19542">
                  <c:v>35423948</c:v>
                </c:pt>
                <c:pt idx="19543">
                  <c:v>30803640</c:v>
                </c:pt>
                <c:pt idx="19544">
                  <c:v>66575015</c:v>
                </c:pt>
                <c:pt idx="19545">
                  <c:v>60055527</c:v>
                </c:pt>
                <c:pt idx="19546">
                  <c:v>95561505</c:v>
                </c:pt>
                <c:pt idx="19547">
                  <c:v>12493845</c:v>
                </c:pt>
                <c:pt idx="19548">
                  <c:v>17463432</c:v>
                </c:pt>
                <c:pt idx="19549">
                  <c:v>16332240</c:v>
                </c:pt>
                <c:pt idx="19550">
                  <c:v>9907835</c:v>
                </c:pt>
                <c:pt idx="19551">
                  <c:v>330809920</c:v>
                </c:pt>
                <c:pt idx="19552">
                  <c:v>13584536</c:v>
                </c:pt>
                <c:pt idx="19553">
                  <c:v>369439952</c:v>
                </c:pt>
                <c:pt idx="19554">
                  <c:v>16728998</c:v>
                </c:pt>
                <c:pt idx="19555">
                  <c:v>147611673</c:v>
                </c:pt>
                <c:pt idx="19556">
                  <c:v>72852500</c:v>
                </c:pt>
                <c:pt idx="19557">
                  <c:v>3654305</c:v>
                </c:pt>
                <c:pt idx="19558">
                  <c:v>35876142</c:v>
                </c:pt>
                <c:pt idx="19559">
                  <c:v>25073140</c:v>
                </c:pt>
                <c:pt idx="19560">
                  <c:v>11144364</c:v>
                </c:pt>
                <c:pt idx="19561">
                  <c:v>70770593</c:v>
                </c:pt>
                <c:pt idx="19562">
                  <c:v>878256759</c:v>
                </c:pt>
                <c:pt idx="19563">
                  <c:v>284288535</c:v>
                </c:pt>
                <c:pt idx="19564">
                  <c:v>11278358</c:v>
                </c:pt>
                <c:pt idx="19565">
                  <c:v>19802970</c:v>
                </c:pt>
                <c:pt idx="19566">
                  <c:v>429598600</c:v>
                </c:pt>
                <c:pt idx="19567">
                  <c:v>6423300</c:v>
                </c:pt>
                <c:pt idx="19568">
                  <c:v>13961346</c:v>
                </c:pt>
                <c:pt idx="19569">
                  <c:v>38107200</c:v>
                </c:pt>
                <c:pt idx="19570">
                  <c:v>49806860</c:v>
                </c:pt>
                <c:pt idx="19571">
                  <c:v>4916223</c:v>
                </c:pt>
                <c:pt idx="19572">
                  <c:v>20488272</c:v>
                </c:pt>
                <c:pt idx="19573">
                  <c:v>29670347</c:v>
                </c:pt>
                <c:pt idx="19574">
                  <c:v>24406800</c:v>
                </c:pt>
                <c:pt idx="19575">
                  <c:v>42517461</c:v>
                </c:pt>
                <c:pt idx="19576">
                  <c:v>45032715</c:v>
                </c:pt>
                <c:pt idx="19577">
                  <c:v>18795371</c:v>
                </c:pt>
                <c:pt idx="19578">
                  <c:v>34840215</c:v>
                </c:pt>
                <c:pt idx="19579">
                  <c:v>21207900</c:v>
                </c:pt>
                <c:pt idx="19580">
                  <c:v>23499246</c:v>
                </c:pt>
                <c:pt idx="19581">
                  <c:v>17361396</c:v>
                </c:pt>
                <c:pt idx="19582">
                  <c:v>16002254</c:v>
                </c:pt>
                <c:pt idx="19583">
                  <c:v>85285660</c:v>
                </c:pt>
                <c:pt idx="19584">
                  <c:v>16543450</c:v>
                </c:pt>
                <c:pt idx="19585">
                  <c:v>14425292</c:v>
                </c:pt>
                <c:pt idx="19586">
                  <c:v>30864321</c:v>
                </c:pt>
                <c:pt idx="19587">
                  <c:v>1666181440</c:v>
                </c:pt>
                <c:pt idx="19588">
                  <c:v>1076533688</c:v>
                </c:pt>
                <c:pt idx="19589">
                  <c:v>1921312357</c:v>
                </c:pt>
                <c:pt idx="19590">
                  <c:v>376644411</c:v>
                </c:pt>
                <c:pt idx="19591">
                  <c:v>58774848</c:v>
                </c:pt>
                <c:pt idx="19592">
                  <c:v>20807100</c:v>
                </c:pt>
                <c:pt idx="19593">
                  <c:v>76412210</c:v>
                </c:pt>
                <c:pt idx="19594">
                  <c:v>218195535</c:v>
                </c:pt>
                <c:pt idx="19595">
                  <c:v>2147483647</c:v>
                </c:pt>
                <c:pt idx="19596">
                  <c:v>137021360</c:v>
                </c:pt>
                <c:pt idx="19597">
                  <c:v>537604852</c:v>
                </c:pt>
                <c:pt idx="19598">
                  <c:v>2147483647</c:v>
                </c:pt>
                <c:pt idx="19599">
                  <c:v>159299800</c:v>
                </c:pt>
                <c:pt idx="19600">
                  <c:v>826736416</c:v>
                </c:pt>
                <c:pt idx="19601">
                  <c:v>1752741570</c:v>
                </c:pt>
                <c:pt idx="19602">
                  <c:v>898979578</c:v>
                </c:pt>
                <c:pt idx="19603">
                  <c:v>6455600</c:v>
                </c:pt>
                <c:pt idx="19604">
                  <c:v>1448681696</c:v>
                </c:pt>
                <c:pt idx="19605">
                  <c:v>1161156444</c:v>
                </c:pt>
                <c:pt idx="19606">
                  <c:v>704506816</c:v>
                </c:pt>
                <c:pt idx="19607">
                  <c:v>42750081</c:v>
                </c:pt>
                <c:pt idx="19608">
                  <c:v>90773592</c:v>
                </c:pt>
                <c:pt idx="19609">
                  <c:v>526341775</c:v>
                </c:pt>
                <c:pt idx="19610">
                  <c:v>13046475</c:v>
                </c:pt>
                <c:pt idx="19611">
                  <c:v>467383116</c:v>
                </c:pt>
                <c:pt idx="19612">
                  <c:v>489422763</c:v>
                </c:pt>
                <c:pt idx="19613">
                  <c:v>893109744</c:v>
                </c:pt>
                <c:pt idx="19614">
                  <c:v>418704000</c:v>
                </c:pt>
                <c:pt idx="19615">
                  <c:v>115685068</c:v>
                </c:pt>
                <c:pt idx="19616">
                  <c:v>607404444</c:v>
                </c:pt>
                <c:pt idx="19617">
                  <c:v>562368176</c:v>
                </c:pt>
                <c:pt idx="19618">
                  <c:v>379747380</c:v>
                </c:pt>
                <c:pt idx="19619">
                  <c:v>954054076</c:v>
                </c:pt>
                <c:pt idx="19620">
                  <c:v>2024120</c:v>
                </c:pt>
                <c:pt idx="19621">
                  <c:v>71977950</c:v>
                </c:pt>
                <c:pt idx="19622">
                  <c:v>48641112</c:v>
                </c:pt>
                <c:pt idx="19623">
                  <c:v>46009656</c:v>
                </c:pt>
                <c:pt idx="19624">
                  <c:v>168353792</c:v>
                </c:pt>
                <c:pt idx="19625">
                  <c:v>477437854</c:v>
                </c:pt>
                <c:pt idx="19626">
                  <c:v>217197400</c:v>
                </c:pt>
                <c:pt idx="19627">
                  <c:v>24630280</c:v>
                </c:pt>
                <c:pt idx="19628">
                  <c:v>111453094</c:v>
                </c:pt>
                <c:pt idx="19629">
                  <c:v>137049578</c:v>
                </c:pt>
                <c:pt idx="19630">
                  <c:v>373093787</c:v>
                </c:pt>
                <c:pt idx="19631">
                  <c:v>288414918</c:v>
                </c:pt>
                <c:pt idx="19632">
                  <c:v>4583565</c:v>
                </c:pt>
                <c:pt idx="19633">
                  <c:v>438456843</c:v>
                </c:pt>
                <c:pt idx="19634">
                  <c:v>556917620</c:v>
                </c:pt>
                <c:pt idx="19635">
                  <c:v>23238881</c:v>
                </c:pt>
                <c:pt idx="19636">
                  <c:v>332437511</c:v>
                </c:pt>
                <c:pt idx="19637">
                  <c:v>162900486</c:v>
                </c:pt>
                <c:pt idx="19638">
                  <c:v>838748548</c:v>
                </c:pt>
                <c:pt idx="19639">
                  <c:v>43663968</c:v>
                </c:pt>
                <c:pt idx="19640">
                  <c:v>195561972</c:v>
                </c:pt>
                <c:pt idx="19641">
                  <c:v>89707973</c:v>
                </c:pt>
                <c:pt idx="19642">
                  <c:v>301433578</c:v>
                </c:pt>
                <c:pt idx="19643">
                  <c:v>883699008</c:v>
                </c:pt>
                <c:pt idx="19644">
                  <c:v>1297116955</c:v>
                </c:pt>
                <c:pt idx="19645">
                  <c:v>180183648</c:v>
                </c:pt>
                <c:pt idx="19646">
                  <c:v>158863760</c:v>
                </c:pt>
                <c:pt idx="19647">
                  <c:v>935093160</c:v>
                </c:pt>
                <c:pt idx="19648">
                  <c:v>1143422280</c:v>
                </c:pt>
                <c:pt idx="19649">
                  <c:v>749844288</c:v>
                </c:pt>
                <c:pt idx="19650">
                  <c:v>478253888</c:v>
                </c:pt>
                <c:pt idx="19651">
                  <c:v>555787083</c:v>
                </c:pt>
                <c:pt idx="19652">
                  <c:v>213248816</c:v>
                </c:pt>
                <c:pt idx="19653">
                  <c:v>906222410</c:v>
                </c:pt>
                <c:pt idx="19654">
                  <c:v>275922920</c:v>
                </c:pt>
                <c:pt idx="19655">
                  <c:v>1328884084</c:v>
                </c:pt>
                <c:pt idx="19656">
                  <c:v>621119520</c:v>
                </c:pt>
                <c:pt idx="19657">
                  <c:v>740853078</c:v>
                </c:pt>
                <c:pt idx="19658">
                  <c:v>1801301523</c:v>
                </c:pt>
                <c:pt idx="19659">
                  <c:v>94203046</c:v>
                </c:pt>
                <c:pt idx="19660">
                  <c:v>547331790</c:v>
                </c:pt>
                <c:pt idx="19661">
                  <c:v>2147483647</c:v>
                </c:pt>
                <c:pt idx="19662">
                  <c:v>1744867047</c:v>
                </c:pt>
                <c:pt idx="19663">
                  <c:v>1490882710</c:v>
                </c:pt>
                <c:pt idx="19664">
                  <c:v>917993280</c:v>
                </c:pt>
                <c:pt idx="19665">
                  <c:v>711515407</c:v>
                </c:pt>
                <c:pt idx="19666">
                  <c:v>349197120</c:v>
                </c:pt>
                <c:pt idx="19667">
                  <c:v>1390879896</c:v>
                </c:pt>
                <c:pt idx="19668">
                  <c:v>2147483647</c:v>
                </c:pt>
                <c:pt idx="19669">
                  <c:v>1725697512</c:v>
                </c:pt>
                <c:pt idx="19670">
                  <c:v>1944392796</c:v>
                </c:pt>
                <c:pt idx="19671">
                  <c:v>655939639</c:v>
                </c:pt>
                <c:pt idx="19672">
                  <c:v>123059504</c:v>
                </c:pt>
                <c:pt idx="19673">
                  <c:v>248770996</c:v>
                </c:pt>
                <c:pt idx="19674">
                  <c:v>466359603</c:v>
                </c:pt>
                <c:pt idx="19675">
                  <c:v>840681534</c:v>
                </c:pt>
                <c:pt idx="19676">
                  <c:v>444518960</c:v>
                </c:pt>
                <c:pt idx="19677">
                  <c:v>418340019</c:v>
                </c:pt>
                <c:pt idx="19678">
                  <c:v>875291130</c:v>
                </c:pt>
                <c:pt idx="19679">
                  <c:v>1711914496</c:v>
                </c:pt>
                <c:pt idx="19680">
                  <c:v>325038222</c:v>
                </c:pt>
                <c:pt idx="19681">
                  <c:v>529819380</c:v>
                </c:pt>
                <c:pt idx="19682">
                  <c:v>1543473932</c:v>
                </c:pt>
                <c:pt idx="19683">
                  <c:v>141817392</c:v>
                </c:pt>
                <c:pt idx="19684">
                  <c:v>1802364734</c:v>
                </c:pt>
                <c:pt idx="19685">
                  <c:v>2147483647</c:v>
                </c:pt>
                <c:pt idx="19686">
                  <c:v>2124109755</c:v>
                </c:pt>
                <c:pt idx="19687">
                  <c:v>67665367</c:v>
                </c:pt>
                <c:pt idx="19688">
                  <c:v>35066304</c:v>
                </c:pt>
                <c:pt idx="19689">
                  <c:v>145087236</c:v>
                </c:pt>
                <c:pt idx="19690">
                  <c:v>5838090</c:v>
                </c:pt>
                <c:pt idx="19691">
                  <c:v>42933198</c:v>
                </c:pt>
                <c:pt idx="19692">
                  <c:v>19633638</c:v>
                </c:pt>
                <c:pt idx="19693">
                  <c:v>203328752</c:v>
                </c:pt>
                <c:pt idx="19694">
                  <c:v>107109992</c:v>
                </c:pt>
                <c:pt idx="19695">
                  <c:v>52224380</c:v>
                </c:pt>
                <c:pt idx="19696">
                  <c:v>16168428</c:v>
                </c:pt>
                <c:pt idx="19697">
                  <c:v>83439909</c:v>
                </c:pt>
                <c:pt idx="19698">
                  <c:v>477513736</c:v>
                </c:pt>
                <c:pt idx="19699">
                  <c:v>51714900</c:v>
                </c:pt>
                <c:pt idx="19700">
                  <c:v>17478262</c:v>
                </c:pt>
                <c:pt idx="19701">
                  <c:v>50475474</c:v>
                </c:pt>
                <c:pt idx="19702">
                  <c:v>31749200</c:v>
                </c:pt>
                <c:pt idx="19703">
                  <c:v>112427146</c:v>
                </c:pt>
                <c:pt idx="19704">
                  <c:v>188876340</c:v>
                </c:pt>
                <c:pt idx="19705">
                  <c:v>40531776</c:v>
                </c:pt>
                <c:pt idx="19706">
                  <c:v>122730300</c:v>
                </c:pt>
                <c:pt idx="19707">
                  <c:v>258863703</c:v>
                </c:pt>
                <c:pt idx="19708">
                  <c:v>40379416</c:v>
                </c:pt>
                <c:pt idx="19709">
                  <c:v>1989464250</c:v>
                </c:pt>
                <c:pt idx="19710">
                  <c:v>1303158036</c:v>
                </c:pt>
                <c:pt idx="19711">
                  <c:v>2045623410</c:v>
                </c:pt>
                <c:pt idx="19712">
                  <c:v>79403320</c:v>
                </c:pt>
                <c:pt idx="19713">
                  <c:v>25883775</c:v>
                </c:pt>
                <c:pt idx="19714">
                  <c:v>2147483647</c:v>
                </c:pt>
                <c:pt idx="19715">
                  <c:v>97456224</c:v>
                </c:pt>
                <c:pt idx="19716">
                  <c:v>843789278</c:v>
                </c:pt>
                <c:pt idx="19717">
                  <c:v>15650396</c:v>
                </c:pt>
                <c:pt idx="19718">
                  <c:v>19933472</c:v>
                </c:pt>
                <c:pt idx="19719">
                  <c:v>66343959</c:v>
                </c:pt>
                <c:pt idx="19720">
                  <c:v>447012335</c:v>
                </c:pt>
                <c:pt idx="19721">
                  <c:v>61096685</c:v>
                </c:pt>
                <c:pt idx="19722">
                  <c:v>1923874172</c:v>
                </c:pt>
                <c:pt idx="19723">
                  <c:v>14351818</c:v>
                </c:pt>
                <c:pt idx="19724">
                  <c:v>3720423</c:v>
                </c:pt>
                <c:pt idx="19725">
                  <c:v>29729675</c:v>
                </c:pt>
                <c:pt idx="19726">
                  <c:v>191159118</c:v>
                </c:pt>
                <c:pt idx="19727">
                  <c:v>348130536</c:v>
                </c:pt>
                <c:pt idx="19728">
                  <c:v>586418580</c:v>
                </c:pt>
                <c:pt idx="19729">
                  <c:v>13427080</c:v>
                </c:pt>
                <c:pt idx="19730">
                  <c:v>7534120</c:v>
                </c:pt>
                <c:pt idx="19731">
                  <c:v>12439614</c:v>
                </c:pt>
                <c:pt idx="19732">
                  <c:v>18877824</c:v>
                </c:pt>
                <c:pt idx="19733">
                  <c:v>91679968</c:v>
                </c:pt>
                <c:pt idx="19734">
                  <c:v>43462448</c:v>
                </c:pt>
                <c:pt idx="19735">
                  <c:v>30670236</c:v>
                </c:pt>
                <c:pt idx="19736">
                  <c:v>5722332</c:v>
                </c:pt>
                <c:pt idx="19737">
                  <c:v>2231505</c:v>
                </c:pt>
                <c:pt idx="19738">
                  <c:v>25992954</c:v>
                </c:pt>
                <c:pt idx="19739">
                  <c:v>33560142</c:v>
                </c:pt>
                <c:pt idx="19740">
                  <c:v>5987825</c:v>
                </c:pt>
                <c:pt idx="19741">
                  <c:v>77211056</c:v>
                </c:pt>
                <c:pt idx="19742">
                  <c:v>17773626</c:v>
                </c:pt>
                <c:pt idx="19743">
                  <c:v>32213315</c:v>
                </c:pt>
                <c:pt idx="19744">
                  <c:v>10571044</c:v>
                </c:pt>
                <c:pt idx="19745">
                  <c:v>30166045</c:v>
                </c:pt>
                <c:pt idx="19746">
                  <c:v>10710410</c:v>
                </c:pt>
                <c:pt idx="19747">
                  <c:v>23788800</c:v>
                </c:pt>
                <c:pt idx="19748">
                  <c:v>125140677</c:v>
                </c:pt>
                <c:pt idx="19749">
                  <c:v>7296543</c:v>
                </c:pt>
                <c:pt idx="19750">
                  <c:v>104477618</c:v>
                </c:pt>
                <c:pt idx="19751">
                  <c:v>5539894</c:v>
                </c:pt>
                <c:pt idx="19752">
                  <c:v>143737110</c:v>
                </c:pt>
                <c:pt idx="19753">
                  <c:v>31293108</c:v>
                </c:pt>
                <c:pt idx="19754">
                  <c:v>22919576</c:v>
                </c:pt>
                <c:pt idx="19755">
                  <c:v>9926082</c:v>
                </c:pt>
                <c:pt idx="19756">
                  <c:v>48573324</c:v>
                </c:pt>
                <c:pt idx="19757">
                  <c:v>28081522</c:v>
                </c:pt>
                <c:pt idx="19758">
                  <c:v>21506831</c:v>
                </c:pt>
                <c:pt idx="19759">
                  <c:v>8543808</c:v>
                </c:pt>
                <c:pt idx="19760">
                  <c:v>542060260</c:v>
                </c:pt>
                <c:pt idx="19761">
                  <c:v>21666102</c:v>
                </c:pt>
                <c:pt idx="19762">
                  <c:v>8809156</c:v>
                </c:pt>
                <c:pt idx="19763">
                  <c:v>31674901</c:v>
                </c:pt>
                <c:pt idx="19764">
                  <c:v>16876522</c:v>
                </c:pt>
                <c:pt idx="19765">
                  <c:v>16503608</c:v>
                </c:pt>
                <c:pt idx="19766">
                  <c:v>19882098</c:v>
                </c:pt>
                <c:pt idx="19767">
                  <c:v>39028218</c:v>
                </c:pt>
                <c:pt idx="19768">
                  <c:v>3066981</c:v>
                </c:pt>
                <c:pt idx="19769">
                  <c:v>4179328</c:v>
                </c:pt>
                <c:pt idx="19770">
                  <c:v>16068584</c:v>
                </c:pt>
                <c:pt idx="19771">
                  <c:v>16554762</c:v>
                </c:pt>
                <c:pt idx="19772">
                  <c:v>18812970</c:v>
                </c:pt>
                <c:pt idx="19773">
                  <c:v>33675925</c:v>
                </c:pt>
                <c:pt idx="19774">
                  <c:v>7878540</c:v>
                </c:pt>
                <c:pt idx="19775">
                  <c:v>15540668</c:v>
                </c:pt>
                <c:pt idx="19776">
                  <c:v>50580060</c:v>
                </c:pt>
                <c:pt idx="19777">
                  <c:v>180012635</c:v>
                </c:pt>
                <c:pt idx="19778">
                  <c:v>78676204</c:v>
                </c:pt>
                <c:pt idx="19779">
                  <c:v>71449204</c:v>
                </c:pt>
                <c:pt idx="19780">
                  <c:v>5040673</c:v>
                </c:pt>
                <c:pt idx="19781">
                  <c:v>13360220</c:v>
                </c:pt>
                <c:pt idx="19782">
                  <c:v>39532802</c:v>
                </c:pt>
                <c:pt idx="19783">
                  <c:v>1710320</c:v>
                </c:pt>
                <c:pt idx="19784">
                  <c:v>15089700</c:v>
                </c:pt>
                <c:pt idx="19785">
                  <c:v>21017952</c:v>
                </c:pt>
                <c:pt idx="19786">
                  <c:v>84880508</c:v>
                </c:pt>
                <c:pt idx="19787">
                  <c:v>375416554</c:v>
                </c:pt>
                <c:pt idx="19788">
                  <c:v>22756202</c:v>
                </c:pt>
                <c:pt idx="19789">
                  <c:v>46082555</c:v>
                </c:pt>
                <c:pt idx="19790">
                  <c:v>26671300</c:v>
                </c:pt>
                <c:pt idx="19791">
                  <c:v>16027046</c:v>
                </c:pt>
                <c:pt idx="19792">
                  <c:v>67608123</c:v>
                </c:pt>
                <c:pt idx="19793">
                  <c:v>13804944</c:v>
                </c:pt>
                <c:pt idx="19794">
                  <c:v>27190800</c:v>
                </c:pt>
                <c:pt idx="19795">
                  <c:v>105621088</c:v>
                </c:pt>
                <c:pt idx="19796">
                  <c:v>336077262</c:v>
                </c:pt>
                <c:pt idx="19797">
                  <c:v>26376400</c:v>
                </c:pt>
                <c:pt idx="19798">
                  <c:v>69409716</c:v>
                </c:pt>
                <c:pt idx="19799">
                  <c:v>29694600</c:v>
                </c:pt>
                <c:pt idx="19800">
                  <c:v>13207470</c:v>
                </c:pt>
                <c:pt idx="19801">
                  <c:v>9965952</c:v>
                </c:pt>
                <c:pt idx="19802">
                  <c:v>19646193</c:v>
                </c:pt>
                <c:pt idx="19803">
                  <c:v>47872370</c:v>
                </c:pt>
                <c:pt idx="19804">
                  <c:v>699921750</c:v>
                </c:pt>
                <c:pt idx="19805">
                  <c:v>296241048</c:v>
                </c:pt>
                <c:pt idx="19806">
                  <c:v>27514925</c:v>
                </c:pt>
                <c:pt idx="19807">
                  <c:v>86455206</c:v>
                </c:pt>
                <c:pt idx="19808">
                  <c:v>23482668</c:v>
                </c:pt>
                <c:pt idx="19809">
                  <c:v>12379269</c:v>
                </c:pt>
                <c:pt idx="19810">
                  <c:v>24680701</c:v>
                </c:pt>
                <c:pt idx="19811">
                  <c:v>10742948</c:v>
                </c:pt>
                <c:pt idx="19812">
                  <c:v>54971392</c:v>
                </c:pt>
                <c:pt idx="19813">
                  <c:v>24731019</c:v>
                </c:pt>
                <c:pt idx="19814">
                  <c:v>16940882</c:v>
                </c:pt>
                <c:pt idx="19815">
                  <c:v>224733300</c:v>
                </c:pt>
                <c:pt idx="19816">
                  <c:v>5045356</c:v>
                </c:pt>
                <c:pt idx="19817">
                  <c:v>386509777</c:v>
                </c:pt>
                <c:pt idx="19818">
                  <c:v>72271953</c:v>
                </c:pt>
                <c:pt idx="19819">
                  <c:v>1106569030</c:v>
                </c:pt>
                <c:pt idx="19820">
                  <c:v>155722788</c:v>
                </c:pt>
                <c:pt idx="19821">
                  <c:v>92430352</c:v>
                </c:pt>
                <c:pt idx="19822">
                  <c:v>24677066</c:v>
                </c:pt>
                <c:pt idx="19823">
                  <c:v>14389226</c:v>
                </c:pt>
                <c:pt idx="19824">
                  <c:v>99500796</c:v>
                </c:pt>
                <c:pt idx="19825">
                  <c:v>13040608</c:v>
                </c:pt>
                <c:pt idx="19826">
                  <c:v>131096000</c:v>
                </c:pt>
                <c:pt idx="19827">
                  <c:v>2152290</c:v>
                </c:pt>
                <c:pt idx="19828">
                  <c:v>3748181</c:v>
                </c:pt>
                <c:pt idx="19829">
                  <c:v>3554406</c:v>
                </c:pt>
                <c:pt idx="19830">
                  <c:v>20844228</c:v>
                </c:pt>
                <c:pt idx="19831">
                  <c:v>31146414</c:v>
                </c:pt>
                <c:pt idx="19832">
                  <c:v>21816636</c:v>
                </c:pt>
                <c:pt idx="19833">
                  <c:v>835551250</c:v>
                </c:pt>
                <c:pt idx="19834">
                  <c:v>12097370</c:v>
                </c:pt>
                <c:pt idx="19835">
                  <c:v>13199102</c:v>
                </c:pt>
                <c:pt idx="19836">
                  <c:v>102939700</c:v>
                </c:pt>
                <c:pt idx="19837">
                  <c:v>14054670</c:v>
                </c:pt>
                <c:pt idx="19838">
                  <c:v>3691584</c:v>
                </c:pt>
                <c:pt idx="19839">
                  <c:v>27519192</c:v>
                </c:pt>
                <c:pt idx="19840">
                  <c:v>144193601</c:v>
                </c:pt>
                <c:pt idx="19841">
                  <c:v>87741126</c:v>
                </c:pt>
                <c:pt idx="19842">
                  <c:v>26299230</c:v>
                </c:pt>
                <c:pt idx="19843">
                  <c:v>6446128</c:v>
                </c:pt>
                <c:pt idx="19844">
                  <c:v>347098014</c:v>
                </c:pt>
                <c:pt idx="19845">
                  <c:v>110768368</c:v>
                </c:pt>
                <c:pt idx="19846">
                  <c:v>23675925</c:v>
                </c:pt>
                <c:pt idx="19847">
                  <c:v>28114746</c:v>
                </c:pt>
                <c:pt idx="19848">
                  <c:v>7854600</c:v>
                </c:pt>
                <c:pt idx="19849">
                  <c:v>58840113</c:v>
                </c:pt>
                <c:pt idx="19850">
                  <c:v>31575500</c:v>
                </c:pt>
                <c:pt idx="19851">
                  <c:v>4544916</c:v>
                </c:pt>
                <c:pt idx="19852">
                  <c:v>21103399</c:v>
                </c:pt>
                <c:pt idx="19853">
                  <c:v>325174934</c:v>
                </c:pt>
                <c:pt idx="19854">
                  <c:v>24226356</c:v>
                </c:pt>
                <c:pt idx="19855">
                  <c:v>135786564</c:v>
                </c:pt>
                <c:pt idx="19856">
                  <c:v>8227688</c:v>
                </c:pt>
                <c:pt idx="19857">
                  <c:v>16867620</c:v>
                </c:pt>
                <c:pt idx="19858">
                  <c:v>15920956</c:v>
                </c:pt>
                <c:pt idx="19859">
                  <c:v>81171636</c:v>
                </c:pt>
                <c:pt idx="19860">
                  <c:v>23136055</c:v>
                </c:pt>
                <c:pt idx="19861">
                  <c:v>109515978</c:v>
                </c:pt>
                <c:pt idx="19862">
                  <c:v>6617184</c:v>
                </c:pt>
                <c:pt idx="19863">
                  <c:v>40119920</c:v>
                </c:pt>
                <c:pt idx="19864">
                  <c:v>85883857</c:v>
                </c:pt>
                <c:pt idx="19865">
                  <c:v>2011406</c:v>
                </c:pt>
                <c:pt idx="19866">
                  <c:v>18813060</c:v>
                </c:pt>
                <c:pt idx="19867">
                  <c:v>5224950</c:v>
                </c:pt>
                <c:pt idx="19868">
                  <c:v>742444950</c:v>
                </c:pt>
                <c:pt idx="19869">
                  <c:v>21351750</c:v>
                </c:pt>
                <c:pt idx="19870">
                  <c:v>65791470</c:v>
                </c:pt>
                <c:pt idx="19871">
                  <c:v>145949678</c:v>
                </c:pt>
                <c:pt idx="19872">
                  <c:v>11011277</c:v>
                </c:pt>
                <c:pt idx="19873">
                  <c:v>66984919</c:v>
                </c:pt>
                <c:pt idx="19874">
                  <c:v>17722712</c:v>
                </c:pt>
                <c:pt idx="19875">
                  <c:v>30097649</c:v>
                </c:pt>
                <c:pt idx="19876">
                  <c:v>8173866</c:v>
                </c:pt>
                <c:pt idx="19877">
                  <c:v>11133612</c:v>
                </c:pt>
                <c:pt idx="19878">
                  <c:v>39043470</c:v>
                </c:pt>
                <c:pt idx="19879">
                  <c:v>23476842</c:v>
                </c:pt>
                <c:pt idx="19880">
                  <c:v>5338158</c:v>
                </c:pt>
                <c:pt idx="19881">
                  <c:v>16836280</c:v>
                </c:pt>
                <c:pt idx="19882">
                  <c:v>25431146</c:v>
                </c:pt>
                <c:pt idx="19883">
                  <c:v>16248924</c:v>
                </c:pt>
                <c:pt idx="19884">
                  <c:v>108849472</c:v>
                </c:pt>
                <c:pt idx="19885">
                  <c:v>59564128</c:v>
                </c:pt>
                <c:pt idx="19886">
                  <c:v>45068157</c:v>
                </c:pt>
                <c:pt idx="19887">
                  <c:v>42483104</c:v>
                </c:pt>
                <c:pt idx="19888">
                  <c:v>54916305</c:v>
                </c:pt>
                <c:pt idx="19889">
                  <c:v>38516160</c:v>
                </c:pt>
                <c:pt idx="19890">
                  <c:v>20484338</c:v>
                </c:pt>
                <c:pt idx="19891">
                  <c:v>134130865</c:v>
                </c:pt>
                <c:pt idx="19892">
                  <c:v>986861250</c:v>
                </c:pt>
                <c:pt idx="19893">
                  <c:v>976069398</c:v>
                </c:pt>
                <c:pt idx="19894">
                  <c:v>1157137250</c:v>
                </c:pt>
                <c:pt idx="19895">
                  <c:v>165275600</c:v>
                </c:pt>
                <c:pt idx="19896">
                  <c:v>7809342</c:v>
                </c:pt>
                <c:pt idx="19897">
                  <c:v>24020280</c:v>
                </c:pt>
                <c:pt idx="19898">
                  <c:v>69924145</c:v>
                </c:pt>
                <c:pt idx="19899">
                  <c:v>107464932</c:v>
                </c:pt>
                <c:pt idx="19900">
                  <c:v>17321381</c:v>
                </c:pt>
                <c:pt idx="19901">
                  <c:v>3156500</c:v>
                </c:pt>
                <c:pt idx="19902">
                  <c:v>427170416</c:v>
                </c:pt>
                <c:pt idx="19903">
                  <c:v>11294901</c:v>
                </c:pt>
                <c:pt idx="19904">
                  <c:v>690637815</c:v>
                </c:pt>
                <c:pt idx="19905">
                  <c:v>663380340</c:v>
                </c:pt>
                <c:pt idx="19906">
                  <c:v>403495230</c:v>
                </c:pt>
                <c:pt idx="19907">
                  <c:v>26193438</c:v>
                </c:pt>
                <c:pt idx="19908">
                  <c:v>177213631</c:v>
                </c:pt>
                <c:pt idx="19909">
                  <c:v>171417600</c:v>
                </c:pt>
                <c:pt idx="19910">
                  <c:v>146279172</c:v>
                </c:pt>
                <c:pt idx="19911">
                  <c:v>548428056</c:v>
                </c:pt>
                <c:pt idx="19912">
                  <c:v>533496266</c:v>
                </c:pt>
                <c:pt idx="19913">
                  <c:v>159417053</c:v>
                </c:pt>
                <c:pt idx="19914">
                  <c:v>66424176</c:v>
                </c:pt>
                <c:pt idx="19915">
                  <c:v>1159015077</c:v>
                </c:pt>
                <c:pt idx="19916">
                  <c:v>447030912</c:v>
                </c:pt>
                <c:pt idx="19917">
                  <c:v>466702860</c:v>
                </c:pt>
                <c:pt idx="19918">
                  <c:v>191569840</c:v>
                </c:pt>
                <c:pt idx="19919">
                  <c:v>643755456</c:v>
                </c:pt>
                <c:pt idx="19920">
                  <c:v>97040540</c:v>
                </c:pt>
                <c:pt idx="19921">
                  <c:v>230237304</c:v>
                </c:pt>
                <c:pt idx="19922">
                  <c:v>763434032</c:v>
                </c:pt>
                <c:pt idx="19923">
                  <c:v>985928940</c:v>
                </c:pt>
                <c:pt idx="19924">
                  <c:v>195363888</c:v>
                </c:pt>
                <c:pt idx="19925">
                  <c:v>1332855924</c:v>
                </c:pt>
                <c:pt idx="19926">
                  <c:v>125905104</c:v>
                </c:pt>
                <c:pt idx="19927">
                  <c:v>21000909</c:v>
                </c:pt>
                <c:pt idx="19928">
                  <c:v>9504174</c:v>
                </c:pt>
                <c:pt idx="19929">
                  <c:v>21721546</c:v>
                </c:pt>
                <c:pt idx="19930">
                  <c:v>376528635</c:v>
                </c:pt>
                <c:pt idx="19931">
                  <c:v>297106575</c:v>
                </c:pt>
                <c:pt idx="19932">
                  <c:v>43709530</c:v>
                </c:pt>
                <c:pt idx="19933">
                  <c:v>339933824</c:v>
                </c:pt>
                <c:pt idx="19934">
                  <c:v>491474880</c:v>
                </c:pt>
                <c:pt idx="19935">
                  <c:v>490102384</c:v>
                </c:pt>
                <c:pt idx="19936">
                  <c:v>1155054118</c:v>
                </c:pt>
                <c:pt idx="19937">
                  <c:v>885304895</c:v>
                </c:pt>
                <c:pt idx="19938">
                  <c:v>931411496</c:v>
                </c:pt>
                <c:pt idx="19939">
                  <c:v>51798852</c:v>
                </c:pt>
                <c:pt idx="19940">
                  <c:v>252075792</c:v>
                </c:pt>
                <c:pt idx="19941">
                  <c:v>1046796896</c:v>
                </c:pt>
                <c:pt idx="19942">
                  <c:v>40809957</c:v>
                </c:pt>
                <c:pt idx="19943">
                  <c:v>532215958</c:v>
                </c:pt>
                <c:pt idx="19944">
                  <c:v>3558978</c:v>
                </c:pt>
                <c:pt idx="19945">
                  <c:v>765710572</c:v>
                </c:pt>
                <c:pt idx="19946">
                  <c:v>30143386</c:v>
                </c:pt>
                <c:pt idx="19947">
                  <c:v>30392064</c:v>
                </c:pt>
                <c:pt idx="19948">
                  <c:v>103936692</c:v>
                </c:pt>
                <c:pt idx="19949">
                  <c:v>308268649</c:v>
                </c:pt>
                <c:pt idx="19950">
                  <c:v>349875504</c:v>
                </c:pt>
                <c:pt idx="19951">
                  <c:v>422851968</c:v>
                </c:pt>
                <c:pt idx="19952">
                  <c:v>289125620</c:v>
                </c:pt>
                <c:pt idx="19953">
                  <c:v>563462284</c:v>
                </c:pt>
                <c:pt idx="19954">
                  <c:v>762889304</c:v>
                </c:pt>
                <c:pt idx="19955">
                  <c:v>639034790</c:v>
                </c:pt>
                <c:pt idx="19956">
                  <c:v>950136456</c:v>
                </c:pt>
                <c:pt idx="19957">
                  <c:v>1117758548</c:v>
                </c:pt>
                <c:pt idx="19958">
                  <c:v>625454612</c:v>
                </c:pt>
                <c:pt idx="19959">
                  <c:v>418335502</c:v>
                </c:pt>
                <c:pt idx="19960">
                  <c:v>1410800213</c:v>
                </c:pt>
                <c:pt idx="19961">
                  <c:v>1114949970</c:v>
                </c:pt>
                <c:pt idx="19962">
                  <c:v>12300032</c:v>
                </c:pt>
                <c:pt idx="19963">
                  <c:v>203591034</c:v>
                </c:pt>
                <c:pt idx="19964">
                  <c:v>175200168</c:v>
                </c:pt>
                <c:pt idx="19965">
                  <c:v>34248830</c:v>
                </c:pt>
                <c:pt idx="19966">
                  <c:v>77577169</c:v>
                </c:pt>
                <c:pt idx="19967">
                  <c:v>274053808</c:v>
                </c:pt>
                <c:pt idx="19968">
                  <c:v>223616768</c:v>
                </c:pt>
                <c:pt idx="19969">
                  <c:v>225452044</c:v>
                </c:pt>
                <c:pt idx="19970">
                  <c:v>423696177</c:v>
                </c:pt>
                <c:pt idx="19971">
                  <c:v>723894600</c:v>
                </c:pt>
                <c:pt idx="19972">
                  <c:v>237549528</c:v>
                </c:pt>
                <c:pt idx="19973">
                  <c:v>1041763204</c:v>
                </c:pt>
                <c:pt idx="19974">
                  <c:v>528438016</c:v>
                </c:pt>
                <c:pt idx="19975">
                  <c:v>49704415</c:v>
                </c:pt>
                <c:pt idx="19976">
                  <c:v>308626968</c:v>
                </c:pt>
                <c:pt idx="19977">
                  <c:v>678776524</c:v>
                </c:pt>
                <c:pt idx="19978">
                  <c:v>105203416</c:v>
                </c:pt>
                <c:pt idx="19979">
                  <c:v>227511495</c:v>
                </c:pt>
                <c:pt idx="19980">
                  <c:v>54465840</c:v>
                </c:pt>
                <c:pt idx="19981">
                  <c:v>21261271</c:v>
                </c:pt>
                <c:pt idx="19982">
                  <c:v>140653240</c:v>
                </c:pt>
                <c:pt idx="19983">
                  <c:v>1145231571</c:v>
                </c:pt>
                <c:pt idx="19984">
                  <c:v>1607703846</c:v>
                </c:pt>
                <c:pt idx="19985">
                  <c:v>243186202</c:v>
                </c:pt>
                <c:pt idx="19986">
                  <c:v>633553455</c:v>
                </c:pt>
                <c:pt idx="19987">
                  <c:v>1046878870</c:v>
                </c:pt>
                <c:pt idx="19988">
                  <c:v>292555312</c:v>
                </c:pt>
                <c:pt idx="19989">
                  <c:v>1130445170</c:v>
                </c:pt>
                <c:pt idx="19990">
                  <c:v>246675218</c:v>
                </c:pt>
                <c:pt idx="19991">
                  <c:v>8325018</c:v>
                </c:pt>
                <c:pt idx="19992">
                  <c:v>26184306</c:v>
                </c:pt>
                <c:pt idx="19993">
                  <c:v>10813824</c:v>
                </c:pt>
                <c:pt idx="19994">
                  <c:v>33601500</c:v>
                </c:pt>
                <c:pt idx="19995">
                  <c:v>36248256</c:v>
                </c:pt>
                <c:pt idx="19996">
                  <c:v>50100204</c:v>
                </c:pt>
                <c:pt idx="19997">
                  <c:v>23956969</c:v>
                </c:pt>
                <c:pt idx="19998">
                  <c:v>12102534</c:v>
                </c:pt>
                <c:pt idx="19999">
                  <c:v>28144900</c:v>
                </c:pt>
                <c:pt idx="20000">
                  <c:v>81368416</c:v>
                </c:pt>
                <c:pt idx="20001">
                  <c:v>7457349</c:v>
                </c:pt>
                <c:pt idx="20002">
                  <c:v>18491435</c:v>
                </c:pt>
                <c:pt idx="20003">
                  <c:v>13457899</c:v>
                </c:pt>
                <c:pt idx="20004">
                  <c:v>242833215</c:v>
                </c:pt>
                <c:pt idx="20005">
                  <c:v>18831015</c:v>
                </c:pt>
                <c:pt idx="20006">
                  <c:v>12625074</c:v>
                </c:pt>
                <c:pt idx="20007">
                  <c:v>972097</c:v>
                </c:pt>
                <c:pt idx="20008">
                  <c:v>1016209</c:v>
                </c:pt>
                <c:pt idx="20009">
                  <c:v>28976410</c:v>
                </c:pt>
                <c:pt idx="20010">
                  <c:v>34766454</c:v>
                </c:pt>
                <c:pt idx="20011">
                  <c:v>14949420</c:v>
                </c:pt>
                <c:pt idx="20012">
                  <c:v>3163604</c:v>
                </c:pt>
                <c:pt idx="20013">
                  <c:v>57880788</c:v>
                </c:pt>
                <c:pt idx="20014">
                  <c:v>25855471</c:v>
                </c:pt>
                <c:pt idx="20015">
                  <c:v>19996935</c:v>
                </c:pt>
                <c:pt idx="20016">
                  <c:v>66871979</c:v>
                </c:pt>
                <c:pt idx="20017">
                  <c:v>44820255</c:v>
                </c:pt>
                <c:pt idx="20018">
                  <c:v>7678854</c:v>
                </c:pt>
                <c:pt idx="20019">
                  <c:v>29570232</c:v>
                </c:pt>
                <c:pt idx="20020">
                  <c:v>32473760</c:v>
                </c:pt>
                <c:pt idx="20021">
                  <c:v>14047434</c:v>
                </c:pt>
                <c:pt idx="20022">
                  <c:v>10061172</c:v>
                </c:pt>
                <c:pt idx="20023">
                  <c:v>4953186</c:v>
                </c:pt>
                <c:pt idx="20024">
                  <c:v>63497772</c:v>
                </c:pt>
                <c:pt idx="20025">
                  <c:v>11491065</c:v>
                </c:pt>
                <c:pt idx="20026">
                  <c:v>32095440</c:v>
                </c:pt>
                <c:pt idx="20027">
                  <c:v>2475474</c:v>
                </c:pt>
                <c:pt idx="20028">
                  <c:v>12879575</c:v>
                </c:pt>
                <c:pt idx="20029">
                  <c:v>23501032</c:v>
                </c:pt>
                <c:pt idx="20030">
                  <c:v>40946040</c:v>
                </c:pt>
                <c:pt idx="20031">
                  <c:v>115974255</c:v>
                </c:pt>
                <c:pt idx="20032">
                  <c:v>20184000</c:v>
                </c:pt>
                <c:pt idx="20033">
                  <c:v>321526920</c:v>
                </c:pt>
                <c:pt idx="20034">
                  <c:v>63948150</c:v>
                </c:pt>
                <c:pt idx="20035">
                  <c:v>43622208</c:v>
                </c:pt>
                <c:pt idx="20036">
                  <c:v>9341959</c:v>
                </c:pt>
                <c:pt idx="20037">
                  <c:v>33264467</c:v>
                </c:pt>
                <c:pt idx="20038">
                  <c:v>24591196</c:v>
                </c:pt>
                <c:pt idx="20039">
                  <c:v>7694547</c:v>
                </c:pt>
                <c:pt idx="20040">
                  <c:v>10058750</c:v>
                </c:pt>
                <c:pt idx="20041">
                  <c:v>106312635</c:v>
                </c:pt>
                <c:pt idx="20042">
                  <c:v>22570528</c:v>
                </c:pt>
                <c:pt idx="20043">
                  <c:v>12417376</c:v>
                </c:pt>
                <c:pt idx="20044">
                  <c:v>20757648</c:v>
                </c:pt>
                <c:pt idx="20045">
                  <c:v>66469494</c:v>
                </c:pt>
                <c:pt idx="20046">
                  <c:v>14842560</c:v>
                </c:pt>
                <c:pt idx="20047">
                  <c:v>24897614</c:v>
                </c:pt>
                <c:pt idx="20048">
                  <c:v>215983538</c:v>
                </c:pt>
                <c:pt idx="20049">
                  <c:v>4638858</c:v>
                </c:pt>
                <c:pt idx="20050">
                  <c:v>19474848</c:v>
                </c:pt>
                <c:pt idx="20051">
                  <c:v>58272354</c:v>
                </c:pt>
                <c:pt idx="20052">
                  <c:v>60447600</c:v>
                </c:pt>
                <c:pt idx="20053">
                  <c:v>50639484</c:v>
                </c:pt>
                <c:pt idx="20054">
                  <c:v>49949504</c:v>
                </c:pt>
                <c:pt idx="20055">
                  <c:v>29949920</c:v>
                </c:pt>
                <c:pt idx="20056">
                  <c:v>13771049</c:v>
                </c:pt>
                <c:pt idx="20057">
                  <c:v>7201750</c:v>
                </c:pt>
                <c:pt idx="20058">
                  <c:v>8546568</c:v>
                </c:pt>
                <c:pt idx="20059">
                  <c:v>4351604</c:v>
                </c:pt>
                <c:pt idx="20060">
                  <c:v>232225112</c:v>
                </c:pt>
                <c:pt idx="20061">
                  <c:v>298287927</c:v>
                </c:pt>
                <c:pt idx="20062">
                  <c:v>275037987</c:v>
                </c:pt>
                <c:pt idx="20063">
                  <c:v>419865004</c:v>
                </c:pt>
                <c:pt idx="20064">
                  <c:v>713624316</c:v>
                </c:pt>
                <c:pt idx="20065">
                  <c:v>393442920</c:v>
                </c:pt>
                <c:pt idx="20066">
                  <c:v>317688852</c:v>
                </c:pt>
                <c:pt idx="20067">
                  <c:v>16910610</c:v>
                </c:pt>
                <c:pt idx="20068">
                  <c:v>16248438</c:v>
                </c:pt>
                <c:pt idx="20069">
                  <c:v>10275344</c:v>
                </c:pt>
                <c:pt idx="20070">
                  <c:v>39789806</c:v>
                </c:pt>
                <c:pt idx="20071">
                  <c:v>18984476</c:v>
                </c:pt>
                <c:pt idx="20072">
                  <c:v>157049970</c:v>
                </c:pt>
                <c:pt idx="20073">
                  <c:v>19187420</c:v>
                </c:pt>
                <c:pt idx="20074">
                  <c:v>19324495</c:v>
                </c:pt>
                <c:pt idx="20075">
                  <c:v>9689034</c:v>
                </c:pt>
                <c:pt idx="20076">
                  <c:v>111799254</c:v>
                </c:pt>
                <c:pt idx="20077">
                  <c:v>13110064</c:v>
                </c:pt>
                <c:pt idx="20078">
                  <c:v>5938559</c:v>
                </c:pt>
                <c:pt idx="20079">
                  <c:v>13904042</c:v>
                </c:pt>
                <c:pt idx="20080">
                  <c:v>12265802</c:v>
                </c:pt>
                <c:pt idx="20081">
                  <c:v>5294304</c:v>
                </c:pt>
                <c:pt idx="20082">
                  <c:v>77208120</c:v>
                </c:pt>
                <c:pt idx="20083">
                  <c:v>17181996</c:v>
                </c:pt>
                <c:pt idx="20084">
                  <c:v>16443126</c:v>
                </c:pt>
                <c:pt idx="20085">
                  <c:v>26951688</c:v>
                </c:pt>
                <c:pt idx="20086">
                  <c:v>89261120</c:v>
                </c:pt>
                <c:pt idx="20087">
                  <c:v>5615100</c:v>
                </c:pt>
                <c:pt idx="20088">
                  <c:v>9099675</c:v>
                </c:pt>
                <c:pt idx="20089">
                  <c:v>51501780</c:v>
                </c:pt>
                <c:pt idx="20090">
                  <c:v>15665804</c:v>
                </c:pt>
                <c:pt idx="20091">
                  <c:v>14394516</c:v>
                </c:pt>
                <c:pt idx="20092">
                  <c:v>11778816</c:v>
                </c:pt>
                <c:pt idx="20093">
                  <c:v>9225740</c:v>
                </c:pt>
                <c:pt idx="20094">
                  <c:v>18996873</c:v>
                </c:pt>
                <c:pt idx="20095">
                  <c:v>7186389</c:v>
                </c:pt>
                <c:pt idx="20096">
                  <c:v>8947587</c:v>
                </c:pt>
                <c:pt idx="20097">
                  <c:v>94589524</c:v>
                </c:pt>
                <c:pt idx="20098">
                  <c:v>27582012</c:v>
                </c:pt>
                <c:pt idx="20099">
                  <c:v>11683444</c:v>
                </c:pt>
                <c:pt idx="20100">
                  <c:v>18118704</c:v>
                </c:pt>
                <c:pt idx="20101">
                  <c:v>8409030</c:v>
                </c:pt>
                <c:pt idx="20102">
                  <c:v>4873305</c:v>
                </c:pt>
                <c:pt idx="20103">
                  <c:v>47721700</c:v>
                </c:pt>
                <c:pt idx="20104">
                  <c:v>25501350</c:v>
                </c:pt>
                <c:pt idx="20105">
                  <c:v>54539880</c:v>
                </c:pt>
                <c:pt idx="20106">
                  <c:v>50235404</c:v>
                </c:pt>
                <c:pt idx="20107">
                  <c:v>2876196</c:v>
                </c:pt>
                <c:pt idx="20108">
                  <c:v>19237200</c:v>
                </c:pt>
                <c:pt idx="20109">
                  <c:v>4430900</c:v>
                </c:pt>
                <c:pt idx="20110">
                  <c:v>8584954</c:v>
                </c:pt>
                <c:pt idx="20111">
                  <c:v>200369900</c:v>
                </c:pt>
                <c:pt idx="20112">
                  <c:v>7452834</c:v>
                </c:pt>
                <c:pt idx="20113">
                  <c:v>15689840</c:v>
                </c:pt>
                <c:pt idx="20114">
                  <c:v>15251328</c:v>
                </c:pt>
                <c:pt idx="20115">
                  <c:v>447518790</c:v>
                </c:pt>
                <c:pt idx="20116">
                  <c:v>110882160</c:v>
                </c:pt>
                <c:pt idx="20117">
                  <c:v>9433652</c:v>
                </c:pt>
                <c:pt idx="20118">
                  <c:v>28902805</c:v>
                </c:pt>
                <c:pt idx="20119">
                  <c:v>44790176</c:v>
                </c:pt>
                <c:pt idx="20120">
                  <c:v>56854477</c:v>
                </c:pt>
                <c:pt idx="20121">
                  <c:v>8226470</c:v>
                </c:pt>
                <c:pt idx="20122">
                  <c:v>10249766</c:v>
                </c:pt>
                <c:pt idx="20123">
                  <c:v>184125123</c:v>
                </c:pt>
                <c:pt idx="20124">
                  <c:v>40484760</c:v>
                </c:pt>
                <c:pt idx="20125">
                  <c:v>78503828</c:v>
                </c:pt>
                <c:pt idx="20126">
                  <c:v>400788756</c:v>
                </c:pt>
                <c:pt idx="20127">
                  <c:v>32311415</c:v>
                </c:pt>
                <c:pt idx="20128">
                  <c:v>30474756</c:v>
                </c:pt>
                <c:pt idx="20129">
                  <c:v>41358600</c:v>
                </c:pt>
                <c:pt idx="20130">
                  <c:v>2853824</c:v>
                </c:pt>
                <c:pt idx="20131">
                  <c:v>73065440</c:v>
                </c:pt>
                <c:pt idx="20132">
                  <c:v>4924080</c:v>
                </c:pt>
                <c:pt idx="20133">
                  <c:v>135321552</c:v>
                </c:pt>
                <c:pt idx="20134">
                  <c:v>1446795</c:v>
                </c:pt>
                <c:pt idx="20135">
                  <c:v>56068896</c:v>
                </c:pt>
                <c:pt idx="20136">
                  <c:v>125818947</c:v>
                </c:pt>
                <c:pt idx="20137">
                  <c:v>33974749</c:v>
                </c:pt>
                <c:pt idx="20138">
                  <c:v>6425172</c:v>
                </c:pt>
                <c:pt idx="20139">
                  <c:v>17224140</c:v>
                </c:pt>
                <c:pt idx="20140">
                  <c:v>63261072</c:v>
                </c:pt>
                <c:pt idx="20141">
                  <c:v>15121822</c:v>
                </c:pt>
                <c:pt idx="20142">
                  <c:v>170751366</c:v>
                </c:pt>
                <c:pt idx="20143">
                  <c:v>37895728</c:v>
                </c:pt>
                <c:pt idx="20144">
                  <c:v>38178520</c:v>
                </c:pt>
                <c:pt idx="20145">
                  <c:v>32162424</c:v>
                </c:pt>
                <c:pt idx="20146">
                  <c:v>14252994</c:v>
                </c:pt>
                <c:pt idx="20147">
                  <c:v>26051646</c:v>
                </c:pt>
                <c:pt idx="20148">
                  <c:v>32308668</c:v>
                </c:pt>
                <c:pt idx="20149">
                  <c:v>10131524</c:v>
                </c:pt>
                <c:pt idx="20150">
                  <c:v>354470652</c:v>
                </c:pt>
                <c:pt idx="20151">
                  <c:v>85743930</c:v>
                </c:pt>
                <c:pt idx="20152">
                  <c:v>11898936</c:v>
                </c:pt>
                <c:pt idx="20153">
                  <c:v>47335529</c:v>
                </c:pt>
                <c:pt idx="20154">
                  <c:v>8721594</c:v>
                </c:pt>
                <c:pt idx="20155">
                  <c:v>2237985</c:v>
                </c:pt>
                <c:pt idx="20156">
                  <c:v>16933216</c:v>
                </c:pt>
                <c:pt idx="20157">
                  <c:v>29068500</c:v>
                </c:pt>
                <c:pt idx="20158">
                  <c:v>51253422</c:v>
                </c:pt>
                <c:pt idx="20159">
                  <c:v>17857565</c:v>
                </c:pt>
                <c:pt idx="20160">
                  <c:v>987087885</c:v>
                </c:pt>
                <c:pt idx="20161">
                  <c:v>1209658026</c:v>
                </c:pt>
                <c:pt idx="20162">
                  <c:v>15458685</c:v>
                </c:pt>
                <c:pt idx="20163">
                  <c:v>147028096</c:v>
                </c:pt>
                <c:pt idx="20164">
                  <c:v>31395910</c:v>
                </c:pt>
                <c:pt idx="20165">
                  <c:v>1079600</c:v>
                </c:pt>
                <c:pt idx="20166">
                  <c:v>336019320</c:v>
                </c:pt>
                <c:pt idx="20167">
                  <c:v>36427465</c:v>
                </c:pt>
                <c:pt idx="20168">
                  <c:v>576977448</c:v>
                </c:pt>
                <c:pt idx="20169">
                  <c:v>83825196</c:v>
                </c:pt>
                <c:pt idx="20170">
                  <c:v>17473320</c:v>
                </c:pt>
                <c:pt idx="20171">
                  <c:v>32959992</c:v>
                </c:pt>
                <c:pt idx="20172">
                  <c:v>75701934</c:v>
                </c:pt>
                <c:pt idx="20173">
                  <c:v>112506622</c:v>
                </c:pt>
                <c:pt idx="20174">
                  <c:v>6962631</c:v>
                </c:pt>
                <c:pt idx="20175">
                  <c:v>21988943</c:v>
                </c:pt>
                <c:pt idx="20176">
                  <c:v>4168907</c:v>
                </c:pt>
                <c:pt idx="20177">
                  <c:v>543369879</c:v>
                </c:pt>
                <c:pt idx="20178">
                  <c:v>78349720</c:v>
                </c:pt>
                <c:pt idx="20179">
                  <c:v>88617672</c:v>
                </c:pt>
                <c:pt idx="20180">
                  <c:v>74873220</c:v>
                </c:pt>
                <c:pt idx="20181">
                  <c:v>8096088</c:v>
                </c:pt>
                <c:pt idx="20182">
                  <c:v>32841152</c:v>
                </c:pt>
                <c:pt idx="20183">
                  <c:v>28921212</c:v>
                </c:pt>
                <c:pt idx="20184">
                  <c:v>85622208</c:v>
                </c:pt>
                <c:pt idx="20185">
                  <c:v>31362386</c:v>
                </c:pt>
                <c:pt idx="20186">
                  <c:v>112626262</c:v>
                </c:pt>
                <c:pt idx="20187">
                  <c:v>21004833</c:v>
                </c:pt>
                <c:pt idx="20188">
                  <c:v>18183947</c:v>
                </c:pt>
                <c:pt idx="20189">
                  <c:v>387317504</c:v>
                </c:pt>
                <c:pt idx="20190">
                  <c:v>25447758</c:v>
                </c:pt>
                <c:pt idx="20191">
                  <c:v>8869014</c:v>
                </c:pt>
                <c:pt idx="20192">
                  <c:v>10761912</c:v>
                </c:pt>
                <c:pt idx="20193">
                  <c:v>262811640</c:v>
                </c:pt>
                <c:pt idx="20194">
                  <c:v>30665904</c:v>
                </c:pt>
                <c:pt idx="20195">
                  <c:v>70035000</c:v>
                </c:pt>
                <c:pt idx="20196">
                  <c:v>63518752</c:v>
                </c:pt>
                <c:pt idx="20197">
                  <c:v>47777730</c:v>
                </c:pt>
                <c:pt idx="20198">
                  <c:v>19308195</c:v>
                </c:pt>
                <c:pt idx="20199">
                  <c:v>219165711</c:v>
                </c:pt>
                <c:pt idx="20200">
                  <c:v>382311160</c:v>
                </c:pt>
                <c:pt idx="20201">
                  <c:v>59682490</c:v>
                </c:pt>
                <c:pt idx="20202">
                  <c:v>29392848</c:v>
                </c:pt>
                <c:pt idx="20203">
                  <c:v>16606460</c:v>
                </c:pt>
                <c:pt idx="20204">
                  <c:v>250285056</c:v>
                </c:pt>
                <c:pt idx="20205">
                  <c:v>57634786</c:v>
                </c:pt>
                <c:pt idx="20206">
                  <c:v>18506880</c:v>
                </c:pt>
                <c:pt idx="20207">
                  <c:v>53061300</c:v>
                </c:pt>
                <c:pt idx="20208">
                  <c:v>190425030</c:v>
                </c:pt>
                <c:pt idx="20209">
                  <c:v>149297841</c:v>
                </c:pt>
                <c:pt idx="20210">
                  <c:v>32391648</c:v>
                </c:pt>
                <c:pt idx="20211">
                  <c:v>173572210</c:v>
                </c:pt>
                <c:pt idx="20212">
                  <c:v>296003565</c:v>
                </c:pt>
                <c:pt idx="20213">
                  <c:v>47091972</c:v>
                </c:pt>
                <c:pt idx="20214">
                  <c:v>43120912</c:v>
                </c:pt>
                <c:pt idx="20215">
                  <c:v>273448511</c:v>
                </c:pt>
                <c:pt idx="20216">
                  <c:v>11414725</c:v>
                </c:pt>
                <c:pt idx="20217">
                  <c:v>125907072</c:v>
                </c:pt>
                <c:pt idx="20218">
                  <c:v>119813064</c:v>
                </c:pt>
                <c:pt idx="20219">
                  <c:v>54442835</c:v>
                </c:pt>
                <c:pt idx="20220">
                  <c:v>100285319</c:v>
                </c:pt>
                <c:pt idx="20221">
                  <c:v>29470441</c:v>
                </c:pt>
                <c:pt idx="20222">
                  <c:v>28366544</c:v>
                </c:pt>
                <c:pt idx="20223">
                  <c:v>12945038</c:v>
                </c:pt>
                <c:pt idx="20224">
                  <c:v>108446410</c:v>
                </c:pt>
                <c:pt idx="20225">
                  <c:v>196374591</c:v>
                </c:pt>
                <c:pt idx="20226">
                  <c:v>158607540</c:v>
                </c:pt>
                <c:pt idx="20227">
                  <c:v>10368512</c:v>
                </c:pt>
                <c:pt idx="20228">
                  <c:v>21512718</c:v>
                </c:pt>
                <c:pt idx="20229">
                  <c:v>11413205</c:v>
                </c:pt>
                <c:pt idx="20230">
                  <c:v>50853572</c:v>
                </c:pt>
                <c:pt idx="20231">
                  <c:v>83794704</c:v>
                </c:pt>
                <c:pt idx="20232">
                  <c:v>38553786</c:v>
                </c:pt>
                <c:pt idx="20233">
                  <c:v>16514711</c:v>
                </c:pt>
                <c:pt idx="20234">
                  <c:v>12810636</c:v>
                </c:pt>
                <c:pt idx="20235">
                  <c:v>61387020</c:v>
                </c:pt>
                <c:pt idx="20236">
                  <c:v>171108868</c:v>
                </c:pt>
                <c:pt idx="20237">
                  <c:v>37668750</c:v>
                </c:pt>
                <c:pt idx="20238">
                  <c:v>66978576</c:v>
                </c:pt>
                <c:pt idx="20239">
                  <c:v>36998904</c:v>
                </c:pt>
                <c:pt idx="20240">
                  <c:v>136314089</c:v>
                </c:pt>
                <c:pt idx="20241">
                  <c:v>49930474</c:v>
                </c:pt>
                <c:pt idx="20242">
                  <c:v>816716007</c:v>
                </c:pt>
                <c:pt idx="20243">
                  <c:v>1413942534</c:v>
                </c:pt>
                <c:pt idx="20244">
                  <c:v>1162527717</c:v>
                </c:pt>
                <c:pt idx="20245">
                  <c:v>1428582808</c:v>
                </c:pt>
                <c:pt idx="20246">
                  <c:v>2147483647</c:v>
                </c:pt>
                <c:pt idx="20247">
                  <c:v>14483652</c:v>
                </c:pt>
                <c:pt idx="20248">
                  <c:v>83629018</c:v>
                </c:pt>
                <c:pt idx="20249">
                  <c:v>8311436</c:v>
                </c:pt>
                <c:pt idx="20250">
                  <c:v>257810746</c:v>
                </c:pt>
                <c:pt idx="20251">
                  <c:v>29296910</c:v>
                </c:pt>
                <c:pt idx="20252">
                  <c:v>31719074</c:v>
                </c:pt>
                <c:pt idx="20253">
                  <c:v>50920796</c:v>
                </c:pt>
                <c:pt idx="20254">
                  <c:v>260834560</c:v>
                </c:pt>
                <c:pt idx="20255">
                  <c:v>62589510</c:v>
                </c:pt>
                <c:pt idx="20256">
                  <c:v>9932220</c:v>
                </c:pt>
                <c:pt idx="20257">
                  <c:v>15598866</c:v>
                </c:pt>
                <c:pt idx="20258">
                  <c:v>86635000</c:v>
                </c:pt>
                <c:pt idx="20259">
                  <c:v>14903448</c:v>
                </c:pt>
                <c:pt idx="20260">
                  <c:v>544027132</c:v>
                </c:pt>
                <c:pt idx="20261">
                  <c:v>43446208</c:v>
                </c:pt>
                <c:pt idx="20262">
                  <c:v>146867890</c:v>
                </c:pt>
                <c:pt idx="20263">
                  <c:v>72844074</c:v>
                </c:pt>
                <c:pt idx="20264">
                  <c:v>36637863</c:v>
                </c:pt>
                <c:pt idx="20265">
                  <c:v>15610330</c:v>
                </c:pt>
                <c:pt idx="20266">
                  <c:v>63938788</c:v>
                </c:pt>
                <c:pt idx="20267">
                  <c:v>13334970</c:v>
                </c:pt>
                <c:pt idx="20268">
                  <c:v>26483565</c:v>
                </c:pt>
                <c:pt idx="20269">
                  <c:v>22296285</c:v>
                </c:pt>
                <c:pt idx="20270">
                  <c:v>29794440</c:v>
                </c:pt>
                <c:pt idx="20271">
                  <c:v>24086587</c:v>
                </c:pt>
                <c:pt idx="20272">
                  <c:v>366877041</c:v>
                </c:pt>
                <c:pt idx="20273">
                  <c:v>372356058</c:v>
                </c:pt>
                <c:pt idx="20274">
                  <c:v>47945518</c:v>
                </c:pt>
                <c:pt idx="20275">
                  <c:v>65109616</c:v>
                </c:pt>
                <c:pt idx="20276">
                  <c:v>43459920</c:v>
                </c:pt>
                <c:pt idx="20277">
                  <c:v>2104288</c:v>
                </c:pt>
                <c:pt idx="20278">
                  <c:v>73742805</c:v>
                </c:pt>
                <c:pt idx="20279">
                  <c:v>58954150</c:v>
                </c:pt>
                <c:pt idx="20280">
                  <c:v>23519241</c:v>
                </c:pt>
                <c:pt idx="20281">
                  <c:v>71504321</c:v>
                </c:pt>
                <c:pt idx="20282">
                  <c:v>19653705</c:v>
                </c:pt>
                <c:pt idx="20283">
                  <c:v>9467775</c:v>
                </c:pt>
                <c:pt idx="20284">
                  <c:v>967895651</c:v>
                </c:pt>
                <c:pt idx="20285">
                  <c:v>21249750</c:v>
                </c:pt>
                <c:pt idx="20286">
                  <c:v>14732696</c:v>
                </c:pt>
                <c:pt idx="20287">
                  <c:v>19129518</c:v>
                </c:pt>
                <c:pt idx="20288">
                  <c:v>38435540</c:v>
                </c:pt>
                <c:pt idx="20289">
                  <c:v>80705388</c:v>
                </c:pt>
                <c:pt idx="20290">
                  <c:v>41162940</c:v>
                </c:pt>
                <c:pt idx="20291">
                  <c:v>5641785</c:v>
                </c:pt>
                <c:pt idx="20292">
                  <c:v>8825560</c:v>
                </c:pt>
                <c:pt idx="20293">
                  <c:v>10932840</c:v>
                </c:pt>
                <c:pt idx="20294">
                  <c:v>41367970</c:v>
                </c:pt>
                <c:pt idx="20295">
                  <c:v>18705525</c:v>
                </c:pt>
                <c:pt idx="20296">
                  <c:v>32225520</c:v>
                </c:pt>
                <c:pt idx="20297">
                  <c:v>194642560</c:v>
                </c:pt>
                <c:pt idx="20298">
                  <c:v>48441200</c:v>
                </c:pt>
                <c:pt idx="20299">
                  <c:v>102993536</c:v>
                </c:pt>
                <c:pt idx="20300">
                  <c:v>9261396</c:v>
                </c:pt>
                <c:pt idx="20301">
                  <c:v>330864625</c:v>
                </c:pt>
                <c:pt idx="20302">
                  <c:v>5374222</c:v>
                </c:pt>
                <c:pt idx="20303">
                  <c:v>14454110</c:v>
                </c:pt>
                <c:pt idx="20304">
                  <c:v>25840284</c:v>
                </c:pt>
                <c:pt idx="20305">
                  <c:v>30850372</c:v>
                </c:pt>
                <c:pt idx="20306">
                  <c:v>59968310</c:v>
                </c:pt>
                <c:pt idx="20307">
                  <c:v>41778158</c:v>
                </c:pt>
                <c:pt idx="20308">
                  <c:v>48199770</c:v>
                </c:pt>
                <c:pt idx="20309">
                  <c:v>10713307</c:v>
                </c:pt>
                <c:pt idx="20310">
                  <c:v>258278169</c:v>
                </c:pt>
                <c:pt idx="20311">
                  <c:v>95186794</c:v>
                </c:pt>
                <c:pt idx="20312">
                  <c:v>852918288</c:v>
                </c:pt>
                <c:pt idx="20313">
                  <c:v>47179390</c:v>
                </c:pt>
                <c:pt idx="20314">
                  <c:v>9208787</c:v>
                </c:pt>
                <c:pt idx="20315">
                  <c:v>197151822</c:v>
                </c:pt>
                <c:pt idx="20316">
                  <c:v>18843804</c:v>
                </c:pt>
                <c:pt idx="20317">
                  <c:v>14813711</c:v>
                </c:pt>
                <c:pt idx="20318">
                  <c:v>68040076</c:v>
                </c:pt>
                <c:pt idx="20319">
                  <c:v>189967907</c:v>
                </c:pt>
                <c:pt idx="20320">
                  <c:v>179938260</c:v>
                </c:pt>
                <c:pt idx="20321">
                  <c:v>33577938</c:v>
                </c:pt>
                <c:pt idx="20322">
                  <c:v>31687422</c:v>
                </c:pt>
                <c:pt idx="20323">
                  <c:v>23635326</c:v>
                </c:pt>
                <c:pt idx="20324">
                  <c:v>24485547</c:v>
                </c:pt>
                <c:pt idx="20325">
                  <c:v>92540275</c:v>
                </c:pt>
                <c:pt idx="20326">
                  <c:v>89577808</c:v>
                </c:pt>
                <c:pt idx="20327">
                  <c:v>25991952</c:v>
                </c:pt>
                <c:pt idx="20328">
                  <c:v>715028269</c:v>
                </c:pt>
                <c:pt idx="20329">
                  <c:v>113801478</c:v>
                </c:pt>
                <c:pt idx="20330">
                  <c:v>19362096</c:v>
                </c:pt>
                <c:pt idx="20331">
                  <c:v>109024785</c:v>
                </c:pt>
                <c:pt idx="20332">
                  <c:v>81156137</c:v>
                </c:pt>
                <c:pt idx="20333">
                  <c:v>64573020</c:v>
                </c:pt>
                <c:pt idx="20334">
                  <c:v>26165412</c:v>
                </c:pt>
                <c:pt idx="20335">
                  <c:v>140741656</c:v>
                </c:pt>
                <c:pt idx="20336">
                  <c:v>233562000</c:v>
                </c:pt>
                <c:pt idx="20337">
                  <c:v>316805632</c:v>
                </c:pt>
                <c:pt idx="20338">
                  <c:v>115432790</c:v>
                </c:pt>
                <c:pt idx="20339">
                  <c:v>19036350</c:v>
                </c:pt>
                <c:pt idx="20340">
                  <c:v>32385972</c:v>
                </c:pt>
                <c:pt idx="20341">
                  <c:v>11333388</c:v>
                </c:pt>
                <c:pt idx="20342">
                  <c:v>34020024</c:v>
                </c:pt>
                <c:pt idx="20343">
                  <c:v>20553071</c:v>
                </c:pt>
                <c:pt idx="20344">
                  <c:v>65264382</c:v>
                </c:pt>
                <c:pt idx="20345">
                  <c:v>373323591</c:v>
                </c:pt>
                <c:pt idx="20346">
                  <c:v>288505623</c:v>
                </c:pt>
                <c:pt idx="20347">
                  <c:v>37934546</c:v>
                </c:pt>
                <c:pt idx="20348">
                  <c:v>45147429</c:v>
                </c:pt>
                <c:pt idx="20349">
                  <c:v>30717180</c:v>
                </c:pt>
                <c:pt idx="20350">
                  <c:v>14789016</c:v>
                </c:pt>
                <c:pt idx="20351">
                  <c:v>135207982</c:v>
                </c:pt>
                <c:pt idx="20352">
                  <c:v>301774365</c:v>
                </c:pt>
                <c:pt idx="20353">
                  <c:v>45584710</c:v>
                </c:pt>
                <c:pt idx="20354">
                  <c:v>193746927</c:v>
                </c:pt>
                <c:pt idx="20355">
                  <c:v>14251140</c:v>
                </c:pt>
                <c:pt idx="20356">
                  <c:v>152909167</c:v>
                </c:pt>
                <c:pt idx="20357">
                  <c:v>54557024</c:v>
                </c:pt>
                <c:pt idx="20358">
                  <c:v>44505274</c:v>
                </c:pt>
                <c:pt idx="20359">
                  <c:v>413868585</c:v>
                </c:pt>
                <c:pt idx="20360">
                  <c:v>11638479</c:v>
                </c:pt>
                <c:pt idx="20361">
                  <c:v>733867412</c:v>
                </c:pt>
                <c:pt idx="20362">
                  <c:v>35726076</c:v>
                </c:pt>
                <c:pt idx="20363">
                  <c:v>288938496</c:v>
                </c:pt>
                <c:pt idx="20364">
                  <c:v>204111780</c:v>
                </c:pt>
                <c:pt idx="20365">
                  <c:v>40173440</c:v>
                </c:pt>
                <c:pt idx="20366">
                  <c:v>228569000</c:v>
                </c:pt>
                <c:pt idx="20367">
                  <c:v>46205679</c:v>
                </c:pt>
                <c:pt idx="20368">
                  <c:v>17051840</c:v>
                </c:pt>
                <c:pt idx="20369">
                  <c:v>14463305</c:v>
                </c:pt>
                <c:pt idx="20370">
                  <c:v>16820445</c:v>
                </c:pt>
                <c:pt idx="20371">
                  <c:v>195766272</c:v>
                </c:pt>
                <c:pt idx="20372">
                  <c:v>72468354</c:v>
                </c:pt>
                <c:pt idx="20373">
                  <c:v>82225976</c:v>
                </c:pt>
                <c:pt idx="20374">
                  <c:v>17339310</c:v>
                </c:pt>
                <c:pt idx="20375">
                  <c:v>22453324</c:v>
                </c:pt>
                <c:pt idx="20376">
                  <c:v>14032992</c:v>
                </c:pt>
                <c:pt idx="20377">
                  <c:v>16821140</c:v>
                </c:pt>
                <c:pt idx="20378">
                  <c:v>27540747</c:v>
                </c:pt>
                <c:pt idx="20379">
                  <c:v>46709750</c:v>
                </c:pt>
                <c:pt idx="20380">
                  <c:v>51111151</c:v>
                </c:pt>
                <c:pt idx="20381">
                  <c:v>90648830</c:v>
                </c:pt>
                <c:pt idx="20382">
                  <c:v>202516674</c:v>
                </c:pt>
                <c:pt idx="20383">
                  <c:v>59514352</c:v>
                </c:pt>
                <c:pt idx="20384">
                  <c:v>31197496</c:v>
                </c:pt>
                <c:pt idx="20385">
                  <c:v>101764482</c:v>
                </c:pt>
                <c:pt idx="20386">
                  <c:v>143789955</c:v>
                </c:pt>
                <c:pt idx="20387">
                  <c:v>6219108</c:v>
                </c:pt>
                <c:pt idx="20388">
                  <c:v>51583752</c:v>
                </c:pt>
                <c:pt idx="20389">
                  <c:v>106398448</c:v>
                </c:pt>
                <c:pt idx="20390">
                  <c:v>4587280</c:v>
                </c:pt>
                <c:pt idx="20391">
                  <c:v>49558997</c:v>
                </c:pt>
                <c:pt idx="20392">
                  <c:v>49766457</c:v>
                </c:pt>
                <c:pt idx="20393">
                  <c:v>21044250</c:v>
                </c:pt>
                <c:pt idx="20394">
                  <c:v>54171920</c:v>
                </c:pt>
                <c:pt idx="20395">
                  <c:v>57583440</c:v>
                </c:pt>
                <c:pt idx="20396">
                  <c:v>29989625</c:v>
                </c:pt>
                <c:pt idx="20397">
                  <c:v>70682521</c:v>
                </c:pt>
                <c:pt idx="20398">
                  <c:v>225626821</c:v>
                </c:pt>
                <c:pt idx="20399">
                  <c:v>110609378</c:v>
                </c:pt>
                <c:pt idx="20400">
                  <c:v>7647800</c:v>
                </c:pt>
                <c:pt idx="20401">
                  <c:v>79450975</c:v>
                </c:pt>
                <c:pt idx="20402">
                  <c:v>32655350</c:v>
                </c:pt>
                <c:pt idx="20403">
                  <c:v>63538575</c:v>
                </c:pt>
                <c:pt idx="20404">
                  <c:v>46671421</c:v>
                </c:pt>
                <c:pt idx="20405">
                  <c:v>17706520</c:v>
                </c:pt>
                <c:pt idx="20406">
                  <c:v>160450602</c:v>
                </c:pt>
                <c:pt idx="20407">
                  <c:v>130589280</c:v>
                </c:pt>
                <c:pt idx="20408">
                  <c:v>20632752</c:v>
                </c:pt>
                <c:pt idx="20409">
                  <c:v>73372908</c:v>
                </c:pt>
                <c:pt idx="20410">
                  <c:v>99318364</c:v>
                </c:pt>
                <c:pt idx="20411">
                  <c:v>464033010</c:v>
                </c:pt>
                <c:pt idx="20412">
                  <c:v>51708160</c:v>
                </c:pt>
                <c:pt idx="20413">
                  <c:v>360015516</c:v>
                </c:pt>
                <c:pt idx="20414">
                  <c:v>29271668</c:v>
                </c:pt>
                <c:pt idx="20415">
                  <c:v>167203359</c:v>
                </c:pt>
                <c:pt idx="20416">
                  <c:v>223425146</c:v>
                </c:pt>
                <c:pt idx="20417">
                  <c:v>56522596</c:v>
                </c:pt>
                <c:pt idx="20418">
                  <c:v>1102292598</c:v>
                </c:pt>
                <c:pt idx="20419">
                  <c:v>55190126</c:v>
                </c:pt>
                <c:pt idx="20420">
                  <c:v>15388414</c:v>
                </c:pt>
                <c:pt idx="20421">
                  <c:v>1083085155</c:v>
                </c:pt>
                <c:pt idx="20422">
                  <c:v>27091200</c:v>
                </c:pt>
                <c:pt idx="20423">
                  <c:v>67811408</c:v>
                </c:pt>
                <c:pt idx="20424">
                  <c:v>24873780</c:v>
                </c:pt>
                <c:pt idx="20425">
                  <c:v>124669200</c:v>
                </c:pt>
                <c:pt idx="20426">
                  <c:v>4597572</c:v>
                </c:pt>
                <c:pt idx="20427">
                  <c:v>22042970</c:v>
                </c:pt>
                <c:pt idx="20428">
                  <c:v>13663832</c:v>
                </c:pt>
                <c:pt idx="20429">
                  <c:v>71481960</c:v>
                </c:pt>
                <c:pt idx="20430">
                  <c:v>230803500</c:v>
                </c:pt>
                <c:pt idx="20431">
                  <c:v>565667498</c:v>
                </c:pt>
                <c:pt idx="20432">
                  <c:v>27168384</c:v>
                </c:pt>
                <c:pt idx="20433">
                  <c:v>67955924</c:v>
                </c:pt>
                <c:pt idx="20434">
                  <c:v>456626085</c:v>
                </c:pt>
                <c:pt idx="20435">
                  <c:v>45674244</c:v>
                </c:pt>
                <c:pt idx="20436">
                  <c:v>168118223</c:v>
                </c:pt>
                <c:pt idx="20437">
                  <c:v>111625932</c:v>
                </c:pt>
                <c:pt idx="20438">
                  <c:v>13157880</c:v>
                </c:pt>
                <c:pt idx="20439">
                  <c:v>176505540</c:v>
                </c:pt>
                <c:pt idx="20440">
                  <c:v>35458184</c:v>
                </c:pt>
                <c:pt idx="20441">
                  <c:v>16209644</c:v>
                </c:pt>
                <c:pt idx="20442">
                  <c:v>29122083</c:v>
                </c:pt>
                <c:pt idx="20443">
                  <c:v>214552767</c:v>
                </c:pt>
                <c:pt idx="20444">
                  <c:v>20552840</c:v>
                </c:pt>
                <c:pt idx="20445">
                  <c:v>9067592</c:v>
                </c:pt>
                <c:pt idx="20446">
                  <c:v>20942640</c:v>
                </c:pt>
                <c:pt idx="20447">
                  <c:v>7132698</c:v>
                </c:pt>
                <c:pt idx="20448">
                  <c:v>25897322</c:v>
                </c:pt>
                <c:pt idx="20449">
                  <c:v>45485980</c:v>
                </c:pt>
                <c:pt idx="20450">
                  <c:v>59640828</c:v>
                </c:pt>
                <c:pt idx="20451">
                  <c:v>93925862</c:v>
                </c:pt>
                <c:pt idx="20452">
                  <c:v>50152864</c:v>
                </c:pt>
                <c:pt idx="20453">
                  <c:v>48635070</c:v>
                </c:pt>
                <c:pt idx="20454">
                  <c:v>20209908</c:v>
                </c:pt>
                <c:pt idx="20455">
                  <c:v>561342008</c:v>
                </c:pt>
                <c:pt idx="20456">
                  <c:v>8380905</c:v>
                </c:pt>
                <c:pt idx="20457">
                  <c:v>25153710</c:v>
                </c:pt>
                <c:pt idx="20458">
                  <c:v>245319756</c:v>
                </c:pt>
                <c:pt idx="20459">
                  <c:v>155997090</c:v>
                </c:pt>
                <c:pt idx="20460">
                  <c:v>44829693</c:v>
                </c:pt>
                <c:pt idx="20461">
                  <c:v>27491821</c:v>
                </c:pt>
                <c:pt idx="20462">
                  <c:v>7120845</c:v>
                </c:pt>
                <c:pt idx="20463">
                  <c:v>41267626</c:v>
                </c:pt>
                <c:pt idx="20464">
                  <c:v>14762373</c:v>
                </c:pt>
                <c:pt idx="20465">
                  <c:v>70823632</c:v>
                </c:pt>
                <c:pt idx="20466">
                  <c:v>117829719</c:v>
                </c:pt>
                <c:pt idx="20467">
                  <c:v>1142395724</c:v>
                </c:pt>
                <c:pt idx="20468">
                  <c:v>1014592846</c:v>
                </c:pt>
                <c:pt idx="20469">
                  <c:v>1460028992</c:v>
                </c:pt>
                <c:pt idx="20470">
                  <c:v>249832880</c:v>
                </c:pt>
                <c:pt idx="20471">
                  <c:v>1580278364</c:v>
                </c:pt>
                <c:pt idx="20472">
                  <c:v>676285050</c:v>
                </c:pt>
                <c:pt idx="20473">
                  <c:v>4645648</c:v>
                </c:pt>
                <c:pt idx="20474">
                  <c:v>980388220</c:v>
                </c:pt>
                <c:pt idx="20475">
                  <c:v>305749056</c:v>
                </c:pt>
                <c:pt idx="20476">
                  <c:v>263781480</c:v>
                </c:pt>
                <c:pt idx="20477">
                  <c:v>390174858</c:v>
                </c:pt>
                <c:pt idx="20478">
                  <c:v>6833800</c:v>
                </c:pt>
                <c:pt idx="20479">
                  <c:v>17826252</c:v>
                </c:pt>
                <c:pt idx="20480">
                  <c:v>369330600</c:v>
                </c:pt>
                <c:pt idx="20481">
                  <c:v>132817056</c:v>
                </c:pt>
                <c:pt idx="20482">
                  <c:v>18356472</c:v>
                </c:pt>
                <c:pt idx="20483">
                  <c:v>21167406</c:v>
                </c:pt>
                <c:pt idx="20484">
                  <c:v>9224640</c:v>
                </c:pt>
                <c:pt idx="20485">
                  <c:v>253098288</c:v>
                </c:pt>
                <c:pt idx="20486">
                  <c:v>46348848</c:v>
                </c:pt>
                <c:pt idx="20487">
                  <c:v>90527875</c:v>
                </c:pt>
                <c:pt idx="20488">
                  <c:v>24562030</c:v>
                </c:pt>
                <c:pt idx="20489">
                  <c:v>13490958</c:v>
                </c:pt>
                <c:pt idx="20490">
                  <c:v>276174576</c:v>
                </c:pt>
                <c:pt idx="20491">
                  <c:v>15258676</c:v>
                </c:pt>
                <c:pt idx="20492">
                  <c:v>820008520</c:v>
                </c:pt>
                <c:pt idx="20493">
                  <c:v>134321292</c:v>
                </c:pt>
                <c:pt idx="20494">
                  <c:v>30050640</c:v>
                </c:pt>
                <c:pt idx="20495">
                  <c:v>20572291</c:v>
                </c:pt>
                <c:pt idx="20496">
                  <c:v>17969840</c:v>
                </c:pt>
                <c:pt idx="20497">
                  <c:v>101173145</c:v>
                </c:pt>
                <c:pt idx="20498">
                  <c:v>23000252</c:v>
                </c:pt>
                <c:pt idx="20499">
                  <c:v>14308008</c:v>
                </c:pt>
                <c:pt idx="20500">
                  <c:v>331652286</c:v>
                </c:pt>
                <c:pt idx="20501">
                  <c:v>781991140</c:v>
                </c:pt>
                <c:pt idx="20502">
                  <c:v>554177610</c:v>
                </c:pt>
                <c:pt idx="20503">
                  <c:v>734380850</c:v>
                </c:pt>
                <c:pt idx="20504">
                  <c:v>1194813529</c:v>
                </c:pt>
                <c:pt idx="20505">
                  <c:v>1460371260</c:v>
                </c:pt>
                <c:pt idx="20506">
                  <c:v>82957392</c:v>
                </c:pt>
                <c:pt idx="20507">
                  <c:v>64357335</c:v>
                </c:pt>
                <c:pt idx="20508">
                  <c:v>288778087</c:v>
                </c:pt>
                <c:pt idx="20509">
                  <c:v>87519792</c:v>
                </c:pt>
                <c:pt idx="20510">
                  <c:v>39293334</c:v>
                </c:pt>
                <c:pt idx="20511">
                  <c:v>7403655</c:v>
                </c:pt>
                <c:pt idx="20512">
                  <c:v>41192084</c:v>
                </c:pt>
                <c:pt idx="20513">
                  <c:v>2147483647</c:v>
                </c:pt>
                <c:pt idx="20514">
                  <c:v>2147483647</c:v>
                </c:pt>
                <c:pt idx="20515">
                  <c:v>145443762</c:v>
                </c:pt>
                <c:pt idx="20516">
                  <c:v>99352896</c:v>
                </c:pt>
                <c:pt idx="20517">
                  <c:v>438215638</c:v>
                </c:pt>
                <c:pt idx="20518">
                  <c:v>70167529</c:v>
                </c:pt>
                <c:pt idx="20519">
                  <c:v>522295758</c:v>
                </c:pt>
                <c:pt idx="20520">
                  <c:v>56664090</c:v>
                </c:pt>
                <c:pt idx="20521">
                  <c:v>93893424</c:v>
                </c:pt>
                <c:pt idx="20522">
                  <c:v>55110510</c:v>
                </c:pt>
                <c:pt idx="20523">
                  <c:v>66917664</c:v>
                </c:pt>
                <c:pt idx="20524">
                  <c:v>31460571</c:v>
                </c:pt>
                <c:pt idx="20525">
                  <c:v>20197437</c:v>
                </c:pt>
                <c:pt idx="20526">
                  <c:v>36522800</c:v>
                </c:pt>
                <c:pt idx="20527">
                  <c:v>487749672</c:v>
                </c:pt>
                <c:pt idx="20528">
                  <c:v>643125764</c:v>
                </c:pt>
                <c:pt idx="20529">
                  <c:v>373953333</c:v>
                </c:pt>
                <c:pt idx="20530">
                  <c:v>60918770</c:v>
                </c:pt>
                <c:pt idx="20531">
                  <c:v>90266478</c:v>
                </c:pt>
                <c:pt idx="20532">
                  <c:v>65685284</c:v>
                </c:pt>
                <c:pt idx="20533">
                  <c:v>16052932</c:v>
                </c:pt>
                <c:pt idx="20534">
                  <c:v>148297916</c:v>
                </c:pt>
                <c:pt idx="20535">
                  <c:v>19390380</c:v>
                </c:pt>
                <c:pt idx="20536">
                  <c:v>9077294</c:v>
                </c:pt>
                <c:pt idx="20537">
                  <c:v>22930515</c:v>
                </c:pt>
                <c:pt idx="20538">
                  <c:v>33713784</c:v>
                </c:pt>
                <c:pt idx="20539">
                  <c:v>207424488</c:v>
                </c:pt>
                <c:pt idx="20540">
                  <c:v>549854250</c:v>
                </c:pt>
                <c:pt idx="20541">
                  <c:v>372639632</c:v>
                </c:pt>
                <c:pt idx="20542">
                  <c:v>536505788</c:v>
                </c:pt>
                <c:pt idx="20543">
                  <c:v>31853517</c:v>
                </c:pt>
                <c:pt idx="20544">
                  <c:v>570681176</c:v>
                </c:pt>
                <c:pt idx="20545">
                  <c:v>968193992</c:v>
                </c:pt>
                <c:pt idx="20546">
                  <c:v>265689120</c:v>
                </c:pt>
                <c:pt idx="20547">
                  <c:v>289230480</c:v>
                </c:pt>
                <c:pt idx="20548">
                  <c:v>676615004</c:v>
                </c:pt>
                <c:pt idx="20549">
                  <c:v>622212831</c:v>
                </c:pt>
                <c:pt idx="20550">
                  <c:v>705294506</c:v>
                </c:pt>
                <c:pt idx="20551">
                  <c:v>839059434</c:v>
                </c:pt>
                <c:pt idx="20552">
                  <c:v>907765008</c:v>
                </c:pt>
                <c:pt idx="20553">
                  <c:v>865376128</c:v>
                </c:pt>
                <c:pt idx="20554">
                  <c:v>1535432282</c:v>
                </c:pt>
                <c:pt idx="20555">
                  <c:v>1461562176</c:v>
                </c:pt>
                <c:pt idx="20556">
                  <c:v>924517185</c:v>
                </c:pt>
                <c:pt idx="20557">
                  <c:v>547799472</c:v>
                </c:pt>
                <c:pt idx="20558">
                  <c:v>1270078743</c:v>
                </c:pt>
                <c:pt idx="20559">
                  <c:v>1669140750</c:v>
                </c:pt>
                <c:pt idx="20560">
                  <c:v>465859977</c:v>
                </c:pt>
                <c:pt idx="20561">
                  <c:v>1086806840</c:v>
                </c:pt>
                <c:pt idx="20562">
                  <c:v>1258289406</c:v>
                </c:pt>
                <c:pt idx="20563">
                  <c:v>317577882</c:v>
                </c:pt>
                <c:pt idx="20564">
                  <c:v>377332988</c:v>
                </c:pt>
                <c:pt idx="20565">
                  <c:v>803286706</c:v>
                </c:pt>
                <c:pt idx="20566">
                  <c:v>590398944</c:v>
                </c:pt>
                <c:pt idx="20567">
                  <c:v>1702288665</c:v>
                </c:pt>
                <c:pt idx="20568">
                  <c:v>1377312768</c:v>
                </c:pt>
                <c:pt idx="20569">
                  <c:v>1118890620</c:v>
                </c:pt>
                <c:pt idx="20570">
                  <c:v>745425812</c:v>
                </c:pt>
                <c:pt idx="20571">
                  <c:v>432767104</c:v>
                </c:pt>
                <c:pt idx="20572">
                  <c:v>64611018</c:v>
                </c:pt>
                <c:pt idx="20573">
                  <c:v>12478120</c:v>
                </c:pt>
                <c:pt idx="20574">
                  <c:v>141533450</c:v>
                </c:pt>
                <c:pt idx="20575">
                  <c:v>24385616</c:v>
                </c:pt>
                <c:pt idx="20576">
                  <c:v>11378744</c:v>
                </c:pt>
                <c:pt idx="20577">
                  <c:v>11601905</c:v>
                </c:pt>
                <c:pt idx="20578">
                  <c:v>9608760</c:v>
                </c:pt>
                <c:pt idx="20579">
                  <c:v>181578195</c:v>
                </c:pt>
                <c:pt idx="20580">
                  <c:v>40578825</c:v>
                </c:pt>
                <c:pt idx="20581">
                  <c:v>13123863</c:v>
                </c:pt>
                <c:pt idx="20582">
                  <c:v>53153345</c:v>
                </c:pt>
                <c:pt idx="20583">
                  <c:v>78856008</c:v>
                </c:pt>
                <c:pt idx="20584">
                  <c:v>19801716</c:v>
                </c:pt>
                <c:pt idx="20585">
                  <c:v>13198713</c:v>
                </c:pt>
                <c:pt idx="20586">
                  <c:v>12972778</c:v>
                </c:pt>
                <c:pt idx="20587">
                  <c:v>14384930</c:v>
                </c:pt>
                <c:pt idx="20588">
                  <c:v>7251044</c:v>
                </c:pt>
                <c:pt idx="20589">
                  <c:v>24769837</c:v>
                </c:pt>
                <c:pt idx="20590">
                  <c:v>15955187</c:v>
                </c:pt>
                <c:pt idx="20591">
                  <c:v>14908824</c:v>
                </c:pt>
                <c:pt idx="20592">
                  <c:v>41451813</c:v>
                </c:pt>
                <c:pt idx="20593">
                  <c:v>8833818</c:v>
                </c:pt>
                <c:pt idx="20594">
                  <c:v>11408250</c:v>
                </c:pt>
                <c:pt idx="20595">
                  <c:v>15387264</c:v>
                </c:pt>
                <c:pt idx="20596">
                  <c:v>124262820</c:v>
                </c:pt>
                <c:pt idx="20597">
                  <c:v>163231225</c:v>
                </c:pt>
                <c:pt idx="20598">
                  <c:v>4011280</c:v>
                </c:pt>
                <c:pt idx="20599">
                  <c:v>56068130</c:v>
                </c:pt>
                <c:pt idx="20600">
                  <c:v>64264044</c:v>
                </c:pt>
                <c:pt idx="20601">
                  <c:v>652069340</c:v>
                </c:pt>
                <c:pt idx="20602">
                  <c:v>42276493</c:v>
                </c:pt>
                <c:pt idx="20603">
                  <c:v>49543340</c:v>
                </c:pt>
                <c:pt idx="20604">
                  <c:v>9666251</c:v>
                </c:pt>
                <c:pt idx="20605">
                  <c:v>1120563370</c:v>
                </c:pt>
                <c:pt idx="20606">
                  <c:v>843372336</c:v>
                </c:pt>
                <c:pt idx="20607">
                  <c:v>28973670</c:v>
                </c:pt>
                <c:pt idx="20608">
                  <c:v>129164560</c:v>
                </c:pt>
                <c:pt idx="20609">
                  <c:v>71086890</c:v>
                </c:pt>
                <c:pt idx="20610">
                  <c:v>18730140</c:v>
                </c:pt>
                <c:pt idx="20611">
                  <c:v>96991084</c:v>
                </c:pt>
                <c:pt idx="20612">
                  <c:v>78517860</c:v>
                </c:pt>
                <c:pt idx="20613">
                  <c:v>10319280</c:v>
                </c:pt>
                <c:pt idx="20614">
                  <c:v>7469982</c:v>
                </c:pt>
                <c:pt idx="20615">
                  <c:v>37754874</c:v>
                </c:pt>
                <c:pt idx="20616">
                  <c:v>6542818</c:v>
                </c:pt>
                <c:pt idx="20617">
                  <c:v>19958925</c:v>
                </c:pt>
                <c:pt idx="20618">
                  <c:v>39686940</c:v>
                </c:pt>
                <c:pt idx="20619">
                  <c:v>96966436</c:v>
                </c:pt>
                <c:pt idx="20620">
                  <c:v>76358400</c:v>
                </c:pt>
                <c:pt idx="20621">
                  <c:v>25755459</c:v>
                </c:pt>
                <c:pt idx="20622">
                  <c:v>4679710</c:v>
                </c:pt>
                <c:pt idx="20623">
                  <c:v>14187110</c:v>
                </c:pt>
                <c:pt idx="20624">
                  <c:v>56855664</c:v>
                </c:pt>
                <c:pt idx="20625">
                  <c:v>19565046</c:v>
                </c:pt>
                <c:pt idx="20626">
                  <c:v>51200908</c:v>
                </c:pt>
                <c:pt idx="20627">
                  <c:v>137579508</c:v>
                </c:pt>
                <c:pt idx="20628">
                  <c:v>110974896</c:v>
                </c:pt>
                <c:pt idx="20629">
                  <c:v>96881760</c:v>
                </c:pt>
                <c:pt idx="20630">
                  <c:v>33274266</c:v>
                </c:pt>
                <c:pt idx="20631">
                  <c:v>115660622</c:v>
                </c:pt>
                <c:pt idx="20632">
                  <c:v>95564182</c:v>
                </c:pt>
                <c:pt idx="20633">
                  <c:v>14657296</c:v>
                </c:pt>
                <c:pt idx="20634">
                  <c:v>114887202</c:v>
                </c:pt>
                <c:pt idx="20635">
                  <c:v>37717463</c:v>
                </c:pt>
                <c:pt idx="20636">
                  <c:v>6550800</c:v>
                </c:pt>
                <c:pt idx="20637">
                  <c:v>45497542</c:v>
                </c:pt>
                <c:pt idx="20638">
                  <c:v>272602778</c:v>
                </c:pt>
                <c:pt idx="20639">
                  <c:v>26233471</c:v>
                </c:pt>
                <c:pt idx="20640">
                  <c:v>44406108</c:v>
                </c:pt>
                <c:pt idx="20641">
                  <c:v>15177876</c:v>
                </c:pt>
                <c:pt idx="20642">
                  <c:v>13757420</c:v>
                </c:pt>
                <c:pt idx="20643">
                  <c:v>25515050</c:v>
                </c:pt>
                <c:pt idx="20644">
                  <c:v>19697556</c:v>
                </c:pt>
                <c:pt idx="20645">
                  <c:v>722880291</c:v>
                </c:pt>
                <c:pt idx="20646">
                  <c:v>531628524</c:v>
                </c:pt>
                <c:pt idx="20647">
                  <c:v>323939094</c:v>
                </c:pt>
                <c:pt idx="20648">
                  <c:v>123368948</c:v>
                </c:pt>
                <c:pt idx="20649">
                  <c:v>111680218</c:v>
                </c:pt>
                <c:pt idx="20650">
                  <c:v>235178197</c:v>
                </c:pt>
                <c:pt idx="20651">
                  <c:v>588828334</c:v>
                </c:pt>
                <c:pt idx="20652">
                  <c:v>309598466</c:v>
                </c:pt>
                <c:pt idx="20653">
                  <c:v>40771174</c:v>
                </c:pt>
                <c:pt idx="20654">
                  <c:v>1151841824</c:v>
                </c:pt>
                <c:pt idx="20655">
                  <c:v>177995955</c:v>
                </c:pt>
                <c:pt idx="20656">
                  <c:v>130653360</c:v>
                </c:pt>
                <c:pt idx="20657">
                  <c:v>300440028</c:v>
                </c:pt>
                <c:pt idx="20658">
                  <c:v>384911790</c:v>
                </c:pt>
                <c:pt idx="20659">
                  <c:v>54473468</c:v>
                </c:pt>
                <c:pt idx="20660">
                  <c:v>300209243</c:v>
                </c:pt>
                <c:pt idx="20661">
                  <c:v>15255250</c:v>
                </c:pt>
                <c:pt idx="20662">
                  <c:v>13013580</c:v>
                </c:pt>
                <c:pt idx="20663">
                  <c:v>47639984</c:v>
                </c:pt>
                <c:pt idx="20664">
                  <c:v>122241002</c:v>
                </c:pt>
                <c:pt idx="20665">
                  <c:v>3415878</c:v>
                </c:pt>
                <c:pt idx="20666">
                  <c:v>13444515</c:v>
                </c:pt>
                <c:pt idx="20667">
                  <c:v>13768920</c:v>
                </c:pt>
                <c:pt idx="20668">
                  <c:v>284957350</c:v>
                </c:pt>
                <c:pt idx="20669">
                  <c:v>23186100</c:v>
                </c:pt>
                <c:pt idx="20670">
                  <c:v>126311037</c:v>
                </c:pt>
                <c:pt idx="20671">
                  <c:v>6701100</c:v>
                </c:pt>
                <c:pt idx="20672">
                  <c:v>56424844</c:v>
                </c:pt>
                <c:pt idx="20673">
                  <c:v>107390880</c:v>
                </c:pt>
                <c:pt idx="20674">
                  <c:v>1015305</c:v>
                </c:pt>
                <c:pt idx="20675">
                  <c:v>8559225</c:v>
                </c:pt>
                <c:pt idx="20676">
                  <c:v>112558656</c:v>
                </c:pt>
                <c:pt idx="20677">
                  <c:v>5558436</c:v>
                </c:pt>
                <c:pt idx="20678">
                  <c:v>8202600</c:v>
                </c:pt>
                <c:pt idx="20679">
                  <c:v>91750318</c:v>
                </c:pt>
                <c:pt idx="20680">
                  <c:v>76960945</c:v>
                </c:pt>
                <c:pt idx="20681">
                  <c:v>167357996</c:v>
                </c:pt>
                <c:pt idx="20682">
                  <c:v>17061832</c:v>
                </c:pt>
                <c:pt idx="20683">
                  <c:v>37267263</c:v>
                </c:pt>
                <c:pt idx="20684">
                  <c:v>23201225</c:v>
                </c:pt>
                <c:pt idx="20685">
                  <c:v>30754047</c:v>
                </c:pt>
                <c:pt idx="20686">
                  <c:v>90391821</c:v>
                </c:pt>
                <c:pt idx="20687">
                  <c:v>8005500</c:v>
                </c:pt>
                <c:pt idx="20688">
                  <c:v>610665810</c:v>
                </c:pt>
                <c:pt idx="20689">
                  <c:v>84799026</c:v>
                </c:pt>
                <c:pt idx="20690">
                  <c:v>12060576</c:v>
                </c:pt>
                <c:pt idx="20691">
                  <c:v>21837060</c:v>
                </c:pt>
                <c:pt idx="20692">
                  <c:v>27039168</c:v>
                </c:pt>
                <c:pt idx="20693">
                  <c:v>11478066</c:v>
                </c:pt>
                <c:pt idx="20694">
                  <c:v>4746786</c:v>
                </c:pt>
                <c:pt idx="20695">
                  <c:v>38871945</c:v>
                </c:pt>
                <c:pt idx="20696">
                  <c:v>12245389</c:v>
                </c:pt>
                <c:pt idx="20697">
                  <c:v>16569748</c:v>
                </c:pt>
                <c:pt idx="20698">
                  <c:v>20453465</c:v>
                </c:pt>
                <c:pt idx="20699">
                  <c:v>16290240</c:v>
                </c:pt>
                <c:pt idx="20700">
                  <c:v>2317500</c:v>
                </c:pt>
                <c:pt idx="20701">
                  <c:v>57277398</c:v>
                </c:pt>
                <c:pt idx="20702">
                  <c:v>734181528</c:v>
                </c:pt>
                <c:pt idx="20703">
                  <c:v>5219739</c:v>
                </c:pt>
                <c:pt idx="20704">
                  <c:v>26077032</c:v>
                </c:pt>
                <c:pt idx="20705">
                  <c:v>30006496</c:v>
                </c:pt>
                <c:pt idx="20706">
                  <c:v>4662606</c:v>
                </c:pt>
                <c:pt idx="20707">
                  <c:v>121989069</c:v>
                </c:pt>
                <c:pt idx="20708">
                  <c:v>14923974</c:v>
                </c:pt>
                <c:pt idx="20709">
                  <c:v>18796113</c:v>
                </c:pt>
                <c:pt idx="20710">
                  <c:v>29523362</c:v>
                </c:pt>
                <c:pt idx="20711">
                  <c:v>88522380</c:v>
                </c:pt>
                <c:pt idx="20712">
                  <c:v>18497070</c:v>
                </c:pt>
                <c:pt idx="20713">
                  <c:v>14102529</c:v>
                </c:pt>
                <c:pt idx="20714">
                  <c:v>16094456</c:v>
                </c:pt>
                <c:pt idx="20715">
                  <c:v>17359890</c:v>
                </c:pt>
                <c:pt idx="20716">
                  <c:v>13671424</c:v>
                </c:pt>
                <c:pt idx="20717">
                  <c:v>20234088</c:v>
                </c:pt>
                <c:pt idx="20718">
                  <c:v>51612012</c:v>
                </c:pt>
                <c:pt idx="20719">
                  <c:v>36441525</c:v>
                </c:pt>
                <c:pt idx="20720">
                  <c:v>9647154</c:v>
                </c:pt>
                <c:pt idx="20721">
                  <c:v>5672436</c:v>
                </c:pt>
                <c:pt idx="20722">
                  <c:v>44625254</c:v>
                </c:pt>
                <c:pt idx="20723">
                  <c:v>82205256</c:v>
                </c:pt>
                <c:pt idx="20724">
                  <c:v>2758212</c:v>
                </c:pt>
                <c:pt idx="20725">
                  <c:v>9696934</c:v>
                </c:pt>
                <c:pt idx="20726">
                  <c:v>43047730</c:v>
                </c:pt>
                <c:pt idx="20727">
                  <c:v>39333294</c:v>
                </c:pt>
                <c:pt idx="20728">
                  <c:v>28786212</c:v>
                </c:pt>
                <c:pt idx="20729">
                  <c:v>15985832</c:v>
                </c:pt>
                <c:pt idx="20730">
                  <c:v>2972823</c:v>
                </c:pt>
                <c:pt idx="20731">
                  <c:v>44197488</c:v>
                </c:pt>
                <c:pt idx="20732">
                  <c:v>24536274</c:v>
                </c:pt>
                <c:pt idx="20733">
                  <c:v>5406877</c:v>
                </c:pt>
                <c:pt idx="20734">
                  <c:v>153680604</c:v>
                </c:pt>
                <c:pt idx="20735">
                  <c:v>1206712</c:v>
                </c:pt>
                <c:pt idx="20736">
                  <c:v>8343336</c:v>
                </c:pt>
                <c:pt idx="20737">
                  <c:v>64734895</c:v>
                </c:pt>
                <c:pt idx="20738">
                  <c:v>6874980</c:v>
                </c:pt>
                <c:pt idx="20739">
                  <c:v>24179430</c:v>
                </c:pt>
                <c:pt idx="20740">
                  <c:v>32331368</c:v>
                </c:pt>
                <c:pt idx="20741">
                  <c:v>16127640</c:v>
                </c:pt>
                <c:pt idx="20742">
                  <c:v>8030260</c:v>
                </c:pt>
                <c:pt idx="20743">
                  <c:v>2053084</c:v>
                </c:pt>
                <c:pt idx="20744">
                  <c:v>3131392</c:v>
                </c:pt>
                <c:pt idx="20745">
                  <c:v>9961932</c:v>
                </c:pt>
                <c:pt idx="20746">
                  <c:v>15194790</c:v>
                </c:pt>
                <c:pt idx="20747">
                  <c:v>23417280</c:v>
                </c:pt>
                <c:pt idx="20748">
                  <c:v>8361504</c:v>
                </c:pt>
                <c:pt idx="20749">
                  <c:v>20955505</c:v>
                </c:pt>
                <c:pt idx="20750">
                  <c:v>13807326</c:v>
                </c:pt>
                <c:pt idx="20751">
                  <c:v>22359450</c:v>
                </c:pt>
                <c:pt idx="20752">
                  <c:v>11445525</c:v>
                </c:pt>
                <c:pt idx="20753">
                  <c:v>17192868</c:v>
                </c:pt>
                <c:pt idx="20754">
                  <c:v>34221992</c:v>
                </c:pt>
                <c:pt idx="20755">
                  <c:v>7803720</c:v>
                </c:pt>
                <c:pt idx="20756">
                  <c:v>5625200</c:v>
                </c:pt>
                <c:pt idx="20757">
                  <c:v>2304692</c:v>
                </c:pt>
                <c:pt idx="20758">
                  <c:v>7629752</c:v>
                </c:pt>
                <c:pt idx="20759">
                  <c:v>4586816</c:v>
                </c:pt>
                <c:pt idx="20760">
                  <c:v>4969005</c:v>
                </c:pt>
                <c:pt idx="20761">
                  <c:v>19742688</c:v>
                </c:pt>
                <c:pt idx="20762">
                  <c:v>53740000</c:v>
                </c:pt>
                <c:pt idx="20763">
                  <c:v>35553695</c:v>
                </c:pt>
                <c:pt idx="20764">
                  <c:v>2802705</c:v>
                </c:pt>
                <c:pt idx="20765">
                  <c:v>77587354</c:v>
                </c:pt>
                <c:pt idx="20766">
                  <c:v>607622418</c:v>
                </c:pt>
                <c:pt idx="20767">
                  <c:v>56226014</c:v>
                </c:pt>
                <c:pt idx="20768">
                  <c:v>22236504</c:v>
                </c:pt>
                <c:pt idx="20769">
                  <c:v>390938798</c:v>
                </c:pt>
                <c:pt idx="20770">
                  <c:v>19269815</c:v>
                </c:pt>
                <c:pt idx="20771">
                  <c:v>18006604</c:v>
                </c:pt>
                <c:pt idx="20772">
                  <c:v>469840518</c:v>
                </c:pt>
                <c:pt idx="20773">
                  <c:v>101015954</c:v>
                </c:pt>
                <c:pt idx="20774">
                  <c:v>14230080</c:v>
                </c:pt>
                <c:pt idx="20775">
                  <c:v>66739362</c:v>
                </c:pt>
                <c:pt idx="20776">
                  <c:v>23889420</c:v>
                </c:pt>
                <c:pt idx="20777">
                  <c:v>33979770</c:v>
                </c:pt>
                <c:pt idx="20778">
                  <c:v>41692563</c:v>
                </c:pt>
                <c:pt idx="20779">
                  <c:v>4577025</c:v>
                </c:pt>
                <c:pt idx="20780">
                  <c:v>18396208</c:v>
                </c:pt>
                <c:pt idx="20781">
                  <c:v>118757197</c:v>
                </c:pt>
                <c:pt idx="20782">
                  <c:v>161628955</c:v>
                </c:pt>
                <c:pt idx="20783">
                  <c:v>7073946</c:v>
                </c:pt>
                <c:pt idx="20784">
                  <c:v>27786672</c:v>
                </c:pt>
                <c:pt idx="20785">
                  <c:v>103615750</c:v>
                </c:pt>
                <c:pt idx="20786">
                  <c:v>70683318</c:v>
                </c:pt>
                <c:pt idx="20787">
                  <c:v>35368968</c:v>
                </c:pt>
                <c:pt idx="20788">
                  <c:v>5489773</c:v>
                </c:pt>
                <c:pt idx="20789">
                  <c:v>1032116736</c:v>
                </c:pt>
                <c:pt idx="20790">
                  <c:v>14785274</c:v>
                </c:pt>
                <c:pt idx="20791">
                  <c:v>96642567</c:v>
                </c:pt>
                <c:pt idx="20792">
                  <c:v>7127301</c:v>
                </c:pt>
                <c:pt idx="20793">
                  <c:v>408125181</c:v>
                </c:pt>
                <c:pt idx="20794">
                  <c:v>77265984</c:v>
                </c:pt>
                <c:pt idx="20795">
                  <c:v>19952220</c:v>
                </c:pt>
                <c:pt idx="20796">
                  <c:v>86674384</c:v>
                </c:pt>
                <c:pt idx="20797">
                  <c:v>8879175</c:v>
                </c:pt>
                <c:pt idx="20798">
                  <c:v>330205372</c:v>
                </c:pt>
                <c:pt idx="20799">
                  <c:v>19884345</c:v>
                </c:pt>
                <c:pt idx="20800">
                  <c:v>33486018</c:v>
                </c:pt>
                <c:pt idx="20801">
                  <c:v>80942643</c:v>
                </c:pt>
                <c:pt idx="20802">
                  <c:v>6216375</c:v>
                </c:pt>
                <c:pt idx="20803">
                  <c:v>55883574</c:v>
                </c:pt>
                <c:pt idx="20804">
                  <c:v>21293584</c:v>
                </c:pt>
                <c:pt idx="20805">
                  <c:v>405236090</c:v>
                </c:pt>
                <c:pt idx="20806">
                  <c:v>148434981</c:v>
                </c:pt>
                <c:pt idx="20807">
                  <c:v>109816100</c:v>
                </c:pt>
                <c:pt idx="20808">
                  <c:v>7935345</c:v>
                </c:pt>
                <c:pt idx="20809">
                  <c:v>86968230</c:v>
                </c:pt>
                <c:pt idx="20810">
                  <c:v>124828470</c:v>
                </c:pt>
                <c:pt idx="20811">
                  <c:v>27125625</c:v>
                </c:pt>
                <c:pt idx="20812">
                  <c:v>6432125</c:v>
                </c:pt>
                <c:pt idx="20813">
                  <c:v>7918154</c:v>
                </c:pt>
                <c:pt idx="20814">
                  <c:v>44922416</c:v>
                </c:pt>
                <c:pt idx="20815">
                  <c:v>249756182</c:v>
                </c:pt>
                <c:pt idx="20816">
                  <c:v>5154624</c:v>
                </c:pt>
                <c:pt idx="20817">
                  <c:v>55932240</c:v>
                </c:pt>
                <c:pt idx="20818">
                  <c:v>4047678</c:v>
                </c:pt>
                <c:pt idx="20819">
                  <c:v>14548338</c:v>
                </c:pt>
                <c:pt idx="20820">
                  <c:v>76228877</c:v>
                </c:pt>
                <c:pt idx="20821">
                  <c:v>52941536</c:v>
                </c:pt>
                <c:pt idx="20822">
                  <c:v>10134740</c:v>
                </c:pt>
                <c:pt idx="20823">
                  <c:v>254343132</c:v>
                </c:pt>
                <c:pt idx="20824">
                  <c:v>6769786</c:v>
                </c:pt>
                <c:pt idx="20825">
                  <c:v>8406288</c:v>
                </c:pt>
                <c:pt idx="20826">
                  <c:v>588333151</c:v>
                </c:pt>
                <c:pt idx="20827">
                  <c:v>77089968</c:v>
                </c:pt>
                <c:pt idx="20828">
                  <c:v>24227970</c:v>
                </c:pt>
                <c:pt idx="20829">
                  <c:v>30078612</c:v>
                </c:pt>
                <c:pt idx="20830">
                  <c:v>35850728</c:v>
                </c:pt>
                <c:pt idx="20831">
                  <c:v>21725963</c:v>
                </c:pt>
                <c:pt idx="20832">
                  <c:v>228673298</c:v>
                </c:pt>
                <c:pt idx="20833">
                  <c:v>22855260</c:v>
                </c:pt>
                <c:pt idx="20834">
                  <c:v>9458960</c:v>
                </c:pt>
                <c:pt idx="20835">
                  <c:v>12557580</c:v>
                </c:pt>
                <c:pt idx="20836">
                  <c:v>242198892</c:v>
                </c:pt>
                <c:pt idx="20837">
                  <c:v>11175600</c:v>
                </c:pt>
                <c:pt idx="20838">
                  <c:v>107269778</c:v>
                </c:pt>
                <c:pt idx="20839">
                  <c:v>10179884</c:v>
                </c:pt>
                <c:pt idx="20840">
                  <c:v>18692676</c:v>
                </c:pt>
                <c:pt idx="20841">
                  <c:v>23676285</c:v>
                </c:pt>
                <c:pt idx="20842">
                  <c:v>10064750</c:v>
                </c:pt>
                <c:pt idx="20843">
                  <c:v>86330160</c:v>
                </c:pt>
                <c:pt idx="20844">
                  <c:v>67208127</c:v>
                </c:pt>
                <c:pt idx="20845">
                  <c:v>331743188</c:v>
                </c:pt>
                <c:pt idx="20846">
                  <c:v>49918239</c:v>
                </c:pt>
                <c:pt idx="20847">
                  <c:v>219909756</c:v>
                </c:pt>
                <c:pt idx="20848">
                  <c:v>44069445</c:v>
                </c:pt>
                <c:pt idx="20849">
                  <c:v>406587832</c:v>
                </c:pt>
                <c:pt idx="20850">
                  <c:v>4294615</c:v>
                </c:pt>
                <c:pt idx="20851">
                  <c:v>728174348</c:v>
                </c:pt>
                <c:pt idx="20852">
                  <c:v>641402388</c:v>
                </c:pt>
                <c:pt idx="20853">
                  <c:v>841809150</c:v>
                </c:pt>
                <c:pt idx="20854">
                  <c:v>1054322772</c:v>
                </c:pt>
                <c:pt idx="20855">
                  <c:v>940942848</c:v>
                </c:pt>
                <c:pt idx="20856">
                  <c:v>521463835</c:v>
                </c:pt>
                <c:pt idx="20857">
                  <c:v>434940390</c:v>
                </c:pt>
                <c:pt idx="20858">
                  <c:v>178086791</c:v>
                </c:pt>
                <c:pt idx="20859">
                  <c:v>380355108</c:v>
                </c:pt>
                <c:pt idx="20860">
                  <c:v>1359691749</c:v>
                </c:pt>
                <c:pt idx="20861">
                  <c:v>422249801</c:v>
                </c:pt>
                <c:pt idx="20862">
                  <c:v>233131080</c:v>
                </c:pt>
                <c:pt idx="20863">
                  <c:v>226965323</c:v>
                </c:pt>
                <c:pt idx="20864">
                  <c:v>457973448</c:v>
                </c:pt>
                <c:pt idx="20865">
                  <c:v>712256498</c:v>
                </c:pt>
                <c:pt idx="20866">
                  <c:v>581217300</c:v>
                </c:pt>
                <c:pt idx="20867">
                  <c:v>325308795</c:v>
                </c:pt>
                <c:pt idx="20868">
                  <c:v>430170636</c:v>
                </c:pt>
                <c:pt idx="20869">
                  <c:v>35034928</c:v>
                </c:pt>
                <c:pt idx="20870">
                  <c:v>918789090</c:v>
                </c:pt>
                <c:pt idx="20871">
                  <c:v>163071129</c:v>
                </c:pt>
                <c:pt idx="20872">
                  <c:v>726906484</c:v>
                </c:pt>
                <c:pt idx="20873">
                  <c:v>604890228</c:v>
                </c:pt>
                <c:pt idx="20874">
                  <c:v>339385632</c:v>
                </c:pt>
                <c:pt idx="20875">
                  <c:v>42486213</c:v>
                </c:pt>
                <c:pt idx="20876">
                  <c:v>2964708</c:v>
                </c:pt>
                <c:pt idx="20877">
                  <c:v>64424097</c:v>
                </c:pt>
                <c:pt idx="20878">
                  <c:v>3131014</c:v>
                </c:pt>
                <c:pt idx="20879">
                  <c:v>73415265</c:v>
                </c:pt>
                <c:pt idx="20880">
                  <c:v>23420628</c:v>
                </c:pt>
                <c:pt idx="20881">
                  <c:v>257118732</c:v>
                </c:pt>
                <c:pt idx="20882">
                  <c:v>10683928</c:v>
                </c:pt>
                <c:pt idx="20883">
                  <c:v>16741575</c:v>
                </c:pt>
                <c:pt idx="20884">
                  <c:v>20945750</c:v>
                </c:pt>
                <c:pt idx="20885">
                  <c:v>14303078</c:v>
                </c:pt>
                <c:pt idx="20886">
                  <c:v>8857656</c:v>
                </c:pt>
                <c:pt idx="20887">
                  <c:v>14334642</c:v>
                </c:pt>
                <c:pt idx="20888">
                  <c:v>27462276</c:v>
                </c:pt>
                <c:pt idx="20889">
                  <c:v>11116644</c:v>
                </c:pt>
                <c:pt idx="20890">
                  <c:v>11691635</c:v>
                </c:pt>
                <c:pt idx="20891">
                  <c:v>9615353</c:v>
                </c:pt>
                <c:pt idx="20892">
                  <c:v>13840464</c:v>
                </c:pt>
                <c:pt idx="20893">
                  <c:v>4795230</c:v>
                </c:pt>
                <c:pt idx="20894">
                  <c:v>76462600</c:v>
                </c:pt>
                <c:pt idx="20895">
                  <c:v>309752418</c:v>
                </c:pt>
                <c:pt idx="20896">
                  <c:v>14353472</c:v>
                </c:pt>
                <c:pt idx="20897">
                  <c:v>32486048</c:v>
                </c:pt>
                <c:pt idx="20898">
                  <c:v>5859504</c:v>
                </c:pt>
                <c:pt idx="20899">
                  <c:v>3301830</c:v>
                </c:pt>
                <c:pt idx="20900">
                  <c:v>1472898479</c:v>
                </c:pt>
                <c:pt idx="20901">
                  <c:v>355541758</c:v>
                </c:pt>
                <c:pt idx="20902">
                  <c:v>32238390</c:v>
                </c:pt>
                <c:pt idx="20903">
                  <c:v>2389170</c:v>
                </c:pt>
                <c:pt idx="20904">
                  <c:v>112020468</c:v>
                </c:pt>
                <c:pt idx="20905">
                  <c:v>61466657</c:v>
                </c:pt>
                <c:pt idx="20906">
                  <c:v>5678925</c:v>
                </c:pt>
                <c:pt idx="20907">
                  <c:v>17221435</c:v>
                </c:pt>
                <c:pt idx="20908">
                  <c:v>9543743</c:v>
                </c:pt>
                <c:pt idx="20909">
                  <c:v>47399024</c:v>
                </c:pt>
                <c:pt idx="20910">
                  <c:v>13923840</c:v>
                </c:pt>
                <c:pt idx="20911">
                  <c:v>56656697</c:v>
                </c:pt>
                <c:pt idx="20912">
                  <c:v>158772000</c:v>
                </c:pt>
                <c:pt idx="20913">
                  <c:v>13819892</c:v>
                </c:pt>
                <c:pt idx="20914">
                  <c:v>32239168</c:v>
                </c:pt>
                <c:pt idx="20915">
                  <c:v>4480587</c:v>
                </c:pt>
                <c:pt idx="20916">
                  <c:v>78199120</c:v>
                </c:pt>
                <c:pt idx="20917">
                  <c:v>21663128</c:v>
                </c:pt>
                <c:pt idx="20918">
                  <c:v>74493320</c:v>
                </c:pt>
                <c:pt idx="20919">
                  <c:v>16042650</c:v>
                </c:pt>
                <c:pt idx="20920">
                  <c:v>14124990</c:v>
                </c:pt>
                <c:pt idx="20921">
                  <c:v>19568406</c:v>
                </c:pt>
                <c:pt idx="20922">
                  <c:v>9296835</c:v>
                </c:pt>
                <c:pt idx="20923">
                  <c:v>30023772</c:v>
                </c:pt>
                <c:pt idx="20924">
                  <c:v>104487224</c:v>
                </c:pt>
                <c:pt idx="20925">
                  <c:v>17496118</c:v>
                </c:pt>
                <c:pt idx="20926">
                  <c:v>23136800</c:v>
                </c:pt>
                <c:pt idx="20927">
                  <c:v>8443415</c:v>
                </c:pt>
                <c:pt idx="20928">
                  <c:v>16937474</c:v>
                </c:pt>
                <c:pt idx="20929">
                  <c:v>43314600</c:v>
                </c:pt>
                <c:pt idx="20930">
                  <c:v>1939581</c:v>
                </c:pt>
                <c:pt idx="20931">
                  <c:v>115172445</c:v>
                </c:pt>
                <c:pt idx="20932">
                  <c:v>17617186</c:v>
                </c:pt>
                <c:pt idx="20933">
                  <c:v>10879128</c:v>
                </c:pt>
                <c:pt idx="20934">
                  <c:v>9510731</c:v>
                </c:pt>
                <c:pt idx="20935">
                  <c:v>539276696</c:v>
                </c:pt>
                <c:pt idx="20936">
                  <c:v>37563064</c:v>
                </c:pt>
                <c:pt idx="20937">
                  <c:v>21445836</c:v>
                </c:pt>
                <c:pt idx="20938">
                  <c:v>72586150</c:v>
                </c:pt>
                <c:pt idx="20939">
                  <c:v>5711264</c:v>
                </c:pt>
                <c:pt idx="20940">
                  <c:v>15471899</c:v>
                </c:pt>
                <c:pt idx="20941">
                  <c:v>59020422</c:v>
                </c:pt>
                <c:pt idx="20942">
                  <c:v>5566335</c:v>
                </c:pt>
                <c:pt idx="20943">
                  <c:v>2389596</c:v>
                </c:pt>
                <c:pt idx="20944">
                  <c:v>47763734</c:v>
                </c:pt>
                <c:pt idx="20945">
                  <c:v>19064373</c:v>
                </c:pt>
                <c:pt idx="20946">
                  <c:v>12687675</c:v>
                </c:pt>
                <c:pt idx="20947">
                  <c:v>28403613</c:v>
                </c:pt>
                <c:pt idx="20948">
                  <c:v>9971640</c:v>
                </c:pt>
                <c:pt idx="20949">
                  <c:v>37134360</c:v>
                </c:pt>
                <c:pt idx="20950">
                  <c:v>25044250</c:v>
                </c:pt>
                <c:pt idx="20951">
                  <c:v>8992620</c:v>
                </c:pt>
                <c:pt idx="20952">
                  <c:v>4924374</c:v>
                </c:pt>
                <c:pt idx="20953">
                  <c:v>499270608</c:v>
                </c:pt>
                <c:pt idx="20954">
                  <c:v>879212950</c:v>
                </c:pt>
                <c:pt idx="20955">
                  <c:v>72083136</c:v>
                </c:pt>
                <c:pt idx="20956">
                  <c:v>7203735</c:v>
                </c:pt>
                <c:pt idx="20957">
                  <c:v>4718400</c:v>
                </c:pt>
                <c:pt idx="20958">
                  <c:v>9463458</c:v>
                </c:pt>
                <c:pt idx="20959">
                  <c:v>19752894</c:v>
                </c:pt>
                <c:pt idx="20960">
                  <c:v>14633465</c:v>
                </c:pt>
                <c:pt idx="20961">
                  <c:v>5866920</c:v>
                </c:pt>
                <c:pt idx="20962">
                  <c:v>7950509</c:v>
                </c:pt>
                <c:pt idx="20963">
                  <c:v>5296221</c:v>
                </c:pt>
                <c:pt idx="20964">
                  <c:v>53661324</c:v>
                </c:pt>
                <c:pt idx="20965">
                  <c:v>9680530</c:v>
                </c:pt>
                <c:pt idx="20966">
                  <c:v>14131999</c:v>
                </c:pt>
                <c:pt idx="20967">
                  <c:v>25799898</c:v>
                </c:pt>
                <c:pt idx="20968">
                  <c:v>61884522</c:v>
                </c:pt>
                <c:pt idx="20969">
                  <c:v>5708715</c:v>
                </c:pt>
                <c:pt idx="20970">
                  <c:v>470151018</c:v>
                </c:pt>
                <c:pt idx="20971">
                  <c:v>65007140</c:v>
                </c:pt>
                <c:pt idx="20972">
                  <c:v>81941989</c:v>
                </c:pt>
                <c:pt idx="20973">
                  <c:v>78362872</c:v>
                </c:pt>
                <c:pt idx="20974">
                  <c:v>43106230</c:v>
                </c:pt>
                <c:pt idx="20975">
                  <c:v>42891941</c:v>
                </c:pt>
                <c:pt idx="20976">
                  <c:v>141627330</c:v>
                </c:pt>
                <c:pt idx="20977">
                  <c:v>21464245</c:v>
                </c:pt>
                <c:pt idx="20978">
                  <c:v>2156704</c:v>
                </c:pt>
                <c:pt idx="20979">
                  <c:v>126063000</c:v>
                </c:pt>
                <c:pt idx="20980">
                  <c:v>4095572</c:v>
                </c:pt>
                <c:pt idx="20981">
                  <c:v>18012888</c:v>
                </c:pt>
                <c:pt idx="20982">
                  <c:v>52829730</c:v>
                </c:pt>
                <c:pt idx="20983">
                  <c:v>29383939</c:v>
                </c:pt>
                <c:pt idx="20984">
                  <c:v>9514536</c:v>
                </c:pt>
                <c:pt idx="20985">
                  <c:v>5124480</c:v>
                </c:pt>
                <c:pt idx="20986">
                  <c:v>9620530</c:v>
                </c:pt>
                <c:pt idx="20987">
                  <c:v>21245580</c:v>
                </c:pt>
                <c:pt idx="20988">
                  <c:v>14977421</c:v>
                </c:pt>
                <c:pt idx="20989">
                  <c:v>4766980</c:v>
                </c:pt>
                <c:pt idx="20990">
                  <c:v>37001855</c:v>
                </c:pt>
                <c:pt idx="20991">
                  <c:v>12081628</c:v>
                </c:pt>
                <c:pt idx="20992">
                  <c:v>5017812</c:v>
                </c:pt>
                <c:pt idx="20993">
                  <c:v>13770164</c:v>
                </c:pt>
                <c:pt idx="20994">
                  <c:v>59396997</c:v>
                </c:pt>
                <c:pt idx="20995">
                  <c:v>25633780</c:v>
                </c:pt>
                <c:pt idx="20996">
                  <c:v>68398290</c:v>
                </c:pt>
                <c:pt idx="20997">
                  <c:v>12473736</c:v>
                </c:pt>
                <c:pt idx="20998">
                  <c:v>23278774</c:v>
                </c:pt>
                <c:pt idx="20999">
                  <c:v>4093959</c:v>
                </c:pt>
                <c:pt idx="21000">
                  <c:v>757985880</c:v>
                </c:pt>
                <c:pt idx="21001">
                  <c:v>6177050</c:v>
                </c:pt>
                <c:pt idx="21002">
                  <c:v>18512058</c:v>
                </c:pt>
                <c:pt idx="21003">
                  <c:v>4696496</c:v>
                </c:pt>
                <c:pt idx="21004">
                  <c:v>5858367</c:v>
                </c:pt>
                <c:pt idx="21005">
                  <c:v>3638503</c:v>
                </c:pt>
                <c:pt idx="21006">
                  <c:v>2753996</c:v>
                </c:pt>
                <c:pt idx="21007">
                  <c:v>6803250</c:v>
                </c:pt>
                <c:pt idx="21008">
                  <c:v>7269472</c:v>
                </c:pt>
                <c:pt idx="21009">
                  <c:v>3197880</c:v>
                </c:pt>
                <c:pt idx="21010">
                  <c:v>171393872</c:v>
                </c:pt>
                <c:pt idx="21011">
                  <c:v>6012690</c:v>
                </c:pt>
                <c:pt idx="21012">
                  <c:v>12200448</c:v>
                </c:pt>
                <c:pt idx="21013">
                  <c:v>48915582</c:v>
                </c:pt>
                <c:pt idx="21014">
                  <c:v>4389569</c:v>
                </c:pt>
                <c:pt idx="21015">
                  <c:v>11332398</c:v>
                </c:pt>
                <c:pt idx="21016">
                  <c:v>22582260</c:v>
                </c:pt>
                <c:pt idx="21017">
                  <c:v>3996684</c:v>
                </c:pt>
                <c:pt idx="21018">
                  <c:v>7513779</c:v>
                </c:pt>
                <c:pt idx="21019">
                  <c:v>9367779</c:v>
                </c:pt>
                <c:pt idx="21020">
                  <c:v>15966109</c:v>
                </c:pt>
                <c:pt idx="21021">
                  <c:v>7141465</c:v>
                </c:pt>
                <c:pt idx="21022">
                  <c:v>107991864</c:v>
                </c:pt>
                <c:pt idx="21023">
                  <c:v>7758641</c:v>
                </c:pt>
                <c:pt idx="21024">
                  <c:v>94347760</c:v>
                </c:pt>
                <c:pt idx="21025">
                  <c:v>80185768</c:v>
                </c:pt>
                <c:pt idx="21026">
                  <c:v>11625012</c:v>
                </c:pt>
                <c:pt idx="21027">
                  <c:v>136991008</c:v>
                </c:pt>
                <c:pt idx="21028">
                  <c:v>5673720</c:v>
                </c:pt>
                <c:pt idx="21029">
                  <c:v>47935008</c:v>
                </c:pt>
                <c:pt idx="21030">
                  <c:v>59272908</c:v>
                </c:pt>
                <c:pt idx="21031">
                  <c:v>96769148</c:v>
                </c:pt>
                <c:pt idx="21032">
                  <c:v>5568221</c:v>
                </c:pt>
                <c:pt idx="21033">
                  <c:v>215381025</c:v>
                </c:pt>
                <c:pt idx="21034">
                  <c:v>56278792</c:v>
                </c:pt>
                <c:pt idx="21035">
                  <c:v>18608810</c:v>
                </c:pt>
                <c:pt idx="21036">
                  <c:v>16334868</c:v>
                </c:pt>
                <c:pt idx="21037">
                  <c:v>9094415</c:v>
                </c:pt>
                <c:pt idx="21038">
                  <c:v>152770813</c:v>
                </c:pt>
                <c:pt idx="21039">
                  <c:v>4475685</c:v>
                </c:pt>
                <c:pt idx="21040">
                  <c:v>18746032</c:v>
                </c:pt>
                <c:pt idx="21041">
                  <c:v>13631072</c:v>
                </c:pt>
                <c:pt idx="21042">
                  <c:v>7852890</c:v>
                </c:pt>
                <c:pt idx="21043">
                  <c:v>68536208</c:v>
                </c:pt>
                <c:pt idx="21044">
                  <c:v>15835170</c:v>
                </c:pt>
                <c:pt idx="21045">
                  <c:v>4480300</c:v>
                </c:pt>
                <c:pt idx="21046">
                  <c:v>5863200</c:v>
                </c:pt>
                <c:pt idx="21047">
                  <c:v>82513200</c:v>
                </c:pt>
                <c:pt idx="21048">
                  <c:v>60322479</c:v>
                </c:pt>
                <c:pt idx="21049">
                  <c:v>8009190</c:v>
                </c:pt>
                <c:pt idx="21050">
                  <c:v>46038330</c:v>
                </c:pt>
                <c:pt idx="21051">
                  <c:v>25826704</c:v>
                </c:pt>
                <c:pt idx="21052">
                  <c:v>61165250</c:v>
                </c:pt>
                <c:pt idx="21053">
                  <c:v>11705463</c:v>
                </c:pt>
                <c:pt idx="21054">
                  <c:v>34638192</c:v>
                </c:pt>
                <c:pt idx="21055">
                  <c:v>10199136</c:v>
                </c:pt>
                <c:pt idx="21056">
                  <c:v>5118600</c:v>
                </c:pt>
                <c:pt idx="21057">
                  <c:v>12040322</c:v>
                </c:pt>
                <c:pt idx="21058">
                  <c:v>786284005</c:v>
                </c:pt>
                <c:pt idx="21059">
                  <c:v>30446504</c:v>
                </c:pt>
                <c:pt idx="21060">
                  <c:v>32784480</c:v>
                </c:pt>
                <c:pt idx="21061">
                  <c:v>79145676</c:v>
                </c:pt>
                <c:pt idx="21062">
                  <c:v>46028934</c:v>
                </c:pt>
                <c:pt idx="21063">
                  <c:v>22148489</c:v>
                </c:pt>
                <c:pt idx="21064">
                  <c:v>32621351</c:v>
                </c:pt>
                <c:pt idx="21065">
                  <c:v>11087032</c:v>
                </c:pt>
                <c:pt idx="21066">
                  <c:v>16461908</c:v>
                </c:pt>
                <c:pt idx="21067">
                  <c:v>20939824</c:v>
                </c:pt>
                <c:pt idx="21068">
                  <c:v>909452670</c:v>
                </c:pt>
                <c:pt idx="21069">
                  <c:v>10404272</c:v>
                </c:pt>
                <c:pt idx="21070">
                  <c:v>11565310</c:v>
                </c:pt>
                <c:pt idx="21071">
                  <c:v>86241856</c:v>
                </c:pt>
                <c:pt idx="21072">
                  <c:v>24417822</c:v>
                </c:pt>
                <c:pt idx="21073">
                  <c:v>35954280</c:v>
                </c:pt>
                <c:pt idx="21074">
                  <c:v>58071411</c:v>
                </c:pt>
                <c:pt idx="21075">
                  <c:v>2418612</c:v>
                </c:pt>
                <c:pt idx="21076">
                  <c:v>19202520</c:v>
                </c:pt>
                <c:pt idx="21077">
                  <c:v>67027257</c:v>
                </c:pt>
                <c:pt idx="21078">
                  <c:v>50104304</c:v>
                </c:pt>
                <c:pt idx="21079">
                  <c:v>5692746</c:v>
                </c:pt>
                <c:pt idx="21080">
                  <c:v>20813548</c:v>
                </c:pt>
                <c:pt idx="21081">
                  <c:v>119977714</c:v>
                </c:pt>
                <c:pt idx="21082">
                  <c:v>32971948</c:v>
                </c:pt>
                <c:pt idx="21083">
                  <c:v>38267450</c:v>
                </c:pt>
                <c:pt idx="21084">
                  <c:v>46138074</c:v>
                </c:pt>
                <c:pt idx="21085">
                  <c:v>38509380</c:v>
                </c:pt>
                <c:pt idx="21086">
                  <c:v>154258324</c:v>
                </c:pt>
                <c:pt idx="21087">
                  <c:v>44540272</c:v>
                </c:pt>
                <c:pt idx="21088">
                  <c:v>59691275</c:v>
                </c:pt>
                <c:pt idx="21089">
                  <c:v>44107362</c:v>
                </c:pt>
                <c:pt idx="21090">
                  <c:v>39765519</c:v>
                </c:pt>
                <c:pt idx="21091">
                  <c:v>234921300</c:v>
                </c:pt>
                <c:pt idx="21092">
                  <c:v>7688847</c:v>
                </c:pt>
                <c:pt idx="21093">
                  <c:v>451556336</c:v>
                </c:pt>
                <c:pt idx="21094">
                  <c:v>37750328</c:v>
                </c:pt>
                <c:pt idx="21095">
                  <c:v>109514295</c:v>
                </c:pt>
                <c:pt idx="21096">
                  <c:v>14794736</c:v>
                </c:pt>
                <c:pt idx="21097">
                  <c:v>2418486</c:v>
                </c:pt>
                <c:pt idx="21098">
                  <c:v>20324238</c:v>
                </c:pt>
                <c:pt idx="21099">
                  <c:v>1190608</c:v>
                </c:pt>
                <c:pt idx="21100">
                  <c:v>87367392</c:v>
                </c:pt>
                <c:pt idx="21101">
                  <c:v>191789026</c:v>
                </c:pt>
                <c:pt idx="21102">
                  <c:v>32229960</c:v>
                </c:pt>
                <c:pt idx="21103">
                  <c:v>655961271</c:v>
                </c:pt>
                <c:pt idx="21104">
                  <c:v>861388560</c:v>
                </c:pt>
                <c:pt idx="21105">
                  <c:v>503504595</c:v>
                </c:pt>
                <c:pt idx="21106">
                  <c:v>12418434</c:v>
                </c:pt>
                <c:pt idx="21107">
                  <c:v>42177828</c:v>
                </c:pt>
                <c:pt idx="21108">
                  <c:v>21919755</c:v>
                </c:pt>
                <c:pt idx="21109">
                  <c:v>71027424</c:v>
                </c:pt>
                <c:pt idx="21110">
                  <c:v>15089236</c:v>
                </c:pt>
                <c:pt idx="21111">
                  <c:v>12604605</c:v>
                </c:pt>
                <c:pt idx="21112">
                  <c:v>20991824</c:v>
                </c:pt>
                <c:pt idx="21113">
                  <c:v>1749802663</c:v>
                </c:pt>
                <c:pt idx="21114">
                  <c:v>119511312</c:v>
                </c:pt>
                <c:pt idx="21115">
                  <c:v>896580884</c:v>
                </c:pt>
                <c:pt idx="21116">
                  <c:v>804465000</c:v>
                </c:pt>
                <c:pt idx="21117">
                  <c:v>19964820</c:v>
                </c:pt>
                <c:pt idx="21118">
                  <c:v>22839961</c:v>
                </c:pt>
                <c:pt idx="21119">
                  <c:v>64358608</c:v>
                </c:pt>
                <c:pt idx="21120">
                  <c:v>10044945</c:v>
                </c:pt>
                <c:pt idx="21121">
                  <c:v>37340325</c:v>
                </c:pt>
                <c:pt idx="21122">
                  <c:v>15223439</c:v>
                </c:pt>
                <c:pt idx="21123">
                  <c:v>117795618</c:v>
                </c:pt>
                <c:pt idx="21124">
                  <c:v>37605606</c:v>
                </c:pt>
                <c:pt idx="21125">
                  <c:v>11616728</c:v>
                </c:pt>
                <c:pt idx="21126">
                  <c:v>11269262</c:v>
                </c:pt>
                <c:pt idx="21127">
                  <c:v>33835907</c:v>
                </c:pt>
                <c:pt idx="21128">
                  <c:v>1780992</c:v>
                </c:pt>
                <c:pt idx="21129">
                  <c:v>20990325</c:v>
                </c:pt>
                <c:pt idx="21130">
                  <c:v>69157674</c:v>
                </c:pt>
                <c:pt idx="21131">
                  <c:v>1421701236</c:v>
                </c:pt>
                <c:pt idx="21132">
                  <c:v>60785550</c:v>
                </c:pt>
                <c:pt idx="21133">
                  <c:v>449978746</c:v>
                </c:pt>
                <c:pt idx="21134">
                  <c:v>14924217</c:v>
                </c:pt>
                <c:pt idx="21135">
                  <c:v>7937100</c:v>
                </c:pt>
                <c:pt idx="21136">
                  <c:v>52202325</c:v>
                </c:pt>
                <c:pt idx="21137">
                  <c:v>10445022</c:v>
                </c:pt>
                <c:pt idx="21138">
                  <c:v>150504155</c:v>
                </c:pt>
                <c:pt idx="21139">
                  <c:v>69097892</c:v>
                </c:pt>
                <c:pt idx="21140">
                  <c:v>13335808</c:v>
                </c:pt>
                <c:pt idx="21141">
                  <c:v>5902332</c:v>
                </c:pt>
                <c:pt idx="21142">
                  <c:v>181129284</c:v>
                </c:pt>
                <c:pt idx="21143">
                  <c:v>53716143</c:v>
                </c:pt>
                <c:pt idx="21144">
                  <c:v>203674016</c:v>
                </c:pt>
                <c:pt idx="21145">
                  <c:v>18733792</c:v>
                </c:pt>
                <c:pt idx="21146">
                  <c:v>6781565</c:v>
                </c:pt>
                <c:pt idx="21147">
                  <c:v>221346176</c:v>
                </c:pt>
                <c:pt idx="21148">
                  <c:v>32435425</c:v>
                </c:pt>
                <c:pt idx="21149">
                  <c:v>35136262</c:v>
                </c:pt>
                <c:pt idx="21150">
                  <c:v>5421430</c:v>
                </c:pt>
                <c:pt idx="21151">
                  <c:v>100846728</c:v>
                </c:pt>
                <c:pt idx="21152">
                  <c:v>440890120</c:v>
                </c:pt>
                <c:pt idx="21153">
                  <c:v>1038168940</c:v>
                </c:pt>
                <c:pt idx="21154">
                  <c:v>635443501</c:v>
                </c:pt>
                <c:pt idx="21155">
                  <c:v>815470668</c:v>
                </c:pt>
                <c:pt idx="21156">
                  <c:v>569004990</c:v>
                </c:pt>
                <c:pt idx="21157">
                  <c:v>356562000</c:v>
                </c:pt>
                <c:pt idx="21158">
                  <c:v>128579113</c:v>
                </c:pt>
                <c:pt idx="21159">
                  <c:v>353982060</c:v>
                </c:pt>
                <c:pt idx="21160">
                  <c:v>314089540</c:v>
                </c:pt>
                <c:pt idx="21161">
                  <c:v>877918216</c:v>
                </c:pt>
                <c:pt idx="21162">
                  <c:v>1543101078</c:v>
                </c:pt>
                <c:pt idx="21163">
                  <c:v>221826950</c:v>
                </c:pt>
                <c:pt idx="21164">
                  <c:v>570455502</c:v>
                </c:pt>
                <c:pt idx="21165">
                  <c:v>403984920</c:v>
                </c:pt>
                <c:pt idx="21166">
                  <c:v>1191750168</c:v>
                </c:pt>
                <c:pt idx="21167">
                  <c:v>804322680</c:v>
                </c:pt>
                <c:pt idx="21168">
                  <c:v>669051522</c:v>
                </c:pt>
                <c:pt idx="21169">
                  <c:v>703329984</c:v>
                </c:pt>
                <c:pt idx="21170">
                  <c:v>1291914120</c:v>
                </c:pt>
                <c:pt idx="21171">
                  <c:v>387536633</c:v>
                </c:pt>
                <c:pt idx="21172">
                  <c:v>685731363</c:v>
                </c:pt>
                <c:pt idx="21173">
                  <c:v>645121492</c:v>
                </c:pt>
                <c:pt idx="21174">
                  <c:v>912941568</c:v>
                </c:pt>
                <c:pt idx="21175">
                  <c:v>1504277710</c:v>
                </c:pt>
                <c:pt idx="21176">
                  <c:v>848245650</c:v>
                </c:pt>
                <c:pt idx="21177">
                  <c:v>914369672</c:v>
                </c:pt>
                <c:pt idx="21178">
                  <c:v>458671920</c:v>
                </c:pt>
                <c:pt idx="21179">
                  <c:v>246032472</c:v>
                </c:pt>
                <c:pt idx="21180">
                  <c:v>1004499068</c:v>
                </c:pt>
                <c:pt idx="21181">
                  <c:v>338197143</c:v>
                </c:pt>
                <c:pt idx="21182">
                  <c:v>297544236</c:v>
                </c:pt>
                <c:pt idx="21183">
                  <c:v>1165255902</c:v>
                </c:pt>
                <c:pt idx="21184">
                  <c:v>176609019</c:v>
                </c:pt>
                <c:pt idx="21185">
                  <c:v>1141059114</c:v>
                </c:pt>
                <c:pt idx="21186">
                  <c:v>75852674</c:v>
                </c:pt>
                <c:pt idx="21187">
                  <c:v>12467196</c:v>
                </c:pt>
                <c:pt idx="21188">
                  <c:v>11014404</c:v>
                </c:pt>
                <c:pt idx="21189">
                  <c:v>119795586</c:v>
                </c:pt>
                <c:pt idx="21190">
                  <c:v>11207976</c:v>
                </c:pt>
                <c:pt idx="21191">
                  <c:v>2708422</c:v>
                </c:pt>
                <c:pt idx="21192">
                  <c:v>384759760</c:v>
                </c:pt>
                <c:pt idx="21193">
                  <c:v>22641778</c:v>
                </c:pt>
                <c:pt idx="21194">
                  <c:v>13882848</c:v>
                </c:pt>
                <c:pt idx="21195">
                  <c:v>15369248</c:v>
                </c:pt>
                <c:pt idx="21196">
                  <c:v>79010204</c:v>
                </c:pt>
                <c:pt idx="21197">
                  <c:v>11242092</c:v>
                </c:pt>
                <c:pt idx="21198">
                  <c:v>14370354</c:v>
                </c:pt>
                <c:pt idx="21199">
                  <c:v>16095435</c:v>
                </c:pt>
                <c:pt idx="21200">
                  <c:v>15660106</c:v>
                </c:pt>
                <c:pt idx="21201">
                  <c:v>13225410</c:v>
                </c:pt>
                <c:pt idx="21202">
                  <c:v>4038201</c:v>
                </c:pt>
                <c:pt idx="21203">
                  <c:v>4901406</c:v>
                </c:pt>
                <c:pt idx="21204">
                  <c:v>10467376</c:v>
                </c:pt>
                <c:pt idx="21205">
                  <c:v>8177340</c:v>
                </c:pt>
                <c:pt idx="21206">
                  <c:v>15168776</c:v>
                </c:pt>
                <c:pt idx="21207">
                  <c:v>19204212</c:v>
                </c:pt>
                <c:pt idx="21208">
                  <c:v>31107069</c:v>
                </c:pt>
                <c:pt idx="21209">
                  <c:v>3334908</c:v>
                </c:pt>
                <c:pt idx="21210">
                  <c:v>211496904</c:v>
                </c:pt>
                <c:pt idx="21211">
                  <c:v>13528660</c:v>
                </c:pt>
                <c:pt idx="21212">
                  <c:v>39885528</c:v>
                </c:pt>
                <c:pt idx="21213">
                  <c:v>8990280</c:v>
                </c:pt>
                <c:pt idx="21214">
                  <c:v>9691686</c:v>
                </c:pt>
                <c:pt idx="21215">
                  <c:v>53468543</c:v>
                </c:pt>
                <c:pt idx="21216">
                  <c:v>29719008</c:v>
                </c:pt>
                <c:pt idx="21217">
                  <c:v>30804006</c:v>
                </c:pt>
                <c:pt idx="21218">
                  <c:v>19095440</c:v>
                </c:pt>
                <c:pt idx="21219">
                  <c:v>28610625</c:v>
                </c:pt>
                <c:pt idx="21220">
                  <c:v>20941788</c:v>
                </c:pt>
                <c:pt idx="21221">
                  <c:v>3704186</c:v>
                </c:pt>
                <c:pt idx="21222">
                  <c:v>16451028</c:v>
                </c:pt>
                <c:pt idx="21223">
                  <c:v>104593664</c:v>
                </c:pt>
                <c:pt idx="21224">
                  <c:v>8309760</c:v>
                </c:pt>
                <c:pt idx="21225">
                  <c:v>47650875</c:v>
                </c:pt>
                <c:pt idx="21226">
                  <c:v>6240300</c:v>
                </c:pt>
                <c:pt idx="21227">
                  <c:v>30924348</c:v>
                </c:pt>
                <c:pt idx="21228">
                  <c:v>126567094</c:v>
                </c:pt>
                <c:pt idx="21229">
                  <c:v>29332004</c:v>
                </c:pt>
                <c:pt idx="21230">
                  <c:v>140054505</c:v>
                </c:pt>
                <c:pt idx="21231">
                  <c:v>17691009</c:v>
                </c:pt>
                <c:pt idx="21232">
                  <c:v>58469888</c:v>
                </c:pt>
                <c:pt idx="21233">
                  <c:v>54822664</c:v>
                </c:pt>
                <c:pt idx="21234">
                  <c:v>15879098</c:v>
                </c:pt>
                <c:pt idx="21235">
                  <c:v>96639567</c:v>
                </c:pt>
                <c:pt idx="21236">
                  <c:v>9362592</c:v>
                </c:pt>
                <c:pt idx="21237">
                  <c:v>7626942</c:v>
                </c:pt>
                <c:pt idx="21238">
                  <c:v>31081608</c:v>
                </c:pt>
                <c:pt idx="21239">
                  <c:v>13647228</c:v>
                </c:pt>
                <c:pt idx="21240">
                  <c:v>17891337</c:v>
                </c:pt>
                <c:pt idx="21241">
                  <c:v>57419698</c:v>
                </c:pt>
                <c:pt idx="21242">
                  <c:v>38232138</c:v>
                </c:pt>
                <c:pt idx="21243">
                  <c:v>151129718</c:v>
                </c:pt>
                <c:pt idx="21244">
                  <c:v>40503366</c:v>
                </c:pt>
                <c:pt idx="21245">
                  <c:v>17597546</c:v>
                </c:pt>
                <c:pt idx="21246">
                  <c:v>17052187</c:v>
                </c:pt>
                <c:pt idx="21247">
                  <c:v>1740090</c:v>
                </c:pt>
                <c:pt idx="21248">
                  <c:v>4377505</c:v>
                </c:pt>
                <c:pt idx="21249">
                  <c:v>1933497</c:v>
                </c:pt>
                <c:pt idx="21250">
                  <c:v>33857736</c:v>
                </c:pt>
                <c:pt idx="21251">
                  <c:v>40966560</c:v>
                </c:pt>
                <c:pt idx="21252">
                  <c:v>8169651</c:v>
                </c:pt>
                <c:pt idx="21253">
                  <c:v>5002800</c:v>
                </c:pt>
                <c:pt idx="21254">
                  <c:v>37465138</c:v>
                </c:pt>
                <c:pt idx="21255">
                  <c:v>108414477</c:v>
                </c:pt>
                <c:pt idx="21256">
                  <c:v>13094960</c:v>
                </c:pt>
                <c:pt idx="21257">
                  <c:v>36807264</c:v>
                </c:pt>
                <c:pt idx="21258">
                  <c:v>24607800</c:v>
                </c:pt>
                <c:pt idx="21259">
                  <c:v>257259002</c:v>
                </c:pt>
                <c:pt idx="21260">
                  <c:v>20603136</c:v>
                </c:pt>
                <c:pt idx="21261">
                  <c:v>8008624</c:v>
                </c:pt>
                <c:pt idx="21262">
                  <c:v>24593455</c:v>
                </c:pt>
                <c:pt idx="21263">
                  <c:v>6166872</c:v>
                </c:pt>
                <c:pt idx="21264">
                  <c:v>8709480</c:v>
                </c:pt>
                <c:pt idx="21265">
                  <c:v>42720975</c:v>
                </c:pt>
                <c:pt idx="21266">
                  <c:v>10593550</c:v>
                </c:pt>
                <c:pt idx="21267">
                  <c:v>28321600</c:v>
                </c:pt>
                <c:pt idx="21268">
                  <c:v>21018120</c:v>
                </c:pt>
                <c:pt idx="21269">
                  <c:v>22429400</c:v>
                </c:pt>
                <c:pt idx="21270">
                  <c:v>34949529</c:v>
                </c:pt>
                <c:pt idx="21271">
                  <c:v>18141519</c:v>
                </c:pt>
                <c:pt idx="21272">
                  <c:v>52812900</c:v>
                </c:pt>
                <c:pt idx="21273">
                  <c:v>2270787</c:v>
                </c:pt>
                <c:pt idx="21274">
                  <c:v>74325385</c:v>
                </c:pt>
                <c:pt idx="21275">
                  <c:v>8723379</c:v>
                </c:pt>
                <c:pt idx="21276">
                  <c:v>4298232</c:v>
                </c:pt>
                <c:pt idx="21277">
                  <c:v>283961304</c:v>
                </c:pt>
                <c:pt idx="21278">
                  <c:v>18944595</c:v>
                </c:pt>
                <c:pt idx="21279">
                  <c:v>16286556</c:v>
                </c:pt>
                <c:pt idx="21280">
                  <c:v>3407906</c:v>
                </c:pt>
                <c:pt idx="21281">
                  <c:v>25158707</c:v>
                </c:pt>
                <c:pt idx="21282">
                  <c:v>6955656</c:v>
                </c:pt>
                <c:pt idx="21283">
                  <c:v>31217698</c:v>
                </c:pt>
                <c:pt idx="21284">
                  <c:v>99187232</c:v>
                </c:pt>
                <c:pt idx="21285">
                  <c:v>11097520</c:v>
                </c:pt>
                <c:pt idx="21286">
                  <c:v>60461700</c:v>
                </c:pt>
                <c:pt idx="21287">
                  <c:v>9496452</c:v>
                </c:pt>
                <c:pt idx="21288">
                  <c:v>25245873</c:v>
                </c:pt>
                <c:pt idx="21289">
                  <c:v>22209594</c:v>
                </c:pt>
                <c:pt idx="21290">
                  <c:v>44204250</c:v>
                </c:pt>
                <c:pt idx="21291">
                  <c:v>13522868</c:v>
                </c:pt>
                <c:pt idx="21292">
                  <c:v>6085233</c:v>
                </c:pt>
                <c:pt idx="21293">
                  <c:v>25359104</c:v>
                </c:pt>
                <c:pt idx="21294">
                  <c:v>61878600</c:v>
                </c:pt>
                <c:pt idx="21295">
                  <c:v>158801864</c:v>
                </c:pt>
                <c:pt idx="21296">
                  <c:v>45614100</c:v>
                </c:pt>
                <c:pt idx="21297">
                  <c:v>16727352</c:v>
                </c:pt>
                <c:pt idx="21298">
                  <c:v>74789683</c:v>
                </c:pt>
                <c:pt idx="21299">
                  <c:v>43779138</c:v>
                </c:pt>
                <c:pt idx="21300">
                  <c:v>353563020</c:v>
                </c:pt>
                <c:pt idx="21301">
                  <c:v>830862400</c:v>
                </c:pt>
                <c:pt idx="21302">
                  <c:v>379202746</c:v>
                </c:pt>
                <c:pt idx="21303">
                  <c:v>415098618</c:v>
                </c:pt>
                <c:pt idx="21304">
                  <c:v>565160992</c:v>
                </c:pt>
                <c:pt idx="21305">
                  <c:v>1040210561</c:v>
                </c:pt>
                <c:pt idx="21306">
                  <c:v>511230698</c:v>
                </c:pt>
                <c:pt idx="21307">
                  <c:v>232122420</c:v>
                </c:pt>
                <c:pt idx="21308">
                  <c:v>671236608</c:v>
                </c:pt>
                <c:pt idx="21309">
                  <c:v>682508010</c:v>
                </c:pt>
                <c:pt idx="21310">
                  <c:v>14664013</c:v>
                </c:pt>
                <c:pt idx="21311">
                  <c:v>2137007610</c:v>
                </c:pt>
                <c:pt idx="21312">
                  <c:v>39758403</c:v>
                </c:pt>
                <c:pt idx="21313">
                  <c:v>130407670</c:v>
                </c:pt>
                <c:pt idx="21314">
                  <c:v>1102851242</c:v>
                </c:pt>
                <c:pt idx="21315">
                  <c:v>368500725</c:v>
                </c:pt>
                <c:pt idx="21316">
                  <c:v>103968590</c:v>
                </c:pt>
                <c:pt idx="21317">
                  <c:v>155890626</c:v>
                </c:pt>
                <c:pt idx="21318">
                  <c:v>520651560</c:v>
                </c:pt>
                <c:pt idx="21319">
                  <c:v>94973532</c:v>
                </c:pt>
                <c:pt idx="21320">
                  <c:v>194717844</c:v>
                </c:pt>
                <c:pt idx="21321">
                  <c:v>11220525</c:v>
                </c:pt>
                <c:pt idx="21322">
                  <c:v>36236100</c:v>
                </c:pt>
                <c:pt idx="21323">
                  <c:v>908967600</c:v>
                </c:pt>
                <c:pt idx="21324">
                  <c:v>110665723</c:v>
                </c:pt>
                <c:pt idx="21325">
                  <c:v>5513058</c:v>
                </c:pt>
                <c:pt idx="21326">
                  <c:v>11284602</c:v>
                </c:pt>
                <c:pt idx="21327">
                  <c:v>12404220</c:v>
                </c:pt>
                <c:pt idx="21328">
                  <c:v>24961680</c:v>
                </c:pt>
                <c:pt idx="21329">
                  <c:v>20386020</c:v>
                </c:pt>
                <c:pt idx="21330">
                  <c:v>20123928</c:v>
                </c:pt>
                <c:pt idx="21331">
                  <c:v>21680136</c:v>
                </c:pt>
                <c:pt idx="21332">
                  <c:v>39393244</c:v>
                </c:pt>
                <c:pt idx="21333">
                  <c:v>9975196</c:v>
                </c:pt>
                <c:pt idx="21334">
                  <c:v>119454336</c:v>
                </c:pt>
                <c:pt idx="21335">
                  <c:v>36976870</c:v>
                </c:pt>
                <c:pt idx="21336">
                  <c:v>18160272</c:v>
                </c:pt>
                <c:pt idx="21337">
                  <c:v>19760476</c:v>
                </c:pt>
                <c:pt idx="21338">
                  <c:v>40596350</c:v>
                </c:pt>
                <c:pt idx="21339">
                  <c:v>8866261</c:v>
                </c:pt>
                <c:pt idx="21340">
                  <c:v>51389130</c:v>
                </c:pt>
                <c:pt idx="21341">
                  <c:v>35169200</c:v>
                </c:pt>
                <c:pt idx="21342">
                  <c:v>32062170</c:v>
                </c:pt>
                <c:pt idx="21343">
                  <c:v>63689438</c:v>
                </c:pt>
                <c:pt idx="21344">
                  <c:v>29725360</c:v>
                </c:pt>
                <c:pt idx="21345">
                  <c:v>20246128</c:v>
                </c:pt>
                <c:pt idx="21346">
                  <c:v>24292880</c:v>
                </c:pt>
                <c:pt idx="21347">
                  <c:v>9099720</c:v>
                </c:pt>
                <c:pt idx="21348">
                  <c:v>78828480</c:v>
                </c:pt>
                <c:pt idx="21349">
                  <c:v>36063171</c:v>
                </c:pt>
                <c:pt idx="21350">
                  <c:v>19466440</c:v>
                </c:pt>
                <c:pt idx="21351">
                  <c:v>21099520</c:v>
                </c:pt>
                <c:pt idx="21352">
                  <c:v>17799524</c:v>
                </c:pt>
                <c:pt idx="21353">
                  <c:v>3496114</c:v>
                </c:pt>
                <c:pt idx="21354">
                  <c:v>23725910</c:v>
                </c:pt>
                <c:pt idx="21355">
                  <c:v>5767920</c:v>
                </c:pt>
                <c:pt idx="21356">
                  <c:v>33163338</c:v>
                </c:pt>
                <c:pt idx="21357">
                  <c:v>180550260</c:v>
                </c:pt>
                <c:pt idx="21358">
                  <c:v>41882568</c:v>
                </c:pt>
                <c:pt idx="21359">
                  <c:v>26666836</c:v>
                </c:pt>
                <c:pt idx="21360">
                  <c:v>8850464</c:v>
                </c:pt>
                <c:pt idx="21361">
                  <c:v>17778240</c:v>
                </c:pt>
                <c:pt idx="21362">
                  <c:v>46636317</c:v>
                </c:pt>
                <c:pt idx="21363">
                  <c:v>5953278</c:v>
                </c:pt>
                <c:pt idx="21364">
                  <c:v>31527650</c:v>
                </c:pt>
                <c:pt idx="21365">
                  <c:v>1000780224</c:v>
                </c:pt>
                <c:pt idx="21366">
                  <c:v>20208070</c:v>
                </c:pt>
                <c:pt idx="21367">
                  <c:v>79992814</c:v>
                </c:pt>
                <c:pt idx="21368">
                  <c:v>39173088</c:v>
                </c:pt>
                <c:pt idx="21369">
                  <c:v>53087957</c:v>
                </c:pt>
                <c:pt idx="21370">
                  <c:v>30783038</c:v>
                </c:pt>
                <c:pt idx="21371">
                  <c:v>9193761</c:v>
                </c:pt>
                <c:pt idx="21372">
                  <c:v>50780673</c:v>
                </c:pt>
                <c:pt idx="21373">
                  <c:v>6802800</c:v>
                </c:pt>
                <c:pt idx="21374">
                  <c:v>8777916</c:v>
                </c:pt>
                <c:pt idx="21375">
                  <c:v>11755300</c:v>
                </c:pt>
                <c:pt idx="21376">
                  <c:v>20455245</c:v>
                </c:pt>
                <c:pt idx="21377">
                  <c:v>14232204</c:v>
                </c:pt>
                <c:pt idx="21378">
                  <c:v>14335391</c:v>
                </c:pt>
                <c:pt idx="21379">
                  <c:v>19320348</c:v>
                </c:pt>
                <c:pt idx="21380">
                  <c:v>5937213</c:v>
                </c:pt>
                <c:pt idx="21381">
                  <c:v>51066314</c:v>
                </c:pt>
                <c:pt idx="21382">
                  <c:v>65240880</c:v>
                </c:pt>
                <c:pt idx="21383">
                  <c:v>90840410</c:v>
                </c:pt>
                <c:pt idx="21384">
                  <c:v>7100526</c:v>
                </c:pt>
                <c:pt idx="21385">
                  <c:v>30483904</c:v>
                </c:pt>
                <c:pt idx="21386">
                  <c:v>29631148</c:v>
                </c:pt>
                <c:pt idx="21387">
                  <c:v>92075256</c:v>
                </c:pt>
                <c:pt idx="21388">
                  <c:v>27529803</c:v>
                </c:pt>
                <c:pt idx="21389">
                  <c:v>23115487</c:v>
                </c:pt>
                <c:pt idx="21390">
                  <c:v>6503955</c:v>
                </c:pt>
                <c:pt idx="21391">
                  <c:v>15030600</c:v>
                </c:pt>
                <c:pt idx="21392">
                  <c:v>43538676</c:v>
                </c:pt>
                <c:pt idx="21393">
                  <c:v>9114072</c:v>
                </c:pt>
                <c:pt idx="21394">
                  <c:v>56970617</c:v>
                </c:pt>
                <c:pt idx="21395">
                  <c:v>1553808</c:v>
                </c:pt>
                <c:pt idx="21396">
                  <c:v>1871300</c:v>
                </c:pt>
                <c:pt idx="21397">
                  <c:v>21798426</c:v>
                </c:pt>
                <c:pt idx="21398">
                  <c:v>14369709</c:v>
                </c:pt>
                <c:pt idx="21399">
                  <c:v>50032451</c:v>
                </c:pt>
                <c:pt idx="21400">
                  <c:v>24868011</c:v>
                </c:pt>
                <c:pt idx="21401">
                  <c:v>31650212</c:v>
                </c:pt>
                <c:pt idx="21402">
                  <c:v>27054244</c:v>
                </c:pt>
                <c:pt idx="21403">
                  <c:v>11668165</c:v>
                </c:pt>
                <c:pt idx="21404">
                  <c:v>148020586</c:v>
                </c:pt>
                <c:pt idx="21405">
                  <c:v>22775463</c:v>
                </c:pt>
                <c:pt idx="21406">
                  <c:v>37612731</c:v>
                </c:pt>
                <c:pt idx="21407">
                  <c:v>14123181</c:v>
                </c:pt>
                <c:pt idx="21408">
                  <c:v>105166830</c:v>
                </c:pt>
                <c:pt idx="21409">
                  <c:v>39656253</c:v>
                </c:pt>
                <c:pt idx="21410">
                  <c:v>19754756</c:v>
                </c:pt>
                <c:pt idx="21411">
                  <c:v>42521181</c:v>
                </c:pt>
                <c:pt idx="21412">
                  <c:v>60816250</c:v>
                </c:pt>
                <c:pt idx="21413">
                  <c:v>43433742</c:v>
                </c:pt>
                <c:pt idx="21414">
                  <c:v>4096840</c:v>
                </c:pt>
                <c:pt idx="21415">
                  <c:v>9504428</c:v>
                </c:pt>
                <c:pt idx="21416">
                  <c:v>403372400</c:v>
                </c:pt>
                <c:pt idx="21417">
                  <c:v>15611553</c:v>
                </c:pt>
                <c:pt idx="21418">
                  <c:v>19435568</c:v>
                </c:pt>
                <c:pt idx="21419">
                  <c:v>72011000</c:v>
                </c:pt>
                <c:pt idx="21420">
                  <c:v>28529776</c:v>
                </c:pt>
                <c:pt idx="21421">
                  <c:v>38783883</c:v>
                </c:pt>
                <c:pt idx="21422">
                  <c:v>18277050</c:v>
                </c:pt>
                <c:pt idx="21423">
                  <c:v>9171110</c:v>
                </c:pt>
                <c:pt idx="21424">
                  <c:v>31693592</c:v>
                </c:pt>
                <c:pt idx="21425">
                  <c:v>179010456</c:v>
                </c:pt>
                <c:pt idx="21426">
                  <c:v>145944375</c:v>
                </c:pt>
                <c:pt idx="21427">
                  <c:v>25248434</c:v>
                </c:pt>
                <c:pt idx="21428">
                  <c:v>61125354</c:v>
                </c:pt>
                <c:pt idx="21429">
                  <c:v>12690314</c:v>
                </c:pt>
                <c:pt idx="21430">
                  <c:v>819091400</c:v>
                </c:pt>
                <c:pt idx="21431">
                  <c:v>867121156</c:v>
                </c:pt>
                <c:pt idx="21432">
                  <c:v>21243096</c:v>
                </c:pt>
                <c:pt idx="21433">
                  <c:v>16608394</c:v>
                </c:pt>
                <c:pt idx="21434">
                  <c:v>16490425</c:v>
                </c:pt>
                <c:pt idx="21435">
                  <c:v>26880876</c:v>
                </c:pt>
                <c:pt idx="21436">
                  <c:v>22314075</c:v>
                </c:pt>
                <c:pt idx="21437">
                  <c:v>4516510</c:v>
                </c:pt>
                <c:pt idx="21438">
                  <c:v>11315070</c:v>
                </c:pt>
                <c:pt idx="21439">
                  <c:v>187550202</c:v>
                </c:pt>
                <c:pt idx="21440">
                  <c:v>10190752</c:v>
                </c:pt>
                <c:pt idx="21441">
                  <c:v>150204762</c:v>
                </c:pt>
                <c:pt idx="21442">
                  <c:v>61925370</c:v>
                </c:pt>
                <c:pt idx="21443">
                  <c:v>39705630</c:v>
                </c:pt>
                <c:pt idx="21444">
                  <c:v>37544160</c:v>
                </c:pt>
                <c:pt idx="21445">
                  <c:v>109771644</c:v>
                </c:pt>
                <c:pt idx="21446">
                  <c:v>16804701</c:v>
                </c:pt>
                <c:pt idx="21447">
                  <c:v>6413085</c:v>
                </c:pt>
                <c:pt idx="21448">
                  <c:v>18068135</c:v>
                </c:pt>
                <c:pt idx="21449">
                  <c:v>80691664</c:v>
                </c:pt>
                <c:pt idx="21450">
                  <c:v>6792576</c:v>
                </c:pt>
                <c:pt idx="21451">
                  <c:v>5781933</c:v>
                </c:pt>
                <c:pt idx="21452">
                  <c:v>15137792</c:v>
                </c:pt>
                <c:pt idx="21453">
                  <c:v>56814120</c:v>
                </c:pt>
                <c:pt idx="21454">
                  <c:v>2872583</c:v>
                </c:pt>
                <c:pt idx="21455">
                  <c:v>8110581</c:v>
                </c:pt>
                <c:pt idx="21456">
                  <c:v>90020322</c:v>
                </c:pt>
                <c:pt idx="21457">
                  <c:v>20188448</c:v>
                </c:pt>
                <c:pt idx="21458">
                  <c:v>16307024</c:v>
                </c:pt>
                <c:pt idx="21459">
                  <c:v>22908276</c:v>
                </c:pt>
                <c:pt idx="21460">
                  <c:v>8669461</c:v>
                </c:pt>
                <c:pt idx="21461">
                  <c:v>740477056</c:v>
                </c:pt>
                <c:pt idx="21462">
                  <c:v>9234090</c:v>
                </c:pt>
                <c:pt idx="21463">
                  <c:v>529047574</c:v>
                </c:pt>
                <c:pt idx="21464">
                  <c:v>274477665</c:v>
                </c:pt>
                <c:pt idx="21465">
                  <c:v>17588928</c:v>
                </c:pt>
                <c:pt idx="21466">
                  <c:v>38191360</c:v>
                </c:pt>
                <c:pt idx="21467">
                  <c:v>23534280</c:v>
                </c:pt>
                <c:pt idx="21468">
                  <c:v>12611772</c:v>
                </c:pt>
                <c:pt idx="21469">
                  <c:v>26082666</c:v>
                </c:pt>
                <c:pt idx="21470">
                  <c:v>12362420</c:v>
                </c:pt>
                <c:pt idx="21471">
                  <c:v>13413489</c:v>
                </c:pt>
                <c:pt idx="21472">
                  <c:v>7827456</c:v>
                </c:pt>
                <c:pt idx="21473">
                  <c:v>95302067</c:v>
                </c:pt>
                <c:pt idx="21474">
                  <c:v>40990543</c:v>
                </c:pt>
                <c:pt idx="21475">
                  <c:v>31941888</c:v>
                </c:pt>
                <c:pt idx="21476">
                  <c:v>35311780</c:v>
                </c:pt>
                <c:pt idx="21477">
                  <c:v>33086760</c:v>
                </c:pt>
                <c:pt idx="21478">
                  <c:v>60468448</c:v>
                </c:pt>
                <c:pt idx="21479">
                  <c:v>16739508</c:v>
                </c:pt>
                <c:pt idx="21480">
                  <c:v>6604201</c:v>
                </c:pt>
                <c:pt idx="21481">
                  <c:v>29702757</c:v>
                </c:pt>
                <c:pt idx="21482">
                  <c:v>95861282</c:v>
                </c:pt>
                <c:pt idx="21483">
                  <c:v>17223969</c:v>
                </c:pt>
                <c:pt idx="21484">
                  <c:v>13121786</c:v>
                </c:pt>
                <c:pt idx="21485">
                  <c:v>55000145</c:v>
                </c:pt>
                <c:pt idx="21486">
                  <c:v>14580158</c:v>
                </c:pt>
                <c:pt idx="21487">
                  <c:v>7612515</c:v>
                </c:pt>
                <c:pt idx="21488">
                  <c:v>11494692</c:v>
                </c:pt>
                <c:pt idx="21489">
                  <c:v>77281490</c:v>
                </c:pt>
                <c:pt idx="21490">
                  <c:v>819515364</c:v>
                </c:pt>
                <c:pt idx="21491">
                  <c:v>52768938</c:v>
                </c:pt>
                <c:pt idx="21492">
                  <c:v>33640890</c:v>
                </c:pt>
                <c:pt idx="21493">
                  <c:v>3056196</c:v>
                </c:pt>
                <c:pt idx="21494">
                  <c:v>51792160</c:v>
                </c:pt>
                <c:pt idx="21495">
                  <c:v>14491224</c:v>
                </c:pt>
                <c:pt idx="21496">
                  <c:v>14878010</c:v>
                </c:pt>
                <c:pt idx="21497">
                  <c:v>39262740</c:v>
                </c:pt>
                <c:pt idx="21498">
                  <c:v>9368502</c:v>
                </c:pt>
                <c:pt idx="21499">
                  <c:v>2821896</c:v>
                </c:pt>
                <c:pt idx="21500">
                  <c:v>42785910</c:v>
                </c:pt>
                <c:pt idx="21501">
                  <c:v>1106392</c:v>
                </c:pt>
                <c:pt idx="21502">
                  <c:v>9486540</c:v>
                </c:pt>
                <c:pt idx="21503">
                  <c:v>29333616</c:v>
                </c:pt>
                <c:pt idx="21504">
                  <c:v>16512375</c:v>
                </c:pt>
                <c:pt idx="21505">
                  <c:v>5606106</c:v>
                </c:pt>
                <c:pt idx="21506">
                  <c:v>61277345</c:v>
                </c:pt>
                <c:pt idx="21507">
                  <c:v>22206298</c:v>
                </c:pt>
                <c:pt idx="21508">
                  <c:v>35093916</c:v>
                </c:pt>
                <c:pt idx="21509">
                  <c:v>18985266</c:v>
                </c:pt>
                <c:pt idx="21510">
                  <c:v>27621330</c:v>
                </c:pt>
                <c:pt idx="21511">
                  <c:v>9590648</c:v>
                </c:pt>
                <c:pt idx="21512">
                  <c:v>36553216</c:v>
                </c:pt>
                <c:pt idx="21513">
                  <c:v>6130476</c:v>
                </c:pt>
                <c:pt idx="21514">
                  <c:v>20721877</c:v>
                </c:pt>
                <c:pt idx="21515">
                  <c:v>12156684</c:v>
                </c:pt>
                <c:pt idx="21516">
                  <c:v>210692440</c:v>
                </c:pt>
                <c:pt idx="21517">
                  <c:v>8664074</c:v>
                </c:pt>
                <c:pt idx="21518">
                  <c:v>77832300</c:v>
                </c:pt>
                <c:pt idx="21519">
                  <c:v>37817529</c:v>
                </c:pt>
                <c:pt idx="21520">
                  <c:v>16075400</c:v>
                </c:pt>
                <c:pt idx="21521">
                  <c:v>17131026</c:v>
                </c:pt>
                <c:pt idx="21522">
                  <c:v>123664560</c:v>
                </c:pt>
                <c:pt idx="21523">
                  <c:v>5173476</c:v>
                </c:pt>
                <c:pt idx="21524">
                  <c:v>21864414</c:v>
                </c:pt>
                <c:pt idx="21525">
                  <c:v>12293256</c:v>
                </c:pt>
                <c:pt idx="21526">
                  <c:v>29316876</c:v>
                </c:pt>
                <c:pt idx="21527">
                  <c:v>41247764</c:v>
                </c:pt>
                <c:pt idx="21528">
                  <c:v>12590250</c:v>
                </c:pt>
                <c:pt idx="21529">
                  <c:v>5509367</c:v>
                </c:pt>
                <c:pt idx="21530">
                  <c:v>13480075</c:v>
                </c:pt>
                <c:pt idx="21531">
                  <c:v>9408448</c:v>
                </c:pt>
                <c:pt idx="21532">
                  <c:v>6428592</c:v>
                </c:pt>
                <c:pt idx="21533">
                  <c:v>5642066</c:v>
                </c:pt>
                <c:pt idx="21534">
                  <c:v>81257512</c:v>
                </c:pt>
                <c:pt idx="21535">
                  <c:v>85143980</c:v>
                </c:pt>
                <c:pt idx="21536">
                  <c:v>15756748</c:v>
                </c:pt>
                <c:pt idx="21537">
                  <c:v>5649592</c:v>
                </c:pt>
                <c:pt idx="21538">
                  <c:v>20155056</c:v>
                </c:pt>
                <c:pt idx="21539">
                  <c:v>274458876</c:v>
                </c:pt>
                <c:pt idx="21540">
                  <c:v>14214240</c:v>
                </c:pt>
                <c:pt idx="21541">
                  <c:v>37351080</c:v>
                </c:pt>
                <c:pt idx="21542">
                  <c:v>63161960</c:v>
                </c:pt>
                <c:pt idx="21543">
                  <c:v>14358559</c:v>
                </c:pt>
                <c:pt idx="21544">
                  <c:v>29576977</c:v>
                </c:pt>
                <c:pt idx="21545">
                  <c:v>24437274</c:v>
                </c:pt>
                <c:pt idx="21546">
                  <c:v>2997975</c:v>
                </c:pt>
                <c:pt idx="21547">
                  <c:v>28344612</c:v>
                </c:pt>
                <c:pt idx="21548">
                  <c:v>10788656</c:v>
                </c:pt>
                <c:pt idx="21549">
                  <c:v>7773744</c:v>
                </c:pt>
                <c:pt idx="21550">
                  <c:v>10636359</c:v>
                </c:pt>
                <c:pt idx="21551">
                  <c:v>84808752</c:v>
                </c:pt>
                <c:pt idx="21552">
                  <c:v>22032400</c:v>
                </c:pt>
                <c:pt idx="21553">
                  <c:v>1226394</c:v>
                </c:pt>
                <c:pt idx="21554">
                  <c:v>17046408</c:v>
                </c:pt>
                <c:pt idx="21555">
                  <c:v>4648100</c:v>
                </c:pt>
                <c:pt idx="21556">
                  <c:v>15156680</c:v>
                </c:pt>
                <c:pt idx="21557">
                  <c:v>10948015</c:v>
                </c:pt>
                <c:pt idx="21558">
                  <c:v>22401148</c:v>
                </c:pt>
                <c:pt idx="21559">
                  <c:v>22738872</c:v>
                </c:pt>
                <c:pt idx="21560">
                  <c:v>8602568</c:v>
                </c:pt>
                <c:pt idx="21561">
                  <c:v>870355833</c:v>
                </c:pt>
                <c:pt idx="21562">
                  <c:v>35497820</c:v>
                </c:pt>
                <c:pt idx="21563">
                  <c:v>8189056</c:v>
                </c:pt>
                <c:pt idx="21564">
                  <c:v>17245992</c:v>
                </c:pt>
                <c:pt idx="21565">
                  <c:v>37963720</c:v>
                </c:pt>
                <c:pt idx="21566">
                  <c:v>5942362</c:v>
                </c:pt>
                <c:pt idx="21567">
                  <c:v>26372974</c:v>
                </c:pt>
                <c:pt idx="21568">
                  <c:v>8488725</c:v>
                </c:pt>
                <c:pt idx="21569">
                  <c:v>42115374</c:v>
                </c:pt>
                <c:pt idx="21570">
                  <c:v>167734854</c:v>
                </c:pt>
                <c:pt idx="21571">
                  <c:v>21757623</c:v>
                </c:pt>
                <c:pt idx="21572">
                  <c:v>3479793</c:v>
                </c:pt>
                <c:pt idx="21573">
                  <c:v>11268240</c:v>
                </c:pt>
                <c:pt idx="21574">
                  <c:v>11168230</c:v>
                </c:pt>
                <c:pt idx="21575">
                  <c:v>132506550</c:v>
                </c:pt>
                <c:pt idx="21576">
                  <c:v>51377232</c:v>
                </c:pt>
                <c:pt idx="21577">
                  <c:v>17234321</c:v>
                </c:pt>
                <c:pt idx="21578">
                  <c:v>3866004</c:v>
                </c:pt>
                <c:pt idx="21579">
                  <c:v>61705410</c:v>
                </c:pt>
                <c:pt idx="21580">
                  <c:v>73890822</c:v>
                </c:pt>
                <c:pt idx="21581">
                  <c:v>7818120</c:v>
                </c:pt>
                <c:pt idx="21582">
                  <c:v>19046583</c:v>
                </c:pt>
                <c:pt idx="21583">
                  <c:v>20258203</c:v>
                </c:pt>
                <c:pt idx="21584">
                  <c:v>10107027</c:v>
                </c:pt>
                <c:pt idx="21585">
                  <c:v>30350432</c:v>
                </c:pt>
                <c:pt idx="21586">
                  <c:v>21771246</c:v>
                </c:pt>
                <c:pt idx="21587">
                  <c:v>194387578</c:v>
                </c:pt>
                <c:pt idx="21588">
                  <c:v>29343372</c:v>
                </c:pt>
                <c:pt idx="21589">
                  <c:v>33585009</c:v>
                </c:pt>
                <c:pt idx="21590">
                  <c:v>24768342</c:v>
                </c:pt>
                <c:pt idx="21591">
                  <c:v>3668598</c:v>
                </c:pt>
                <c:pt idx="21592">
                  <c:v>2788500</c:v>
                </c:pt>
                <c:pt idx="21593">
                  <c:v>209328832</c:v>
                </c:pt>
                <c:pt idx="21594">
                  <c:v>27713854</c:v>
                </c:pt>
                <c:pt idx="21595">
                  <c:v>66234686</c:v>
                </c:pt>
                <c:pt idx="21596">
                  <c:v>19163820</c:v>
                </c:pt>
                <c:pt idx="21597">
                  <c:v>10040030</c:v>
                </c:pt>
                <c:pt idx="21598">
                  <c:v>7366821</c:v>
                </c:pt>
                <c:pt idx="21599">
                  <c:v>14600785</c:v>
                </c:pt>
                <c:pt idx="21600">
                  <c:v>6526044</c:v>
                </c:pt>
                <c:pt idx="21601">
                  <c:v>94583380</c:v>
                </c:pt>
                <c:pt idx="21602">
                  <c:v>58315700</c:v>
                </c:pt>
                <c:pt idx="21603">
                  <c:v>11781264</c:v>
                </c:pt>
                <c:pt idx="21604">
                  <c:v>3591375</c:v>
                </c:pt>
                <c:pt idx="21605">
                  <c:v>7612515</c:v>
                </c:pt>
                <c:pt idx="21606">
                  <c:v>5821816</c:v>
                </c:pt>
                <c:pt idx="21607">
                  <c:v>6252274</c:v>
                </c:pt>
                <c:pt idx="21608">
                  <c:v>18612852</c:v>
                </c:pt>
                <c:pt idx="21609">
                  <c:v>277442560</c:v>
                </c:pt>
                <c:pt idx="21610">
                  <c:v>62054946</c:v>
                </c:pt>
                <c:pt idx="21611">
                  <c:v>58029420</c:v>
                </c:pt>
                <c:pt idx="21612">
                  <c:v>166375710</c:v>
                </c:pt>
                <c:pt idx="21613">
                  <c:v>33579165</c:v>
                </c:pt>
                <c:pt idx="21614">
                  <c:v>329242200</c:v>
                </c:pt>
                <c:pt idx="21615">
                  <c:v>59047776</c:v>
                </c:pt>
                <c:pt idx="21616">
                  <c:v>12959064</c:v>
                </c:pt>
                <c:pt idx="21617">
                  <c:v>11922044</c:v>
                </c:pt>
                <c:pt idx="21618">
                  <c:v>37404072</c:v>
                </c:pt>
                <c:pt idx="21619">
                  <c:v>39725808</c:v>
                </c:pt>
                <c:pt idx="21620">
                  <c:v>14494530</c:v>
                </c:pt>
                <c:pt idx="21621">
                  <c:v>6683223</c:v>
                </c:pt>
                <c:pt idx="21622">
                  <c:v>15455724</c:v>
                </c:pt>
                <c:pt idx="21623">
                  <c:v>2836683</c:v>
                </c:pt>
                <c:pt idx="21624">
                  <c:v>42961432</c:v>
                </c:pt>
                <c:pt idx="21625">
                  <c:v>115879258</c:v>
                </c:pt>
                <c:pt idx="21626">
                  <c:v>60440120</c:v>
                </c:pt>
                <c:pt idx="21627">
                  <c:v>32672098</c:v>
                </c:pt>
                <c:pt idx="21628">
                  <c:v>497096100</c:v>
                </c:pt>
                <c:pt idx="21629">
                  <c:v>9786810</c:v>
                </c:pt>
                <c:pt idx="21630">
                  <c:v>8233344</c:v>
                </c:pt>
                <c:pt idx="21631">
                  <c:v>1443680134</c:v>
                </c:pt>
                <c:pt idx="21632">
                  <c:v>778680630</c:v>
                </c:pt>
                <c:pt idx="21633">
                  <c:v>1446806856</c:v>
                </c:pt>
                <c:pt idx="21634">
                  <c:v>1289045784</c:v>
                </c:pt>
                <c:pt idx="21635">
                  <c:v>472782852</c:v>
                </c:pt>
                <c:pt idx="21636">
                  <c:v>174978526</c:v>
                </c:pt>
                <c:pt idx="21637">
                  <c:v>30655988</c:v>
                </c:pt>
                <c:pt idx="21638">
                  <c:v>108833621</c:v>
                </c:pt>
                <c:pt idx="21639">
                  <c:v>23140460</c:v>
                </c:pt>
                <c:pt idx="21640">
                  <c:v>567216070</c:v>
                </c:pt>
                <c:pt idx="21641">
                  <c:v>71766240</c:v>
                </c:pt>
                <c:pt idx="21642">
                  <c:v>30187080</c:v>
                </c:pt>
                <c:pt idx="21643">
                  <c:v>59580324</c:v>
                </c:pt>
                <c:pt idx="21644">
                  <c:v>530504315</c:v>
                </c:pt>
                <c:pt idx="21645">
                  <c:v>510443232</c:v>
                </c:pt>
                <c:pt idx="21646">
                  <c:v>35860110</c:v>
                </c:pt>
                <c:pt idx="21647">
                  <c:v>50469272</c:v>
                </c:pt>
                <c:pt idx="21648">
                  <c:v>83301504</c:v>
                </c:pt>
                <c:pt idx="21649">
                  <c:v>424448952</c:v>
                </c:pt>
                <c:pt idx="21650">
                  <c:v>1140306048</c:v>
                </c:pt>
                <c:pt idx="21651">
                  <c:v>115376414</c:v>
                </c:pt>
                <c:pt idx="21652">
                  <c:v>1312951068</c:v>
                </c:pt>
                <c:pt idx="21653">
                  <c:v>385502776</c:v>
                </c:pt>
                <c:pt idx="21654">
                  <c:v>1782479677</c:v>
                </c:pt>
                <c:pt idx="21655">
                  <c:v>80488744</c:v>
                </c:pt>
                <c:pt idx="21656">
                  <c:v>1039139640</c:v>
                </c:pt>
                <c:pt idx="21657">
                  <c:v>476779125</c:v>
                </c:pt>
                <c:pt idx="21658">
                  <c:v>74195487</c:v>
                </c:pt>
                <c:pt idx="21659">
                  <c:v>1378212114</c:v>
                </c:pt>
                <c:pt idx="21660">
                  <c:v>145312635</c:v>
                </c:pt>
                <c:pt idx="21661">
                  <c:v>112163808</c:v>
                </c:pt>
                <c:pt idx="21662">
                  <c:v>27054234</c:v>
                </c:pt>
                <c:pt idx="21663">
                  <c:v>49900557</c:v>
                </c:pt>
                <c:pt idx="21664">
                  <c:v>123707280</c:v>
                </c:pt>
                <c:pt idx="21665">
                  <c:v>90126498</c:v>
                </c:pt>
                <c:pt idx="21666">
                  <c:v>37021614</c:v>
                </c:pt>
                <c:pt idx="21667">
                  <c:v>195432200</c:v>
                </c:pt>
                <c:pt idx="21668">
                  <c:v>187287120</c:v>
                </c:pt>
                <c:pt idx="21669">
                  <c:v>184307904</c:v>
                </c:pt>
                <c:pt idx="21670">
                  <c:v>665146740</c:v>
                </c:pt>
                <c:pt idx="21671">
                  <c:v>123349905</c:v>
                </c:pt>
                <c:pt idx="21672">
                  <c:v>181613088</c:v>
                </c:pt>
                <c:pt idx="21673">
                  <c:v>506588678</c:v>
                </c:pt>
                <c:pt idx="21674">
                  <c:v>1821516290</c:v>
                </c:pt>
                <c:pt idx="21675">
                  <c:v>449117400</c:v>
                </c:pt>
                <c:pt idx="21676">
                  <c:v>669529560</c:v>
                </c:pt>
                <c:pt idx="21677">
                  <c:v>1343435520</c:v>
                </c:pt>
                <c:pt idx="21678">
                  <c:v>1081336544</c:v>
                </c:pt>
                <c:pt idx="21679">
                  <c:v>384361875</c:v>
                </c:pt>
                <c:pt idx="21680">
                  <c:v>940066453</c:v>
                </c:pt>
                <c:pt idx="21681">
                  <c:v>1212345187</c:v>
                </c:pt>
                <c:pt idx="21682">
                  <c:v>1155119477</c:v>
                </c:pt>
                <c:pt idx="21683">
                  <c:v>510293890</c:v>
                </c:pt>
                <c:pt idx="21684">
                  <c:v>484013643</c:v>
                </c:pt>
                <c:pt idx="21685">
                  <c:v>438596814</c:v>
                </c:pt>
                <c:pt idx="21686">
                  <c:v>477046752</c:v>
                </c:pt>
                <c:pt idx="21687">
                  <c:v>172383802</c:v>
                </c:pt>
                <c:pt idx="21688">
                  <c:v>804720228</c:v>
                </c:pt>
                <c:pt idx="21689">
                  <c:v>852747752</c:v>
                </c:pt>
                <c:pt idx="21690">
                  <c:v>1446408838</c:v>
                </c:pt>
                <c:pt idx="21691">
                  <c:v>145488421</c:v>
                </c:pt>
                <c:pt idx="21692">
                  <c:v>99161496</c:v>
                </c:pt>
                <c:pt idx="21693">
                  <c:v>130702125</c:v>
                </c:pt>
                <c:pt idx="21694">
                  <c:v>167409687</c:v>
                </c:pt>
                <c:pt idx="21695">
                  <c:v>136701582</c:v>
                </c:pt>
                <c:pt idx="21696">
                  <c:v>267289610</c:v>
                </c:pt>
                <c:pt idx="21697">
                  <c:v>199983480</c:v>
                </c:pt>
                <c:pt idx="21698">
                  <c:v>105277863</c:v>
                </c:pt>
                <c:pt idx="21699">
                  <c:v>38842146</c:v>
                </c:pt>
                <c:pt idx="21700">
                  <c:v>35370690</c:v>
                </c:pt>
                <c:pt idx="21701">
                  <c:v>65344192</c:v>
                </c:pt>
                <c:pt idx="21702">
                  <c:v>27097956</c:v>
                </c:pt>
                <c:pt idx="21703">
                  <c:v>238255962</c:v>
                </c:pt>
                <c:pt idx="21704">
                  <c:v>1034690788</c:v>
                </c:pt>
                <c:pt idx="21705">
                  <c:v>579808778</c:v>
                </c:pt>
                <c:pt idx="21706">
                  <c:v>6488664</c:v>
                </c:pt>
                <c:pt idx="21707">
                  <c:v>840046080</c:v>
                </c:pt>
                <c:pt idx="21708">
                  <c:v>51436818</c:v>
                </c:pt>
                <c:pt idx="21709">
                  <c:v>175899776</c:v>
                </c:pt>
                <c:pt idx="21710">
                  <c:v>171524850</c:v>
                </c:pt>
                <c:pt idx="21711">
                  <c:v>3525018</c:v>
                </c:pt>
                <c:pt idx="21712">
                  <c:v>122851047</c:v>
                </c:pt>
                <c:pt idx="21713">
                  <c:v>476577760</c:v>
                </c:pt>
                <c:pt idx="21714">
                  <c:v>159740352</c:v>
                </c:pt>
                <c:pt idx="21715">
                  <c:v>189925701</c:v>
                </c:pt>
                <c:pt idx="21716">
                  <c:v>405674080</c:v>
                </c:pt>
                <c:pt idx="21717">
                  <c:v>195234693</c:v>
                </c:pt>
                <c:pt idx="21718">
                  <c:v>28096155</c:v>
                </c:pt>
                <c:pt idx="21719">
                  <c:v>543909744</c:v>
                </c:pt>
                <c:pt idx="21720">
                  <c:v>723322264</c:v>
                </c:pt>
                <c:pt idx="21721">
                  <c:v>259673155</c:v>
                </c:pt>
                <c:pt idx="21722">
                  <c:v>370671771</c:v>
                </c:pt>
                <c:pt idx="21723">
                  <c:v>98992120</c:v>
                </c:pt>
                <c:pt idx="21724">
                  <c:v>347496990</c:v>
                </c:pt>
                <c:pt idx="21725">
                  <c:v>145736136</c:v>
                </c:pt>
                <c:pt idx="21726">
                  <c:v>1624850147</c:v>
                </c:pt>
                <c:pt idx="21727">
                  <c:v>738924900</c:v>
                </c:pt>
                <c:pt idx="21728">
                  <c:v>244948239</c:v>
                </c:pt>
                <c:pt idx="21729">
                  <c:v>484004052</c:v>
                </c:pt>
                <c:pt idx="21730">
                  <c:v>105247188</c:v>
                </c:pt>
                <c:pt idx="21731">
                  <c:v>148008540</c:v>
                </c:pt>
                <c:pt idx="21732">
                  <c:v>237252275</c:v>
                </c:pt>
                <c:pt idx="21733">
                  <c:v>347343226</c:v>
                </c:pt>
                <c:pt idx="21734">
                  <c:v>176394636</c:v>
                </c:pt>
                <c:pt idx="21735">
                  <c:v>730595461</c:v>
                </c:pt>
                <c:pt idx="21736">
                  <c:v>1095024560</c:v>
                </c:pt>
                <c:pt idx="21737">
                  <c:v>95225823</c:v>
                </c:pt>
                <c:pt idx="21738">
                  <c:v>74783150</c:v>
                </c:pt>
                <c:pt idx="21739">
                  <c:v>397399212</c:v>
                </c:pt>
                <c:pt idx="21740">
                  <c:v>916016929</c:v>
                </c:pt>
                <c:pt idx="21741">
                  <c:v>71564319</c:v>
                </c:pt>
                <c:pt idx="21742">
                  <c:v>103511320</c:v>
                </c:pt>
                <c:pt idx="21743">
                  <c:v>1205851878</c:v>
                </c:pt>
                <c:pt idx="21744">
                  <c:v>516351024</c:v>
                </c:pt>
                <c:pt idx="21745">
                  <c:v>1190563710</c:v>
                </c:pt>
                <c:pt idx="21746">
                  <c:v>147172905</c:v>
                </c:pt>
                <c:pt idx="21747">
                  <c:v>5083944</c:v>
                </c:pt>
                <c:pt idx="21748">
                  <c:v>251537238</c:v>
                </c:pt>
                <c:pt idx="21749">
                  <c:v>1055975430</c:v>
                </c:pt>
                <c:pt idx="21750">
                  <c:v>470904642</c:v>
                </c:pt>
                <c:pt idx="21751">
                  <c:v>1605989490</c:v>
                </c:pt>
                <c:pt idx="21752">
                  <c:v>1200590340</c:v>
                </c:pt>
                <c:pt idx="21753">
                  <c:v>559439012</c:v>
                </c:pt>
                <c:pt idx="21754">
                  <c:v>1733652063</c:v>
                </c:pt>
                <c:pt idx="21755">
                  <c:v>643669242</c:v>
                </c:pt>
                <c:pt idx="21756">
                  <c:v>236494419</c:v>
                </c:pt>
                <c:pt idx="21757">
                  <c:v>34763790</c:v>
                </c:pt>
                <c:pt idx="21758">
                  <c:v>48925080</c:v>
                </c:pt>
                <c:pt idx="21759">
                  <c:v>26324636</c:v>
                </c:pt>
                <c:pt idx="21760">
                  <c:v>631751624</c:v>
                </c:pt>
                <c:pt idx="21761">
                  <c:v>630114030</c:v>
                </c:pt>
                <c:pt idx="21762">
                  <c:v>593269295</c:v>
                </c:pt>
                <c:pt idx="21763">
                  <c:v>15086057</c:v>
                </c:pt>
                <c:pt idx="21764">
                  <c:v>6015552</c:v>
                </c:pt>
                <c:pt idx="21765">
                  <c:v>323069474</c:v>
                </c:pt>
                <c:pt idx="21766">
                  <c:v>393973023</c:v>
                </c:pt>
                <c:pt idx="21767">
                  <c:v>58686300</c:v>
                </c:pt>
                <c:pt idx="21768">
                  <c:v>386593200</c:v>
                </c:pt>
                <c:pt idx="21769">
                  <c:v>57417360</c:v>
                </c:pt>
                <c:pt idx="21770">
                  <c:v>56074432</c:v>
                </c:pt>
                <c:pt idx="21771">
                  <c:v>183995145</c:v>
                </c:pt>
                <c:pt idx="21772">
                  <c:v>13203800</c:v>
                </c:pt>
                <c:pt idx="21773">
                  <c:v>407705620</c:v>
                </c:pt>
                <c:pt idx="21774">
                  <c:v>275885811</c:v>
                </c:pt>
                <c:pt idx="21775">
                  <c:v>17325216</c:v>
                </c:pt>
                <c:pt idx="21776">
                  <c:v>89545372</c:v>
                </c:pt>
                <c:pt idx="21777">
                  <c:v>114328858</c:v>
                </c:pt>
                <c:pt idx="21778">
                  <c:v>241326735</c:v>
                </c:pt>
                <c:pt idx="21779">
                  <c:v>432140292</c:v>
                </c:pt>
                <c:pt idx="21780">
                  <c:v>241774912</c:v>
                </c:pt>
                <c:pt idx="21781">
                  <c:v>70556265</c:v>
                </c:pt>
                <c:pt idx="21782">
                  <c:v>22682435</c:v>
                </c:pt>
                <c:pt idx="21783">
                  <c:v>89643260</c:v>
                </c:pt>
                <c:pt idx="21784">
                  <c:v>224018779</c:v>
                </c:pt>
                <c:pt idx="21785">
                  <c:v>26145456</c:v>
                </c:pt>
                <c:pt idx="21786">
                  <c:v>60158202</c:v>
                </c:pt>
                <c:pt idx="21787">
                  <c:v>854005724</c:v>
                </c:pt>
                <c:pt idx="21788">
                  <c:v>661955008</c:v>
                </c:pt>
                <c:pt idx="21789">
                  <c:v>833551296</c:v>
                </c:pt>
                <c:pt idx="21790">
                  <c:v>18879588</c:v>
                </c:pt>
                <c:pt idx="21791">
                  <c:v>90691050</c:v>
                </c:pt>
                <c:pt idx="21792">
                  <c:v>407848400</c:v>
                </c:pt>
                <c:pt idx="21793">
                  <c:v>12081216</c:v>
                </c:pt>
                <c:pt idx="21794">
                  <c:v>485583553</c:v>
                </c:pt>
                <c:pt idx="21795">
                  <c:v>274639404</c:v>
                </c:pt>
                <c:pt idx="21796">
                  <c:v>160289968</c:v>
                </c:pt>
                <c:pt idx="21797">
                  <c:v>5003148</c:v>
                </c:pt>
                <c:pt idx="21798">
                  <c:v>384762510</c:v>
                </c:pt>
                <c:pt idx="21799">
                  <c:v>79584960</c:v>
                </c:pt>
                <c:pt idx="21800">
                  <c:v>129055404</c:v>
                </c:pt>
                <c:pt idx="21801">
                  <c:v>937390164</c:v>
                </c:pt>
                <c:pt idx="21802">
                  <c:v>1021515898</c:v>
                </c:pt>
                <c:pt idx="21803">
                  <c:v>1639211108</c:v>
                </c:pt>
                <c:pt idx="21804">
                  <c:v>655611132</c:v>
                </c:pt>
                <c:pt idx="21805">
                  <c:v>853437200</c:v>
                </c:pt>
                <c:pt idx="21806">
                  <c:v>256919954</c:v>
                </c:pt>
                <c:pt idx="21807">
                  <c:v>66232200</c:v>
                </c:pt>
                <c:pt idx="21808">
                  <c:v>16924353</c:v>
                </c:pt>
                <c:pt idx="21809">
                  <c:v>181976440</c:v>
                </c:pt>
                <c:pt idx="21810">
                  <c:v>761050207</c:v>
                </c:pt>
                <c:pt idx="21811">
                  <c:v>25267386</c:v>
                </c:pt>
                <c:pt idx="21812">
                  <c:v>8540154</c:v>
                </c:pt>
                <c:pt idx="21813">
                  <c:v>3333144</c:v>
                </c:pt>
                <c:pt idx="21814">
                  <c:v>28799152</c:v>
                </c:pt>
                <c:pt idx="21815">
                  <c:v>287524472</c:v>
                </c:pt>
                <c:pt idx="21816">
                  <c:v>146201700</c:v>
                </c:pt>
                <c:pt idx="21817">
                  <c:v>36223842</c:v>
                </c:pt>
                <c:pt idx="21818">
                  <c:v>90445080</c:v>
                </c:pt>
                <c:pt idx="21819">
                  <c:v>57335040</c:v>
                </c:pt>
                <c:pt idx="21820">
                  <c:v>80086250</c:v>
                </c:pt>
                <c:pt idx="21821">
                  <c:v>133777008</c:v>
                </c:pt>
                <c:pt idx="21822">
                  <c:v>19226594</c:v>
                </c:pt>
                <c:pt idx="21823">
                  <c:v>38457242</c:v>
                </c:pt>
                <c:pt idx="21824">
                  <c:v>31095064</c:v>
                </c:pt>
                <c:pt idx="21825">
                  <c:v>750095843</c:v>
                </c:pt>
                <c:pt idx="21826">
                  <c:v>430151832</c:v>
                </c:pt>
                <c:pt idx="21827">
                  <c:v>139826328</c:v>
                </c:pt>
                <c:pt idx="21828">
                  <c:v>238401279</c:v>
                </c:pt>
                <c:pt idx="21829">
                  <c:v>713440920</c:v>
                </c:pt>
                <c:pt idx="21830">
                  <c:v>205786992</c:v>
                </c:pt>
                <c:pt idx="21831">
                  <c:v>181547190</c:v>
                </c:pt>
                <c:pt idx="21832">
                  <c:v>487909983</c:v>
                </c:pt>
                <c:pt idx="21833">
                  <c:v>26630009</c:v>
                </c:pt>
                <c:pt idx="21834">
                  <c:v>118745440</c:v>
                </c:pt>
                <c:pt idx="21835">
                  <c:v>10888108</c:v>
                </c:pt>
                <c:pt idx="21836">
                  <c:v>166097525</c:v>
                </c:pt>
                <c:pt idx="21837">
                  <c:v>27811046</c:v>
                </c:pt>
                <c:pt idx="21838">
                  <c:v>1668359594</c:v>
                </c:pt>
                <c:pt idx="21839">
                  <c:v>28185191</c:v>
                </c:pt>
                <c:pt idx="21840">
                  <c:v>5942372</c:v>
                </c:pt>
                <c:pt idx="21841">
                  <c:v>119414834</c:v>
                </c:pt>
                <c:pt idx="21842">
                  <c:v>25106270</c:v>
                </c:pt>
                <c:pt idx="21843">
                  <c:v>38578080</c:v>
                </c:pt>
                <c:pt idx="21844">
                  <c:v>381506146</c:v>
                </c:pt>
                <c:pt idx="21845">
                  <c:v>4777515</c:v>
                </c:pt>
                <c:pt idx="21846">
                  <c:v>1637536678</c:v>
                </c:pt>
                <c:pt idx="21847">
                  <c:v>532230000</c:v>
                </c:pt>
                <c:pt idx="21848">
                  <c:v>23153559</c:v>
                </c:pt>
                <c:pt idx="21849">
                  <c:v>23240040</c:v>
                </c:pt>
                <c:pt idx="21850">
                  <c:v>172598192</c:v>
                </c:pt>
                <c:pt idx="21851">
                  <c:v>136623814</c:v>
                </c:pt>
                <c:pt idx="21852">
                  <c:v>32700485</c:v>
                </c:pt>
                <c:pt idx="21853">
                  <c:v>30219480</c:v>
                </c:pt>
                <c:pt idx="21854">
                  <c:v>19917516</c:v>
                </c:pt>
                <c:pt idx="21855">
                  <c:v>12006090</c:v>
                </c:pt>
                <c:pt idx="21856">
                  <c:v>343012548</c:v>
                </c:pt>
                <c:pt idx="21857">
                  <c:v>40662488</c:v>
                </c:pt>
                <c:pt idx="21858">
                  <c:v>79228560</c:v>
                </c:pt>
                <c:pt idx="21859">
                  <c:v>33908330</c:v>
                </c:pt>
                <c:pt idx="21860">
                  <c:v>163293542</c:v>
                </c:pt>
                <c:pt idx="21861">
                  <c:v>12386640</c:v>
                </c:pt>
                <c:pt idx="21862">
                  <c:v>25855536</c:v>
                </c:pt>
                <c:pt idx="21863">
                  <c:v>168088040</c:v>
                </c:pt>
                <c:pt idx="21864">
                  <c:v>425911084</c:v>
                </c:pt>
                <c:pt idx="21865">
                  <c:v>454724160</c:v>
                </c:pt>
                <c:pt idx="21866">
                  <c:v>1922739790</c:v>
                </c:pt>
                <c:pt idx="21867">
                  <c:v>114704900</c:v>
                </c:pt>
                <c:pt idx="21868">
                  <c:v>34633326</c:v>
                </c:pt>
                <c:pt idx="21869">
                  <c:v>356538438</c:v>
                </c:pt>
                <c:pt idx="21870">
                  <c:v>327922280</c:v>
                </c:pt>
                <c:pt idx="21871">
                  <c:v>100459009</c:v>
                </c:pt>
                <c:pt idx="21872">
                  <c:v>148061156</c:v>
                </c:pt>
                <c:pt idx="21873">
                  <c:v>118862926</c:v>
                </c:pt>
                <c:pt idx="21874">
                  <c:v>26808677</c:v>
                </c:pt>
                <c:pt idx="21875">
                  <c:v>127536136</c:v>
                </c:pt>
                <c:pt idx="21876">
                  <c:v>666288504</c:v>
                </c:pt>
                <c:pt idx="21877">
                  <c:v>106372338</c:v>
                </c:pt>
                <c:pt idx="21878">
                  <c:v>12342476</c:v>
                </c:pt>
                <c:pt idx="21879">
                  <c:v>1041289830</c:v>
                </c:pt>
                <c:pt idx="21880">
                  <c:v>485858256</c:v>
                </c:pt>
                <c:pt idx="21881">
                  <c:v>346030155</c:v>
                </c:pt>
                <c:pt idx="21882">
                  <c:v>979009173</c:v>
                </c:pt>
                <c:pt idx="21883">
                  <c:v>277502372</c:v>
                </c:pt>
                <c:pt idx="21884">
                  <c:v>1825479392</c:v>
                </c:pt>
                <c:pt idx="21885">
                  <c:v>1343772072</c:v>
                </c:pt>
                <c:pt idx="21886">
                  <c:v>2147483647</c:v>
                </c:pt>
                <c:pt idx="21887">
                  <c:v>257143185</c:v>
                </c:pt>
                <c:pt idx="21888">
                  <c:v>214788306</c:v>
                </c:pt>
                <c:pt idx="21889">
                  <c:v>279371360</c:v>
                </c:pt>
                <c:pt idx="21890">
                  <c:v>789393300</c:v>
                </c:pt>
                <c:pt idx="21891">
                  <c:v>1368516032</c:v>
                </c:pt>
                <c:pt idx="21892">
                  <c:v>1655808223</c:v>
                </c:pt>
                <c:pt idx="21893">
                  <c:v>312183432</c:v>
                </c:pt>
                <c:pt idx="21894">
                  <c:v>110089440</c:v>
                </c:pt>
                <c:pt idx="21895">
                  <c:v>527157936</c:v>
                </c:pt>
                <c:pt idx="21896">
                  <c:v>85445204</c:v>
                </c:pt>
                <c:pt idx="21897">
                  <c:v>22394502</c:v>
                </c:pt>
                <c:pt idx="21898">
                  <c:v>13118082</c:v>
                </c:pt>
                <c:pt idx="21899">
                  <c:v>563052033</c:v>
                </c:pt>
                <c:pt idx="21900">
                  <c:v>11480634</c:v>
                </c:pt>
                <c:pt idx="21901">
                  <c:v>35544906</c:v>
                </c:pt>
                <c:pt idx="21902">
                  <c:v>19565630</c:v>
                </c:pt>
                <c:pt idx="21903">
                  <c:v>141428960</c:v>
                </c:pt>
                <c:pt idx="21904">
                  <c:v>6473016</c:v>
                </c:pt>
                <c:pt idx="21905">
                  <c:v>58988765</c:v>
                </c:pt>
                <c:pt idx="21906">
                  <c:v>20519460</c:v>
                </c:pt>
                <c:pt idx="21907">
                  <c:v>4172805</c:v>
                </c:pt>
                <c:pt idx="21908">
                  <c:v>24212876</c:v>
                </c:pt>
                <c:pt idx="21909">
                  <c:v>13113004</c:v>
                </c:pt>
                <c:pt idx="21910">
                  <c:v>71455009</c:v>
                </c:pt>
                <c:pt idx="21911">
                  <c:v>125434022</c:v>
                </c:pt>
                <c:pt idx="21912">
                  <c:v>7493430</c:v>
                </c:pt>
                <c:pt idx="21913">
                  <c:v>543654394</c:v>
                </c:pt>
                <c:pt idx="21914">
                  <c:v>66358643</c:v>
                </c:pt>
                <c:pt idx="21915">
                  <c:v>30694273</c:v>
                </c:pt>
                <c:pt idx="21916">
                  <c:v>114211650</c:v>
                </c:pt>
                <c:pt idx="21917">
                  <c:v>9071936</c:v>
                </c:pt>
                <c:pt idx="21918">
                  <c:v>18892166</c:v>
                </c:pt>
                <c:pt idx="21919">
                  <c:v>19206960</c:v>
                </c:pt>
                <c:pt idx="21920">
                  <c:v>23315472</c:v>
                </c:pt>
                <c:pt idx="21921">
                  <c:v>247202025</c:v>
                </c:pt>
                <c:pt idx="21922">
                  <c:v>6392064</c:v>
                </c:pt>
                <c:pt idx="21923">
                  <c:v>87046632</c:v>
                </c:pt>
                <c:pt idx="21924">
                  <c:v>87103188</c:v>
                </c:pt>
                <c:pt idx="21925">
                  <c:v>154046265</c:v>
                </c:pt>
                <c:pt idx="21926">
                  <c:v>341560626</c:v>
                </c:pt>
                <c:pt idx="21927">
                  <c:v>56253674</c:v>
                </c:pt>
                <c:pt idx="21928">
                  <c:v>39663536</c:v>
                </c:pt>
                <c:pt idx="21929">
                  <c:v>18323700</c:v>
                </c:pt>
                <c:pt idx="21930">
                  <c:v>63611570</c:v>
                </c:pt>
                <c:pt idx="21931">
                  <c:v>21066006</c:v>
                </c:pt>
                <c:pt idx="21932">
                  <c:v>50536134</c:v>
                </c:pt>
                <c:pt idx="21933">
                  <c:v>82217169</c:v>
                </c:pt>
                <c:pt idx="21934">
                  <c:v>10463845</c:v>
                </c:pt>
                <c:pt idx="21935">
                  <c:v>28838080</c:v>
                </c:pt>
                <c:pt idx="21936">
                  <c:v>46356838</c:v>
                </c:pt>
                <c:pt idx="21937">
                  <c:v>44854095</c:v>
                </c:pt>
                <c:pt idx="21938">
                  <c:v>46699770</c:v>
                </c:pt>
                <c:pt idx="21939">
                  <c:v>91799670</c:v>
                </c:pt>
                <c:pt idx="21940">
                  <c:v>249419602</c:v>
                </c:pt>
                <c:pt idx="21941">
                  <c:v>67625570</c:v>
                </c:pt>
                <c:pt idx="21942">
                  <c:v>102833766</c:v>
                </c:pt>
                <c:pt idx="21943">
                  <c:v>100478775</c:v>
                </c:pt>
                <c:pt idx="21944">
                  <c:v>403315864</c:v>
                </c:pt>
                <c:pt idx="21945">
                  <c:v>822634687</c:v>
                </c:pt>
                <c:pt idx="21946">
                  <c:v>1505992068</c:v>
                </c:pt>
                <c:pt idx="21947">
                  <c:v>775688221</c:v>
                </c:pt>
                <c:pt idx="21948">
                  <c:v>282038959</c:v>
                </c:pt>
                <c:pt idx="21949">
                  <c:v>308858247</c:v>
                </c:pt>
                <c:pt idx="21950">
                  <c:v>1341611629</c:v>
                </c:pt>
                <c:pt idx="21951">
                  <c:v>847415100</c:v>
                </c:pt>
                <c:pt idx="21952">
                  <c:v>557839944</c:v>
                </c:pt>
                <c:pt idx="21953">
                  <c:v>551033000</c:v>
                </c:pt>
                <c:pt idx="21954">
                  <c:v>328486500</c:v>
                </c:pt>
                <c:pt idx="21955">
                  <c:v>383714364</c:v>
                </c:pt>
                <c:pt idx="21956">
                  <c:v>761217000</c:v>
                </c:pt>
                <c:pt idx="21957">
                  <c:v>312476328</c:v>
                </c:pt>
                <c:pt idx="21958">
                  <c:v>908311378</c:v>
                </c:pt>
                <c:pt idx="21959">
                  <c:v>28553696</c:v>
                </c:pt>
                <c:pt idx="21960">
                  <c:v>349440048</c:v>
                </c:pt>
                <c:pt idx="21961">
                  <c:v>62487568</c:v>
                </c:pt>
                <c:pt idx="21962">
                  <c:v>5564538</c:v>
                </c:pt>
                <c:pt idx="21963">
                  <c:v>277204596</c:v>
                </c:pt>
                <c:pt idx="21964">
                  <c:v>41471199</c:v>
                </c:pt>
                <c:pt idx="21965">
                  <c:v>123680920</c:v>
                </c:pt>
                <c:pt idx="21966">
                  <c:v>38721240</c:v>
                </c:pt>
                <c:pt idx="21967">
                  <c:v>127339140</c:v>
                </c:pt>
                <c:pt idx="21968">
                  <c:v>120146650</c:v>
                </c:pt>
                <c:pt idx="21969">
                  <c:v>104322863</c:v>
                </c:pt>
                <c:pt idx="21970">
                  <c:v>23861040</c:v>
                </c:pt>
                <c:pt idx="21971">
                  <c:v>58914393</c:v>
                </c:pt>
                <c:pt idx="21972">
                  <c:v>232677778</c:v>
                </c:pt>
                <c:pt idx="21973">
                  <c:v>7580980</c:v>
                </c:pt>
                <c:pt idx="21974">
                  <c:v>67088352</c:v>
                </c:pt>
                <c:pt idx="21975">
                  <c:v>16770070</c:v>
                </c:pt>
                <c:pt idx="21976">
                  <c:v>140789934</c:v>
                </c:pt>
                <c:pt idx="21977">
                  <c:v>123499560</c:v>
                </c:pt>
                <c:pt idx="21978">
                  <c:v>15584525</c:v>
                </c:pt>
                <c:pt idx="21979">
                  <c:v>42151197</c:v>
                </c:pt>
                <c:pt idx="21980">
                  <c:v>56518176</c:v>
                </c:pt>
                <c:pt idx="21981">
                  <c:v>23876076</c:v>
                </c:pt>
                <c:pt idx="21982">
                  <c:v>144569266</c:v>
                </c:pt>
                <c:pt idx="21983">
                  <c:v>35739000</c:v>
                </c:pt>
                <c:pt idx="21984">
                  <c:v>35887200</c:v>
                </c:pt>
                <c:pt idx="21985">
                  <c:v>75808430</c:v>
                </c:pt>
                <c:pt idx="21986">
                  <c:v>236306538</c:v>
                </c:pt>
                <c:pt idx="21987">
                  <c:v>759917424</c:v>
                </c:pt>
                <c:pt idx="21988">
                  <c:v>69414636</c:v>
                </c:pt>
                <c:pt idx="21989">
                  <c:v>30564730</c:v>
                </c:pt>
                <c:pt idx="21990">
                  <c:v>142924704</c:v>
                </c:pt>
                <c:pt idx="21991">
                  <c:v>146968956</c:v>
                </c:pt>
                <c:pt idx="21992">
                  <c:v>7392854</c:v>
                </c:pt>
                <c:pt idx="21993">
                  <c:v>1063743746</c:v>
                </c:pt>
                <c:pt idx="21994">
                  <c:v>543593382</c:v>
                </c:pt>
                <c:pt idx="21995">
                  <c:v>277600080</c:v>
                </c:pt>
                <c:pt idx="21996">
                  <c:v>486970464</c:v>
                </c:pt>
                <c:pt idx="21997">
                  <c:v>261880124</c:v>
                </c:pt>
                <c:pt idx="21998">
                  <c:v>722028354</c:v>
                </c:pt>
                <c:pt idx="21999">
                  <c:v>98777644</c:v>
                </c:pt>
                <c:pt idx="22000">
                  <c:v>15274584</c:v>
                </c:pt>
                <c:pt idx="22001">
                  <c:v>29722590</c:v>
                </c:pt>
                <c:pt idx="22002">
                  <c:v>15059680</c:v>
                </c:pt>
                <c:pt idx="22003">
                  <c:v>85038912</c:v>
                </c:pt>
                <c:pt idx="22004">
                  <c:v>222216228</c:v>
                </c:pt>
                <c:pt idx="22005">
                  <c:v>41113970</c:v>
                </c:pt>
                <c:pt idx="22006">
                  <c:v>192328856</c:v>
                </c:pt>
                <c:pt idx="22007">
                  <c:v>32035527</c:v>
                </c:pt>
                <c:pt idx="22008">
                  <c:v>25305520</c:v>
                </c:pt>
                <c:pt idx="22009">
                  <c:v>70825674</c:v>
                </c:pt>
                <c:pt idx="22010">
                  <c:v>180554796</c:v>
                </c:pt>
                <c:pt idx="22011">
                  <c:v>145236513</c:v>
                </c:pt>
                <c:pt idx="22012">
                  <c:v>58420364</c:v>
                </c:pt>
                <c:pt idx="22013">
                  <c:v>92510280</c:v>
                </c:pt>
                <c:pt idx="22014">
                  <c:v>243531288</c:v>
                </c:pt>
                <c:pt idx="22015">
                  <c:v>30932958</c:v>
                </c:pt>
                <c:pt idx="22016">
                  <c:v>36701595</c:v>
                </c:pt>
                <c:pt idx="22017">
                  <c:v>48543621</c:v>
                </c:pt>
                <c:pt idx="22018">
                  <c:v>8521252</c:v>
                </c:pt>
                <c:pt idx="22019">
                  <c:v>30876972</c:v>
                </c:pt>
                <c:pt idx="22020">
                  <c:v>17568023</c:v>
                </c:pt>
                <c:pt idx="22021">
                  <c:v>1015885255</c:v>
                </c:pt>
                <c:pt idx="22022">
                  <c:v>47690010</c:v>
                </c:pt>
                <c:pt idx="22023">
                  <c:v>29567360</c:v>
                </c:pt>
                <c:pt idx="22024">
                  <c:v>39763973</c:v>
                </c:pt>
                <c:pt idx="22025">
                  <c:v>45080090</c:v>
                </c:pt>
                <c:pt idx="22026">
                  <c:v>66973082</c:v>
                </c:pt>
                <c:pt idx="22027">
                  <c:v>112718931</c:v>
                </c:pt>
                <c:pt idx="22028">
                  <c:v>8955688</c:v>
                </c:pt>
                <c:pt idx="22029">
                  <c:v>48558352</c:v>
                </c:pt>
                <c:pt idx="22030">
                  <c:v>120667392</c:v>
                </c:pt>
                <c:pt idx="22031">
                  <c:v>22572506</c:v>
                </c:pt>
                <c:pt idx="22032">
                  <c:v>170653587</c:v>
                </c:pt>
                <c:pt idx="22033">
                  <c:v>50983875</c:v>
                </c:pt>
                <c:pt idx="22034">
                  <c:v>120222510</c:v>
                </c:pt>
                <c:pt idx="22035">
                  <c:v>59217120</c:v>
                </c:pt>
                <c:pt idx="22036">
                  <c:v>2813482</c:v>
                </c:pt>
                <c:pt idx="22037">
                  <c:v>17250682</c:v>
                </c:pt>
                <c:pt idx="22038">
                  <c:v>97465500</c:v>
                </c:pt>
                <c:pt idx="22039">
                  <c:v>134050917</c:v>
                </c:pt>
                <c:pt idx="22040">
                  <c:v>39591776</c:v>
                </c:pt>
                <c:pt idx="22041">
                  <c:v>36531820</c:v>
                </c:pt>
                <c:pt idx="22042">
                  <c:v>98601966</c:v>
                </c:pt>
                <c:pt idx="22043">
                  <c:v>43187040</c:v>
                </c:pt>
                <c:pt idx="22044">
                  <c:v>1842414</c:v>
                </c:pt>
                <c:pt idx="22045">
                  <c:v>75926968</c:v>
                </c:pt>
                <c:pt idx="22046">
                  <c:v>72306780</c:v>
                </c:pt>
                <c:pt idx="22047">
                  <c:v>22284640</c:v>
                </c:pt>
                <c:pt idx="22048">
                  <c:v>71505876</c:v>
                </c:pt>
                <c:pt idx="22049">
                  <c:v>80437408</c:v>
                </c:pt>
                <c:pt idx="22050">
                  <c:v>35130591</c:v>
                </c:pt>
                <c:pt idx="22051">
                  <c:v>43010828</c:v>
                </c:pt>
                <c:pt idx="22052">
                  <c:v>541212270</c:v>
                </c:pt>
                <c:pt idx="22053">
                  <c:v>28320385</c:v>
                </c:pt>
                <c:pt idx="22054">
                  <c:v>178475409</c:v>
                </c:pt>
                <c:pt idx="22055">
                  <c:v>43450971</c:v>
                </c:pt>
                <c:pt idx="22056">
                  <c:v>41149840</c:v>
                </c:pt>
                <c:pt idx="22057">
                  <c:v>555392695</c:v>
                </c:pt>
                <c:pt idx="22058">
                  <c:v>58475155</c:v>
                </c:pt>
                <c:pt idx="22059">
                  <c:v>38559540</c:v>
                </c:pt>
                <c:pt idx="22060">
                  <c:v>174490416</c:v>
                </c:pt>
                <c:pt idx="22061">
                  <c:v>75225150</c:v>
                </c:pt>
                <c:pt idx="22062">
                  <c:v>8989448</c:v>
                </c:pt>
                <c:pt idx="22063">
                  <c:v>133823200</c:v>
                </c:pt>
                <c:pt idx="22064">
                  <c:v>19209456</c:v>
                </c:pt>
                <c:pt idx="22065">
                  <c:v>38492784</c:v>
                </c:pt>
                <c:pt idx="22066">
                  <c:v>6797950</c:v>
                </c:pt>
                <c:pt idx="22067">
                  <c:v>12027687</c:v>
                </c:pt>
                <c:pt idx="22068">
                  <c:v>17189091</c:v>
                </c:pt>
                <c:pt idx="22069">
                  <c:v>12833408</c:v>
                </c:pt>
                <c:pt idx="22070">
                  <c:v>219624150</c:v>
                </c:pt>
                <c:pt idx="22071">
                  <c:v>102632000</c:v>
                </c:pt>
                <c:pt idx="22072">
                  <c:v>114324650</c:v>
                </c:pt>
                <c:pt idx="22073">
                  <c:v>213081727</c:v>
                </c:pt>
                <c:pt idx="22074">
                  <c:v>395189778</c:v>
                </c:pt>
                <c:pt idx="22075">
                  <c:v>733012989</c:v>
                </c:pt>
                <c:pt idx="22076">
                  <c:v>9115848</c:v>
                </c:pt>
                <c:pt idx="22077">
                  <c:v>11420668</c:v>
                </c:pt>
                <c:pt idx="22078">
                  <c:v>286495216</c:v>
                </c:pt>
                <c:pt idx="22079">
                  <c:v>56183022</c:v>
                </c:pt>
                <c:pt idx="22080">
                  <c:v>112691888</c:v>
                </c:pt>
                <c:pt idx="22081">
                  <c:v>41894625</c:v>
                </c:pt>
                <c:pt idx="22082">
                  <c:v>19581918</c:v>
                </c:pt>
                <c:pt idx="22083">
                  <c:v>20729426</c:v>
                </c:pt>
                <c:pt idx="22084">
                  <c:v>12217501</c:v>
                </c:pt>
                <c:pt idx="22085">
                  <c:v>138678519</c:v>
                </c:pt>
                <c:pt idx="22086">
                  <c:v>39861670</c:v>
                </c:pt>
                <c:pt idx="22087">
                  <c:v>25344352</c:v>
                </c:pt>
                <c:pt idx="22088">
                  <c:v>122661285</c:v>
                </c:pt>
                <c:pt idx="22089">
                  <c:v>94007676</c:v>
                </c:pt>
                <c:pt idx="22090">
                  <c:v>348647420</c:v>
                </c:pt>
                <c:pt idx="22091">
                  <c:v>8237632</c:v>
                </c:pt>
                <c:pt idx="22092">
                  <c:v>19743766</c:v>
                </c:pt>
                <c:pt idx="22093">
                  <c:v>9898882</c:v>
                </c:pt>
                <c:pt idx="22094">
                  <c:v>15776838</c:v>
                </c:pt>
                <c:pt idx="22095">
                  <c:v>116533364</c:v>
                </c:pt>
                <c:pt idx="22096">
                  <c:v>174594123</c:v>
                </c:pt>
                <c:pt idx="22097">
                  <c:v>34926216</c:v>
                </c:pt>
                <c:pt idx="22098">
                  <c:v>171039232</c:v>
                </c:pt>
                <c:pt idx="22099">
                  <c:v>11879055</c:v>
                </c:pt>
                <c:pt idx="22100">
                  <c:v>46121472</c:v>
                </c:pt>
                <c:pt idx="22101">
                  <c:v>9114392</c:v>
                </c:pt>
                <c:pt idx="22102">
                  <c:v>367379680</c:v>
                </c:pt>
                <c:pt idx="22103">
                  <c:v>51554838</c:v>
                </c:pt>
                <c:pt idx="22104">
                  <c:v>6138422</c:v>
                </c:pt>
                <c:pt idx="22105">
                  <c:v>6544020</c:v>
                </c:pt>
                <c:pt idx="22106">
                  <c:v>20993500</c:v>
                </c:pt>
                <c:pt idx="22107">
                  <c:v>746439066</c:v>
                </c:pt>
                <c:pt idx="22108">
                  <c:v>40948566</c:v>
                </c:pt>
                <c:pt idx="22109">
                  <c:v>69694432</c:v>
                </c:pt>
                <c:pt idx="22110">
                  <c:v>67897920</c:v>
                </c:pt>
                <c:pt idx="22111">
                  <c:v>70810882</c:v>
                </c:pt>
                <c:pt idx="22112">
                  <c:v>2428302</c:v>
                </c:pt>
                <c:pt idx="22113">
                  <c:v>17860910</c:v>
                </c:pt>
                <c:pt idx="22114">
                  <c:v>93827680</c:v>
                </c:pt>
                <c:pt idx="22115">
                  <c:v>18835200</c:v>
                </c:pt>
                <c:pt idx="22116">
                  <c:v>14100105</c:v>
                </c:pt>
                <c:pt idx="22117">
                  <c:v>390941180</c:v>
                </c:pt>
                <c:pt idx="22118">
                  <c:v>9983820</c:v>
                </c:pt>
                <c:pt idx="22119">
                  <c:v>71010096</c:v>
                </c:pt>
                <c:pt idx="22120">
                  <c:v>37656751</c:v>
                </c:pt>
                <c:pt idx="22121">
                  <c:v>55501121</c:v>
                </c:pt>
                <c:pt idx="22122">
                  <c:v>10593180</c:v>
                </c:pt>
                <c:pt idx="22123">
                  <c:v>58417524</c:v>
                </c:pt>
                <c:pt idx="22124">
                  <c:v>351833300</c:v>
                </c:pt>
                <c:pt idx="22125">
                  <c:v>215979612</c:v>
                </c:pt>
                <c:pt idx="22126">
                  <c:v>906696</c:v>
                </c:pt>
                <c:pt idx="22127">
                  <c:v>7798000</c:v>
                </c:pt>
                <c:pt idx="22128">
                  <c:v>22856675</c:v>
                </c:pt>
                <c:pt idx="22129">
                  <c:v>22884050</c:v>
                </c:pt>
                <c:pt idx="22130">
                  <c:v>230808592</c:v>
                </c:pt>
                <c:pt idx="22131">
                  <c:v>46142694</c:v>
                </c:pt>
                <c:pt idx="22132">
                  <c:v>27541320</c:v>
                </c:pt>
                <c:pt idx="22133">
                  <c:v>23038080</c:v>
                </c:pt>
                <c:pt idx="22134">
                  <c:v>68987394</c:v>
                </c:pt>
                <c:pt idx="22135">
                  <c:v>98771936</c:v>
                </c:pt>
                <c:pt idx="22136">
                  <c:v>20254198</c:v>
                </c:pt>
                <c:pt idx="22137">
                  <c:v>7125102</c:v>
                </c:pt>
                <c:pt idx="22138">
                  <c:v>15882624</c:v>
                </c:pt>
                <c:pt idx="22139">
                  <c:v>59979238</c:v>
                </c:pt>
                <c:pt idx="22140">
                  <c:v>32272494</c:v>
                </c:pt>
                <c:pt idx="22141">
                  <c:v>977109</c:v>
                </c:pt>
                <c:pt idx="22142">
                  <c:v>56977312</c:v>
                </c:pt>
                <c:pt idx="22143">
                  <c:v>50010132</c:v>
                </c:pt>
                <c:pt idx="22144">
                  <c:v>245795840</c:v>
                </c:pt>
                <c:pt idx="22145">
                  <c:v>6987456</c:v>
                </c:pt>
                <c:pt idx="22146">
                  <c:v>900049224</c:v>
                </c:pt>
                <c:pt idx="22147">
                  <c:v>6924840</c:v>
                </c:pt>
                <c:pt idx="22148">
                  <c:v>87495940</c:v>
                </c:pt>
                <c:pt idx="22149">
                  <c:v>36060012</c:v>
                </c:pt>
                <c:pt idx="22150">
                  <c:v>33649392</c:v>
                </c:pt>
                <c:pt idx="22151">
                  <c:v>34276902</c:v>
                </c:pt>
                <c:pt idx="22152">
                  <c:v>11561720</c:v>
                </c:pt>
                <c:pt idx="22153">
                  <c:v>5909646</c:v>
                </c:pt>
                <c:pt idx="22154">
                  <c:v>19613512</c:v>
                </c:pt>
                <c:pt idx="22155">
                  <c:v>791643996</c:v>
                </c:pt>
                <c:pt idx="22156">
                  <c:v>639905976</c:v>
                </c:pt>
                <c:pt idx="22157">
                  <c:v>1409306976</c:v>
                </c:pt>
                <c:pt idx="22158">
                  <c:v>87005695</c:v>
                </c:pt>
                <c:pt idx="22159">
                  <c:v>2083030</c:v>
                </c:pt>
                <c:pt idx="22160">
                  <c:v>364952791</c:v>
                </c:pt>
                <c:pt idx="22161">
                  <c:v>105211820</c:v>
                </c:pt>
                <c:pt idx="22162">
                  <c:v>24397854</c:v>
                </c:pt>
                <c:pt idx="22163">
                  <c:v>12452328</c:v>
                </c:pt>
                <c:pt idx="22164">
                  <c:v>62813078</c:v>
                </c:pt>
                <c:pt idx="22165">
                  <c:v>31473306</c:v>
                </c:pt>
                <c:pt idx="22166">
                  <c:v>59599696</c:v>
                </c:pt>
                <c:pt idx="22167">
                  <c:v>3491511</c:v>
                </c:pt>
                <c:pt idx="22168">
                  <c:v>88414625</c:v>
                </c:pt>
                <c:pt idx="22169">
                  <c:v>15652971</c:v>
                </c:pt>
                <c:pt idx="22170">
                  <c:v>24855525</c:v>
                </c:pt>
                <c:pt idx="22171">
                  <c:v>19864665</c:v>
                </c:pt>
                <c:pt idx="22172">
                  <c:v>30122775</c:v>
                </c:pt>
                <c:pt idx="22173">
                  <c:v>358543737</c:v>
                </c:pt>
                <c:pt idx="22174">
                  <c:v>31596840</c:v>
                </c:pt>
                <c:pt idx="22175">
                  <c:v>73105952</c:v>
                </c:pt>
                <c:pt idx="22176">
                  <c:v>48771074</c:v>
                </c:pt>
                <c:pt idx="22177">
                  <c:v>15494381</c:v>
                </c:pt>
                <c:pt idx="22178">
                  <c:v>26080593</c:v>
                </c:pt>
                <c:pt idx="22179">
                  <c:v>21910196</c:v>
                </c:pt>
                <c:pt idx="22180">
                  <c:v>14335860</c:v>
                </c:pt>
                <c:pt idx="22181">
                  <c:v>130190060</c:v>
                </c:pt>
                <c:pt idx="22182">
                  <c:v>3245564</c:v>
                </c:pt>
                <c:pt idx="22183">
                  <c:v>157428414</c:v>
                </c:pt>
                <c:pt idx="22184">
                  <c:v>6495636</c:v>
                </c:pt>
                <c:pt idx="22185">
                  <c:v>21437840</c:v>
                </c:pt>
                <c:pt idx="22186">
                  <c:v>10271196</c:v>
                </c:pt>
                <c:pt idx="22187">
                  <c:v>7407230</c:v>
                </c:pt>
                <c:pt idx="22188">
                  <c:v>31628730</c:v>
                </c:pt>
                <c:pt idx="22189">
                  <c:v>11877684</c:v>
                </c:pt>
                <c:pt idx="22190">
                  <c:v>613701456</c:v>
                </c:pt>
                <c:pt idx="22191">
                  <c:v>16943784</c:v>
                </c:pt>
                <c:pt idx="22192">
                  <c:v>11695266</c:v>
                </c:pt>
                <c:pt idx="22193">
                  <c:v>2034502</c:v>
                </c:pt>
                <c:pt idx="22194">
                  <c:v>61704951</c:v>
                </c:pt>
                <c:pt idx="22195">
                  <c:v>271953600</c:v>
                </c:pt>
                <c:pt idx="22196">
                  <c:v>132895598</c:v>
                </c:pt>
                <c:pt idx="22197">
                  <c:v>147971366</c:v>
                </c:pt>
                <c:pt idx="22198">
                  <c:v>374476800</c:v>
                </c:pt>
                <c:pt idx="22199">
                  <c:v>52822920</c:v>
                </c:pt>
                <c:pt idx="22200">
                  <c:v>740308380</c:v>
                </c:pt>
                <c:pt idx="22201">
                  <c:v>61706370</c:v>
                </c:pt>
                <c:pt idx="22202">
                  <c:v>10384778</c:v>
                </c:pt>
                <c:pt idx="22203">
                  <c:v>1020509799</c:v>
                </c:pt>
                <c:pt idx="22204">
                  <c:v>69980540</c:v>
                </c:pt>
                <c:pt idx="22205">
                  <c:v>72502596</c:v>
                </c:pt>
                <c:pt idx="22206">
                  <c:v>661257530</c:v>
                </c:pt>
                <c:pt idx="22207">
                  <c:v>1130000625</c:v>
                </c:pt>
                <c:pt idx="22208">
                  <c:v>117902647</c:v>
                </c:pt>
                <c:pt idx="22209">
                  <c:v>20332900</c:v>
                </c:pt>
                <c:pt idx="22210">
                  <c:v>36406327</c:v>
                </c:pt>
                <c:pt idx="22211">
                  <c:v>32812011</c:v>
                </c:pt>
                <c:pt idx="22212">
                  <c:v>142198716</c:v>
                </c:pt>
                <c:pt idx="22213">
                  <c:v>857753780</c:v>
                </c:pt>
                <c:pt idx="22214">
                  <c:v>1491590291</c:v>
                </c:pt>
                <c:pt idx="22215">
                  <c:v>6665013</c:v>
                </c:pt>
                <c:pt idx="22216">
                  <c:v>72915540</c:v>
                </c:pt>
                <c:pt idx="22217">
                  <c:v>61266114</c:v>
                </c:pt>
                <c:pt idx="22218">
                  <c:v>28768950</c:v>
                </c:pt>
                <c:pt idx="22219">
                  <c:v>131675109</c:v>
                </c:pt>
                <c:pt idx="22220">
                  <c:v>23496440</c:v>
                </c:pt>
                <c:pt idx="22221">
                  <c:v>32424827</c:v>
                </c:pt>
                <c:pt idx="22222">
                  <c:v>108604224</c:v>
                </c:pt>
                <c:pt idx="22223">
                  <c:v>16700069</c:v>
                </c:pt>
                <c:pt idx="22224">
                  <c:v>7383900</c:v>
                </c:pt>
                <c:pt idx="22225">
                  <c:v>2073090</c:v>
                </c:pt>
                <c:pt idx="22226">
                  <c:v>17467686</c:v>
                </c:pt>
                <c:pt idx="22227">
                  <c:v>52274707</c:v>
                </c:pt>
                <c:pt idx="22228">
                  <c:v>548954892</c:v>
                </c:pt>
                <c:pt idx="22229">
                  <c:v>13368883</c:v>
                </c:pt>
                <c:pt idx="22230">
                  <c:v>45671010</c:v>
                </c:pt>
                <c:pt idx="22231">
                  <c:v>68970518</c:v>
                </c:pt>
                <c:pt idx="22232">
                  <c:v>168486253</c:v>
                </c:pt>
                <c:pt idx="22233">
                  <c:v>81074112</c:v>
                </c:pt>
                <c:pt idx="22234">
                  <c:v>15180843</c:v>
                </c:pt>
                <c:pt idx="22235">
                  <c:v>36081716</c:v>
                </c:pt>
                <c:pt idx="22236">
                  <c:v>50947415</c:v>
                </c:pt>
                <c:pt idx="22237">
                  <c:v>6938820</c:v>
                </c:pt>
                <c:pt idx="22238">
                  <c:v>32961516</c:v>
                </c:pt>
                <c:pt idx="22239">
                  <c:v>2770794</c:v>
                </c:pt>
                <c:pt idx="22240">
                  <c:v>960550390</c:v>
                </c:pt>
                <c:pt idx="22241">
                  <c:v>14680875</c:v>
                </c:pt>
                <c:pt idx="22242">
                  <c:v>192327766</c:v>
                </c:pt>
                <c:pt idx="22243">
                  <c:v>29068326</c:v>
                </c:pt>
                <c:pt idx="22244">
                  <c:v>4946037</c:v>
                </c:pt>
                <c:pt idx="22245">
                  <c:v>24603453</c:v>
                </c:pt>
                <c:pt idx="22246">
                  <c:v>9009151</c:v>
                </c:pt>
                <c:pt idx="22247">
                  <c:v>345805136</c:v>
                </c:pt>
                <c:pt idx="22248">
                  <c:v>32427333</c:v>
                </c:pt>
                <c:pt idx="22249">
                  <c:v>75419139</c:v>
                </c:pt>
                <c:pt idx="22250">
                  <c:v>89462123</c:v>
                </c:pt>
                <c:pt idx="22251">
                  <c:v>71386620</c:v>
                </c:pt>
                <c:pt idx="22252">
                  <c:v>349847424</c:v>
                </c:pt>
                <c:pt idx="22253">
                  <c:v>489235608</c:v>
                </c:pt>
                <c:pt idx="22254">
                  <c:v>145147920</c:v>
                </c:pt>
                <c:pt idx="22255">
                  <c:v>1171590</c:v>
                </c:pt>
                <c:pt idx="22256">
                  <c:v>296089692</c:v>
                </c:pt>
                <c:pt idx="22257">
                  <c:v>34949872</c:v>
                </c:pt>
                <c:pt idx="22258">
                  <c:v>195631938</c:v>
                </c:pt>
                <c:pt idx="22259">
                  <c:v>1081203396</c:v>
                </c:pt>
                <c:pt idx="22260">
                  <c:v>181633842</c:v>
                </c:pt>
                <c:pt idx="22261">
                  <c:v>932575756</c:v>
                </c:pt>
                <c:pt idx="22262">
                  <c:v>268380685</c:v>
                </c:pt>
                <c:pt idx="22263">
                  <c:v>527057088</c:v>
                </c:pt>
                <c:pt idx="22264">
                  <c:v>1128366560</c:v>
                </c:pt>
                <c:pt idx="22265">
                  <c:v>57481061</c:v>
                </c:pt>
                <c:pt idx="22266">
                  <c:v>60243920</c:v>
                </c:pt>
                <c:pt idx="22267">
                  <c:v>4908192</c:v>
                </c:pt>
                <c:pt idx="22268">
                  <c:v>15053058</c:v>
                </c:pt>
                <c:pt idx="22269">
                  <c:v>87515330</c:v>
                </c:pt>
                <c:pt idx="22270">
                  <c:v>66513300</c:v>
                </c:pt>
                <c:pt idx="22271">
                  <c:v>23964314</c:v>
                </c:pt>
                <c:pt idx="22272">
                  <c:v>31605206</c:v>
                </c:pt>
                <c:pt idx="22273">
                  <c:v>8923180</c:v>
                </c:pt>
                <c:pt idx="22274">
                  <c:v>109314362</c:v>
                </c:pt>
                <c:pt idx="22275">
                  <c:v>89060448</c:v>
                </c:pt>
                <c:pt idx="22276">
                  <c:v>14891898</c:v>
                </c:pt>
                <c:pt idx="22277">
                  <c:v>206427520</c:v>
                </c:pt>
                <c:pt idx="22278">
                  <c:v>46837483</c:v>
                </c:pt>
                <c:pt idx="22279">
                  <c:v>60771940</c:v>
                </c:pt>
                <c:pt idx="22280">
                  <c:v>3851756</c:v>
                </c:pt>
                <c:pt idx="22281">
                  <c:v>8246694</c:v>
                </c:pt>
                <c:pt idx="22282">
                  <c:v>5529969</c:v>
                </c:pt>
                <c:pt idx="22283">
                  <c:v>68137923</c:v>
                </c:pt>
                <c:pt idx="22284">
                  <c:v>845464565</c:v>
                </c:pt>
                <c:pt idx="22285">
                  <c:v>390646116</c:v>
                </c:pt>
                <c:pt idx="22286">
                  <c:v>78048000</c:v>
                </c:pt>
                <c:pt idx="22287">
                  <c:v>30409680</c:v>
                </c:pt>
                <c:pt idx="22288">
                  <c:v>27010346</c:v>
                </c:pt>
                <c:pt idx="22289">
                  <c:v>252847530</c:v>
                </c:pt>
                <c:pt idx="22290">
                  <c:v>6986392</c:v>
                </c:pt>
                <c:pt idx="22291">
                  <c:v>52354434</c:v>
                </c:pt>
                <c:pt idx="22292">
                  <c:v>1949594</c:v>
                </c:pt>
                <c:pt idx="22293">
                  <c:v>7652745</c:v>
                </c:pt>
                <c:pt idx="22294">
                  <c:v>263702706</c:v>
                </c:pt>
                <c:pt idx="22295">
                  <c:v>5831940</c:v>
                </c:pt>
                <c:pt idx="22296">
                  <c:v>233988696</c:v>
                </c:pt>
                <c:pt idx="22297">
                  <c:v>8161580</c:v>
                </c:pt>
                <c:pt idx="22298">
                  <c:v>60633132</c:v>
                </c:pt>
                <c:pt idx="22299">
                  <c:v>359505596</c:v>
                </c:pt>
                <c:pt idx="22300">
                  <c:v>610033575</c:v>
                </c:pt>
                <c:pt idx="22301">
                  <c:v>843838074</c:v>
                </c:pt>
                <c:pt idx="22302">
                  <c:v>529282700</c:v>
                </c:pt>
                <c:pt idx="22303">
                  <c:v>767956861</c:v>
                </c:pt>
                <c:pt idx="22304">
                  <c:v>560243775</c:v>
                </c:pt>
                <c:pt idx="22305">
                  <c:v>456681718</c:v>
                </c:pt>
                <c:pt idx="22306">
                  <c:v>1116576474</c:v>
                </c:pt>
                <c:pt idx="22307">
                  <c:v>726850643</c:v>
                </c:pt>
                <c:pt idx="22308">
                  <c:v>1710765290</c:v>
                </c:pt>
                <c:pt idx="22309">
                  <c:v>558033704</c:v>
                </c:pt>
                <c:pt idx="22310">
                  <c:v>498655584</c:v>
                </c:pt>
                <c:pt idx="22311">
                  <c:v>505980410</c:v>
                </c:pt>
                <c:pt idx="22312">
                  <c:v>52805554</c:v>
                </c:pt>
                <c:pt idx="22313">
                  <c:v>44969056</c:v>
                </c:pt>
                <c:pt idx="22314">
                  <c:v>36898653</c:v>
                </c:pt>
                <c:pt idx="22315">
                  <c:v>8583660</c:v>
                </c:pt>
                <c:pt idx="22316">
                  <c:v>44343028</c:v>
                </c:pt>
                <c:pt idx="22317">
                  <c:v>6347880</c:v>
                </c:pt>
                <c:pt idx="22318">
                  <c:v>279721104</c:v>
                </c:pt>
                <c:pt idx="22319">
                  <c:v>4354728</c:v>
                </c:pt>
                <c:pt idx="22320">
                  <c:v>68770044</c:v>
                </c:pt>
                <c:pt idx="22321">
                  <c:v>13938001</c:v>
                </c:pt>
                <c:pt idx="22322">
                  <c:v>17684403</c:v>
                </c:pt>
                <c:pt idx="22323">
                  <c:v>60827835</c:v>
                </c:pt>
                <c:pt idx="22324">
                  <c:v>19069020</c:v>
                </c:pt>
                <c:pt idx="22325">
                  <c:v>12447000</c:v>
                </c:pt>
                <c:pt idx="22326">
                  <c:v>54861966</c:v>
                </c:pt>
                <c:pt idx="22327">
                  <c:v>49103616</c:v>
                </c:pt>
                <c:pt idx="22328">
                  <c:v>23674044</c:v>
                </c:pt>
                <c:pt idx="22329">
                  <c:v>4793337</c:v>
                </c:pt>
                <c:pt idx="22330">
                  <c:v>78101375</c:v>
                </c:pt>
                <c:pt idx="22331">
                  <c:v>505212992</c:v>
                </c:pt>
                <c:pt idx="22332">
                  <c:v>47328924</c:v>
                </c:pt>
                <c:pt idx="22333">
                  <c:v>44446848</c:v>
                </c:pt>
                <c:pt idx="22334">
                  <c:v>58536135</c:v>
                </c:pt>
                <c:pt idx="22335">
                  <c:v>160293969</c:v>
                </c:pt>
                <c:pt idx="22336">
                  <c:v>34820168</c:v>
                </c:pt>
                <c:pt idx="22337">
                  <c:v>12575296</c:v>
                </c:pt>
                <c:pt idx="22338">
                  <c:v>14999400</c:v>
                </c:pt>
                <c:pt idx="22339">
                  <c:v>42717264</c:v>
                </c:pt>
                <c:pt idx="22340">
                  <c:v>11553393</c:v>
                </c:pt>
                <c:pt idx="22341">
                  <c:v>37417688</c:v>
                </c:pt>
                <c:pt idx="22342">
                  <c:v>17834350</c:v>
                </c:pt>
                <c:pt idx="22343">
                  <c:v>104036637</c:v>
                </c:pt>
                <c:pt idx="22344">
                  <c:v>10833363</c:v>
                </c:pt>
                <c:pt idx="22345">
                  <c:v>4789720</c:v>
                </c:pt>
                <c:pt idx="22346">
                  <c:v>37344710</c:v>
                </c:pt>
                <c:pt idx="22347">
                  <c:v>321430104</c:v>
                </c:pt>
                <c:pt idx="22348">
                  <c:v>1006227180</c:v>
                </c:pt>
                <c:pt idx="22349">
                  <c:v>1051497524</c:v>
                </c:pt>
                <c:pt idx="22350">
                  <c:v>550023950</c:v>
                </c:pt>
                <c:pt idx="22351">
                  <c:v>6440850</c:v>
                </c:pt>
                <c:pt idx="22352">
                  <c:v>60134604</c:v>
                </c:pt>
                <c:pt idx="22353">
                  <c:v>19087872</c:v>
                </c:pt>
                <c:pt idx="22354">
                  <c:v>13627145</c:v>
                </c:pt>
                <c:pt idx="22355">
                  <c:v>6933434</c:v>
                </c:pt>
                <c:pt idx="22356">
                  <c:v>34622020</c:v>
                </c:pt>
                <c:pt idx="22357">
                  <c:v>144192759</c:v>
                </c:pt>
                <c:pt idx="22358">
                  <c:v>153664646</c:v>
                </c:pt>
                <c:pt idx="22359">
                  <c:v>45686280</c:v>
                </c:pt>
                <c:pt idx="22360">
                  <c:v>6790927</c:v>
                </c:pt>
                <c:pt idx="22361">
                  <c:v>95521503</c:v>
                </c:pt>
                <c:pt idx="22362">
                  <c:v>1199894</c:v>
                </c:pt>
                <c:pt idx="22363">
                  <c:v>6430512</c:v>
                </c:pt>
                <c:pt idx="22364">
                  <c:v>5068584</c:v>
                </c:pt>
                <c:pt idx="22365">
                  <c:v>834196</c:v>
                </c:pt>
                <c:pt idx="22366">
                  <c:v>5412042</c:v>
                </c:pt>
                <c:pt idx="22367">
                  <c:v>7791966</c:v>
                </c:pt>
                <c:pt idx="22368">
                  <c:v>139955640</c:v>
                </c:pt>
                <c:pt idx="22369">
                  <c:v>55050840</c:v>
                </c:pt>
                <c:pt idx="22370">
                  <c:v>45721060</c:v>
                </c:pt>
                <c:pt idx="22371">
                  <c:v>20299410</c:v>
                </c:pt>
                <c:pt idx="22372">
                  <c:v>93683863</c:v>
                </c:pt>
                <c:pt idx="22373">
                  <c:v>61137270</c:v>
                </c:pt>
                <c:pt idx="22374">
                  <c:v>4591120</c:v>
                </c:pt>
                <c:pt idx="22375">
                  <c:v>148759906</c:v>
                </c:pt>
                <c:pt idx="22376">
                  <c:v>79898616</c:v>
                </c:pt>
                <c:pt idx="22377">
                  <c:v>31991152</c:v>
                </c:pt>
                <c:pt idx="22378">
                  <c:v>45435313</c:v>
                </c:pt>
                <c:pt idx="22379">
                  <c:v>2922688</c:v>
                </c:pt>
                <c:pt idx="22380">
                  <c:v>938085778</c:v>
                </c:pt>
                <c:pt idx="22381">
                  <c:v>2505096</c:v>
                </c:pt>
                <c:pt idx="22382">
                  <c:v>107981362</c:v>
                </c:pt>
                <c:pt idx="22383">
                  <c:v>325861896</c:v>
                </c:pt>
                <c:pt idx="22384">
                  <c:v>10747400</c:v>
                </c:pt>
                <c:pt idx="22385">
                  <c:v>7118793</c:v>
                </c:pt>
                <c:pt idx="22386">
                  <c:v>13144950</c:v>
                </c:pt>
                <c:pt idx="22387">
                  <c:v>29541336</c:v>
                </c:pt>
                <c:pt idx="22388">
                  <c:v>90924860</c:v>
                </c:pt>
                <c:pt idx="22389">
                  <c:v>8610964</c:v>
                </c:pt>
                <c:pt idx="22390">
                  <c:v>24415470</c:v>
                </c:pt>
                <c:pt idx="22391">
                  <c:v>25229130</c:v>
                </c:pt>
                <c:pt idx="22392">
                  <c:v>6174570</c:v>
                </c:pt>
                <c:pt idx="22393">
                  <c:v>21119280</c:v>
                </c:pt>
                <c:pt idx="22394">
                  <c:v>186971584</c:v>
                </c:pt>
                <c:pt idx="22395">
                  <c:v>54411900</c:v>
                </c:pt>
                <c:pt idx="22396">
                  <c:v>155987195</c:v>
                </c:pt>
                <c:pt idx="22397">
                  <c:v>30022498</c:v>
                </c:pt>
                <c:pt idx="22398">
                  <c:v>23336859</c:v>
                </c:pt>
                <c:pt idx="22399">
                  <c:v>649493100</c:v>
                </c:pt>
                <c:pt idx="22400">
                  <c:v>43100883</c:v>
                </c:pt>
                <c:pt idx="22401">
                  <c:v>53094008</c:v>
                </c:pt>
                <c:pt idx="22402">
                  <c:v>45640296</c:v>
                </c:pt>
                <c:pt idx="22403">
                  <c:v>113329888</c:v>
                </c:pt>
                <c:pt idx="22404">
                  <c:v>8762786</c:v>
                </c:pt>
                <c:pt idx="22405">
                  <c:v>18056862</c:v>
                </c:pt>
                <c:pt idx="22406">
                  <c:v>2064208</c:v>
                </c:pt>
                <c:pt idx="22407">
                  <c:v>23350170</c:v>
                </c:pt>
                <c:pt idx="22408">
                  <c:v>97979882</c:v>
                </c:pt>
                <c:pt idx="22409">
                  <c:v>36909480</c:v>
                </c:pt>
                <c:pt idx="22410">
                  <c:v>13013962</c:v>
                </c:pt>
                <c:pt idx="22411">
                  <c:v>16712406</c:v>
                </c:pt>
                <c:pt idx="22412">
                  <c:v>5562725</c:v>
                </c:pt>
                <c:pt idx="22413">
                  <c:v>26478144</c:v>
                </c:pt>
                <c:pt idx="22414">
                  <c:v>6402208</c:v>
                </c:pt>
                <c:pt idx="22415">
                  <c:v>20015965</c:v>
                </c:pt>
                <c:pt idx="22416">
                  <c:v>7698333</c:v>
                </c:pt>
                <c:pt idx="22417">
                  <c:v>89368438</c:v>
                </c:pt>
                <c:pt idx="22418">
                  <c:v>385212094</c:v>
                </c:pt>
                <c:pt idx="22419">
                  <c:v>20935784</c:v>
                </c:pt>
                <c:pt idx="22420">
                  <c:v>62805870</c:v>
                </c:pt>
                <c:pt idx="22421">
                  <c:v>77998464</c:v>
                </c:pt>
                <c:pt idx="22422">
                  <c:v>142963900</c:v>
                </c:pt>
                <c:pt idx="22423">
                  <c:v>10841168</c:v>
                </c:pt>
                <c:pt idx="22424">
                  <c:v>50426244</c:v>
                </c:pt>
                <c:pt idx="22425">
                  <c:v>10368149</c:v>
                </c:pt>
                <c:pt idx="22426">
                  <c:v>18049104</c:v>
                </c:pt>
                <c:pt idx="22427">
                  <c:v>10610083</c:v>
                </c:pt>
                <c:pt idx="22428">
                  <c:v>24715584</c:v>
                </c:pt>
                <c:pt idx="22429">
                  <c:v>7510671</c:v>
                </c:pt>
                <c:pt idx="22430">
                  <c:v>57015076</c:v>
                </c:pt>
                <c:pt idx="22431">
                  <c:v>19122990</c:v>
                </c:pt>
                <c:pt idx="22432">
                  <c:v>26197470</c:v>
                </c:pt>
                <c:pt idx="22433">
                  <c:v>31155985</c:v>
                </c:pt>
                <c:pt idx="22434">
                  <c:v>785783070</c:v>
                </c:pt>
                <c:pt idx="22435">
                  <c:v>52754941</c:v>
                </c:pt>
                <c:pt idx="22436">
                  <c:v>305445630</c:v>
                </c:pt>
                <c:pt idx="22437">
                  <c:v>4843920</c:v>
                </c:pt>
                <c:pt idx="22438">
                  <c:v>49410064</c:v>
                </c:pt>
                <c:pt idx="22439">
                  <c:v>18962305</c:v>
                </c:pt>
                <c:pt idx="22440">
                  <c:v>7605459</c:v>
                </c:pt>
                <c:pt idx="22441">
                  <c:v>40437761</c:v>
                </c:pt>
                <c:pt idx="22442">
                  <c:v>23538600</c:v>
                </c:pt>
                <c:pt idx="22443">
                  <c:v>2438700</c:v>
                </c:pt>
                <c:pt idx="22444">
                  <c:v>125776800</c:v>
                </c:pt>
                <c:pt idx="22445">
                  <c:v>122322510</c:v>
                </c:pt>
                <c:pt idx="22446">
                  <c:v>51146180</c:v>
                </c:pt>
                <c:pt idx="22447">
                  <c:v>93023592</c:v>
                </c:pt>
                <c:pt idx="22448">
                  <c:v>72204620</c:v>
                </c:pt>
                <c:pt idx="22449">
                  <c:v>145109160</c:v>
                </c:pt>
                <c:pt idx="22450">
                  <c:v>14309462</c:v>
                </c:pt>
                <c:pt idx="22451">
                  <c:v>42419226</c:v>
                </c:pt>
                <c:pt idx="22452">
                  <c:v>77196927</c:v>
                </c:pt>
                <c:pt idx="22453">
                  <c:v>51799892</c:v>
                </c:pt>
                <c:pt idx="22454">
                  <c:v>33624944</c:v>
                </c:pt>
                <c:pt idx="22455">
                  <c:v>9327252</c:v>
                </c:pt>
                <c:pt idx="22456">
                  <c:v>76239900</c:v>
                </c:pt>
                <c:pt idx="22457">
                  <c:v>30607884</c:v>
                </c:pt>
                <c:pt idx="22458">
                  <c:v>867463740</c:v>
                </c:pt>
                <c:pt idx="22459">
                  <c:v>26547750</c:v>
                </c:pt>
                <c:pt idx="22460">
                  <c:v>19684665</c:v>
                </c:pt>
                <c:pt idx="22461">
                  <c:v>15527876</c:v>
                </c:pt>
                <c:pt idx="22462">
                  <c:v>65143756</c:v>
                </c:pt>
                <c:pt idx="22463">
                  <c:v>5537592</c:v>
                </c:pt>
                <c:pt idx="22464">
                  <c:v>28394964</c:v>
                </c:pt>
                <c:pt idx="22465">
                  <c:v>12307824</c:v>
                </c:pt>
                <c:pt idx="22466">
                  <c:v>18421843</c:v>
                </c:pt>
                <c:pt idx="22467">
                  <c:v>8121396</c:v>
                </c:pt>
                <c:pt idx="22468">
                  <c:v>21472776</c:v>
                </c:pt>
                <c:pt idx="22469">
                  <c:v>147084084</c:v>
                </c:pt>
                <c:pt idx="22470">
                  <c:v>1261629950</c:v>
                </c:pt>
                <c:pt idx="22471">
                  <c:v>1294672698</c:v>
                </c:pt>
                <c:pt idx="22472">
                  <c:v>1182674676</c:v>
                </c:pt>
                <c:pt idx="22473">
                  <c:v>1830163732</c:v>
                </c:pt>
                <c:pt idx="22474">
                  <c:v>1013334872</c:v>
                </c:pt>
                <c:pt idx="22475">
                  <c:v>552484088</c:v>
                </c:pt>
                <c:pt idx="22476">
                  <c:v>826570454</c:v>
                </c:pt>
                <c:pt idx="22477">
                  <c:v>27870480</c:v>
                </c:pt>
                <c:pt idx="22478">
                  <c:v>247821992</c:v>
                </c:pt>
                <c:pt idx="22479">
                  <c:v>682525520</c:v>
                </c:pt>
                <c:pt idx="22480">
                  <c:v>12599096</c:v>
                </c:pt>
                <c:pt idx="22481">
                  <c:v>64166938</c:v>
                </c:pt>
                <c:pt idx="22482">
                  <c:v>169779456</c:v>
                </c:pt>
                <c:pt idx="22483">
                  <c:v>296979111</c:v>
                </c:pt>
                <c:pt idx="22484">
                  <c:v>193941990</c:v>
                </c:pt>
                <c:pt idx="22485">
                  <c:v>260759122</c:v>
                </c:pt>
                <c:pt idx="22486">
                  <c:v>220116942</c:v>
                </c:pt>
                <c:pt idx="22487">
                  <c:v>78191346</c:v>
                </c:pt>
                <c:pt idx="22488">
                  <c:v>227084554</c:v>
                </c:pt>
                <c:pt idx="22489">
                  <c:v>117995374</c:v>
                </c:pt>
                <c:pt idx="22490">
                  <c:v>382136480</c:v>
                </c:pt>
                <c:pt idx="22491">
                  <c:v>291493468</c:v>
                </c:pt>
                <c:pt idx="22492">
                  <c:v>266113120</c:v>
                </c:pt>
                <c:pt idx="22493">
                  <c:v>1277322240</c:v>
                </c:pt>
                <c:pt idx="22494">
                  <c:v>1891610571</c:v>
                </c:pt>
                <c:pt idx="22495">
                  <c:v>6966216</c:v>
                </c:pt>
                <c:pt idx="22496">
                  <c:v>564510862</c:v>
                </c:pt>
                <c:pt idx="22497">
                  <c:v>1414812660</c:v>
                </c:pt>
                <c:pt idx="22498">
                  <c:v>1488368890</c:v>
                </c:pt>
                <c:pt idx="22499">
                  <c:v>24330150</c:v>
                </c:pt>
                <c:pt idx="22500">
                  <c:v>33349190</c:v>
                </c:pt>
                <c:pt idx="22501">
                  <c:v>203890520</c:v>
                </c:pt>
                <c:pt idx="22502">
                  <c:v>18818968</c:v>
                </c:pt>
                <c:pt idx="22503">
                  <c:v>347075604</c:v>
                </c:pt>
                <c:pt idx="22504">
                  <c:v>653298168</c:v>
                </c:pt>
                <c:pt idx="22505">
                  <c:v>34036875</c:v>
                </c:pt>
                <c:pt idx="22506">
                  <c:v>148485513</c:v>
                </c:pt>
                <c:pt idx="22507">
                  <c:v>43637152</c:v>
                </c:pt>
                <c:pt idx="22508">
                  <c:v>366539463</c:v>
                </c:pt>
                <c:pt idx="22509">
                  <c:v>11025625</c:v>
                </c:pt>
                <c:pt idx="22510">
                  <c:v>77859775</c:v>
                </c:pt>
                <c:pt idx="22511">
                  <c:v>245577957</c:v>
                </c:pt>
                <c:pt idx="22512">
                  <c:v>13818364</c:v>
                </c:pt>
                <c:pt idx="22513">
                  <c:v>191593400</c:v>
                </c:pt>
                <c:pt idx="22514">
                  <c:v>11703168</c:v>
                </c:pt>
                <c:pt idx="22515">
                  <c:v>35895213</c:v>
                </c:pt>
                <c:pt idx="22516">
                  <c:v>31575075</c:v>
                </c:pt>
                <c:pt idx="22517">
                  <c:v>52558521</c:v>
                </c:pt>
                <c:pt idx="22518">
                  <c:v>18698946</c:v>
                </c:pt>
                <c:pt idx="22519">
                  <c:v>90080856</c:v>
                </c:pt>
                <c:pt idx="22520">
                  <c:v>76142804</c:v>
                </c:pt>
                <c:pt idx="22521">
                  <c:v>20486700</c:v>
                </c:pt>
                <c:pt idx="22522">
                  <c:v>51815850</c:v>
                </c:pt>
                <c:pt idx="22523">
                  <c:v>8701518</c:v>
                </c:pt>
                <c:pt idx="22524">
                  <c:v>140354904</c:v>
                </c:pt>
                <c:pt idx="22525">
                  <c:v>40998846</c:v>
                </c:pt>
                <c:pt idx="22526">
                  <c:v>140921748</c:v>
                </c:pt>
                <c:pt idx="22527">
                  <c:v>40516645</c:v>
                </c:pt>
                <c:pt idx="22528">
                  <c:v>29374189</c:v>
                </c:pt>
                <c:pt idx="22529">
                  <c:v>512944384</c:v>
                </c:pt>
                <c:pt idx="22530">
                  <c:v>870146368</c:v>
                </c:pt>
                <c:pt idx="22531">
                  <c:v>343601136</c:v>
                </c:pt>
                <c:pt idx="22532">
                  <c:v>462039375</c:v>
                </c:pt>
                <c:pt idx="22533">
                  <c:v>692750260</c:v>
                </c:pt>
                <c:pt idx="22534">
                  <c:v>333090352</c:v>
                </c:pt>
                <c:pt idx="22535">
                  <c:v>117925888</c:v>
                </c:pt>
                <c:pt idx="22536">
                  <c:v>13593580</c:v>
                </c:pt>
                <c:pt idx="22537">
                  <c:v>178649683</c:v>
                </c:pt>
                <c:pt idx="22538">
                  <c:v>13883560</c:v>
                </c:pt>
                <c:pt idx="22539">
                  <c:v>38204703</c:v>
                </c:pt>
                <c:pt idx="22540">
                  <c:v>127001197</c:v>
                </c:pt>
                <c:pt idx="22541">
                  <c:v>14897652</c:v>
                </c:pt>
                <c:pt idx="22542">
                  <c:v>396993243</c:v>
                </c:pt>
                <c:pt idx="22543">
                  <c:v>102319125</c:v>
                </c:pt>
                <c:pt idx="22544">
                  <c:v>40671792</c:v>
                </c:pt>
                <c:pt idx="22545">
                  <c:v>42457968</c:v>
                </c:pt>
                <c:pt idx="22546">
                  <c:v>152025000</c:v>
                </c:pt>
                <c:pt idx="22547">
                  <c:v>58087552</c:v>
                </c:pt>
                <c:pt idx="22548">
                  <c:v>61022528</c:v>
                </c:pt>
                <c:pt idx="22549">
                  <c:v>6798180</c:v>
                </c:pt>
                <c:pt idx="22550">
                  <c:v>81683351</c:v>
                </c:pt>
                <c:pt idx="22551">
                  <c:v>70109046</c:v>
                </c:pt>
                <c:pt idx="22552">
                  <c:v>214861362</c:v>
                </c:pt>
                <c:pt idx="22553">
                  <c:v>21566325</c:v>
                </c:pt>
                <c:pt idx="22554">
                  <c:v>14965887</c:v>
                </c:pt>
                <c:pt idx="22555">
                  <c:v>66252351</c:v>
                </c:pt>
                <c:pt idx="22556">
                  <c:v>931929936</c:v>
                </c:pt>
                <c:pt idx="22557">
                  <c:v>135400733</c:v>
                </c:pt>
                <c:pt idx="22558">
                  <c:v>74958776</c:v>
                </c:pt>
                <c:pt idx="22559">
                  <c:v>25973913</c:v>
                </c:pt>
                <c:pt idx="22560">
                  <c:v>786062040</c:v>
                </c:pt>
                <c:pt idx="22561">
                  <c:v>25777146</c:v>
                </c:pt>
                <c:pt idx="22562">
                  <c:v>163497534</c:v>
                </c:pt>
                <c:pt idx="22563">
                  <c:v>59799456</c:v>
                </c:pt>
                <c:pt idx="22564">
                  <c:v>183394092</c:v>
                </c:pt>
                <c:pt idx="22565">
                  <c:v>530079610</c:v>
                </c:pt>
                <c:pt idx="22566">
                  <c:v>25935000</c:v>
                </c:pt>
                <c:pt idx="22567">
                  <c:v>645295120</c:v>
                </c:pt>
                <c:pt idx="22568">
                  <c:v>15434960</c:v>
                </c:pt>
                <c:pt idx="22569">
                  <c:v>1898007500</c:v>
                </c:pt>
                <c:pt idx="22570">
                  <c:v>2147483647</c:v>
                </c:pt>
                <c:pt idx="22571">
                  <c:v>40049520</c:v>
                </c:pt>
                <c:pt idx="22572">
                  <c:v>56465494</c:v>
                </c:pt>
                <c:pt idx="22573">
                  <c:v>80401464</c:v>
                </c:pt>
                <c:pt idx="22574">
                  <c:v>25436346</c:v>
                </c:pt>
                <c:pt idx="22575">
                  <c:v>572389446</c:v>
                </c:pt>
                <c:pt idx="22576">
                  <c:v>920649704</c:v>
                </c:pt>
                <c:pt idx="22577">
                  <c:v>7919070</c:v>
                </c:pt>
                <c:pt idx="22578">
                  <c:v>13664200</c:v>
                </c:pt>
                <c:pt idx="22579">
                  <c:v>1050302456</c:v>
                </c:pt>
                <c:pt idx="22580">
                  <c:v>485239160</c:v>
                </c:pt>
                <c:pt idx="22581">
                  <c:v>108146394</c:v>
                </c:pt>
                <c:pt idx="22582">
                  <c:v>38667146</c:v>
                </c:pt>
                <c:pt idx="22583">
                  <c:v>109491588</c:v>
                </c:pt>
                <c:pt idx="22584">
                  <c:v>4956432</c:v>
                </c:pt>
                <c:pt idx="22585">
                  <c:v>9867760</c:v>
                </c:pt>
                <c:pt idx="22586">
                  <c:v>2147483647</c:v>
                </c:pt>
                <c:pt idx="22587">
                  <c:v>481477929</c:v>
                </c:pt>
                <c:pt idx="22588">
                  <c:v>40261104</c:v>
                </c:pt>
                <c:pt idx="22589">
                  <c:v>25021100</c:v>
                </c:pt>
                <c:pt idx="22590">
                  <c:v>43428084</c:v>
                </c:pt>
                <c:pt idx="22591">
                  <c:v>15774750</c:v>
                </c:pt>
                <c:pt idx="22592">
                  <c:v>24784050</c:v>
                </c:pt>
                <c:pt idx="22593">
                  <c:v>5559192</c:v>
                </c:pt>
                <c:pt idx="22594">
                  <c:v>741285675</c:v>
                </c:pt>
                <c:pt idx="22595">
                  <c:v>326983860</c:v>
                </c:pt>
                <c:pt idx="22596">
                  <c:v>91702284</c:v>
                </c:pt>
                <c:pt idx="22597">
                  <c:v>66028388</c:v>
                </c:pt>
                <c:pt idx="22598">
                  <c:v>201345744</c:v>
                </c:pt>
                <c:pt idx="22599">
                  <c:v>221173940</c:v>
                </c:pt>
                <c:pt idx="22600">
                  <c:v>162184356</c:v>
                </c:pt>
                <c:pt idx="22601">
                  <c:v>17843730</c:v>
                </c:pt>
                <c:pt idx="22602">
                  <c:v>127814736</c:v>
                </c:pt>
                <c:pt idx="22603">
                  <c:v>260432640</c:v>
                </c:pt>
                <c:pt idx="22604">
                  <c:v>15324540</c:v>
                </c:pt>
                <c:pt idx="22605">
                  <c:v>62084650</c:v>
                </c:pt>
                <c:pt idx="22606">
                  <c:v>91129150</c:v>
                </c:pt>
                <c:pt idx="22607">
                  <c:v>58825424</c:v>
                </c:pt>
                <c:pt idx="22608">
                  <c:v>33108361</c:v>
                </c:pt>
                <c:pt idx="22609">
                  <c:v>20890128</c:v>
                </c:pt>
                <c:pt idx="22610">
                  <c:v>988634592</c:v>
                </c:pt>
                <c:pt idx="22611">
                  <c:v>343130466</c:v>
                </c:pt>
                <c:pt idx="22612">
                  <c:v>55613988</c:v>
                </c:pt>
                <c:pt idx="22613">
                  <c:v>14144170</c:v>
                </c:pt>
                <c:pt idx="22614">
                  <c:v>377649072</c:v>
                </c:pt>
                <c:pt idx="22615">
                  <c:v>741230282</c:v>
                </c:pt>
                <c:pt idx="22616">
                  <c:v>1242194870</c:v>
                </c:pt>
                <c:pt idx="22617">
                  <c:v>1847885851</c:v>
                </c:pt>
                <c:pt idx="22618">
                  <c:v>21959156</c:v>
                </c:pt>
                <c:pt idx="22619">
                  <c:v>27835703</c:v>
                </c:pt>
                <c:pt idx="22620">
                  <c:v>233870097</c:v>
                </c:pt>
                <c:pt idx="22621">
                  <c:v>167950616</c:v>
                </c:pt>
                <c:pt idx="22622">
                  <c:v>423404064</c:v>
                </c:pt>
                <c:pt idx="22623">
                  <c:v>15910656</c:v>
                </c:pt>
                <c:pt idx="22624">
                  <c:v>305810116</c:v>
                </c:pt>
                <c:pt idx="22625">
                  <c:v>80488422</c:v>
                </c:pt>
                <c:pt idx="22626">
                  <c:v>146426961</c:v>
                </c:pt>
                <c:pt idx="22627">
                  <c:v>221857023</c:v>
                </c:pt>
                <c:pt idx="22628">
                  <c:v>494406384</c:v>
                </c:pt>
                <c:pt idx="22629">
                  <c:v>17526685</c:v>
                </c:pt>
                <c:pt idx="22630">
                  <c:v>18675936</c:v>
                </c:pt>
                <c:pt idx="22631">
                  <c:v>115225760</c:v>
                </c:pt>
                <c:pt idx="22632">
                  <c:v>69502740</c:v>
                </c:pt>
                <c:pt idx="22633">
                  <c:v>389556544</c:v>
                </c:pt>
                <c:pt idx="22634">
                  <c:v>89814840</c:v>
                </c:pt>
                <c:pt idx="22635">
                  <c:v>2147483647</c:v>
                </c:pt>
                <c:pt idx="22636">
                  <c:v>88653625</c:v>
                </c:pt>
                <c:pt idx="22637">
                  <c:v>282590150</c:v>
                </c:pt>
                <c:pt idx="22638">
                  <c:v>186303778</c:v>
                </c:pt>
                <c:pt idx="22639">
                  <c:v>168805882</c:v>
                </c:pt>
                <c:pt idx="22640">
                  <c:v>363393202</c:v>
                </c:pt>
                <c:pt idx="22641">
                  <c:v>698873967</c:v>
                </c:pt>
                <c:pt idx="22642">
                  <c:v>212637546</c:v>
                </c:pt>
                <c:pt idx="22643">
                  <c:v>309923790</c:v>
                </c:pt>
                <c:pt idx="22644">
                  <c:v>817196683</c:v>
                </c:pt>
                <c:pt idx="22645">
                  <c:v>221819338</c:v>
                </c:pt>
                <c:pt idx="22646">
                  <c:v>995338332</c:v>
                </c:pt>
                <c:pt idx="22647">
                  <c:v>446864704</c:v>
                </c:pt>
                <c:pt idx="22648">
                  <c:v>465457692</c:v>
                </c:pt>
                <c:pt idx="22649">
                  <c:v>736279709</c:v>
                </c:pt>
                <c:pt idx="22650">
                  <c:v>124235554</c:v>
                </c:pt>
                <c:pt idx="22651">
                  <c:v>660279567</c:v>
                </c:pt>
                <c:pt idx="22652">
                  <c:v>474719184</c:v>
                </c:pt>
                <c:pt idx="22653">
                  <c:v>1551712288</c:v>
                </c:pt>
                <c:pt idx="22654">
                  <c:v>96655469</c:v>
                </c:pt>
                <c:pt idx="22655">
                  <c:v>322067230</c:v>
                </c:pt>
                <c:pt idx="22656">
                  <c:v>484129728</c:v>
                </c:pt>
                <c:pt idx="22657">
                  <c:v>236622434</c:v>
                </c:pt>
                <c:pt idx="22658">
                  <c:v>328279170</c:v>
                </c:pt>
                <c:pt idx="22659">
                  <c:v>652540218</c:v>
                </c:pt>
                <c:pt idx="22660">
                  <c:v>202784127</c:v>
                </c:pt>
                <c:pt idx="22661">
                  <c:v>802397880</c:v>
                </c:pt>
                <c:pt idx="22662">
                  <c:v>238552410</c:v>
                </c:pt>
                <c:pt idx="22663">
                  <c:v>578739320</c:v>
                </c:pt>
                <c:pt idx="22664">
                  <c:v>458384124</c:v>
                </c:pt>
                <c:pt idx="22665">
                  <c:v>51713919</c:v>
                </c:pt>
                <c:pt idx="22666">
                  <c:v>846713465</c:v>
                </c:pt>
                <c:pt idx="22667">
                  <c:v>90598212</c:v>
                </c:pt>
                <c:pt idx="22668">
                  <c:v>211989154</c:v>
                </c:pt>
                <c:pt idx="22669">
                  <c:v>152295843</c:v>
                </c:pt>
                <c:pt idx="22670">
                  <c:v>788529248</c:v>
                </c:pt>
                <c:pt idx="22671">
                  <c:v>1835593530</c:v>
                </c:pt>
                <c:pt idx="22672">
                  <c:v>1135765512</c:v>
                </c:pt>
                <c:pt idx="22673">
                  <c:v>341996460</c:v>
                </c:pt>
                <c:pt idx="22674">
                  <c:v>91528416</c:v>
                </c:pt>
                <c:pt idx="22675">
                  <c:v>1646989270</c:v>
                </c:pt>
                <c:pt idx="22676">
                  <c:v>180558396</c:v>
                </c:pt>
                <c:pt idx="22677">
                  <c:v>245494260</c:v>
                </c:pt>
                <c:pt idx="22678">
                  <c:v>975033260</c:v>
                </c:pt>
                <c:pt idx="22679">
                  <c:v>36724268</c:v>
                </c:pt>
                <c:pt idx="22680">
                  <c:v>25094926</c:v>
                </c:pt>
                <c:pt idx="22681">
                  <c:v>72642332</c:v>
                </c:pt>
                <c:pt idx="22682">
                  <c:v>12939924</c:v>
                </c:pt>
                <c:pt idx="22683">
                  <c:v>1468298</c:v>
                </c:pt>
                <c:pt idx="22684">
                  <c:v>2922700</c:v>
                </c:pt>
                <c:pt idx="22685">
                  <c:v>75789410</c:v>
                </c:pt>
                <c:pt idx="22686">
                  <c:v>157757548</c:v>
                </c:pt>
                <c:pt idx="22687">
                  <c:v>4336200</c:v>
                </c:pt>
                <c:pt idx="22688">
                  <c:v>3249599</c:v>
                </c:pt>
                <c:pt idx="22689">
                  <c:v>13683600</c:v>
                </c:pt>
                <c:pt idx="22690">
                  <c:v>79768332</c:v>
                </c:pt>
                <c:pt idx="22691">
                  <c:v>210943291</c:v>
                </c:pt>
                <c:pt idx="22692">
                  <c:v>22347520</c:v>
                </c:pt>
                <c:pt idx="22693">
                  <c:v>134529840</c:v>
                </c:pt>
                <c:pt idx="22694">
                  <c:v>84300594</c:v>
                </c:pt>
                <c:pt idx="22695">
                  <c:v>30157506</c:v>
                </c:pt>
                <c:pt idx="22696">
                  <c:v>18366590</c:v>
                </c:pt>
                <c:pt idx="22697">
                  <c:v>12773028</c:v>
                </c:pt>
                <c:pt idx="22698">
                  <c:v>34048512</c:v>
                </c:pt>
                <c:pt idx="22699">
                  <c:v>30623235</c:v>
                </c:pt>
                <c:pt idx="22700">
                  <c:v>30919706</c:v>
                </c:pt>
                <c:pt idx="22701">
                  <c:v>98066160</c:v>
                </c:pt>
                <c:pt idx="22702">
                  <c:v>12827116</c:v>
                </c:pt>
                <c:pt idx="22703">
                  <c:v>102873159</c:v>
                </c:pt>
                <c:pt idx="22704">
                  <c:v>17827488</c:v>
                </c:pt>
                <c:pt idx="22705">
                  <c:v>1932896</c:v>
                </c:pt>
                <c:pt idx="22706">
                  <c:v>20160504</c:v>
                </c:pt>
                <c:pt idx="22707">
                  <c:v>430980480</c:v>
                </c:pt>
                <c:pt idx="22708">
                  <c:v>1436494192</c:v>
                </c:pt>
                <c:pt idx="22709">
                  <c:v>636608312</c:v>
                </c:pt>
                <c:pt idx="22710">
                  <c:v>2930708</c:v>
                </c:pt>
                <c:pt idx="22711">
                  <c:v>558370080</c:v>
                </c:pt>
                <c:pt idx="22712">
                  <c:v>59295915</c:v>
                </c:pt>
                <c:pt idx="22713">
                  <c:v>139424652</c:v>
                </c:pt>
                <c:pt idx="22714">
                  <c:v>12629793</c:v>
                </c:pt>
                <c:pt idx="22715">
                  <c:v>115936222</c:v>
                </c:pt>
                <c:pt idx="22716">
                  <c:v>10721104</c:v>
                </c:pt>
                <c:pt idx="22717">
                  <c:v>10224840</c:v>
                </c:pt>
                <c:pt idx="22718">
                  <c:v>16471944</c:v>
                </c:pt>
                <c:pt idx="22719">
                  <c:v>749194368</c:v>
                </c:pt>
                <c:pt idx="22720">
                  <c:v>15459984</c:v>
                </c:pt>
                <c:pt idx="22721">
                  <c:v>194142816</c:v>
                </c:pt>
                <c:pt idx="22722">
                  <c:v>5587998</c:v>
                </c:pt>
                <c:pt idx="22723">
                  <c:v>9967104</c:v>
                </c:pt>
                <c:pt idx="22724">
                  <c:v>120751090</c:v>
                </c:pt>
                <c:pt idx="22725">
                  <c:v>77768148</c:v>
                </c:pt>
                <c:pt idx="22726">
                  <c:v>58688344</c:v>
                </c:pt>
                <c:pt idx="22727">
                  <c:v>10420095</c:v>
                </c:pt>
                <c:pt idx="22728">
                  <c:v>32211816</c:v>
                </c:pt>
                <c:pt idx="22729">
                  <c:v>7198149</c:v>
                </c:pt>
                <c:pt idx="22730">
                  <c:v>14948856</c:v>
                </c:pt>
                <c:pt idx="22731">
                  <c:v>55281915</c:v>
                </c:pt>
                <c:pt idx="22732">
                  <c:v>34555775</c:v>
                </c:pt>
                <c:pt idx="22733">
                  <c:v>79688400</c:v>
                </c:pt>
                <c:pt idx="22734">
                  <c:v>3702710</c:v>
                </c:pt>
                <c:pt idx="22735">
                  <c:v>2461920</c:v>
                </c:pt>
                <c:pt idx="22736">
                  <c:v>16026291</c:v>
                </c:pt>
                <c:pt idx="22737">
                  <c:v>6858786</c:v>
                </c:pt>
                <c:pt idx="22738">
                  <c:v>16836800</c:v>
                </c:pt>
                <c:pt idx="22739">
                  <c:v>22656292</c:v>
                </c:pt>
                <c:pt idx="22740">
                  <c:v>15029660</c:v>
                </c:pt>
                <c:pt idx="22741">
                  <c:v>16164757</c:v>
                </c:pt>
                <c:pt idx="22742">
                  <c:v>29077464</c:v>
                </c:pt>
                <c:pt idx="22743">
                  <c:v>23162258</c:v>
                </c:pt>
                <c:pt idx="22744">
                  <c:v>16268364</c:v>
                </c:pt>
                <c:pt idx="22745">
                  <c:v>10276084</c:v>
                </c:pt>
                <c:pt idx="22746">
                  <c:v>21423370</c:v>
                </c:pt>
                <c:pt idx="22747">
                  <c:v>83316896</c:v>
                </c:pt>
                <c:pt idx="22748">
                  <c:v>63576909</c:v>
                </c:pt>
                <c:pt idx="22749">
                  <c:v>333930100</c:v>
                </c:pt>
                <c:pt idx="22750">
                  <c:v>33365472</c:v>
                </c:pt>
                <c:pt idx="22751">
                  <c:v>6276996</c:v>
                </c:pt>
                <c:pt idx="22752">
                  <c:v>40950854</c:v>
                </c:pt>
                <c:pt idx="22753">
                  <c:v>27263556</c:v>
                </c:pt>
                <c:pt idx="22754">
                  <c:v>54516072</c:v>
                </c:pt>
                <c:pt idx="22755">
                  <c:v>73821120</c:v>
                </c:pt>
                <c:pt idx="22756">
                  <c:v>15957774</c:v>
                </c:pt>
                <c:pt idx="22757">
                  <c:v>11463298</c:v>
                </c:pt>
                <c:pt idx="22758">
                  <c:v>4746410</c:v>
                </c:pt>
                <c:pt idx="22759">
                  <c:v>392735061</c:v>
                </c:pt>
                <c:pt idx="22760">
                  <c:v>29355315</c:v>
                </c:pt>
                <c:pt idx="22761">
                  <c:v>18344037</c:v>
                </c:pt>
                <c:pt idx="22762">
                  <c:v>16521780</c:v>
                </c:pt>
                <c:pt idx="22763">
                  <c:v>47130097</c:v>
                </c:pt>
                <c:pt idx="22764">
                  <c:v>68088026</c:v>
                </c:pt>
                <c:pt idx="22765">
                  <c:v>31560529</c:v>
                </c:pt>
                <c:pt idx="22766">
                  <c:v>18307015</c:v>
                </c:pt>
                <c:pt idx="22767">
                  <c:v>8505648</c:v>
                </c:pt>
                <c:pt idx="22768">
                  <c:v>7534773</c:v>
                </c:pt>
                <c:pt idx="22769">
                  <c:v>13987413</c:v>
                </c:pt>
                <c:pt idx="22770">
                  <c:v>102560095</c:v>
                </c:pt>
                <c:pt idx="22771">
                  <c:v>29047998</c:v>
                </c:pt>
                <c:pt idx="22772">
                  <c:v>54472844</c:v>
                </c:pt>
                <c:pt idx="22773">
                  <c:v>10401564</c:v>
                </c:pt>
                <c:pt idx="22774">
                  <c:v>11417940</c:v>
                </c:pt>
                <c:pt idx="22775">
                  <c:v>38971890</c:v>
                </c:pt>
                <c:pt idx="22776">
                  <c:v>10091055</c:v>
                </c:pt>
                <c:pt idx="22777">
                  <c:v>553158300</c:v>
                </c:pt>
                <c:pt idx="22778">
                  <c:v>994206784</c:v>
                </c:pt>
                <c:pt idx="22779">
                  <c:v>14278668</c:v>
                </c:pt>
                <c:pt idx="22780">
                  <c:v>189763350</c:v>
                </c:pt>
                <c:pt idx="22781">
                  <c:v>18087993</c:v>
                </c:pt>
                <c:pt idx="22782">
                  <c:v>2062611</c:v>
                </c:pt>
                <c:pt idx="22783">
                  <c:v>5234906</c:v>
                </c:pt>
                <c:pt idx="22784">
                  <c:v>7447785</c:v>
                </c:pt>
                <c:pt idx="22785">
                  <c:v>24685068</c:v>
                </c:pt>
                <c:pt idx="22786">
                  <c:v>12300840</c:v>
                </c:pt>
                <c:pt idx="22787">
                  <c:v>2161016</c:v>
                </c:pt>
                <c:pt idx="22788">
                  <c:v>60954744</c:v>
                </c:pt>
                <c:pt idx="22789">
                  <c:v>14092202</c:v>
                </c:pt>
                <c:pt idx="22790">
                  <c:v>22072379</c:v>
                </c:pt>
                <c:pt idx="22791">
                  <c:v>5187280</c:v>
                </c:pt>
                <c:pt idx="22792">
                  <c:v>5567097</c:v>
                </c:pt>
                <c:pt idx="22793">
                  <c:v>23566400</c:v>
                </c:pt>
                <c:pt idx="22794">
                  <c:v>27184088</c:v>
                </c:pt>
                <c:pt idx="22795">
                  <c:v>30847089</c:v>
                </c:pt>
                <c:pt idx="22796">
                  <c:v>101477880</c:v>
                </c:pt>
                <c:pt idx="22797">
                  <c:v>26291150</c:v>
                </c:pt>
                <c:pt idx="22798">
                  <c:v>12597621</c:v>
                </c:pt>
                <c:pt idx="22799">
                  <c:v>11968140</c:v>
                </c:pt>
                <c:pt idx="22800">
                  <c:v>101433141</c:v>
                </c:pt>
                <c:pt idx="22801">
                  <c:v>2161116</c:v>
                </c:pt>
                <c:pt idx="22802">
                  <c:v>16931573</c:v>
                </c:pt>
                <c:pt idx="22803">
                  <c:v>228687705</c:v>
                </c:pt>
                <c:pt idx="22804">
                  <c:v>24113397</c:v>
                </c:pt>
                <c:pt idx="22805">
                  <c:v>34212420</c:v>
                </c:pt>
                <c:pt idx="22806">
                  <c:v>18841336</c:v>
                </c:pt>
                <c:pt idx="22807">
                  <c:v>9264354</c:v>
                </c:pt>
                <c:pt idx="22808">
                  <c:v>5633921</c:v>
                </c:pt>
                <c:pt idx="22809">
                  <c:v>30781107</c:v>
                </c:pt>
                <c:pt idx="22810">
                  <c:v>10092538</c:v>
                </c:pt>
                <c:pt idx="22811">
                  <c:v>7811874</c:v>
                </c:pt>
                <c:pt idx="22812">
                  <c:v>84068640</c:v>
                </c:pt>
                <c:pt idx="22813">
                  <c:v>35213184</c:v>
                </c:pt>
                <c:pt idx="22814">
                  <c:v>6715875</c:v>
                </c:pt>
                <c:pt idx="22815">
                  <c:v>37752965</c:v>
                </c:pt>
                <c:pt idx="22816">
                  <c:v>43362209</c:v>
                </c:pt>
                <c:pt idx="22817">
                  <c:v>116229217</c:v>
                </c:pt>
                <c:pt idx="22818">
                  <c:v>75756000</c:v>
                </c:pt>
                <c:pt idx="22819">
                  <c:v>449798468</c:v>
                </c:pt>
                <c:pt idx="22820">
                  <c:v>35037002</c:v>
                </c:pt>
                <c:pt idx="22821">
                  <c:v>38633712</c:v>
                </c:pt>
                <c:pt idx="22822">
                  <c:v>7007811</c:v>
                </c:pt>
                <c:pt idx="22823">
                  <c:v>25074647</c:v>
                </c:pt>
                <c:pt idx="22824">
                  <c:v>12849828</c:v>
                </c:pt>
                <c:pt idx="22825">
                  <c:v>19253232</c:v>
                </c:pt>
                <c:pt idx="22826">
                  <c:v>15120612</c:v>
                </c:pt>
                <c:pt idx="22827">
                  <c:v>17992865</c:v>
                </c:pt>
                <c:pt idx="22828">
                  <c:v>10733670</c:v>
                </c:pt>
                <c:pt idx="22829">
                  <c:v>34013565</c:v>
                </c:pt>
                <c:pt idx="22830">
                  <c:v>4189705</c:v>
                </c:pt>
                <c:pt idx="22831">
                  <c:v>63419040</c:v>
                </c:pt>
                <c:pt idx="22832">
                  <c:v>16353469</c:v>
                </c:pt>
                <c:pt idx="22833">
                  <c:v>3298295</c:v>
                </c:pt>
                <c:pt idx="22834">
                  <c:v>22305717</c:v>
                </c:pt>
                <c:pt idx="22835">
                  <c:v>37221877</c:v>
                </c:pt>
                <c:pt idx="22836">
                  <c:v>36313044</c:v>
                </c:pt>
                <c:pt idx="22837">
                  <c:v>32868108</c:v>
                </c:pt>
                <c:pt idx="22838">
                  <c:v>3438281</c:v>
                </c:pt>
                <c:pt idx="22839">
                  <c:v>18261076</c:v>
                </c:pt>
                <c:pt idx="22840">
                  <c:v>46709670</c:v>
                </c:pt>
                <c:pt idx="22841">
                  <c:v>38141480</c:v>
                </c:pt>
                <c:pt idx="22842">
                  <c:v>4416640</c:v>
                </c:pt>
                <c:pt idx="22843">
                  <c:v>15686500</c:v>
                </c:pt>
                <c:pt idx="22844">
                  <c:v>23894813</c:v>
                </c:pt>
                <c:pt idx="22845">
                  <c:v>263895678</c:v>
                </c:pt>
                <c:pt idx="22846">
                  <c:v>9251242</c:v>
                </c:pt>
                <c:pt idx="22847">
                  <c:v>56050780</c:v>
                </c:pt>
                <c:pt idx="22848">
                  <c:v>20928344</c:v>
                </c:pt>
                <c:pt idx="22849">
                  <c:v>29780860</c:v>
                </c:pt>
                <c:pt idx="22850">
                  <c:v>30542748</c:v>
                </c:pt>
                <c:pt idx="22851">
                  <c:v>19170730</c:v>
                </c:pt>
                <c:pt idx="22852">
                  <c:v>5871555</c:v>
                </c:pt>
                <c:pt idx="22853">
                  <c:v>45287820</c:v>
                </c:pt>
                <c:pt idx="22854">
                  <c:v>309919016</c:v>
                </c:pt>
                <c:pt idx="22855">
                  <c:v>967396725</c:v>
                </c:pt>
                <c:pt idx="22856">
                  <c:v>1229069387</c:v>
                </c:pt>
                <c:pt idx="22857">
                  <c:v>251276240</c:v>
                </c:pt>
                <c:pt idx="22858">
                  <c:v>1266895744</c:v>
                </c:pt>
                <c:pt idx="22859">
                  <c:v>2147483647</c:v>
                </c:pt>
                <c:pt idx="22860">
                  <c:v>1394245638</c:v>
                </c:pt>
                <c:pt idx="22861">
                  <c:v>279127782</c:v>
                </c:pt>
                <c:pt idx="22862">
                  <c:v>127400483</c:v>
                </c:pt>
                <c:pt idx="22863">
                  <c:v>762261874</c:v>
                </c:pt>
                <c:pt idx="22864">
                  <c:v>689200681</c:v>
                </c:pt>
                <c:pt idx="22865">
                  <c:v>188650000</c:v>
                </c:pt>
                <c:pt idx="22866">
                  <c:v>693759150</c:v>
                </c:pt>
                <c:pt idx="22867">
                  <c:v>48911270</c:v>
                </c:pt>
                <c:pt idx="22868">
                  <c:v>277377720</c:v>
                </c:pt>
                <c:pt idx="22869">
                  <c:v>17380728</c:v>
                </c:pt>
                <c:pt idx="22870">
                  <c:v>17620806</c:v>
                </c:pt>
                <c:pt idx="22871">
                  <c:v>37275696</c:v>
                </c:pt>
                <c:pt idx="22872">
                  <c:v>122413240</c:v>
                </c:pt>
                <c:pt idx="22873">
                  <c:v>73805952</c:v>
                </c:pt>
                <c:pt idx="22874">
                  <c:v>52377792</c:v>
                </c:pt>
                <c:pt idx="22875">
                  <c:v>414109780</c:v>
                </c:pt>
                <c:pt idx="22876">
                  <c:v>2175800</c:v>
                </c:pt>
                <c:pt idx="22877">
                  <c:v>75808404</c:v>
                </c:pt>
                <c:pt idx="22878">
                  <c:v>201207564</c:v>
                </c:pt>
                <c:pt idx="22879">
                  <c:v>890055270</c:v>
                </c:pt>
                <c:pt idx="22880">
                  <c:v>51308208</c:v>
                </c:pt>
                <c:pt idx="22881">
                  <c:v>103124580</c:v>
                </c:pt>
                <c:pt idx="22882">
                  <c:v>83609755</c:v>
                </c:pt>
                <c:pt idx="22883">
                  <c:v>8851050</c:v>
                </c:pt>
                <c:pt idx="22884">
                  <c:v>215582838</c:v>
                </c:pt>
                <c:pt idx="22885">
                  <c:v>9458700</c:v>
                </c:pt>
                <c:pt idx="22886">
                  <c:v>209172160</c:v>
                </c:pt>
                <c:pt idx="22887">
                  <c:v>138166280</c:v>
                </c:pt>
                <c:pt idx="22888">
                  <c:v>11393745</c:v>
                </c:pt>
                <c:pt idx="22889">
                  <c:v>60126220</c:v>
                </c:pt>
                <c:pt idx="22890">
                  <c:v>18878841</c:v>
                </c:pt>
                <c:pt idx="22891">
                  <c:v>173706826</c:v>
                </c:pt>
                <c:pt idx="22892">
                  <c:v>14091840</c:v>
                </c:pt>
                <c:pt idx="22893">
                  <c:v>1741680619</c:v>
                </c:pt>
                <c:pt idx="22894">
                  <c:v>109300240</c:v>
                </c:pt>
                <c:pt idx="22895">
                  <c:v>91379304</c:v>
                </c:pt>
                <c:pt idx="22896">
                  <c:v>122090490</c:v>
                </c:pt>
                <c:pt idx="22897">
                  <c:v>8936802</c:v>
                </c:pt>
                <c:pt idx="22898">
                  <c:v>66023424</c:v>
                </c:pt>
                <c:pt idx="22899">
                  <c:v>19687584</c:v>
                </c:pt>
                <c:pt idx="22900">
                  <c:v>938603388</c:v>
                </c:pt>
                <c:pt idx="22901">
                  <c:v>888047944</c:v>
                </c:pt>
                <c:pt idx="22902">
                  <c:v>403911900</c:v>
                </c:pt>
                <c:pt idx="22903">
                  <c:v>3432288</c:v>
                </c:pt>
                <c:pt idx="22904">
                  <c:v>43850025</c:v>
                </c:pt>
                <c:pt idx="22905">
                  <c:v>164892980</c:v>
                </c:pt>
                <c:pt idx="22906">
                  <c:v>838693344</c:v>
                </c:pt>
                <c:pt idx="22907">
                  <c:v>617947680</c:v>
                </c:pt>
                <c:pt idx="22908">
                  <c:v>138143980</c:v>
                </c:pt>
                <c:pt idx="22909">
                  <c:v>84041902</c:v>
                </c:pt>
                <c:pt idx="22910">
                  <c:v>42556725</c:v>
                </c:pt>
                <c:pt idx="22911">
                  <c:v>11012640</c:v>
                </c:pt>
                <c:pt idx="22912">
                  <c:v>27763344</c:v>
                </c:pt>
                <c:pt idx="22913">
                  <c:v>9236500</c:v>
                </c:pt>
                <c:pt idx="22914">
                  <c:v>52660594</c:v>
                </c:pt>
                <c:pt idx="22915">
                  <c:v>345642147</c:v>
                </c:pt>
                <c:pt idx="22916">
                  <c:v>1489136676</c:v>
                </c:pt>
                <c:pt idx="22917">
                  <c:v>310719960</c:v>
                </c:pt>
                <c:pt idx="22918">
                  <c:v>489364360</c:v>
                </c:pt>
                <c:pt idx="22919">
                  <c:v>203838880</c:v>
                </c:pt>
                <c:pt idx="22920">
                  <c:v>211849714</c:v>
                </c:pt>
                <c:pt idx="22921">
                  <c:v>599325701</c:v>
                </c:pt>
                <c:pt idx="22922">
                  <c:v>1028346732</c:v>
                </c:pt>
                <c:pt idx="22923">
                  <c:v>384846100</c:v>
                </c:pt>
                <c:pt idx="22924">
                  <c:v>81515208</c:v>
                </c:pt>
                <c:pt idx="22925">
                  <c:v>125426448</c:v>
                </c:pt>
                <c:pt idx="22926">
                  <c:v>274449240</c:v>
                </c:pt>
                <c:pt idx="22927">
                  <c:v>175001643</c:v>
                </c:pt>
                <c:pt idx="22928">
                  <c:v>354694868</c:v>
                </c:pt>
                <c:pt idx="22929">
                  <c:v>245317765</c:v>
                </c:pt>
                <c:pt idx="22930">
                  <c:v>402466820</c:v>
                </c:pt>
                <c:pt idx="22931">
                  <c:v>38000304</c:v>
                </c:pt>
                <c:pt idx="22932">
                  <c:v>81687576</c:v>
                </c:pt>
                <c:pt idx="22933">
                  <c:v>396561952</c:v>
                </c:pt>
                <c:pt idx="22934">
                  <c:v>1932973658</c:v>
                </c:pt>
                <c:pt idx="22935">
                  <c:v>698350044</c:v>
                </c:pt>
                <c:pt idx="22936">
                  <c:v>765767186</c:v>
                </c:pt>
                <c:pt idx="22937">
                  <c:v>1112536659</c:v>
                </c:pt>
                <c:pt idx="22938">
                  <c:v>1629971232</c:v>
                </c:pt>
                <c:pt idx="22939">
                  <c:v>495856190</c:v>
                </c:pt>
                <c:pt idx="22940">
                  <c:v>273753105</c:v>
                </c:pt>
                <c:pt idx="22941">
                  <c:v>241947335</c:v>
                </c:pt>
                <c:pt idx="22942">
                  <c:v>95225790</c:v>
                </c:pt>
                <c:pt idx="22943">
                  <c:v>208337220</c:v>
                </c:pt>
                <c:pt idx="22944">
                  <c:v>33620832</c:v>
                </c:pt>
                <c:pt idx="22945">
                  <c:v>22355752</c:v>
                </c:pt>
                <c:pt idx="22946">
                  <c:v>102784656</c:v>
                </c:pt>
                <c:pt idx="22947">
                  <c:v>106336416</c:v>
                </c:pt>
                <c:pt idx="22948">
                  <c:v>36458172</c:v>
                </c:pt>
                <c:pt idx="22949">
                  <c:v>4031200</c:v>
                </c:pt>
                <c:pt idx="22950">
                  <c:v>47631259</c:v>
                </c:pt>
                <c:pt idx="22951">
                  <c:v>66085348</c:v>
                </c:pt>
                <c:pt idx="22952">
                  <c:v>449755989</c:v>
                </c:pt>
                <c:pt idx="22953">
                  <c:v>149151540</c:v>
                </c:pt>
                <c:pt idx="22954">
                  <c:v>62654112</c:v>
                </c:pt>
                <c:pt idx="22955">
                  <c:v>19735191</c:v>
                </c:pt>
                <c:pt idx="22956">
                  <c:v>14310920</c:v>
                </c:pt>
                <c:pt idx="22957">
                  <c:v>136946504</c:v>
                </c:pt>
                <c:pt idx="22958">
                  <c:v>391021041</c:v>
                </c:pt>
                <c:pt idx="22959">
                  <c:v>4186527</c:v>
                </c:pt>
                <c:pt idx="22960">
                  <c:v>2859619</c:v>
                </c:pt>
                <c:pt idx="22961">
                  <c:v>452428150</c:v>
                </c:pt>
                <c:pt idx="22962">
                  <c:v>61216656</c:v>
                </c:pt>
                <c:pt idx="22963">
                  <c:v>45115390</c:v>
                </c:pt>
                <c:pt idx="22964">
                  <c:v>105884520</c:v>
                </c:pt>
                <c:pt idx="22965">
                  <c:v>28956356</c:v>
                </c:pt>
                <c:pt idx="22966">
                  <c:v>11066286</c:v>
                </c:pt>
                <c:pt idx="22967">
                  <c:v>1055190</c:v>
                </c:pt>
                <c:pt idx="22968">
                  <c:v>39261817</c:v>
                </c:pt>
                <c:pt idx="22969">
                  <c:v>85427040</c:v>
                </c:pt>
                <c:pt idx="22970">
                  <c:v>373822338</c:v>
                </c:pt>
                <c:pt idx="22971">
                  <c:v>716734944</c:v>
                </c:pt>
                <c:pt idx="22972">
                  <c:v>105209750</c:v>
                </c:pt>
                <c:pt idx="22973">
                  <c:v>30820905</c:v>
                </c:pt>
                <c:pt idx="22974">
                  <c:v>18093150</c:v>
                </c:pt>
                <c:pt idx="22975">
                  <c:v>20917274</c:v>
                </c:pt>
                <c:pt idx="22976">
                  <c:v>201489300</c:v>
                </c:pt>
                <c:pt idx="22977">
                  <c:v>49681511</c:v>
                </c:pt>
                <c:pt idx="22978">
                  <c:v>6381540</c:v>
                </c:pt>
                <c:pt idx="22979">
                  <c:v>22786748</c:v>
                </c:pt>
                <c:pt idx="22980">
                  <c:v>426263000</c:v>
                </c:pt>
                <c:pt idx="22981">
                  <c:v>21549990</c:v>
                </c:pt>
                <c:pt idx="22982">
                  <c:v>22375824</c:v>
                </c:pt>
                <c:pt idx="22983">
                  <c:v>226608690</c:v>
                </c:pt>
                <c:pt idx="22984">
                  <c:v>296772758</c:v>
                </c:pt>
                <c:pt idx="22985">
                  <c:v>67833952</c:v>
                </c:pt>
                <c:pt idx="22986">
                  <c:v>136281601</c:v>
                </c:pt>
                <c:pt idx="22987">
                  <c:v>213788768</c:v>
                </c:pt>
                <c:pt idx="22988">
                  <c:v>4525092</c:v>
                </c:pt>
                <c:pt idx="22989">
                  <c:v>116051010</c:v>
                </c:pt>
                <c:pt idx="22990">
                  <c:v>18309200</c:v>
                </c:pt>
                <c:pt idx="22991">
                  <c:v>67590640</c:v>
                </c:pt>
                <c:pt idx="22992">
                  <c:v>11294643</c:v>
                </c:pt>
                <c:pt idx="22993">
                  <c:v>375292095</c:v>
                </c:pt>
                <c:pt idx="22994">
                  <c:v>38880880</c:v>
                </c:pt>
                <c:pt idx="22995">
                  <c:v>103751980</c:v>
                </c:pt>
                <c:pt idx="22996">
                  <c:v>7098624</c:v>
                </c:pt>
                <c:pt idx="22997">
                  <c:v>99996312</c:v>
                </c:pt>
                <c:pt idx="22998">
                  <c:v>54448498</c:v>
                </c:pt>
                <c:pt idx="22999">
                  <c:v>3712128</c:v>
                </c:pt>
                <c:pt idx="23000">
                  <c:v>9902920</c:v>
                </c:pt>
                <c:pt idx="23001">
                  <c:v>2283012</c:v>
                </c:pt>
                <c:pt idx="23002">
                  <c:v>2107800</c:v>
                </c:pt>
                <c:pt idx="23003">
                  <c:v>173061218</c:v>
                </c:pt>
                <c:pt idx="23004">
                  <c:v>691224840</c:v>
                </c:pt>
                <c:pt idx="23005">
                  <c:v>358332240</c:v>
                </c:pt>
                <c:pt idx="23006">
                  <c:v>7738016</c:v>
                </c:pt>
                <c:pt idx="23007">
                  <c:v>35198500</c:v>
                </c:pt>
                <c:pt idx="23008">
                  <c:v>45370101</c:v>
                </c:pt>
                <c:pt idx="23009">
                  <c:v>30678043</c:v>
                </c:pt>
                <c:pt idx="23010">
                  <c:v>13237500</c:v>
                </c:pt>
                <c:pt idx="23011">
                  <c:v>733109740</c:v>
                </c:pt>
                <c:pt idx="23012">
                  <c:v>1143700</c:v>
                </c:pt>
                <c:pt idx="23013">
                  <c:v>6398589</c:v>
                </c:pt>
                <c:pt idx="23014">
                  <c:v>111283392</c:v>
                </c:pt>
                <c:pt idx="23015">
                  <c:v>212914169</c:v>
                </c:pt>
                <c:pt idx="23016">
                  <c:v>3201608</c:v>
                </c:pt>
                <c:pt idx="23017">
                  <c:v>4218104</c:v>
                </c:pt>
                <c:pt idx="23018">
                  <c:v>19705356</c:v>
                </c:pt>
                <c:pt idx="23019">
                  <c:v>26062796</c:v>
                </c:pt>
                <c:pt idx="23020">
                  <c:v>1941318</c:v>
                </c:pt>
                <c:pt idx="23021">
                  <c:v>32408127</c:v>
                </c:pt>
                <c:pt idx="23022">
                  <c:v>91857050</c:v>
                </c:pt>
                <c:pt idx="23023">
                  <c:v>2695410</c:v>
                </c:pt>
                <c:pt idx="23024">
                  <c:v>11714724</c:v>
                </c:pt>
                <c:pt idx="23025">
                  <c:v>19959530</c:v>
                </c:pt>
                <c:pt idx="23026">
                  <c:v>75451951</c:v>
                </c:pt>
                <c:pt idx="23027">
                  <c:v>2063985</c:v>
                </c:pt>
                <c:pt idx="23028">
                  <c:v>23080694</c:v>
                </c:pt>
                <c:pt idx="23029">
                  <c:v>34493236</c:v>
                </c:pt>
                <c:pt idx="23030">
                  <c:v>45124992</c:v>
                </c:pt>
                <c:pt idx="23031">
                  <c:v>13738275</c:v>
                </c:pt>
                <c:pt idx="23032">
                  <c:v>7106544</c:v>
                </c:pt>
                <c:pt idx="23033">
                  <c:v>12419540</c:v>
                </c:pt>
                <c:pt idx="23034">
                  <c:v>7196332</c:v>
                </c:pt>
                <c:pt idx="23035">
                  <c:v>10327226</c:v>
                </c:pt>
                <c:pt idx="23036">
                  <c:v>45084173</c:v>
                </c:pt>
                <c:pt idx="23037">
                  <c:v>18714864</c:v>
                </c:pt>
                <c:pt idx="23038">
                  <c:v>52009704</c:v>
                </c:pt>
                <c:pt idx="23039">
                  <c:v>12154167</c:v>
                </c:pt>
                <c:pt idx="23040">
                  <c:v>2353599</c:v>
                </c:pt>
                <c:pt idx="23041">
                  <c:v>12852168</c:v>
                </c:pt>
                <c:pt idx="23042">
                  <c:v>30586156</c:v>
                </c:pt>
                <c:pt idx="23043">
                  <c:v>76446050</c:v>
                </c:pt>
                <c:pt idx="23044">
                  <c:v>17974814</c:v>
                </c:pt>
                <c:pt idx="23045">
                  <c:v>25541662</c:v>
                </c:pt>
                <c:pt idx="23046">
                  <c:v>6945488</c:v>
                </c:pt>
                <c:pt idx="23047">
                  <c:v>5423388</c:v>
                </c:pt>
                <c:pt idx="23048">
                  <c:v>138310638</c:v>
                </c:pt>
                <c:pt idx="23049">
                  <c:v>450888354</c:v>
                </c:pt>
                <c:pt idx="23050">
                  <c:v>414390528</c:v>
                </c:pt>
                <c:pt idx="23051">
                  <c:v>10806589</c:v>
                </c:pt>
                <c:pt idx="23052">
                  <c:v>158154248</c:v>
                </c:pt>
                <c:pt idx="23053">
                  <c:v>12409482</c:v>
                </c:pt>
                <c:pt idx="23054">
                  <c:v>8002816</c:v>
                </c:pt>
                <c:pt idx="23055">
                  <c:v>45948989</c:v>
                </c:pt>
                <c:pt idx="23056">
                  <c:v>7752420</c:v>
                </c:pt>
                <c:pt idx="23057">
                  <c:v>17530098</c:v>
                </c:pt>
                <c:pt idx="23058">
                  <c:v>15025248</c:v>
                </c:pt>
                <c:pt idx="23059">
                  <c:v>10837325</c:v>
                </c:pt>
                <c:pt idx="23060">
                  <c:v>76971600</c:v>
                </c:pt>
                <c:pt idx="23061">
                  <c:v>12313832</c:v>
                </c:pt>
                <c:pt idx="23062">
                  <c:v>29730240</c:v>
                </c:pt>
                <c:pt idx="23063">
                  <c:v>25222272</c:v>
                </c:pt>
                <c:pt idx="23064">
                  <c:v>96310368</c:v>
                </c:pt>
                <c:pt idx="23065">
                  <c:v>680381430</c:v>
                </c:pt>
                <c:pt idx="23066">
                  <c:v>8821738</c:v>
                </c:pt>
                <c:pt idx="23067">
                  <c:v>4959000</c:v>
                </c:pt>
                <c:pt idx="23068">
                  <c:v>29915136</c:v>
                </c:pt>
                <c:pt idx="23069">
                  <c:v>3238424</c:v>
                </c:pt>
                <c:pt idx="23070">
                  <c:v>55087365</c:v>
                </c:pt>
                <c:pt idx="23071">
                  <c:v>47303112</c:v>
                </c:pt>
                <c:pt idx="23072">
                  <c:v>231815779</c:v>
                </c:pt>
                <c:pt idx="23073">
                  <c:v>58993024</c:v>
                </c:pt>
                <c:pt idx="23074">
                  <c:v>131514540</c:v>
                </c:pt>
                <c:pt idx="23075">
                  <c:v>38490243</c:v>
                </c:pt>
                <c:pt idx="23076">
                  <c:v>78830844</c:v>
                </c:pt>
                <c:pt idx="23077">
                  <c:v>19422210</c:v>
                </c:pt>
                <c:pt idx="23078">
                  <c:v>39289045</c:v>
                </c:pt>
                <c:pt idx="23079">
                  <c:v>19252004</c:v>
                </c:pt>
                <c:pt idx="23080">
                  <c:v>10191760</c:v>
                </c:pt>
                <c:pt idx="23081">
                  <c:v>35546973</c:v>
                </c:pt>
                <c:pt idx="23082">
                  <c:v>25007596</c:v>
                </c:pt>
                <c:pt idx="23083">
                  <c:v>167838518</c:v>
                </c:pt>
                <c:pt idx="23084">
                  <c:v>188448627</c:v>
                </c:pt>
                <c:pt idx="23085">
                  <c:v>9783510</c:v>
                </c:pt>
                <c:pt idx="23086">
                  <c:v>14094360</c:v>
                </c:pt>
                <c:pt idx="23087">
                  <c:v>4270200</c:v>
                </c:pt>
                <c:pt idx="23088">
                  <c:v>13207740</c:v>
                </c:pt>
                <c:pt idx="23089">
                  <c:v>19526784</c:v>
                </c:pt>
                <c:pt idx="23090">
                  <c:v>31655772</c:v>
                </c:pt>
                <c:pt idx="23091">
                  <c:v>1117300</c:v>
                </c:pt>
                <c:pt idx="23092">
                  <c:v>83058864</c:v>
                </c:pt>
                <c:pt idx="23093">
                  <c:v>21904860</c:v>
                </c:pt>
                <c:pt idx="23094">
                  <c:v>540792406</c:v>
                </c:pt>
                <c:pt idx="23095">
                  <c:v>566368910</c:v>
                </c:pt>
                <c:pt idx="23096">
                  <c:v>843696472</c:v>
                </c:pt>
                <c:pt idx="23097">
                  <c:v>32301624</c:v>
                </c:pt>
                <c:pt idx="23098">
                  <c:v>38044466</c:v>
                </c:pt>
                <c:pt idx="23099">
                  <c:v>38775264</c:v>
                </c:pt>
                <c:pt idx="23100">
                  <c:v>9139230</c:v>
                </c:pt>
                <c:pt idx="23101">
                  <c:v>6653274</c:v>
                </c:pt>
                <c:pt idx="23102">
                  <c:v>2549781</c:v>
                </c:pt>
                <c:pt idx="23103">
                  <c:v>18805362</c:v>
                </c:pt>
                <c:pt idx="23104">
                  <c:v>18409911</c:v>
                </c:pt>
                <c:pt idx="23105">
                  <c:v>12592864</c:v>
                </c:pt>
                <c:pt idx="23106">
                  <c:v>208539144</c:v>
                </c:pt>
                <c:pt idx="23107">
                  <c:v>3656488</c:v>
                </c:pt>
                <c:pt idx="23108">
                  <c:v>11818461</c:v>
                </c:pt>
                <c:pt idx="23109">
                  <c:v>51338466</c:v>
                </c:pt>
                <c:pt idx="23110">
                  <c:v>6497392</c:v>
                </c:pt>
                <c:pt idx="23111">
                  <c:v>8255520</c:v>
                </c:pt>
                <c:pt idx="23112">
                  <c:v>6142920</c:v>
                </c:pt>
                <c:pt idx="23113">
                  <c:v>6811002</c:v>
                </c:pt>
                <c:pt idx="23114">
                  <c:v>127567330</c:v>
                </c:pt>
                <c:pt idx="23115">
                  <c:v>61477960</c:v>
                </c:pt>
                <c:pt idx="23116">
                  <c:v>5349186</c:v>
                </c:pt>
                <c:pt idx="23117">
                  <c:v>289782948</c:v>
                </c:pt>
                <c:pt idx="23118">
                  <c:v>34335360</c:v>
                </c:pt>
                <c:pt idx="23119">
                  <c:v>41011602</c:v>
                </c:pt>
                <c:pt idx="23120">
                  <c:v>106826040</c:v>
                </c:pt>
                <c:pt idx="23121">
                  <c:v>21147360</c:v>
                </c:pt>
                <c:pt idx="23122">
                  <c:v>376607712</c:v>
                </c:pt>
                <c:pt idx="23123">
                  <c:v>126455196</c:v>
                </c:pt>
                <c:pt idx="23124">
                  <c:v>39007386</c:v>
                </c:pt>
                <c:pt idx="23125">
                  <c:v>118103895</c:v>
                </c:pt>
                <c:pt idx="23126">
                  <c:v>49617360</c:v>
                </c:pt>
                <c:pt idx="23127">
                  <c:v>11949907</c:v>
                </c:pt>
                <c:pt idx="23128">
                  <c:v>233519700</c:v>
                </c:pt>
                <c:pt idx="23129">
                  <c:v>14888347</c:v>
                </c:pt>
                <c:pt idx="23130">
                  <c:v>81090068</c:v>
                </c:pt>
                <c:pt idx="23131">
                  <c:v>77758690</c:v>
                </c:pt>
                <c:pt idx="23132">
                  <c:v>267968320</c:v>
                </c:pt>
                <c:pt idx="23133">
                  <c:v>24599106</c:v>
                </c:pt>
                <c:pt idx="23134">
                  <c:v>47408724</c:v>
                </c:pt>
                <c:pt idx="23135">
                  <c:v>36954398</c:v>
                </c:pt>
                <c:pt idx="23136">
                  <c:v>124389864</c:v>
                </c:pt>
                <c:pt idx="23137">
                  <c:v>48172804</c:v>
                </c:pt>
                <c:pt idx="23138">
                  <c:v>104692320</c:v>
                </c:pt>
                <c:pt idx="23139">
                  <c:v>36414088</c:v>
                </c:pt>
                <c:pt idx="23140">
                  <c:v>86935796</c:v>
                </c:pt>
                <c:pt idx="23141">
                  <c:v>38668959</c:v>
                </c:pt>
                <c:pt idx="23142">
                  <c:v>29755612</c:v>
                </c:pt>
                <c:pt idx="23143">
                  <c:v>51360975</c:v>
                </c:pt>
                <c:pt idx="23144">
                  <c:v>2858432</c:v>
                </c:pt>
                <c:pt idx="23145">
                  <c:v>25014946</c:v>
                </c:pt>
                <c:pt idx="23146">
                  <c:v>92153088</c:v>
                </c:pt>
                <c:pt idx="23147">
                  <c:v>8226486</c:v>
                </c:pt>
                <c:pt idx="23148">
                  <c:v>61068375</c:v>
                </c:pt>
                <c:pt idx="23149">
                  <c:v>56680848</c:v>
                </c:pt>
                <c:pt idx="23150">
                  <c:v>2101079</c:v>
                </c:pt>
                <c:pt idx="23151">
                  <c:v>2391899</c:v>
                </c:pt>
                <c:pt idx="23152">
                  <c:v>19185285</c:v>
                </c:pt>
                <c:pt idx="23153">
                  <c:v>2779099</c:v>
                </c:pt>
                <c:pt idx="23154">
                  <c:v>740892</c:v>
                </c:pt>
                <c:pt idx="23155">
                  <c:v>236549026</c:v>
                </c:pt>
                <c:pt idx="23156">
                  <c:v>6363063</c:v>
                </c:pt>
                <c:pt idx="23157">
                  <c:v>27881944</c:v>
                </c:pt>
                <c:pt idx="23158">
                  <c:v>267388720</c:v>
                </c:pt>
                <c:pt idx="23159">
                  <c:v>98213855</c:v>
                </c:pt>
                <c:pt idx="23160">
                  <c:v>307485566</c:v>
                </c:pt>
                <c:pt idx="23161">
                  <c:v>41169821</c:v>
                </c:pt>
                <c:pt idx="23162">
                  <c:v>19229720</c:v>
                </c:pt>
                <c:pt idx="23163">
                  <c:v>140362560</c:v>
                </c:pt>
                <c:pt idx="23164">
                  <c:v>198123720</c:v>
                </c:pt>
                <c:pt idx="23165">
                  <c:v>98857656</c:v>
                </c:pt>
                <c:pt idx="23166">
                  <c:v>12724654</c:v>
                </c:pt>
                <c:pt idx="23167">
                  <c:v>46016382</c:v>
                </c:pt>
                <c:pt idx="23168">
                  <c:v>82997460</c:v>
                </c:pt>
                <c:pt idx="23169">
                  <c:v>93435100</c:v>
                </c:pt>
                <c:pt idx="23170">
                  <c:v>794443200</c:v>
                </c:pt>
                <c:pt idx="23171">
                  <c:v>2147483647</c:v>
                </c:pt>
                <c:pt idx="23172">
                  <c:v>1785752969</c:v>
                </c:pt>
                <c:pt idx="23173">
                  <c:v>2147483647</c:v>
                </c:pt>
                <c:pt idx="23174">
                  <c:v>1198919558</c:v>
                </c:pt>
                <c:pt idx="23175">
                  <c:v>1424996824</c:v>
                </c:pt>
                <c:pt idx="23176">
                  <c:v>2147483647</c:v>
                </c:pt>
                <c:pt idx="23177">
                  <c:v>2147483647</c:v>
                </c:pt>
                <c:pt idx="23178">
                  <c:v>648432097</c:v>
                </c:pt>
                <c:pt idx="23179">
                  <c:v>249710598</c:v>
                </c:pt>
                <c:pt idx="23180">
                  <c:v>1760209924</c:v>
                </c:pt>
                <c:pt idx="23181">
                  <c:v>2035760418</c:v>
                </c:pt>
                <c:pt idx="23182">
                  <c:v>2147483647</c:v>
                </c:pt>
                <c:pt idx="23183">
                  <c:v>2147483647</c:v>
                </c:pt>
                <c:pt idx="23184">
                  <c:v>2147483647</c:v>
                </c:pt>
                <c:pt idx="23185">
                  <c:v>1883857068</c:v>
                </c:pt>
                <c:pt idx="23186">
                  <c:v>2147483647</c:v>
                </c:pt>
                <c:pt idx="23187">
                  <c:v>2147483647</c:v>
                </c:pt>
                <c:pt idx="23188">
                  <c:v>2147483647</c:v>
                </c:pt>
                <c:pt idx="23189">
                  <c:v>1742744608</c:v>
                </c:pt>
                <c:pt idx="23190">
                  <c:v>1233697100</c:v>
                </c:pt>
                <c:pt idx="23191">
                  <c:v>1444117974</c:v>
                </c:pt>
                <c:pt idx="23192">
                  <c:v>1608850230</c:v>
                </c:pt>
                <c:pt idx="23193">
                  <c:v>758922751</c:v>
                </c:pt>
                <c:pt idx="23194">
                  <c:v>779944832</c:v>
                </c:pt>
                <c:pt idx="23195">
                  <c:v>1765313730</c:v>
                </c:pt>
                <c:pt idx="23196">
                  <c:v>1640610064</c:v>
                </c:pt>
                <c:pt idx="23197">
                  <c:v>1341655749</c:v>
                </c:pt>
                <c:pt idx="23198">
                  <c:v>1229472180</c:v>
                </c:pt>
                <c:pt idx="23199">
                  <c:v>733875200</c:v>
                </c:pt>
                <c:pt idx="23200">
                  <c:v>2147483647</c:v>
                </c:pt>
                <c:pt idx="23201">
                  <c:v>775540238</c:v>
                </c:pt>
                <c:pt idx="23202">
                  <c:v>2147483647</c:v>
                </c:pt>
                <c:pt idx="23203">
                  <c:v>523731000</c:v>
                </c:pt>
                <c:pt idx="23204">
                  <c:v>139788024</c:v>
                </c:pt>
                <c:pt idx="23205">
                  <c:v>1142114138</c:v>
                </c:pt>
                <c:pt idx="23206">
                  <c:v>1248940506</c:v>
                </c:pt>
                <c:pt idx="23207">
                  <c:v>1378789170</c:v>
                </c:pt>
                <c:pt idx="23208">
                  <c:v>2083703040</c:v>
                </c:pt>
                <c:pt idx="23209">
                  <c:v>477911655</c:v>
                </c:pt>
                <c:pt idx="23210">
                  <c:v>2147483647</c:v>
                </c:pt>
                <c:pt idx="23211">
                  <c:v>2147483647</c:v>
                </c:pt>
                <c:pt idx="23212">
                  <c:v>1440413182</c:v>
                </c:pt>
                <c:pt idx="23213">
                  <c:v>2147483647</c:v>
                </c:pt>
                <c:pt idx="23214">
                  <c:v>2147483647</c:v>
                </c:pt>
                <c:pt idx="23215">
                  <c:v>2147483647</c:v>
                </c:pt>
                <c:pt idx="23216">
                  <c:v>1678561456</c:v>
                </c:pt>
                <c:pt idx="23217">
                  <c:v>1626996768</c:v>
                </c:pt>
                <c:pt idx="23218">
                  <c:v>298414656</c:v>
                </c:pt>
                <c:pt idx="23219">
                  <c:v>1888945520</c:v>
                </c:pt>
                <c:pt idx="23220">
                  <c:v>2066382939</c:v>
                </c:pt>
                <c:pt idx="23221">
                  <c:v>2021804895</c:v>
                </c:pt>
                <c:pt idx="23222">
                  <c:v>1400702601</c:v>
                </c:pt>
                <c:pt idx="23223">
                  <c:v>1496468412</c:v>
                </c:pt>
                <c:pt idx="23224">
                  <c:v>1921491755</c:v>
                </c:pt>
                <c:pt idx="23225">
                  <c:v>1073498076</c:v>
                </c:pt>
                <c:pt idx="23226">
                  <c:v>1266624380</c:v>
                </c:pt>
                <c:pt idx="23227">
                  <c:v>545777622</c:v>
                </c:pt>
                <c:pt idx="23228">
                  <c:v>854681975</c:v>
                </c:pt>
                <c:pt idx="23229">
                  <c:v>2147483647</c:v>
                </c:pt>
                <c:pt idx="23230">
                  <c:v>1015805084</c:v>
                </c:pt>
                <c:pt idx="23231">
                  <c:v>2147483647</c:v>
                </c:pt>
                <c:pt idx="23232">
                  <c:v>11550882</c:v>
                </c:pt>
                <c:pt idx="23233">
                  <c:v>45025416</c:v>
                </c:pt>
                <c:pt idx="23234">
                  <c:v>522523540</c:v>
                </c:pt>
                <c:pt idx="23235">
                  <c:v>1585272052</c:v>
                </c:pt>
                <c:pt idx="23236">
                  <c:v>1628888</c:v>
                </c:pt>
                <c:pt idx="23237">
                  <c:v>130836090</c:v>
                </c:pt>
                <c:pt idx="23238">
                  <c:v>675568880</c:v>
                </c:pt>
                <c:pt idx="23239">
                  <c:v>200011176</c:v>
                </c:pt>
                <c:pt idx="23240">
                  <c:v>1805991756</c:v>
                </c:pt>
                <c:pt idx="23241">
                  <c:v>429863410</c:v>
                </c:pt>
                <c:pt idx="23242">
                  <c:v>181043276</c:v>
                </c:pt>
                <c:pt idx="23243">
                  <c:v>809760600</c:v>
                </c:pt>
                <c:pt idx="23244">
                  <c:v>142316208</c:v>
                </c:pt>
                <c:pt idx="23245">
                  <c:v>156366340</c:v>
                </c:pt>
                <c:pt idx="23246">
                  <c:v>2147483647</c:v>
                </c:pt>
                <c:pt idx="23247">
                  <c:v>62115954</c:v>
                </c:pt>
                <c:pt idx="23248">
                  <c:v>479341997</c:v>
                </c:pt>
                <c:pt idx="23249">
                  <c:v>264349784</c:v>
                </c:pt>
                <c:pt idx="23250">
                  <c:v>648759888</c:v>
                </c:pt>
                <c:pt idx="23251">
                  <c:v>176520609</c:v>
                </c:pt>
                <c:pt idx="23252">
                  <c:v>52818780</c:v>
                </c:pt>
                <c:pt idx="23253">
                  <c:v>609316161</c:v>
                </c:pt>
                <c:pt idx="23254">
                  <c:v>432979085</c:v>
                </c:pt>
                <c:pt idx="23255">
                  <c:v>85061574</c:v>
                </c:pt>
                <c:pt idx="23256">
                  <c:v>625142530</c:v>
                </c:pt>
                <c:pt idx="23257">
                  <c:v>196970771</c:v>
                </c:pt>
                <c:pt idx="23258">
                  <c:v>171869544</c:v>
                </c:pt>
                <c:pt idx="23259">
                  <c:v>1262809002</c:v>
                </c:pt>
                <c:pt idx="23260">
                  <c:v>1594132652</c:v>
                </c:pt>
                <c:pt idx="23261">
                  <c:v>175926388</c:v>
                </c:pt>
                <c:pt idx="23262">
                  <c:v>15090414</c:v>
                </c:pt>
                <c:pt idx="23263">
                  <c:v>1591598890</c:v>
                </c:pt>
                <c:pt idx="23264">
                  <c:v>60806709</c:v>
                </c:pt>
                <c:pt idx="23265">
                  <c:v>481097162</c:v>
                </c:pt>
                <c:pt idx="23266">
                  <c:v>6113214</c:v>
                </c:pt>
                <c:pt idx="23267">
                  <c:v>174786318</c:v>
                </c:pt>
                <c:pt idx="23268">
                  <c:v>494503156</c:v>
                </c:pt>
                <c:pt idx="23269">
                  <c:v>692440628</c:v>
                </c:pt>
                <c:pt idx="23270">
                  <c:v>244083044</c:v>
                </c:pt>
                <c:pt idx="23271">
                  <c:v>6866725</c:v>
                </c:pt>
                <c:pt idx="23272">
                  <c:v>1534921586</c:v>
                </c:pt>
                <c:pt idx="23273">
                  <c:v>218622499</c:v>
                </c:pt>
                <c:pt idx="23274">
                  <c:v>502302720</c:v>
                </c:pt>
                <c:pt idx="23275">
                  <c:v>394751598</c:v>
                </c:pt>
                <c:pt idx="23276">
                  <c:v>96190530</c:v>
                </c:pt>
                <c:pt idx="23277">
                  <c:v>261431576</c:v>
                </c:pt>
                <c:pt idx="23278">
                  <c:v>516716116</c:v>
                </c:pt>
                <c:pt idx="23279">
                  <c:v>816638680</c:v>
                </c:pt>
                <c:pt idx="23280">
                  <c:v>399081305</c:v>
                </c:pt>
                <c:pt idx="23281">
                  <c:v>1266337988</c:v>
                </c:pt>
                <c:pt idx="23282">
                  <c:v>1579356240</c:v>
                </c:pt>
                <c:pt idx="23283">
                  <c:v>152661351</c:v>
                </c:pt>
                <c:pt idx="23284">
                  <c:v>339953904</c:v>
                </c:pt>
                <c:pt idx="23285">
                  <c:v>2147483647</c:v>
                </c:pt>
                <c:pt idx="23286">
                  <c:v>2147483647</c:v>
                </c:pt>
                <c:pt idx="23287">
                  <c:v>2147483647</c:v>
                </c:pt>
                <c:pt idx="23288">
                  <c:v>1252120782</c:v>
                </c:pt>
                <c:pt idx="23289">
                  <c:v>1193676484</c:v>
                </c:pt>
                <c:pt idx="23290">
                  <c:v>120763645</c:v>
                </c:pt>
                <c:pt idx="23291">
                  <c:v>1433977384</c:v>
                </c:pt>
                <c:pt idx="23292">
                  <c:v>438050613</c:v>
                </c:pt>
                <c:pt idx="23293">
                  <c:v>2147483647</c:v>
                </c:pt>
                <c:pt idx="23294">
                  <c:v>418706976</c:v>
                </c:pt>
                <c:pt idx="23295">
                  <c:v>831486610</c:v>
                </c:pt>
                <c:pt idx="23296">
                  <c:v>1278024664</c:v>
                </c:pt>
                <c:pt idx="23297">
                  <c:v>1278363604</c:v>
                </c:pt>
                <c:pt idx="23298">
                  <c:v>1875205056</c:v>
                </c:pt>
                <c:pt idx="23299">
                  <c:v>1312517219</c:v>
                </c:pt>
                <c:pt idx="23300">
                  <c:v>385887900</c:v>
                </c:pt>
                <c:pt idx="23301">
                  <c:v>677668032</c:v>
                </c:pt>
                <c:pt idx="23302">
                  <c:v>2147483647</c:v>
                </c:pt>
                <c:pt idx="23303">
                  <c:v>168836710</c:v>
                </c:pt>
                <c:pt idx="23304">
                  <c:v>1101418785</c:v>
                </c:pt>
                <c:pt idx="23305">
                  <c:v>1613192112</c:v>
                </c:pt>
                <c:pt idx="23306">
                  <c:v>2031150451</c:v>
                </c:pt>
                <c:pt idx="23307">
                  <c:v>2147483647</c:v>
                </c:pt>
                <c:pt idx="23308">
                  <c:v>1286949504</c:v>
                </c:pt>
                <c:pt idx="23309">
                  <c:v>730471005</c:v>
                </c:pt>
                <c:pt idx="23310">
                  <c:v>341194672</c:v>
                </c:pt>
                <c:pt idx="23311">
                  <c:v>1112256783</c:v>
                </c:pt>
                <c:pt idx="23312">
                  <c:v>540928620</c:v>
                </c:pt>
                <c:pt idx="23313">
                  <c:v>412455945</c:v>
                </c:pt>
                <c:pt idx="23314">
                  <c:v>344559397</c:v>
                </c:pt>
                <c:pt idx="23315">
                  <c:v>1456266350</c:v>
                </c:pt>
                <c:pt idx="23316">
                  <c:v>829785990</c:v>
                </c:pt>
                <c:pt idx="23317">
                  <c:v>541804814</c:v>
                </c:pt>
                <c:pt idx="23318">
                  <c:v>1787272012</c:v>
                </c:pt>
                <c:pt idx="23319">
                  <c:v>826793226</c:v>
                </c:pt>
                <c:pt idx="23320">
                  <c:v>77481250</c:v>
                </c:pt>
                <c:pt idx="23321">
                  <c:v>2147483647</c:v>
                </c:pt>
                <c:pt idx="23322">
                  <c:v>469500525</c:v>
                </c:pt>
                <c:pt idx="23323">
                  <c:v>1434214792</c:v>
                </c:pt>
                <c:pt idx="23324">
                  <c:v>372860796</c:v>
                </c:pt>
                <c:pt idx="23325">
                  <c:v>987572920</c:v>
                </c:pt>
                <c:pt idx="23326">
                  <c:v>2147483647</c:v>
                </c:pt>
                <c:pt idx="23327">
                  <c:v>450504656</c:v>
                </c:pt>
                <c:pt idx="23328">
                  <c:v>675905103</c:v>
                </c:pt>
                <c:pt idx="23329">
                  <c:v>757842492</c:v>
                </c:pt>
                <c:pt idx="23330">
                  <c:v>649590538</c:v>
                </c:pt>
                <c:pt idx="23331">
                  <c:v>137752868</c:v>
                </c:pt>
                <c:pt idx="23332">
                  <c:v>16963452</c:v>
                </c:pt>
                <c:pt idx="23333">
                  <c:v>14212800</c:v>
                </c:pt>
                <c:pt idx="23334">
                  <c:v>3479980</c:v>
                </c:pt>
                <c:pt idx="23335">
                  <c:v>86195376</c:v>
                </c:pt>
                <c:pt idx="23336">
                  <c:v>95663556</c:v>
                </c:pt>
                <c:pt idx="23337">
                  <c:v>49215412</c:v>
                </c:pt>
                <c:pt idx="23338">
                  <c:v>399568416</c:v>
                </c:pt>
                <c:pt idx="23339">
                  <c:v>42382680</c:v>
                </c:pt>
                <c:pt idx="23340">
                  <c:v>100289502</c:v>
                </c:pt>
                <c:pt idx="23341">
                  <c:v>82230084</c:v>
                </c:pt>
                <c:pt idx="23342">
                  <c:v>117451712</c:v>
                </c:pt>
                <c:pt idx="23343">
                  <c:v>74940216</c:v>
                </c:pt>
                <c:pt idx="23344">
                  <c:v>219801338</c:v>
                </c:pt>
                <c:pt idx="23345">
                  <c:v>50749270</c:v>
                </c:pt>
                <c:pt idx="23346">
                  <c:v>85189106</c:v>
                </c:pt>
                <c:pt idx="23347">
                  <c:v>95426450</c:v>
                </c:pt>
                <c:pt idx="23348">
                  <c:v>24189618</c:v>
                </c:pt>
                <c:pt idx="23349">
                  <c:v>49273714</c:v>
                </c:pt>
                <c:pt idx="23350">
                  <c:v>34452656</c:v>
                </c:pt>
                <c:pt idx="23351">
                  <c:v>33630800</c:v>
                </c:pt>
                <c:pt idx="23352">
                  <c:v>27642930</c:v>
                </c:pt>
                <c:pt idx="23353">
                  <c:v>252808992</c:v>
                </c:pt>
                <c:pt idx="23354">
                  <c:v>321578397</c:v>
                </c:pt>
                <c:pt idx="23355">
                  <c:v>105288174</c:v>
                </c:pt>
                <c:pt idx="23356">
                  <c:v>40000995</c:v>
                </c:pt>
                <c:pt idx="23357">
                  <c:v>26783498</c:v>
                </c:pt>
                <c:pt idx="23358">
                  <c:v>28729296</c:v>
                </c:pt>
                <c:pt idx="23359">
                  <c:v>17706195</c:v>
                </c:pt>
                <c:pt idx="23360">
                  <c:v>30285180</c:v>
                </c:pt>
                <c:pt idx="23361">
                  <c:v>151728612</c:v>
                </c:pt>
                <c:pt idx="23362">
                  <c:v>86850426</c:v>
                </c:pt>
                <c:pt idx="23363">
                  <c:v>583862270</c:v>
                </c:pt>
                <c:pt idx="23364">
                  <c:v>591692212</c:v>
                </c:pt>
                <c:pt idx="23365">
                  <c:v>178853488</c:v>
                </c:pt>
                <c:pt idx="23366">
                  <c:v>170335816</c:v>
                </c:pt>
                <c:pt idx="23367">
                  <c:v>516212460</c:v>
                </c:pt>
                <c:pt idx="23368">
                  <c:v>313251594</c:v>
                </c:pt>
                <c:pt idx="23369">
                  <c:v>30460988</c:v>
                </c:pt>
                <c:pt idx="23370">
                  <c:v>13017992</c:v>
                </c:pt>
                <c:pt idx="23371">
                  <c:v>6927444</c:v>
                </c:pt>
                <c:pt idx="23372">
                  <c:v>59321295</c:v>
                </c:pt>
                <c:pt idx="23373">
                  <c:v>114119622</c:v>
                </c:pt>
                <c:pt idx="23374">
                  <c:v>126069510</c:v>
                </c:pt>
                <c:pt idx="23375">
                  <c:v>460538195</c:v>
                </c:pt>
                <c:pt idx="23376">
                  <c:v>50175781</c:v>
                </c:pt>
                <c:pt idx="23377">
                  <c:v>24826172</c:v>
                </c:pt>
                <c:pt idx="23378">
                  <c:v>57255360</c:v>
                </c:pt>
                <c:pt idx="23379">
                  <c:v>79392248</c:v>
                </c:pt>
                <c:pt idx="23380">
                  <c:v>10386640</c:v>
                </c:pt>
                <c:pt idx="23381">
                  <c:v>706938750</c:v>
                </c:pt>
                <c:pt idx="23382">
                  <c:v>96791181</c:v>
                </c:pt>
                <c:pt idx="23383">
                  <c:v>29772480</c:v>
                </c:pt>
                <c:pt idx="23384">
                  <c:v>17856426</c:v>
                </c:pt>
                <c:pt idx="23385">
                  <c:v>28203888</c:v>
                </c:pt>
                <c:pt idx="23386">
                  <c:v>104905675</c:v>
                </c:pt>
                <c:pt idx="23387">
                  <c:v>157550250</c:v>
                </c:pt>
                <c:pt idx="23388">
                  <c:v>11597874</c:v>
                </c:pt>
                <c:pt idx="23389">
                  <c:v>10764180</c:v>
                </c:pt>
                <c:pt idx="23390">
                  <c:v>312694548</c:v>
                </c:pt>
                <c:pt idx="23391">
                  <c:v>311454093</c:v>
                </c:pt>
                <c:pt idx="23392">
                  <c:v>98639640</c:v>
                </c:pt>
                <c:pt idx="23393">
                  <c:v>113078511</c:v>
                </c:pt>
                <c:pt idx="23394">
                  <c:v>817578816</c:v>
                </c:pt>
                <c:pt idx="23395">
                  <c:v>1038845512</c:v>
                </c:pt>
                <c:pt idx="23396">
                  <c:v>21983460</c:v>
                </c:pt>
                <c:pt idx="23397">
                  <c:v>314427879</c:v>
                </c:pt>
                <c:pt idx="23398">
                  <c:v>46978299</c:v>
                </c:pt>
                <c:pt idx="23399">
                  <c:v>37711940</c:v>
                </c:pt>
                <c:pt idx="23400">
                  <c:v>28691442</c:v>
                </c:pt>
                <c:pt idx="23401">
                  <c:v>47198080</c:v>
                </c:pt>
                <c:pt idx="23402">
                  <c:v>126991224</c:v>
                </c:pt>
                <c:pt idx="23403">
                  <c:v>24195456</c:v>
                </c:pt>
                <c:pt idx="23404">
                  <c:v>117009648</c:v>
                </c:pt>
                <c:pt idx="23405">
                  <c:v>76689790</c:v>
                </c:pt>
                <c:pt idx="23406">
                  <c:v>14497866</c:v>
                </c:pt>
                <c:pt idx="23407">
                  <c:v>104324362</c:v>
                </c:pt>
                <c:pt idx="23408">
                  <c:v>71088098</c:v>
                </c:pt>
                <c:pt idx="23409">
                  <c:v>75756000</c:v>
                </c:pt>
                <c:pt idx="23410">
                  <c:v>248467680</c:v>
                </c:pt>
                <c:pt idx="23411">
                  <c:v>71700370</c:v>
                </c:pt>
                <c:pt idx="23412">
                  <c:v>84927042</c:v>
                </c:pt>
                <c:pt idx="23413">
                  <c:v>30531808</c:v>
                </c:pt>
                <c:pt idx="23414">
                  <c:v>427132928</c:v>
                </c:pt>
                <c:pt idx="23415">
                  <c:v>504662256</c:v>
                </c:pt>
                <c:pt idx="23416">
                  <c:v>191454312</c:v>
                </c:pt>
                <c:pt idx="23417">
                  <c:v>851238234</c:v>
                </c:pt>
                <c:pt idx="23418">
                  <c:v>1302899147</c:v>
                </c:pt>
                <c:pt idx="23419">
                  <c:v>66043860</c:v>
                </c:pt>
                <c:pt idx="23420">
                  <c:v>84346704</c:v>
                </c:pt>
                <c:pt idx="23421">
                  <c:v>385943231</c:v>
                </c:pt>
                <c:pt idx="23422">
                  <c:v>114565815</c:v>
                </c:pt>
                <c:pt idx="23423">
                  <c:v>49348926</c:v>
                </c:pt>
                <c:pt idx="23424">
                  <c:v>178968000</c:v>
                </c:pt>
                <c:pt idx="23425">
                  <c:v>55684809</c:v>
                </c:pt>
                <c:pt idx="23426">
                  <c:v>282412364</c:v>
                </c:pt>
                <c:pt idx="23427">
                  <c:v>324504685</c:v>
                </c:pt>
                <c:pt idx="23428">
                  <c:v>347854290</c:v>
                </c:pt>
                <c:pt idx="23429">
                  <c:v>39040263</c:v>
                </c:pt>
                <c:pt idx="23430">
                  <c:v>286434487</c:v>
                </c:pt>
                <c:pt idx="23431">
                  <c:v>64683833</c:v>
                </c:pt>
                <c:pt idx="23432">
                  <c:v>367802105</c:v>
                </c:pt>
                <c:pt idx="23433">
                  <c:v>345076992</c:v>
                </c:pt>
                <c:pt idx="23434">
                  <c:v>87919733</c:v>
                </c:pt>
                <c:pt idx="23435">
                  <c:v>192635160</c:v>
                </c:pt>
                <c:pt idx="23436">
                  <c:v>64169580</c:v>
                </c:pt>
                <c:pt idx="23437">
                  <c:v>630897360</c:v>
                </c:pt>
                <c:pt idx="23438">
                  <c:v>37465824</c:v>
                </c:pt>
                <c:pt idx="23439">
                  <c:v>52364984</c:v>
                </c:pt>
                <c:pt idx="23440">
                  <c:v>19778058</c:v>
                </c:pt>
                <c:pt idx="23441">
                  <c:v>348228144</c:v>
                </c:pt>
                <c:pt idx="23442">
                  <c:v>462521880</c:v>
                </c:pt>
                <c:pt idx="23443">
                  <c:v>90824076</c:v>
                </c:pt>
                <c:pt idx="23444">
                  <c:v>18050304</c:v>
                </c:pt>
                <c:pt idx="23445">
                  <c:v>78777050</c:v>
                </c:pt>
                <c:pt idx="23446">
                  <c:v>169519648</c:v>
                </c:pt>
                <c:pt idx="23447">
                  <c:v>321724676</c:v>
                </c:pt>
                <c:pt idx="23448">
                  <c:v>129016500</c:v>
                </c:pt>
                <c:pt idx="23449">
                  <c:v>114739331</c:v>
                </c:pt>
                <c:pt idx="23450">
                  <c:v>207874436</c:v>
                </c:pt>
                <c:pt idx="23451">
                  <c:v>923854240</c:v>
                </c:pt>
                <c:pt idx="23452">
                  <c:v>445542456</c:v>
                </c:pt>
                <c:pt idx="23453">
                  <c:v>1645418610</c:v>
                </c:pt>
                <c:pt idx="23454">
                  <c:v>181086235</c:v>
                </c:pt>
                <c:pt idx="23455">
                  <c:v>214340337</c:v>
                </c:pt>
                <c:pt idx="23456">
                  <c:v>508778515</c:v>
                </c:pt>
                <c:pt idx="23457">
                  <c:v>221437640</c:v>
                </c:pt>
                <c:pt idx="23458">
                  <c:v>176724332</c:v>
                </c:pt>
                <c:pt idx="23459">
                  <c:v>116037699</c:v>
                </c:pt>
                <c:pt idx="23460">
                  <c:v>423299936</c:v>
                </c:pt>
                <c:pt idx="23461">
                  <c:v>193627498</c:v>
                </c:pt>
                <c:pt idx="23462">
                  <c:v>245982300</c:v>
                </c:pt>
                <c:pt idx="23463">
                  <c:v>104787902</c:v>
                </c:pt>
                <c:pt idx="23464">
                  <c:v>163203534</c:v>
                </c:pt>
                <c:pt idx="23465">
                  <c:v>455702382</c:v>
                </c:pt>
                <c:pt idx="23466">
                  <c:v>262892371</c:v>
                </c:pt>
                <c:pt idx="23467">
                  <c:v>92722448</c:v>
                </c:pt>
                <c:pt idx="23468">
                  <c:v>590597697</c:v>
                </c:pt>
                <c:pt idx="23469">
                  <c:v>157295262</c:v>
                </c:pt>
                <c:pt idx="23470">
                  <c:v>5277976</c:v>
                </c:pt>
                <c:pt idx="23471">
                  <c:v>248742585</c:v>
                </c:pt>
                <c:pt idx="23472">
                  <c:v>602033082</c:v>
                </c:pt>
                <c:pt idx="23473">
                  <c:v>109190090</c:v>
                </c:pt>
                <c:pt idx="23474">
                  <c:v>733094400</c:v>
                </c:pt>
                <c:pt idx="23475">
                  <c:v>410783155</c:v>
                </c:pt>
                <c:pt idx="23476">
                  <c:v>88383624</c:v>
                </c:pt>
                <c:pt idx="23477">
                  <c:v>11843916</c:v>
                </c:pt>
                <c:pt idx="23478">
                  <c:v>238018040</c:v>
                </c:pt>
                <c:pt idx="23479">
                  <c:v>17126508</c:v>
                </c:pt>
                <c:pt idx="23480">
                  <c:v>236931768</c:v>
                </c:pt>
                <c:pt idx="23481">
                  <c:v>241240744</c:v>
                </c:pt>
                <c:pt idx="23482">
                  <c:v>110581614</c:v>
                </c:pt>
                <c:pt idx="23483">
                  <c:v>487727240</c:v>
                </c:pt>
                <c:pt idx="23484">
                  <c:v>74221022</c:v>
                </c:pt>
                <c:pt idx="23485">
                  <c:v>376483840</c:v>
                </c:pt>
                <c:pt idx="23486">
                  <c:v>348531505</c:v>
                </c:pt>
                <c:pt idx="23487">
                  <c:v>121665517</c:v>
                </c:pt>
                <c:pt idx="23488">
                  <c:v>84304947</c:v>
                </c:pt>
                <c:pt idx="23489">
                  <c:v>290808408</c:v>
                </c:pt>
                <c:pt idx="23490">
                  <c:v>12709411</c:v>
                </c:pt>
                <c:pt idx="23491">
                  <c:v>160107655</c:v>
                </c:pt>
                <c:pt idx="23492">
                  <c:v>211542903</c:v>
                </c:pt>
                <c:pt idx="23493">
                  <c:v>120472101</c:v>
                </c:pt>
                <c:pt idx="23494">
                  <c:v>66090576</c:v>
                </c:pt>
                <c:pt idx="23495">
                  <c:v>92031264</c:v>
                </c:pt>
                <c:pt idx="23496">
                  <c:v>31927574</c:v>
                </c:pt>
                <c:pt idx="23497">
                  <c:v>1348394</c:v>
                </c:pt>
                <c:pt idx="23498">
                  <c:v>52637760</c:v>
                </c:pt>
                <c:pt idx="23499">
                  <c:v>27880834</c:v>
                </c:pt>
                <c:pt idx="23500">
                  <c:v>23082871</c:v>
                </c:pt>
                <c:pt idx="23501">
                  <c:v>67448200</c:v>
                </c:pt>
                <c:pt idx="23502">
                  <c:v>82386888</c:v>
                </c:pt>
                <c:pt idx="23503">
                  <c:v>118448100</c:v>
                </c:pt>
                <c:pt idx="23504">
                  <c:v>43791286</c:v>
                </c:pt>
                <c:pt idx="23505">
                  <c:v>266173335</c:v>
                </c:pt>
                <c:pt idx="23506">
                  <c:v>696663776</c:v>
                </c:pt>
                <c:pt idx="23507">
                  <c:v>881594256</c:v>
                </c:pt>
                <c:pt idx="23508">
                  <c:v>79678536</c:v>
                </c:pt>
                <c:pt idx="23509">
                  <c:v>35125902</c:v>
                </c:pt>
                <c:pt idx="23510">
                  <c:v>14359800</c:v>
                </c:pt>
                <c:pt idx="23511">
                  <c:v>42182865</c:v>
                </c:pt>
                <c:pt idx="23512">
                  <c:v>36394740</c:v>
                </c:pt>
                <c:pt idx="23513">
                  <c:v>60798016</c:v>
                </c:pt>
                <c:pt idx="23514">
                  <c:v>37696310</c:v>
                </c:pt>
                <c:pt idx="23515">
                  <c:v>30813192</c:v>
                </c:pt>
                <c:pt idx="23516">
                  <c:v>297155538</c:v>
                </c:pt>
                <c:pt idx="23517">
                  <c:v>21091389</c:v>
                </c:pt>
                <c:pt idx="23518">
                  <c:v>29878092</c:v>
                </c:pt>
                <c:pt idx="23519">
                  <c:v>56155728</c:v>
                </c:pt>
                <c:pt idx="23520">
                  <c:v>102737804</c:v>
                </c:pt>
                <c:pt idx="23521">
                  <c:v>150232320</c:v>
                </c:pt>
                <c:pt idx="23522">
                  <c:v>52623316</c:v>
                </c:pt>
                <c:pt idx="23523">
                  <c:v>23586946</c:v>
                </c:pt>
                <c:pt idx="23524">
                  <c:v>104835126</c:v>
                </c:pt>
                <c:pt idx="23525">
                  <c:v>192444170</c:v>
                </c:pt>
                <c:pt idx="23526">
                  <c:v>193600050</c:v>
                </c:pt>
                <c:pt idx="23527">
                  <c:v>377779962</c:v>
                </c:pt>
                <c:pt idx="23528">
                  <c:v>62373006</c:v>
                </c:pt>
                <c:pt idx="23529">
                  <c:v>172572997</c:v>
                </c:pt>
                <c:pt idx="23530">
                  <c:v>14512575</c:v>
                </c:pt>
                <c:pt idx="23531">
                  <c:v>14049675</c:v>
                </c:pt>
                <c:pt idx="23532">
                  <c:v>385754340</c:v>
                </c:pt>
                <c:pt idx="23533">
                  <c:v>453572700</c:v>
                </c:pt>
                <c:pt idx="23534">
                  <c:v>616750431</c:v>
                </c:pt>
                <c:pt idx="23535">
                  <c:v>83474160</c:v>
                </c:pt>
                <c:pt idx="23536">
                  <c:v>46441890</c:v>
                </c:pt>
                <c:pt idx="23537">
                  <c:v>105837804</c:v>
                </c:pt>
                <c:pt idx="23538">
                  <c:v>155366232</c:v>
                </c:pt>
                <c:pt idx="23539">
                  <c:v>78925440</c:v>
                </c:pt>
                <c:pt idx="23540">
                  <c:v>61821738</c:v>
                </c:pt>
                <c:pt idx="23541">
                  <c:v>81313712</c:v>
                </c:pt>
                <c:pt idx="23542">
                  <c:v>28839517</c:v>
                </c:pt>
                <c:pt idx="23543">
                  <c:v>4768914</c:v>
                </c:pt>
                <c:pt idx="23544">
                  <c:v>220166235</c:v>
                </c:pt>
                <c:pt idx="23545">
                  <c:v>59035581</c:v>
                </c:pt>
                <c:pt idx="23546">
                  <c:v>1222503354</c:v>
                </c:pt>
                <c:pt idx="23547">
                  <c:v>1036506625</c:v>
                </c:pt>
                <c:pt idx="23548">
                  <c:v>294420392</c:v>
                </c:pt>
                <c:pt idx="23549">
                  <c:v>902188165</c:v>
                </c:pt>
                <c:pt idx="23550">
                  <c:v>1136616936</c:v>
                </c:pt>
                <c:pt idx="23551">
                  <c:v>534789976</c:v>
                </c:pt>
                <c:pt idx="23552">
                  <c:v>879811540</c:v>
                </c:pt>
                <c:pt idx="23553">
                  <c:v>577518102</c:v>
                </c:pt>
                <c:pt idx="23554">
                  <c:v>1082397585</c:v>
                </c:pt>
                <c:pt idx="23555">
                  <c:v>1066347474</c:v>
                </c:pt>
                <c:pt idx="23556">
                  <c:v>686821923</c:v>
                </c:pt>
                <c:pt idx="23557">
                  <c:v>490478054</c:v>
                </c:pt>
                <c:pt idx="23558">
                  <c:v>1208545920</c:v>
                </c:pt>
                <c:pt idx="23559">
                  <c:v>1671513822</c:v>
                </c:pt>
                <c:pt idx="23560">
                  <c:v>744252750</c:v>
                </c:pt>
                <c:pt idx="23561">
                  <c:v>1104325467</c:v>
                </c:pt>
                <c:pt idx="23562">
                  <c:v>1449572548</c:v>
                </c:pt>
                <c:pt idx="23563">
                  <c:v>438682561</c:v>
                </c:pt>
                <c:pt idx="23564">
                  <c:v>222641460</c:v>
                </c:pt>
                <c:pt idx="23565">
                  <c:v>2147483647</c:v>
                </c:pt>
                <c:pt idx="23566">
                  <c:v>445461640</c:v>
                </c:pt>
                <c:pt idx="23567">
                  <c:v>777326000</c:v>
                </c:pt>
                <c:pt idx="23568">
                  <c:v>2100760732</c:v>
                </c:pt>
                <c:pt idx="23569">
                  <c:v>120379194</c:v>
                </c:pt>
                <c:pt idx="23570">
                  <c:v>927834453</c:v>
                </c:pt>
                <c:pt idx="23571">
                  <c:v>1577755305</c:v>
                </c:pt>
                <c:pt idx="23572">
                  <c:v>851419619</c:v>
                </c:pt>
                <c:pt idx="23573">
                  <c:v>17286333</c:v>
                </c:pt>
                <c:pt idx="23574">
                  <c:v>235059350</c:v>
                </c:pt>
                <c:pt idx="23575">
                  <c:v>213384402</c:v>
                </c:pt>
                <c:pt idx="23576">
                  <c:v>833731362</c:v>
                </c:pt>
                <c:pt idx="23577">
                  <c:v>1357306705</c:v>
                </c:pt>
                <c:pt idx="23578">
                  <c:v>217394099</c:v>
                </c:pt>
                <c:pt idx="23579">
                  <c:v>2147483647</c:v>
                </c:pt>
                <c:pt idx="23580">
                  <c:v>1258501180</c:v>
                </c:pt>
                <c:pt idx="23581">
                  <c:v>824399988</c:v>
                </c:pt>
                <c:pt idx="23582">
                  <c:v>538344450</c:v>
                </c:pt>
                <c:pt idx="23583">
                  <c:v>94471400</c:v>
                </c:pt>
                <c:pt idx="23584">
                  <c:v>545090796</c:v>
                </c:pt>
                <c:pt idx="23585">
                  <c:v>85701126</c:v>
                </c:pt>
                <c:pt idx="23586">
                  <c:v>322802540</c:v>
                </c:pt>
                <c:pt idx="23587">
                  <c:v>2147483647</c:v>
                </c:pt>
                <c:pt idx="23588">
                  <c:v>64042056</c:v>
                </c:pt>
                <c:pt idx="23589">
                  <c:v>1757459430</c:v>
                </c:pt>
                <c:pt idx="23590">
                  <c:v>145953262</c:v>
                </c:pt>
                <c:pt idx="23591">
                  <c:v>475454905</c:v>
                </c:pt>
                <c:pt idx="23592">
                  <c:v>131794936</c:v>
                </c:pt>
                <c:pt idx="23593">
                  <c:v>232438966</c:v>
                </c:pt>
                <c:pt idx="23594">
                  <c:v>279431092</c:v>
                </c:pt>
                <c:pt idx="23595">
                  <c:v>690464511</c:v>
                </c:pt>
                <c:pt idx="23596">
                  <c:v>267294063</c:v>
                </c:pt>
                <c:pt idx="23597">
                  <c:v>363070700</c:v>
                </c:pt>
                <c:pt idx="23598">
                  <c:v>598942053</c:v>
                </c:pt>
                <c:pt idx="23599">
                  <c:v>1296935640</c:v>
                </c:pt>
                <c:pt idx="23600">
                  <c:v>528650934</c:v>
                </c:pt>
                <c:pt idx="23601">
                  <c:v>2147483647</c:v>
                </c:pt>
                <c:pt idx="23602">
                  <c:v>87127008</c:v>
                </c:pt>
                <c:pt idx="23603">
                  <c:v>366528438</c:v>
                </c:pt>
                <c:pt idx="23604">
                  <c:v>374101452</c:v>
                </c:pt>
                <c:pt idx="23605">
                  <c:v>424664836</c:v>
                </c:pt>
                <c:pt idx="23606">
                  <c:v>358855302</c:v>
                </c:pt>
                <c:pt idx="23607">
                  <c:v>629181081</c:v>
                </c:pt>
                <c:pt idx="23608">
                  <c:v>1863305499</c:v>
                </c:pt>
                <c:pt idx="23609">
                  <c:v>1462219935</c:v>
                </c:pt>
                <c:pt idx="23610">
                  <c:v>1489664688</c:v>
                </c:pt>
                <c:pt idx="23611">
                  <c:v>921542160</c:v>
                </c:pt>
                <c:pt idx="23612">
                  <c:v>455314922</c:v>
                </c:pt>
                <c:pt idx="23613">
                  <c:v>1162259840</c:v>
                </c:pt>
                <c:pt idx="23614">
                  <c:v>661501776</c:v>
                </c:pt>
                <c:pt idx="23615">
                  <c:v>312093250</c:v>
                </c:pt>
                <c:pt idx="23616">
                  <c:v>1678296025</c:v>
                </c:pt>
                <c:pt idx="23617">
                  <c:v>674462715</c:v>
                </c:pt>
                <c:pt idx="23618">
                  <c:v>587953940</c:v>
                </c:pt>
                <c:pt idx="23619">
                  <c:v>760192660</c:v>
                </c:pt>
                <c:pt idx="23620">
                  <c:v>667435496</c:v>
                </c:pt>
                <c:pt idx="23621">
                  <c:v>1189662847</c:v>
                </c:pt>
                <c:pt idx="23622">
                  <c:v>1165650378</c:v>
                </c:pt>
                <c:pt idx="23623">
                  <c:v>1646067987</c:v>
                </c:pt>
                <c:pt idx="23624">
                  <c:v>1232384580</c:v>
                </c:pt>
                <c:pt idx="23625">
                  <c:v>1522652068</c:v>
                </c:pt>
                <c:pt idx="23626">
                  <c:v>750885800</c:v>
                </c:pt>
                <c:pt idx="23627">
                  <c:v>699154184</c:v>
                </c:pt>
                <c:pt idx="23628">
                  <c:v>2005985884</c:v>
                </c:pt>
                <c:pt idx="23629">
                  <c:v>723978875</c:v>
                </c:pt>
                <c:pt idx="23630">
                  <c:v>701350110</c:v>
                </c:pt>
                <c:pt idx="23631">
                  <c:v>239316908</c:v>
                </c:pt>
                <c:pt idx="23632">
                  <c:v>852101090</c:v>
                </c:pt>
                <c:pt idx="23633">
                  <c:v>2147483647</c:v>
                </c:pt>
                <c:pt idx="23634">
                  <c:v>1227771059</c:v>
                </c:pt>
                <c:pt idx="23635">
                  <c:v>1463747576</c:v>
                </c:pt>
                <c:pt idx="23636">
                  <c:v>534361620</c:v>
                </c:pt>
                <c:pt idx="23637">
                  <c:v>599072012</c:v>
                </c:pt>
                <c:pt idx="23638">
                  <c:v>621653854</c:v>
                </c:pt>
                <c:pt idx="23639">
                  <c:v>904997366</c:v>
                </c:pt>
                <c:pt idx="23640">
                  <c:v>777001120</c:v>
                </c:pt>
                <c:pt idx="23641">
                  <c:v>1862363830</c:v>
                </c:pt>
                <c:pt idx="23642">
                  <c:v>116055010</c:v>
                </c:pt>
                <c:pt idx="23643">
                  <c:v>2024037377</c:v>
                </c:pt>
                <c:pt idx="23644">
                  <c:v>1789363791</c:v>
                </c:pt>
                <c:pt idx="23645">
                  <c:v>39286440</c:v>
                </c:pt>
                <c:pt idx="23646">
                  <c:v>310999656</c:v>
                </c:pt>
                <c:pt idx="23647">
                  <c:v>119267931</c:v>
                </c:pt>
                <c:pt idx="23648">
                  <c:v>710341422</c:v>
                </c:pt>
                <c:pt idx="23649">
                  <c:v>12802752</c:v>
                </c:pt>
                <c:pt idx="23650">
                  <c:v>35837634</c:v>
                </c:pt>
                <c:pt idx="23651">
                  <c:v>916501782</c:v>
                </c:pt>
                <c:pt idx="23652">
                  <c:v>2147483647</c:v>
                </c:pt>
                <c:pt idx="23653">
                  <c:v>51679680</c:v>
                </c:pt>
                <c:pt idx="23654">
                  <c:v>666967080</c:v>
                </c:pt>
                <c:pt idx="23655">
                  <c:v>2147483647</c:v>
                </c:pt>
                <c:pt idx="23656">
                  <c:v>304709504</c:v>
                </c:pt>
                <c:pt idx="23657">
                  <c:v>42615518</c:v>
                </c:pt>
                <c:pt idx="23658">
                  <c:v>19836228</c:v>
                </c:pt>
                <c:pt idx="23659">
                  <c:v>98729455</c:v>
                </c:pt>
                <c:pt idx="23660">
                  <c:v>137335928</c:v>
                </c:pt>
                <c:pt idx="23661">
                  <c:v>272801600</c:v>
                </c:pt>
                <c:pt idx="23662">
                  <c:v>175811268</c:v>
                </c:pt>
                <c:pt idx="23663">
                  <c:v>6612840</c:v>
                </c:pt>
                <c:pt idx="23664">
                  <c:v>2147483647</c:v>
                </c:pt>
                <c:pt idx="23665">
                  <c:v>54692330</c:v>
                </c:pt>
                <c:pt idx="23666">
                  <c:v>54502455</c:v>
                </c:pt>
                <c:pt idx="23667">
                  <c:v>656815485</c:v>
                </c:pt>
                <c:pt idx="23668">
                  <c:v>64049348</c:v>
                </c:pt>
                <c:pt idx="23669">
                  <c:v>67622180</c:v>
                </c:pt>
                <c:pt idx="23670">
                  <c:v>204686664</c:v>
                </c:pt>
                <c:pt idx="23671">
                  <c:v>414577986</c:v>
                </c:pt>
                <c:pt idx="23672">
                  <c:v>258598380</c:v>
                </c:pt>
                <c:pt idx="23673">
                  <c:v>363045921</c:v>
                </c:pt>
                <c:pt idx="23674">
                  <c:v>153024648</c:v>
                </c:pt>
                <c:pt idx="23675">
                  <c:v>325369134</c:v>
                </c:pt>
                <c:pt idx="23676">
                  <c:v>690125106</c:v>
                </c:pt>
                <c:pt idx="23677">
                  <c:v>376260362</c:v>
                </c:pt>
                <c:pt idx="23678">
                  <c:v>671811712</c:v>
                </c:pt>
                <c:pt idx="23679">
                  <c:v>54719350</c:v>
                </c:pt>
                <c:pt idx="23680">
                  <c:v>341024684</c:v>
                </c:pt>
                <c:pt idx="23681">
                  <c:v>14985860</c:v>
                </c:pt>
                <c:pt idx="23682">
                  <c:v>76321085</c:v>
                </c:pt>
                <c:pt idx="23683">
                  <c:v>7068914</c:v>
                </c:pt>
                <c:pt idx="23684">
                  <c:v>142150618</c:v>
                </c:pt>
                <c:pt idx="23685">
                  <c:v>63848856</c:v>
                </c:pt>
                <c:pt idx="23686">
                  <c:v>300224586</c:v>
                </c:pt>
                <c:pt idx="23687">
                  <c:v>10987636</c:v>
                </c:pt>
                <c:pt idx="23688">
                  <c:v>39812642</c:v>
                </c:pt>
                <c:pt idx="23689">
                  <c:v>28765826</c:v>
                </c:pt>
                <c:pt idx="23690">
                  <c:v>90705508</c:v>
                </c:pt>
                <c:pt idx="23691">
                  <c:v>12051000</c:v>
                </c:pt>
                <c:pt idx="23692">
                  <c:v>15741180</c:v>
                </c:pt>
                <c:pt idx="23693">
                  <c:v>91163490</c:v>
                </c:pt>
                <c:pt idx="23694">
                  <c:v>253755474</c:v>
                </c:pt>
                <c:pt idx="23695">
                  <c:v>5301560</c:v>
                </c:pt>
                <c:pt idx="23696">
                  <c:v>48423382</c:v>
                </c:pt>
                <c:pt idx="23697">
                  <c:v>809834058</c:v>
                </c:pt>
                <c:pt idx="23698">
                  <c:v>204316515</c:v>
                </c:pt>
                <c:pt idx="23699">
                  <c:v>311813208</c:v>
                </c:pt>
                <c:pt idx="23700">
                  <c:v>21688404</c:v>
                </c:pt>
                <c:pt idx="23701">
                  <c:v>77375904</c:v>
                </c:pt>
                <c:pt idx="23702">
                  <c:v>118467394</c:v>
                </c:pt>
                <c:pt idx="23703">
                  <c:v>26602810</c:v>
                </c:pt>
                <c:pt idx="23704">
                  <c:v>71726491</c:v>
                </c:pt>
                <c:pt idx="23705">
                  <c:v>10548868</c:v>
                </c:pt>
                <c:pt idx="23706">
                  <c:v>161448615</c:v>
                </c:pt>
                <c:pt idx="23707">
                  <c:v>193732850</c:v>
                </c:pt>
                <c:pt idx="23708">
                  <c:v>46586265</c:v>
                </c:pt>
                <c:pt idx="23709">
                  <c:v>86436382</c:v>
                </c:pt>
                <c:pt idx="23710">
                  <c:v>253980331</c:v>
                </c:pt>
                <c:pt idx="23711">
                  <c:v>169212876</c:v>
                </c:pt>
                <c:pt idx="23712">
                  <c:v>105325353</c:v>
                </c:pt>
                <c:pt idx="23713">
                  <c:v>448187187</c:v>
                </c:pt>
                <c:pt idx="23714">
                  <c:v>70985880</c:v>
                </c:pt>
                <c:pt idx="23715">
                  <c:v>31364040</c:v>
                </c:pt>
                <c:pt idx="23716">
                  <c:v>21843276</c:v>
                </c:pt>
                <c:pt idx="23717">
                  <c:v>105251336</c:v>
                </c:pt>
                <c:pt idx="23718">
                  <c:v>141630127</c:v>
                </c:pt>
                <c:pt idx="23719">
                  <c:v>9501840</c:v>
                </c:pt>
                <c:pt idx="23720">
                  <c:v>172104552</c:v>
                </c:pt>
                <c:pt idx="23721">
                  <c:v>15137820</c:v>
                </c:pt>
                <c:pt idx="23722">
                  <c:v>10309798</c:v>
                </c:pt>
                <c:pt idx="23723">
                  <c:v>71668009</c:v>
                </c:pt>
                <c:pt idx="23724">
                  <c:v>39562978</c:v>
                </c:pt>
                <c:pt idx="23725">
                  <c:v>45019098</c:v>
                </c:pt>
                <c:pt idx="23726">
                  <c:v>6862960</c:v>
                </c:pt>
                <c:pt idx="23727">
                  <c:v>19878831</c:v>
                </c:pt>
                <c:pt idx="23728">
                  <c:v>103038254</c:v>
                </c:pt>
                <c:pt idx="23729">
                  <c:v>26578285</c:v>
                </c:pt>
                <c:pt idx="23730">
                  <c:v>27224685</c:v>
                </c:pt>
                <c:pt idx="23731">
                  <c:v>5831496</c:v>
                </c:pt>
                <c:pt idx="23732">
                  <c:v>29477814</c:v>
                </c:pt>
                <c:pt idx="23733">
                  <c:v>79774597</c:v>
                </c:pt>
                <c:pt idx="23734">
                  <c:v>13274860</c:v>
                </c:pt>
                <c:pt idx="23735">
                  <c:v>431926335</c:v>
                </c:pt>
                <c:pt idx="23736">
                  <c:v>1536879456</c:v>
                </c:pt>
                <c:pt idx="23737">
                  <c:v>520088112</c:v>
                </c:pt>
                <c:pt idx="23738">
                  <c:v>61600696</c:v>
                </c:pt>
                <c:pt idx="23739">
                  <c:v>1394226270</c:v>
                </c:pt>
                <c:pt idx="23740">
                  <c:v>31773618</c:v>
                </c:pt>
                <c:pt idx="23741">
                  <c:v>198457500</c:v>
                </c:pt>
                <c:pt idx="23742">
                  <c:v>1056560766</c:v>
                </c:pt>
                <c:pt idx="23743">
                  <c:v>149112304</c:v>
                </c:pt>
                <c:pt idx="23744">
                  <c:v>38044947</c:v>
                </c:pt>
                <c:pt idx="23745">
                  <c:v>132259650</c:v>
                </c:pt>
                <c:pt idx="23746">
                  <c:v>467342106</c:v>
                </c:pt>
                <c:pt idx="23747">
                  <c:v>82070394</c:v>
                </c:pt>
                <c:pt idx="23748">
                  <c:v>115194006</c:v>
                </c:pt>
                <c:pt idx="23749">
                  <c:v>91623844</c:v>
                </c:pt>
                <c:pt idx="23750">
                  <c:v>324739098</c:v>
                </c:pt>
                <c:pt idx="23751">
                  <c:v>33321366</c:v>
                </c:pt>
                <c:pt idx="23752">
                  <c:v>274222110</c:v>
                </c:pt>
                <c:pt idx="23753">
                  <c:v>353345256</c:v>
                </c:pt>
                <c:pt idx="23754">
                  <c:v>1435789134</c:v>
                </c:pt>
                <c:pt idx="23755">
                  <c:v>688898776</c:v>
                </c:pt>
                <c:pt idx="23756">
                  <c:v>943368750</c:v>
                </c:pt>
                <c:pt idx="23757">
                  <c:v>1315841968</c:v>
                </c:pt>
                <c:pt idx="23758">
                  <c:v>417780702</c:v>
                </c:pt>
                <c:pt idx="23759">
                  <c:v>59818920</c:v>
                </c:pt>
                <c:pt idx="23760">
                  <c:v>61361916</c:v>
                </c:pt>
                <c:pt idx="23761">
                  <c:v>187799011</c:v>
                </c:pt>
                <c:pt idx="23762">
                  <c:v>191019577</c:v>
                </c:pt>
                <c:pt idx="23763">
                  <c:v>33064694</c:v>
                </c:pt>
                <c:pt idx="23764">
                  <c:v>12927375</c:v>
                </c:pt>
                <c:pt idx="23765">
                  <c:v>277113501</c:v>
                </c:pt>
                <c:pt idx="23766">
                  <c:v>81915432</c:v>
                </c:pt>
                <c:pt idx="23767">
                  <c:v>48119920</c:v>
                </c:pt>
                <c:pt idx="23768">
                  <c:v>371351116</c:v>
                </c:pt>
                <c:pt idx="23769">
                  <c:v>573640874</c:v>
                </c:pt>
                <c:pt idx="23770">
                  <c:v>103522440</c:v>
                </c:pt>
                <c:pt idx="23771">
                  <c:v>44887072</c:v>
                </c:pt>
                <c:pt idx="23772">
                  <c:v>173580232</c:v>
                </c:pt>
                <c:pt idx="23773">
                  <c:v>39709536</c:v>
                </c:pt>
                <c:pt idx="23774">
                  <c:v>43391166</c:v>
                </c:pt>
                <c:pt idx="23775">
                  <c:v>79290264</c:v>
                </c:pt>
                <c:pt idx="23776">
                  <c:v>46094589</c:v>
                </c:pt>
                <c:pt idx="23777">
                  <c:v>41814344</c:v>
                </c:pt>
                <c:pt idx="23778">
                  <c:v>52007138</c:v>
                </c:pt>
                <c:pt idx="23779">
                  <c:v>46466720</c:v>
                </c:pt>
                <c:pt idx="23780">
                  <c:v>13119070</c:v>
                </c:pt>
                <c:pt idx="23781">
                  <c:v>45390534</c:v>
                </c:pt>
                <c:pt idx="23782">
                  <c:v>247356018</c:v>
                </c:pt>
                <c:pt idx="23783">
                  <c:v>217084296</c:v>
                </c:pt>
                <c:pt idx="23784">
                  <c:v>38657250</c:v>
                </c:pt>
                <c:pt idx="23785">
                  <c:v>42110280</c:v>
                </c:pt>
                <c:pt idx="23786">
                  <c:v>11751425</c:v>
                </c:pt>
                <c:pt idx="23787">
                  <c:v>129520066</c:v>
                </c:pt>
                <c:pt idx="23788">
                  <c:v>44838404</c:v>
                </c:pt>
                <c:pt idx="23789">
                  <c:v>81612512</c:v>
                </c:pt>
                <c:pt idx="23790">
                  <c:v>40478480</c:v>
                </c:pt>
                <c:pt idx="23791">
                  <c:v>149516045</c:v>
                </c:pt>
                <c:pt idx="23792">
                  <c:v>502039590</c:v>
                </c:pt>
                <c:pt idx="23793">
                  <c:v>260548103</c:v>
                </c:pt>
                <c:pt idx="23794">
                  <c:v>57707357</c:v>
                </c:pt>
                <c:pt idx="23795">
                  <c:v>18854388</c:v>
                </c:pt>
                <c:pt idx="23796">
                  <c:v>3003600</c:v>
                </c:pt>
                <c:pt idx="23797">
                  <c:v>111180996</c:v>
                </c:pt>
                <c:pt idx="23798">
                  <c:v>29458890</c:v>
                </c:pt>
                <c:pt idx="23799">
                  <c:v>37281218</c:v>
                </c:pt>
                <c:pt idx="23800">
                  <c:v>6016668</c:v>
                </c:pt>
                <c:pt idx="23801">
                  <c:v>329501262</c:v>
                </c:pt>
                <c:pt idx="23802">
                  <c:v>76767040</c:v>
                </c:pt>
                <c:pt idx="23803">
                  <c:v>482523120</c:v>
                </c:pt>
                <c:pt idx="23804">
                  <c:v>11244400</c:v>
                </c:pt>
                <c:pt idx="23805">
                  <c:v>77050545</c:v>
                </c:pt>
                <c:pt idx="23806">
                  <c:v>91667200</c:v>
                </c:pt>
                <c:pt idx="23807">
                  <c:v>81719720</c:v>
                </c:pt>
                <c:pt idx="23808">
                  <c:v>3569808</c:v>
                </c:pt>
                <c:pt idx="23809">
                  <c:v>211301193</c:v>
                </c:pt>
                <c:pt idx="23810">
                  <c:v>39866338</c:v>
                </c:pt>
                <c:pt idx="23811">
                  <c:v>57248501</c:v>
                </c:pt>
                <c:pt idx="23812">
                  <c:v>30840108</c:v>
                </c:pt>
                <c:pt idx="23813">
                  <c:v>7826312</c:v>
                </c:pt>
                <c:pt idx="23814">
                  <c:v>27373170</c:v>
                </c:pt>
                <c:pt idx="23815">
                  <c:v>10363265</c:v>
                </c:pt>
                <c:pt idx="23816">
                  <c:v>87770115</c:v>
                </c:pt>
                <c:pt idx="23817">
                  <c:v>6589128</c:v>
                </c:pt>
                <c:pt idx="23818">
                  <c:v>55570265</c:v>
                </c:pt>
                <c:pt idx="23819">
                  <c:v>107268618</c:v>
                </c:pt>
                <c:pt idx="23820">
                  <c:v>26648825</c:v>
                </c:pt>
                <c:pt idx="23821">
                  <c:v>208464738</c:v>
                </c:pt>
                <c:pt idx="23822">
                  <c:v>297821942</c:v>
                </c:pt>
                <c:pt idx="23823">
                  <c:v>46607864</c:v>
                </c:pt>
                <c:pt idx="23824">
                  <c:v>52210851</c:v>
                </c:pt>
                <c:pt idx="23825">
                  <c:v>91224111</c:v>
                </c:pt>
                <c:pt idx="23826">
                  <c:v>675360546</c:v>
                </c:pt>
                <c:pt idx="23827">
                  <c:v>754240188</c:v>
                </c:pt>
                <c:pt idx="23828">
                  <c:v>265605648</c:v>
                </c:pt>
                <c:pt idx="23829">
                  <c:v>692600752</c:v>
                </c:pt>
                <c:pt idx="23830">
                  <c:v>738173980</c:v>
                </c:pt>
                <c:pt idx="23831">
                  <c:v>215349882</c:v>
                </c:pt>
                <c:pt idx="23832">
                  <c:v>1174899552</c:v>
                </c:pt>
                <c:pt idx="23833">
                  <c:v>653590782</c:v>
                </c:pt>
                <c:pt idx="23834">
                  <c:v>170365793</c:v>
                </c:pt>
                <c:pt idx="23835">
                  <c:v>117960299</c:v>
                </c:pt>
                <c:pt idx="23836">
                  <c:v>65840865</c:v>
                </c:pt>
                <c:pt idx="23837">
                  <c:v>150085440</c:v>
                </c:pt>
                <c:pt idx="23838">
                  <c:v>13321376</c:v>
                </c:pt>
                <c:pt idx="23839">
                  <c:v>12245474</c:v>
                </c:pt>
                <c:pt idx="23840">
                  <c:v>115086675</c:v>
                </c:pt>
                <c:pt idx="23841">
                  <c:v>22228602</c:v>
                </c:pt>
                <c:pt idx="23842">
                  <c:v>96791895</c:v>
                </c:pt>
                <c:pt idx="23843">
                  <c:v>12933050</c:v>
                </c:pt>
                <c:pt idx="23844">
                  <c:v>124173400</c:v>
                </c:pt>
                <c:pt idx="23845">
                  <c:v>9653824</c:v>
                </c:pt>
                <c:pt idx="23846">
                  <c:v>35081904</c:v>
                </c:pt>
                <c:pt idx="23847">
                  <c:v>115866857</c:v>
                </c:pt>
                <c:pt idx="23848">
                  <c:v>7178976</c:v>
                </c:pt>
                <c:pt idx="23849">
                  <c:v>49594466</c:v>
                </c:pt>
                <c:pt idx="23850">
                  <c:v>64165902</c:v>
                </c:pt>
                <c:pt idx="23851">
                  <c:v>19805550</c:v>
                </c:pt>
                <c:pt idx="23852">
                  <c:v>8280940</c:v>
                </c:pt>
                <c:pt idx="23853">
                  <c:v>16623568</c:v>
                </c:pt>
                <c:pt idx="23854">
                  <c:v>1897600</c:v>
                </c:pt>
                <c:pt idx="23855">
                  <c:v>22677310</c:v>
                </c:pt>
                <c:pt idx="23856">
                  <c:v>20957027</c:v>
                </c:pt>
                <c:pt idx="23857">
                  <c:v>18536805</c:v>
                </c:pt>
                <c:pt idx="23858">
                  <c:v>85476222</c:v>
                </c:pt>
                <c:pt idx="23859">
                  <c:v>45360503</c:v>
                </c:pt>
                <c:pt idx="23860">
                  <c:v>7149408</c:v>
                </c:pt>
                <c:pt idx="23861">
                  <c:v>28064484</c:v>
                </c:pt>
                <c:pt idx="23862">
                  <c:v>1018843202</c:v>
                </c:pt>
                <c:pt idx="23863">
                  <c:v>674773800</c:v>
                </c:pt>
                <c:pt idx="23864">
                  <c:v>1398636272</c:v>
                </c:pt>
                <c:pt idx="23865">
                  <c:v>341226298</c:v>
                </c:pt>
                <c:pt idx="23866">
                  <c:v>79851895</c:v>
                </c:pt>
                <c:pt idx="23867">
                  <c:v>32966460</c:v>
                </c:pt>
                <c:pt idx="23868">
                  <c:v>16037380</c:v>
                </c:pt>
                <c:pt idx="23869">
                  <c:v>69401862</c:v>
                </c:pt>
                <c:pt idx="23870">
                  <c:v>59842676</c:v>
                </c:pt>
                <c:pt idx="23871">
                  <c:v>1001410256</c:v>
                </c:pt>
                <c:pt idx="23872">
                  <c:v>33436180</c:v>
                </c:pt>
                <c:pt idx="23873">
                  <c:v>75154534</c:v>
                </c:pt>
                <c:pt idx="23874">
                  <c:v>45737640</c:v>
                </c:pt>
                <c:pt idx="23875">
                  <c:v>81192312</c:v>
                </c:pt>
                <c:pt idx="23876">
                  <c:v>33089950</c:v>
                </c:pt>
                <c:pt idx="23877">
                  <c:v>7995404</c:v>
                </c:pt>
                <c:pt idx="23878">
                  <c:v>9836190</c:v>
                </c:pt>
                <c:pt idx="23879">
                  <c:v>600652745</c:v>
                </c:pt>
                <c:pt idx="23880">
                  <c:v>498235620</c:v>
                </c:pt>
                <c:pt idx="23881">
                  <c:v>1302264260</c:v>
                </c:pt>
                <c:pt idx="23882">
                  <c:v>2147483647</c:v>
                </c:pt>
                <c:pt idx="23883">
                  <c:v>1837086045</c:v>
                </c:pt>
                <c:pt idx="23884">
                  <c:v>2147483647</c:v>
                </c:pt>
                <c:pt idx="23885">
                  <c:v>2147483647</c:v>
                </c:pt>
                <c:pt idx="23886">
                  <c:v>1812042540</c:v>
                </c:pt>
                <c:pt idx="23887">
                  <c:v>308030640</c:v>
                </c:pt>
                <c:pt idx="23888">
                  <c:v>283587892</c:v>
                </c:pt>
                <c:pt idx="23889">
                  <c:v>318334478</c:v>
                </c:pt>
                <c:pt idx="23890">
                  <c:v>878523444</c:v>
                </c:pt>
                <c:pt idx="23891">
                  <c:v>1175809860</c:v>
                </c:pt>
                <c:pt idx="23892">
                  <c:v>521728680</c:v>
                </c:pt>
                <c:pt idx="23893">
                  <c:v>663315840</c:v>
                </c:pt>
                <c:pt idx="23894">
                  <c:v>1625491035</c:v>
                </c:pt>
                <c:pt idx="23895">
                  <c:v>2147483647</c:v>
                </c:pt>
                <c:pt idx="23896">
                  <c:v>493917150</c:v>
                </c:pt>
                <c:pt idx="23897">
                  <c:v>734102712</c:v>
                </c:pt>
                <c:pt idx="23898">
                  <c:v>471588480</c:v>
                </c:pt>
                <c:pt idx="23899">
                  <c:v>633540738</c:v>
                </c:pt>
                <c:pt idx="23900">
                  <c:v>2147483647</c:v>
                </c:pt>
                <c:pt idx="23901">
                  <c:v>1942576426</c:v>
                </c:pt>
                <c:pt idx="23902">
                  <c:v>349083702</c:v>
                </c:pt>
                <c:pt idx="23903">
                  <c:v>1742703864</c:v>
                </c:pt>
                <c:pt idx="23904">
                  <c:v>272094336</c:v>
                </c:pt>
                <c:pt idx="23905">
                  <c:v>289116262</c:v>
                </c:pt>
                <c:pt idx="23906">
                  <c:v>760610964</c:v>
                </c:pt>
                <c:pt idx="23907">
                  <c:v>351032772</c:v>
                </c:pt>
                <c:pt idx="23908">
                  <c:v>237760224</c:v>
                </c:pt>
                <c:pt idx="23909">
                  <c:v>419401478</c:v>
                </c:pt>
                <c:pt idx="23910">
                  <c:v>832279140</c:v>
                </c:pt>
                <c:pt idx="23911">
                  <c:v>1007323704</c:v>
                </c:pt>
                <c:pt idx="23912">
                  <c:v>1299885596</c:v>
                </c:pt>
                <c:pt idx="23913">
                  <c:v>293055335</c:v>
                </c:pt>
                <c:pt idx="23914">
                  <c:v>555848972</c:v>
                </c:pt>
                <c:pt idx="23915">
                  <c:v>405979959</c:v>
                </c:pt>
                <c:pt idx="23916">
                  <c:v>1545874578</c:v>
                </c:pt>
                <c:pt idx="23917">
                  <c:v>1493263816</c:v>
                </c:pt>
                <c:pt idx="23918">
                  <c:v>1396538712</c:v>
                </c:pt>
                <c:pt idx="23919">
                  <c:v>1017821868</c:v>
                </c:pt>
                <c:pt idx="23920">
                  <c:v>1652839552</c:v>
                </c:pt>
                <c:pt idx="23921">
                  <c:v>660823902</c:v>
                </c:pt>
                <c:pt idx="23922">
                  <c:v>1016537808</c:v>
                </c:pt>
                <c:pt idx="23923">
                  <c:v>395556129</c:v>
                </c:pt>
                <c:pt idx="23924">
                  <c:v>897860576</c:v>
                </c:pt>
                <c:pt idx="23925">
                  <c:v>71356004</c:v>
                </c:pt>
                <c:pt idx="23926">
                  <c:v>350246700</c:v>
                </c:pt>
                <c:pt idx="23927">
                  <c:v>639561725</c:v>
                </c:pt>
                <c:pt idx="23928">
                  <c:v>842159472</c:v>
                </c:pt>
                <c:pt idx="23929">
                  <c:v>1949500970</c:v>
                </c:pt>
                <c:pt idx="23930">
                  <c:v>2147483647</c:v>
                </c:pt>
                <c:pt idx="23931">
                  <c:v>2147483647</c:v>
                </c:pt>
                <c:pt idx="23932">
                  <c:v>761323580</c:v>
                </c:pt>
                <c:pt idx="23933">
                  <c:v>1113405701</c:v>
                </c:pt>
                <c:pt idx="23934">
                  <c:v>632842240</c:v>
                </c:pt>
                <c:pt idx="23935">
                  <c:v>537578337</c:v>
                </c:pt>
                <c:pt idx="23936">
                  <c:v>1128441746</c:v>
                </c:pt>
                <c:pt idx="23937">
                  <c:v>1476127864</c:v>
                </c:pt>
                <c:pt idx="23938">
                  <c:v>1494221262</c:v>
                </c:pt>
                <c:pt idx="23939">
                  <c:v>1362661311</c:v>
                </c:pt>
                <c:pt idx="23940">
                  <c:v>978819930</c:v>
                </c:pt>
                <c:pt idx="23941">
                  <c:v>627473580</c:v>
                </c:pt>
                <c:pt idx="23942">
                  <c:v>384483417</c:v>
                </c:pt>
                <c:pt idx="23943">
                  <c:v>960434142</c:v>
                </c:pt>
                <c:pt idx="23944">
                  <c:v>2060022294</c:v>
                </c:pt>
                <c:pt idx="23945">
                  <c:v>739724391</c:v>
                </c:pt>
                <c:pt idx="23946">
                  <c:v>1147209833</c:v>
                </c:pt>
                <c:pt idx="23947">
                  <c:v>740652253</c:v>
                </c:pt>
                <c:pt idx="23948">
                  <c:v>939734334</c:v>
                </c:pt>
                <c:pt idx="23949">
                  <c:v>467644914</c:v>
                </c:pt>
                <c:pt idx="23950">
                  <c:v>2147483647</c:v>
                </c:pt>
                <c:pt idx="23951">
                  <c:v>261650125</c:v>
                </c:pt>
                <c:pt idx="23952">
                  <c:v>2000678524</c:v>
                </c:pt>
                <c:pt idx="23953">
                  <c:v>1195870144</c:v>
                </c:pt>
                <c:pt idx="23954">
                  <c:v>953837255</c:v>
                </c:pt>
                <c:pt idx="23955">
                  <c:v>1704928446</c:v>
                </c:pt>
                <c:pt idx="23956">
                  <c:v>1776607877</c:v>
                </c:pt>
                <c:pt idx="23957">
                  <c:v>2147483647</c:v>
                </c:pt>
                <c:pt idx="23958">
                  <c:v>456753000</c:v>
                </c:pt>
                <c:pt idx="23959">
                  <c:v>553391320</c:v>
                </c:pt>
                <c:pt idx="23960">
                  <c:v>654197136</c:v>
                </c:pt>
                <c:pt idx="23961">
                  <c:v>1086240904</c:v>
                </c:pt>
                <c:pt idx="23962">
                  <c:v>1733276588</c:v>
                </c:pt>
                <c:pt idx="23963">
                  <c:v>1079840936</c:v>
                </c:pt>
                <c:pt idx="23964">
                  <c:v>551927145</c:v>
                </c:pt>
                <c:pt idx="23965">
                  <c:v>1018001536</c:v>
                </c:pt>
                <c:pt idx="23966">
                  <c:v>638924112</c:v>
                </c:pt>
                <c:pt idx="23967">
                  <c:v>760183665</c:v>
                </c:pt>
                <c:pt idx="23968">
                  <c:v>2147483647</c:v>
                </c:pt>
                <c:pt idx="23969">
                  <c:v>1529101596</c:v>
                </c:pt>
                <c:pt idx="23970">
                  <c:v>1381865472</c:v>
                </c:pt>
                <c:pt idx="23971">
                  <c:v>913562964</c:v>
                </c:pt>
                <c:pt idx="23972">
                  <c:v>767409075</c:v>
                </c:pt>
                <c:pt idx="23973">
                  <c:v>664522026</c:v>
                </c:pt>
                <c:pt idx="23974">
                  <c:v>652235815</c:v>
                </c:pt>
                <c:pt idx="23975">
                  <c:v>1425471950</c:v>
                </c:pt>
                <c:pt idx="23976">
                  <c:v>364385065</c:v>
                </c:pt>
                <c:pt idx="23977">
                  <c:v>1375011626</c:v>
                </c:pt>
                <c:pt idx="23978">
                  <c:v>743741960</c:v>
                </c:pt>
                <c:pt idx="23979">
                  <c:v>683230125</c:v>
                </c:pt>
                <c:pt idx="23980">
                  <c:v>610835628</c:v>
                </c:pt>
                <c:pt idx="23981">
                  <c:v>446472999</c:v>
                </c:pt>
                <c:pt idx="23982">
                  <c:v>199143310</c:v>
                </c:pt>
                <c:pt idx="23983">
                  <c:v>62951598</c:v>
                </c:pt>
                <c:pt idx="23984">
                  <c:v>400129626</c:v>
                </c:pt>
                <c:pt idx="23985">
                  <c:v>1131118950</c:v>
                </c:pt>
                <c:pt idx="23986">
                  <c:v>1787707573</c:v>
                </c:pt>
                <c:pt idx="23987">
                  <c:v>594086526</c:v>
                </c:pt>
                <c:pt idx="23988">
                  <c:v>1624191330</c:v>
                </c:pt>
                <c:pt idx="23989">
                  <c:v>2147483647</c:v>
                </c:pt>
                <c:pt idx="23990">
                  <c:v>829708308</c:v>
                </c:pt>
                <c:pt idx="23991">
                  <c:v>1782697077</c:v>
                </c:pt>
                <c:pt idx="23992">
                  <c:v>1246305456</c:v>
                </c:pt>
                <c:pt idx="23993">
                  <c:v>1715447160</c:v>
                </c:pt>
                <c:pt idx="23994">
                  <c:v>885935052</c:v>
                </c:pt>
                <c:pt idx="23995">
                  <c:v>162310655</c:v>
                </c:pt>
                <c:pt idx="23996">
                  <c:v>139770950</c:v>
                </c:pt>
                <c:pt idx="23997">
                  <c:v>243899656</c:v>
                </c:pt>
                <c:pt idx="23998">
                  <c:v>110730615</c:v>
                </c:pt>
                <c:pt idx="23999">
                  <c:v>67019600</c:v>
                </c:pt>
                <c:pt idx="24000">
                  <c:v>1550746470</c:v>
                </c:pt>
                <c:pt idx="24001">
                  <c:v>12427712</c:v>
                </c:pt>
                <c:pt idx="24002">
                  <c:v>139990614</c:v>
                </c:pt>
                <c:pt idx="24003">
                  <c:v>345400973</c:v>
                </c:pt>
                <c:pt idx="24004">
                  <c:v>1924857504</c:v>
                </c:pt>
                <c:pt idx="24005">
                  <c:v>2147483647</c:v>
                </c:pt>
                <c:pt idx="24006">
                  <c:v>1709789472</c:v>
                </c:pt>
                <c:pt idx="24007">
                  <c:v>477685728</c:v>
                </c:pt>
                <c:pt idx="24008">
                  <c:v>2147483647</c:v>
                </c:pt>
                <c:pt idx="24009">
                  <c:v>1685442780</c:v>
                </c:pt>
                <c:pt idx="24010">
                  <c:v>2147483647</c:v>
                </c:pt>
                <c:pt idx="24011">
                  <c:v>2147483647</c:v>
                </c:pt>
                <c:pt idx="24012">
                  <c:v>1132146225</c:v>
                </c:pt>
                <c:pt idx="24013">
                  <c:v>981900176</c:v>
                </c:pt>
                <c:pt idx="24014">
                  <c:v>2147483647</c:v>
                </c:pt>
                <c:pt idx="24015">
                  <c:v>1948361415</c:v>
                </c:pt>
                <c:pt idx="24016">
                  <c:v>2147483647</c:v>
                </c:pt>
                <c:pt idx="24017">
                  <c:v>1872804660</c:v>
                </c:pt>
                <c:pt idx="24018">
                  <c:v>1797067280</c:v>
                </c:pt>
                <c:pt idx="24019">
                  <c:v>2147483647</c:v>
                </c:pt>
                <c:pt idx="24020">
                  <c:v>2147483647</c:v>
                </c:pt>
                <c:pt idx="24021">
                  <c:v>616051368</c:v>
                </c:pt>
                <c:pt idx="24022">
                  <c:v>42620760</c:v>
                </c:pt>
                <c:pt idx="24023">
                  <c:v>331234458</c:v>
                </c:pt>
                <c:pt idx="24024">
                  <c:v>16471056</c:v>
                </c:pt>
                <c:pt idx="24025">
                  <c:v>60127515</c:v>
                </c:pt>
                <c:pt idx="24026">
                  <c:v>396504055</c:v>
                </c:pt>
                <c:pt idx="24027">
                  <c:v>414007532</c:v>
                </c:pt>
                <c:pt idx="24028">
                  <c:v>75201204</c:v>
                </c:pt>
                <c:pt idx="24029">
                  <c:v>2147483647</c:v>
                </c:pt>
                <c:pt idx="24030">
                  <c:v>73390730</c:v>
                </c:pt>
                <c:pt idx="24031">
                  <c:v>2147483647</c:v>
                </c:pt>
                <c:pt idx="24032">
                  <c:v>74257232</c:v>
                </c:pt>
                <c:pt idx="24033">
                  <c:v>116117064</c:v>
                </c:pt>
                <c:pt idx="24034">
                  <c:v>532144340</c:v>
                </c:pt>
                <c:pt idx="24035">
                  <c:v>1413070400</c:v>
                </c:pt>
                <c:pt idx="24036">
                  <c:v>13739292</c:v>
                </c:pt>
                <c:pt idx="24037">
                  <c:v>345579960</c:v>
                </c:pt>
                <c:pt idx="24038">
                  <c:v>25253800</c:v>
                </c:pt>
                <c:pt idx="24039">
                  <c:v>641720436</c:v>
                </c:pt>
                <c:pt idx="24040">
                  <c:v>2147483647</c:v>
                </c:pt>
                <c:pt idx="24041">
                  <c:v>2147483647</c:v>
                </c:pt>
                <c:pt idx="24042">
                  <c:v>16730977</c:v>
                </c:pt>
                <c:pt idx="24043">
                  <c:v>48836396</c:v>
                </c:pt>
                <c:pt idx="24044">
                  <c:v>18146280</c:v>
                </c:pt>
                <c:pt idx="24045">
                  <c:v>2147483647</c:v>
                </c:pt>
                <c:pt idx="24046">
                  <c:v>382925354</c:v>
                </c:pt>
                <c:pt idx="24047">
                  <c:v>8974244</c:v>
                </c:pt>
                <c:pt idx="24048">
                  <c:v>179149218</c:v>
                </c:pt>
                <c:pt idx="24049">
                  <c:v>11266240</c:v>
                </c:pt>
                <c:pt idx="24050">
                  <c:v>2147057772</c:v>
                </c:pt>
                <c:pt idx="24051">
                  <c:v>1060686078</c:v>
                </c:pt>
                <c:pt idx="24052">
                  <c:v>478529415</c:v>
                </c:pt>
                <c:pt idx="24053">
                  <c:v>23597983</c:v>
                </c:pt>
                <c:pt idx="24054">
                  <c:v>8017218</c:v>
                </c:pt>
                <c:pt idx="24055">
                  <c:v>1018156900</c:v>
                </c:pt>
                <c:pt idx="24056">
                  <c:v>1242235141</c:v>
                </c:pt>
                <c:pt idx="24057">
                  <c:v>2147483647</c:v>
                </c:pt>
                <c:pt idx="24058">
                  <c:v>241166090</c:v>
                </c:pt>
                <c:pt idx="24059">
                  <c:v>4600908</c:v>
                </c:pt>
                <c:pt idx="24060">
                  <c:v>34855020</c:v>
                </c:pt>
                <c:pt idx="24061">
                  <c:v>381151524</c:v>
                </c:pt>
                <c:pt idx="24062">
                  <c:v>96852384</c:v>
                </c:pt>
                <c:pt idx="24063">
                  <c:v>235694160</c:v>
                </c:pt>
                <c:pt idx="24064">
                  <c:v>372262989</c:v>
                </c:pt>
                <c:pt idx="24065">
                  <c:v>1039681920</c:v>
                </c:pt>
                <c:pt idx="24066">
                  <c:v>1720349896</c:v>
                </c:pt>
                <c:pt idx="24067">
                  <c:v>2147483647</c:v>
                </c:pt>
                <c:pt idx="24068">
                  <c:v>1851923172</c:v>
                </c:pt>
                <c:pt idx="24069">
                  <c:v>741028005</c:v>
                </c:pt>
                <c:pt idx="24070">
                  <c:v>579185765</c:v>
                </c:pt>
                <c:pt idx="24071">
                  <c:v>580585456</c:v>
                </c:pt>
                <c:pt idx="24072">
                  <c:v>852747984</c:v>
                </c:pt>
                <c:pt idx="24073">
                  <c:v>618892710</c:v>
                </c:pt>
                <c:pt idx="24074">
                  <c:v>543705492</c:v>
                </c:pt>
                <c:pt idx="24075">
                  <c:v>1409691723</c:v>
                </c:pt>
                <c:pt idx="24076">
                  <c:v>154371906</c:v>
                </c:pt>
                <c:pt idx="24077">
                  <c:v>1127908132</c:v>
                </c:pt>
                <c:pt idx="24078">
                  <c:v>199737700</c:v>
                </c:pt>
                <c:pt idx="24079">
                  <c:v>272352856</c:v>
                </c:pt>
                <c:pt idx="24080">
                  <c:v>19911400</c:v>
                </c:pt>
                <c:pt idx="24081">
                  <c:v>817808591</c:v>
                </c:pt>
                <c:pt idx="24082">
                  <c:v>1788624445</c:v>
                </c:pt>
                <c:pt idx="24083">
                  <c:v>1113987420</c:v>
                </c:pt>
                <c:pt idx="24084">
                  <c:v>728215296</c:v>
                </c:pt>
                <c:pt idx="24085">
                  <c:v>556861665</c:v>
                </c:pt>
                <c:pt idx="24086">
                  <c:v>1038870000</c:v>
                </c:pt>
                <c:pt idx="24087">
                  <c:v>32806619</c:v>
                </c:pt>
                <c:pt idx="24088">
                  <c:v>111883178</c:v>
                </c:pt>
                <c:pt idx="24089">
                  <c:v>926325045</c:v>
                </c:pt>
                <c:pt idx="24090">
                  <c:v>1167036790</c:v>
                </c:pt>
                <c:pt idx="24091">
                  <c:v>25243788</c:v>
                </c:pt>
                <c:pt idx="24092">
                  <c:v>1579679696</c:v>
                </c:pt>
                <c:pt idx="24093">
                  <c:v>418235191</c:v>
                </c:pt>
                <c:pt idx="24094">
                  <c:v>783094689</c:v>
                </c:pt>
                <c:pt idx="24095">
                  <c:v>2147483647</c:v>
                </c:pt>
                <c:pt idx="24096">
                  <c:v>152949473</c:v>
                </c:pt>
                <c:pt idx="24097">
                  <c:v>701746300</c:v>
                </c:pt>
                <c:pt idx="24098">
                  <c:v>732971231</c:v>
                </c:pt>
                <c:pt idx="24099">
                  <c:v>480218544</c:v>
                </c:pt>
                <c:pt idx="24100">
                  <c:v>275471115</c:v>
                </c:pt>
                <c:pt idx="24101">
                  <c:v>376186532</c:v>
                </c:pt>
                <c:pt idx="24102">
                  <c:v>55141516</c:v>
                </c:pt>
                <c:pt idx="24103">
                  <c:v>362512612</c:v>
                </c:pt>
                <c:pt idx="24104">
                  <c:v>1250345205</c:v>
                </c:pt>
                <c:pt idx="24105">
                  <c:v>611116968</c:v>
                </c:pt>
                <c:pt idx="24106">
                  <c:v>1494845712</c:v>
                </c:pt>
                <c:pt idx="24107">
                  <c:v>2147483647</c:v>
                </c:pt>
                <c:pt idx="24108">
                  <c:v>363362526</c:v>
                </c:pt>
                <c:pt idx="24109">
                  <c:v>37324800</c:v>
                </c:pt>
                <c:pt idx="24110">
                  <c:v>1034307435</c:v>
                </c:pt>
                <c:pt idx="24111">
                  <c:v>2063398116</c:v>
                </c:pt>
                <c:pt idx="24112">
                  <c:v>1270448771</c:v>
                </c:pt>
                <c:pt idx="24113">
                  <c:v>2147483647</c:v>
                </c:pt>
                <c:pt idx="24114">
                  <c:v>1203603680</c:v>
                </c:pt>
                <c:pt idx="24115">
                  <c:v>314984480</c:v>
                </c:pt>
                <c:pt idx="24116">
                  <c:v>963707528</c:v>
                </c:pt>
                <c:pt idx="24117">
                  <c:v>435834619</c:v>
                </c:pt>
                <c:pt idx="24118">
                  <c:v>883304266</c:v>
                </c:pt>
                <c:pt idx="24119">
                  <c:v>385296750</c:v>
                </c:pt>
                <c:pt idx="24120">
                  <c:v>316392237</c:v>
                </c:pt>
                <c:pt idx="24121">
                  <c:v>35909720</c:v>
                </c:pt>
                <c:pt idx="24122">
                  <c:v>11816727</c:v>
                </c:pt>
                <c:pt idx="24123">
                  <c:v>9117948</c:v>
                </c:pt>
                <c:pt idx="24124">
                  <c:v>496359864</c:v>
                </c:pt>
                <c:pt idx="24125">
                  <c:v>55995599</c:v>
                </c:pt>
                <c:pt idx="24126">
                  <c:v>21453910</c:v>
                </c:pt>
                <c:pt idx="24127">
                  <c:v>17065076</c:v>
                </c:pt>
                <c:pt idx="24128">
                  <c:v>232349260</c:v>
                </c:pt>
                <c:pt idx="24129">
                  <c:v>819334758</c:v>
                </c:pt>
                <c:pt idx="24130">
                  <c:v>21980784</c:v>
                </c:pt>
                <c:pt idx="24131">
                  <c:v>850875648</c:v>
                </c:pt>
                <c:pt idx="24132">
                  <c:v>784833426</c:v>
                </c:pt>
                <c:pt idx="24133">
                  <c:v>418339640</c:v>
                </c:pt>
                <c:pt idx="24134">
                  <c:v>751491034</c:v>
                </c:pt>
                <c:pt idx="24135">
                  <c:v>77964876</c:v>
                </c:pt>
                <c:pt idx="24136">
                  <c:v>553273700</c:v>
                </c:pt>
                <c:pt idx="24137">
                  <c:v>15549548</c:v>
                </c:pt>
                <c:pt idx="24138">
                  <c:v>437061852</c:v>
                </c:pt>
                <c:pt idx="24139">
                  <c:v>738600194</c:v>
                </c:pt>
                <c:pt idx="24140">
                  <c:v>165094246</c:v>
                </c:pt>
                <c:pt idx="24141">
                  <c:v>29426789</c:v>
                </c:pt>
                <c:pt idx="24142">
                  <c:v>771904641</c:v>
                </c:pt>
                <c:pt idx="24143">
                  <c:v>66878784</c:v>
                </c:pt>
                <c:pt idx="24144">
                  <c:v>160135992</c:v>
                </c:pt>
                <c:pt idx="24145">
                  <c:v>237640890</c:v>
                </c:pt>
                <c:pt idx="24146">
                  <c:v>112353570</c:v>
                </c:pt>
                <c:pt idx="24147">
                  <c:v>168701022</c:v>
                </c:pt>
                <c:pt idx="24148">
                  <c:v>680311760</c:v>
                </c:pt>
                <c:pt idx="24149">
                  <c:v>1255473193</c:v>
                </c:pt>
                <c:pt idx="24150">
                  <c:v>477034572</c:v>
                </c:pt>
                <c:pt idx="24151">
                  <c:v>358706232</c:v>
                </c:pt>
                <c:pt idx="24152">
                  <c:v>519984880</c:v>
                </c:pt>
                <c:pt idx="24153">
                  <c:v>230374494</c:v>
                </c:pt>
                <c:pt idx="24154">
                  <c:v>838326180</c:v>
                </c:pt>
                <c:pt idx="24155">
                  <c:v>546969315</c:v>
                </c:pt>
                <c:pt idx="24156">
                  <c:v>443137608</c:v>
                </c:pt>
                <c:pt idx="24157">
                  <c:v>539283562</c:v>
                </c:pt>
                <c:pt idx="24158">
                  <c:v>137466000</c:v>
                </c:pt>
                <c:pt idx="24159">
                  <c:v>91428750</c:v>
                </c:pt>
                <c:pt idx="24160">
                  <c:v>988990200</c:v>
                </c:pt>
                <c:pt idx="24161">
                  <c:v>141286964</c:v>
                </c:pt>
                <c:pt idx="24162">
                  <c:v>377257856</c:v>
                </c:pt>
                <c:pt idx="24163">
                  <c:v>38035528</c:v>
                </c:pt>
                <c:pt idx="24164">
                  <c:v>854222412</c:v>
                </c:pt>
                <c:pt idx="24165">
                  <c:v>2147483647</c:v>
                </c:pt>
                <c:pt idx="24166">
                  <c:v>32105715</c:v>
                </c:pt>
                <c:pt idx="24167">
                  <c:v>138567792</c:v>
                </c:pt>
                <c:pt idx="24168">
                  <c:v>33056435</c:v>
                </c:pt>
                <c:pt idx="24169">
                  <c:v>178445345</c:v>
                </c:pt>
                <c:pt idx="24170">
                  <c:v>88532070</c:v>
                </c:pt>
                <c:pt idx="24171">
                  <c:v>173840160</c:v>
                </c:pt>
                <c:pt idx="24172">
                  <c:v>55923648</c:v>
                </c:pt>
                <c:pt idx="24173">
                  <c:v>380803885</c:v>
                </c:pt>
                <c:pt idx="24174">
                  <c:v>90721620</c:v>
                </c:pt>
                <c:pt idx="24175">
                  <c:v>60332805</c:v>
                </c:pt>
                <c:pt idx="24176">
                  <c:v>39990780</c:v>
                </c:pt>
                <c:pt idx="24177">
                  <c:v>171196831</c:v>
                </c:pt>
                <c:pt idx="24178">
                  <c:v>98791610</c:v>
                </c:pt>
                <c:pt idx="24179">
                  <c:v>900076188</c:v>
                </c:pt>
                <c:pt idx="24180">
                  <c:v>1128421410</c:v>
                </c:pt>
                <c:pt idx="24181">
                  <c:v>524786549</c:v>
                </c:pt>
                <c:pt idx="24182">
                  <c:v>5174532</c:v>
                </c:pt>
                <c:pt idx="24183">
                  <c:v>23331552</c:v>
                </c:pt>
                <c:pt idx="24184">
                  <c:v>279183024</c:v>
                </c:pt>
                <c:pt idx="24185">
                  <c:v>220251010</c:v>
                </c:pt>
                <c:pt idx="24186">
                  <c:v>86524396</c:v>
                </c:pt>
                <c:pt idx="24187">
                  <c:v>136617568</c:v>
                </c:pt>
                <c:pt idx="24188">
                  <c:v>246268650</c:v>
                </c:pt>
                <c:pt idx="24189">
                  <c:v>106222232</c:v>
                </c:pt>
                <c:pt idx="24190">
                  <c:v>9516474</c:v>
                </c:pt>
                <c:pt idx="24191">
                  <c:v>13551370</c:v>
                </c:pt>
                <c:pt idx="24192">
                  <c:v>52802748</c:v>
                </c:pt>
                <c:pt idx="24193">
                  <c:v>8004633</c:v>
                </c:pt>
                <c:pt idx="24194">
                  <c:v>16552836</c:v>
                </c:pt>
                <c:pt idx="24195">
                  <c:v>491750028</c:v>
                </c:pt>
                <c:pt idx="24196">
                  <c:v>27294155</c:v>
                </c:pt>
                <c:pt idx="24197">
                  <c:v>69840772</c:v>
                </c:pt>
                <c:pt idx="24198">
                  <c:v>165168250</c:v>
                </c:pt>
                <c:pt idx="24199">
                  <c:v>22473576</c:v>
                </c:pt>
                <c:pt idx="24200">
                  <c:v>9616680</c:v>
                </c:pt>
                <c:pt idx="24201">
                  <c:v>266582121</c:v>
                </c:pt>
                <c:pt idx="24202">
                  <c:v>199523486</c:v>
                </c:pt>
                <c:pt idx="24203">
                  <c:v>285633881</c:v>
                </c:pt>
                <c:pt idx="24204">
                  <c:v>20139060</c:v>
                </c:pt>
                <c:pt idx="24205">
                  <c:v>47677068</c:v>
                </c:pt>
                <c:pt idx="24206">
                  <c:v>2147483647</c:v>
                </c:pt>
                <c:pt idx="24207">
                  <c:v>269051342</c:v>
                </c:pt>
                <c:pt idx="24208">
                  <c:v>141551560</c:v>
                </c:pt>
                <c:pt idx="24209">
                  <c:v>26813998</c:v>
                </c:pt>
                <c:pt idx="24210">
                  <c:v>5265572</c:v>
                </c:pt>
                <c:pt idx="24211">
                  <c:v>240469460</c:v>
                </c:pt>
                <c:pt idx="24212">
                  <c:v>100459627</c:v>
                </c:pt>
                <c:pt idx="24213">
                  <c:v>1260076132</c:v>
                </c:pt>
                <c:pt idx="24214">
                  <c:v>280731208</c:v>
                </c:pt>
                <c:pt idx="24215">
                  <c:v>73499628</c:v>
                </c:pt>
                <c:pt idx="24216">
                  <c:v>31256400</c:v>
                </c:pt>
                <c:pt idx="24217">
                  <c:v>109475264</c:v>
                </c:pt>
                <c:pt idx="24218">
                  <c:v>1339903260</c:v>
                </c:pt>
                <c:pt idx="24219">
                  <c:v>50574516</c:v>
                </c:pt>
                <c:pt idx="24220">
                  <c:v>161802929</c:v>
                </c:pt>
                <c:pt idx="24221">
                  <c:v>194304600</c:v>
                </c:pt>
                <c:pt idx="24222">
                  <c:v>1410012240</c:v>
                </c:pt>
                <c:pt idx="24223">
                  <c:v>77453250</c:v>
                </c:pt>
                <c:pt idx="24224">
                  <c:v>488081712</c:v>
                </c:pt>
                <c:pt idx="24225">
                  <c:v>1184845420</c:v>
                </c:pt>
                <c:pt idx="24226">
                  <c:v>784248448</c:v>
                </c:pt>
                <c:pt idx="24227">
                  <c:v>1931147250</c:v>
                </c:pt>
                <c:pt idx="24228">
                  <c:v>995320755</c:v>
                </c:pt>
                <c:pt idx="24229">
                  <c:v>11809153</c:v>
                </c:pt>
                <c:pt idx="24230">
                  <c:v>159078762</c:v>
                </c:pt>
                <c:pt idx="24231">
                  <c:v>65571610</c:v>
                </c:pt>
                <c:pt idx="24232">
                  <c:v>124327984</c:v>
                </c:pt>
                <c:pt idx="24233">
                  <c:v>71500959</c:v>
                </c:pt>
                <c:pt idx="24234">
                  <c:v>168737848</c:v>
                </c:pt>
                <c:pt idx="24235">
                  <c:v>191165208</c:v>
                </c:pt>
                <c:pt idx="24236">
                  <c:v>338662166</c:v>
                </c:pt>
                <c:pt idx="24237">
                  <c:v>450865680</c:v>
                </c:pt>
                <c:pt idx="24238">
                  <c:v>250881660</c:v>
                </c:pt>
                <c:pt idx="24239">
                  <c:v>46408302</c:v>
                </c:pt>
                <c:pt idx="24240">
                  <c:v>155760773</c:v>
                </c:pt>
                <c:pt idx="24241">
                  <c:v>813032514</c:v>
                </c:pt>
                <c:pt idx="24242">
                  <c:v>62705664</c:v>
                </c:pt>
                <c:pt idx="24243">
                  <c:v>10964750</c:v>
                </c:pt>
                <c:pt idx="24244">
                  <c:v>211760960</c:v>
                </c:pt>
                <c:pt idx="24245">
                  <c:v>219252165</c:v>
                </c:pt>
                <c:pt idx="24246">
                  <c:v>307115980</c:v>
                </c:pt>
                <c:pt idx="24247">
                  <c:v>453390825</c:v>
                </c:pt>
                <c:pt idx="24248">
                  <c:v>18859940</c:v>
                </c:pt>
                <c:pt idx="24249">
                  <c:v>1559512476</c:v>
                </c:pt>
                <c:pt idx="24250">
                  <c:v>1415702884</c:v>
                </c:pt>
                <c:pt idx="24251">
                  <c:v>199899440</c:v>
                </c:pt>
                <c:pt idx="24252">
                  <c:v>110789910</c:v>
                </c:pt>
                <c:pt idx="24253">
                  <c:v>863079716</c:v>
                </c:pt>
                <c:pt idx="24254">
                  <c:v>28551054</c:v>
                </c:pt>
                <c:pt idx="24255">
                  <c:v>102798235</c:v>
                </c:pt>
                <c:pt idx="24256">
                  <c:v>115447386</c:v>
                </c:pt>
                <c:pt idx="24257">
                  <c:v>608763630</c:v>
                </c:pt>
                <c:pt idx="24258">
                  <c:v>17633926</c:v>
                </c:pt>
                <c:pt idx="24259">
                  <c:v>96286592</c:v>
                </c:pt>
                <c:pt idx="24260">
                  <c:v>270977850</c:v>
                </c:pt>
                <c:pt idx="24261">
                  <c:v>2147483647</c:v>
                </c:pt>
                <c:pt idx="24262">
                  <c:v>1863215208</c:v>
                </c:pt>
                <c:pt idx="24263">
                  <c:v>789986416</c:v>
                </c:pt>
                <c:pt idx="24264">
                  <c:v>81949120</c:v>
                </c:pt>
                <c:pt idx="24265">
                  <c:v>19844583</c:v>
                </c:pt>
                <c:pt idx="24266">
                  <c:v>24918467</c:v>
                </c:pt>
                <c:pt idx="24267">
                  <c:v>42520296</c:v>
                </c:pt>
                <c:pt idx="24268">
                  <c:v>701182080</c:v>
                </c:pt>
                <c:pt idx="24269">
                  <c:v>40980132</c:v>
                </c:pt>
                <c:pt idx="24270">
                  <c:v>96798484</c:v>
                </c:pt>
                <c:pt idx="24271">
                  <c:v>1490382400</c:v>
                </c:pt>
                <c:pt idx="24272">
                  <c:v>1497876858</c:v>
                </c:pt>
                <c:pt idx="24273">
                  <c:v>19787796</c:v>
                </c:pt>
                <c:pt idx="24274">
                  <c:v>142280450</c:v>
                </c:pt>
                <c:pt idx="24275">
                  <c:v>8669100</c:v>
                </c:pt>
                <c:pt idx="24276">
                  <c:v>711504118</c:v>
                </c:pt>
                <c:pt idx="24277">
                  <c:v>135039890</c:v>
                </c:pt>
                <c:pt idx="24278">
                  <c:v>967668900</c:v>
                </c:pt>
                <c:pt idx="24279">
                  <c:v>259339785</c:v>
                </c:pt>
                <c:pt idx="24280">
                  <c:v>101145525</c:v>
                </c:pt>
                <c:pt idx="24281">
                  <c:v>317408596</c:v>
                </c:pt>
                <c:pt idx="24282">
                  <c:v>60661562</c:v>
                </c:pt>
                <c:pt idx="24283">
                  <c:v>645703056</c:v>
                </c:pt>
                <c:pt idx="24284">
                  <c:v>60814990</c:v>
                </c:pt>
                <c:pt idx="24285">
                  <c:v>2147483647</c:v>
                </c:pt>
                <c:pt idx="24286">
                  <c:v>707540659</c:v>
                </c:pt>
                <c:pt idx="24287">
                  <c:v>526479030</c:v>
                </c:pt>
                <c:pt idx="24288">
                  <c:v>1244815560</c:v>
                </c:pt>
                <c:pt idx="24289">
                  <c:v>1098440420</c:v>
                </c:pt>
                <c:pt idx="24290">
                  <c:v>432249294</c:v>
                </c:pt>
                <c:pt idx="24291">
                  <c:v>1364394504</c:v>
                </c:pt>
                <c:pt idx="24292">
                  <c:v>870477498</c:v>
                </c:pt>
                <c:pt idx="24293">
                  <c:v>807809210</c:v>
                </c:pt>
                <c:pt idx="24294">
                  <c:v>294070140</c:v>
                </c:pt>
                <c:pt idx="24295">
                  <c:v>249698120</c:v>
                </c:pt>
                <c:pt idx="24296">
                  <c:v>790163865</c:v>
                </c:pt>
                <c:pt idx="24297">
                  <c:v>536293332</c:v>
                </c:pt>
                <c:pt idx="24298">
                  <c:v>1106714094</c:v>
                </c:pt>
                <c:pt idx="24299">
                  <c:v>355565784</c:v>
                </c:pt>
                <c:pt idx="24300">
                  <c:v>279890338</c:v>
                </c:pt>
                <c:pt idx="24301">
                  <c:v>95551260</c:v>
                </c:pt>
                <c:pt idx="24302">
                  <c:v>847379376</c:v>
                </c:pt>
                <c:pt idx="24303">
                  <c:v>1063703970</c:v>
                </c:pt>
                <c:pt idx="24304">
                  <c:v>839459292</c:v>
                </c:pt>
                <c:pt idx="24305">
                  <c:v>1781915542</c:v>
                </c:pt>
                <c:pt idx="24306">
                  <c:v>545518025</c:v>
                </c:pt>
                <c:pt idx="24307">
                  <c:v>1609253316</c:v>
                </c:pt>
                <c:pt idx="24308">
                  <c:v>1271242964</c:v>
                </c:pt>
                <c:pt idx="24309">
                  <c:v>589656900</c:v>
                </c:pt>
                <c:pt idx="24310">
                  <c:v>633499514</c:v>
                </c:pt>
                <c:pt idx="24311">
                  <c:v>810659292</c:v>
                </c:pt>
                <c:pt idx="24312">
                  <c:v>1801544043</c:v>
                </c:pt>
                <c:pt idx="24313">
                  <c:v>499722565</c:v>
                </c:pt>
                <c:pt idx="24314">
                  <c:v>925381788</c:v>
                </c:pt>
                <c:pt idx="24315">
                  <c:v>2147483647</c:v>
                </c:pt>
                <c:pt idx="24316">
                  <c:v>1699629106</c:v>
                </c:pt>
                <c:pt idx="24317">
                  <c:v>877993992</c:v>
                </c:pt>
                <c:pt idx="24318">
                  <c:v>1917871731</c:v>
                </c:pt>
                <c:pt idx="24319">
                  <c:v>1725366877</c:v>
                </c:pt>
                <c:pt idx="24320">
                  <c:v>1876500180</c:v>
                </c:pt>
                <c:pt idx="24321">
                  <c:v>342393285</c:v>
                </c:pt>
                <c:pt idx="24322">
                  <c:v>2147483647</c:v>
                </c:pt>
                <c:pt idx="24323">
                  <c:v>2147483647</c:v>
                </c:pt>
                <c:pt idx="24324">
                  <c:v>1013623520</c:v>
                </c:pt>
                <c:pt idx="24325">
                  <c:v>587388002</c:v>
                </c:pt>
                <c:pt idx="24326">
                  <c:v>629707572</c:v>
                </c:pt>
                <c:pt idx="24327">
                  <c:v>2147483647</c:v>
                </c:pt>
                <c:pt idx="24328">
                  <c:v>1206199120</c:v>
                </c:pt>
                <c:pt idx="24329">
                  <c:v>1647368115</c:v>
                </c:pt>
                <c:pt idx="24330">
                  <c:v>1169509705</c:v>
                </c:pt>
                <c:pt idx="24331">
                  <c:v>172914871</c:v>
                </c:pt>
                <c:pt idx="24332">
                  <c:v>243266738</c:v>
                </c:pt>
                <c:pt idx="24333">
                  <c:v>425142366</c:v>
                </c:pt>
                <c:pt idx="24334">
                  <c:v>13147272</c:v>
                </c:pt>
                <c:pt idx="24335">
                  <c:v>576715665</c:v>
                </c:pt>
                <c:pt idx="24336">
                  <c:v>310175058</c:v>
                </c:pt>
                <c:pt idx="24337">
                  <c:v>10009062</c:v>
                </c:pt>
                <c:pt idx="24338">
                  <c:v>24261135</c:v>
                </c:pt>
                <c:pt idx="24339">
                  <c:v>115989504</c:v>
                </c:pt>
                <c:pt idx="24340">
                  <c:v>11495439</c:v>
                </c:pt>
                <c:pt idx="24341">
                  <c:v>6258231</c:v>
                </c:pt>
                <c:pt idx="24342">
                  <c:v>6146787</c:v>
                </c:pt>
                <c:pt idx="24343">
                  <c:v>100122120</c:v>
                </c:pt>
                <c:pt idx="24344">
                  <c:v>57919904</c:v>
                </c:pt>
                <c:pt idx="24345">
                  <c:v>34414154</c:v>
                </c:pt>
                <c:pt idx="24346">
                  <c:v>74115532</c:v>
                </c:pt>
                <c:pt idx="24347">
                  <c:v>314730575</c:v>
                </c:pt>
                <c:pt idx="24348">
                  <c:v>681508718</c:v>
                </c:pt>
                <c:pt idx="24349">
                  <c:v>210912654</c:v>
                </c:pt>
                <c:pt idx="24350">
                  <c:v>124999020</c:v>
                </c:pt>
                <c:pt idx="24351">
                  <c:v>113130826</c:v>
                </c:pt>
                <c:pt idx="24352">
                  <c:v>140355120</c:v>
                </c:pt>
                <c:pt idx="24353">
                  <c:v>704189290</c:v>
                </c:pt>
                <c:pt idx="24354">
                  <c:v>59379617</c:v>
                </c:pt>
                <c:pt idx="24355">
                  <c:v>5364519</c:v>
                </c:pt>
                <c:pt idx="24356">
                  <c:v>60419128</c:v>
                </c:pt>
                <c:pt idx="24357">
                  <c:v>50801124</c:v>
                </c:pt>
                <c:pt idx="24358">
                  <c:v>613058040</c:v>
                </c:pt>
                <c:pt idx="24359">
                  <c:v>715553594</c:v>
                </c:pt>
                <c:pt idx="24360">
                  <c:v>137944310</c:v>
                </c:pt>
                <c:pt idx="24361">
                  <c:v>74688311</c:v>
                </c:pt>
                <c:pt idx="24362">
                  <c:v>212896049</c:v>
                </c:pt>
                <c:pt idx="24363">
                  <c:v>48155272</c:v>
                </c:pt>
                <c:pt idx="24364">
                  <c:v>143434445</c:v>
                </c:pt>
                <c:pt idx="24365">
                  <c:v>40309360</c:v>
                </c:pt>
                <c:pt idx="24366">
                  <c:v>98241715</c:v>
                </c:pt>
                <c:pt idx="24367">
                  <c:v>457026513</c:v>
                </c:pt>
                <c:pt idx="24368">
                  <c:v>233296032</c:v>
                </c:pt>
                <c:pt idx="24369">
                  <c:v>39108125</c:v>
                </c:pt>
                <c:pt idx="24370">
                  <c:v>167326537</c:v>
                </c:pt>
                <c:pt idx="24371">
                  <c:v>55050548</c:v>
                </c:pt>
                <c:pt idx="24372">
                  <c:v>837034168</c:v>
                </c:pt>
                <c:pt idx="24373">
                  <c:v>716191546</c:v>
                </c:pt>
                <c:pt idx="24374">
                  <c:v>1097242254</c:v>
                </c:pt>
                <c:pt idx="24375">
                  <c:v>1302782894</c:v>
                </c:pt>
                <c:pt idx="24376">
                  <c:v>1839023704</c:v>
                </c:pt>
                <c:pt idx="24377">
                  <c:v>841401025</c:v>
                </c:pt>
                <c:pt idx="24378">
                  <c:v>272802168</c:v>
                </c:pt>
                <c:pt idx="24379">
                  <c:v>95908800</c:v>
                </c:pt>
                <c:pt idx="24380">
                  <c:v>1247626044</c:v>
                </c:pt>
                <c:pt idx="24381">
                  <c:v>1289581986</c:v>
                </c:pt>
                <c:pt idx="24382">
                  <c:v>379336370</c:v>
                </c:pt>
                <c:pt idx="24383">
                  <c:v>1752003000</c:v>
                </c:pt>
                <c:pt idx="24384">
                  <c:v>549017024</c:v>
                </c:pt>
                <c:pt idx="24385">
                  <c:v>1033800684</c:v>
                </c:pt>
                <c:pt idx="24386">
                  <c:v>1277612350</c:v>
                </c:pt>
                <c:pt idx="24387">
                  <c:v>1232470980</c:v>
                </c:pt>
                <c:pt idx="24388">
                  <c:v>14956854</c:v>
                </c:pt>
                <c:pt idx="24389">
                  <c:v>7995110</c:v>
                </c:pt>
                <c:pt idx="24390">
                  <c:v>597780913</c:v>
                </c:pt>
                <c:pt idx="24391">
                  <c:v>157656920</c:v>
                </c:pt>
                <c:pt idx="24392">
                  <c:v>1090528230</c:v>
                </c:pt>
                <c:pt idx="24393">
                  <c:v>829360224</c:v>
                </c:pt>
                <c:pt idx="24394">
                  <c:v>1331515302</c:v>
                </c:pt>
                <c:pt idx="24395">
                  <c:v>154057508</c:v>
                </c:pt>
                <c:pt idx="24396">
                  <c:v>20473488</c:v>
                </c:pt>
                <c:pt idx="24397">
                  <c:v>7280600</c:v>
                </c:pt>
                <c:pt idx="24398">
                  <c:v>1100766360</c:v>
                </c:pt>
                <c:pt idx="24399">
                  <c:v>976067664</c:v>
                </c:pt>
                <c:pt idx="24400">
                  <c:v>202261524</c:v>
                </c:pt>
                <c:pt idx="24401">
                  <c:v>243144315</c:v>
                </c:pt>
                <c:pt idx="24402">
                  <c:v>58423410</c:v>
                </c:pt>
                <c:pt idx="24403">
                  <c:v>7707618</c:v>
                </c:pt>
                <c:pt idx="24404">
                  <c:v>30443985</c:v>
                </c:pt>
                <c:pt idx="24405">
                  <c:v>460396798</c:v>
                </c:pt>
                <c:pt idx="24406">
                  <c:v>4703100</c:v>
                </c:pt>
                <c:pt idx="24407">
                  <c:v>79598504</c:v>
                </c:pt>
                <c:pt idx="24408">
                  <c:v>497856856</c:v>
                </c:pt>
                <c:pt idx="24409">
                  <c:v>1723666419</c:v>
                </c:pt>
                <c:pt idx="24410">
                  <c:v>685859317</c:v>
                </c:pt>
                <c:pt idx="24411">
                  <c:v>946399354</c:v>
                </c:pt>
                <c:pt idx="24412">
                  <c:v>146934585</c:v>
                </c:pt>
                <c:pt idx="24413">
                  <c:v>149598888</c:v>
                </c:pt>
                <c:pt idx="24414">
                  <c:v>1309467029</c:v>
                </c:pt>
                <c:pt idx="24415">
                  <c:v>247347690</c:v>
                </c:pt>
                <c:pt idx="24416">
                  <c:v>184019095</c:v>
                </c:pt>
                <c:pt idx="24417">
                  <c:v>683219337</c:v>
                </c:pt>
                <c:pt idx="24418">
                  <c:v>120014125</c:v>
                </c:pt>
                <c:pt idx="24419">
                  <c:v>202203729</c:v>
                </c:pt>
                <c:pt idx="24420">
                  <c:v>766208520</c:v>
                </c:pt>
                <c:pt idx="24421">
                  <c:v>610304980</c:v>
                </c:pt>
                <c:pt idx="24422">
                  <c:v>7469759</c:v>
                </c:pt>
                <c:pt idx="24423">
                  <c:v>7324128</c:v>
                </c:pt>
                <c:pt idx="24424">
                  <c:v>66916920</c:v>
                </c:pt>
                <c:pt idx="24425">
                  <c:v>17540904</c:v>
                </c:pt>
                <c:pt idx="24426">
                  <c:v>93239357</c:v>
                </c:pt>
                <c:pt idx="24427">
                  <c:v>695866288</c:v>
                </c:pt>
                <c:pt idx="24428">
                  <c:v>113097998</c:v>
                </c:pt>
                <c:pt idx="24429">
                  <c:v>520033836</c:v>
                </c:pt>
                <c:pt idx="24430">
                  <c:v>1076141627</c:v>
                </c:pt>
                <c:pt idx="24431">
                  <c:v>266191328</c:v>
                </c:pt>
                <c:pt idx="24432">
                  <c:v>287804147</c:v>
                </c:pt>
                <c:pt idx="24433">
                  <c:v>79273501</c:v>
                </c:pt>
                <c:pt idx="24434">
                  <c:v>1676917242</c:v>
                </c:pt>
                <c:pt idx="24435">
                  <c:v>461864136</c:v>
                </c:pt>
                <c:pt idx="24436">
                  <c:v>487941675</c:v>
                </c:pt>
                <c:pt idx="24437">
                  <c:v>2147483647</c:v>
                </c:pt>
                <c:pt idx="24438">
                  <c:v>10470336</c:v>
                </c:pt>
                <c:pt idx="24439">
                  <c:v>45361359</c:v>
                </c:pt>
                <c:pt idx="24440">
                  <c:v>207645080</c:v>
                </c:pt>
                <c:pt idx="24441">
                  <c:v>761250348</c:v>
                </c:pt>
                <c:pt idx="24442">
                  <c:v>13605372</c:v>
                </c:pt>
                <c:pt idx="24443">
                  <c:v>358150033</c:v>
                </c:pt>
                <c:pt idx="24444">
                  <c:v>990990812</c:v>
                </c:pt>
                <c:pt idx="24445">
                  <c:v>762467991</c:v>
                </c:pt>
                <c:pt idx="24446">
                  <c:v>6900330</c:v>
                </c:pt>
                <c:pt idx="24447">
                  <c:v>51690600</c:v>
                </c:pt>
                <c:pt idx="24448">
                  <c:v>926218580</c:v>
                </c:pt>
                <c:pt idx="24449">
                  <c:v>1233428586</c:v>
                </c:pt>
                <c:pt idx="24450">
                  <c:v>1964761380</c:v>
                </c:pt>
                <c:pt idx="24451">
                  <c:v>369337464</c:v>
                </c:pt>
                <c:pt idx="24452">
                  <c:v>95407978</c:v>
                </c:pt>
                <c:pt idx="24453">
                  <c:v>46322653</c:v>
                </c:pt>
                <c:pt idx="24454">
                  <c:v>1530728160</c:v>
                </c:pt>
                <c:pt idx="24455">
                  <c:v>1398259102</c:v>
                </c:pt>
                <c:pt idx="24456">
                  <c:v>120494326</c:v>
                </c:pt>
                <c:pt idx="24457">
                  <c:v>52319684</c:v>
                </c:pt>
                <c:pt idx="24458">
                  <c:v>297210210</c:v>
                </c:pt>
                <c:pt idx="24459">
                  <c:v>1885806890</c:v>
                </c:pt>
                <c:pt idx="24460">
                  <c:v>2147483647</c:v>
                </c:pt>
                <c:pt idx="24461">
                  <c:v>771768140</c:v>
                </c:pt>
                <c:pt idx="24462">
                  <c:v>251183414</c:v>
                </c:pt>
                <c:pt idx="24463">
                  <c:v>530943867</c:v>
                </c:pt>
                <c:pt idx="24464">
                  <c:v>754330419</c:v>
                </c:pt>
                <c:pt idx="24465">
                  <c:v>187996280</c:v>
                </c:pt>
                <c:pt idx="24466">
                  <c:v>58161070</c:v>
                </c:pt>
                <c:pt idx="24467">
                  <c:v>246379776</c:v>
                </c:pt>
                <c:pt idx="24468">
                  <c:v>834727104</c:v>
                </c:pt>
                <c:pt idx="24469">
                  <c:v>587818656</c:v>
                </c:pt>
                <c:pt idx="24470">
                  <c:v>86007672</c:v>
                </c:pt>
                <c:pt idx="24471">
                  <c:v>65490344</c:v>
                </c:pt>
                <c:pt idx="24472">
                  <c:v>363865170</c:v>
                </c:pt>
                <c:pt idx="24473">
                  <c:v>95519188</c:v>
                </c:pt>
                <c:pt idx="24474">
                  <c:v>2147483647</c:v>
                </c:pt>
                <c:pt idx="24475">
                  <c:v>5960032</c:v>
                </c:pt>
                <c:pt idx="24476">
                  <c:v>98777928</c:v>
                </c:pt>
                <c:pt idx="24477">
                  <c:v>38566812</c:v>
                </c:pt>
                <c:pt idx="24478">
                  <c:v>2108328783</c:v>
                </c:pt>
                <c:pt idx="24479">
                  <c:v>2147483647</c:v>
                </c:pt>
                <c:pt idx="24480">
                  <c:v>1912636375</c:v>
                </c:pt>
                <c:pt idx="24481">
                  <c:v>601890270</c:v>
                </c:pt>
                <c:pt idx="24482">
                  <c:v>5743424</c:v>
                </c:pt>
                <c:pt idx="24483">
                  <c:v>23244396</c:v>
                </c:pt>
                <c:pt idx="24484">
                  <c:v>38026170</c:v>
                </c:pt>
                <c:pt idx="24485">
                  <c:v>3562600</c:v>
                </c:pt>
                <c:pt idx="24486">
                  <c:v>655857306</c:v>
                </c:pt>
                <c:pt idx="24487">
                  <c:v>2147483647</c:v>
                </c:pt>
                <c:pt idx="24488">
                  <c:v>1206178944</c:v>
                </c:pt>
                <c:pt idx="24489">
                  <c:v>1182425056</c:v>
                </c:pt>
                <c:pt idx="24490">
                  <c:v>2146293830</c:v>
                </c:pt>
                <c:pt idx="24491">
                  <c:v>2147483647</c:v>
                </c:pt>
                <c:pt idx="24492">
                  <c:v>472497300</c:v>
                </c:pt>
                <c:pt idx="24493">
                  <c:v>1795890624</c:v>
                </c:pt>
                <c:pt idx="24494">
                  <c:v>42076692</c:v>
                </c:pt>
                <c:pt idx="24495">
                  <c:v>381839150</c:v>
                </c:pt>
                <c:pt idx="24496">
                  <c:v>343009728</c:v>
                </c:pt>
                <c:pt idx="24497">
                  <c:v>1504844256</c:v>
                </c:pt>
                <c:pt idx="24498">
                  <c:v>669486393</c:v>
                </c:pt>
                <c:pt idx="24499">
                  <c:v>337850338</c:v>
                </c:pt>
                <c:pt idx="24500">
                  <c:v>766642410</c:v>
                </c:pt>
                <c:pt idx="24501">
                  <c:v>1499653488</c:v>
                </c:pt>
                <c:pt idx="24502">
                  <c:v>1044811840</c:v>
                </c:pt>
                <c:pt idx="24503">
                  <c:v>1442930300</c:v>
                </c:pt>
                <c:pt idx="24504">
                  <c:v>854694498</c:v>
                </c:pt>
                <c:pt idx="24505">
                  <c:v>2008238668</c:v>
                </c:pt>
                <c:pt idx="24506">
                  <c:v>1562830610</c:v>
                </c:pt>
                <c:pt idx="24507">
                  <c:v>806610252</c:v>
                </c:pt>
                <c:pt idx="24508">
                  <c:v>1381830396</c:v>
                </c:pt>
                <c:pt idx="24509">
                  <c:v>1489750180</c:v>
                </c:pt>
                <c:pt idx="24510">
                  <c:v>510751350</c:v>
                </c:pt>
                <c:pt idx="24511">
                  <c:v>1258252620</c:v>
                </c:pt>
                <c:pt idx="24512">
                  <c:v>1961536734</c:v>
                </c:pt>
                <c:pt idx="24513">
                  <c:v>1325219790</c:v>
                </c:pt>
                <c:pt idx="24514">
                  <c:v>1580331384</c:v>
                </c:pt>
                <c:pt idx="24515">
                  <c:v>1365421728</c:v>
                </c:pt>
                <c:pt idx="24516">
                  <c:v>2147483647</c:v>
                </c:pt>
                <c:pt idx="24517">
                  <c:v>2147483647</c:v>
                </c:pt>
                <c:pt idx="24518">
                  <c:v>696106779</c:v>
                </c:pt>
                <c:pt idx="24519">
                  <c:v>2147483647</c:v>
                </c:pt>
                <c:pt idx="24520">
                  <c:v>1976623992</c:v>
                </c:pt>
                <c:pt idx="24521">
                  <c:v>1578291708</c:v>
                </c:pt>
                <c:pt idx="24522">
                  <c:v>795226950</c:v>
                </c:pt>
                <c:pt idx="24523">
                  <c:v>679386975</c:v>
                </c:pt>
                <c:pt idx="24524">
                  <c:v>1580870832</c:v>
                </c:pt>
                <c:pt idx="24525">
                  <c:v>1041961900</c:v>
                </c:pt>
                <c:pt idx="24526">
                  <c:v>522251499</c:v>
                </c:pt>
                <c:pt idx="24527">
                  <c:v>1279084440</c:v>
                </c:pt>
                <c:pt idx="24528">
                  <c:v>1750013454</c:v>
                </c:pt>
                <c:pt idx="24529">
                  <c:v>2147483647</c:v>
                </c:pt>
                <c:pt idx="24530">
                  <c:v>481369500</c:v>
                </c:pt>
                <c:pt idx="24531">
                  <c:v>17823356</c:v>
                </c:pt>
                <c:pt idx="24532">
                  <c:v>10754064</c:v>
                </c:pt>
                <c:pt idx="24533">
                  <c:v>6303409</c:v>
                </c:pt>
                <c:pt idx="24534">
                  <c:v>59917052</c:v>
                </c:pt>
                <c:pt idx="24535">
                  <c:v>19129875</c:v>
                </c:pt>
                <c:pt idx="24536">
                  <c:v>120845686</c:v>
                </c:pt>
                <c:pt idx="24537">
                  <c:v>130291987</c:v>
                </c:pt>
                <c:pt idx="24538">
                  <c:v>160169510</c:v>
                </c:pt>
                <c:pt idx="24539">
                  <c:v>1022272720</c:v>
                </c:pt>
                <c:pt idx="24540">
                  <c:v>1030131573</c:v>
                </c:pt>
                <c:pt idx="24541">
                  <c:v>305315168</c:v>
                </c:pt>
                <c:pt idx="24542">
                  <c:v>21332920</c:v>
                </c:pt>
                <c:pt idx="24543">
                  <c:v>13372140</c:v>
                </c:pt>
                <c:pt idx="24544">
                  <c:v>37941690</c:v>
                </c:pt>
                <c:pt idx="24545">
                  <c:v>29429100</c:v>
                </c:pt>
                <c:pt idx="24546">
                  <c:v>28606032</c:v>
                </c:pt>
                <c:pt idx="24547">
                  <c:v>10583730</c:v>
                </c:pt>
                <c:pt idx="24548">
                  <c:v>37880370</c:v>
                </c:pt>
                <c:pt idx="24549">
                  <c:v>16043116</c:v>
                </c:pt>
                <c:pt idx="24550">
                  <c:v>50465604</c:v>
                </c:pt>
                <c:pt idx="24551">
                  <c:v>254345368</c:v>
                </c:pt>
                <c:pt idx="24552">
                  <c:v>7022576</c:v>
                </c:pt>
                <c:pt idx="24553">
                  <c:v>73642879</c:v>
                </c:pt>
                <c:pt idx="24554">
                  <c:v>82965433</c:v>
                </c:pt>
                <c:pt idx="24555">
                  <c:v>2481300</c:v>
                </c:pt>
                <c:pt idx="24556">
                  <c:v>214390660</c:v>
                </c:pt>
                <c:pt idx="24557">
                  <c:v>32553545</c:v>
                </c:pt>
                <c:pt idx="24558">
                  <c:v>325112986</c:v>
                </c:pt>
                <c:pt idx="24559">
                  <c:v>20745069</c:v>
                </c:pt>
                <c:pt idx="24560">
                  <c:v>142923726</c:v>
                </c:pt>
                <c:pt idx="24561">
                  <c:v>15711354</c:v>
                </c:pt>
                <c:pt idx="24562">
                  <c:v>19399672</c:v>
                </c:pt>
                <c:pt idx="24563">
                  <c:v>72057830</c:v>
                </c:pt>
                <c:pt idx="24564">
                  <c:v>75636374</c:v>
                </c:pt>
                <c:pt idx="24565">
                  <c:v>137473256</c:v>
                </c:pt>
                <c:pt idx="24566">
                  <c:v>312046413</c:v>
                </c:pt>
                <c:pt idx="24567">
                  <c:v>42623086</c:v>
                </c:pt>
                <c:pt idx="24568">
                  <c:v>151010732</c:v>
                </c:pt>
                <c:pt idx="24569">
                  <c:v>20079710</c:v>
                </c:pt>
                <c:pt idx="24570">
                  <c:v>5578092</c:v>
                </c:pt>
                <c:pt idx="24571">
                  <c:v>5982675</c:v>
                </c:pt>
                <c:pt idx="24572">
                  <c:v>49302104</c:v>
                </c:pt>
                <c:pt idx="24573">
                  <c:v>325281800</c:v>
                </c:pt>
                <c:pt idx="24574">
                  <c:v>30555378</c:v>
                </c:pt>
                <c:pt idx="24575">
                  <c:v>6742912</c:v>
                </c:pt>
                <c:pt idx="24576">
                  <c:v>52527645</c:v>
                </c:pt>
                <c:pt idx="24577">
                  <c:v>762660057</c:v>
                </c:pt>
                <c:pt idx="24578">
                  <c:v>9609216</c:v>
                </c:pt>
                <c:pt idx="24579">
                  <c:v>56456320</c:v>
                </c:pt>
                <c:pt idx="24580">
                  <c:v>2010496</c:v>
                </c:pt>
                <c:pt idx="24581">
                  <c:v>303337375</c:v>
                </c:pt>
                <c:pt idx="24582">
                  <c:v>10418355</c:v>
                </c:pt>
                <c:pt idx="24583">
                  <c:v>106137460</c:v>
                </c:pt>
                <c:pt idx="24584">
                  <c:v>353782954</c:v>
                </c:pt>
                <c:pt idx="24585">
                  <c:v>32174240</c:v>
                </c:pt>
                <c:pt idx="24586">
                  <c:v>2005212</c:v>
                </c:pt>
                <c:pt idx="24587">
                  <c:v>14753853</c:v>
                </c:pt>
                <c:pt idx="24588">
                  <c:v>164586912</c:v>
                </c:pt>
                <c:pt idx="24589">
                  <c:v>138417539</c:v>
                </c:pt>
                <c:pt idx="24590">
                  <c:v>27452348</c:v>
                </c:pt>
                <c:pt idx="24591">
                  <c:v>70267542</c:v>
                </c:pt>
                <c:pt idx="24592">
                  <c:v>70403474</c:v>
                </c:pt>
                <c:pt idx="24593">
                  <c:v>30198520</c:v>
                </c:pt>
                <c:pt idx="24594">
                  <c:v>25512500</c:v>
                </c:pt>
                <c:pt idx="24595">
                  <c:v>14534044</c:v>
                </c:pt>
                <c:pt idx="24596">
                  <c:v>404318240</c:v>
                </c:pt>
                <c:pt idx="24597">
                  <c:v>24138504</c:v>
                </c:pt>
                <c:pt idx="24598">
                  <c:v>25803372</c:v>
                </c:pt>
                <c:pt idx="24599">
                  <c:v>13747070</c:v>
                </c:pt>
                <c:pt idx="24600">
                  <c:v>40960800</c:v>
                </c:pt>
                <c:pt idx="24601">
                  <c:v>17874912</c:v>
                </c:pt>
                <c:pt idx="24602">
                  <c:v>8965063</c:v>
                </c:pt>
                <c:pt idx="24603">
                  <c:v>7478312</c:v>
                </c:pt>
                <c:pt idx="24604">
                  <c:v>25424216</c:v>
                </c:pt>
                <c:pt idx="24605">
                  <c:v>54127720</c:v>
                </c:pt>
                <c:pt idx="24606">
                  <c:v>536581051</c:v>
                </c:pt>
                <c:pt idx="24607">
                  <c:v>128556428</c:v>
                </c:pt>
                <c:pt idx="24608">
                  <c:v>262118103</c:v>
                </c:pt>
                <c:pt idx="24609">
                  <c:v>510031812</c:v>
                </c:pt>
                <c:pt idx="24610">
                  <c:v>60216171</c:v>
                </c:pt>
                <c:pt idx="24611">
                  <c:v>8598879</c:v>
                </c:pt>
                <c:pt idx="24612">
                  <c:v>72570674</c:v>
                </c:pt>
                <c:pt idx="24613">
                  <c:v>5058580</c:v>
                </c:pt>
                <c:pt idx="24614">
                  <c:v>47642364</c:v>
                </c:pt>
                <c:pt idx="24615">
                  <c:v>38811900</c:v>
                </c:pt>
                <c:pt idx="24616">
                  <c:v>89496160</c:v>
                </c:pt>
                <c:pt idx="24617">
                  <c:v>26998686</c:v>
                </c:pt>
                <c:pt idx="24618">
                  <c:v>94094847</c:v>
                </c:pt>
                <c:pt idx="24619">
                  <c:v>46138963</c:v>
                </c:pt>
                <c:pt idx="24620">
                  <c:v>62908080</c:v>
                </c:pt>
                <c:pt idx="24621">
                  <c:v>59860332</c:v>
                </c:pt>
                <c:pt idx="24622">
                  <c:v>47231919</c:v>
                </c:pt>
                <c:pt idx="24623">
                  <c:v>10136967</c:v>
                </c:pt>
                <c:pt idx="24624">
                  <c:v>55467120</c:v>
                </c:pt>
                <c:pt idx="24625">
                  <c:v>246215034</c:v>
                </c:pt>
                <c:pt idx="24626">
                  <c:v>207092886</c:v>
                </c:pt>
                <c:pt idx="24627">
                  <c:v>130040768</c:v>
                </c:pt>
                <c:pt idx="24628">
                  <c:v>761017400</c:v>
                </c:pt>
                <c:pt idx="24629">
                  <c:v>490887440</c:v>
                </c:pt>
                <c:pt idx="24630">
                  <c:v>279391800</c:v>
                </c:pt>
                <c:pt idx="24631">
                  <c:v>1582396345</c:v>
                </c:pt>
                <c:pt idx="24632">
                  <c:v>471489650</c:v>
                </c:pt>
                <c:pt idx="24633">
                  <c:v>917340060</c:v>
                </c:pt>
                <c:pt idx="24634">
                  <c:v>1026959656</c:v>
                </c:pt>
                <c:pt idx="24635">
                  <c:v>272581605</c:v>
                </c:pt>
                <c:pt idx="24636">
                  <c:v>568275551</c:v>
                </c:pt>
                <c:pt idx="24637">
                  <c:v>148530003</c:v>
                </c:pt>
                <c:pt idx="24638">
                  <c:v>3841396</c:v>
                </c:pt>
                <c:pt idx="24639">
                  <c:v>21208586</c:v>
                </c:pt>
                <c:pt idx="24640">
                  <c:v>60180560</c:v>
                </c:pt>
                <c:pt idx="24641">
                  <c:v>28404585</c:v>
                </c:pt>
                <c:pt idx="24642">
                  <c:v>7936944</c:v>
                </c:pt>
                <c:pt idx="24643">
                  <c:v>74622783</c:v>
                </c:pt>
                <c:pt idx="24644">
                  <c:v>4033425</c:v>
                </c:pt>
                <c:pt idx="24645">
                  <c:v>15203916</c:v>
                </c:pt>
                <c:pt idx="24646">
                  <c:v>5275179</c:v>
                </c:pt>
                <c:pt idx="24647">
                  <c:v>2447094</c:v>
                </c:pt>
                <c:pt idx="24648">
                  <c:v>47275920</c:v>
                </c:pt>
                <c:pt idx="24649">
                  <c:v>22705449</c:v>
                </c:pt>
                <c:pt idx="24650">
                  <c:v>50983675</c:v>
                </c:pt>
                <c:pt idx="24651">
                  <c:v>35630710</c:v>
                </c:pt>
                <c:pt idx="24652">
                  <c:v>22938384</c:v>
                </c:pt>
                <c:pt idx="24653">
                  <c:v>1959607</c:v>
                </c:pt>
                <c:pt idx="24654">
                  <c:v>64921406</c:v>
                </c:pt>
                <c:pt idx="24655">
                  <c:v>14680812</c:v>
                </c:pt>
                <c:pt idx="24656">
                  <c:v>6455640</c:v>
                </c:pt>
                <c:pt idx="24657">
                  <c:v>16568902</c:v>
                </c:pt>
                <c:pt idx="24658">
                  <c:v>9687410</c:v>
                </c:pt>
                <c:pt idx="24659">
                  <c:v>102847916</c:v>
                </c:pt>
                <c:pt idx="24660">
                  <c:v>19413383</c:v>
                </c:pt>
                <c:pt idx="24661">
                  <c:v>33118078</c:v>
                </c:pt>
                <c:pt idx="24662">
                  <c:v>243141565</c:v>
                </c:pt>
                <c:pt idx="24663">
                  <c:v>66586685</c:v>
                </c:pt>
                <c:pt idx="24664">
                  <c:v>224962650</c:v>
                </c:pt>
                <c:pt idx="24665">
                  <c:v>43721368</c:v>
                </c:pt>
                <c:pt idx="24666">
                  <c:v>92001687</c:v>
                </c:pt>
                <c:pt idx="24667">
                  <c:v>243014432</c:v>
                </c:pt>
                <c:pt idx="24668">
                  <c:v>388084196</c:v>
                </c:pt>
                <c:pt idx="24669">
                  <c:v>140415156</c:v>
                </c:pt>
                <c:pt idx="24670">
                  <c:v>9084559</c:v>
                </c:pt>
                <c:pt idx="24671">
                  <c:v>36854433</c:v>
                </c:pt>
                <c:pt idx="24672">
                  <c:v>21404640</c:v>
                </c:pt>
                <c:pt idx="24673">
                  <c:v>45423299</c:v>
                </c:pt>
                <c:pt idx="24674">
                  <c:v>152746995</c:v>
                </c:pt>
                <c:pt idx="24675">
                  <c:v>14738108</c:v>
                </c:pt>
                <c:pt idx="24676">
                  <c:v>43646214</c:v>
                </c:pt>
                <c:pt idx="24677">
                  <c:v>49047648</c:v>
                </c:pt>
                <c:pt idx="24678">
                  <c:v>107711031</c:v>
                </c:pt>
                <c:pt idx="24679">
                  <c:v>41335228</c:v>
                </c:pt>
                <c:pt idx="24680">
                  <c:v>35304965</c:v>
                </c:pt>
                <c:pt idx="24681">
                  <c:v>96721226</c:v>
                </c:pt>
                <c:pt idx="24682">
                  <c:v>419568048</c:v>
                </c:pt>
                <c:pt idx="24683">
                  <c:v>194035326</c:v>
                </c:pt>
                <c:pt idx="24684">
                  <c:v>195551560</c:v>
                </c:pt>
                <c:pt idx="24685">
                  <c:v>67742481</c:v>
                </c:pt>
                <c:pt idx="24686">
                  <c:v>13882176</c:v>
                </c:pt>
                <c:pt idx="24687">
                  <c:v>31355100</c:v>
                </c:pt>
                <c:pt idx="24688">
                  <c:v>43669710</c:v>
                </c:pt>
                <c:pt idx="24689">
                  <c:v>34173720</c:v>
                </c:pt>
                <c:pt idx="24690">
                  <c:v>73620360</c:v>
                </c:pt>
                <c:pt idx="24691">
                  <c:v>4573218</c:v>
                </c:pt>
                <c:pt idx="24692">
                  <c:v>5564208</c:v>
                </c:pt>
                <c:pt idx="24693">
                  <c:v>12651357</c:v>
                </c:pt>
                <c:pt idx="24694">
                  <c:v>44590392</c:v>
                </c:pt>
                <c:pt idx="24695">
                  <c:v>283489920</c:v>
                </c:pt>
                <c:pt idx="24696">
                  <c:v>1098592</c:v>
                </c:pt>
                <c:pt idx="24697">
                  <c:v>143935356</c:v>
                </c:pt>
                <c:pt idx="24698">
                  <c:v>340630266</c:v>
                </c:pt>
                <c:pt idx="24699">
                  <c:v>192645000</c:v>
                </c:pt>
                <c:pt idx="24700">
                  <c:v>661234640</c:v>
                </c:pt>
                <c:pt idx="24701">
                  <c:v>264319385</c:v>
                </c:pt>
                <c:pt idx="24702">
                  <c:v>139675008</c:v>
                </c:pt>
                <c:pt idx="24703">
                  <c:v>288491560</c:v>
                </c:pt>
                <c:pt idx="24704">
                  <c:v>692398212</c:v>
                </c:pt>
                <c:pt idx="24705">
                  <c:v>451224768</c:v>
                </c:pt>
                <c:pt idx="24706">
                  <c:v>300203025</c:v>
                </c:pt>
                <c:pt idx="24707">
                  <c:v>1131335142</c:v>
                </c:pt>
                <c:pt idx="24708">
                  <c:v>1602116946</c:v>
                </c:pt>
                <c:pt idx="24709">
                  <c:v>2147483647</c:v>
                </c:pt>
                <c:pt idx="24710">
                  <c:v>74767696</c:v>
                </c:pt>
                <c:pt idx="24711">
                  <c:v>27523548</c:v>
                </c:pt>
                <c:pt idx="24712">
                  <c:v>7607226</c:v>
                </c:pt>
                <c:pt idx="24713">
                  <c:v>89772067</c:v>
                </c:pt>
                <c:pt idx="24714">
                  <c:v>3978477</c:v>
                </c:pt>
                <c:pt idx="24715">
                  <c:v>19099584</c:v>
                </c:pt>
                <c:pt idx="24716">
                  <c:v>29776730</c:v>
                </c:pt>
                <c:pt idx="24717">
                  <c:v>193960970</c:v>
                </c:pt>
                <c:pt idx="24718">
                  <c:v>32221430</c:v>
                </c:pt>
                <c:pt idx="24719">
                  <c:v>145057112</c:v>
                </c:pt>
                <c:pt idx="24720">
                  <c:v>67060818</c:v>
                </c:pt>
                <c:pt idx="24721">
                  <c:v>128660388</c:v>
                </c:pt>
                <c:pt idx="24722">
                  <c:v>7151617</c:v>
                </c:pt>
                <c:pt idx="24723">
                  <c:v>70853256</c:v>
                </c:pt>
                <c:pt idx="24724">
                  <c:v>27275760</c:v>
                </c:pt>
                <c:pt idx="24725">
                  <c:v>12485351</c:v>
                </c:pt>
                <c:pt idx="24726">
                  <c:v>14843040</c:v>
                </c:pt>
                <c:pt idx="24727">
                  <c:v>28517720</c:v>
                </c:pt>
                <c:pt idx="24728">
                  <c:v>11895400</c:v>
                </c:pt>
                <c:pt idx="24729">
                  <c:v>15267092</c:v>
                </c:pt>
                <c:pt idx="24730">
                  <c:v>13620204</c:v>
                </c:pt>
                <c:pt idx="24731">
                  <c:v>7791582</c:v>
                </c:pt>
                <c:pt idx="24732">
                  <c:v>4599070</c:v>
                </c:pt>
                <c:pt idx="24733">
                  <c:v>144000454</c:v>
                </c:pt>
                <c:pt idx="24734">
                  <c:v>7470528</c:v>
                </c:pt>
                <c:pt idx="24735">
                  <c:v>37905420</c:v>
                </c:pt>
                <c:pt idx="24736">
                  <c:v>8445940</c:v>
                </c:pt>
                <c:pt idx="24737">
                  <c:v>50734250</c:v>
                </c:pt>
                <c:pt idx="24738">
                  <c:v>44381136</c:v>
                </c:pt>
                <c:pt idx="24739">
                  <c:v>16155315</c:v>
                </c:pt>
                <c:pt idx="24740">
                  <c:v>4094294</c:v>
                </c:pt>
                <c:pt idx="24741">
                  <c:v>396957000</c:v>
                </c:pt>
                <c:pt idx="24742">
                  <c:v>75800836</c:v>
                </c:pt>
                <c:pt idx="24743">
                  <c:v>311834448</c:v>
                </c:pt>
                <c:pt idx="24744">
                  <c:v>2546802</c:v>
                </c:pt>
                <c:pt idx="24745">
                  <c:v>22640184</c:v>
                </c:pt>
                <c:pt idx="24746">
                  <c:v>151871550</c:v>
                </c:pt>
                <c:pt idx="24747">
                  <c:v>23094432</c:v>
                </c:pt>
                <c:pt idx="24748">
                  <c:v>7497675</c:v>
                </c:pt>
                <c:pt idx="24749">
                  <c:v>4267080</c:v>
                </c:pt>
                <c:pt idx="24750">
                  <c:v>65210028</c:v>
                </c:pt>
                <c:pt idx="24751">
                  <c:v>476757684</c:v>
                </c:pt>
                <c:pt idx="24752">
                  <c:v>894868370</c:v>
                </c:pt>
                <c:pt idx="24753">
                  <c:v>532409060</c:v>
                </c:pt>
                <c:pt idx="24754">
                  <c:v>864664362</c:v>
                </c:pt>
                <c:pt idx="24755">
                  <c:v>995295180</c:v>
                </c:pt>
                <c:pt idx="24756">
                  <c:v>63815293</c:v>
                </c:pt>
                <c:pt idx="24757">
                  <c:v>801224369</c:v>
                </c:pt>
                <c:pt idx="24758">
                  <c:v>808649632</c:v>
                </c:pt>
                <c:pt idx="24759">
                  <c:v>1995651045</c:v>
                </c:pt>
                <c:pt idx="24760">
                  <c:v>1258378550</c:v>
                </c:pt>
                <c:pt idx="24761">
                  <c:v>2132244702</c:v>
                </c:pt>
                <c:pt idx="24762">
                  <c:v>35116288</c:v>
                </c:pt>
                <c:pt idx="24763">
                  <c:v>629537971</c:v>
                </c:pt>
                <c:pt idx="24764">
                  <c:v>860396292</c:v>
                </c:pt>
                <c:pt idx="24765">
                  <c:v>122308578</c:v>
                </c:pt>
                <c:pt idx="24766">
                  <c:v>54167960</c:v>
                </c:pt>
                <c:pt idx="24767">
                  <c:v>335908899</c:v>
                </c:pt>
                <c:pt idx="24768">
                  <c:v>40854900</c:v>
                </c:pt>
                <c:pt idx="24769">
                  <c:v>8367537</c:v>
                </c:pt>
                <c:pt idx="24770">
                  <c:v>17731390</c:v>
                </c:pt>
                <c:pt idx="24771">
                  <c:v>11474592</c:v>
                </c:pt>
                <c:pt idx="24772">
                  <c:v>38478432</c:v>
                </c:pt>
                <c:pt idx="24773">
                  <c:v>182439444</c:v>
                </c:pt>
                <c:pt idx="24774">
                  <c:v>23013984</c:v>
                </c:pt>
                <c:pt idx="24775">
                  <c:v>48007440</c:v>
                </c:pt>
                <c:pt idx="24776">
                  <c:v>335239304</c:v>
                </c:pt>
                <c:pt idx="24777">
                  <c:v>94026927</c:v>
                </c:pt>
                <c:pt idx="24778">
                  <c:v>937160128</c:v>
                </c:pt>
                <c:pt idx="24779">
                  <c:v>1324234494</c:v>
                </c:pt>
                <c:pt idx="24780">
                  <c:v>898340793</c:v>
                </c:pt>
                <c:pt idx="24781">
                  <c:v>885116672</c:v>
                </c:pt>
                <c:pt idx="24782">
                  <c:v>924272052</c:v>
                </c:pt>
                <c:pt idx="24783">
                  <c:v>287476950</c:v>
                </c:pt>
                <c:pt idx="24784">
                  <c:v>288007412</c:v>
                </c:pt>
                <c:pt idx="24785">
                  <c:v>7003920</c:v>
                </c:pt>
                <c:pt idx="24786">
                  <c:v>40010259</c:v>
                </c:pt>
                <c:pt idx="24787">
                  <c:v>116424024</c:v>
                </c:pt>
                <c:pt idx="24788">
                  <c:v>11674894</c:v>
                </c:pt>
                <c:pt idx="24789">
                  <c:v>21554280</c:v>
                </c:pt>
                <c:pt idx="24790">
                  <c:v>40624826</c:v>
                </c:pt>
                <c:pt idx="24791">
                  <c:v>98539584</c:v>
                </c:pt>
                <c:pt idx="24792">
                  <c:v>273881907</c:v>
                </c:pt>
                <c:pt idx="24793">
                  <c:v>211736921</c:v>
                </c:pt>
                <c:pt idx="24794">
                  <c:v>123145620</c:v>
                </c:pt>
                <c:pt idx="24795">
                  <c:v>4690476</c:v>
                </c:pt>
                <c:pt idx="24796">
                  <c:v>73231896</c:v>
                </c:pt>
                <c:pt idx="24797">
                  <c:v>14611082</c:v>
                </c:pt>
                <c:pt idx="24798">
                  <c:v>15706283</c:v>
                </c:pt>
                <c:pt idx="24799">
                  <c:v>76968696</c:v>
                </c:pt>
                <c:pt idx="24800">
                  <c:v>27856128</c:v>
                </c:pt>
                <c:pt idx="24801">
                  <c:v>21678519</c:v>
                </c:pt>
                <c:pt idx="24802">
                  <c:v>181251840</c:v>
                </c:pt>
                <c:pt idx="24803">
                  <c:v>14326769</c:v>
                </c:pt>
                <c:pt idx="24804">
                  <c:v>60123360</c:v>
                </c:pt>
                <c:pt idx="24805">
                  <c:v>25896107</c:v>
                </c:pt>
                <c:pt idx="24806">
                  <c:v>77499672</c:v>
                </c:pt>
                <c:pt idx="24807">
                  <c:v>594802320</c:v>
                </c:pt>
                <c:pt idx="24808">
                  <c:v>278761000</c:v>
                </c:pt>
                <c:pt idx="24809">
                  <c:v>602425837</c:v>
                </c:pt>
                <c:pt idx="24810">
                  <c:v>265383108</c:v>
                </c:pt>
                <c:pt idx="24811">
                  <c:v>812533842</c:v>
                </c:pt>
                <c:pt idx="24812">
                  <c:v>338059154</c:v>
                </c:pt>
                <c:pt idx="24813">
                  <c:v>2147483647</c:v>
                </c:pt>
                <c:pt idx="24814">
                  <c:v>536908194</c:v>
                </c:pt>
                <c:pt idx="24815">
                  <c:v>380479958</c:v>
                </c:pt>
                <c:pt idx="24816">
                  <c:v>1234900128</c:v>
                </c:pt>
                <c:pt idx="24817">
                  <c:v>943178640</c:v>
                </c:pt>
                <c:pt idx="24818">
                  <c:v>693307608</c:v>
                </c:pt>
                <c:pt idx="24819">
                  <c:v>1695620794</c:v>
                </c:pt>
                <c:pt idx="24820">
                  <c:v>554936403</c:v>
                </c:pt>
                <c:pt idx="24821">
                  <c:v>916711124</c:v>
                </c:pt>
                <c:pt idx="24822">
                  <c:v>806262545</c:v>
                </c:pt>
                <c:pt idx="24823">
                  <c:v>494403292</c:v>
                </c:pt>
                <c:pt idx="24824">
                  <c:v>2147483647</c:v>
                </c:pt>
                <c:pt idx="24825">
                  <c:v>2088553189</c:v>
                </c:pt>
                <c:pt idx="24826">
                  <c:v>830125728</c:v>
                </c:pt>
                <c:pt idx="24827">
                  <c:v>1303734534</c:v>
                </c:pt>
                <c:pt idx="24828">
                  <c:v>1511454153</c:v>
                </c:pt>
                <c:pt idx="24829">
                  <c:v>1558212420</c:v>
                </c:pt>
                <c:pt idx="24830">
                  <c:v>1057380142</c:v>
                </c:pt>
                <c:pt idx="24831">
                  <c:v>947127475</c:v>
                </c:pt>
                <c:pt idx="24832">
                  <c:v>1209387660</c:v>
                </c:pt>
                <c:pt idx="24833">
                  <c:v>1437494135</c:v>
                </c:pt>
                <c:pt idx="24834">
                  <c:v>2147483647</c:v>
                </c:pt>
                <c:pt idx="24835">
                  <c:v>1498696668</c:v>
                </c:pt>
                <c:pt idx="24836">
                  <c:v>2147483647</c:v>
                </c:pt>
                <c:pt idx="24837">
                  <c:v>2147483647</c:v>
                </c:pt>
                <c:pt idx="24838">
                  <c:v>1134175563</c:v>
                </c:pt>
                <c:pt idx="24839">
                  <c:v>565892277</c:v>
                </c:pt>
                <c:pt idx="24840">
                  <c:v>147795920</c:v>
                </c:pt>
                <c:pt idx="24841">
                  <c:v>2147483647</c:v>
                </c:pt>
                <c:pt idx="24842">
                  <c:v>1641664833</c:v>
                </c:pt>
                <c:pt idx="24843">
                  <c:v>1681478949</c:v>
                </c:pt>
                <c:pt idx="24844">
                  <c:v>1635248277</c:v>
                </c:pt>
                <c:pt idx="24845">
                  <c:v>1878019616</c:v>
                </c:pt>
                <c:pt idx="24846">
                  <c:v>2056085406</c:v>
                </c:pt>
                <c:pt idx="24847">
                  <c:v>460147508</c:v>
                </c:pt>
                <c:pt idx="24848">
                  <c:v>1623354792</c:v>
                </c:pt>
                <c:pt idx="24849">
                  <c:v>1171736552</c:v>
                </c:pt>
                <c:pt idx="24850">
                  <c:v>17270240</c:v>
                </c:pt>
                <c:pt idx="24851">
                  <c:v>249983757</c:v>
                </c:pt>
                <c:pt idx="24852">
                  <c:v>98650331</c:v>
                </c:pt>
                <c:pt idx="24853">
                  <c:v>1609430310</c:v>
                </c:pt>
                <c:pt idx="24854">
                  <c:v>53866220</c:v>
                </c:pt>
                <c:pt idx="24855">
                  <c:v>222173337</c:v>
                </c:pt>
                <c:pt idx="24856">
                  <c:v>651712824</c:v>
                </c:pt>
                <c:pt idx="24857">
                  <c:v>2147483647</c:v>
                </c:pt>
                <c:pt idx="24858">
                  <c:v>1344469280</c:v>
                </c:pt>
                <c:pt idx="24859">
                  <c:v>898635226</c:v>
                </c:pt>
                <c:pt idx="24860">
                  <c:v>2147483647</c:v>
                </c:pt>
                <c:pt idx="24861">
                  <c:v>1919649294</c:v>
                </c:pt>
                <c:pt idx="24862">
                  <c:v>1629689761</c:v>
                </c:pt>
                <c:pt idx="24863">
                  <c:v>313726875</c:v>
                </c:pt>
                <c:pt idx="24864">
                  <c:v>99412000</c:v>
                </c:pt>
                <c:pt idx="24865">
                  <c:v>404280190</c:v>
                </c:pt>
                <c:pt idx="24866">
                  <c:v>1422670802</c:v>
                </c:pt>
                <c:pt idx="24867">
                  <c:v>1331668110</c:v>
                </c:pt>
                <c:pt idx="24868">
                  <c:v>1754142680</c:v>
                </c:pt>
                <c:pt idx="24869">
                  <c:v>2147483647</c:v>
                </c:pt>
                <c:pt idx="24870">
                  <c:v>1447343818</c:v>
                </c:pt>
                <c:pt idx="24871">
                  <c:v>681164447</c:v>
                </c:pt>
                <c:pt idx="24872">
                  <c:v>2147483647</c:v>
                </c:pt>
                <c:pt idx="24873">
                  <c:v>2147483647</c:v>
                </c:pt>
                <c:pt idx="24874">
                  <c:v>1748626305</c:v>
                </c:pt>
                <c:pt idx="24875">
                  <c:v>1692317614</c:v>
                </c:pt>
                <c:pt idx="24876">
                  <c:v>1455986628</c:v>
                </c:pt>
                <c:pt idx="24877">
                  <c:v>9370298</c:v>
                </c:pt>
                <c:pt idx="24878">
                  <c:v>1501931484</c:v>
                </c:pt>
                <c:pt idx="24879">
                  <c:v>105886588</c:v>
                </c:pt>
                <c:pt idx="24880">
                  <c:v>2147483647</c:v>
                </c:pt>
                <c:pt idx="24881">
                  <c:v>239100294</c:v>
                </c:pt>
                <c:pt idx="24882">
                  <c:v>219353101</c:v>
                </c:pt>
                <c:pt idx="24883">
                  <c:v>71713790</c:v>
                </c:pt>
                <c:pt idx="24884">
                  <c:v>1830033040</c:v>
                </c:pt>
                <c:pt idx="24885">
                  <c:v>1623088128</c:v>
                </c:pt>
                <c:pt idx="24886">
                  <c:v>1171074560</c:v>
                </c:pt>
                <c:pt idx="24887">
                  <c:v>1563596304</c:v>
                </c:pt>
                <c:pt idx="24888">
                  <c:v>1596301380</c:v>
                </c:pt>
                <c:pt idx="24889">
                  <c:v>1946450425</c:v>
                </c:pt>
                <c:pt idx="24890">
                  <c:v>1151808522</c:v>
                </c:pt>
                <c:pt idx="24891">
                  <c:v>2007579424</c:v>
                </c:pt>
                <c:pt idx="24892">
                  <c:v>2147483647</c:v>
                </c:pt>
                <c:pt idx="24893">
                  <c:v>2147483647</c:v>
                </c:pt>
                <c:pt idx="24894">
                  <c:v>1271116448</c:v>
                </c:pt>
                <c:pt idx="24895">
                  <c:v>950058171</c:v>
                </c:pt>
                <c:pt idx="24896">
                  <c:v>862960392</c:v>
                </c:pt>
                <c:pt idx="24897">
                  <c:v>470804996</c:v>
                </c:pt>
                <c:pt idx="24898">
                  <c:v>1429635174</c:v>
                </c:pt>
                <c:pt idx="24899">
                  <c:v>1559095520</c:v>
                </c:pt>
                <c:pt idx="24900">
                  <c:v>2147483647</c:v>
                </c:pt>
                <c:pt idx="24901">
                  <c:v>1182445364</c:v>
                </c:pt>
                <c:pt idx="24902">
                  <c:v>1186248063</c:v>
                </c:pt>
                <c:pt idx="24903">
                  <c:v>812467008</c:v>
                </c:pt>
                <c:pt idx="24904">
                  <c:v>764488278</c:v>
                </c:pt>
                <c:pt idx="24905">
                  <c:v>1167694955</c:v>
                </c:pt>
                <c:pt idx="24906">
                  <c:v>1482691584</c:v>
                </c:pt>
                <c:pt idx="24907">
                  <c:v>1910662625</c:v>
                </c:pt>
                <c:pt idx="24908">
                  <c:v>1523485638</c:v>
                </c:pt>
                <c:pt idx="24909">
                  <c:v>756240320</c:v>
                </c:pt>
                <c:pt idx="24910">
                  <c:v>1440857215</c:v>
                </c:pt>
                <c:pt idx="24911">
                  <c:v>906736528</c:v>
                </c:pt>
                <c:pt idx="24912">
                  <c:v>1526585922</c:v>
                </c:pt>
                <c:pt idx="24913">
                  <c:v>1180595490</c:v>
                </c:pt>
                <c:pt idx="24914">
                  <c:v>346211203</c:v>
                </c:pt>
                <c:pt idx="24915">
                  <c:v>544853120</c:v>
                </c:pt>
                <c:pt idx="24916">
                  <c:v>1171007700</c:v>
                </c:pt>
                <c:pt idx="24917">
                  <c:v>1854129608</c:v>
                </c:pt>
                <c:pt idx="24918">
                  <c:v>1153211445</c:v>
                </c:pt>
                <c:pt idx="24919">
                  <c:v>1331029150</c:v>
                </c:pt>
                <c:pt idx="24920">
                  <c:v>624257466</c:v>
                </c:pt>
                <c:pt idx="24921">
                  <c:v>1006675236</c:v>
                </c:pt>
                <c:pt idx="24922">
                  <c:v>1101059505</c:v>
                </c:pt>
                <c:pt idx="24923">
                  <c:v>835138419</c:v>
                </c:pt>
                <c:pt idx="24924">
                  <c:v>1439222250</c:v>
                </c:pt>
                <c:pt idx="24925">
                  <c:v>1413736236</c:v>
                </c:pt>
                <c:pt idx="24926">
                  <c:v>1280243016</c:v>
                </c:pt>
                <c:pt idx="24927">
                  <c:v>1795856256</c:v>
                </c:pt>
                <c:pt idx="24928">
                  <c:v>992211000</c:v>
                </c:pt>
                <c:pt idx="24929">
                  <c:v>2147483647</c:v>
                </c:pt>
                <c:pt idx="24930">
                  <c:v>1417484880</c:v>
                </c:pt>
                <c:pt idx="24931">
                  <c:v>23849208</c:v>
                </c:pt>
                <c:pt idx="24932">
                  <c:v>330240311</c:v>
                </c:pt>
                <c:pt idx="24933">
                  <c:v>296770152</c:v>
                </c:pt>
                <c:pt idx="24934">
                  <c:v>461670944</c:v>
                </c:pt>
                <c:pt idx="24935">
                  <c:v>26429625</c:v>
                </c:pt>
                <c:pt idx="24936">
                  <c:v>25646606</c:v>
                </c:pt>
                <c:pt idx="24937">
                  <c:v>507985841</c:v>
                </c:pt>
                <c:pt idx="24938">
                  <c:v>307017960</c:v>
                </c:pt>
                <c:pt idx="24939">
                  <c:v>12223015</c:v>
                </c:pt>
                <c:pt idx="24940">
                  <c:v>25022208</c:v>
                </c:pt>
                <c:pt idx="24941">
                  <c:v>1720536294</c:v>
                </c:pt>
                <c:pt idx="24942">
                  <c:v>104556924</c:v>
                </c:pt>
                <c:pt idx="24943">
                  <c:v>72263060</c:v>
                </c:pt>
                <c:pt idx="24944">
                  <c:v>205621743</c:v>
                </c:pt>
                <c:pt idx="24945">
                  <c:v>47959316</c:v>
                </c:pt>
                <c:pt idx="24946">
                  <c:v>123743592</c:v>
                </c:pt>
                <c:pt idx="24947">
                  <c:v>91672425</c:v>
                </c:pt>
                <c:pt idx="24948">
                  <c:v>29528265</c:v>
                </c:pt>
                <c:pt idx="24949">
                  <c:v>29563345</c:v>
                </c:pt>
                <c:pt idx="24950">
                  <c:v>125610548</c:v>
                </c:pt>
                <c:pt idx="24951">
                  <c:v>92391040</c:v>
                </c:pt>
                <c:pt idx="24952">
                  <c:v>23487084</c:v>
                </c:pt>
                <c:pt idx="24953">
                  <c:v>20352837</c:v>
                </c:pt>
                <c:pt idx="24954">
                  <c:v>29294436</c:v>
                </c:pt>
                <c:pt idx="24955">
                  <c:v>61504520</c:v>
                </c:pt>
                <c:pt idx="24956">
                  <c:v>214723047</c:v>
                </c:pt>
                <c:pt idx="24957">
                  <c:v>881558272</c:v>
                </c:pt>
                <c:pt idx="24958">
                  <c:v>201402300</c:v>
                </c:pt>
                <c:pt idx="24959">
                  <c:v>89905188</c:v>
                </c:pt>
                <c:pt idx="24960">
                  <c:v>14708400</c:v>
                </c:pt>
                <c:pt idx="24961">
                  <c:v>192001680</c:v>
                </c:pt>
                <c:pt idx="24962">
                  <c:v>8297799</c:v>
                </c:pt>
                <c:pt idx="24963">
                  <c:v>50035440</c:v>
                </c:pt>
                <c:pt idx="24964">
                  <c:v>32492944</c:v>
                </c:pt>
                <c:pt idx="24965">
                  <c:v>24362988</c:v>
                </c:pt>
                <c:pt idx="24966">
                  <c:v>59608660</c:v>
                </c:pt>
                <c:pt idx="24967">
                  <c:v>16737414</c:v>
                </c:pt>
                <c:pt idx="24968">
                  <c:v>925100052</c:v>
                </c:pt>
                <c:pt idx="24969">
                  <c:v>407704764</c:v>
                </c:pt>
                <c:pt idx="24970">
                  <c:v>1480799600</c:v>
                </c:pt>
                <c:pt idx="24971">
                  <c:v>2023654972</c:v>
                </c:pt>
                <c:pt idx="24972">
                  <c:v>2147483647</c:v>
                </c:pt>
                <c:pt idx="24973">
                  <c:v>24968944</c:v>
                </c:pt>
                <c:pt idx="24974">
                  <c:v>94735886</c:v>
                </c:pt>
                <c:pt idx="24975">
                  <c:v>757696555</c:v>
                </c:pt>
                <c:pt idx="24976">
                  <c:v>203708480</c:v>
                </c:pt>
                <c:pt idx="24977">
                  <c:v>28713975</c:v>
                </c:pt>
                <c:pt idx="24978">
                  <c:v>1732202603</c:v>
                </c:pt>
                <c:pt idx="24979">
                  <c:v>523033082</c:v>
                </c:pt>
                <c:pt idx="24980">
                  <c:v>52550780</c:v>
                </c:pt>
                <c:pt idx="24981">
                  <c:v>1036966986</c:v>
                </c:pt>
                <c:pt idx="24982">
                  <c:v>1609528820</c:v>
                </c:pt>
                <c:pt idx="24983">
                  <c:v>2147483647</c:v>
                </c:pt>
                <c:pt idx="24984">
                  <c:v>1719937494</c:v>
                </c:pt>
                <c:pt idx="24985">
                  <c:v>1268707680</c:v>
                </c:pt>
                <c:pt idx="24986">
                  <c:v>188828640</c:v>
                </c:pt>
                <c:pt idx="24987">
                  <c:v>809507160</c:v>
                </c:pt>
                <c:pt idx="24988">
                  <c:v>89877060</c:v>
                </c:pt>
                <c:pt idx="24989">
                  <c:v>102410520</c:v>
                </c:pt>
                <c:pt idx="24990">
                  <c:v>1796000376</c:v>
                </c:pt>
                <c:pt idx="24991">
                  <c:v>1939282722</c:v>
                </c:pt>
                <c:pt idx="24992">
                  <c:v>278779989</c:v>
                </c:pt>
                <c:pt idx="24993">
                  <c:v>204461550</c:v>
                </c:pt>
                <c:pt idx="24994">
                  <c:v>298895735</c:v>
                </c:pt>
                <c:pt idx="24995">
                  <c:v>53029026</c:v>
                </c:pt>
                <c:pt idx="24996">
                  <c:v>7431830</c:v>
                </c:pt>
                <c:pt idx="24997">
                  <c:v>452399002</c:v>
                </c:pt>
                <c:pt idx="24998">
                  <c:v>534008420</c:v>
                </c:pt>
                <c:pt idx="24999">
                  <c:v>1844602160</c:v>
                </c:pt>
                <c:pt idx="25000">
                  <c:v>1247856320</c:v>
                </c:pt>
                <c:pt idx="25001">
                  <c:v>1842767206</c:v>
                </c:pt>
                <c:pt idx="25002">
                  <c:v>564805489</c:v>
                </c:pt>
                <c:pt idx="25003">
                  <c:v>132379536</c:v>
                </c:pt>
                <c:pt idx="25004">
                  <c:v>27745514</c:v>
                </c:pt>
                <c:pt idx="25005">
                  <c:v>10454305</c:v>
                </c:pt>
                <c:pt idx="25006">
                  <c:v>448484720</c:v>
                </c:pt>
                <c:pt idx="25007">
                  <c:v>478923354</c:v>
                </c:pt>
                <c:pt idx="25008">
                  <c:v>409816458</c:v>
                </c:pt>
                <c:pt idx="25009">
                  <c:v>24485631</c:v>
                </c:pt>
                <c:pt idx="25010">
                  <c:v>30678234</c:v>
                </c:pt>
                <c:pt idx="25011">
                  <c:v>1064057275</c:v>
                </c:pt>
                <c:pt idx="25012">
                  <c:v>2126941712</c:v>
                </c:pt>
                <c:pt idx="25013">
                  <c:v>483516295</c:v>
                </c:pt>
                <c:pt idx="25014">
                  <c:v>205942752</c:v>
                </c:pt>
                <c:pt idx="25015">
                  <c:v>111346912</c:v>
                </c:pt>
                <c:pt idx="25016">
                  <c:v>97426490</c:v>
                </c:pt>
                <c:pt idx="25017">
                  <c:v>148118532</c:v>
                </c:pt>
                <c:pt idx="25018">
                  <c:v>54517305</c:v>
                </c:pt>
                <c:pt idx="25019">
                  <c:v>66790289</c:v>
                </c:pt>
                <c:pt idx="25020">
                  <c:v>49114470</c:v>
                </c:pt>
                <c:pt idx="25021">
                  <c:v>143299077</c:v>
                </c:pt>
                <c:pt idx="25022">
                  <c:v>21812043</c:v>
                </c:pt>
                <c:pt idx="25023">
                  <c:v>81124248</c:v>
                </c:pt>
                <c:pt idx="25024">
                  <c:v>431680984</c:v>
                </c:pt>
                <c:pt idx="25025">
                  <c:v>20800012</c:v>
                </c:pt>
                <c:pt idx="25026">
                  <c:v>69107300</c:v>
                </c:pt>
                <c:pt idx="25027">
                  <c:v>12319440</c:v>
                </c:pt>
                <c:pt idx="25028">
                  <c:v>13888439</c:v>
                </c:pt>
                <c:pt idx="25029">
                  <c:v>194328652</c:v>
                </c:pt>
                <c:pt idx="25030">
                  <c:v>10259922</c:v>
                </c:pt>
                <c:pt idx="25031">
                  <c:v>16129080</c:v>
                </c:pt>
                <c:pt idx="25032">
                  <c:v>29154048</c:v>
                </c:pt>
                <c:pt idx="25033">
                  <c:v>14457830</c:v>
                </c:pt>
                <c:pt idx="25034">
                  <c:v>38886912</c:v>
                </c:pt>
                <c:pt idx="25035">
                  <c:v>16140468</c:v>
                </c:pt>
                <c:pt idx="25036">
                  <c:v>95332086</c:v>
                </c:pt>
                <c:pt idx="25037">
                  <c:v>13066385</c:v>
                </c:pt>
                <c:pt idx="25038">
                  <c:v>14754894</c:v>
                </c:pt>
                <c:pt idx="25039">
                  <c:v>47890440</c:v>
                </c:pt>
                <c:pt idx="25040">
                  <c:v>1934100</c:v>
                </c:pt>
                <c:pt idx="25041">
                  <c:v>38292108</c:v>
                </c:pt>
                <c:pt idx="25042">
                  <c:v>9479694</c:v>
                </c:pt>
                <c:pt idx="25043">
                  <c:v>33395724</c:v>
                </c:pt>
                <c:pt idx="25044">
                  <c:v>8670844</c:v>
                </c:pt>
                <c:pt idx="25045">
                  <c:v>2259104</c:v>
                </c:pt>
                <c:pt idx="25046">
                  <c:v>14713740</c:v>
                </c:pt>
                <c:pt idx="25047">
                  <c:v>9941750</c:v>
                </c:pt>
                <c:pt idx="25048">
                  <c:v>4629702</c:v>
                </c:pt>
                <c:pt idx="25049">
                  <c:v>417698892</c:v>
                </c:pt>
                <c:pt idx="25050">
                  <c:v>6232680</c:v>
                </c:pt>
                <c:pt idx="25051">
                  <c:v>6299724</c:v>
                </c:pt>
                <c:pt idx="25052">
                  <c:v>105912125</c:v>
                </c:pt>
                <c:pt idx="25053">
                  <c:v>127151584</c:v>
                </c:pt>
                <c:pt idx="25054">
                  <c:v>3314304</c:v>
                </c:pt>
                <c:pt idx="25055">
                  <c:v>7443898</c:v>
                </c:pt>
                <c:pt idx="25056">
                  <c:v>9204773</c:v>
                </c:pt>
                <c:pt idx="25057">
                  <c:v>158210010</c:v>
                </c:pt>
                <c:pt idx="25058">
                  <c:v>188750325</c:v>
                </c:pt>
                <c:pt idx="25059">
                  <c:v>47980056</c:v>
                </c:pt>
                <c:pt idx="25060">
                  <c:v>38226342</c:v>
                </c:pt>
                <c:pt idx="25061">
                  <c:v>7926648</c:v>
                </c:pt>
                <c:pt idx="25062">
                  <c:v>40738026</c:v>
                </c:pt>
                <c:pt idx="25063">
                  <c:v>136857990</c:v>
                </c:pt>
                <c:pt idx="25064">
                  <c:v>20963880</c:v>
                </c:pt>
                <c:pt idx="25065">
                  <c:v>263158444</c:v>
                </c:pt>
                <c:pt idx="25066">
                  <c:v>920998755</c:v>
                </c:pt>
                <c:pt idx="25067">
                  <c:v>8923350</c:v>
                </c:pt>
                <c:pt idx="25068">
                  <c:v>33428580</c:v>
                </c:pt>
                <c:pt idx="25069">
                  <c:v>32179008</c:v>
                </c:pt>
                <c:pt idx="25070">
                  <c:v>40304264</c:v>
                </c:pt>
                <c:pt idx="25071">
                  <c:v>8422548</c:v>
                </c:pt>
                <c:pt idx="25072">
                  <c:v>13810416</c:v>
                </c:pt>
                <c:pt idx="25073">
                  <c:v>12589668</c:v>
                </c:pt>
                <c:pt idx="25074">
                  <c:v>22071168</c:v>
                </c:pt>
                <c:pt idx="25075">
                  <c:v>72545346</c:v>
                </c:pt>
                <c:pt idx="25076">
                  <c:v>274600852</c:v>
                </c:pt>
                <c:pt idx="25077">
                  <c:v>2922288</c:v>
                </c:pt>
                <c:pt idx="25078">
                  <c:v>1250168677</c:v>
                </c:pt>
                <c:pt idx="25079">
                  <c:v>29906160</c:v>
                </c:pt>
                <c:pt idx="25080">
                  <c:v>21818551</c:v>
                </c:pt>
                <c:pt idx="25081">
                  <c:v>7197450</c:v>
                </c:pt>
                <c:pt idx="25082">
                  <c:v>31896896</c:v>
                </c:pt>
                <c:pt idx="25083">
                  <c:v>31677885</c:v>
                </c:pt>
                <c:pt idx="25084">
                  <c:v>13016592</c:v>
                </c:pt>
                <c:pt idx="25085">
                  <c:v>6104484</c:v>
                </c:pt>
                <c:pt idx="25086">
                  <c:v>511451906</c:v>
                </c:pt>
                <c:pt idx="25087">
                  <c:v>47174675</c:v>
                </c:pt>
                <c:pt idx="25088">
                  <c:v>547837801</c:v>
                </c:pt>
                <c:pt idx="25089">
                  <c:v>931119032</c:v>
                </c:pt>
                <c:pt idx="25090">
                  <c:v>674769543</c:v>
                </c:pt>
                <c:pt idx="25091">
                  <c:v>1873720868</c:v>
                </c:pt>
                <c:pt idx="25092">
                  <c:v>1003537472</c:v>
                </c:pt>
                <c:pt idx="25093">
                  <c:v>1038326887</c:v>
                </c:pt>
                <c:pt idx="25094">
                  <c:v>1054230080</c:v>
                </c:pt>
                <c:pt idx="25095">
                  <c:v>772730805</c:v>
                </c:pt>
                <c:pt idx="25096">
                  <c:v>1025581376</c:v>
                </c:pt>
                <c:pt idx="25097">
                  <c:v>658788412</c:v>
                </c:pt>
                <c:pt idx="25098">
                  <c:v>903500592</c:v>
                </c:pt>
                <c:pt idx="25099">
                  <c:v>996409160</c:v>
                </c:pt>
                <c:pt idx="25100">
                  <c:v>1782886088</c:v>
                </c:pt>
                <c:pt idx="25101">
                  <c:v>1388887500</c:v>
                </c:pt>
                <c:pt idx="25102">
                  <c:v>1679591040</c:v>
                </c:pt>
                <c:pt idx="25103">
                  <c:v>1340224155</c:v>
                </c:pt>
                <c:pt idx="25104">
                  <c:v>1080269312</c:v>
                </c:pt>
                <c:pt idx="25105">
                  <c:v>1222059060</c:v>
                </c:pt>
                <c:pt idx="25106">
                  <c:v>656538429</c:v>
                </c:pt>
                <c:pt idx="25107">
                  <c:v>455811953</c:v>
                </c:pt>
                <c:pt idx="25108">
                  <c:v>103733328</c:v>
                </c:pt>
                <c:pt idx="25109">
                  <c:v>222460056</c:v>
                </c:pt>
                <c:pt idx="25110">
                  <c:v>24451621</c:v>
                </c:pt>
                <c:pt idx="25111">
                  <c:v>33986469</c:v>
                </c:pt>
                <c:pt idx="25112">
                  <c:v>182397539</c:v>
                </c:pt>
                <c:pt idx="25113">
                  <c:v>710097696</c:v>
                </c:pt>
                <c:pt idx="25114">
                  <c:v>285339532</c:v>
                </c:pt>
                <c:pt idx="25115">
                  <c:v>601003890</c:v>
                </c:pt>
                <c:pt idx="25116">
                  <c:v>1003227000</c:v>
                </c:pt>
                <c:pt idx="25117">
                  <c:v>356524708</c:v>
                </c:pt>
                <c:pt idx="25118">
                  <c:v>1086744094</c:v>
                </c:pt>
                <c:pt idx="25119">
                  <c:v>373128476</c:v>
                </c:pt>
                <c:pt idx="25120">
                  <c:v>47528320</c:v>
                </c:pt>
                <c:pt idx="25121">
                  <c:v>23769312</c:v>
                </c:pt>
                <c:pt idx="25122">
                  <c:v>37249380</c:v>
                </c:pt>
                <c:pt idx="25123">
                  <c:v>43326654</c:v>
                </c:pt>
                <c:pt idx="25124">
                  <c:v>5853070</c:v>
                </c:pt>
                <c:pt idx="25125">
                  <c:v>20894328</c:v>
                </c:pt>
                <c:pt idx="25126">
                  <c:v>3462606</c:v>
                </c:pt>
                <c:pt idx="25127">
                  <c:v>8547644</c:v>
                </c:pt>
                <c:pt idx="25128">
                  <c:v>4754923</c:v>
                </c:pt>
                <c:pt idx="25129">
                  <c:v>2283120</c:v>
                </c:pt>
                <c:pt idx="25130">
                  <c:v>28801378</c:v>
                </c:pt>
                <c:pt idx="25131">
                  <c:v>36913052</c:v>
                </c:pt>
                <c:pt idx="25132">
                  <c:v>14016882</c:v>
                </c:pt>
                <c:pt idx="25133">
                  <c:v>2529183</c:v>
                </c:pt>
                <c:pt idx="25134">
                  <c:v>2068818</c:v>
                </c:pt>
                <c:pt idx="25135">
                  <c:v>33733241</c:v>
                </c:pt>
                <c:pt idx="25136">
                  <c:v>4983168</c:v>
                </c:pt>
                <c:pt idx="25137">
                  <c:v>251144865</c:v>
                </c:pt>
                <c:pt idx="25138">
                  <c:v>218292380</c:v>
                </c:pt>
                <c:pt idx="25139">
                  <c:v>69812574</c:v>
                </c:pt>
                <c:pt idx="25140">
                  <c:v>45516438</c:v>
                </c:pt>
                <c:pt idx="25141">
                  <c:v>9847532</c:v>
                </c:pt>
                <c:pt idx="25142">
                  <c:v>25301220</c:v>
                </c:pt>
                <c:pt idx="25143">
                  <c:v>16792036</c:v>
                </c:pt>
                <c:pt idx="25144">
                  <c:v>34480440</c:v>
                </c:pt>
                <c:pt idx="25145">
                  <c:v>7604016</c:v>
                </c:pt>
                <c:pt idx="25146">
                  <c:v>98649462</c:v>
                </c:pt>
                <c:pt idx="25147">
                  <c:v>77680875</c:v>
                </c:pt>
                <c:pt idx="25148">
                  <c:v>5478396</c:v>
                </c:pt>
                <c:pt idx="25149">
                  <c:v>48666798</c:v>
                </c:pt>
                <c:pt idx="25150">
                  <c:v>8665019</c:v>
                </c:pt>
                <c:pt idx="25151">
                  <c:v>21430386</c:v>
                </c:pt>
                <c:pt idx="25152">
                  <c:v>5213709</c:v>
                </c:pt>
                <c:pt idx="25153">
                  <c:v>318608136</c:v>
                </c:pt>
                <c:pt idx="25154">
                  <c:v>995800</c:v>
                </c:pt>
                <c:pt idx="25155">
                  <c:v>3474219</c:v>
                </c:pt>
                <c:pt idx="25156">
                  <c:v>101169908</c:v>
                </c:pt>
                <c:pt idx="25157">
                  <c:v>23871744</c:v>
                </c:pt>
                <c:pt idx="25158">
                  <c:v>21727440</c:v>
                </c:pt>
                <c:pt idx="25159">
                  <c:v>24998351</c:v>
                </c:pt>
                <c:pt idx="25160">
                  <c:v>372994596</c:v>
                </c:pt>
                <c:pt idx="25161">
                  <c:v>50732776</c:v>
                </c:pt>
                <c:pt idx="25162">
                  <c:v>11048320</c:v>
                </c:pt>
                <c:pt idx="25163">
                  <c:v>367838328</c:v>
                </c:pt>
                <c:pt idx="25164">
                  <c:v>17183398</c:v>
                </c:pt>
                <c:pt idx="25165">
                  <c:v>89897744</c:v>
                </c:pt>
                <c:pt idx="25166">
                  <c:v>7298102</c:v>
                </c:pt>
                <c:pt idx="25167">
                  <c:v>25635537</c:v>
                </c:pt>
                <c:pt idx="25168">
                  <c:v>61621892</c:v>
                </c:pt>
                <c:pt idx="25169">
                  <c:v>89562035</c:v>
                </c:pt>
                <c:pt idx="25170">
                  <c:v>22687564</c:v>
                </c:pt>
                <c:pt idx="25171">
                  <c:v>7065968</c:v>
                </c:pt>
                <c:pt idx="25172">
                  <c:v>169218000</c:v>
                </c:pt>
                <c:pt idx="25173">
                  <c:v>40701993</c:v>
                </c:pt>
                <c:pt idx="25174">
                  <c:v>27815272</c:v>
                </c:pt>
                <c:pt idx="25175">
                  <c:v>17200940</c:v>
                </c:pt>
                <c:pt idx="25176">
                  <c:v>183906692</c:v>
                </c:pt>
                <c:pt idx="25177">
                  <c:v>25162704</c:v>
                </c:pt>
                <c:pt idx="25178">
                  <c:v>449585530</c:v>
                </c:pt>
                <c:pt idx="25179">
                  <c:v>5510551</c:v>
                </c:pt>
                <c:pt idx="25180">
                  <c:v>23054790</c:v>
                </c:pt>
                <c:pt idx="25181">
                  <c:v>33168848</c:v>
                </c:pt>
                <c:pt idx="25182">
                  <c:v>19539288</c:v>
                </c:pt>
                <c:pt idx="25183">
                  <c:v>37958868</c:v>
                </c:pt>
                <c:pt idx="25184">
                  <c:v>340711323</c:v>
                </c:pt>
                <c:pt idx="25185">
                  <c:v>246692080</c:v>
                </c:pt>
                <c:pt idx="25186">
                  <c:v>791783616</c:v>
                </c:pt>
                <c:pt idx="25187">
                  <c:v>8057140</c:v>
                </c:pt>
                <c:pt idx="25188">
                  <c:v>44263344</c:v>
                </c:pt>
                <c:pt idx="25189">
                  <c:v>168763420</c:v>
                </c:pt>
                <c:pt idx="25190">
                  <c:v>54716512</c:v>
                </c:pt>
                <c:pt idx="25191">
                  <c:v>162424610</c:v>
                </c:pt>
                <c:pt idx="25192">
                  <c:v>296346616</c:v>
                </c:pt>
                <c:pt idx="25193">
                  <c:v>39089078</c:v>
                </c:pt>
                <c:pt idx="25194">
                  <c:v>29885004</c:v>
                </c:pt>
                <c:pt idx="25195">
                  <c:v>50844972</c:v>
                </c:pt>
                <c:pt idx="25196">
                  <c:v>179836506</c:v>
                </c:pt>
                <c:pt idx="25197">
                  <c:v>3881935</c:v>
                </c:pt>
                <c:pt idx="25198">
                  <c:v>40601160</c:v>
                </c:pt>
                <c:pt idx="25199">
                  <c:v>13627275</c:v>
                </c:pt>
                <c:pt idx="25200">
                  <c:v>125692657</c:v>
                </c:pt>
                <c:pt idx="25201">
                  <c:v>1206692386</c:v>
                </c:pt>
                <c:pt idx="25202">
                  <c:v>340381790</c:v>
                </c:pt>
                <c:pt idx="25203">
                  <c:v>7367337</c:v>
                </c:pt>
                <c:pt idx="25204">
                  <c:v>402765825</c:v>
                </c:pt>
                <c:pt idx="25205">
                  <c:v>160566834</c:v>
                </c:pt>
                <c:pt idx="25206">
                  <c:v>60780148</c:v>
                </c:pt>
                <c:pt idx="25207">
                  <c:v>87822845</c:v>
                </c:pt>
                <c:pt idx="25208">
                  <c:v>139385520</c:v>
                </c:pt>
                <c:pt idx="25209">
                  <c:v>4250994</c:v>
                </c:pt>
                <c:pt idx="25210">
                  <c:v>20034308</c:v>
                </c:pt>
                <c:pt idx="25211">
                  <c:v>16375280</c:v>
                </c:pt>
                <c:pt idx="25212">
                  <c:v>689575284</c:v>
                </c:pt>
                <c:pt idx="25213">
                  <c:v>408020109</c:v>
                </c:pt>
                <c:pt idx="25214">
                  <c:v>56469960</c:v>
                </c:pt>
                <c:pt idx="25215">
                  <c:v>140414145</c:v>
                </c:pt>
                <c:pt idx="25216">
                  <c:v>61326126</c:v>
                </c:pt>
                <c:pt idx="25217">
                  <c:v>392966114</c:v>
                </c:pt>
                <c:pt idx="25218">
                  <c:v>34380412</c:v>
                </c:pt>
                <c:pt idx="25219">
                  <c:v>84362632</c:v>
                </c:pt>
                <c:pt idx="25220">
                  <c:v>9121812</c:v>
                </c:pt>
                <c:pt idx="25221">
                  <c:v>52977909</c:v>
                </c:pt>
                <c:pt idx="25222">
                  <c:v>24203968</c:v>
                </c:pt>
                <c:pt idx="25223">
                  <c:v>123828080</c:v>
                </c:pt>
                <c:pt idx="25224">
                  <c:v>8135393</c:v>
                </c:pt>
                <c:pt idx="25225">
                  <c:v>45547918</c:v>
                </c:pt>
                <c:pt idx="25226">
                  <c:v>128762328</c:v>
                </c:pt>
                <c:pt idx="25227">
                  <c:v>43754742</c:v>
                </c:pt>
                <c:pt idx="25228">
                  <c:v>13588068</c:v>
                </c:pt>
                <c:pt idx="25229">
                  <c:v>127903092</c:v>
                </c:pt>
                <c:pt idx="25230">
                  <c:v>20720351</c:v>
                </c:pt>
                <c:pt idx="25231">
                  <c:v>298145372</c:v>
                </c:pt>
                <c:pt idx="25232">
                  <c:v>557406610</c:v>
                </c:pt>
                <c:pt idx="25233">
                  <c:v>441198378</c:v>
                </c:pt>
                <c:pt idx="25234">
                  <c:v>871180842</c:v>
                </c:pt>
                <c:pt idx="25235">
                  <c:v>22664226</c:v>
                </c:pt>
                <c:pt idx="25236">
                  <c:v>487968042</c:v>
                </c:pt>
                <c:pt idx="25237">
                  <c:v>517330692</c:v>
                </c:pt>
                <c:pt idx="25238">
                  <c:v>736179786</c:v>
                </c:pt>
                <c:pt idx="25239">
                  <c:v>331175130</c:v>
                </c:pt>
                <c:pt idx="25240">
                  <c:v>504266835</c:v>
                </c:pt>
                <c:pt idx="25241">
                  <c:v>35331712</c:v>
                </c:pt>
                <c:pt idx="25242">
                  <c:v>78120896</c:v>
                </c:pt>
                <c:pt idx="25243">
                  <c:v>30603594</c:v>
                </c:pt>
                <c:pt idx="25244">
                  <c:v>196957716</c:v>
                </c:pt>
                <c:pt idx="25245">
                  <c:v>66696096</c:v>
                </c:pt>
                <c:pt idx="25246">
                  <c:v>615319390</c:v>
                </c:pt>
                <c:pt idx="25247">
                  <c:v>7226500</c:v>
                </c:pt>
                <c:pt idx="25248">
                  <c:v>819329628</c:v>
                </c:pt>
                <c:pt idx="25249">
                  <c:v>470274167</c:v>
                </c:pt>
                <c:pt idx="25250">
                  <c:v>314602932</c:v>
                </c:pt>
                <c:pt idx="25251">
                  <c:v>764939568</c:v>
                </c:pt>
                <c:pt idx="25252">
                  <c:v>42228901</c:v>
                </c:pt>
                <c:pt idx="25253">
                  <c:v>348761385</c:v>
                </c:pt>
                <c:pt idx="25254">
                  <c:v>236808367</c:v>
                </c:pt>
                <c:pt idx="25255">
                  <c:v>30123605</c:v>
                </c:pt>
                <c:pt idx="25256">
                  <c:v>342206808</c:v>
                </c:pt>
                <c:pt idx="25257">
                  <c:v>470741249</c:v>
                </c:pt>
                <c:pt idx="25258">
                  <c:v>180790282</c:v>
                </c:pt>
                <c:pt idx="25259">
                  <c:v>302202750</c:v>
                </c:pt>
                <c:pt idx="25260">
                  <c:v>97421985</c:v>
                </c:pt>
                <c:pt idx="25261">
                  <c:v>110680920</c:v>
                </c:pt>
                <c:pt idx="25262">
                  <c:v>18488520</c:v>
                </c:pt>
                <c:pt idx="25263">
                  <c:v>39588824</c:v>
                </c:pt>
                <c:pt idx="25264">
                  <c:v>8136696</c:v>
                </c:pt>
                <c:pt idx="25265">
                  <c:v>69402800</c:v>
                </c:pt>
                <c:pt idx="25266">
                  <c:v>7207497</c:v>
                </c:pt>
                <c:pt idx="25267">
                  <c:v>394992180</c:v>
                </c:pt>
                <c:pt idx="25268">
                  <c:v>181591620</c:v>
                </c:pt>
                <c:pt idx="25269">
                  <c:v>48396222</c:v>
                </c:pt>
                <c:pt idx="25270">
                  <c:v>374809890</c:v>
                </c:pt>
                <c:pt idx="25271">
                  <c:v>1323618565</c:v>
                </c:pt>
                <c:pt idx="25272">
                  <c:v>590632224</c:v>
                </c:pt>
                <c:pt idx="25273">
                  <c:v>1682415696</c:v>
                </c:pt>
                <c:pt idx="25274">
                  <c:v>14061821</c:v>
                </c:pt>
                <c:pt idx="25275">
                  <c:v>48708056</c:v>
                </c:pt>
                <c:pt idx="25276">
                  <c:v>11115360</c:v>
                </c:pt>
                <c:pt idx="25277">
                  <c:v>12963745</c:v>
                </c:pt>
                <c:pt idx="25278">
                  <c:v>3474381</c:v>
                </c:pt>
                <c:pt idx="25279">
                  <c:v>617944005</c:v>
                </c:pt>
                <c:pt idx="25280">
                  <c:v>484884868</c:v>
                </c:pt>
                <c:pt idx="25281">
                  <c:v>58050342</c:v>
                </c:pt>
                <c:pt idx="25282">
                  <c:v>15589080</c:v>
                </c:pt>
                <c:pt idx="25283">
                  <c:v>244773548</c:v>
                </c:pt>
                <c:pt idx="25284">
                  <c:v>9083412</c:v>
                </c:pt>
                <c:pt idx="25285">
                  <c:v>18533873</c:v>
                </c:pt>
                <c:pt idx="25286">
                  <c:v>11941948</c:v>
                </c:pt>
                <c:pt idx="25287">
                  <c:v>40889455</c:v>
                </c:pt>
                <c:pt idx="25288">
                  <c:v>10620832</c:v>
                </c:pt>
                <c:pt idx="25289">
                  <c:v>47506415</c:v>
                </c:pt>
                <c:pt idx="25290">
                  <c:v>6617794</c:v>
                </c:pt>
                <c:pt idx="25291">
                  <c:v>285604792</c:v>
                </c:pt>
                <c:pt idx="25292">
                  <c:v>14378085</c:v>
                </c:pt>
                <c:pt idx="25293">
                  <c:v>263188896</c:v>
                </c:pt>
                <c:pt idx="25294">
                  <c:v>19626867</c:v>
                </c:pt>
                <c:pt idx="25295">
                  <c:v>4042668</c:v>
                </c:pt>
                <c:pt idx="25296">
                  <c:v>4185012</c:v>
                </c:pt>
                <c:pt idx="25297">
                  <c:v>25643344</c:v>
                </c:pt>
                <c:pt idx="25298">
                  <c:v>18461008</c:v>
                </c:pt>
                <c:pt idx="25299">
                  <c:v>8027756</c:v>
                </c:pt>
                <c:pt idx="25300">
                  <c:v>86474522</c:v>
                </c:pt>
                <c:pt idx="25301">
                  <c:v>22919112</c:v>
                </c:pt>
                <c:pt idx="25302">
                  <c:v>219113667</c:v>
                </c:pt>
                <c:pt idx="25303">
                  <c:v>46420920</c:v>
                </c:pt>
                <c:pt idx="25304">
                  <c:v>18053346</c:v>
                </c:pt>
                <c:pt idx="25305">
                  <c:v>13167900</c:v>
                </c:pt>
                <c:pt idx="25306">
                  <c:v>557278428</c:v>
                </c:pt>
                <c:pt idx="25307">
                  <c:v>19363698</c:v>
                </c:pt>
                <c:pt idx="25308">
                  <c:v>7810270</c:v>
                </c:pt>
                <c:pt idx="25309">
                  <c:v>5643876</c:v>
                </c:pt>
                <c:pt idx="25310">
                  <c:v>69239334</c:v>
                </c:pt>
                <c:pt idx="25311">
                  <c:v>981099</c:v>
                </c:pt>
                <c:pt idx="25312">
                  <c:v>87054846</c:v>
                </c:pt>
                <c:pt idx="25313">
                  <c:v>6094767</c:v>
                </c:pt>
                <c:pt idx="25314">
                  <c:v>31628625</c:v>
                </c:pt>
                <c:pt idx="25315">
                  <c:v>411395646</c:v>
                </c:pt>
                <c:pt idx="25316">
                  <c:v>7354020</c:v>
                </c:pt>
                <c:pt idx="25317">
                  <c:v>25511668</c:v>
                </c:pt>
                <c:pt idx="25318">
                  <c:v>146962432</c:v>
                </c:pt>
                <c:pt idx="25319">
                  <c:v>477259660</c:v>
                </c:pt>
                <c:pt idx="25320">
                  <c:v>15105230</c:v>
                </c:pt>
                <c:pt idx="25321">
                  <c:v>53287297</c:v>
                </c:pt>
                <c:pt idx="25322">
                  <c:v>22394350</c:v>
                </c:pt>
                <c:pt idx="25323">
                  <c:v>10724000</c:v>
                </c:pt>
                <c:pt idx="25324">
                  <c:v>7766550</c:v>
                </c:pt>
                <c:pt idx="25325">
                  <c:v>399121406</c:v>
                </c:pt>
                <c:pt idx="25326">
                  <c:v>24322032</c:v>
                </c:pt>
                <c:pt idx="25327">
                  <c:v>889685931</c:v>
                </c:pt>
                <c:pt idx="25328">
                  <c:v>876469374</c:v>
                </c:pt>
                <c:pt idx="25329">
                  <c:v>817242712</c:v>
                </c:pt>
                <c:pt idx="25330">
                  <c:v>15312672</c:v>
                </c:pt>
                <c:pt idx="25331">
                  <c:v>371653816</c:v>
                </c:pt>
                <c:pt idx="25332">
                  <c:v>119454447</c:v>
                </c:pt>
                <c:pt idx="25333">
                  <c:v>134920422</c:v>
                </c:pt>
                <c:pt idx="25334">
                  <c:v>27014988</c:v>
                </c:pt>
                <c:pt idx="25335">
                  <c:v>6661146</c:v>
                </c:pt>
                <c:pt idx="25336">
                  <c:v>53917208</c:v>
                </c:pt>
                <c:pt idx="25337">
                  <c:v>26126450</c:v>
                </c:pt>
                <c:pt idx="25338">
                  <c:v>157878960</c:v>
                </c:pt>
                <c:pt idx="25339">
                  <c:v>6685560</c:v>
                </c:pt>
                <c:pt idx="25340">
                  <c:v>562832991</c:v>
                </c:pt>
                <c:pt idx="25341">
                  <c:v>944413206</c:v>
                </c:pt>
                <c:pt idx="25342">
                  <c:v>20247367</c:v>
                </c:pt>
                <c:pt idx="25343">
                  <c:v>85399479</c:v>
                </c:pt>
                <c:pt idx="25344">
                  <c:v>55351401</c:v>
                </c:pt>
                <c:pt idx="25345">
                  <c:v>95302545</c:v>
                </c:pt>
                <c:pt idx="25346">
                  <c:v>61913295</c:v>
                </c:pt>
                <c:pt idx="25347">
                  <c:v>70046532</c:v>
                </c:pt>
                <c:pt idx="25348">
                  <c:v>907413666</c:v>
                </c:pt>
                <c:pt idx="25349">
                  <c:v>12695592</c:v>
                </c:pt>
                <c:pt idx="25350">
                  <c:v>247615658</c:v>
                </c:pt>
                <c:pt idx="25351">
                  <c:v>11412576</c:v>
                </c:pt>
                <c:pt idx="25352">
                  <c:v>40079360</c:v>
                </c:pt>
                <c:pt idx="25353">
                  <c:v>18810340</c:v>
                </c:pt>
                <c:pt idx="25354">
                  <c:v>37964670</c:v>
                </c:pt>
                <c:pt idx="25355">
                  <c:v>928409550</c:v>
                </c:pt>
                <c:pt idx="25356">
                  <c:v>412121606</c:v>
                </c:pt>
                <c:pt idx="25357">
                  <c:v>21106600</c:v>
                </c:pt>
                <c:pt idx="25358">
                  <c:v>4745328</c:v>
                </c:pt>
                <c:pt idx="25359">
                  <c:v>448950600</c:v>
                </c:pt>
                <c:pt idx="25360">
                  <c:v>105398197</c:v>
                </c:pt>
                <c:pt idx="25361">
                  <c:v>46887775</c:v>
                </c:pt>
                <c:pt idx="25362">
                  <c:v>206588876</c:v>
                </c:pt>
                <c:pt idx="25363">
                  <c:v>3570518</c:v>
                </c:pt>
                <c:pt idx="25364">
                  <c:v>1143480192</c:v>
                </c:pt>
                <c:pt idx="25365">
                  <c:v>178857350</c:v>
                </c:pt>
                <c:pt idx="25366">
                  <c:v>108969714</c:v>
                </c:pt>
                <c:pt idx="25367">
                  <c:v>140640500</c:v>
                </c:pt>
                <c:pt idx="25368">
                  <c:v>64818229</c:v>
                </c:pt>
                <c:pt idx="25369">
                  <c:v>20175328</c:v>
                </c:pt>
                <c:pt idx="25370">
                  <c:v>10723968</c:v>
                </c:pt>
                <c:pt idx="25371">
                  <c:v>24196888</c:v>
                </c:pt>
                <c:pt idx="25372">
                  <c:v>10381152</c:v>
                </c:pt>
                <c:pt idx="25373">
                  <c:v>15173744</c:v>
                </c:pt>
                <c:pt idx="25374">
                  <c:v>34001090</c:v>
                </c:pt>
                <c:pt idx="25375">
                  <c:v>21732020</c:v>
                </c:pt>
                <c:pt idx="25376">
                  <c:v>155945010</c:v>
                </c:pt>
                <c:pt idx="25377">
                  <c:v>46399358</c:v>
                </c:pt>
                <c:pt idx="25378">
                  <c:v>1036329750</c:v>
                </c:pt>
                <c:pt idx="25379">
                  <c:v>598693947</c:v>
                </c:pt>
                <c:pt idx="25380">
                  <c:v>500238882</c:v>
                </c:pt>
                <c:pt idx="25381">
                  <c:v>88681182</c:v>
                </c:pt>
                <c:pt idx="25382">
                  <c:v>146831718</c:v>
                </c:pt>
                <c:pt idx="25383">
                  <c:v>5885334</c:v>
                </c:pt>
                <c:pt idx="25384">
                  <c:v>26001000</c:v>
                </c:pt>
                <c:pt idx="25385">
                  <c:v>15465142</c:v>
                </c:pt>
                <c:pt idx="25386">
                  <c:v>24847680</c:v>
                </c:pt>
                <c:pt idx="25387">
                  <c:v>10455240</c:v>
                </c:pt>
                <c:pt idx="25388">
                  <c:v>693034284</c:v>
                </c:pt>
                <c:pt idx="25389">
                  <c:v>6979812</c:v>
                </c:pt>
                <c:pt idx="25390">
                  <c:v>32487104</c:v>
                </c:pt>
                <c:pt idx="25391">
                  <c:v>23071464</c:v>
                </c:pt>
                <c:pt idx="25392">
                  <c:v>10999560</c:v>
                </c:pt>
                <c:pt idx="25393">
                  <c:v>30873546</c:v>
                </c:pt>
                <c:pt idx="25394">
                  <c:v>53506752</c:v>
                </c:pt>
                <c:pt idx="25395">
                  <c:v>27367611</c:v>
                </c:pt>
                <c:pt idx="25396">
                  <c:v>16873384</c:v>
                </c:pt>
                <c:pt idx="25397">
                  <c:v>65120150</c:v>
                </c:pt>
                <c:pt idx="25398">
                  <c:v>12176892</c:v>
                </c:pt>
                <c:pt idx="25399">
                  <c:v>72202512</c:v>
                </c:pt>
                <c:pt idx="25400">
                  <c:v>33004665</c:v>
                </c:pt>
                <c:pt idx="25401">
                  <c:v>61366880</c:v>
                </c:pt>
                <c:pt idx="25402">
                  <c:v>36509676</c:v>
                </c:pt>
                <c:pt idx="25403">
                  <c:v>120851640</c:v>
                </c:pt>
                <c:pt idx="25404">
                  <c:v>89834820</c:v>
                </c:pt>
                <c:pt idx="25405">
                  <c:v>22651836</c:v>
                </c:pt>
                <c:pt idx="25406">
                  <c:v>16153038</c:v>
                </c:pt>
                <c:pt idx="25407">
                  <c:v>22225280</c:v>
                </c:pt>
                <c:pt idx="25408">
                  <c:v>225633288</c:v>
                </c:pt>
                <c:pt idx="25409">
                  <c:v>7630198</c:v>
                </c:pt>
                <c:pt idx="25410">
                  <c:v>8447796</c:v>
                </c:pt>
                <c:pt idx="25411">
                  <c:v>352663950</c:v>
                </c:pt>
                <c:pt idx="25412">
                  <c:v>98532720</c:v>
                </c:pt>
                <c:pt idx="25413">
                  <c:v>5575583</c:v>
                </c:pt>
                <c:pt idx="25414">
                  <c:v>36163484</c:v>
                </c:pt>
                <c:pt idx="25415">
                  <c:v>1693641274</c:v>
                </c:pt>
                <c:pt idx="25416">
                  <c:v>4158715</c:v>
                </c:pt>
                <c:pt idx="25417">
                  <c:v>18917320</c:v>
                </c:pt>
                <c:pt idx="25418">
                  <c:v>101629881</c:v>
                </c:pt>
                <c:pt idx="25419">
                  <c:v>27288000</c:v>
                </c:pt>
                <c:pt idx="25420">
                  <c:v>328494285</c:v>
                </c:pt>
                <c:pt idx="25421">
                  <c:v>464241855</c:v>
                </c:pt>
                <c:pt idx="25422">
                  <c:v>23480010</c:v>
                </c:pt>
                <c:pt idx="25423">
                  <c:v>12724624</c:v>
                </c:pt>
                <c:pt idx="25424">
                  <c:v>43570884</c:v>
                </c:pt>
                <c:pt idx="25425">
                  <c:v>13093211</c:v>
                </c:pt>
                <c:pt idx="25426">
                  <c:v>15185076</c:v>
                </c:pt>
                <c:pt idx="25427">
                  <c:v>20196414</c:v>
                </c:pt>
                <c:pt idx="25428">
                  <c:v>173412552</c:v>
                </c:pt>
                <c:pt idx="25429">
                  <c:v>159930405</c:v>
                </c:pt>
                <c:pt idx="25430">
                  <c:v>92135056</c:v>
                </c:pt>
                <c:pt idx="25431">
                  <c:v>453747427</c:v>
                </c:pt>
                <c:pt idx="25432">
                  <c:v>54012332</c:v>
                </c:pt>
                <c:pt idx="25433">
                  <c:v>39419736</c:v>
                </c:pt>
                <c:pt idx="25434">
                  <c:v>154326835</c:v>
                </c:pt>
                <c:pt idx="25435">
                  <c:v>545881366</c:v>
                </c:pt>
                <c:pt idx="25436">
                  <c:v>227812150</c:v>
                </c:pt>
                <c:pt idx="25437">
                  <c:v>231007546</c:v>
                </c:pt>
                <c:pt idx="25438">
                  <c:v>25981240</c:v>
                </c:pt>
                <c:pt idx="25439">
                  <c:v>27614484</c:v>
                </c:pt>
                <c:pt idx="25440">
                  <c:v>39313452</c:v>
                </c:pt>
                <c:pt idx="25441">
                  <c:v>76494922</c:v>
                </c:pt>
                <c:pt idx="25442">
                  <c:v>32347560</c:v>
                </c:pt>
                <c:pt idx="25443">
                  <c:v>283288324</c:v>
                </c:pt>
                <c:pt idx="25444">
                  <c:v>73168700</c:v>
                </c:pt>
                <c:pt idx="25445">
                  <c:v>70630254</c:v>
                </c:pt>
                <c:pt idx="25446">
                  <c:v>104724578</c:v>
                </c:pt>
                <c:pt idx="25447">
                  <c:v>1207151816</c:v>
                </c:pt>
                <c:pt idx="25448">
                  <c:v>773165528</c:v>
                </c:pt>
                <c:pt idx="25449">
                  <c:v>873951160</c:v>
                </c:pt>
                <c:pt idx="25450">
                  <c:v>600649140</c:v>
                </c:pt>
                <c:pt idx="25451">
                  <c:v>58997325</c:v>
                </c:pt>
                <c:pt idx="25452">
                  <c:v>12388376</c:v>
                </c:pt>
                <c:pt idx="25453">
                  <c:v>106971214</c:v>
                </c:pt>
                <c:pt idx="25454">
                  <c:v>12901686</c:v>
                </c:pt>
                <c:pt idx="25455">
                  <c:v>15288912</c:v>
                </c:pt>
                <c:pt idx="25456">
                  <c:v>58242320</c:v>
                </c:pt>
                <c:pt idx="25457">
                  <c:v>35654754</c:v>
                </c:pt>
                <c:pt idx="25458">
                  <c:v>28349140</c:v>
                </c:pt>
                <c:pt idx="25459">
                  <c:v>29768960</c:v>
                </c:pt>
                <c:pt idx="25460">
                  <c:v>57025582</c:v>
                </c:pt>
                <c:pt idx="25461">
                  <c:v>17771670</c:v>
                </c:pt>
                <c:pt idx="25462">
                  <c:v>23291112</c:v>
                </c:pt>
                <c:pt idx="25463">
                  <c:v>7496384</c:v>
                </c:pt>
                <c:pt idx="25464">
                  <c:v>801286516</c:v>
                </c:pt>
                <c:pt idx="25465">
                  <c:v>595774350</c:v>
                </c:pt>
                <c:pt idx="25466">
                  <c:v>24858400</c:v>
                </c:pt>
                <c:pt idx="25467">
                  <c:v>23545800</c:v>
                </c:pt>
                <c:pt idx="25468">
                  <c:v>152177325</c:v>
                </c:pt>
                <c:pt idx="25469">
                  <c:v>63087068</c:v>
                </c:pt>
                <c:pt idx="25470">
                  <c:v>6206780</c:v>
                </c:pt>
                <c:pt idx="25471">
                  <c:v>22934988</c:v>
                </c:pt>
                <c:pt idx="25472">
                  <c:v>18995757</c:v>
                </c:pt>
                <c:pt idx="25473">
                  <c:v>61189977</c:v>
                </c:pt>
                <c:pt idx="25474">
                  <c:v>4062982</c:v>
                </c:pt>
                <c:pt idx="25475">
                  <c:v>214870008</c:v>
                </c:pt>
                <c:pt idx="25476">
                  <c:v>7465260</c:v>
                </c:pt>
                <c:pt idx="25477">
                  <c:v>176073352</c:v>
                </c:pt>
                <c:pt idx="25478">
                  <c:v>4137312</c:v>
                </c:pt>
                <c:pt idx="25479">
                  <c:v>1202347338</c:v>
                </c:pt>
                <c:pt idx="25480">
                  <c:v>50171024</c:v>
                </c:pt>
                <c:pt idx="25481">
                  <c:v>26470162</c:v>
                </c:pt>
                <c:pt idx="25482">
                  <c:v>27633180</c:v>
                </c:pt>
                <c:pt idx="25483">
                  <c:v>9622847</c:v>
                </c:pt>
                <c:pt idx="25484">
                  <c:v>144984354</c:v>
                </c:pt>
                <c:pt idx="25485">
                  <c:v>6889476</c:v>
                </c:pt>
                <c:pt idx="25486">
                  <c:v>35599476</c:v>
                </c:pt>
                <c:pt idx="25487">
                  <c:v>103676085</c:v>
                </c:pt>
                <c:pt idx="25488">
                  <c:v>32650398</c:v>
                </c:pt>
                <c:pt idx="25489">
                  <c:v>47964576</c:v>
                </c:pt>
                <c:pt idx="25490">
                  <c:v>53293040</c:v>
                </c:pt>
                <c:pt idx="25491">
                  <c:v>29440064</c:v>
                </c:pt>
                <c:pt idx="25492">
                  <c:v>19428760</c:v>
                </c:pt>
                <c:pt idx="25493">
                  <c:v>159153500</c:v>
                </c:pt>
                <c:pt idx="25494">
                  <c:v>12459249</c:v>
                </c:pt>
                <c:pt idx="25495">
                  <c:v>13382304</c:v>
                </c:pt>
                <c:pt idx="25496">
                  <c:v>8585280</c:v>
                </c:pt>
                <c:pt idx="25497">
                  <c:v>2339392</c:v>
                </c:pt>
                <c:pt idx="25498">
                  <c:v>17635680</c:v>
                </c:pt>
                <c:pt idx="25499">
                  <c:v>26434752</c:v>
                </c:pt>
                <c:pt idx="25500">
                  <c:v>22564576</c:v>
                </c:pt>
                <c:pt idx="25501">
                  <c:v>12000352</c:v>
                </c:pt>
                <c:pt idx="25502">
                  <c:v>14907412</c:v>
                </c:pt>
                <c:pt idx="25503">
                  <c:v>740547744</c:v>
                </c:pt>
                <c:pt idx="25504">
                  <c:v>905999536</c:v>
                </c:pt>
                <c:pt idx="25505">
                  <c:v>26861748</c:v>
                </c:pt>
                <c:pt idx="25506">
                  <c:v>63197064</c:v>
                </c:pt>
                <c:pt idx="25507">
                  <c:v>49943115</c:v>
                </c:pt>
                <c:pt idx="25508">
                  <c:v>22530300</c:v>
                </c:pt>
                <c:pt idx="25509">
                  <c:v>1774245280</c:v>
                </c:pt>
                <c:pt idx="25510">
                  <c:v>475014306</c:v>
                </c:pt>
                <c:pt idx="25511">
                  <c:v>253827522</c:v>
                </c:pt>
                <c:pt idx="25512">
                  <c:v>76010640</c:v>
                </c:pt>
                <c:pt idx="25513">
                  <c:v>26822240</c:v>
                </c:pt>
                <c:pt idx="25514">
                  <c:v>48394300</c:v>
                </c:pt>
                <c:pt idx="25515">
                  <c:v>28297500</c:v>
                </c:pt>
                <c:pt idx="25516">
                  <c:v>11602350</c:v>
                </c:pt>
                <c:pt idx="25517">
                  <c:v>101334312</c:v>
                </c:pt>
                <c:pt idx="25518">
                  <c:v>63833616</c:v>
                </c:pt>
                <c:pt idx="25519">
                  <c:v>12803184</c:v>
                </c:pt>
                <c:pt idx="25520">
                  <c:v>20979898</c:v>
                </c:pt>
                <c:pt idx="25521">
                  <c:v>827569624</c:v>
                </c:pt>
                <c:pt idx="25522">
                  <c:v>19762080</c:v>
                </c:pt>
                <c:pt idx="25523">
                  <c:v>217730777</c:v>
                </c:pt>
                <c:pt idx="25524">
                  <c:v>76547670</c:v>
                </c:pt>
                <c:pt idx="25525">
                  <c:v>127016736</c:v>
                </c:pt>
                <c:pt idx="25526">
                  <c:v>2060272045</c:v>
                </c:pt>
                <c:pt idx="25527">
                  <c:v>1643198</c:v>
                </c:pt>
                <c:pt idx="25528">
                  <c:v>384420480</c:v>
                </c:pt>
                <c:pt idx="25529">
                  <c:v>22020880</c:v>
                </c:pt>
                <c:pt idx="25530">
                  <c:v>2147483647</c:v>
                </c:pt>
                <c:pt idx="25531">
                  <c:v>531158880</c:v>
                </c:pt>
                <c:pt idx="25532">
                  <c:v>11255016</c:v>
                </c:pt>
                <c:pt idx="25533">
                  <c:v>895686440</c:v>
                </c:pt>
                <c:pt idx="25534">
                  <c:v>65855718</c:v>
                </c:pt>
                <c:pt idx="25535">
                  <c:v>165130380</c:v>
                </c:pt>
                <c:pt idx="25536">
                  <c:v>13448370</c:v>
                </c:pt>
                <c:pt idx="25537">
                  <c:v>3224210</c:v>
                </c:pt>
                <c:pt idx="25538">
                  <c:v>139483113</c:v>
                </c:pt>
                <c:pt idx="25539">
                  <c:v>249126903</c:v>
                </c:pt>
                <c:pt idx="25540">
                  <c:v>463824604</c:v>
                </c:pt>
                <c:pt idx="25541">
                  <c:v>16931712</c:v>
                </c:pt>
                <c:pt idx="25542">
                  <c:v>185827350</c:v>
                </c:pt>
                <c:pt idx="25543">
                  <c:v>146857914</c:v>
                </c:pt>
                <c:pt idx="25544">
                  <c:v>1527881250</c:v>
                </c:pt>
                <c:pt idx="25545">
                  <c:v>909240940</c:v>
                </c:pt>
                <c:pt idx="25546">
                  <c:v>1351583687</c:v>
                </c:pt>
                <c:pt idx="25547">
                  <c:v>660299392</c:v>
                </c:pt>
                <c:pt idx="25548">
                  <c:v>1189901034</c:v>
                </c:pt>
                <c:pt idx="25549">
                  <c:v>836827182</c:v>
                </c:pt>
                <c:pt idx="25550">
                  <c:v>1362353993</c:v>
                </c:pt>
                <c:pt idx="25551">
                  <c:v>2013576480</c:v>
                </c:pt>
                <c:pt idx="25552">
                  <c:v>552359665</c:v>
                </c:pt>
                <c:pt idx="25553">
                  <c:v>1088183715</c:v>
                </c:pt>
                <c:pt idx="25554">
                  <c:v>1006831870</c:v>
                </c:pt>
                <c:pt idx="25555">
                  <c:v>965202781</c:v>
                </c:pt>
                <c:pt idx="25556">
                  <c:v>195952420</c:v>
                </c:pt>
                <c:pt idx="25557">
                  <c:v>49899522</c:v>
                </c:pt>
                <c:pt idx="25558">
                  <c:v>228232488</c:v>
                </c:pt>
                <c:pt idx="25559">
                  <c:v>3724422</c:v>
                </c:pt>
                <c:pt idx="25560">
                  <c:v>2963182</c:v>
                </c:pt>
                <c:pt idx="25561">
                  <c:v>74119848</c:v>
                </c:pt>
                <c:pt idx="25562">
                  <c:v>32433914</c:v>
                </c:pt>
                <c:pt idx="25563">
                  <c:v>27352444</c:v>
                </c:pt>
                <c:pt idx="25564">
                  <c:v>1017705612</c:v>
                </c:pt>
                <c:pt idx="25565">
                  <c:v>1230756381</c:v>
                </c:pt>
                <c:pt idx="25566">
                  <c:v>18352426</c:v>
                </c:pt>
                <c:pt idx="25567">
                  <c:v>53502120</c:v>
                </c:pt>
                <c:pt idx="25568">
                  <c:v>60658633</c:v>
                </c:pt>
                <c:pt idx="25569">
                  <c:v>50136579</c:v>
                </c:pt>
                <c:pt idx="25570">
                  <c:v>12405861</c:v>
                </c:pt>
                <c:pt idx="25571">
                  <c:v>7001880</c:v>
                </c:pt>
                <c:pt idx="25572">
                  <c:v>3389680</c:v>
                </c:pt>
                <c:pt idx="25573">
                  <c:v>4706064</c:v>
                </c:pt>
                <c:pt idx="25574">
                  <c:v>65073222</c:v>
                </c:pt>
                <c:pt idx="25575">
                  <c:v>68653188</c:v>
                </c:pt>
                <c:pt idx="25576">
                  <c:v>808760365</c:v>
                </c:pt>
                <c:pt idx="25577">
                  <c:v>40731444</c:v>
                </c:pt>
                <c:pt idx="25578">
                  <c:v>63355140</c:v>
                </c:pt>
                <c:pt idx="25579">
                  <c:v>27553422</c:v>
                </c:pt>
                <c:pt idx="25580">
                  <c:v>18181530</c:v>
                </c:pt>
                <c:pt idx="25581">
                  <c:v>838994805</c:v>
                </c:pt>
                <c:pt idx="25582">
                  <c:v>65626416</c:v>
                </c:pt>
                <c:pt idx="25583">
                  <c:v>21552804</c:v>
                </c:pt>
                <c:pt idx="25584">
                  <c:v>24285079</c:v>
                </c:pt>
                <c:pt idx="25585">
                  <c:v>47523605</c:v>
                </c:pt>
                <c:pt idx="25586">
                  <c:v>67134015</c:v>
                </c:pt>
                <c:pt idx="25587">
                  <c:v>39088000</c:v>
                </c:pt>
                <c:pt idx="25588">
                  <c:v>26541012</c:v>
                </c:pt>
                <c:pt idx="25589">
                  <c:v>1279761384</c:v>
                </c:pt>
                <c:pt idx="25590">
                  <c:v>199823652</c:v>
                </c:pt>
                <c:pt idx="25591">
                  <c:v>40154517</c:v>
                </c:pt>
                <c:pt idx="25592">
                  <c:v>602828532</c:v>
                </c:pt>
                <c:pt idx="25593">
                  <c:v>264155815</c:v>
                </c:pt>
                <c:pt idx="25594">
                  <c:v>175612568</c:v>
                </c:pt>
                <c:pt idx="25595">
                  <c:v>562481577</c:v>
                </c:pt>
                <c:pt idx="25596">
                  <c:v>22907755</c:v>
                </c:pt>
                <c:pt idx="25597">
                  <c:v>14755728</c:v>
                </c:pt>
                <c:pt idx="25598">
                  <c:v>136628625</c:v>
                </c:pt>
                <c:pt idx="25599">
                  <c:v>8972838</c:v>
                </c:pt>
                <c:pt idx="25600">
                  <c:v>76299930</c:v>
                </c:pt>
                <c:pt idx="25601">
                  <c:v>24951595</c:v>
                </c:pt>
                <c:pt idx="25602">
                  <c:v>39234202</c:v>
                </c:pt>
                <c:pt idx="25603">
                  <c:v>46219530</c:v>
                </c:pt>
                <c:pt idx="25604">
                  <c:v>15943681</c:v>
                </c:pt>
                <c:pt idx="25605">
                  <c:v>9496305</c:v>
                </c:pt>
                <c:pt idx="25606">
                  <c:v>1965596880</c:v>
                </c:pt>
                <c:pt idx="25607">
                  <c:v>507094240</c:v>
                </c:pt>
                <c:pt idx="25608">
                  <c:v>1026523190</c:v>
                </c:pt>
                <c:pt idx="25609">
                  <c:v>26905872</c:v>
                </c:pt>
                <c:pt idx="25610">
                  <c:v>12307755</c:v>
                </c:pt>
                <c:pt idx="25611">
                  <c:v>1434816922</c:v>
                </c:pt>
                <c:pt idx="25612">
                  <c:v>1725121097</c:v>
                </c:pt>
                <c:pt idx="25613">
                  <c:v>24920999</c:v>
                </c:pt>
                <c:pt idx="25614">
                  <c:v>693088488</c:v>
                </c:pt>
                <c:pt idx="25615">
                  <c:v>1909373406</c:v>
                </c:pt>
                <c:pt idx="25616">
                  <c:v>137480585</c:v>
                </c:pt>
                <c:pt idx="25617">
                  <c:v>2147483647</c:v>
                </c:pt>
                <c:pt idx="25618">
                  <c:v>83055245</c:v>
                </c:pt>
                <c:pt idx="25619">
                  <c:v>3462710</c:v>
                </c:pt>
                <c:pt idx="25620">
                  <c:v>890075906</c:v>
                </c:pt>
                <c:pt idx="25621">
                  <c:v>16206162</c:v>
                </c:pt>
                <c:pt idx="25622">
                  <c:v>18447533</c:v>
                </c:pt>
                <c:pt idx="25623">
                  <c:v>7195991</c:v>
                </c:pt>
                <c:pt idx="25624">
                  <c:v>346774176</c:v>
                </c:pt>
                <c:pt idx="25625">
                  <c:v>805162264</c:v>
                </c:pt>
                <c:pt idx="25626">
                  <c:v>31307425</c:v>
                </c:pt>
                <c:pt idx="25627">
                  <c:v>3008208</c:v>
                </c:pt>
                <c:pt idx="25628">
                  <c:v>9374464</c:v>
                </c:pt>
                <c:pt idx="25629">
                  <c:v>356925310</c:v>
                </c:pt>
                <c:pt idx="25630">
                  <c:v>1578323725</c:v>
                </c:pt>
                <c:pt idx="25631">
                  <c:v>17510172</c:v>
                </c:pt>
                <c:pt idx="25632">
                  <c:v>13290735</c:v>
                </c:pt>
                <c:pt idx="25633">
                  <c:v>1100477664</c:v>
                </c:pt>
                <c:pt idx="25634">
                  <c:v>1628338176</c:v>
                </c:pt>
                <c:pt idx="25635">
                  <c:v>369918000</c:v>
                </c:pt>
                <c:pt idx="25636">
                  <c:v>2147483647</c:v>
                </c:pt>
                <c:pt idx="25637">
                  <c:v>726106180</c:v>
                </c:pt>
                <c:pt idx="25638">
                  <c:v>1031703021</c:v>
                </c:pt>
                <c:pt idx="25639">
                  <c:v>9178104</c:v>
                </c:pt>
                <c:pt idx="25640">
                  <c:v>1215537498</c:v>
                </c:pt>
                <c:pt idx="25641">
                  <c:v>352693134</c:v>
                </c:pt>
                <c:pt idx="25642">
                  <c:v>465639650</c:v>
                </c:pt>
                <c:pt idx="25643">
                  <c:v>18057188</c:v>
                </c:pt>
                <c:pt idx="25644">
                  <c:v>27445014</c:v>
                </c:pt>
                <c:pt idx="25645">
                  <c:v>18229662</c:v>
                </c:pt>
                <c:pt idx="25646">
                  <c:v>749618562</c:v>
                </c:pt>
                <c:pt idx="25647">
                  <c:v>56615250</c:v>
                </c:pt>
                <c:pt idx="25648">
                  <c:v>1005833440</c:v>
                </c:pt>
                <c:pt idx="25649">
                  <c:v>904560294</c:v>
                </c:pt>
                <c:pt idx="25650">
                  <c:v>475766769</c:v>
                </c:pt>
                <c:pt idx="25651">
                  <c:v>664341483</c:v>
                </c:pt>
                <c:pt idx="25652">
                  <c:v>14924694</c:v>
                </c:pt>
                <c:pt idx="25653">
                  <c:v>1502876899</c:v>
                </c:pt>
                <c:pt idx="25654">
                  <c:v>14715191</c:v>
                </c:pt>
                <c:pt idx="25655">
                  <c:v>13611904</c:v>
                </c:pt>
                <c:pt idx="25656">
                  <c:v>1848462672</c:v>
                </c:pt>
                <c:pt idx="25657">
                  <c:v>334777392</c:v>
                </c:pt>
                <c:pt idx="25658">
                  <c:v>1088365392</c:v>
                </c:pt>
                <c:pt idx="25659">
                  <c:v>15400738</c:v>
                </c:pt>
                <c:pt idx="25660">
                  <c:v>984477096</c:v>
                </c:pt>
                <c:pt idx="25661">
                  <c:v>73729476</c:v>
                </c:pt>
                <c:pt idx="25662">
                  <c:v>9855300</c:v>
                </c:pt>
                <c:pt idx="25663">
                  <c:v>7730008</c:v>
                </c:pt>
                <c:pt idx="25664">
                  <c:v>1573176908</c:v>
                </c:pt>
                <c:pt idx="25665">
                  <c:v>1130163520</c:v>
                </c:pt>
                <c:pt idx="25666">
                  <c:v>751974678</c:v>
                </c:pt>
                <c:pt idx="25667">
                  <c:v>6521018</c:v>
                </c:pt>
                <c:pt idx="25668">
                  <c:v>1601391820</c:v>
                </c:pt>
                <c:pt idx="25669">
                  <c:v>48027280</c:v>
                </c:pt>
                <c:pt idx="25670">
                  <c:v>21214560</c:v>
                </c:pt>
                <c:pt idx="25671">
                  <c:v>936565476</c:v>
                </c:pt>
                <c:pt idx="25672">
                  <c:v>14900384</c:v>
                </c:pt>
                <c:pt idx="25673">
                  <c:v>584194980</c:v>
                </c:pt>
                <c:pt idx="25674">
                  <c:v>1229673984</c:v>
                </c:pt>
                <c:pt idx="25675">
                  <c:v>1545753222</c:v>
                </c:pt>
                <c:pt idx="25676">
                  <c:v>1110182320</c:v>
                </c:pt>
                <c:pt idx="25677">
                  <c:v>988871646</c:v>
                </c:pt>
                <c:pt idx="25678">
                  <c:v>1738631784</c:v>
                </c:pt>
                <c:pt idx="25679">
                  <c:v>2147483647</c:v>
                </c:pt>
                <c:pt idx="25680">
                  <c:v>780819064</c:v>
                </c:pt>
                <c:pt idx="25681">
                  <c:v>1302387488</c:v>
                </c:pt>
                <c:pt idx="25682">
                  <c:v>321646464</c:v>
                </c:pt>
                <c:pt idx="25683">
                  <c:v>697146726</c:v>
                </c:pt>
                <c:pt idx="25684">
                  <c:v>1546524320</c:v>
                </c:pt>
                <c:pt idx="25685">
                  <c:v>509034861</c:v>
                </c:pt>
                <c:pt idx="25686">
                  <c:v>1186469950</c:v>
                </c:pt>
                <c:pt idx="25687">
                  <c:v>1502908596</c:v>
                </c:pt>
                <c:pt idx="25688">
                  <c:v>1257456565</c:v>
                </c:pt>
                <c:pt idx="25689">
                  <c:v>1262683485</c:v>
                </c:pt>
                <c:pt idx="25690">
                  <c:v>1302314775</c:v>
                </c:pt>
                <c:pt idx="25691">
                  <c:v>447202938</c:v>
                </c:pt>
                <c:pt idx="25692">
                  <c:v>773445748</c:v>
                </c:pt>
                <c:pt idx="25693">
                  <c:v>837930691</c:v>
                </c:pt>
                <c:pt idx="25694">
                  <c:v>1249015058</c:v>
                </c:pt>
                <c:pt idx="25695">
                  <c:v>1007467942</c:v>
                </c:pt>
                <c:pt idx="25696">
                  <c:v>1134991008</c:v>
                </c:pt>
                <c:pt idx="25697">
                  <c:v>1232592599</c:v>
                </c:pt>
                <c:pt idx="25698">
                  <c:v>1999840491</c:v>
                </c:pt>
                <c:pt idx="25699">
                  <c:v>1122398310</c:v>
                </c:pt>
                <c:pt idx="25700">
                  <c:v>1271131191</c:v>
                </c:pt>
                <c:pt idx="25701">
                  <c:v>844543655</c:v>
                </c:pt>
                <c:pt idx="25702">
                  <c:v>1128631194</c:v>
                </c:pt>
                <c:pt idx="25703">
                  <c:v>21100694</c:v>
                </c:pt>
                <c:pt idx="25704">
                  <c:v>674445250</c:v>
                </c:pt>
                <c:pt idx="25705">
                  <c:v>16742435</c:v>
                </c:pt>
                <c:pt idx="25706">
                  <c:v>13184796</c:v>
                </c:pt>
                <c:pt idx="25707">
                  <c:v>28397726</c:v>
                </c:pt>
                <c:pt idx="25708">
                  <c:v>10083432</c:v>
                </c:pt>
                <c:pt idx="25709">
                  <c:v>14379408</c:v>
                </c:pt>
                <c:pt idx="25710">
                  <c:v>253025460</c:v>
                </c:pt>
                <c:pt idx="25711">
                  <c:v>15484351</c:v>
                </c:pt>
                <c:pt idx="25712">
                  <c:v>124339934</c:v>
                </c:pt>
                <c:pt idx="25713">
                  <c:v>37053648</c:v>
                </c:pt>
                <c:pt idx="25714">
                  <c:v>309311629</c:v>
                </c:pt>
                <c:pt idx="25715">
                  <c:v>8115956</c:v>
                </c:pt>
                <c:pt idx="25716">
                  <c:v>116068260</c:v>
                </c:pt>
                <c:pt idx="25717">
                  <c:v>158574675</c:v>
                </c:pt>
                <c:pt idx="25718">
                  <c:v>232066394</c:v>
                </c:pt>
                <c:pt idx="25719">
                  <c:v>66386700</c:v>
                </c:pt>
                <c:pt idx="25720">
                  <c:v>1039350405</c:v>
                </c:pt>
                <c:pt idx="25721">
                  <c:v>36324585</c:v>
                </c:pt>
                <c:pt idx="25722">
                  <c:v>86553987</c:v>
                </c:pt>
                <c:pt idx="25723">
                  <c:v>75210850</c:v>
                </c:pt>
                <c:pt idx="25724">
                  <c:v>22681763</c:v>
                </c:pt>
                <c:pt idx="25725">
                  <c:v>47218860</c:v>
                </c:pt>
                <c:pt idx="25726">
                  <c:v>11019758</c:v>
                </c:pt>
                <c:pt idx="25727">
                  <c:v>7236229</c:v>
                </c:pt>
                <c:pt idx="25728">
                  <c:v>296920988</c:v>
                </c:pt>
                <c:pt idx="25729">
                  <c:v>78343188</c:v>
                </c:pt>
                <c:pt idx="25730">
                  <c:v>4995776</c:v>
                </c:pt>
                <c:pt idx="25731">
                  <c:v>385266606</c:v>
                </c:pt>
                <c:pt idx="25732">
                  <c:v>5396006</c:v>
                </c:pt>
                <c:pt idx="25733">
                  <c:v>370715178</c:v>
                </c:pt>
                <c:pt idx="25734">
                  <c:v>12711222</c:v>
                </c:pt>
                <c:pt idx="25735">
                  <c:v>202474250</c:v>
                </c:pt>
                <c:pt idx="25736">
                  <c:v>109239885</c:v>
                </c:pt>
                <c:pt idx="25737">
                  <c:v>635387284</c:v>
                </c:pt>
                <c:pt idx="25738">
                  <c:v>1238524144</c:v>
                </c:pt>
                <c:pt idx="25739">
                  <c:v>1322708121</c:v>
                </c:pt>
                <c:pt idx="25740">
                  <c:v>1781045440</c:v>
                </c:pt>
                <c:pt idx="25741">
                  <c:v>1021491900</c:v>
                </c:pt>
                <c:pt idx="25742">
                  <c:v>1066809315</c:v>
                </c:pt>
                <c:pt idx="25743">
                  <c:v>298779360</c:v>
                </c:pt>
                <c:pt idx="25744">
                  <c:v>105180048</c:v>
                </c:pt>
                <c:pt idx="25745">
                  <c:v>10839655</c:v>
                </c:pt>
                <c:pt idx="25746">
                  <c:v>28248703</c:v>
                </c:pt>
                <c:pt idx="25747">
                  <c:v>1767115</c:v>
                </c:pt>
                <c:pt idx="25748">
                  <c:v>22443463</c:v>
                </c:pt>
                <c:pt idx="25749">
                  <c:v>20649210</c:v>
                </c:pt>
                <c:pt idx="25750">
                  <c:v>15710382</c:v>
                </c:pt>
                <c:pt idx="25751">
                  <c:v>7695520</c:v>
                </c:pt>
                <c:pt idx="25752">
                  <c:v>41216115</c:v>
                </c:pt>
                <c:pt idx="25753">
                  <c:v>20176128</c:v>
                </c:pt>
                <c:pt idx="25754">
                  <c:v>118642848</c:v>
                </c:pt>
                <c:pt idx="25755">
                  <c:v>73997628</c:v>
                </c:pt>
                <c:pt idx="25756">
                  <c:v>5566532</c:v>
                </c:pt>
                <c:pt idx="25757">
                  <c:v>319487256</c:v>
                </c:pt>
                <c:pt idx="25758">
                  <c:v>40754628</c:v>
                </c:pt>
                <c:pt idx="25759">
                  <c:v>74578728</c:v>
                </c:pt>
                <c:pt idx="25760">
                  <c:v>13916304</c:v>
                </c:pt>
                <c:pt idx="25761">
                  <c:v>34497996</c:v>
                </c:pt>
                <c:pt idx="25762">
                  <c:v>7217760</c:v>
                </c:pt>
                <c:pt idx="25763">
                  <c:v>31175025</c:v>
                </c:pt>
                <c:pt idx="25764">
                  <c:v>800689154</c:v>
                </c:pt>
                <c:pt idx="25765">
                  <c:v>1076668104</c:v>
                </c:pt>
                <c:pt idx="25766">
                  <c:v>636786570</c:v>
                </c:pt>
                <c:pt idx="25767">
                  <c:v>37582578</c:v>
                </c:pt>
                <c:pt idx="25768">
                  <c:v>33289740</c:v>
                </c:pt>
                <c:pt idx="25769">
                  <c:v>143005041</c:v>
                </c:pt>
                <c:pt idx="25770">
                  <c:v>8577855</c:v>
                </c:pt>
                <c:pt idx="25771">
                  <c:v>128028285</c:v>
                </c:pt>
                <c:pt idx="25772">
                  <c:v>17743909</c:v>
                </c:pt>
                <c:pt idx="25773">
                  <c:v>128929017</c:v>
                </c:pt>
                <c:pt idx="25774">
                  <c:v>6522212</c:v>
                </c:pt>
                <c:pt idx="25775">
                  <c:v>80689792</c:v>
                </c:pt>
                <c:pt idx="25776">
                  <c:v>29422968</c:v>
                </c:pt>
                <c:pt idx="25777">
                  <c:v>26096992</c:v>
                </c:pt>
                <c:pt idx="25778">
                  <c:v>43418340</c:v>
                </c:pt>
                <c:pt idx="25779">
                  <c:v>22836400</c:v>
                </c:pt>
                <c:pt idx="25780">
                  <c:v>13069977</c:v>
                </c:pt>
                <c:pt idx="25781">
                  <c:v>13480012</c:v>
                </c:pt>
                <c:pt idx="25782">
                  <c:v>9844433</c:v>
                </c:pt>
                <c:pt idx="25783">
                  <c:v>22399290</c:v>
                </c:pt>
                <c:pt idx="25784">
                  <c:v>80502865</c:v>
                </c:pt>
                <c:pt idx="25785">
                  <c:v>14349060</c:v>
                </c:pt>
                <c:pt idx="25786">
                  <c:v>5070528</c:v>
                </c:pt>
                <c:pt idx="25787">
                  <c:v>66365550</c:v>
                </c:pt>
                <c:pt idx="25788">
                  <c:v>36731736</c:v>
                </c:pt>
                <c:pt idx="25789">
                  <c:v>112203468</c:v>
                </c:pt>
                <c:pt idx="25790">
                  <c:v>189538131</c:v>
                </c:pt>
                <c:pt idx="25791">
                  <c:v>23658985</c:v>
                </c:pt>
                <c:pt idx="25792">
                  <c:v>736130538</c:v>
                </c:pt>
                <c:pt idx="25793">
                  <c:v>23219572</c:v>
                </c:pt>
                <c:pt idx="25794">
                  <c:v>350013413</c:v>
                </c:pt>
                <c:pt idx="25795">
                  <c:v>62491810</c:v>
                </c:pt>
                <c:pt idx="25796">
                  <c:v>371098480</c:v>
                </c:pt>
                <c:pt idx="25797">
                  <c:v>9823926</c:v>
                </c:pt>
                <c:pt idx="25798">
                  <c:v>11107228</c:v>
                </c:pt>
                <c:pt idx="25799">
                  <c:v>1228450132</c:v>
                </c:pt>
                <c:pt idx="25800">
                  <c:v>35102093</c:v>
                </c:pt>
                <c:pt idx="25801">
                  <c:v>898074912</c:v>
                </c:pt>
                <c:pt idx="25802">
                  <c:v>528776303</c:v>
                </c:pt>
                <c:pt idx="25803">
                  <c:v>11900880</c:v>
                </c:pt>
                <c:pt idx="25804">
                  <c:v>8670987</c:v>
                </c:pt>
                <c:pt idx="25805">
                  <c:v>179438950</c:v>
                </c:pt>
                <c:pt idx="25806">
                  <c:v>2774094</c:v>
                </c:pt>
                <c:pt idx="25807">
                  <c:v>25894300</c:v>
                </c:pt>
                <c:pt idx="25808">
                  <c:v>3255714</c:v>
                </c:pt>
                <c:pt idx="25809">
                  <c:v>98417322</c:v>
                </c:pt>
                <c:pt idx="25810">
                  <c:v>20147831</c:v>
                </c:pt>
                <c:pt idx="25811">
                  <c:v>12053340</c:v>
                </c:pt>
                <c:pt idx="25812">
                  <c:v>12176471</c:v>
                </c:pt>
                <c:pt idx="25813">
                  <c:v>6505288</c:v>
                </c:pt>
                <c:pt idx="25814">
                  <c:v>528071349</c:v>
                </c:pt>
                <c:pt idx="25815">
                  <c:v>659176632</c:v>
                </c:pt>
                <c:pt idx="25816">
                  <c:v>26506071</c:v>
                </c:pt>
                <c:pt idx="25817">
                  <c:v>9562320</c:v>
                </c:pt>
                <c:pt idx="25818">
                  <c:v>24496576</c:v>
                </c:pt>
                <c:pt idx="25819">
                  <c:v>33622352</c:v>
                </c:pt>
                <c:pt idx="25820">
                  <c:v>22253792</c:v>
                </c:pt>
                <c:pt idx="25821">
                  <c:v>8660250</c:v>
                </c:pt>
                <c:pt idx="25822">
                  <c:v>24998930</c:v>
                </c:pt>
                <c:pt idx="25823">
                  <c:v>6055811</c:v>
                </c:pt>
                <c:pt idx="25824">
                  <c:v>4210815</c:v>
                </c:pt>
                <c:pt idx="25825">
                  <c:v>6004944</c:v>
                </c:pt>
                <c:pt idx="25826">
                  <c:v>586936755</c:v>
                </c:pt>
                <c:pt idx="25827">
                  <c:v>324954334</c:v>
                </c:pt>
                <c:pt idx="25828">
                  <c:v>14759682</c:v>
                </c:pt>
                <c:pt idx="25829">
                  <c:v>3347934</c:v>
                </c:pt>
                <c:pt idx="25830">
                  <c:v>214745256</c:v>
                </c:pt>
                <c:pt idx="25831">
                  <c:v>15383867</c:v>
                </c:pt>
                <c:pt idx="25832">
                  <c:v>3855384</c:v>
                </c:pt>
                <c:pt idx="25833">
                  <c:v>78868440</c:v>
                </c:pt>
                <c:pt idx="25834">
                  <c:v>36514308</c:v>
                </c:pt>
                <c:pt idx="25835">
                  <c:v>29907098</c:v>
                </c:pt>
                <c:pt idx="25836">
                  <c:v>8340022</c:v>
                </c:pt>
                <c:pt idx="25837">
                  <c:v>7640090</c:v>
                </c:pt>
                <c:pt idx="25838">
                  <c:v>49439104</c:v>
                </c:pt>
                <c:pt idx="25839">
                  <c:v>19853016</c:v>
                </c:pt>
                <c:pt idx="25840">
                  <c:v>107934507</c:v>
                </c:pt>
                <c:pt idx="25841">
                  <c:v>43695676</c:v>
                </c:pt>
                <c:pt idx="25842">
                  <c:v>13513280</c:v>
                </c:pt>
                <c:pt idx="25843">
                  <c:v>47335008</c:v>
                </c:pt>
                <c:pt idx="25844">
                  <c:v>23453856</c:v>
                </c:pt>
                <c:pt idx="25845">
                  <c:v>63049902</c:v>
                </c:pt>
                <c:pt idx="25846">
                  <c:v>6446880</c:v>
                </c:pt>
                <c:pt idx="25847">
                  <c:v>234459324</c:v>
                </c:pt>
                <c:pt idx="25848">
                  <c:v>28148681</c:v>
                </c:pt>
                <c:pt idx="25849">
                  <c:v>1254343368</c:v>
                </c:pt>
                <c:pt idx="25850">
                  <c:v>5460033</c:v>
                </c:pt>
                <c:pt idx="25851">
                  <c:v>53987670</c:v>
                </c:pt>
                <c:pt idx="25852">
                  <c:v>12067110</c:v>
                </c:pt>
                <c:pt idx="25853">
                  <c:v>20501184</c:v>
                </c:pt>
                <c:pt idx="25854">
                  <c:v>1032272025</c:v>
                </c:pt>
                <c:pt idx="25855">
                  <c:v>18420005</c:v>
                </c:pt>
                <c:pt idx="25856">
                  <c:v>36961668</c:v>
                </c:pt>
                <c:pt idx="25857">
                  <c:v>15173256</c:v>
                </c:pt>
                <c:pt idx="25858">
                  <c:v>1633557584</c:v>
                </c:pt>
                <c:pt idx="25859">
                  <c:v>349822272</c:v>
                </c:pt>
                <c:pt idx="25860">
                  <c:v>361252008</c:v>
                </c:pt>
                <c:pt idx="25861">
                  <c:v>565387396</c:v>
                </c:pt>
                <c:pt idx="25862">
                  <c:v>349855466</c:v>
                </c:pt>
                <c:pt idx="25863">
                  <c:v>1462161918</c:v>
                </c:pt>
                <c:pt idx="25864">
                  <c:v>772682347</c:v>
                </c:pt>
                <c:pt idx="25865">
                  <c:v>463338361</c:v>
                </c:pt>
                <c:pt idx="25866">
                  <c:v>907502169</c:v>
                </c:pt>
                <c:pt idx="25867">
                  <c:v>1046660822</c:v>
                </c:pt>
                <c:pt idx="25868">
                  <c:v>964280876</c:v>
                </c:pt>
                <c:pt idx="25869">
                  <c:v>2041692866</c:v>
                </c:pt>
                <c:pt idx="25870">
                  <c:v>680749248</c:v>
                </c:pt>
                <c:pt idx="25871">
                  <c:v>2147483647</c:v>
                </c:pt>
                <c:pt idx="25872">
                  <c:v>489367978</c:v>
                </c:pt>
                <c:pt idx="25873">
                  <c:v>1604530715</c:v>
                </c:pt>
                <c:pt idx="25874">
                  <c:v>1284753350</c:v>
                </c:pt>
                <c:pt idx="25875">
                  <c:v>1948563220</c:v>
                </c:pt>
                <c:pt idx="25876">
                  <c:v>1159219557</c:v>
                </c:pt>
                <c:pt idx="25877">
                  <c:v>1008647442</c:v>
                </c:pt>
                <c:pt idx="25878">
                  <c:v>1335999042</c:v>
                </c:pt>
                <c:pt idx="25879">
                  <c:v>1038324243</c:v>
                </c:pt>
                <c:pt idx="25880">
                  <c:v>1226501298</c:v>
                </c:pt>
                <c:pt idx="25881">
                  <c:v>558172470</c:v>
                </c:pt>
                <c:pt idx="25882">
                  <c:v>2147483647</c:v>
                </c:pt>
                <c:pt idx="25883">
                  <c:v>1062290232</c:v>
                </c:pt>
                <c:pt idx="25884">
                  <c:v>138214314</c:v>
                </c:pt>
                <c:pt idx="25885">
                  <c:v>1014165035</c:v>
                </c:pt>
                <c:pt idx="25886">
                  <c:v>1123308227</c:v>
                </c:pt>
                <c:pt idx="25887">
                  <c:v>612709818</c:v>
                </c:pt>
                <c:pt idx="25888">
                  <c:v>1384440366</c:v>
                </c:pt>
                <c:pt idx="25889">
                  <c:v>1346771370</c:v>
                </c:pt>
                <c:pt idx="25890">
                  <c:v>795384504</c:v>
                </c:pt>
                <c:pt idx="25891">
                  <c:v>1870951600</c:v>
                </c:pt>
                <c:pt idx="25892">
                  <c:v>430975492</c:v>
                </c:pt>
                <c:pt idx="25893">
                  <c:v>1830463180</c:v>
                </c:pt>
                <c:pt idx="25894">
                  <c:v>1790843184</c:v>
                </c:pt>
                <c:pt idx="25895">
                  <c:v>1006326299</c:v>
                </c:pt>
                <c:pt idx="25896">
                  <c:v>786812424</c:v>
                </c:pt>
                <c:pt idx="25897">
                  <c:v>527040656</c:v>
                </c:pt>
                <c:pt idx="25898">
                  <c:v>1028460036</c:v>
                </c:pt>
                <c:pt idx="25899">
                  <c:v>1346141835</c:v>
                </c:pt>
                <c:pt idx="25900">
                  <c:v>2115393500</c:v>
                </c:pt>
                <c:pt idx="25901">
                  <c:v>374346324</c:v>
                </c:pt>
                <c:pt idx="25902">
                  <c:v>627873345</c:v>
                </c:pt>
                <c:pt idx="25903">
                  <c:v>796860207</c:v>
                </c:pt>
                <c:pt idx="25904">
                  <c:v>835532614</c:v>
                </c:pt>
                <c:pt idx="25905">
                  <c:v>22259200</c:v>
                </c:pt>
                <c:pt idx="25906">
                  <c:v>1553530310</c:v>
                </c:pt>
                <c:pt idx="25907">
                  <c:v>226202860</c:v>
                </c:pt>
                <c:pt idx="25908">
                  <c:v>352441750</c:v>
                </c:pt>
                <c:pt idx="25909">
                  <c:v>211959050</c:v>
                </c:pt>
                <c:pt idx="25910">
                  <c:v>692950098</c:v>
                </c:pt>
                <c:pt idx="25911">
                  <c:v>5570346</c:v>
                </c:pt>
                <c:pt idx="25912">
                  <c:v>59076296</c:v>
                </c:pt>
                <c:pt idx="25913">
                  <c:v>1415707510</c:v>
                </c:pt>
                <c:pt idx="25914">
                  <c:v>509526185</c:v>
                </c:pt>
                <c:pt idx="25915">
                  <c:v>1486676010</c:v>
                </c:pt>
                <c:pt idx="25916">
                  <c:v>2147483647</c:v>
                </c:pt>
                <c:pt idx="25917">
                  <c:v>1134138434</c:v>
                </c:pt>
                <c:pt idx="25918">
                  <c:v>94286740</c:v>
                </c:pt>
                <c:pt idx="25919">
                  <c:v>61391073</c:v>
                </c:pt>
                <c:pt idx="25920">
                  <c:v>44206158</c:v>
                </c:pt>
                <c:pt idx="25921">
                  <c:v>61074744</c:v>
                </c:pt>
                <c:pt idx="25922">
                  <c:v>50658440</c:v>
                </c:pt>
                <c:pt idx="25923">
                  <c:v>121910386</c:v>
                </c:pt>
                <c:pt idx="25924">
                  <c:v>244431026</c:v>
                </c:pt>
                <c:pt idx="25925">
                  <c:v>1426151840</c:v>
                </c:pt>
                <c:pt idx="25926">
                  <c:v>1194816480</c:v>
                </c:pt>
                <c:pt idx="25927">
                  <c:v>1081521079</c:v>
                </c:pt>
                <c:pt idx="25928">
                  <c:v>1724488963</c:v>
                </c:pt>
                <c:pt idx="25929">
                  <c:v>1581843680</c:v>
                </c:pt>
                <c:pt idx="25930">
                  <c:v>1139083592</c:v>
                </c:pt>
                <c:pt idx="25931">
                  <c:v>2059305534</c:v>
                </c:pt>
                <c:pt idx="25932">
                  <c:v>1026977294</c:v>
                </c:pt>
                <c:pt idx="25933">
                  <c:v>1478352484</c:v>
                </c:pt>
                <c:pt idx="25934">
                  <c:v>1006473746</c:v>
                </c:pt>
                <c:pt idx="25935">
                  <c:v>1666883361</c:v>
                </c:pt>
                <c:pt idx="25936">
                  <c:v>1509168728</c:v>
                </c:pt>
                <c:pt idx="25937">
                  <c:v>801112943</c:v>
                </c:pt>
                <c:pt idx="25938">
                  <c:v>1860635975</c:v>
                </c:pt>
                <c:pt idx="25939">
                  <c:v>2147483647</c:v>
                </c:pt>
                <c:pt idx="25940">
                  <c:v>1834604292</c:v>
                </c:pt>
                <c:pt idx="25941">
                  <c:v>1631890384</c:v>
                </c:pt>
                <c:pt idx="25942">
                  <c:v>2147483647</c:v>
                </c:pt>
                <c:pt idx="25943">
                  <c:v>2044484100</c:v>
                </c:pt>
                <c:pt idx="25944">
                  <c:v>2147483647</c:v>
                </c:pt>
                <c:pt idx="25945">
                  <c:v>872073340</c:v>
                </c:pt>
                <c:pt idx="25946">
                  <c:v>2147483647</c:v>
                </c:pt>
                <c:pt idx="25947">
                  <c:v>2147483647</c:v>
                </c:pt>
                <c:pt idx="25948">
                  <c:v>2147483647</c:v>
                </c:pt>
                <c:pt idx="25949">
                  <c:v>2147483647</c:v>
                </c:pt>
                <c:pt idx="25950">
                  <c:v>67563420</c:v>
                </c:pt>
                <c:pt idx="25951">
                  <c:v>1398168068</c:v>
                </c:pt>
                <c:pt idx="25952">
                  <c:v>1769498500</c:v>
                </c:pt>
                <c:pt idx="25953">
                  <c:v>1661990550</c:v>
                </c:pt>
                <c:pt idx="25954">
                  <c:v>2147483647</c:v>
                </c:pt>
                <c:pt idx="25955">
                  <c:v>1399500620</c:v>
                </c:pt>
                <c:pt idx="25956">
                  <c:v>261898974</c:v>
                </c:pt>
                <c:pt idx="25957">
                  <c:v>26876060</c:v>
                </c:pt>
                <c:pt idx="25958">
                  <c:v>1008520623</c:v>
                </c:pt>
                <c:pt idx="25959">
                  <c:v>1435256728</c:v>
                </c:pt>
                <c:pt idx="25960">
                  <c:v>1667733496</c:v>
                </c:pt>
                <c:pt idx="25961">
                  <c:v>1839347822</c:v>
                </c:pt>
                <c:pt idx="25962">
                  <c:v>1705769494</c:v>
                </c:pt>
                <c:pt idx="25963">
                  <c:v>1138333630</c:v>
                </c:pt>
                <c:pt idx="25964">
                  <c:v>2147483647</c:v>
                </c:pt>
                <c:pt idx="25965">
                  <c:v>2147483647</c:v>
                </c:pt>
                <c:pt idx="25966">
                  <c:v>1994184711</c:v>
                </c:pt>
                <c:pt idx="25967">
                  <c:v>1342826576</c:v>
                </c:pt>
                <c:pt idx="25968">
                  <c:v>1910578047</c:v>
                </c:pt>
                <c:pt idx="25969">
                  <c:v>1096928316</c:v>
                </c:pt>
                <c:pt idx="25970">
                  <c:v>991429230</c:v>
                </c:pt>
                <c:pt idx="25971">
                  <c:v>811791171</c:v>
                </c:pt>
                <c:pt idx="25972">
                  <c:v>852580188</c:v>
                </c:pt>
                <c:pt idx="25973">
                  <c:v>480030936</c:v>
                </c:pt>
                <c:pt idx="25974">
                  <c:v>695178435</c:v>
                </c:pt>
                <c:pt idx="25975">
                  <c:v>311560965</c:v>
                </c:pt>
                <c:pt idx="25976">
                  <c:v>2147483647</c:v>
                </c:pt>
                <c:pt idx="25977">
                  <c:v>903902774</c:v>
                </c:pt>
                <c:pt idx="25978">
                  <c:v>16905606</c:v>
                </c:pt>
                <c:pt idx="25979">
                  <c:v>80928520</c:v>
                </c:pt>
                <c:pt idx="25980">
                  <c:v>15551088</c:v>
                </c:pt>
                <c:pt idx="25981">
                  <c:v>1047177404</c:v>
                </c:pt>
                <c:pt idx="25982">
                  <c:v>79267104</c:v>
                </c:pt>
                <c:pt idx="25983">
                  <c:v>29972800</c:v>
                </c:pt>
                <c:pt idx="25984">
                  <c:v>1614970224</c:v>
                </c:pt>
                <c:pt idx="25985">
                  <c:v>40873107</c:v>
                </c:pt>
                <c:pt idx="25986">
                  <c:v>1667631952</c:v>
                </c:pt>
                <c:pt idx="25987">
                  <c:v>54844290</c:v>
                </c:pt>
                <c:pt idx="25988">
                  <c:v>13488344</c:v>
                </c:pt>
                <c:pt idx="25989">
                  <c:v>815261100</c:v>
                </c:pt>
                <c:pt idx="25990">
                  <c:v>199053455</c:v>
                </c:pt>
                <c:pt idx="25991">
                  <c:v>44078433</c:v>
                </c:pt>
                <c:pt idx="25992">
                  <c:v>1906088730</c:v>
                </c:pt>
                <c:pt idx="25993">
                  <c:v>1418787058</c:v>
                </c:pt>
                <c:pt idx="25994">
                  <c:v>1345408522</c:v>
                </c:pt>
                <c:pt idx="25995">
                  <c:v>57287174</c:v>
                </c:pt>
                <c:pt idx="25996">
                  <c:v>270799072</c:v>
                </c:pt>
                <c:pt idx="25997">
                  <c:v>1548367926</c:v>
                </c:pt>
                <c:pt idx="25998">
                  <c:v>51018345</c:v>
                </c:pt>
                <c:pt idx="25999">
                  <c:v>11407320</c:v>
                </c:pt>
                <c:pt idx="26000">
                  <c:v>73752107</c:v>
                </c:pt>
                <c:pt idx="26001">
                  <c:v>316333122</c:v>
                </c:pt>
                <c:pt idx="26002">
                  <c:v>348194910</c:v>
                </c:pt>
                <c:pt idx="26003">
                  <c:v>987328200</c:v>
                </c:pt>
                <c:pt idx="26004">
                  <c:v>991593396</c:v>
                </c:pt>
                <c:pt idx="26005">
                  <c:v>178226688</c:v>
                </c:pt>
                <c:pt idx="26006">
                  <c:v>458128643</c:v>
                </c:pt>
                <c:pt idx="26007">
                  <c:v>134435880</c:v>
                </c:pt>
                <c:pt idx="26008">
                  <c:v>11972567</c:v>
                </c:pt>
                <c:pt idx="26009">
                  <c:v>189098217</c:v>
                </c:pt>
                <c:pt idx="26010">
                  <c:v>20503603</c:v>
                </c:pt>
                <c:pt idx="26011">
                  <c:v>153300180</c:v>
                </c:pt>
                <c:pt idx="26012">
                  <c:v>1906807962</c:v>
                </c:pt>
                <c:pt idx="26013">
                  <c:v>1425439496</c:v>
                </c:pt>
                <c:pt idx="26014">
                  <c:v>628367940</c:v>
                </c:pt>
                <c:pt idx="26015">
                  <c:v>708510860</c:v>
                </c:pt>
                <c:pt idx="26016">
                  <c:v>1515307315</c:v>
                </c:pt>
                <c:pt idx="26017">
                  <c:v>1177729768</c:v>
                </c:pt>
                <c:pt idx="26018">
                  <c:v>293408769</c:v>
                </c:pt>
                <c:pt idx="26019">
                  <c:v>248545444</c:v>
                </c:pt>
                <c:pt idx="26020">
                  <c:v>1520292072</c:v>
                </c:pt>
                <c:pt idx="26021">
                  <c:v>992115702</c:v>
                </c:pt>
                <c:pt idx="26022">
                  <c:v>1634231320</c:v>
                </c:pt>
                <c:pt idx="26023">
                  <c:v>2147483647</c:v>
                </c:pt>
                <c:pt idx="26024">
                  <c:v>592856796</c:v>
                </c:pt>
                <c:pt idx="26025">
                  <c:v>1029861603</c:v>
                </c:pt>
                <c:pt idx="26026">
                  <c:v>385817040</c:v>
                </c:pt>
                <c:pt idx="26027">
                  <c:v>1177180910</c:v>
                </c:pt>
                <c:pt idx="26028">
                  <c:v>1537077256</c:v>
                </c:pt>
                <c:pt idx="26029">
                  <c:v>1240824930</c:v>
                </c:pt>
                <c:pt idx="26030">
                  <c:v>349530984</c:v>
                </c:pt>
                <c:pt idx="26031">
                  <c:v>20019280</c:v>
                </c:pt>
                <c:pt idx="26032">
                  <c:v>20203749</c:v>
                </c:pt>
                <c:pt idx="26033">
                  <c:v>75668540</c:v>
                </c:pt>
                <c:pt idx="26034">
                  <c:v>63683193</c:v>
                </c:pt>
                <c:pt idx="26035">
                  <c:v>12733760</c:v>
                </c:pt>
                <c:pt idx="26036">
                  <c:v>72004792</c:v>
                </c:pt>
                <c:pt idx="26037">
                  <c:v>775302424</c:v>
                </c:pt>
                <c:pt idx="26038">
                  <c:v>31678144</c:v>
                </c:pt>
                <c:pt idx="26039">
                  <c:v>88177880</c:v>
                </c:pt>
                <c:pt idx="26040">
                  <c:v>86682453</c:v>
                </c:pt>
                <c:pt idx="26041">
                  <c:v>398883696</c:v>
                </c:pt>
                <c:pt idx="26042">
                  <c:v>74170200</c:v>
                </c:pt>
                <c:pt idx="26043">
                  <c:v>9753998</c:v>
                </c:pt>
                <c:pt idx="26044">
                  <c:v>162919267</c:v>
                </c:pt>
                <c:pt idx="26045">
                  <c:v>33477179</c:v>
                </c:pt>
                <c:pt idx="26046">
                  <c:v>11677560</c:v>
                </c:pt>
                <c:pt idx="26047">
                  <c:v>14974740</c:v>
                </c:pt>
                <c:pt idx="26048">
                  <c:v>260711541</c:v>
                </c:pt>
                <c:pt idx="26049">
                  <c:v>173807383</c:v>
                </c:pt>
                <c:pt idx="26050">
                  <c:v>9991644</c:v>
                </c:pt>
                <c:pt idx="26051">
                  <c:v>24009388</c:v>
                </c:pt>
                <c:pt idx="26052">
                  <c:v>307733921</c:v>
                </c:pt>
                <c:pt idx="26053">
                  <c:v>21444694</c:v>
                </c:pt>
                <c:pt idx="26054">
                  <c:v>39889020</c:v>
                </c:pt>
                <c:pt idx="26055">
                  <c:v>954604476</c:v>
                </c:pt>
                <c:pt idx="26056">
                  <c:v>335117592</c:v>
                </c:pt>
                <c:pt idx="26057">
                  <c:v>144549150</c:v>
                </c:pt>
                <c:pt idx="26058">
                  <c:v>27168160</c:v>
                </c:pt>
                <c:pt idx="26059">
                  <c:v>27437356</c:v>
                </c:pt>
                <c:pt idx="26060">
                  <c:v>13513640</c:v>
                </c:pt>
                <c:pt idx="26061">
                  <c:v>395386290</c:v>
                </c:pt>
                <c:pt idx="26062">
                  <c:v>321067584</c:v>
                </c:pt>
                <c:pt idx="26063">
                  <c:v>229483008</c:v>
                </c:pt>
                <c:pt idx="26064">
                  <c:v>36443232</c:v>
                </c:pt>
                <c:pt idx="26065">
                  <c:v>55257225</c:v>
                </c:pt>
                <c:pt idx="26066">
                  <c:v>22445858</c:v>
                </c:pt>
                <c:pt idx="26067">
                  <c:v>14787906</c:v>
                </c:pt>
                <c:pt idx="26068">
                  <c:v>941301504</c:v>
                </c:pt>
                <c:pt idx="26069">
                  <c:v>56017572</c:v>
                </c:pt>
                <c:pt idx="26070">
                  <c:v>83836945</c:v>
                </c:pt>
                <c:pt idx="26071">
                  <c:v>21857664</c:v>
                </c:pt>
                <c:pt idx="26072">
                  <c:v>76200300</c:v>
                </c:pt>
                <c:pt idx="26073">
                  <c:v>1175377460</c:v>
                </c:pt>
                <c:pt idx="26074">
                  <c:v>45414464</c:v>
                </c:pt>
                <c:pt idx="26075">
                  <c:v>52029523</c:v>
                </c:pt>
                <c:pt idx="26076">
                  <c:v>1196102142</c:v>
                </c:pt>
                <c:pt idx="26077">
                  <c:v>191103822</c:v>
                </c:pt>
                <c:pt idx="26078">
                  <c:v>35799819</c:v>
                </c:pt>
                <c:pt idx="26079">
                  <c:v>73234920</c:v>
                </c:pt>
                <c:pt idx="26080">
                  <c:v>489918078</c:v>
                </c:pt>
                <c:pt idx="26081">
                  <c:v>542011393</c:v>
                </c:pt>
                <c:pt idx="26082">
                  <c:v>557027942</c:v>
                </c:pt>
                <c:pt idx="26083">
                  <c:v>751129896</c:v>
                </c:pt>
                <c:pt idx="26084">
                  <c:v>209321458</c:v>
                </c:pt>
                <c:pt idx="26085">
                  <c:v>1569854546</c:v>
                </c:pt>
                <c:pt idx="26086">
                  <c:v>1106134560</c:v>
                </c:pt>
                <c:pt idx="26087">
                  <c:v>989913538</c:v>
                </c:pt>
                <c:pt idx="26088">
                  <c:v>1579383904</c:v>
                </c:pt>
                <c:pt idx="26089">
                  <c:v>1059471000</c:v>
                </c:pt>
                <c:pt idx="26090">
                  <c:v>947313621</c:v>
                </c:pt>
                <c:pt idx="26091">
                  <c:v>920229360</c:v>
                </c:pt>
                <c:pt idx="26092">
                  <c:v>294605097</c:v>
                </c:pt>
                <c:pt idx="26093">
                  <c:v>864673046</c:v>
                </c:pt>
                <c:pt idx="26094">
                  <c:v>976078824</c:v>
                </c:pt>
                <c:pt idx="26095">
                  <c:v>1939315833</c:v>
                </c:pt>
                <c:pt idx="26096">
                  <c:v>950102752</c:v>
                </c:pt>
                <c:pt idx="26097">
                  <c:v>1052504883</c:v>
                </c:pt>
                <c:pt idx="26098">
                  <c:v>298519620</c:v>
                </c:pt>
                <c:pt idx="26099">
                  <c:v>107424720</c:v>
                </c:pt>
                <c:pt idx="26100">
                  <c:v>1074520890</c:v>
                </c:pt>
                <c:pt idx="26101">
                  <c:v>804372276</c:v>
                </c:pt>
                <c:pt idx="26102">
                  <c:v>1065259559</c:v>
                </c:pt>
                <c:pt idx="26103">
                  <c:v>1182508944</c:v>
                </c:pt>
                <c:pt idx="26104">
                  <c:v>1091905648</c:v>
                </c:pt>
                <c:pt idx="26105">
                  <c:v>1322722806</c:v>
                </c:pt>
                <c:pt idx="26106">
                  <c:v>1089142320</c:v>
                </c:pt>
                <c:pt idx="26107">
                  <c:v>948751093</c:v>
                </c:pt>
                <c:pt idx="26108">
                  <c:v>819264258</c:v>
                </c:pt>
                <c:pt idx="26109">
                  <c:v>995193810</c:v>
                </c:pt>
                <c:pt idx="26110">
                  <c:v>1626756952</c:v>
                </c:pt>
                <c:pt idx="26111">
                  <c:v>1025200179</c:v>
                </c:pt>
                <c:pt idx="26112">
                  <c:v>816368000</c:v>
                </c:pt>
                <c:pt idx="26113">
                  <c:v>490995856</c:v>
                </c:pt>
                <c:pt idx="26114">
                  <c:v>509149854</c:v>
                </c:pt>
                <c:pt idx="26115">
                  <c:v>9961695</c:v>
                </c:pt>
                <c:pt idx="26116">
                  <c:v>21692255</c:v>
                </c:pt>
                <c:pt idx="26117">
                  <c:v>12904379</c:v>
                </c:pt>
                <c:pt idx="26118">
                  <c:v>43208480</c:v>
                </c:pt>
                <c:pt idx="26119">
                  <c:v>110423464</c:v>
                </c:pt>
                <c:pt idx="26120">
                  <c:v>10550283</c:v>
                </c:pt>
                <c:pt idx="26121">
                  <c:v>11394000</c:v>
                </c:pt>
                <c:pt idx="26122">
                  <c:v>206834990</c:v>
                </c:pt>
                <c:pt idx="26123">
                  <c:v>17956080</c:v>
                </c:pt>
                <c:pt idx="26124">
                  <c:v>8537184</c:v>
                </c:pt>
                <c:pt idx="26125">
                  <c:v>71748861</c:v>
                </c:pt>
                <c:pt idx="26126">
                  <c:v>22704380</c:v>
                </c:pt>
                <c:pt idx="26127">
                  <c:v>170675630</c:v>
                </c:pt>
                <c:pt idx="26128">
                  <c:v>79211296</c:v>
                </c:pt>
                <c:pt idx="26129">
                  <c:v>172932592</c:v>
                </c:pt>
                <c:pt idx="26130">
                  <c:v>54651546</c:v>
                </c:pt>
                <c:pt idx="26131">
                  <c:v>105760995</c:v>
                </c:pt>
                <c:pt idx="26132">
                  <c:v>32664483</c:v>
                </c:pt>
                <c:pt idx="26133">
                  <c:v>142534821</c:v>
                </c:pt>
                <c:pt idx="26134">
                  <c:v>1067737962</c:v>
                </c:pt>
                <c:pt idx="26135">
                  <c:v>1333391</c:v>
                </c:pt>
                <c:pt idx="26136">
                  <c:v>1298103594</c:v>
                </c:pt>
                <c:pt idx="26137">
                  <c:v>704292986</c:v>
                </c:pt>
                <c:pt idx="26138">
                  <c:v>55277170</c:v>
                </c:pt>
                <c:pt idx="26139">
                  <c:v>48982508</c:v>
                </c:pt>
                <c:pt idx="26140">
                  <c:v>32830137</c:v>
                </c:pt>
                <c:pt idx="26141">
                  <c:v>30281880</c:v>
                </c:pt>
                <c:pt idx="26142">
                  <c:v>46986420</c:v>
                </c:pt>
                <c:pt idx="26143">
                  <c:v>37894032</c:v>
                </c:pt>
                <c:pt idx="26144">
                  <c:v>43808271</c:v>
                </c:pt>
                <c:pt idx="26145">
                  <c:v>44351310</c:v>
                </c:pt>
                <c:pt idx="26146">
                  <c:v>105359826</c:v>
                </c:pt>
                <c:pt idx="26147">
                  <c:v>11569526</c:v>
                </c:pt>
                <c:pt idx="26148">
                  <c:v>20210110</c:v>
                </c:pt>
                <c:pt idx="26149">
                  <c:v>44174806</c:v>
                </c:pt>
                <c:pt idx="26150">
                  <c:v>121416992</c:v>
                </c:pt>
                <c:pt idx="26151">
                  <c:v>20433255</c:v>
                </c:pt>
                <c:pt idx="26152">
                  <c:v>32622876</c:v>
                </c:pt>
                <c:pt idx="26153">
                  <c:v>5045040</c:v>
                </c:pt>
                <c:pt idx="26154">
                  <c:v>26308704</c:v>
                </c:pt>
                <c:pt idx="26155">
                  <c:v>262916970</c:v>
                </c:pt>
                <c:pt idx="26156">
                  <c:v>45724052</c:v>
                </c:pt>
                <c:pt idx="26157">
                  <c:v>25326411</c:v>
                </c:pt>
                <c:pt idx="26158">
                  <c:v>41433280</c:v>
                </c:pt>
                <c:pt idx="26159">
                  <c:v>207259800</c:v>
                </c:pt>
                <c:pt idx="26160">
                  <c:v>173492956</c:v>
                </c:pt>
                <c:pt idx="26161">
                  <c:v>228326628</c:v>
                </c:pt>
                <c:pt idx="26162">
                  <c:v>41283844</c:v>
                </c:pt>
                <c:pt idx="26163">
                  <c:v>24798512</c:v>
                </c:pt>
                <c:pt idx="26164">
                  <c:v>900210286</c:v>
                </c:pt>
                <c:pt idx="26165">
                  <c:v>753453232</c:v>
                </c:pt>
                <c:pt idx="26166">
                  <c:v>857755366</c:v>
                </c:pt>
                <c:pt idx="26167">
                  <c:v>1097666640</c:v>
                </c:pt>
                <c:pt idx="26168">
                  <c:v>287900627</c:v>
                </c:pt>
                <c:pt idx="26169">
                  <c:v>67511800</c:v>
                </c:pt>
                <c:pt idx="26170">
                  <c:v>68687696</c:v>
                </c:pt>
                <c:pt idx="26171">
                  <c:v>293435112</c:v>
                </c:pt>
                <c:pt idx="26172">
                  <c:v>543724656</c:v>
                </c:pt>
                <c:pt idx="26173">
                  <c:v>147489875</c:v>
                </c:pt>
                <c:pt idx="26174">
                  <c:v>191620674</c:v>
                </c:pt>
                <c:pt idx="26175">
                  <c:v>687440404</c:v>
                </c:pt>
                <c:pt idx="26176">
                  <c:v>389781576</c:v>
                </c:pt>
                <c:pt idx="26177">
                  <c:v>26601676</c:v>
                </c:pt>
                <c:pt idx="26178">
                  <c:v>15624284</c:v>
                </c:pt>
                <c:pt idx="26179">
                  <c:v>56554210</c:v>
                </c:pt>
                <c:pt idx="26180">
                  <c:v>145649625</c:v>
                </c:pt>
                <c:pt idx="26181">
                  <c:v>123003648</c:v>
                </c:pt>
                <c:pt idx="26182">
                  <c:v>139258106</c:v>
                </c:pt>
                <c:pt idx="26183">
                  <c:v>498375985</c:v>
                </c:pt>
                <c:pt idx="26184">
                  <c:v>35948628</c:v>
                </c:pt>
                <c:pt idx="26185">
                  <c:v>20112660</c:v>
                </c:pt>
                <c:pt idx="26186">
                  <c:v>316510300</c:v>
                </c:pt>
                <c:pt idx="26187">
                  <c:v>805288874</c:v>
                </c:pt>
                <c:pt idx="26188">
                  <c:v>539583919</c:v>
                </c:pt>
                <c:pt idx="26189">
                  <c:v>665711795</c:v>
                </c:pt>
                <c:pt idx="26190">
                  <c:v>971090960</c:v>
                </c:pt>
                <c:pt idx="26191">
                  <c:v>783162624</c:v>
                </c:pt>
                <c:pt idx="26192">
                  <c:v>14821750</c:v>
                </c:pt>
                <c:pt idx="26193">
                  <c:v>241188948</c:v>
                </c:pt>
                <c:pt idx="26194">
                  <c:v>499686624</c:v>
                </c:pt>
                <c:pt idx="26195">
                  <c:v>299564160</c:v>
                </c:pt>
                <c:pt idx="26196">
                  <c:v>61593816</c:v>
                </c:pt>
                <c:pt idx="26197">
                  <c:v>27877724</c:v>
                </c:pt>
                <c:pt idx="26198">
                  <c:v>30352140</c:v>
                </c:pt>
                <c:pt idx="26199">
                  <c:v>20629830</c:v>
                </c:pt>
                <c:pt idx="26200">
                  <c:v>223052130</c:v>
                </c:pt>
                <c:pt idx="26201">
                  <c:v>39382728</c:v>
                </c:pt>
                <c:pt idx="26202">
                  <c:v>841404102</c:v>
                </c:pt>
                <c:pt idx="26203">
                  <c:v>9707400</c:v>
                </c:pt>
                <c:pt idx="26204">
                  <c:v>111936250</c:v>
                </c:pt>
                <c:pt idx="26205">
                  <c:v>91173381</c:v>
                </c:pt>
                <c:pt idx="26206">
                  <c:v>76097658</c:v>
                </c:pt>
                <c:pt idx="26207">
                  <c:v>15246016</c:v>
                </c:pt>
                <c:pt idx="26208">
                  <c:v>18129024</c:v>
                </c:pt>
                <c:pt idx="26209">
                  <c:v>4726904</c:v>
                </c:pt>
                <c:pt idx="26210">
                  <c:v>49547673</c:v>
                </c:pt>
                <c:pt idx="26211">
                  <c:v>44224353</c:v>
                </c:pt>
                <c:pt idx="26212">
                  <c:v>27097014</c:v>
                </c:pt>
                <c:pt idx="26213">
                  <c:v>43926741</c:v>
                </c:pt>
                <c:pt idx="26214">
                  <c:v>48610576</c:v>
                </c:pt>
                <c:pt idx="26215">
                  <c:v>21407332</c:v>
                </c:pt>
                <c:pt idx="26216">
                  <c:v>12646753</c:v>
                </c:pt>
                <c:pt idx="26217">
                  <c:v>18923532</c:v>
                </c:pt>
                <c:pt idx="26218">
                  <c:v>8100612</c:v>
                </c:pt>
                <c:pt idx="26219">
                  <c:v>15846628</c:v>
                </c:pt>
                <c:pt idx="26220">
                  <c:v>12294060</c:v>
                </c:pt>
                <c:pt idx="26221">
                  <c:v>10624838</c:v>
                </c:pt>
                <c:pt idx="26222">
                  <c:v>19442640</c:v>
                </c:pt>
                <c:pt idx="26223">
                  <c:v>80573401</c:v>
                </c:pt>
                <c:pt idx="26224">
                  <c:v>462939217</c:v>
                </c:pt>
                <c:pt idx="26225">
                  <c:v>329091932</c:v>
                </c:pt>
                <c:pt idx="26226">
                  <c:v>23293765</c:v>
                </c:pt>
                <c:pt idx="26227">
                  <c:v>132588729</c:v>
                </c:pt>
                <c:pt idx="26228">
                  <c:v>24534810</c:v>
                </c:pt>
                <c:pt idx="26229">
                  <c:v>54512127</c:v>
                </c:pt>
                <c:pt idx="26230">
                  <c:v>14864528</c:v>
                </c:pt>
                <c:pt idx="26231">
                  <c:v>470033333</c:v>
                </c:pt>
                <c:pt idx="26232">
                  <c:v>53354432</c:v>
                </c:pt>
                <c:pt idx="26233">
                  <c:v>9726332</c:v>
                </c:pt>
                <c:pt idx="26234">
                  <c:v>4178132</c:v>
                </c:pt>
                <c:pt idx="26235">
                  <c:v>199492230</c:v>
                </c:pt>
                <c:pt idx="26236">
                  <c:v>63759927</c:v>
                </c:pt>
                <c:pt idx="26237">
                  <c:v>8787142</c:v>
                </c:pt>
                <c:pt idx="26238">
                  <c:v>47235690</c:v>
                </c:pt>
                <c:pt idx="26239">
                  <c:v>81173079</c:v>
                </c:pt>
                <c:pt idx="26240">
                  <c:v>66647580</c:v>
                </c:pt>
                <c:pt idx="26241">
                  <c:v>6561120</c:v>
                </c:pt>
                <c:pt idx="26242">
                  <c:v>1002450816</c:v>
                </c:pt>
                <c:pt idx="26243">
                  <c:v>43544325</c:v>
                </c:pt>
                <c:pt idx="26244">
                  <c:v>127578945</c:v>
                </c:pt>
                <c:pt idx="26245">
                  <c:v>35064528</c:v>
                </c:pt>
                <c:pt idx="26246">
                  <c:v>11708109</c:v>
                </c:pt>
                <c:pt idx="26247">
                  <c:v>8980460</c:v>
                </c:pt>
                <c:pt idx="26248">
                  <c:v>17134766</c:v>
                </c:pt>
                <c:pt idx="26249">
                  <c:v>121101760</c:v>
                </c:pt>
                <c:pt idx="26250">
                  <c:v>228415668</c:v>
                </c:pt>
                <c:pt idx="26251">
                  <c:v>18304392</c:v>
                </c:pt>
                <c:pt idx="26252">
                  <c:v>208116076</c:v>
                </c:pt>
                <c:pt idx="26253">
                  <c:v>484222609</c:v>
                </c:pt>
                <c:pt idx="26254">
                  <c:v>15502230</c:v>
                </c:pt>
                <c:pt idx="26255">
                  <c:v>36102352</c:v>
                </c:pt>
                <c:pt idx="26256">
                  <c:v>412357296</c:v>
                </c:pt>
                <c:pt idx="26257">
                  <c:v>21146628</c:v>
                </c:pt>
                <c:pt idx="26258">
                  <c:v>6821540</c:v>
                </c:pt>
                <c:pt idx="26259">
                  <c:v>148237824</c:v>
                </c:pt>
                <c:pt idx="26260">
                  <c:v>16036554</c:v>
                </c:pt>
                <c:pt idx="26261">
                  <c:v>15163694</c:v>
                </c:pt>
                <c:pt idx="26262">
                  <c:v>463073076</c:v>
                </c:pt>
                <c:pt idx="26263">
                  <c:v>483155136</c:v>
                </c:pt>
                <c:pt idx="26264">
                  <c:v>1052309034</c:v>
                </c:pt>
                <c:pt idx="26265">
                  <c:v>798712812</c:v>
                </c:pt>
                <c:pt idx="26266">
                  <c:v>950236028</c:v>
                </c:pt>
                <c:pt idx="26267">
                  <c:v>855303808</c:v>
                </c:pt>
                <c:pt idx="26268">
                  <c:v>1373576157</c:v>
                </c:pt>
                <c:pt idx="26269">
                  <c:v>1340122095</c:v>
                </c:pt>
                <c:pt idx="26270">
                  <c:v>2147483647</c:v>
                </c:pt>
                <c:pt idx="26271">
                  <c:v>1374789080</c:v>
                </c:pt>
                <c:pt idx="26272">
                  <c:v>709527690</c:v>
                </c:pt>
                <c:pt idx="26273">
                  <c:v>2147483647</c:v>
                </c:pt>
                <c:pt idx="26274">
                  <c:v>98675048</c:v>
                </c:pt>
                <c:pt idx="26275">
                  <c:v>2147483647</c:v>
                </c:pt>
                <c:pt idx="26276">
                  <c:v>1526887845</c:v>
                </c:pt>
                <c:pt idx="26277">
                  <c:v>1163914227</c:v>
                </c:pt>
                <c:pt idx="26278">
                  <c:v>1401967000</c:v>
                </c:pt>
                <c:pt idx="26279">
                  <c:v>1721014750</c:v>
                </c:pt>
                <c:pt idx="26280">
                  <c:v>1492453216</c:v>
                </c:pt>
                <c:pt idx="26281">
                  <c:v>514864392</c:v>
                </c:pt>
                <c:pt idx="26282">
                  <c:v>32349426</c:v>
                </c:pt>
                <c:pt idx="26283">
                  <c:v>14247360</c:v>
                </c:pt>
                <c:pt idx="26284">
                  <c:v>56559816</c:v>
                </c:pt>
                <c:pt idx="26285">
                  <c:v>6479874</c:v>
                </c:pt>
                <c:pt idx="26286">
                  <c:v>74035794</c:v>
                </c:pt>
                <c:pt idx="26287">
                  <c:v>51441040</c:v>
                </c:pt>
                <c:pt idx="26288">
                  <c:v>27433140</c:v>
                </c:pt>
                <c:pt idx="26289">
                  <c:v>7864171</c:v>
                </c:pt>
                <c:pt idx="26290">
                  <c:v>54133575</c:v>
                </c:pt>
                <c:pt idx="26291">
                  <c:v>9372581</c:v>
                </c:pt>
                <c:pt idx="26292">
                  <c:v>64307428</c:v>
                </c:pt>
                <c:pt idx="26293">
                  <c:v>29126496</c:v>
                </c:pt>
                <c:pt idx="26294">
                  <c:v>27311883</c:v>
                </c:pt>
                <c:pt idx="26295">
                  <c:v>102055888</c:v>
                </c:pt>
                <c:pt idx="26296">
                  <c:v>32061600</c:v>
                </c:pt>
                <c:pt idx="26297">
                  <c:v>17413886</c:v>
                </c:pt>
                <c:pt idx="26298">
                  <c:v>53193525</c:v>
                </c:pt>
                <c:pt idx="26299">
                  <c:v>1044570870</c:v>
                </c:pt>
                <c:pt idx="26300">
                  <c:v>320266430</c:v>
                </c:pt>
                <c:pt idx="26301">
                  <c:v>370724676</c:v>
                </c:pt>
                <c:pt idx="26302">
                  <c:v>23744418</c:v>
                </c:pt>
                <c:pt idx="26303">
                  <c:v>327377296</c:v>
                </c:pt>
                <c:pt idx="26304">
                  <c:v>49494225</c:v>
                </c:pt>
                <c:pt idx="26305">
                  <c:v>69708226</c:v>
                </c:pt>
                <c:pt idx="26306">
                  <c:v>75467682</c:v>
                </c:pt>
                <c:pt idx="26307">
                  <c:v>29443932</c:v>
                </c:pt>
                <c:pt idx="26308">
                  <c:v>10450027</c:v>
                </c:pt>
                <c:pt idx="26309">
                  <c:v>170110743</c:v>
                </c:pt>
                <c:pt idx="26310">
                  <c:v>28374030</c:v>
                </c:pt>
                <c:pt idx="26311">
                  <c:v>22629360</c:v>
                </c:pt>
                <c:pt idx="26312">
                  <c:v>17344107</c:v>
                </c:pt>
                <c:pt idx="26313">
                  <c:v>11514607</c:v>
                </c:pt>
                <c:pt idx="26314">
                  <c:v>926628126</c:v>
                </c:pt>
                <c:pt idx="26315">
                  <c:v>1429338978</c:v>
                </c:pt>
                <c:pt idx="26316">
                  <c:v>805703250</c:v>
                </c:pt>
                <c:pt idx="26317">
                  <c:v>1436055813</c:v>
                </c:pt>
                <c:pt idx="26318">
                  <c:v>781507142</c:v>
                </c:pt>
                <c:pt idx="26319">
                  <c:v>43625230</c:v>
                </c:pt>
                <c:pt idx="26320">
                  <c:v>33698850</c:v>
                </c:pt>
                <c:pt idx="26321">
                  <c:v>36139568</c:v>
                </c:pt>
                <c:pt idx="26322">
                  <c:v>15356065</c:v>
                </c:pt>
                <c:pt idx="26323">
                  <c:v>82439808</c:v>
                </c:pt>
                <c:pt idx="26324">
                  <c:v>10382500</c:v>
                </c:pt>
                <c:pt idx="26325">
                  <c:v>39265185</c:v>
                </c:pt>
                <c:pt idx="26326">
                  <c:v>158290400</c:v>
                </c:pt>
                <c:pt idx="26327">
                  <c:v>454199823</c:v>
                </c:pt>
                <c:pt idx="26328">
                  <c:v>65903873</c:v>
                </c:pt>
                <c:pt idx="26329">
                  <c:v>51013378</c:v>
                </c:pt>
                <c:pt idx="26330">
                  <c:v>42331455</c:v>
                </c:pt>
                <c:pt idx="26331">
                  <c:v>866797555</c:v>
                </c:pt>
                <c:pt idx="26332">
                  <c:v>343733808</c:v>
                </c:pt>
                <c:pt idx="26333">
                  <c:v>47402496</c:v>
                </c:pt>
                <c:pt idx="26334">
                  <c:v>60799005</c:v>
                </c:pt>
                <c:pt idx="26335">
                  <c:v>25224237</c:v>
                </c:pt>
                <c:pt idx="26336">
                  <c:v>56406116</c:v>
                </c:pt>
                <c:pt idx="26337">
                  <c:v>94933080</c:v>
                </c:pt>
                <c:pt idx="26338">
                  <c:v>30621920</c:v>
                </c:pt>
                <c:pt idx="26339">
                  <c:v>29042918</c:v>
                </c:pt>
                <c:pt idx="26340">
                  <c:v>41586300</c:v>
                </c:pt>
                <c:pt idx="26341">
                  <c:v>18416574</c:v>
                </c:pt>
                <c:pt idx="26342">
                  <c:v>410316572</c:v>
                </c:pt>
                <c:pt idx="26343">
                  <c:v>29588427</c:v>
                </c:pt>
                <c:pt idx="26344">
                  <c:v>34820420</c:v>
                </c:pt>
                <c:pt idx="26345">
                  <c:v>8030660</c:v>
                </c:pt>
                <c:pt idx="26346">
                  <c:v>418034199</c:v>
                </c:pt>
                <c:pt idx="26347">
                  <c:v>45389400</c:v>
                </c:pt>
                <c:pt idx="26348">
                  <c:v>7453160</c:v>
                </c:pt>
                <c:pt idx="26349">
                  <c:v>26298756</c:v>
                </c:pt>
                <c:pt idx="26350">
                  <c:v>12452704</c:v>
                </c:pt>
                <c:pt idx="26351">
                  <c:v>10052406</c:v>
                </c:pt>
                <c:pt idx="26352">
                  <c:v>1256310</c:v>
                </c:pt>
                <c:pt idx="26353">
                  <c:v>6027252</c:v>
                </c:pt>
                <c:pt idx="26354">
                  <c:v>1751190</c:v>
                </c:pt>
                <c:pt idx="26355">
                  <c:v>161544672</c:v>
                </c:pt>
                <c:pt idx="26356">
                  <c:v>23838220</c:v>
                </c:pt>
                <c:pt idx="26357">
                  <c:v>39521159</c:v>
                </c:pt>
                <c:pt idx="26358">
                  <c:v>15592520</c:v>
                </c:pt>
                <c:pt idx="26359">
                  <c:v>184099538</c:v>
                </c:pt>
                <c:pt idx="26360">
                  <c:v>35095320</c:v>
                </c:pt>
                <c:pt idx="26361">
                  <c:v>18252272</c:v>
                </c:pt>
                <c:pt idx="26362">
                  <c:v>11708085</c:v>
                </c:pt>
                <c:pt idx="26363">
                  <c:v>146129096</c:v>
                </c:pt>
                <c:pt idx="26364">
                  <c:v>61985400</c:v>
                </c:pt>
                <c:pt idx="26365">
                  <c:v>50862636</c:v>
                </c:pt>
                <c:pt idx="26366">
                  <c:v>19630674</c:v>
                </c:pt>
                <c:pt idx="26367">
                  <c:v>664878236</c:v>
                </c:pt>
                <c:pt idx="26368">
                  <c:v>660892589</c:v>
                </c:pt>
                <c:pt idx="26369">
                  <c:v>735269590</c:v>
                </c:pt>
                <c:pt idx="26370">
                  <c:v>298714660</c:v>
                </c:pt>
                <c:pt idx="26371">
                  <c:v>1259430568</c:v>
                </c:pt>
                <c:pt idx="26372">
                  <c:v>748538303</c:v>
                </c:pt>
                <c:pt idx="26373">
                  <c:v>19637244</c:v>
                </c:pt>
                <c:pt idx="26374">
                  <c:v>277022785</c:v>
                </c:pt>
                <c:pt idx="26375">
                  <c:v>12458908</c:v>
                </c:pt>
                <c:pt idx="26376">
                  <c:v>49567804</c:v>
                </c:pt>
                <c:pt idx="26377">
                  <c:v>6345180</c:v>
                </c:pt>
                <c:pt idx="26378">
                  <c:v>26766026</c:v>
                </c:pt>
                <c:pt idx="26379">
                  <c:v>14730870</c:v>
                </c:pt>
                <c:pt idx="26380">
                  <c:v>12303060</c:v>
                </c:pt>
                <c:pt idx="26381">
                  <c:v>411540282</c:v>
                </c:pt>
                <c:pt idx="26382">
                  <c:v>14424800</c:v>
                </c:pt>
                <c:pt idx="26383">
                  <c:v>19790935</c:v>
                </c:pt>
                <c:pt idx="26384">
                  <c:v>28052832</c:v>
                </c:pt>
                <c:pt idx="26385">
                  <c:v>56335152</c:v>
                </c:pt>
                <c:pt idx="26386">
                  <c:v>63970278</c:v>
                </c:pt>
                <c:pt idx="26387">
                  <c:v>24179678</c:v>
                </c:pt>
                <c:pt idx="26388">
                  <c:v>35346444</c:v>
                </c:pt>
                <c:pt idx="26389">
                  <c:v>55331280</c:v>
                </c:pt>
                <c:pt idx="26390">
                  <c:v>465234432</c:v>
                </c:pt>
                <c:pt idx="26391">
                  <c:v>156734928</c:v>
                </c:pt>
                <c:pt idx="26392">
                  <c:v>28356390</c:v>
                </c:pt>
                <c:pt idx="26393">
                  <c:v>187289750</c:v>
                </c:pt>
                <c:pt idx="26394">
                  <c:v>1113608034</c:v>
                </c:pt>
                <c:pt idx="26395">
                  <c:v>7238112</c:v>
                </c:pt>
                <c:pt idx="26396">
                  <c:v>2118082</c:v>
                </c:pt>
                <c:pt idx="26397">
                  <c:v>14654448</c:v>
                </c:pt>
                <c:pt idx="26398">
                  <c:v>27112914</c:v>
                </c:pt>
                <c:pt idx="26399">
                  <c:v>11875674</c:v>
                </c:pt>
                <c:pt idx="26400">
                  <c:v>3855827</c:v>
                </c:pt>
                <c:pt idx="26401">
                  <c:v>26934445</c:v>
                </c:pt>
                <c:pt idx="26402">
                  <c:v>391565850</c:v>
                </c:pt>
                <c:pt idx="26403">
                  <c:v>6281466</c:v>
                </c:pt>
                <c:pt idx="26404">
                  <c:v>34841737</c:v>
                </c:pt>
                <c:pt idx="26405">
                  <c:v>802075120</c:v>
                </c:pt>
                <c:pt idx="26406">
                  <c:v>556002891</c:v>
                </c:pt>
                <c:pt idx="26407">
                  <c:v>570017280</c:v>
                </c:pt>
                <c:pt idx="26408">
                  <c:v>1274610070</c:v>
                </c:pt>
                <c:pt idx="26409">
                  <c:v>96607368</c:v>
                </c:pt>
                <c:pt idx="26410">
                  <c:v>88969594</c:v>
                </c:pt>
                <c:pt idx="26411">
                  <c:v>37931652</c:v>
                </c:pt>
                <c:pt idx="26412">
                  <c:v>1123442588</c:v>
                </c:pt>
                <c:pt idx="26413">
                  <c:v>234180372</c:v>
                </c:pt>
                <c:pt idx="26414">
                  <c:v>60065880</c:v>
                </c:pt>
                <c:pt idx="26415">
                  <c:v>31278135</c:v>
                </c:pt>
                <c:pt idx="26416">
                  <c:v>40958164</c:v>
                </c:pt>
                <c:pt idx="26417">
                  <c:v>362914860</c:v>
                </c:pt>
                <c:pt idx="26418">
                  <c:v>38097240</c:v>
                </c:pt>
                <c:pt idx="26419">
                  <c:v>31922100</c:v>
                </c:pt>
                <c:pt idx="26420">
                  <c:v>956333852</c:v>
                </c:pt>
                <c:pt idx="26421">
                  <c:v>14872746</c:v>
                </c:pt>
                <c:pt idx="26422">
                  <c:v>112502060</c:v>
                </c:pt>
                <c:pt idx="26423">
                  <c:v>70668420</c:v>
                </c:pt>
                <c:pt idx="26424">
                  <c:v>63322976</c:v>
                </c:pt>
                <c:pt idx="26425">
                  <c:v>13786660</c:v>
                </c:pt>
                <c:pt idx="26426">
                  <c:v>31080830</c:v>
                </c:pt>
                <c:pt idx="26427">
                  <c:v>48257931</c:v>
                </c:pt>
                <c:pt idx="26428">
                  <c:v>45551037</c:v>
                </c:pt>
                <c:pt idx="26429">
                  <c:v>18692640</c:v>
                </c:pt>
                <c:pt idx="26430">
                  <c:v>229231782</c:v>
                </c:pt>
                <c:pt idx="26431">
                  <c:v>41616657</c:v>
                </c:pt>
                <c:pt idx="26432">
                  <c:v>104259618</c:v>
                </c:pt>
                <c:pt idx="26433">
                  <c:v>3821680</c:v>
                </c:pt>
                <c:pt idx="26434">
                  <c:v>124638690</c:v>
                </c:pt>
                <c:pt idx="26435">
                  <c:v>3139413</c:v>
                </c:pt>
                <c:pt idx="26436">
                  <c:v>59802138</c:v>
                </c:pt>
                <c:pt idx="26437">
                  <c:v>17048202</c:v>
                </c:pt>
                <c:pt idx="26438">
                  <c:v>6756836</c:v>
                </c:pt>
                <c:pt idx="26439">
                  <c:v>74505864</c:v>
                </c:pt>
                <c:pt idx="26440">
                  <c:v>44275650</c:v>
                </c:pt>
                <c:pt idx="26441">
                  <c:v>1352147183</c:v>
                </c:pt>
                <c:pt idx="26442">
                  <c:v>22702866</c:v>
                </c:pt>
                <c:pt idx="26443">
                  <c:v>8632250</c:v>
                </c:pt>
                <c:pt idx="26444">
                  <c:v>605188111</c:v>
                </c:pt>
                <c:pt idx="26445">
                  <c:v>24309729</c:v>
                </c:pt>
                <c:pt idx="26446">
                  <c:v>9786330</c:v>
                </c:pt>
                <c:pt idx="26447">
                  <c:v>1359306200</c:v>
                </c:pt>
                <c:pt idx="26448">
                  <c:v>1864177812</c:v>
                </c:pt>
                <c:pt idx="26449">
                  <c:v>7035875</c:v>
                </c:pt>
                <c:pt idx="26450">
                  <c:v>1413518533</c:v>
                </c:pt>
                <c:pt idx="26451">
                  <c:v>1170034290</c:v>
                </c:pt>
                <c:pt idx="26452">
                  <c:v>18400545</c:v>
                </c:pt>
                <c:pt idx="26453">
                  <c:v>105074178</c:v>
                </c:pt>
                <c:pt idx="26454">
                  <c:v>34210568</c:v>
                </c:pt>
                <c:pt idx="26455">
                  <c:v>88433026</c:v>
                </c:pt>
                <c:pt idx="26456">
                  <c:v>20642141</c:v>
                </c:pt>
                <c:pt idx="26457">
                  <c:v>532212604</c:v>
                </c:pt>
                <c:pt idx="26458">
                  <c:v>243590524</c:v>
                </c:pt>
                <c:pt idx="26459">
                  <c:v>795135768</c:v>
                </c:pt>
                <c:pt idx="26460">
                  <c:v>1938409069</c:v>
                </c:pt>
                <c:pt idx="26461">
                  <c:v>1151125273</c:v>
                </c:pt>
                <c:pt idx="26462">
                  <c:v>118855350</c:v>
                </c:pt>
                <c:pt idx="26463">
                  <c:v>131588765</c:v>
                </c:pt>
                <c:pt idx="26464">
                  <c:v>29246448</c:v>
                </c:pt>
                <c:pt idx="26465">
                  <c:v>1277232250</c:v>
                </c:pt>
                <c:pt idx="26466">
                  <c:v>77865102</c:v>
                </c:pt>
                <c:pt idx="26467">
                  <c:v>8659743</c:v>
                </c:pt>
                <c:pt idx="26468">
                  <c:v>4530492</c:v>
                </c:pt>
                <c:pt idx="26469">
                  <c:v>663619888</c:v>
                </c:pt>
                <c:pt idx="26470">
                  <c:v>57039244</c:v>
                </c:pt>
                <c:pt idx="26471">
                  <c:v>2147483647</c:v>
                </c:pt>
                <c:pt idx="26472">
                  <c:v>319480041</c:v>
                </c:pt>
                <c:pt idx="26473">
                  <c:v>220890285</c:v>
                </c:pt>
                <c:pt idx="26474">
                  <c:v>2147483647</c:v>
                </c:pt>
                <c:pt idx="26475">
                  <c:v>1054585236</c:v>
                </c:pt>
                <c:pt idx="26476">
                  <c:v>1010697213</c:v>
                </c:pt>
                <c:pt idx="26477">
                  <c:v>153212125</c:v>
                </c:pt>
                <c:pt idx="26478">
                  <c:v>165672134</c:v>
                </c:pt>
                <c:pt idx="26479">
                  <c:v>10076916</c:v>
                </c:pt>
                <c:pt idx="26480">
                  <c:v>706718907</c:v>
                </c:pt>
                <c:pt idx="26481">
                  <c:v>935093388</c:v>
                </c:pt>
                <c:pt idx="26482">
                  <c:v>1324882892</c:v>
                </c:pt>
                <c:pt idx="26483">
                  <c:v>819528508</c:v>
                </c:pt>
                <c:pt idx="26484">
                  <c:v>531287812</c:v>
                </c:pt>
                <c:pt idx="26485">
                  <c:v>791398832</c:v>
                </c:pt>
                <c:pt idx="26486">
                  <c:v>1642409172</c:v>
                </c:pt>
                <c:pt idx="26487">
                  <c:v>317661248</c:v>
                </c:pt>
                <c:pt idx="26488">
                  <c:v>1292528952</c:v>
                </c:pt>
                <c:pt idx="26489">
                  <c:v>1451417869</c:v>
                </c:pt>
                <c:pt idx="26490">
                  <c:v>985698728</c:v>
                </c:pt>
                <c:pt idx="26491">
                  <c:v>2080910160</c:v>
                </c:pt>
                <c:pt idx="26492">
                  <c:v>766689224</c:v>
                </c:pt>
                <c:pt idx="26493">
                  <c:v>1174469215</c:v>
                </c:pt>
                <c:pt idx="26494">
                  <c:v>762400044</c:v>
                </c:pt>
                <c:pt idx="26495">
                  <c:v>1528778152</c:v>
                </c:pt>
                <c:pt idx="26496">
                  <c:v>1190067065</c:v>
                </c:pt>
                <c:pt idx="26497">
                  <c:v>2147483647</c:v>
                </c:pt>
                <c:pt idx="26498">
                  <c:v>31146618</c:v>
                </c:pt>
                <c:pt idx="26499">
                  <c:v>1297320000</c:v>
                </c:pt>
                <c:pt idx="26500">
                  <c:v>2147483647</c:v>
                </c:pt>
                <c:pt idx="26501">
                  <c:v>1092796949</c:v>
                </c:pt>
                <c:pt idx="26502">
                  <c:v>2073089140</c:v>
                </c:pt>
                <c:pt idx="26503">
                  <c:v>1175248896</c:v>
                </c:pt>
                <c:pt idx="26504">
                  <c:v>2009982282</c:v>
                </c:pt>
                <c:pt idx="26505">
                  <c:v>1310276230</c:v>
                </c:pt>
                <c:pt idx="26506">
                  <c:v>1415634000</c:v>
                </c:pt>
                <c:pt idx="26507">
                  <c:v>1710801316</c:v>
                </c:pt>
                <c:pt idx="26508">
                  <c:v>699248016</c:v>
                </c:pt>
                <c:pt idx="26509">
                  <c:v>426231700</c:v>
                </c:pt>
                <c:pt idx="26510">
                  <c:v>1176122754</c:v>
                </c:pt>
                <c:pt idx="26511">
                  <c:v>930760936</c:v>
                </c:pt>
                <c:pt idx="26512">
                  <c:v>624657525</c:v>
                </c:pt>
                <c:pt idx="26513">
                  <c:v>1808526491</c:v>
                </c:pt>
                <c:pt idx="26514">
                  <c:v>2114835596</c:v>
                </c:pt>
                <c:pt idx="26515">
                  <c:v>1728836900</c:v>
                </c:pt>
                <c:pt idx="26516">
                  <c:v>662200500</c:v>
                </c:pt>
                <c:pt idx="26517">
                  <c:v>66052512</c:v>
                </c:pt>
                <c:pt idx="26518">
                  <c:v>56987937</c:v>
                </c:pt>
                <c:pt idx="26519">
                  <c:v>994766584</c:v>
                </c:pt>
                <c:pt idx="26520">
                  <c:v>460491336</c:v>
                </c:pt>
                <c:pt idx="26521">
                  <c:v>1519365782</c:v>
                </c:pt>
                <c:pt idx="26522">
                  <c:v>423602624</c:v>
                </c:pt>
                <c:pt idx="26523">
                  <c:v>1308383750</c:v>
                </c:pt>
                <c:pt idx="26524">
                  <c:v>230397804</c:v>
                </c:pt>
                <c:pt idx="26525">
                  <c:v>4386276</c:v>
                </c:pt>
                <c:pt idx="26526">
                  <c:v>23062602</c:v>
                </c:pt>
                <c:pt idx="26527">
                  <c:v>7724412</c:v>
                </c:pt>
                <c:pt idx="26528">
                  <c:v>22133410</c:v>
                </c:pt>
                <c:pt idx="26529">
                  <c:v>571463910</c:v>
                </c:pt>
                <c:pt idx="26530">
                  <c:v>739053081</c:v>
                </c:pt>
                <c:pt idx="26531">
                  <c:v>707337400</c:v>
                </c:pt>
                <c:pt idx="26532">
                  <c:v>433457374</c:v>
                </c:pt>
                <c:pt idx="26533">
                  <c:v>79209683</c:v>
                </c:pt>
                <c:pt idx="26534">
                  <c:v>70652988</c:v>
                </c:pt>
                <c:pt idx="26535">
                  <c:v>96999496</c:v>
                </c:pt>
                <c:pt idx="26536">
                  <c:v>472645509</c:v>
                </c:pt>
                <c:pt idx="26537">
                  <c:v>7615176</c:v>
                </c:pt>
                <c:pt idx="26538">
                  <c:v>15215222</c:v>
                </c:pt>
                <c:pt idx="26539">
                  <c:v>236344728</c:v>
                </c:pt>
                <c:pt idx="26540">
                  <c:v>1095091920</c:v>
                </c:pt>
                <c:pt idx="26541">
                  <c:v>513287610</c:v>
                </c:pt>
                <c:pt idx="26542">
                  <c:v>972020280</c:v>
                </c:pt>
                <c:pt idx="26543">
                  <c:v>1867780628</c:v>
                </c:pt>
                <c:pt idx="26544">
                  <c:v>81702825</c:v>
                </c:pt>
                <c:pt idx="26545">
                  <c:v>594002508</c:v>
                </c:pt>
                <c:pt idx="26546">
                  <c:v>18606720</c:v>
                </c:pt>
                <c:pt idx="26547">
                  <c:v>96469702</c:v>
                </c:pt>
                <c:pt idx="26548">
                  <c:v>581793896</c:v>
                </c:pt>
                <c:pt idx="26549">
                  <c:v>184614576</c:v>
                </c:pt>
                <c:pt idx="26550">
                  <c:v>166045770</c:v>
                </c:pt>
                <c:pt idx="26551">
                  <c:v>174172350</c:v>
                </c:pt>
                <c:pt idx="26552">
                  <c:v>801007020</c:v>
                </c:pt>
                <c:pt idx="26553">
                  <c:v>508294578</c:v>
                </c:pt>
                <c:pt idx="26554">
                  <c:v>143115349</c:v>
                </c:pt>
                <c:pt idx="26555">
                  <c:v>1315403061</c:v>
                </c:pt>
                <c:pt idx="26556">
                  <c:v>1041086684</c:v>
                </c:pt>
                <c:pt idx="26557">
                  <c:v>1341703188</c:v>
                </c:pt>
                <c:pt idx="26558">
                  <c:v>456645742</c:v>
                </c:pt>
                <c:pt idx="26559">
                  <c:v>1720737812</c:v>
                </c:pt>
                <c:pt idx="26560">
                  <c:v>48111696</c:v>
                </c:pt>
                <c:pt idx="26561">
                  <c:v>1984703366</c:v>
                </c:pt>
                <c:pt idx="26562">
                  <c:v>626660858</c:v>
                </c:pt>
                <c:pt idx="26563">
                  <c:v>791212214</c:v>
                </c:pt>
                <c:pt idx="26564">
                  <c:v>1768115300</c:v>
                </c:pt>
                <c:pt idx="26565">
                  <c:v>1722439725</c:v>
                </c:pt>
                <c:pt idx="26566">
                  <c:v>956486160</c:v>
                </c:pt>
                <c:pt idx="26567">
                  <c:v>474886347</c:v>
                </c:pt>
                <c:pt idx="26568">
                  <c:v>199359600</c:v>
                </c:pt>
                <c:pt idx="26569">
                  <c:v>189537986</c:v>
                </c:pt>
                <c:pt idx="26570">
                  <c:v>580672376</c:v>
                </c:pt>
                <c:pt idx="26571">
                  <c:v>924340944</c:v>
                </c:pt>
                <c:pt idx="26572">
                  <c:v>587506640</c:v>
                </c:pt>
                <c:pt idx="26573">
                  <c:v>210282960</c:v>
                </c:pt>
                <c:pt idx="26574">
                  <c:v>60364242</c:v>
                </c:pt>
                <c:pt idx="26575">
                  <c:v>17498496</c:v>
                </c:pt>
                <c:pt idx="26576">
                  <c:v>30671536</c:v>
                </c:pt>
                <c:pt idx="26577">
                  <c:v>131414652</c:v>
                </c:pt>
                <c:pt idx="26578">
                  <c:v>871251057</c:v>
                </c:pt>
                <c:pt idx="26579">
                  <c:v>802284282</c:v>
                </c:pt>
                <c:pt idx="26580">
                  <c:v>1070015268</c:v>
                </c:pt>
                <c:pt idx="26581">
                  <c:v>2131352663</c:v>
                </c:pt>
                <c:pt idx="26582">
                  <c:v>1046741850</c:v>
                </c:pt>
                <c:pt idx="26583">
                  <c:v>1083366050</c:v>
                </c:pt>
                <c:pt idx="26584">
                  <c:v>745615871</c:v>
                </c:pt>
                <c:pt idx="26585">
                  <c:v>1076018450</c:v>
                </c:pt>
                <c:pt idx="26586">
                  <c:v>241190733</c:v>
                </c:pt>
                <c:pt idx="26587">
                  <c:v>1562388912</c:v>
                </c:pt>
                <c:pt idx="26588">
                  <c:v>1220799888</c:v>
                </c:pt>
                <c:pt idx="26589">
                  <c:v>556228412</c:v>
                </c:pt>
                <c:pt idx="26590">
                  <c:v>396878776</c:v>
                </c:pt>
                <c:pt idx="26591">
                  <c:v>1040178776</c:v>
                </c:pt>
                <c:pt idx="26592">
                  <c:v>1358498471</c:v>
                </c:pt>
                <c:pt idx="26593">
                  <c:v>894254760</c:v>
                </c:pt>
                <c:pt idx="26594">
                  <c:v>1202483506</c:v>
                </c:pt>
                <c:pt idx="26595">
                  <c:v>2137936768</c:v>
                </c:pt>
                <c:pt idx="26596">
                  <c:v>1387044246</c:v>
                </c:pt>
                <c:pt idx="26597">
                  <c:v>76295742</c:v>
                </c:pt>
                <c:pt idx="26598">
                  <c:v>1216234306</c:v>
                </c:pt>
                <c:pt idx="26599">
                  <c:v>711694800</c:v>
                </c:pt>
                <c:pt idx="26600">
                  <c:v>2147483647</c:v>
                </c:pt>
                <c:pt idx="26601">
                  <c:v>2147483647</c:v>
                </c:pt>
                <c:pt idx="26602">
                  <c:v>2147483647</c:v>
                </c:pt>
                <c:pt idx="26603">
                  <c:v>2147483647</c:v>
                </c:pt>
                <c:pt idx="26604">
                  <c:v>1229162493</c:v>
                </c:pt>
                <c:pt idx="26605">
                  <c:v>948999528</c:v>
                </c:pt>
                <c:pt idx="26606">
                  <c:v>978991320</c:v>
                </c:pt>
                <c:pt idx="26607">
                  <c:v>1133913438</c:v>
                </c:pt>
                <c:pt idx="26608">
                  <c:v>815663440</c:v>
                </c:pt>
                <c:pt idx="26609">
                  <c:v>2147483647</c:v>
                </c:pt>
                <c:pt idx="26610">
                  <c:v>1687474620</c:v>
                </c:pt>
                <c:pt idx="26611">
                  <c:v>2147483647</c:v>
                </c:pt>
                <c:pt idx="26612">
                  <c:v>1093422300</c:v>
                </c:pt>
                <c:pt idx="26613">
                  <c:v>899408950</c:v>
                </c:pt>
                <c:pt idx="26614">
                  <c:v>1718633480</c:v>
                </c:pt>
                <c:pt idx="26615">
                  <c:v>246932032</c:v>
                </c:pt>
                <c:pt idx="26616">
                  <c:v>1298209808</c:v>
                </c:pt>
                <c:pt idx="26617">
                  <c:v>2147483647</c:v>
                </c:pt>
                <c:pt idx="26618">
                  <c:v>1401094632</c:v>
                </c:pt>
                <c:pt idx="26619">
                  <c:v>1664651252</c:v>
                </c:pt>
                <c:pt idx="26620">
                  <c:v>2147483647</c:v>
                </c:pt>
                <c:pt idx="26621">
                  <c:v>2147483647</c:v>
                </c:pt>
                <c:pt idx="26622">
                  <c:v>1342004390</c:v>
                </c:pt>
                <c:pt idx="26623">
                  <c:v>1830481642</c:v>
                </c:pt>
                <c:pt idx="26624">
                  <c:v>487769408</c:v>
                </c:pt>
                <c:pt idx="26625">
                  <c:v>945497802</c:v>
                </c:pt>
                <c:pt idx="26626">
                  <c:v>54815189</c:v>
                </c:pt>
                <c:pt idx="26627">
                  <c:v>664330588</c:v>
                </c:pt>
                <c:pt idx="26628">
                  <c:v>551268476</c:v>
                </c:pt>
                <c:pt idx="26629">
                  <c:v>735258372</c:v>
                </c:pt>
                <c:pt idx="26630">
                  <c:v>964285120</c:v>
                </c:pt>
                <c:pt idx="26631">
                  <c:v>1981782096</c:v>
                </c:pt>
                <c:pt idx="26632">
                  <c:v>1906311420</c:v>
                </c:pt>
                <c:pt idx="26633">
                  <c:v>2147483647</c:v>
                </c:pt>
                <c:pt idx="26634">
                  <c:v>278066344</c:v>
                </c:pt>
                <c:pt idx="26635">
                  <c:v>1928449952</c:v>
                </c:pt>
                <c:pt idx="26636">
                  <c:v>2069194088</c:v>
                </c:pt>
                <c:pt idx="26637">
                  <c:v>1228343000</c:v>
                </c:pt>
                <c:pt idx="26638">
                  <c:v>1438689510</c:v>
                </c:pt>
                <c:pt idx="26639">
                  <c:v>1042381056</c:v>
                </c:pt>
                <c:pt idx="26640">
                  <c:v>900490191</c:v>
                </c:pt>
                <c:pt idx="26641">
                  <c:v>616553862</c:v>
                </c:pt>
                <c:pt idx="26642">
                  <c:v>1923156480</c:v>
                </c:pt>
                <c:pt idx="26643">
                  <c:v>1004173713</c:v>
                </c:pt>
                <c:pt idx="26644">
                  <c:v>928860010</c:v>
                </c:pt>
                <c:pt idx="26645">
                  <c:v>1391669972</c:v>
                </c:pt>
                <c:pt idx="26646">
                  <c:v>1157040642</c:v>
                </c:pt>
                <c:pt idx="26647">
                  <c:v>1088963820</c:v>
                </c:pt>
                <c:pt idx="26648">
                  <c:v>1273276268</c:v>
                </c:pt>
                <c:pt idx="26649">
                  <c:v>371263249</c:v>
                </c:pt>
                <c:pt idx="26650">
                  <c:v>777687134</c:v>
                </c:pt>
                <c:pt idx="26651">
                  <c:v>2147483647</c:v>
                </c:pt>
                <c:pt idx="26652">
                  <c:v>1904254988</c:v>
                </c:pt>
                <c:pt idx="26653">
                  <c:v>1209861624</c:v>
                </c:pt>
                <c:pt idx="26654">
                  <c:v>923706726</c:v>
                </c:pt>
                <c:pt idx="26655">
                  <c:v>1131502878</c:v>
                </c:pt>
                <c:pt idx="26656">
                  <c:v>418858000</c:v>
                </c:pt>
                <c:pt idx="26657">
                  <c:v>2147483647</c:v>
                </c:pt>
                <c:pt idx="26658">
                  <c:v>2147483647</c:v>
                </c:pt>
                <c:pt idx="26659">
                  <c:v>2147483647</c:v>
                </c:pt>
                <c:pt idx="26660">
                  <c:v>2147483647</c:v>
                </c:pt>
                <c:pt idx="26661">
                  <c:v>1745155648</c:v>
                </c:pt>
                <c:pt idx="26662">
                  <c:v>390088256</c:v>
                </c:pt>
                <c:pt idx="26663">
                  <c:v>2147483647</c:v>
                </c:pt>
                <c:pt idx="26664">
                  <c:v>2147483647</c:v>
                </c:pt>
                <c:pt idx="26665">
                  <c:v>1011650750</c:v>
                </c:pt>
                <c:pt idx="26666">
                  <c:v>831218290</c:v>
                </c:pt>
                <c:pt idx="26667">
                  <c:v>827749240</c:v>
                </c:pt>
                <c:pt idx="26668">
                  <c:v>566642136</c:v>
                </c:pt>
                <c:pt idx="26669">
                  <c:v>463467994</c:v>
                </c:pt>
                <c:pt idx="26670">
                  <c:v>603240960</c:v>
                </c:pt>
                <c:pt idx="26671">
                  <c:v>687142064</c:v>
                </c:pt>
                <c:pt idx="26672">
                  <c:v>2119798920</c:v>
                </c:pt>
                <c:pt idx="26673">
                  <c:v>1261789330</c:v>
                </c:pt>
                <c:pt idx="26674">
                  <c:v>2046182634</c:v>
                </c:pt>
                <c:pt idx="26675">
                  <c:v>1572741612</c:v>
                </c:pt>
                <c:pt idx="26676">
                  <c:v>697620000</c:v>
                </c:pt>
                <c:pt idx="26677">
                  <c:v>2147483647</c:v>
                </c:pt>
                <c:pt idx="26678">
                  <c:v>1404804520</c:v>
                </c:pt>
                <c:pt idx="26679">
                  <c:v>1778348703</c:v>
                </c:pt>
                <c:pt idx="26680">
                  <c:v>1123009992</c:v>
                </c:pt>
                <c:pt idx="26681">
                  <c:v>614102624</c:v>
                </c:pt>
                <c:pt idx="26682">
                  <c:v>854233270</c:v>
                </c:pt>
                <c:pt idx="26683">
                  <c:v>1206256590</c:v>
                </c:pt>
                <c:pt idx="26684">
                  <c:v>1141610781</c:v>
                </c:pt>
                <c:pt idx="26685">
                  <c:v>834979596</c:v>
                </c:pt>
                <c:pt idx="26686">
                  <c:v>1574525652</c:v>
                </c:pt>
                <c:pt idx="26687">
                  <c:v>1019337000</c:v>
                </c:pt>
                <c:pt idx="26688">
                  <c:v>627062352</c:v>
                </c:pt>
                <c:pt idx="26689">
                  <c:v>2089182924</c:v>
                </c:pt>
                <c:pt idx="26690">
                  <c:v>2147483647</c:v>
                </c:pt>
                <c:pt idx="26691">
                  <c:v>1698614644</c:v>
                </c:pt>
                <c:pt idx="26692">
                  <c:v>1644054588</c:v>
                </c:pt>
                <c:pt idx="26693">
                  <c:v>2147483647</c:v>
                </c:pt>
                <c:pt idx="26694">
                  <c:v>1595397524</c:v>
                </c:pt>
                <c:pt idx="26695">
                  <c:v>490673316</c:v>
                </c:pt>
                <c:pt idx="26696">
                  <c:v>941536799</c:v>
                </c:pt>
                <c:pt idx="26697">
                  <c:v>429544416</c:v>
                </c:pt>
                <c:pt idx="26698">
                  <c:v>2147483647</c:v>
                </c:pt>
                <c:pt idx="26699">
                  <c:v>157615907</c:v>
                </c:pt>
                <c:pt idx="26700">
                  <c:v>2041361874</c:v>
                </c:pt>
                <c:pt idx="26701">
                  <c:v>863265900</c:v>
                </c:pt>
                <c:pt idx="26702">
                  <c:v>1251148453</c:v>
                </c:pt>
                <c:pt idx="26703">
                  <c:v>1209604592</c:v>
                </c:pt>
                <c:pt idx="26704">
                  <c:v>611045799</c:v>
                </c:pt>
                <c:pt idx="26705">
                  <c:v>272910174</c:v>
                </c:pt>
                <c:pt idx="26706">
                  <c:v>897112125</c:v>
                </c:pt>
                <c:pt idx="26707">
                  <c:v>1280387985</c:v>
                </c:pt>
                <c:pt idx="26708">
                  <c:v>1086032440</c:v>
                </c:pt>
                <c:pt idx="26709">
                  <c:v>2050907815</c:v>
                </c:pt>
                <c:pt idx="26710">
                  <c:v>1148294560</c:v>
                </c:pt>
                <c:pt idx="26711">
                  <c:v>1485728492</c:v>
                </c:pt>
                <c:pt idx="26712">
                  <c:v>46009944</c:v>
                </c:pt>
                <c:pt idx="26713">
                  <c:v>1109135165</c:v>
                </c:pt>
                <c:pt idx="26714">
                  <c:v>1706624675</c:v>
                </c:pt>
                <c:pt idx="26715">
                  <c:v>1004939166</c:v>
                </c:pt>
                <c:pt idx="26716">
                  <c:v>457395507</c:v>
                </c:pt>
                <c:pt idx="26717">
                  <c:v>1727711700</c:v>
                </c:pt>
                <c:pt idx="26718">
                  <c:v>2147483647</c:v>
                </c:pt>
                <c:pt idx="26719">
                  <c:v>1090868850</c:v>
                </c:pt>
                <c:pt idx="26720">
                  <c:v>2066157275</c:v>
                </c:pt>
                <c:pt idx="26721">
                  <c:v>1071205155</c:v>
                </c:pt>
                <c:pt idx="26722">
                  <c:v>1475684048</c:v>
                </c:pt>
                <c:pt idx="26723">
                  <c:v>1975347810</c:v>
                </c:pt>
                <c:pt idx="26724">
                  <c:v>796214602</c:v>
                </c:pt>
                <c:pt idx="26725">
                  <c:v>992273750</c:v>
                </c:pt>
                <c:pt idx="26726">
                  <c:v>977620143</c:v>
                </c:pt>
                <c:pt idx="26727">
                  <c:v>1970152278</c:v>
                </c:pt>
                <c:pt idx="26728">
                  <c:v>1998212130</c:v>
                </c:pt>
                <c:pt idx="26729">
                  <c:v>1607364576</c:v>
                </c:pt>
                <c:pt idx="26730">
                  <c:v>1388440012</c:v>
                </c:pt>
                <c:pt idx="26731">
                  <c:v>110080494</c:v>
                </c:pt>
                <c:pt idx="26732">
                  <c:v>868226586</c:v>
                </c:pt>
                <c:pt idx="26733">
                  <c:v>1786947225</c:v>
                </c:pt>
                <c:pt idx="26734">
                  <c:v>1633619223</c:v>
                </c:pt>
                <c:pt idx="26735">
                  <c:v>271541400</c:v>
                </c:pt>
                <c:pt idx="26736">
                  <c:v>842700265</c:v>
                </c:pt>
                <c:pt idx="26737">
                  <c:v>1780250360</c:v>
                </c:pt>
                <c:pt idx="26738">
                  <c:v>874742004</c:v>
                </c:pt>
                <c:pt idx="26739">
                  <c:v>917878816</c:v>
                </c:pt>
                <c:pt idx="26740">
                  <c:v>1063861753</c:v>
                </c:pt>
                <c:pt idx="26741">
                  <c:v>963947040</c:v>
                </c:pt>
                <c:pt idx="26742">
                  <c:v>1579423543</c:v>
                </c:pt>
                <c:pt idx="26743">
                  <c:v>1148628528</c:v>
                </c:pt>
                <c:pt idx="26744">
                  <c:v>1261132550</c:v>
                </c:pt>
                <c:pt idx="26745">
                  <c:v>1916610111</c:v>
                </c:pt>
                <c:pt idx="26746">
                  <c:v>770111469</c:v>
                </c:pt>
                <c:pt idx="26747">
                  <c:v>1075639062</c:v>
                </c:pt>
                <c:pt idx="26748">
                  <c:v>611490264</c:v>
                </c:pt>
                <c:pt idx="26749">
                  <c:v>539134140</c:v>
                </c:pt>
                <c:pt idx="26750">
                  <c:v>1008900146</c:v>
                </c:pt>
                <c:pt idx="26751">
                  <c:v>1390290330</c:v>
                </c:pt>
                <c:pt idx="26752">
                  <c:v>595080642</c:v>
                </c:pt>
                <c:pt idx="26753">
                  <c:v>925177428</c:v>
                </c:pt>
                <c:pt idx="26754">
                  <c:v>1535251550</c:v>
                </c:pt>
                <c:pt idx="26755">
                  <c:v>1845608188</c:v>
                </c:pt>
                <c:pt idx="26756">
                  <c:v>2147483647</c:v>
                </c:pt>
                <c:pt idx="26757">
                  <c:v>834225512</c:v>
                </c:pt>
                <c:pt idx="26758">
                  <c:v>1952023470</c:v>
                </c:pt>
                <c:pt idx="26759">
                  <c:v>1424518722</c:v>
                </c:pt>
                <c:pt idx="26760">
                  <c:v>1352950116</c:v>
                </c:pt>
                <c:pt idx="26761">
                  <c:v>1815521156</c:v>
                </c:pt>
                <c:pt idx="26762">
                  <c:v>1474717656</c:v>
                </c:pt>
                <c:pt idx="26763">
                  <c:v>2147483647</c:v>
                </c:pt>
                <c:pt idx="26764">
                  <c:v>1157360320</c:v>
                </c:pt>
                <c:pt idx="26765">
                  <c:v>1113598745</c:v>
                </c:pt>
                <c:pt idx="26766">
                  <c:v>1306288040</c:v>
                </c:pt>
                <c:pt idx="26767">
                  <c:v>2019904480</c:v>
                </c:pt>
                <c:pt idx="26768">
                  <c:v>2066327570</c:v>
                </c:pt>
                <c:pt idx="26769">
                  <c:v>2147483647</c:v>
                </c:pt>
                <c:pt idx="26770">
                  <c:v>773402742</c:v>
                </c:pt>
                <c:pt idx="26771">
                  <c:v>2147483647</c:v>
                </c:pt>
                <c:pt idx="26772">
                  <c:v>1702493808</c:v>
                </c:pt>
                <c:pt idx="26773">
                  <c:v>2147483647</c:v>
                </c:pt>
                <c:pt idx="26774">
                  <c:v>527725968</c:v>
                </c:pt>
                <c:pt idx="26775">
                  <c:v>1799669212</c:v>
                </c:pt>
                <c:pt idx="26776">
                  <c:v>1094269980</c:v>
                </c:pt>
                <c:pt idx="26777">
                  <c:v>1020281640</c:v>
                </c:pt>
                <c:pt idx="26778">
                  <c:v>1770436402</c:v>
                </c:pt>
                <c:pt idx="26779">
                  <c:v>1550682632</c:v>
                </c:pt>
                <c:pt idx="26780">
                  <c:v>1745191580</c:v>
                </c:pt>
                <c:pt idx="26781">
                  <c:v>1943483080</c:v>
                </c:pt>
                <c:pt idx="26782">
                  <c:v>1664351570</c:v>
                </c:pt>
                <c:pt idx="26783">
                  <c:v>2147483647</c:v>
                </c:pt>
                <c:pt idx="26784">
                  <c:v>1620880542</c:v>
                </c:pt>
                <c:pt idx="26785">
                  <c:v>2147483647</c:v>
                </c:pt>
                <c:pt idx="26786">
                  <c:v>959095358</c:v>
                </c:pt>
                <c:pt idx="26787">
                  <c:v>1169303240</c:v>
                </c:pt>
                <c:pt idx="26788">
                  <c:v>973947108</c:v>
                </c:pt>
                <c:pt idx="26789">
                  <c:v>1678865906</c:v>
                </c:pt>
                <c:pt idx="26790">
                  <c:v>962328096</c:v>
                </c:pt>
                <c:pt idx="26791">
                  <c:v>1353414100</c:v>
                </c:pt>
                <c:pt idx="26792">
                  <c:v>1380660741</c:v>
                </c:pt>
                <c:pt idx="26793">
                  <c:v>1892394889</c:v>
                </c:pt>
                <c:pt idx="26794">
                  <c:v>1336359394</c:v>
                </c:pt>
                <c:pt idx="26795">
                  <c:v>1602511360</c:v>
                </c:pt>
                <c:pt idx="26796">
                  <c:v>795698813</c:v>
                </c:pt>
                <c:pt idx="26797">
                  <c:v>2147483647</c:v>
                </c:pt>
                <c:pt idx="26798">
                  <c:v>1535299565</c:v>
                </c:pt>
                <c:pt idx="26799">
                  <c:v>892128086</c:v>
                </c:pt>
                <c:pt idx="26800">
                  <c:v>411868870</c:v>
                </c:pt>
                <c:pt idx="26801">
                  <c:v>1317853575</c:v>
                </c:pt>
                <c:pt idx="26802">
                  <c:v>1625776594</c:v>
                </c:pt>
                <c:pt idx="26803">
                  <c:v>939136250</c:v>
                </c:pt>
                <c:pt idx="26804">
                  <c:v>1520466054</c:v>
                </c:pt>
                <c:pt idx="26805">
                  <c:v>1210830400</c:v>
                </c:pt>
                <c:pt idx="26806">
                  <c:v>2147483647</c:v>
                </c:pt>
                <c:pt idx="26807">
                  <c:v>1264277376</c:v>
                </c:pt>
                <c:pt idx="26808">
                  <c:v>1167297345</c:v>
                </c:pt>
                <c:pt idx="26809">
                  <c:v>1405186160</c:v>
                </c:pt>
                <c:pt idx="26810">
                  <c:v>1607025105</c:v>
                </c:pt>
                <c:pt idx="26811">
                  <c:v>1479025825</c:v>
                </c:pt>
                <c:pt idx="26812">
                  <c:v>1568987448</c:v>
                </c:pt>
                <c:pt idx="26813">
                  <c:v>420249600</c:v>
                </c:pt>
                <c:pt idx="26814">
                  <c:v>2147483647</c:v>
                </c:pt>
                <c:pt idx="26815">
                  <c:v>2147483647</c:v>
                </c:pt>
                <c:pt idx="26816">
                  <c:v>1826583880</c:v>
                </c:pt>
                <c:pt idx="26817">
                  <c:v>1018187292</c:v>
                </c:pt>
                <c:pt idx="26818">
                  <c:v>603056250</c:v>
                </c:pt>
                <c:pt idx="26819">
                  <c:v>1045475684</c:v>
                </c:pt>
                <c:pt idx="26820">
                  <c:v>2147483647</c:v>
                </c:pt>
                <c:pt idx="26821">
                  <c:v>531818168</c:v>
                </c:pt>
                <c:pt idx="26822">
                  <c:v>1134291060</c:v>
                </c:pt>
                <c:pt idx="26823">
                  <c:v>808788210</c:v>
                </c:pt>
                <c:pt idx="26824">
                  <c:v>1058820960</c:v>
                </c:pt>
                <c:pt idx="26825">
                  <c:v>1902441528</c:v>
                </c:pt>
                <c:pt idx="26826">
                  <c:v>936622344</c:v>
                </c:pt>
                <c:pt idx="26827">
                  <c:v>1298395872</c:v>
                </c:pt>
                <c:pt idx="26828">
                  <c:v>1723868055</c:v>
                </c:pt>
                <c:pt idx="26829">
                  <c:v>1943804474</c:v>
                </c:pt>
                <c:pt idx="26830">
                  <c:v>668751876</c:v>
                </c:pt>
                <c:pt idx="26831">
                  <c:v>1380876840</c:v>
                </c:pt>
                <c:pt idx="26832">
                  <c:v>1507526869</c:v>
                </c:pt>
                <c:pt idx="26833">
                  <c:v>1093437370</c:v>
                </c:pt>
                <c:pt idx="26834">
                  <c:v>1104937792</c:v>
                </c:pt>
                <c:pt idx="26835">
                  <c:v>769670820</c:v>
                </c:pt>
                <c:pt idx="26836">
                  <c:v>17246075</c:v>
                </c:pt>
                <c:pt idx="26837">
                  <c:v>1700980360</c:v>
                </c:pt>
                <c:pt idx="26838">
                  <c:v>1588838520</c:v>
                </c:pt>
                <c:pt idx="26839">
                  <c:v>806949528</c:v>
                </c:pt>
                <c:pt idx="26840">
                  <c:v>1272310809</c:v>
                </c:pt>
                <c:pt idx="26841">
                  <c:v>1916121584</c:v>
                </c:pt>
                <c:pt idx="26842">
                  <c:v>1612632654</c:v>
                </c:pt>
                <c:pt idx="26843">
                  <c:v>1239191760</c:v>
                </c:pt>
                <c:pt idx="26844">
                  <c:v>666768795</c:v>
                </c:pt>
                <c:pt idx="26845">
                  <c:v>1328019264</c:v>
                </c:pt>
                <c:pt idx="26846">
                  <c:v>1395060425</c:v>
                </c:pt>
                <c:pt idx="26847">
                  <c:v>995219784</c:v>
                </c:pt>
                <c:pt idx="26848">
                  <c:v>1018249250</c:v>
                </c:pt>
                <c:pt idx="26849">
                  <c:v>1280469880</c:v>
                </c:pt>
                <c:pt idx="26850">
                  <c:v>1424953248</c:v>
                </c:pt>
                <c:pt idx="26851">
                  <c:v>1723840512</c:v>
                </c:pt>
                <c:pt idx="26852">
                  <c:v>1766356910</c:v>
                </c:pt>
                <c:pt idx="26853">
                  <c:v>1424662245</c:v>
                </c:pt>
                <c:pt idx="26854">
                  <c:v>1218810690</c:v>
                </c:pt>
                <c:pt idx="26855">
                  <c:v>939807904</c:v>
                </c:pt>
                <c:pt idx="26856">
                  <c:v>1910350960</c:v>
                </c:pt>
                <c:pt idx="26857">
                  <c:v>899649894</c:v>
                </c:pt>
                <c:pt idx="26858">
                  <c:v>846169268</c:v>
                </c:pt>
                <c:pt idx="26859">
                  <c:v>861253288</c:v>
                </c:pt>
                <c:pt idx="26860">
                  <c:v>40773662</c:v>
                </c:pt>
                <c:pt idx="26861">
                  <c:v>101996821</c:v>
                </c:pt>
                <c:pt idx="26862">
                  <c:v>2147483647</c:v>
                </c:pt>
                <c:pt idx="26863">
                  <c:v>2147483647</c:v>
                </c:pt>
                <c:pt idx="26864">
                  <c:v>2147483647</c:v>
                </c:pt>
                <c:pt idx="26865">
                  <c:v>767830632</c:v>
                </c:pt>
                <c:pt idx="26866">
                  <c:v>1281338960</c:v>
                </c:pt>
                <c:pt idx="26867">
                  <c:v>90706451</c:v>
                </c:pt>
                <c:pt idx="26868">
                  <c:v>16277382</c:v>
                </c:pt>
                <c:pt idx="26869">
                  <c:v>773113611</c:v>
                </c:pt>
                <c:pt idx="26870">
                  <c:v>410909220</c:v>
                </c:pt>
                <c:pt idx="26871">
                  <c:v>1541396700</c:v>
                </c:pt>
                <c:pt idx="26872">
                  <c:v>1537661440</c:v>
                </c:pt>
                <c:pt idx="26873">
                  <c:v>759804660</c:v>
                </c:pt>
                <c:pt idx="26874">
                  <c:v>1195249554</c:v>
                </c:pt>
                <c:pt idx="26875">
                  <c:v>136457543</c:v>
                </c:pt>
                <c:pt idx="26876">
                  <c:v>8331680</c:v>
                </c:pt>
                <c:pt idx="26877">
                  <c:v>1937091400</c:v>
                </c:pt>
                <c:pt idx="26878">
                  <c:v>351856920</c:v>
                </c:pt>
                <c:pt idx="26879">
                  <c:v>209486012</c:v>
                </c:pt>
                <c:pt idx="26880">
                  <c:v>136622032</c:v>
                </c:pt>
                <c:pt idx="26881">
                  <c:v>758754123</c:v>
                </c:pt>
                <c:pt idx="26882">
                  <c:v>1508245464</c:v>
                </c:pt>
                <c:pt idx="26883">
                  <c:v>2147483647</c:v>
                </c:pt>
                <c:pt idx="26884">
                  <c:v>774053124</c:v>
                </c:pt>
                <c:pt idx="26885">
                  <c:v>1552381218</c:v>
                </c:pt>
                <c:pt idx="26886">
                  <c:v>1404931332</c:v>
                </c:pt>
                <c:pt idx="26887">
                  <c:v>1775727788</c:v>
                </c:pt>
                <c:pt idx="26888">
                  <c:v>1741378754</c:v>
                </c:pt>
                <c:pt idx="26889">
                  <c:v>2021654481</c:v>
                </c:pt>
                <c:pt idx="26890">
                  <c:v>2147483647</c:v>
                </c:pt>
                <c:pt idx="26891">
                  <c:v>1470046892</c:v>
                </c:pt>
                <c:pt idx="26892">
                  <c:v>1948041216</c:v>
                </c:pt>
                <c:pt idx="26893">
                  <c:v>1589214517</c:v>
                </c:pt>
                <c:pt idx="26894">
                  <c:v>1860908677</c:v>
                </c:pt>
                <c:pt idx="26895">
                  <c:v>985445785</c:v>
                </c:pt>
                <c:pt idx="26896">
                  <c:v>112945280</c:v>
                </c:pt>
                <c:pt idx="26897">
                  <c:v>2147483647</c:v>
                </c:pt>
                <c:pt idx="26898">
                  <c:v>1620470752</c:v>
                </c:pt>
                <c:pt idx="26899">
                  <c:v>1390223310</c:v>
                </c:pt>
                <c:pt idx="26900">
                  <c:v>2140935888</c:v>
                </c:pt>
                <c:pt idx="26901">
                  <c:v>2072434720</c:v>
                </c:pt>
                <c:pt idx="26902">
                  <c:v>1068582647</c:v>
                </c:pt>
                <c:pt idx="26903">
                  <c:v>58983830</c:v>
                </c:pt>
                <c:pt idx="26904">
                  <c:v>57858622</c:v>
                </c:pt>
                <c:pt idx="26905">
                  <c:v>2147483647</c:v>
                </c:pt>
                <c:pt idx="26906">
                  <c:v>1510978553</c:v>
                </c:pt>
                <c:pt idx="26907">
                  <c:v>11216490</c:v>
                </c:pt>
                <c:pt idx="26908">
                  <c:v>1583425560</c:v>
                </c:pt>
                <c:pt idx="26909">
                  <c:v>30083055</c:v>
                </c:pt>
                <c:pt idx="26910">
                  <c:v>2147483647</c:v>
                </c:pt>
                <c:pt idx="26911">
                  <c:v>828617968</c:v>
                </c:pt>
                <c:pt idx="26912">
                  <c:v>2147483647</c:v>
                </c:pt>
                <c:pt idx="26913">
                  <c:v>1148888360</c:v>
                </c:pt>
                <c:pt idx="26914">
                  <c:v>765529334</c:v>
                </c:pt>
                <c:pt idx="26915">
                  <c:v>1101872868</c:v>
                </c:pt>
                <c:pt idx="26916">
                  <c:v>1612071328</c:v>
                </c:pt>
                <c:pt idx="26917">
                  <c:v>43987180</c:v>
                </c:pt>
                <c:pt idx="26918">
                  <c:v>132135339</c:v>
                </c:pt>
                <c:pt idx="26919">
                  <c:v>2147483647</c:v>
                </c:pt>
                <c:pt idx="26920">
                  <c:v>1135791300</c:v>
                </c:pt>
                <c:pt idx="26921">
                  <c:v>2147483647</c:v>
                </c:pt>
                <c:pt idx="26922">
                  <c:v>2147483647</c:v>
                </c:pt>
                <c:pt idx="26923">
                  <c:v>1590133653</c:v>
                </c:pt>
                <c:pt idx="26924">
                  <c:v>1253978638</c:v>
                </c:pt>
                <c:pt idx="26925">
                  <c:v>1649839529</c:v>
                </c:pt>
                <c:pt idx="26926">
                  <c:v>1273232631</c:v>
                </c:pt>
                <c:pt idx="26927">
                  <c:v>2147483647</c:v>
                </c:pt>
                <c:pt idx="26928">
                  <c:v>1284067500</c:v>
                </c:pt>
                <c:pt idx="26929">
                  <c:v>1706940340</c:v>
                </c:pt>
                <c:pt idx="26930">
                  <c:v>865191487</c:v>
                </c:pt>
                <c:pt idx="26931">
                  <c:v>1714841482</c:v>
                </c:pt>
                <c:pt idx="26932">
                  <c:v>1700629692</c:v>
                </c:pt>
                <c:pt idx="26933">
                  <c:v>1824528156</c:v>
                </c:pt>
                <c:pt idx="26934">
                  <c:v>2147483647</c:v>
                </c:pt>
                <c:pt idx="26935">
                  <c:v>1245350456</c:v>
                </c:pt>
                <c:pt idx="26936">
                  <c:v>1150592536</c:v>
                </c:pt>
                <c:pt idx="26937">
                  <c:v>1527859944</c:v>
                </c:pt>
                <c:pt idx="26938">
                  <c:v>245474152</c:v>
                </c:pt>
                <c:pt idx="26939">
                  <c:v>2147483647</c:v>
                </c:pt>
                <c:pt idx="26940">
                  <c:v>1357006425</c:v>
                </c:pt>
                <c:pt idx="26941">
                  <c:v>1362635253</c:v>
                </c:pt>
                <c:pt idx="26942">
                  <c:v>2147483647</c:v>
                </c:pt>
                <c:pt idx="26943">
                  <c:v>2147483647</c:v>
                </c:pt>
                <c:pt idx="26944">
                  <c:v>2147483647</c:v>
                </c:pt>
                <c:pt idx="26945">
                  <c:v>2147483647</c:v>
                </c:pt>
                <c:pt idx="26946">
                  <c:v>2147483647</c:v>
                </c:pt>
                <c:pt idx="26947">
                  <c:v>2147483647</c:v>
                </c:pt>
                <c:pt idx="26948">
                  <c:v>963043497</c:v>
                </c:pt>
                <c:pt idx="26949">
                  <c:v>2029662232</c:v>
                </c:pt>
                <c:pt idx="26950">
                  <c:v>568366848</c:v>
                </c:pt>
                <c:pt idx="26951">
                  <c:v>1735310536</c:v>
                </c:pt>
                <c:pt idx="26952">
                  <c:v>1234379916</c:v>
                </c:pt>
                <c:pt idx="26953">
                  <c:v>524059536</c:v>
                </c:pt>
                <c:pt idx="26954">
                  <c:v>1475248484</c:v>
                </c:pt>
                <c:pt idx="26955">
                  <c:v>774749347</c:v>
                </c:pt>
                <c:pt idx="26956">
                  <c:v>1922614218</c:v>
                </c:pt>
                <c:pt idx="26957">
                  <c:v>334808388</c:v>
                </c:pt>
                <c:pt idx="26958">
                  <c:v>527999097</c:v>
                </c:pt>
                <c:pt idx="26959">
                  <c:v>62449695</c:v>
                </c:pt>
                <c:pt idx="26960">
                  <c:v>614717320</c:v>
                </c:pt>
                <c:pt idx="26961">
                  <c:v>44858346</c:v>
                </c:pt>
                <c:pt idx="26962">
                  <c:v>1484753701</c:v>
                </c:pt>
                <c:pt idx="26963">
                  <c:v>868656222</c:v>
                </c:pt>
                <c:pt idx="26964">
                  <c:v>784287426</c:v>
                </c:pt>
                <c:pt idx="26965">
                  <c:v>178153140</c:v>
                </c:pt>
                <c:pt idx="26966">
                  <c:v>35426657</c:v>
                </c:pt>
                <c:pt idx="26967">
                  <c:v>887059440</c:v>
                </c:pt>
                <c:pt idx="26968">
                  <c:v>122604531</c:v>
                </c:pt>
                <c:pt idx="26969">
                  <c:v>143900412</c:v>
                </c:pt>
                <c:pt idx="26970">
                  <c:v>512101458</c:v>
                </c:pt>
                <c:pt idx="26971">
                  <c:v>250041858</c:v>
                </c:pt>
                <c:pt idx="26972">
                  <c:v>2002652484</c:v>
                </c:pt>
                <c:pt idx="26973">
                  <c:v>113693972</c:v>
                </c:pt>
                <c:pt idx="26974">
                  <c:v>89624370</c:v>
                </c:pt>
                <c:pt idx="26975">
                  <c:v>9729927</c:v>
                </c:pt>
                <c:pt idx="26976">
                  <c:v>9402393</c:v>
                </c:pt>
                <c:pt idx="26977">
                  <c:v>1464518104</c:v>
                </c:pt>
                <c:pt idx="26978">
                  <c:v>1340448564</c:v>
                </c:pt>
                <c:pt idx="26979">
                  <c:v>1171152100</c:v>
                </c:pt>
                <c:pt idx="26980">
                  <c:v>16352469</c:v>
                </c:pt>
                <c:pt idx="26981">
                  <c:v>1300234173</c:v>
                </c:pt>
                <c:pt idx="26982">
                  <c:v>19760220</c:v>
                </c:pt>
                <c:pt idx="26983">
                  <c:v>213768438</c:v>
                </c:pt>
                <c:pt idx="26984">
                  <c:v>19941187</c:v>
                </c:pt>
                <c:pt idx="26985">
                  <c:v>193650177</c:v>
                </c:pt>
                <c:pt idx="26986">
                  <c:v>589773528</c:v>
                </c:pt>
                <c:pt idx="26987">
                  <c:v>31164024</c:v>
                </c:pt>
                <c:pt idx="26988">
                  <c:v>23382970</c:v>
                </c:pt>
                <c:pt idx="26989">
                  <c:v>757963360</c:v>
                </c:pt>
                <c:pt idx="26990">
                  <c:v>42832584</c:v>
                </c:pt>
                <c:pt idx="26991">
                  <c:v>569048650</c:v>
                </c:pt>
                <c:pt idx="26992">
                  <c:v>13678647</c:v>
                </c:pt>
                <c:pt idx="26993">
                  <c:v>1184896848</c:v>
                </c:pt>
                <c:pt idx="26994">
                  <c:v>1068075904</c:v>
                </c:pt>
                <c:pt idx="26995">
                  <c:v>10642088</c:v>
                </c:pt>
                <c:pt idx="26996">
                  <c:v>764277534</c:v>
                </c:pt>
                <c:pt idx="26997">
                  <c:v>440922516</c:v>
                </c:pt>
                <c:pt idx="26998">
                  <c:v>320357175</c:v>
                </c:pt>
                <c:pt idx="26999">
                  <c:v>218322188</c:v>
                </c:pt>
                <c:pt idx="27000">
                  <c:v>595234450</c:v>
                </c:pt>
                <c:pt idx="27001">
                  <c:v>32109385</c:v>
                </c:pt>
                <c:pt idx="27002">
                  <c:v>305580756</c:v>
                </c:pt>
                <c:pt idx="27003">
                  <c:v>40923520</c:v>
                </c:pt>
                <c:pt idx="27004">
                  <c:v>40966527</c:v>
                </c:pt>
                <c:pt idx="27005">
                  <c:v>1314341910</c:v>
                </c:pt>
                <c:pt idx="27006">
                  <c:v>262686498</c:v>
                </c:pt>
                <c:pt idx="27007">
                  <c:v>43577190</c:v>
                </c:pt>
                <c:pt idx="27008">
                  <c:v>24816270</c:v>
                </c:pt>
                <c:pt idx="27009">
                  <c:v>1888338933</c:v>
                </c:pt>
                <c:pt idx="27010">
                  <c:v>2147483647</c:v>
                </c:pt>
                <c:pt idx="27011">
                  <c:v>978580440</c:v>
                </c:pt>
                <c:pt idx="27012">
                  <c:v>41981808</c:v>
                </c:pt>
                <c:pt idx="27013">
                  <c:v>11791315</c:v>
                </c:pt>
                <c:pt idx="27014">
                  <c:v>242530770</c:v>
                </c:pt>
                <c:pt idx="27015">
                  <c:v>608945220</c:v>
                </c:pt>
                <c:pt idx="27016">
                  <c:v>1785009600</c:v>
                </c:pt>
                <c:pt idx="27017">
                  <c:v>1799474560</c:v>
                </c:pt>
                <c:pt idx="27018">
                  <c:v>272970407</c:v>
                </c:pt>
                <c:pt idx="27019">
                  <c:v>755076140</c:v>
                </c:pt>
                <c:pt idx="27020">
                  <c:v>130657964</c:v>
                </c:pt>
                <c:pt idx="27021">
                  <c:v>24944517</c:v>
                </c:pt>
                <c:pt idx="27022">
                  <c:v>273877244</c:v>
                </c:pt>
                <c:pt idx="27023">
                  <c:v>109430244</c:v>
                </c:pt>
                <c:pt idx="27024">
                  <c:v>54653046</c:v>
                </c:pt>
                <c:pt idx="27025">
                  <c:v>21043246</c:v>
                </c:pt>
                <c:pt idx="27026">
                  <c:v>462880395</c:v>
                </c:pt>
                <c:pt idx="27027">
                  <c:v>186793695</c:v>
                </c:pt>
                <c:pt idx="27028">
                  <c:v>1663486583</c:v>
                </c:pt>
                <c:pt idx="27029">
                  <c:v>1547179872</c:v>
                </c:pt>
                <c:pt idx="27030">
                  <c:v>1715126004</c:v>
                </c:pt>
                <c:pt idx="27031">
                  <c:v>588600005</c:v>
                </c:pt>
                <c:pt idx="27032">
                  <c:v>8095945</c:v>
                </c:pt>
                <c:pt idx="27033">
                  <c:v>141892448</c:v>
                </c:pt>
                <c:pt idx="27034">
                  <c:v>7428550</c:v>
                </c:pt>
                <c:pt idx="27035">
                  <c:v>47346924</c:v>
                </c:pt>
                <c:pt idx="27036">
                  <c:v>54719600</c:v>
                </c:pt>
                <c:pt idx="27037">
                  <c:v>1396146618</c:v>
                </c:pt>
                <c:pt idx="27038">
                  <c:v>968552904</c:v>
                </c:pt>
                <c:pt idx="27039">
                  <c:v>1052204976</c:v>
                </c:pt>
                <c:pt idx="27040">
                  <c:v>224944590</c:v>
                </c:pt>
                <c:pt idx="27041">
                  <c:v>1811282544</c:v>
                </c:pt>
                <c:pt idx="27042">
                  <c:v>44288260</c:v>
                </c:pt>
                <c:pt idx="27043">
                  <c:v>1330297596</c:v>
                </c:pt>
                <c:pt idx="27044">
                  <c:v>556207862</c:v>
                </c:pt>
                <c:pt idx="27045">
                  <c:v>1638986388</c:v>
                </c:pt>
                <c:pt idx="27046">
                  <c:v>246360996</c:v>
                </c:pt>
                <c:pt idx="27047">
                  <c:v>738067102</c:v>
                </c:pt>
                <c:pt idx="27048">
                  <c:v>438531777</c:v>
                </c:pt>
                <c:pt idx="27049">
                  <c:v>567212718</c:v>
                </c:pt>
                <c:pt idx="27050">
                  <c:v>16500023</c:v>
                </c:pt>
                <c:pt idx="27051">
                  <c:v>2147483647</c:v>
                </c:pt>
                <c:pt idx="27052">
                  <c:v>1483048231</c:v>
                </c:pt>
                <c:pt idx="27053">
                  <c:v>1236969712</c:v>
                </c:pt>
                <c:pt idx="27054">
                  <c:v>1936107480</c:v>
                </c:pt>
                <c:pt idx="27055">
                  <c:v>1303492500</c:v>
                </c:pt>
                <c:pt idx="27056">
                  <c:v>1436605924</c:v>
                </c:pt>
                <c:pt idx="27057">
                  <c:v>1843926652</c:v>
                </c:pt>
                <c:pt idx="27058">
                  <c:v>1383250581</c:v>
                </c:pt>
                <c:pt idx="27059">
                  <c:v>902439696</c:v>
                </c:pt>
                <c:pt idx="27060">
                  <c:v>88446110</c:v>
                </c:pt>
                <c:pt idx="27061">
                  <c:v>104442000</c:v>
                </c:pt>
                <c:pt idx="27062">
                  <c:v>780694695</c:v>
                </c:pt>
                <c:pt idx="27063">
                  <c:v>1229898278</c:v>
                </c:pt>
                <c:pt idx="27064">
                  <c:v>993426657</c:v>
                </c:pt>
                <c:pt idx="27065">
                  <c:v>156503376</c:v>
                </c:pt>
                <c:pt idx="27066">
                  <c:v>115714836</c:v>
                </c:pt>
                <c:pt idx="27067">
                  <c:v>712151676</c:v>
                </c:pt>
                <c:pt idx="27068">
                  <c:v>1319143248</c:v>
                </c:pt>
                <c:pt idx="27069">
                  <c:v>1281917727</c:v>
                </c:pt>
                <c:pt idx="27070">
                  <c:v>1373387792</c:v>
                </c:pt>
                <c:pt idx="27071">
                  <c:v>78939030</c:v>
                </c:pt>
                <c:pt idx="27072">
                  <c:v>2147483647</c:v>
                </c:pt>
                <c:pt idx="27073">
                  <c:v>2147483647</c:v>
                </c:pt>
                <c:pt idx="27074">
                  <c:v>320251968</c:v>
                </c:pt>
                <c:pt idx="27075">
                  <c:v>1265502360</c:v>
                </c:pt>
                <c:pt idx="27076">
                  <c:v>1144047190</c:v>
                </c:pt>
                <c:pt idx="27077">
                  <c:v>488109100</c:v>
                </c:pt>
                <c:pt idx="27078">
                  <c:v>669487104</c:v>
                </c:pt>
                <c:pt idx="27079">
                  <c:v>1895483304</c:v>
                </c:pt>
                <c:pt idx="27080">
                  <c:v>768288720</c:v>
                </c:pt>
                <c:pt idx="27081">
                  <c:v>577140355</c:v>
                </c:pt>
                <c:pt idx="27082">
                  <c:v>685769472</c:v>
                </c:pt>
                <c:pt idx="27083">
                  <c:v>311620653</c:v>
                </c:pt>
                <c:pt idx="27084">
                  <c:v>1521894714</c:v>
                </c:pt>
                <c:pt idx="27085">
                  <c:v>2147483647</c:v>
                </c:pt>
                <c:pt idx="27086">
                  <c:v>1068386248</c:v>
                </c:pt>
                <c:pt idx="27087">
                  <c:v>1134016360</c:v>
                </c:pt>
                <c:pt idx="27088">
                  <c:v>1370164375</c:v>
                </c:pt>
                <c:pt idx="27089">
                  <c:v>1494322443</c:v>
                </c:pt>
                <c:pt idx="27090">
                  <c:v>1415362407</c:v>
                </c:pt>
                <c:pt idx="27091">
                  <c:v>1320541812</c:v>
                </c:pt>
                <c:pt idx="27092">
                  <c:v>736763693</c:v>
                </c:pt>
                <c:pt idx="27093">
                  <c:v>1590391396</c:v>
                </c:pt>
                <c:pt idx="27094">
                  <c:v>1525396491</c:v>
                </c:pt>
                <c:pt idx="27095">
                  <c:v>433543308</c:v>
                </c:pt>
                <c:pt idx="27096">
                  <c:v>2147483647</c:v>
                </c:pt>
                <c:pt idx="27097">
                  <c:v>2147483647</c:v>
                </c:pt>
                <c:pt idx="27098">
                  <c:v>386566390</c:v>
                </c:pt>
                <c:pt idx="27099">
                  <c:v>2147483647</c:v>
                </c:pt>
                <c:pt idx="27100">
                  <c:v>2147483647</c:v>
                </c:pt>
                <c:pt idx="27101">
                  <c:v>1838958678</c:v>
                </c:pt>
                <c:pt idx="27102">
                  <c:v>2147483647</c:v>
                </c:pt>
                <c:pt idx="27103">
                  <c:v>841980547</c:v>
                </c:pt>
                <c:pt idx="27104">
                  <c:v>2147483647</c:v>
                </c:pt>
                <c:pt idx="27105">
                  <c:v>2147483647</c:v>
                </c:pt>
                <c:pt idx="27106">
                  <c:v>2147483647</c:v>
                </c:pt>
                <c:pt idx="27107">
                  <c:v>2147483647</c:v>
                </c:pt>
                <c:pt idx="27108">
                  <c:v>1741467364</c:v>
                </c:pt>
                <c:pt idx="27109">
                  <c:v>200237175</c:v>
                </c:pt>
                <c:pt idx="27110">
                  <c:v>2147483647</c:v>
                </c:pt>
                <c:pt idx="27111">
                  <c:v>2147483647</c:v>
                </c:pt>
                <c:pt idx="27112">
                  <c:v>2013659264</c:v>
                </c:pt>
                <c:pt idx="27113">
                  <c:v>2147483647</c:v>
                </c:pt>
                <c:pt idx="27114">
                  <c:v>2028427542</c:v>
                </c:pt>
                <c:pt idx="27115">
                  <c:v>1897608160</c:v>
                </c:pt>
                <c:pt idx="27116">
                  <c:v>113925520</c:v>
                </c:pt>
                <c:pt idx="27117">
                  <c:v>2147483647</c:v>
                </c:pt>
                <c:pt idx="27118">
                  <c:v>31666910</c:v>
                </c:pt>
                <c:pt idx="27119">
                  <c:v>2147483647</c:v>
                </c:pt>
                <c:pt idx="27120">
                  <c:v>2147483647</c:v>
                </c:pt>
                <c:pt idx="27121">
                  <c:v>2147483647</c:v>
                </c:pt>
                <c:pt idx="27122">
                  <c:v>2147483647</c:v>
                </c:pt>
                <c:pt idx="27123">
                  <c:v>2147483647</c:v>
                </c:pt>
                <c:pt idx="27124">
                  <c:v>2147483647</c:v>
                </c:pt>
                <c:pt idx="27125">
                  <c:v>912468858</c:v>
                </c:pt>
                <c:pt idx="27126">
                  <c:v>1185242731</c:v>
                </c:pt>
                <c:pt idx="27127">
                  <c:v>1958205792</c:v>
                </c:pt>
                <c:pt idx="27128">
                  <c:v>2147483647</c:v>
                </c:pt>
                <c:pt idx="27129">
                  <c:v>1082071716</c:v>
                </c:pt>
                <c:pt idx="27130">
                  <c:v>1453429908</c:v>
                </c:pt>
                <c:pt idx="27131">
                  <c:v>2147483647</c:v>
                </c:pt>
                <c:pt idx="27132">
                  <c:v>1844795420</c:v>
                </c:pt>
                <c:pt idx="27133">
                  <c:v>1845236816</c:v>
                </c:pt>
                <c:pt idx="27134">
                  <c:v>1554532938</c:v>
                </c:pt>
                <c:pt idx="27135">
                  <c:v>1019567208</c:v>
                </c:pt>
                <c:pt idx="27136">
                  <c:v>2147483647</c:v>
                </c:pt>
                <c:pt idx="27137">
                  <c:v>1850713503</c:v>
                </c:pt>
                <c:pt idx="27138">
                  <c:v>1339308765</c:v>
                </c:pt>
                <c:pt idx="27139">
                  <c:v>1847659792</c:v>
                </c:pt>
                <c:pt idx="27140">
                  <c:v>1317240774</c:v>
                </c:pt>
                <c:pt idx="27141">
                  <c:v>1911400654</c:v>
                </c:pt>
                <c:pt idx="27142">
                  <c:v>298133924</c:v>
                </c:pt>
                <c:pt idx="27143">
                  <c:v>1376101767</c:v>
                </c:pt>
                <c:pt idx="27144">
                  <c:v>787906353</c:v>
                </c:pt>
                <c:pt idx="27145">
                  <c:v>2133846696</c:v>
                </c:pt>
                <c:pt idx="27146">
                  <c:v>1554075360</c:v>
                </c:pt>
                <c:pt idx="27147">
                  <c:v>1483239240</c:v>
                </c:pt>
                <c:pt idx="27148">
                  <c:v>865300428</c:v>
                </c:pt>
                <c:pt idx="27149">
                  <c:v>1071361956</c:v>
                </c:pt>
                <c:pt idx="27150">
                  <c:v>567342779</c:v>
                </c:pt>
                <c:pt idx="27151">
                  <c:v>686687060</c:v>
                </c:pt>
                <c:pt idx="27152">
                  <c:v>914905400</c:v>
                </c:pt>
                <c:pt idx="27153">
                  <c:v>508312095</c:v>
                </c:pt>
                <c:pt idx="27154">
                  <c:v>902388663</c:v>
                </c:pt>
                <c:pt idx="27155">
                  <c:v>629234344</c:v>
                </c:pt>
                <c:pt idx="27156">
                  <c:v>1903770336</c:v>
                </c:pt>
                <c:pt idx="27157">
                  <c:v>769373080</c:v>
                </c:pt>
                <c:pt idx="27158">
                  <c:v>1871329892</c:v>
                </c:pt>
                <c:pt idx="27159">
                  <c:v>2078112299</c:v>
                </c:pt>
                <c:pt idx="27160">
                  <c:v>1331416692</c:v>
                </c:pt>
                <c:pt idx="27161">
                  <c:v>2147483647</c:v>
                </c:pt>
                <c:pt idx="27162">
                  <c:v>1342319856</c:v>
                </c:pt>
                <c:pt idx="27163">
                  <c:v>2139994942</c:v>
                </c:pt>
                <c:pt idx="27164">
                  <c:v>1565732848</c:v>
                </c:pt>
                <c:pt idx="27165">
                  <c:v>2147483647</c:v>
                </c:pt>
                <c:pt idx="27166">
                  <c:v>1332819861</c:v>
                </c:pt>
                <c:pt idx="27167">
                  <c:v>1224648810</c:v>
                </c:pt>
                <c:pt idx="27168">
                  <c:v>2147483647</c:v>
                </c:pt>
                <c:pt idx="27169">
                  <c:v>1335395579</c:v>
                </c:pt>
                <c:pt idx="27170">
                  <c:v>2147483647</c:v>
                </c:pt>
                <c:pt idx="27171">
                  <c:v>1912533116</c:v>
                </c:pt>
                <c:pt idx="27172">
                  <c:v>929188608</c:v>
                </c:pt>
                <c:pt idx="27173">
                  <c:v>506976991</c:v>
                </c:pt>
                <c:pt idx="27174">
                  <c:v>1814505671</c:v>
                </c:pt>
                <c:pt idx="27175">
                  <c:v>232531390</c:v>
                </c:pt>
                <c:pt idx="27176">
                  <c:v>1002695328</c:v>
                </c:pt>
                <c:pt idx="27177">
                  <c:v>1425306698</c:v>
                </c:pt>
                <c:pt idx="27178">
                  <c:v>1444745664</c:v>
                </c:pt>
                <c:pt idx="27179">
                  <c:v>1081222200</c:v>
                </c:pt>
                <c:pt idx="27180">
                  <c:v>1314183675</c:v>
                </c:pt>
                <c:pt idx="27181">
                  <c:v>42080100</c:v>
                </c:pt>
                <c:pt idx="27182">
                  <c:v>581028945</c:v>
                </c:pt>
                <c:pt idx="27183">
                  <c:v>855715130</c:v>
                </c:pt>
                <c:pt idx="27184">
                  <c:v>2147483647</c:v>
                </c:pt>
                <c:pt idx="27185">
                  <c:v>2147483647</c:v>
                </c:pt>
                <c:pt idx="27186">
                  <c:v>262837179</c:v>
                </c:pt>
                <c:pt idx="27187">
                  <c:v>1296995652</c:v>
                </c:pt>
                <c:pt idx="27188">
                  <c:v>1074521186</c:v>
                </c:pt>
                <c:pt idx="27189">
                  <c:v>1751781095</c:v>
                </c:pt>
                <c:pt idx="27190">
                  <c:v>698357943</c:v>
                </c:pt>
                <c:pt idx="27191">
                  <c:v>910503360</c:v>
                </c:pt>
                <c:pt idx="27192">
                  <c:v>1070229150</c:v>
                </c:pt>
                <c:pt idx="27193">
                  <c:v>1680756792</c:v>
                </c:pt>
                <c:pt idx="27194">
                  <c:v>13688665</c:v>
                </c:pt>
                <c:pt idx="27195">
                  <c:v>73752960</c:v>
                </c:pt>
                <c:pt idx="27196">
                  <c:v>267749640</c:v>
                </c:pt>
                <c:pt idx="27197">
                  <c:v>178337676</c:v>
                </c:pt>
                <c:pt idx="27198">
                  <c:v>38126274</c:v>
                </c:pt>
                <c:pt idx="27199">
                  <c:v>25395260</c:v>
                </c:pt>
                <c:pt idx="27200">
                  <c:v>7044170</c:v>
                </c:pt>
                <c:pt idx="27201">
                  <c:v>390547702</c:v>
                </c:pt>
                <c:pt idx="27202">
                  <c:v>238411260</c:v>
                </c:pt>
                <c:pt idx="27203">
                  <c:v>780878740</c:v>
                </c:pt>
                <c:pt idx="27204">
                  <c:v>7881280</c:v>
                </c:pt>
                <c:pt idx="27205">
                  <c:v>136702929</c:v>
                </c:pt>
                <c:pt idx="27206">
                  <c:v>428948670</c:v>
                </c:pt>
                <c:pt idx="27207">
                  <c:v>65249728</c:v>
                </c:pt>
                <c:pt idx="27208">
                  <c:v>154260012</c:v>
                </c:pt>
                <c:pt idx="27209">
                  <c:v>12244368</c:v>
                </c:pt>
                <c:pt idx="27210">
                  <c:v>137450870</c:v>
                </c:pt>
                <c:pt idx="27211">
                  <c:v>1810642990</c:v>
                </c:pt>
                <c:pt idx="27212">
                  <c:v>86808530</c:v>
                </c:pt>
                <c:pt idx="27213">
                  <c:v>74432760</c:v>
                </c:pt>
                <c:pt idx="27214">
                  <c:v>116656482</c:v>
                </c:pt>
                <c:pt idx="27215">
                  <c:v>183414132</c:v>
                </c:pt>
                <c:pt idx="27216">
                  <c:v>66815102</c:v>
                </c:pt>
                <c:pt idx="27217">
                  <c:v>20410314</c:v>
                </c:pt>
                <c:pt idx="27218">
                  <c:v>8926992</c:v>
                </c:pt>
                <c:pt idx="27219">
                  <c:v>983013503</c:v>
                </c:pt>
                <c:pt idx="27220">
                  <c:v>306371934</c:v>
                </c:pt>
                <c:pt idx="27221">
                  <c:v>23297592</c:v>
                </c:pt>
                <c:pt idx="27222">
                  <c:v>188886264</c:v>
                </c:pt>
                <c:pt idx="27223">
                  <c:v>34318100</c:v>
                </c:pt>
                <c:pt idx="27224">
                  <c:v>25914880</c:v>
                </c:pt>
                <c:pt idx="27225">
                  <c:v>84732340</c:v>
                </c:pt>
                <c:pt idx="27226">
                  <c:v>1543047660</c:v>
                </c:pt>
                <c:pt idx="27227">
                  <c:v>16855872</c:v>
                </c:pt>
                <c:pt idx="27228">
                  <c:v>381695485</c:v>
                </c:pt>
                <c:pt idx="27229">
                  <c:v>137168168</c:v>
                </c:pt>
                <c:pt idx="27230">
                  <c:v>107071029</c:v>
                </c:pt>
                <c:pt idx="27231">
                  <c:v>372638747</c:v>
                </c:pt>
                <c:pt idx="27232">
                  <c:v>103167900</c:v>
                </c:pt>
                <c:pt idx="27233">
                  <c:v>107598368</c:v>
                </c:pt>
                <c:pt idx="27234">
                  <c:v>67035028</c:v>
                </c:pt>
                <c:pt idx="27235">
                  <c:v>1729203972</c:v>
                </c:pt>
                <c:pt idx="27236">
                  <c:v>1599501420</c:v>
                </c:pt>
                <c:pt idx="27237">
                  <c:v>367179122</c:v>
                </c:pt>
                <c:pt idx="27238">
                  <c:v>35613833</c:v>
                </c:pt>
                <c:pt idx="27239">
                  <c:v>44285268</c:v>
                </c:pt>
                <c:pt idx="27240">
                  <c:v>170094816</c:v>
                </c:pt>
                <c:pt idx="27241">
                  <c:v>3852816</c:v>
                </c:pt>
                <c:pt idx="27242">
                  <c:v>1718634534</c:v>
                </c:pt>
                <c:pt idx="27243">
                  <c:v>1312117029</c:v>
                </c:pt>
                <c:pt idx="27244">
                  <c:v>289207560</c:v>
                </c:pt>
                <c:pt idx="27245">
                  <c:v>908680833</c:v>
                </c:pt>
                <c:pt idx="27246">
                  <c:v>539573814</c:v>
                </c:pt>
                <c:pt idx="27247">
                  <c:v>1757003540</c:v>
                </c:pt>
                <c:pt idx="27248">
                  <c:v>1279361200</c:v>
                </c:pt>
                <c:pt idx="27249">
                  <c:v>1334651556</c:v>
                </c:pt>
                <c:pt idx="27250">
                  <c:v>1603575870</c:v>
                </c:pt>
                <c:pt idx="27251">
                  <c:v>2057929604</c:v>
                </c:pt>
                <c:pt idx="27252">
                  <c:v>2147483647</c:v>
                </c:pt>
                <c:pt idx="27253">
                  <c:v>1691302662</c:v>
                </c:pt>
                <c:pt idx="27254">
                  <c:v>1572628480</c:v>
                </c:pt>
                <c:pt idx="27255">
                  <c:v>1484066652</c:v>
                </c:pt>
                <c:pt idx="27256">
                  <c:v>604321641</c:v>
                </c:pt>
                <c:pt idx="27257">
                  <c:v>708036696</c:v>
                </c:pt>
                <c:pt idx="27258">
                  <c:v>1430044980</c:v>
                </c:pt>
                <c:pt idx="27259">
                  <c:v>1379070516</c:v>
                </c:pt>
                <c:pt idx="27260">
                  <c:v>66609288</c:v>
                </c:pt>
                <c:pt idx="27261">
                  <c:v>271066138</c:v>
                </c:pt>
                <c:pt idx="27262">
                  <c:v>293836070</c:v>
                </c:pt>
                <c:pt idx="27263">
                  <c:v>119033001</c:v>
                </c:pt>
                <c:pt idx="27264">
                  <c:v>59087792</c:v>
                </c:pt>
                <c:pt idx="27265">
                  <c:v>466787241</c:v>
                </c:pt>
                <c:pt idx="27266">
                  <c:v>150779265</c:v>
                </c:pt>
                <c:pt idx="27267">
                  <c:v>1546253154</c:v>
                </c:pt>
                <c:pt idx="27268">
                  <c:v>62378113</c:v>
                </c:pt>
                <c:pt idx="27269">
                  <c:v>61882215</c:v>
                </c:pt>
                <c:pt idx="27270">
                  <c:v>523396002</c:v>
                </c:pt>
                <c:pt idx="27271">
                  <c:v>865882879</c:v>
                </c:pt>
                <c:pt idx="27272">
                  <c:v>237137473</c:v>
                </c:pt>
                <c:pt idx="27273">
                  <c:v>1795148787</c:v>
                </c:pt>
                <c:pt idx="27274">
                  <c:v>545996840</c:v>
                </c:pt>
                <c:pt idx="27275">
                  <c:v>18089344</c:v>
                </c:pt>
                <c:pt idx="27276">
                  <c:v>138893950</c:v>
                </c:pt>
                <c:pt idx="27277">
                  <c:v>12775840</c:v>
                </c:pt>
                <c:pt idx="27278">
                  <c:v>111507966</c:v>
                </c:pt>
                <c:pt idx="27279">
                  <c:v>1021953990</c:v>
                </c:pt>
                <c:pt idx="27280">
                  <c:v>1824411275</c:v>
                </c:pt>
                <c:pt idx="27281">
                  <c:v>1093206180</c:v>
                </c:pt>
                <c:pt idx="27282">
                  <c:v>344372020</c:v>
                </c:pt>
                <c:pt idx="27283">
                  <c:v>42048536</c:v>
                </c:pt>
                <c:pt idx="27284">
                  <c:v>552612996</c:v>
                </c:pt>
                <c:pt idx="27285">
                  <c:v>476083300</c:v>
                </c:pt>
                <c:pt idx="27286">
                  <c:v>111619060</c:v>
                </c:pt>
                <c:pt idx="27287">
                  <c:v>309820992</c:v>
                </c:pt>
                <c:pt idx="27288">
                  <c:v>324507480</c:v>
                </c:pt>
                <c:pt idx="27289">
                  <c:v>5866100</c:v>
                </c:pt>
                <c:pt idx="27290">
                  <c:v>50282760</c:v>
                </c:pt>
                <c:pt idx="27291">
                  <c:v>505160500</c:v>
                </c:pt>
                <c:pt idx="27292">
                  <c:v>87683879</c:v>
                </c:pt>
                <c:pt idx="27293">
                  <c:v>17250175</c:v>
                </c:pt>
                <c:pt idx="27294">
                  <c:v>31169405</c:v>
                </c:pt>
                <c:pt idx="27295">
                  <c:v>94375160</c:v>
                </c:pt>
                <c:pt idx="27296">
                  <c:v>20105550</c:v>
                </c:pt>
                <c:pt idx="27297">
                  <c:v>81070702</c:v>
                </c:pt>
                <c:pt idx="27298">
                  <c:v>21836784</c:v>
                </c:pt>
                <c:pt idx="27299">
                  <c:v>90035904</c:v>
                </c:pt>
                <c:pt idx="27300">
                  <c:v>906828120</c:v>
                </c:pt>
                <c:pt idx="27301">
                  <c:v>1483491978</c:v>
                </c:pt>
                <c:pt idx="27302">
                  <c:v>30261900</c:v>
                </c:pt>
                <c:pt idx="27303">
                  <c:v>2147483647</c:v>
                </c:pt>
                <c:pt idx="27304">
                  <c:v>258953175</c:v>
                </c:pt>
                <c:pt idx="27305">
                  <c:v>36969044</c:v>
                </c:pt>
                <c:pt idx="27306">
                  <c:v>38319222</c:v>
                </c:pt>
                <c:pt idx="27307">
                  <c:v>329992542</c:v>
                </c:pt>
                <c:pt idx="27308">
                  <c:v>8164494</c:v>
                </c:pt>
                <c:pt idx="27309">
                  <c:v>1525463225</c:v>
                </c:pt>
                <c:pt idx="27310">
                  <c:v>1961346560</c:v>
                </c:pt>
                <c:pt idx="27311">
                  <c:v>928969250</c:v>
                </c:pt>
                <c:pt idx="27312">
                  <c:v>40496781</c:v>
                </c:pt>
                <c:pt idx="27313">
                  <c:v>1225138196</c:v>
                </c:pt>
                <c:pt idx="27314">
                  <c:v>576520768</c:v>
                </c:pt>
                <c:pt idx="27315">
                  <c:v>1211794500</c:v>
                </c:pt>
                <c:pt idx="27316">
                  <c:v>39377940</c:v>
                </c:pt>
                <c:pt idx="27317">
                  <c:v>140579550</c:v>
                </c:pt>
                <c:pt idx="27318">
                  <c:v>47946324</c:v>
                </c:pt>
                <c:pt idx="27319">
                  <c:v>106603497</c:v>
                </c:pt>
                <c:pt idx="27320">
                  <c:v>25928672</c:v>
                </c:pt>
                <c:pt idx="27321">
                  <c:v>15586047</c:v>
                </c:pt>
                <c:pt idx="27322">
                  <c:v>14795424</c:v>
                </c:pt>
                <c:pt idx="27323">
                  <c:v>99247830</c:v>
                </c:pt>
                <c:pt idx="27324">
                  <c:v>372809682</c:v>
                </c:pt>
                <c:pt idx="27325">
                  <c:v>1896299748</c:v>
                </c:pt>
                <c:pt idx="27326">
                  <c:v>942632700</c:v>
                </c:pt>
                <c:pt idx="27327">
                  <c:v>408474319</c:v>
                </c:pt>
                <c:pt idx="27328">
                  <c:v>82813206</c:v>
                </c:pt>
                <c:pt idx="27329">
                  <c:v>41115400</c:v>
                </c:pt>
                <c:pt idx="27330">
                  <c:v>561947716</c:v>
                </c:pt>
                <c:pt idx="27331">
                  <c:v>2147483647</c:v>
                </c:pt>
                <c:pt idx="27332">
                  <c:v>206648700</c:v>
                </c:pt>
                <c:pt idx="27333">
                  <c:v>144820243</c:v>
                </c:pt>
                <c:pt idx="27334">
                  <c:v>208358968</c:v>
                </c:pt>
                <c:pt idx="27335">
                  <c:v>118543086</c:v>
                </c:pt>
                <c:pt idx="27336">
                  <c:v>437858175</c:v>
                </c:pt>
                <c:pt idx="27337">
                  <c:v>545068830</c:v>
                </c:pt>
                <c:pt idx="27338">
                  <c:v>1088065534</c:v>
                </c:pt>
                <c:pt idx="27339">
                  <c:v>460601310</c:v>
                </c:pt>
                <c:pt idx="27340">
                  <c:v>987577515</c:v>
                </c:pt>
                <c:pt idx="27341">
                  <c:v>877981161</c:v>
                </c:pt>
                <c:pt idx="27342">
                  <c:v>143324415</c:v>
                </c:pt>
                <c:pt idx="27343">
                  <c:v>76224460</c:v>
                </c:pt>
                <c:pt idx="27344">
                  <c:v>281399062</c:v>
                </c:pt>
                <c:pt idx="27345">
                  <c:v>121851915</c:v>
                </c:pt>
                <c:pt idx="27346">
                  <c:v>186623190</c:v>
                </c:pt>
                <c:pt idx="27347">
                  <c:v>222792350</c:v>
                </c:pt>
                <c:pt idx="27348">
                  <c:v>37328760</c:v>
                </c:pt>
                <c:pt idx="27349">
                  <c:v>64303266</c:v>
                </c:pt>
                <c:pt idx="27350">
                  <c:v>7141311</c:v>
                </c:pt>
                <c:pt idx="27351">
                  <c:v>67369588</c:v>
                </c:pt>
                <c:pt idx="27352">
                  <c:v>622443568</c:v>
                </c:pt>
                <c:pt idx="27353">
                  <c:v>108164467</c:v>
                </c:pt>
                <c:pt idx="27354">
                  <c:v>918714777</c:v>
                </c:pt>
                <c:pt idx="27355">
                  <c:v>48276424</c:v>
                </c:pt>
                <c:pt idx="27356">
                  <c:v>569879289</c:v>
                </c:pt>
                <c:pt idx="27357">
                  <c:v>21369024</c:v>
                </c:pt>
                <c:pt idx="27358">
                  <c:v>61600818</c:v>
                </c:pt>
                <c:pt idx="27359">
                  <c:v>102368240</c:v>
                </c:pt>
                <c:pt idx="27360">
                  <c:v>128418183</c:v>
                </c:pt>
                <c:pt idx="27361">
                  <c:v>588314406</c:v>
                </c:pt>
                <c:pt idx="27362">
                  <c:v>527721584</c:v>
                </c:pt>
                <c:pt idx="27363">
                  <c:v>973194750</c:v>
                </c:pt>
                <c:pt idx="27364">
                  <c:v>763840147</c:v>
                </c:pt>
                <c:pt idx="27365">
                  <c:v>646321992</c:v>
                </c:pt>
                <c:pt idx="27366">
                  <c:v>838610360</c:v>
                </c:pt>
                <c:pt idx="27367">
                  <c:v>2010945614</c:v>
                </c:pt>
                <c:pt idx="27368">
                  <c:v>2147483647</c:v>
                </c:pt>
                <c:pt idx="27369">
                  <c:v>35303460</c:v>
                </c:pt>
                <c:pt idx="27370">
                  <c:v>105431450</c:v>
                </c:pt>
                <c:pt idx="27371">
                  <c:v>2147483647</c:v>
                </c:pt>
                <c:pt idx="27372">
                  <c:v>368729010</c:v>
                </c:pt>
                <c:pt idx="27373">
                  <c:v>491258240</c:v>
                </c:pt>
                <c:pt idx="27374">
                  <c:v>864727722</c:v>
                </c:pt>
                <c:pt idx="27375">
                  <c:v>1957072385</c:v>
                </c:pt>
                <c:pt idx="27376">
                  <c:v>395870332</c:v>
                </c:pt>
                <c:pt idx="27377">
                  <c:v>792183678</c:v>
                </c:pt>
                <c:pt idx="27378">
                  <c:v>245707196</c:v>
                </c:pt>
                <c:pt idx="27379">
                  <c:v>1004664078</c:v>
                </c:pt>
                <c:pt idx="27380">
                  <c:v>1083353725</c:v>
                </c:pt>
                <c:pt idx="27381">
                  <c:v>1814545421</c:v>
                </c:pt>
                <c:pt idx="27382">
                  <c:v>788400806</c:v>
                </c:pt>
                <c:pt idx="27383">
                  <c:v>818246803</c:v>
                </c:pt>
                <c:pt idx="27384">
                  <c:v>52285979</c:v>
                </c:pt>
                <c:pt idx="27385">
                  <c:v>176299305</c:v>
                </c:pt>
                <c:pt idx="27386">
                  <c:v>1023211875</c:v>
                </c:pt>
                <c:pt idx="27387">
                  <c:v>493931660</c:v>
                </c:pt>
                <c:pt idx="27388">
                  <c:v>31392522</c:v>
                </c:pt>
                <c:pt idx="27389">
                  <c:v>207135552</c:v>
                </c:pt>
                <c:pt idx="27390">
                  <c:v>348202602</c:v>
                </c:pt>
                <c:pt idx="27391">
                  <c:v>354432682</c:v>
                </c:pt>
                <c:pt idx="27392">
                  <c:v>17491325</c:v>
                </c:pt>
                <c:pt idx="27393">
                  <c:v>926105940</c:v>
                </c:pt>
                <c:pt idx="27394">
                  <c:v>1884013352</c:v>
                </c:pt>
                <c:pt idx="27395">
                  <c:v>820192543</c:v>
                </c:pt>
                <c:pt idx="27396">
                  <c:v>391740300</c:v>
                </c:pt>
                <c:pt idx="27397">
                  <c:v>6841600</c:v>
                </c:pt>
                <c:pt idx="27398">
                  <c:v>943960773</c:v>
                </c:pt>
                <c:pt idx="27399">
                  <c:v>336083480</c:v>
                </c:pt>
                <c:pt idx="27400">
                  <c:v>2147483647</c:v>
                </c:pt>
                <c:pt idx="27401">
                  <c:v>455913103</c:v>
                </c:pt>
                <c:pt idx="27402">
                  <c:v>1704203940</c:v>
                </c:pt>
                <c:pt idx="27403">
                  <c:v>2147483647</c:v>
                </c:pt>
                <c:pt idx="27404">
                  <c:v>288569952</c:v>
                </c:pt>
                <c:pt idx="27405">
                  <c:v>1040092764</c:v>
                </c:pt>
                <c:pt idx="27406">
                  <c:v>216100300</c:v>
                </c:pt>
                <c:pt idx="27407">
                  <c:v>1479742432</c:v>
                </c:pt>
                <c:pt idx="27408">
                  <c:v>228350720</c:v>
                </c:pt>
                <c:pt idx="27409">
                  <c:v>169362044</c:v>
                </c:pt>
                <c:pt idx="27410">
                  <c:v>1313641040</c:v>
                </c:pt>
                <c:pt idx="27411">
                  <c:v>2147483647</c:v>
                </c:pt>
                <c:pt idx="27412">
                  <c:v>2147483647</c:v>
                </c:pt>
                <c:pt idx="27413">
                  <c:v>66845013</c:v>
                </c:pt>
                <c:pt idx="27414">
                  <c:v>2147483647</c:v>
                </c:pt>
                <c:pt idx="27415">
                  <c:v>1532488035</c:v>
                </c:pt>
                <c:pt idx="27416">
                  <c:v>1095117687</c:v>
                </c:pt>
                <c:pt idx="27417">
                  <c:v>2147483647</c:v>
                </c:pt>
                <c:pt idx="27418">
                  <c:v>2147483647</c:v>
                </c:pt>
                <c:pt idx="27419">
                  <c:v>2147483647</c:v>
                </c:pt>
                <c:pt idx="27420">
                  <c:v>1720732955</c:v>
                </c:pt>
                <c:pt idx="27421">
                  <c:v>2147483647</c:v>
                </c:pt>
                <c:pt idx="27422">
                  <c:v>2147483647</c:v>
                </c:pt>
                <c:pt idx="27423">
                  <c:v>1601789394</c:v>
                </c:pt>
                <c:pt idx="27424">
                  <c:v>1999823531</c:v>
                </c:pt>
                <c:pt idx="27425">
                  <c:v>2147483647</c:v>
                </c:pt>
                <c:pt idx="27426">
                  <c:v>2147483647</c:v>
                </c:pt>
                <c:pt idx="27427">
                  <c:v>2147483647</c:v>
                </c:pt>
                <c:pt idx="27428">
                  <c:v>701728051</c:v>
                </c:pt>
                <c:pt idx="27429">
                  <c:v>2147483647</c:v>
                </c:pt>
                <c:pt idx="27430">
                  <c:v>2147483647</c:v>
                </c:pt>
                <c:pt idx="27431">
                  <c:v>443483776</c:v>
                </c:pt>
                <c:pt idx="27432">
                  <c:v>2147483647</c:v>
                </c:pt>
                <c:pt idx="27433">
                  <c:v>2147483647</c:v>
                </c:pt>
                <c:pt idx="27434">
                  <c:v>2147483647</c:v>
                </c:pt>
                <c:pt idx="27435">
                  <c:v>2147483647</c:v>
                </c:pt>
                <c:pt idx="27436">
                  <c:v>2147483647</c:v>
                </c:pt>
                <c:pt idx="27437">
                  <c:v>2147483647</c:v>
                </c:pt>
                <c:pt idx="27438">
                  <c:v>2147483647</c:v>
                </c:pt>
                <c:pt idx="27439">
                  <c:v>2147483647</c:v>
                </c:pt>
                <c:pt idx="27440">
                  <c:v>1097929755</c:v>
                </c:pt>
                <c:pt idx="27441">
                  <c:v>1727183725</c:v>
                </c:pt>
                <c:pt idx="27442">
                  <c:v>2147483647</c:v>
                </c:pt>
                <c:pt idx="27443">
                  <c:v>1398482992</c:v>
                </c:pt>
                <c:pt idx="27444">
                  <c:v>1837615532</c:v>
                </c:pt>
                <c:pt idx="27445">
                  <c:v>1647711660</c:v>
                </c:pt>
                <c:pt idx="27446">
                  <c:v>995737695</c:v>
                </c:pt>
                <c:pt idx="27447">
                  <c:v>2147483647</c:v>
                </c:pt>
                <c:pt idx="27448">
                  <c:v>1805983984</c:v>
                </c:pt>
                <c:pt idx="27449">
                  <c:v>2147483647</c:v>
                </c:pt>
                <c:pt idx="27450">
                  <c:v>2147483647</c:v>
                </c:pt>
                <c:pt idx="27451">
                  <c:v>2147483647</c:v>
                </c:pt>
                <c:pt idx="27452">
                  <c:v>2147483647</c:v>
                </c:pt>
                <c:pt idx="27453">
                  <c:v>1005512032</c:v>
                </c:pt>
                <c:pt idx="27454">
                  <c:v>789823536</c:v>
                </c:pt>
                <c:pt idx="27455">
                  <c:v>907231318</c:v>
                </c:pt>
                <c:pt idx="27456">
                  <c:v>2147483647</c:v>
                </c:pt>
                <c:pt idx="27457">
                  <c:v>1661102517</c:v>
                </c:pt>
                <c:pt idx="27458">
                  <c:v>148571496</c:v>
                </c:pt>
                <c:pt idx="27459">
                  <c:v>2068368119</c:v>
                </c:pt>
                <c:pt idx="27460">
                  <c:v>1519103555</c:v>
                </c:pt>
                <c:pt idx="27461">
                  <c:v>84195072</c:v>
                </c:pt>
                <c:pt idx="27462">
                  <c:v>2147483647</c:v>
                </c:pt>
                <c:pt idx="27463">
                  <c:v>67425864</c:v>
                </c:pt>
                <c:pt idx="27464">
                  <c:v>451891440</c:v>
                </c:pt>
                <c:pt idx="27465">
                  <c:v>796319556</c:v>
                </c:pt>
                <c:pt idx="27466">
                  <c:v>1326527168</c:v>
                </c:pt>
                <c:pt idx="27467">
                  <c:v>932430284</c:v>
                </c:pt>
                <c:pt idx="27468">
                  <c:v>1155293280</c:v>
                </c:pt>
                <c:pt idx="27469">
                  <c:v>2036108612</c:v>
                </c:pt>
                <c:pt idx="27470">
                  <c:v>2138318644</c:v>
                </c:pt>
                <c:pt idx="27471">
                  <c:v>160725422</c:v>
                </c:pt>
                <c:pt idx="27472">
                  <c:v>2147483647</c:v>
                </c:pt>
                <c:pt idx="27473">
                  <c:v>1650565224</c:v>
                </c:pt>
                <c:pt idx="27474">
                  <c:v>1617588135</c:v>
                </c:pt>
                <c:pt idx="27475">
                  <c:v>2147483647</c:v>
                </c:pt>
                <c:pt idx="27476">
                  <c:v>1950103063</c:v>
                </c:pt>
                <c:pt idx="27477">
                  <c:v>2147483647</c:v>
                </c:pt>
                <c:pt idx="27478">
                  <c:v>2147483647</c:v>
                </c:pt>
                <c:pt idx="27479">
                  <c:v>2147483647</c:v>
                </c:pt>
                <c:pt idx="27480">
                  <c:v>2147483647</c:v>
                </c:pt>
                <c:pt idx="27481">
                  <c:v>829005505</c:v>
                </c:pt>
                <c:pt idx="27482">
                  <c:v>2147483647</c:v>
                </c:pt>
                <c:pt idx="27483">
                  <c:v>1223934426</c:v>
                </c:pt>
                <c:pt idx="27484">
                  <c:v>2147483647</c:v>
                </c:pt>
                <c:pt idx="27485">
                  <c:v>1247239924</c:v>
                </c:pt>
                <c:pt idx="27486">
                  <c:v>23087260</c:v>
                </c:pt>
                <c:pt idx="27487">
                  <c:v>2147483647</c:v>
                </c:pt>
                <c:pt idx="27488">
                  <c:v>2147483647</c:v>
                </c:pt>
                <c:pt idx="27489">
                  <c:v>2020539573</c:v>
                </c:pt>
                <c:pt idx="27490">
                  <c:v>1046510976</c:v>
                </c:pt>
                <c:pt idx="27491">
                  <c:v>2147483647</c:v>
                </c:pt>
                <c:pt idx="27492">
                  <c:v>2147483647</c:v>
                </c:pt>
                <c:pt idx="27493">
                  <c:v>1304009624</c:v>
                </c:pt>
                <c:pt idx="27494">
                  <c:v>2147483647</c:v>
                </c:pt>
                <c:pt idx="27495">
                  <c:v>1179724557</c:v>
                </c:pt>
                <c:pt idx="27496">
                  <c:v>2147483647</c:v>
                </c:pt>
                <c:pt idx="27497">
                  <c:v>1551048012</c:v>
                </c:pt>
                <c:pt idx="27498">
                  <c:v>2147483647</c:v>
                </c:pt>
                <c:pt idx="27499">
                  <c:v>840893380</c:v>
                </c:pt>
                <c:pt idx="27500">
                  <c:v>2147483647</c:v>
                </c:pt>
                <c:pt idx="27501">
                  <c:v>2147483647</c:v>
                </c:pt>
                <c:pt idx="27502">
                  <c:v>31850801</c:v>
                </c:pt>
                <c:pt idx="27503">
                  <c:v>2147483647</c:v>
                </c:pt>
                <c:pt idx="27504">
                  <c:v>446518240</c:v>
                </c:pt>
                <c:pt idx="27505">
                  <c:v>349132938</c:v>
                </c:pt>
                <c:pt idx="27506">
                  <c:v>703280952</c:v>
                </c:pt>
                <c:pt idx="27507">
                  <c:v>2013270546</c:v>
                </c:pt>
                <c:pt idx="27508">
                  <c:v>1310589819</c:v>
                </c:pt>
                <c:pt idx="27509">
                  <c:v>726135728</c:v>
                </c:pt>
                <c:pt idx="27510">
                  <c:v>1056677174</c:v>
                </c:pt>
                <c:pt idx="27511">
                  <c:v>2147483647</c:v>
                </c:pt>
                <c:pt idx="27512">
                  <c:v>2147483647</c:v>
                </c:pt>
                <c:pt idx="27513">
                  <c:v>918700128</c:v>
                </c:pt>
                <c:pt idx="27514">
                  <c:v>75238267</c:v>
                </c:pt>
                <c:pt idx="27515">
                  <c:v>2147483647</c:v>
                </c:pt>
                <c:pt idx="27516">
                  <c:v>2147483647</c:v>
                </c:pt>
                <c:pt idx="27517">
                  <c:v>941522905</c:v>
                </c:pt>
                <c:pt idx="27518">
                  <c:v>1183072440</c:v>
                </c:pt>
                <c:pt idx="27519">
                  <c:v>2147483647</c:v>
                </c:pt>
                <c:pt idx="27520">
                  <c:v>69599275</c:v>
                </c:pt>
                <c:pt idx="27521">
                  <c:v>1290507502</c:v>
                </c:pt>
                <c:pt idx="27522">
                  <c:v>1707546608</c:v>
                </c:pt>
                <c:pt idx="27523">
                  <c:v>1598449008</c:v>
                </c:pt>
                <c:pt idx="27524">
                  <c:v>2147483647</c:v>
                </c:pt>
                <c:pt idx="27525">
                  <c:v>183838435</c:v>
                </c:pt>
                <c:pt idx="27526">
                  <c:v>1238767896</c:v>
                </c:pt>
                <c:pt idx="27527">
                  <c:v>1896004836</c:v>
                </c:pt>
                <c:pt idx="27528">
                  <c:v>782512862</c:v>
                </c:pt>
                <c:pt idx="27529">
                  <c:v>1937599812</c:v>
                </c:pt>
                <c:pt idx="27530">
                  <c:v>1391187616</c:v>
                </c:pt>
                <c:pt idx="27531">
                  <c:v>1262181596</c:v>
                </c:pt>
                <c:pt idx="27532">
                  <c:v>2054063956</c:v>
                </c:pt>
                <c:pt idx="27533">
                  <c:v>1441534070</c:v>
                </c:pt>
                <c:pt idx="27534">
                  <c:v>2147483647</c:v>
                </c:pt>
                <c:pt idx="27535">
                  <c:v>2147483647</c:v>
                </c:pt>
                <c:pt idx="27536">
                  <c:v>1025045448</c:v>
                </c:pt>
                <c:pt idx="27537">
                  <c:v>1702914196</c:v>
                </c:pt>
                <c:pt idx="27538">
                  <c:v>1411409965</c:v>
                </c:pt>
                <c:pt idx="27539">
                  <c:v>664864200</c:v>
                </c:pt>
                <c:pt idx="27540">
                  <c:v>891765458</c:v>
                </c:pt>
                <c:pt idx="27541">
                  <c:v>1099225758</c:v>
                </c:pt>
                <c:pt idx="27542">
                  <c:v>579825147</c:v>
                </c:pt>
                <c:pt idx="27543">
                  <c:v>1225845881</c:v>
                </c:pt>
                <c:pt idx="27544">
                  <c:v>1214028384</c:v>
                </c:pt>
                <c:pt idx="27545">
                  <c:v>1131282432</c:v>
                </c:pt>
                <c:pt idx="27546">
                  <c:v>1114354472</c:v>
                </c:pt>
                <c:pt idx="27547">
                  <c:v>574898720</c:v>
                </c:pt>
                <c:pt idx="27548">
                  <c:v>462928232</c:v>
                </c:pt>
                <c:pt idx="27549">
                  <c:v>14571326</c:v>
                </c:pt>
                <c:pt idx="27550">
                  <c:v>944030929</c:v>
                </c:pt>
                <c:pt idx="27551">
                  <c:v>1184554063</c:v>
                </c:pt>
                <c:pt idx="27552">
                  <c:v>1410720416</c:v>
                </c:pt>
                <c:pt idx="27553">
                  <c:v>696190180</c:v>
                </c:pt>
                <c:pt idx="27554">
                  <c:v>1828384312</c:v>
                </c:pt>
                <c:pt idx="27555">
                  <c:v>2147483647</c:v>
                </c:pt>
                <c:pt idx="27556">
                  <c:v>1945876095</c:v>
                </c:pt>
                <c:pt idx="27557">
                  <c:v>1421883639</c:v>
                </c:pt>
                <c:pt idx="27558">
                  <c:v>68685460</c:v>
                </c:pt>
                <c:pt idx="27559">
                  <c:v>82749034</c:v>
                </c:pt>
                <c:pt idx="27560">
                  <c:v>957976800</c:v>
                </c:pt>
                <c:pt idx="27561">
                  <c:v>1737940169</c:v>
                </c:pt>
                <c:pt idx="27562">
                  <c:v>34139680</c:v>
                </c:pt>
                <c:pt idx="27563">
                  <c:v>534602922</c:v>
                </c:pt>
                <c:pt idx="27564">
                  <c:v>384140755</c:v>
                </c:pt>
                <c:pt idx="27565">
                  <c:v>67000536</c:v>
                </c:pt>
                <c:pt idx="27566">
                  <c:v>60042760</c:v>
                </c:pt>
                <c:pt idx="27567">
                  <c:v>26995020</c:v>
                </c:pt>
                <c:pt idx="27568">
                  <c:v>760196640</c:v>
                </c:pt>
                <c:pt idx="27569">
                  <c:v>24899900</c:v>
                </c:pt>
                <c:pt idx="27570">
                  <c:v>2147483647</c:v>
                </c:pt>
                <c:pt idx="27571">
                  <c:v>1110039021</c:v>
                </c:pt>
                <c:pt idx="27572">
                  <c:v>58552680</c:v>
                </c:pt>
                <c:pt idx="27573">
                  <c:v>1374067428</c:v>
                </c:pt>
                <c:pt idx="27574">
                  <c:v>1067703566</c:v>
                </c:pt>
                <c:pt idx="27575">
                  <c:v>201409196</c:v>
                </c:pt>
                <c:pt idx="27576">
                  <c:v>1926107190</c:v>
                </c:pt>
                <c:pt idx="27577">
                  <c:v>1744537605</c:v>
                </c:pt>
                <c:pt idx="27578">
                  <c:v>62842010</c:v>
                </c:pt>
                <c:pt idx="27579">
                  <c:v>1391982456</c:v>
                </c:pt>
                <c:pt idx="27580">
                  <c:v>21294288</c:v>
                </c:pt>
                <c:pt idx="27581">
                  <c:v>1102749362</c:v>
                </c:pt>
                <c:pt idx="27582">
                  <c:v>36466500</c:v>
                </c:pt>
                <c:pt idx="27583">
                  <c:v>28640821</c:v>
                </c:pt>
                <c:pt idx="27584">
                  <c:v>88100002</c:v>
                </c:pt>
                <c:pt idx="27585">
                  <c:v>84760175</c:v>
                </c:pt>
                <c:pt idx="27586">
                  <c:v>1670883760</c:v>
                </c:pt>
                <c:pt idx="27587">
                  <c:v>219813132</c:v>
                </c:pt>
                <c:pt idx="27588">
                  <c:v>386755070</c:v>
                </c:pt>
                <c:pt idx="27589">
                  <c:v>502138992</c:v>
                </c:pt>
                <c:pt idx="27590">
                  <c:v>31600738</c:v>
                </c:pt>
                <c:pt idx="27591">
                  <c:v>2147483647</c:v>
                </c:pt>
                <c:pt idx="27592">
                  <c:v>517838835</c:v>
                </c:pt>
                <c:pt idx="27593">
                  <c:v>200338098</c:v>
                </c:pt>
                <c:pt idx="27594">
                  <c:v>29327240</c:v>
                </c:pt>
                <c:pt idx="27595">
                  <c:v>341003344</c:v>
                </c:pt>
                <c:pt idx="27596">
                  <c:v>144564200</c:v>
                </c:pt>
                <c:pt idx="27597">
                  <c:v>2147483647</c:v>
                </c:pt>
                <c:pt idx="27598">
                  <c:v>28947639</c:v>
                </c:pt>
                <c:pt idx="27599">
                  <c:v>1921937622</c:v>
                </c:pt>
                <c:pt idx="27600">
                  <c:v>2147483647</c:v>
                </c:pt>
                <c:pt idx="27601">
                  <c:v>808291116</c:v>
                </c:pt>
                <c:pt idx="27602">
                  <c:v>2147483647</c:v>
                </c:pt>
                <c:pt idx="27603">
                  <c:v>2147483647</c:v>
                </c:pt>
                <c:pt idx="27604">
                  <c:v>30677998</c:v>
                </c:pt>
                <c:pt idx="27605">
                  <c:v>38203302</c:v>
                </c:pt>
                <c:pt idx="27606">
                  <c:v>49772192</c:v>
                </c:pt>
                <c:pt idx="27607">
                  <c:v>180506788</c:v>
                </c:pt>
                <c:pt idx="27608">
                  <c:v>284724285</c:v>
                </c:pt>
                <c:pt idx="27609">
                  <c:v>2147483647</c:v>
                </c:pt>
                <c:pt idx="27610">
                  <c:v>2147483647</c:v>
                </c:pt>
                <c:pt idx="27611">
                  <c:v>1757108942</c:v>
                </c:pt>
                <c:pt idx="27612">
                  <c:v>2147483647</c:v>
                </c:pt>
                <c:pt idx="27613">
                  <c:v>1934118277</c:v>
                </c:pt>
                <c:pt idx="27614">
                  <c:v>56732384</c:v>
                </c:pt>
                <c:pt idx="27615">
                  <c:v>476473670</c:v>
                </c:pt>
                <c:pt idx="27616">
                  <c:v>942037301</c:v>
                </c:pt>
                <c:pt idx="27617">
                  <c:v>604949150</c:v>
                </c:pt>
                <c:pt idx="27618">
                  <c:v>31263408</c:v>
                </c:pt>
                <c:pt idx="27619">
                  <c:v>2147483647</c:v>
                </c:pt>
                <c:pt idx="27620">
                  <c:v>1041679515</c:v>
                </c:pt>
                <c:pt idx="27621">
                  <c:v>1781705536</c:v>
                </c:pt>
                <c:pt idx="27622">
                  <c:v>2147483647</c:v>
                </c:pt>
                <c:pt idx="27623">
                  <c:v>216394288</c:v>
                </c:pt>
                <c:pt idx="27624">
                  <c:v>1393721472</c:v>
                </c:pt>
                <c:pt idx="27625">
                  <c:v>1575580524</c:v>
                </c:pt>
                <c:pt idx="27626">
                  <c:v>1842889940</c:v>
                </c:pt>
                <c:pt idx="27627">
                  <c:v>545711936</c:v>
                </c:pt>
                <c:pt idx="27628">
                  <c:v>2147483647</c:v>
                </c:pt>
                <c:pt idx="27629">
                  <c:v>1419209872</c:v>
                </c:pt>
                <c:pt idx="27630">
                  <c:v>1317650008</c:v>
                </c:pt>
                <c:pt idx="27631">
                  <c:v>2147483647</c:v>
                </c:pt>
                <c:pt idx="27632">
                  <c:v>2147483647</c:v>
                </c:pt>
                <c:pt idx="27633">
                  <c:v>2147483647</c:v>
                </c:pt>
                <c:pt idx="27634">
                  <c:v>2147483647</c:v>
                </c:pt>
                <c:pt idx="27635">
                  <c:v>2147483647</c:v>
                </c:pt>
                <c:pt idx="27636">
                  <c:v>2023451514</c:v>
                </c:pt>
                <c:pt idx="27637">
                  <c:v>2147483647</c:v>
                </c:pt>
                <c:pt idx="27638">
                  <c:v>841128372</c:v>
                </c:pt>
                <c:pt idx="27639">
                  <c:v>1748274048</c:v>
                </c:pt>
                <c:pt idx="27640">
                  <c:v>2101758660</c:v>
                </c:pt>
                <c:pt idx="27641">
                  <c:v>1253087875</c:v>
                </c:pt>
                <c:pt idx="27642">
                  <c:v>2147483647</c:v>
                </c:pt>
                <c:pt idx="27643">
                  <c:v>1682584967</c:v>
                </c:pt>
                <c:pt idx="27644">
                  <c:v>2147483647</c:v>
                </c:pt>
                <c:pt idx="27645">
                  <c:v>1354668248</c:v>
                </c:pt>
                <c:pt idx="27646">
                  <c:v>341163018</c:v>
                </c:pt>
                <c:pt idx="27647">
                  <c:v>2120584592</c:v>
                </c:pt>
                <c:pt idx="27648">
                  <c:v>98564600</c:v>
                </c:pt>
                <c:pt idx="27649">
                  <c:v>347682367</c:v>
                </c:pt>
                <c:pt idx="27650">
                  <c:v>886588360</c:v>
                </c:pt>
                <c:pt idx="27651">
                  <c:v>693856725</c:v>
                </c:pt>
                <c:pt idx="27652">
                  <c:v>1301160537</c:v>
                </c:pt>
                <c:pt idx="27653">
                  <c:v>1490840526</c:v>
                </c:pt>
                <c:pt idx="27654">
                  <c:v>1393157577</c:v>
                </c:pt>
                <c:pt idx="27655">
                  <c:v>797024124</c:v>
                </c:pt>
                <c:pt idx="27656">
                  <c:v>874217962</c:v>
                </c:pt>
                <c:pt idx="27657">
                  <c:v>490097912</c:v>
                </c:pt>
                <c:pt idx="27658">
                  <c:v>1323378968</c:v>
                </c:pt>
                <c:pt idx="27659">
                  <c:v>344163648</c:v>
                </c:pt>
                <c:pt idx="27660">
                  <c:v>184934892</c:v>
                </c:pt>
                <c:pt idx="27661">
                  <c:v>145909440</c:v>
                </c:pt>
                <c:pt idx="27662">
                  <c:v>34296542</c:v>
                </c:pt>
                <c:pt idx="27663">
                  <c:v>48030772</c:v>
                </c:pt>
                <c:pt idx="27664">
                  <c:v>176413134</c:v>
                </c:pt>
                <c:pt idx="27665">
                  <c:v>55397006</c:v>
                </c:pt>
                <c:pt idx="27666">
                  <c:v>13397076</c:v>
                </c:pt>
                <c:pt idx="27667">
                  <c:v>173138252</c:v>
                </c:pt>
                <c:pt idx="27668">
                  <c:v>155303358</c:v>
                </c:pt>
                <c:pt idx="27669">
                  <c:v>1321480295</c:v>
                </c:pt>
                <c:pt idx="27670">
                  <c:v>1135598490</c:v>
                </c:pt>
                <c:pt idx="27671">
                  <c:v>94592930</c:v>
                </c:pt>
                <c:pt idx="27672">
                  <c:v>40079361</c:v>
                </c:pt>
                <c:pt idx="27673">
                  <c:v>126925104</c:v>
                </c:pt>
                <c:pt idx="27674">
                  <c:v>92702247</c:v>
                </c:pt>
                <c:pt idx="27675">
                  <c:v>26008250</c:v>
                </c:pt>
                <c:pt idx="27676">
                  <c:v>466596950</c:v>
                </c:pt>
                <c:pt idx="27677">
                  <c:v>44349828</c:v>
                </c:pt>
                <c:pt idx="27678">
                  <c:v>200742836</c:v>
                </c:pt>
                <c:pt idx="27679">
                  <c:v>1155252878</c:v>
                </c:pt>
                <c:pt idx="27680">
                  <c:v>70664112</c:v>
                </c:pt>
                <c:pt idx="27681">
                  <c:v>599292756</c:v>
                </c:pt>
                <c:pt idx="27682">
                  <c:v>26210222</c:v>
                </c:pt>
                <c:pt idx="27683">
                  <c:v>1004217574</c:v>
                </c:pt>
                <c:pt idx="27684">
                  <c:v>45515068</c:v>
                </c:pt>
                <c:pt idx="27685">
                  <c:v>74613127</c:v>
                </c:pt>
                <c:pt idx="27686">
                  <c:v>5543496</c:v>
                </c:pt>
                <c:pt idx="27687">
                  <c:v>36627240</c:v>
                </c:pt>
                <c:pt idx="27688">
                  <c:v>278192904</c:v>
                </c:pt>
                <c:pt idx="27689">
                  <c:v>305932539</c:v>
                </c:pt>
                <c:pt idx="27690">
                  <c:v>23478260</c:v>
                </c:pt>
                <c:pt idx="27691">
                  <c:v>12702592</c:v>
                </c:pt>
                <c:pt idx="27692">
                  <c:v>32934528</c:v>
                </c:pt>
                <c:pt idx="27693">
                  <c:v>482676705</c:v>
                </c:pt>
                <c:pt idx="27694">
                  <c:v>160456491</c:v>
                </c:pt>
                <c:pt idx="27695">
                  <c:v>252970861</c:v>
                </c:pt>
                <c:pt idx="27696">
                  <c:v>43114862</c:v>
                </c:pt>
                <c:pt idx="27697">
                  <c:v>237293238</c:v>
                </c:pt>
                <c:pt idx="27698">
                  <c:v>355910641</c:v>
                </c:pt>
                <c:pt idx="27699">
                  <c:v>239908812</c:v>
                </c:pt>
                <c:pt idx="27700">
                  <c:v>60337901</c:v>
                </c:pt>
                <c:pt idx="27701">
                  <c:v>90096328</c:v>
                </c:pt>
                <c:pt idx="27702">
                  <c:v>786831626</c:v>
                </c:pt>
                <c:pt idx="27703">
                  <c:v>61765260</c:v>
                </c:pt>
                <c:pt idx="27704">
                  <c:v>304151202</c:v>
                </c:pt>
                <c:pt idx="27705">
                  <c:v>1438662750</c:v>
                </c:pt>
                <c:pt idx="27706">
                  <c:v>1427575842</c:v>
                </c:pt>
                <c:pt idx="27707">
                  <c:v>341874320</c:v>
                </c:pt>
                <c:pt idx="27708">
                  <c:v>1081487390</c:v>
                </c:pt>
                <c:pt idx="27709">
                  <c:v>543414441</c:v>
                </c:pt>
                <c:pt idx="27710">
                  <c:v>18518296</c:v>
                </c:pt>
                <c:pt idx="27711">
                  <c:v>52068624</c:v>
                </c:pt>
                <c:pt idx="27712">
                  <c:v>740115280</c:v>
                </c:pt>
                <c:pt idx="27713">
                  <c:v>1604313608</c:v>
                </c:pt>
                <c:pt idx="27714">
                  <c:v>866211764</c:v>
                </c:pt>
                <c:pt idx="27715">
                  <c:v>630024222</c:v>
                </c:pt>
                <c:pt idx="27716">
                  <c:v>2055582360</c:v>
                </c:pt>
                <c:pt idx="27717">
                  <c:v>1257627462</c:v>
                </c:pt>
                <c:pt idx="27718">
                  <c:v>462821271</c:v>
                </c:pt>
                <c:pt idx="27719">
                  <c:v>691622880</c:v>
                </c:pt>
                <c:pt idx="27720">
                  <c:v>356107252</c:v>
                </c:pt>
                <c:pt idx="27721">
                  <c:v>1275188512</c:v>
                </c:pt>
                <c:pt idx="27722">
                  <c:v>790977012</c:v>
                </c:pt>
                <c:pt idx="27723">
                  <c:v>58681042</c:v>
                </c:pt>
                <c:pt idx="27724">
                  <c:v>797620689</c:v>
                </c:pt>
                <c:pt idx="27725">
                  <c:v>698663788</c:v>
                </c:pt>
                <c:pt idx="27726">
                  <c:v>454001026</c:v>
                </c:pt>
                <c:pt idx="27727">
                  <c:v>24874319</c:v>
                </c:pt>
                <c:pt idx="27728">
                  <c:v>1053649296</c:v>
                </c:pt>
                <c:pt idx="27729">
                  <c:v>63776955</c:v>
                </c:pt>
                <c:pt idx="27730">
                  <c:v>58555440</c:v>
                </c:pt>
                <c:pt idx="27731">
                  <c:v>1745537774</c:v>
                </c:pt>
                <c:pt idx="27732">
                  <c:v>1297659015</c:v>
                </c:pt>
                <c:pt idx="27733">
                  <c:v>123520430</c:v>
                </c:pt>
                <c:pt idx="27734">
                  <c:v>1107669418</c:v>
                </c:pt>
                <c:pt idx="27735">
                  <c:v>1303196580</c:v>
                </c:pt>
                <c:pt idx="27736">
                  <c:v>230352210</c:v>
                </c:pt>
                <c:pt idx="27737">
                  <c:v>243325422</c:v>
                </c:pt>
                <c:pt idx="27738">
                  <c:v>17773800</c:v>
                </c:pt>
                <c:pt idx="27739">
                  <c:v>252517320</c:v>
                </c:pt>
                <c:pt idx="27740">
                  <c:v>18404244</c:v>
                </c:pt>
                <c:pt idx="27741">
                  <c:v>988505277</c:v>
                </c:pt>
                <c:pt idx="27742">
                  <c:v>1463287536</c:v>
                </c:pt>
                <c:pt idx="27743">
                  <c:v>1686675876</c:v>
                </c:pt>
                <c:pt idx="27744">
                  <c:v>1923984504</c:v>
                </c:pt>
                <c:pt idx="27745">
                  <c:v>1145203272</c:v>
                </c:pt>
                <c:pt idx="27746">
                  <c:v>1129018378</c:v>
                </c:pt>
                <c:pt idx="27747">
                  <c:v>1456627050</c:v>
                </c:pt>
                <c:pt idx="27748">
                  <c:v>52698508</c:v>
                </c:pt>
                <c:pt idx="27749">
                  <c:v>36853063</c:v>
                </c:pt>
                <c:pt idx="27750">
                  <c:v>63090852</c:v>
                </c:pt>
                <c:pt idx="27751">
                  <c:v>314862704</c:v>
                </c:pt>
                <c:pt idx="27752">
                  <c:v>120036624</c:v>
                </c:pt>
                <c:pt idx="27753">
                  <c:v>574725165</c:v>
                </c:pt>
                <c:pt idx="27754">
                  <c:v>55009836</c:v>
                </c:pt>
                <c:pt idx="27755">
                  <c:v>20792966</c:v>
                </c:pt>
                <c:pt idx="27756">
                  <c:v>54768224</c:v>
                </c:pt>
                <c:pt idx="27757">
                  <c:v>21579888</c:v>
                </c:pt>
                <c:pt idx="27758">
                  <c:v>271369584</c:v>
                </c:pt>
                <c:pt idx="27759">
                  <c:v>468583392</c:v>
                </c:pt>
                <c:pt idx="27760">
                  <c:v>17989205</c:v>
                </c:pt>
                <c:pt idx="27761">
                  <c:v>112267253</c:v>
                </c:pt>
                <c:pt idx="27762">
                  <c:v>336638916</c:v>
                </c:pt>
                <c:pt idx="27763">
                  <c:v>76379945</c:v>
                </c:pt>
                <c:pt idx="27764">
                  <c:v>244698336</c:v>
                </c:pt>
                <c:pt idx="27765">
                  <c:v>989396256</c:v>
                </c:pt>
                <c:pt idx="27766">
                  <c:v>42544914</c:v>
                </c:pt>
                <c:pt idx="27767">
                  <c:v>10726128</c:v>
                </c:pt>
                <c:pt idx="27768">
                  <c:v>419362524</c:v>
                </c:pt>
                <c:pt idx="27769">
                  <c:v>131663574</c:v>
                </c:pt>
                <c:pt idx="27770">
                  <c:v>435536028</c:v>
                </c:pt>
                <c:pt idx="27771">
                  <c:v>38200008</c:v>
                </c:pt>
                <c:pt idx="27772">
                  <c:v>23901436</c:v>
                </c:pt>
                <c:pt idx="27773">
                  <c:v>135370440</c:v>
                </c:pt>
                <c:pt idx="27774">
                  <c:v>146894310</c:v>
                </c:pt>
                <c:pt idx="27775">
                  <c:v>28308972</c:v>
                </c:pt>
                <c:pt idx="27776">
                  <c:v>86740620</c:v>
                </c:pt>
                <c:pt idx="27777">
                  <c:v>143508388</c:v>
                </c:pt>
                <c:pt idx="27778">
                  <c:v>54149648</c:v>
                </c:pt>
                <c:pt idx="27779">
                  <c:v>49551642</c:v>
                </c:pt>
                <c:pt idx="27780">
                  <c:v>64930437</c:v>
                </c:pt>
                <c:pt idx="27781">
                  <c:v>25517030</c:v>
                </c:pt>
                <c:pt idx="27782">
                  <c:v>203566704</c:v>
                </c:pt>
                <c:pt idx="27783">
                  <c:v>46817183</c:v>
                </c:pt>
                <c:pt idx="27784">
                  <c:v>43012485</c:v>
                </c:pt>
                <c:pt idx="27785">
                  <c:v>221578640</c:v>
                </c:pt>
                <c:pt idx="27786">
                  <c:v>34922328</c:v>
                </c:pt>
                <c:pt idx="27787">
                  <c:v>1574259862</c:v>
                </c:pt>
                <c:pt idx="27788">
                  <c:v>3075597</c:v>
                </c:pt>
                <c:pt idx="27789">
                  <c:v>2020181653</c:v>
                </c:pt>
                <c:pt idx="27790">
                  <c:v>933384981</c:v>
                </c:pt>
                <c:pt idx="27791">
                  <c:v>94402066</c:v>
                </c:pt>
                <c:pt idx="27792">
                  <c:v>373792936</c:v>
                </c:pt>
                <c:pt idx="27793">
                  <c:v>1390266735</c:v>
                </c:pt>
                <c:pt idx="27794">
                  <c:v>67274119</c:v>
                </c:pt>
                <c:pt idx="27795">
                  <c:v>731353149</c:v>
                </c:pt>
                <c:pt idx="27796">
                  <c:v>768641481</c:v>
                </c:pt>
                <c:pt idx="27797">
                  <c:v>603578591</c:v>
                </c:pt>
                <c:pt idx="27798">
                  <c:v>548627296</c:v>
                </c:pt>
                <c:pt idx="27799">
                  <c:v>69345195</c:v>
                </c:pt>
                <c:pt idx="27800">
                  <c:v>53281132</c:v>
                </c:pt>
                <c:pt idx="27801">
                  <c:v>15616860</c:v>
                </c:pt>
                <c:pt idx="27802">
                  <c:v>10480794</c:v>
                </c:pt>
                <c:pt idx="27803">
                  <c:v>57509266</c:v>
                </c:pt>
                <c:pt idx="27804">
                  <c:v>523345224</c:v>
                </c:pt>
                <c:pt idx="27805">
                  <c:v>108867054</c:v>
                </c:pt>
                <c:pt idx="27806">
                  <c:v>35283090</c:v>
                </c:pt>
                <c:pt idx="27807">
                  <c:v>414077272</c:v>
                </c:pt>
                <c:pt idx="27808">
                  <c:v>58074549</c:v>
                </c:pt>
                <c:pt idx="27809">
                  <c:v>6507396</c:v>
                </c:pt>
                <c:pt idx="27810">
                  <c:v>54537142</c:v>
                </c:pt>
                <c:pt idx="27811">
                  <c:v>41447052</c:v>
                </c:pt>
                <c:pt idx="27812">
                  <c:v>23344233</c:v>
                </c:pt>
                <c:pt idx="27813">
                  <c:v>40608297</c:v>
                </c:pt>
                <c:pt idx="27814">
                  <c:v>64033600</c:v>
                </c:pt>
                <c:pt idx="27815">
                  <c:v>9390000</c:v>
                </c:pt>
                <c:pt idx="27816">
                  <c:v>6840480</c:v>
                </c:pt>
                <c:pt idx="27817">
                  <c:v>20778925</c:v>
                </c:pt>
                <c:pt idx="27818">
                  <c:v>9567045</c:v>
                </c:pt>
                <c:pt idx="27819">
                  <c:v>51084131</c:v>
                </c:pt>
                <c:pt idx="27820">
                  <c:v>77323571</c:v>
                </c:pt>
                <c:pt idx="27821">
                  <c:v>26366191</c:v>
                </c:pt>
                <c:pt idx="27822">
                  <c:v>13440870</c:v>
                </c:pt>
                <c:pt idx="27823">
                  <c:v>16689614</c:v>
                </c:pt>
                <c:pt idx="27824">
                  <c:v>73340440</c:v>
                </c:pt>
                <c:pt idx="27825">
                  <c:v>3708888</c:v>
                </c:pt>
                <c:pt idx="27826">
                  <c:v>10395950</c:v>
                </c:pt>
                <c:pt idx="27827">
                  <c:v>98186067</c:v>
                </c:pt>
                <c:pt idx="27828">
                  <c:v>41004075</c:v>
                </c:pt>
                <c:pt idx="27829">
                  <c:v>7874072</c:v>
                </c:pt>
                <c:pt idx="27830">
                  <c:v>28957158</c:v>
                </c:pt>
                <c:pt idx="27831">
                  <c:v>12383016</c:v>
                </c:pt>
                <c:pt idx="27832">
                  <c:v>829055250</c:v>
                </c:pt>
                <c:pt idx="27833">
                  <c:v>1209094425</c:v>
                </c:pt>
                <c:pt idx="27834">
                  <c:v>388355880</c:v>
                </c:pt>
                <c:pt idx="27835">
                  <c:v>14808666</c:v>
                </c:pt>
                <c:pt idx="27836">
                  <c:v>2147483647</c:v>
                </c:pt>
                <c:pt idx="27837">
                  <c:v>1555793180</c:v>
                </c:pt>
                <c:pt idx="27838">
                  <c:v>65746853</c:v>
                </c:pt>
                <c:pt idx="27839">
                  <c:v>214218573</c:v>
                </c:pt>
                <c:pt idx="27840">
                  <c:v>23817906</c:v>
                </c:pt>
                <c:pt idx="27841">
                  <c:v>1927301328</c:v>
                </c:pt>
                <c:pt idx="27842">
                  <c:v>1383681240</c:v>
                </c:pt>
                <c:pt idx="27843">
                  <c:v>201977349</c:v>
                </c:pt>
                <c:pt idx="27844">
                  <c:v>770124093</c:v>
                </c:pt>
                <c:pt idx="27845">
                  <c:v>1357835410</c:v>
                </c:pt>
                <c:pt idx="27846">
                  <c:v>166257938</c:v>
                </c:pt>
                <c:pt idx="27847">
                  <c:v>2147483647</c:v>
                </c:pt>
                <c:pt idx="27848">
                  <c:v>194539126</c:v>
                </c:pt>
                <c:pt idx="27849">
                  <c:v>146418363</c:v>
                </c:pt>
                <c:pt idx="27850">
                  <c:v>2101265032</c:v>
                </c:pt>
                <c:pt idx="27851">
                  <c:v>28552575</c:v>
                </c:pt>
                <c:pt idx="27852">
                  <c:v>2147483647</c:v>
                </c:pt>
                <c:pt idx="27853">
                  <c:v>253033352</c:v>
                </c:pt>
                <c:pt idx="27854">
                  <c:v>1059894440</c:v>
                </c:pt>
                <c:pt idx="27855">
                  <c:v>121451178</c:v>
                </c:pt>
                <c:pt idx="27856">
                  <c:v>143009196</c:v>
                </c:pt>
                <c:pt idx="27857">
                  <c:v>25717824</c:v>
                </c:pt>
                <c:pt idx="27858">
                  <c:v>40019931</c:v>
                </c:pt>
                <c:pt idx="27859">
                  <c:v>85167252</c:v>
                </c:pt>
                <c:pt idx="27860">
                  <c:v>348674700</c:v>
                </c:pt>
                <c:pt idx="27861">
                  <c:v>47643336</c:v>
                </c:pt>
                <c:pt idx="27862">
                  <c:v>245743245</c:v>
                </c:pt>
                <c:pt idx="27863">
                  <c:v>25452434</c:v>
                </c:pt>
                <c:pt idx="27864">
                  <c:v>2147483647</c:v>
                </c:pt>
                <c:pt idx="27865">
                  <c:v>861528129</c:v>
                </c:pt>
                <c:pt idx="27866">
                  <c:v>23640012</c:v>
                </c:pt>
                <c:pt idx="27867">
                  <c:v>6126562</c:v>
                </c:pt>
                <c:pt idx="27868">
                  <c:v>187617075</c:v>
                </c:pt>
                <c:pt idx="27869">
                  <c:v>311752275</c:v>
                </c:pt>
                <c:pt idx="27870">
                  <c:v>31810140</c:v>
                </c:pt>
                <c:pt idx="27871">
                  <c:v>743656460</c:v>
                </c:pt>
                <c:pt idx="27872">
                  <c:v>1580892012</c:v>
                </c:pt>
                <c:pt idx="27873">
                  <c:v>1278449079</c:v>
                </c:pt>
                <c:pt idx="27874">
                  <c:v>147086940</c:v>
                </c:pt>
                <c:pt idx="27875">
                  <c:v>35856520</c:v>
                </c:pt>
                <c:pt idx="27876">
                  <c:v>182282778</c:v>
                </c:pt>
                <c:pt idx="27877">
                  <c:v>204609502</c:v>
                </c:pt>
                <c:pt idx="27878">
                  <c:v>1418903154</c:v>
                </c:pt>
                <c:pt idx="27879">
                  <c:v>19556096</c:v>
                </c:pt>
                <c:pt idx="27880">
                  <c:v>100016700</c:v>
                </c:pt>
                <c:pt idx="27881">
                  <c:v>2147483647</c:v>
                </c:pt>
                <c:pt idx="27882">
                  <c:v>295552880</c:v>
                </c:pt>
                <c:pt idx="27883">
                  <c:v>477023316</c:v>
                </c:pt>
                <c:pt idx="27884">
                  <c:v>35066840</c:v>
                </c:pt>
                <c:pt idx="27885">
                  <c:v>1233435619</c:v>
                </c:pt>
                <c:pt idx="27886">
                  <c:v>1818931254</c:v>
                </c:pt>
                <c:pt idx="27887">
                  <c:v>27878256</c:v>
                </c:pt>
                <c:pt idx="27888">
                  <c:v>1513472556</c:v>
                </c:pt>
                <c:pt idx="27889">
                  <c:v>354396080</c:v>
                </c:pt>
                <c:pt idx="27890">
                  <c:v>120473815</c:v>
                </c:pt>
                <c:pt idx="27891">
                  <c:v>182276406</c:v>
                </c:pt>
                <c:pt idx="27892">
                  <c:v>18802395</c:v>
                </c:pt>
                <c:pt idx="27893">
                  <c:v>2147483647</c:v>
                </c:pt>
                <c:pt idx="27894">
                  <c:v>1846419750</c:v>
                </c:pt>
                <c:pt idx="27895">
                  <c:v>86155724</c:v>
                </c:pt>
                <c:pt idx="27896">
                  <c:v>62762103</c:v>
                </c:pt>
                <c:pt idx="27897">
                  <c:v>1557052354</c:v>
                </c:pt>
                <c:pt idx="27898">
                  <c:v>165938820</c:v>
                </c:pt>
                <c:pt idx="27899">
                  <c:v>323648325</c:v>
                </c:pt>
                <c:pt idx="27900">
                  <c:v>408723007</c:v>
                </c:pt>
                <c:pt idx="27901">
                  <c:v>1454855244</c:v>
                </c:pt>
                <c:pt idx="27902">
                  <c:v>57778852</c:v>
                </c:pt>
                <c:pt idx="27903">
                  <c:v>97692340</c:v>
                </c:pt>
                <c:pt idx="27904">
                  <c:v>275041834</c:v>
                </c:pt>
                <c:pt idx="27905">
                  <c:v>369178000</c:v>
                </c:pt>
                <c:pt idx="27906">
                  <c:v>11804202</c:v>
                </c:pt>
                <c:pt idx="27907">
                  <c:v>5260804</c:v>
                </c:pt>
                <c:pt idx="27908">
                  <c:v>243156606</c:v>
                </c:pt>
                <c:pt idx="27909">
                  <c:v>309171762</c:v>
                </c:pt>
                <c:pt idx="27910">
                  <c:v>12801900</c:v>
                </c:pt>
                <c:pt idx="27911">
                  <c:v>611806390</c:v>
                </c:pt>
                <c:pt idx="27912">
                  <c:v>1642557245</c:v>
                </c:pt>
                <c:pt idx="27913">
                  <c:v>2147483647</c:v>
                </c:pt>
                <c:pt idx="27914">
                  <c:v>2025948394</c:v>
                </c:pt>
                <c:pt idx="27915">
                  <c:v>2147483647</c:v>
                </c:pt>
                <c:pt idx="27916">
                  <c:v>2147483647</c:v>
                </c:pt>
                <c:pt idx="27917">
                  <c:v>1935604362</c:v>
                </c:pt>
                <c:pt idx="27918">
                  <c:v>901616379</c:v>
                </c:pt>
                <c:pt idx="27919">
                  <c:v>377254473</c:v>
                </c:pt>
                <c:pt idx="27920">
                  <c:v>446556861</c:v>
                </c:pt>
                <c:pt idx="27921">
                  <c:v>599157728</c:v>
                </c:pt>
                <c:pt idx="27922">
                  <c:v>1105046444</c:v>
                </c:pt>
                <c:pt idx="27923">
                  <c:v>426250326</c:v>
                </c:pt>
                <c:pt idx="27924">
                  <c:v>1361488248</c:v>
                </c:pt>
                <c:pt idx="27925">
                  <c:v>1145463072</c:v>
                </c:pt>
                <c:pt idx="27926">
                  <c:v>1023605375</c:v>
                </c:pt>
                <c:pt idx="27927">
                  <c:v>1212945525</c:v>
                </c:pt>
                <c:pt idx="27928">
                  <c:v>1392173459</c:v>
                </c:pt>
                <c:pt idx="27929">
                  <c:v>1677459000</c:v>
                </c:pt>
                <c:pt idx="27930">
                  <c:v>525176496</c:v>
                </c:pt>
                <c:pt idx="27931">
                  <c:v>1046522988</c:v>
                </c:pt>
                <c:pt idx="27932">
                  <c:v>1404852065</c:v>
                </c:pt>
                <c:pt idx="27933">
                  <c:v>619484445</c:v>
                </c:pt>
                <c:pt idx="27934">
                  <c:v>1471273215</c:v>
                </c:pt>
                <c:pt idx="27935">
                  <c:v>1040134473</c:v>
                </c:pt>
                <c:pt idx="27936">
                  <c:v>37508168</c:v>
                </c:pt>
                <c:pt idx="27937">
                  <c:v>2147483647</c:v>
                </c:pt>
                <c:pt idx="27938">
                  <c:v>235384929</c:v>
                </c:pt>
                <c:pt idx="27939">
                  <c:v>1467419268</c:v>
                </c:pt>
                <c:pt idx="27940">
                  <c:v>1193456484</c:v>
                </c:pt>
                <c:pt idx="27941">
                  <c:v>1851480490</c:v>
                </c:pt>
                <c:pt idx="27942">
                  <c:v>19843942</c:v>
                </c:pt>
                <c:pt idx="27943">
                  <c:v>853978741</c:v>
                </c:pt>
                <c:pt idx="27944">
                  <c:v>595218575</c:v>
                </c:pt>
                <c:pt idx="27945">
                  <c:v>790606868</c:v>
                </c:pt>
                <c:pt idx="27946">
                  <c:v>1470322820</c:v>
                </c:pt>
                <c:pt idx="27947">
                  <c:v>1586091087</c:v>
                </c:pt>
                <c:pt idx="27948">
                  <c:v>895980375</c:v>
                </c:pt>
                <c:pt idx="27949">
                  <c:v>120224248</c:v>
                </c:pt>
                <c:pt idx="27950">
                  <c:v>4311648</c:v>
                </c:pt>
                <c:pt idx="27951">
                  <c:v>23043642</c:v>
                </c:pt>
                <c:pt idx="27952">
                  <c:v>24845778</c:v>
                </c:pt>
                <c:pt idx="27953">
                  <c:v>115450677</c:v>
                </c:pt>
                <c:pt idx="27954">
                  <c:v>73145640</c:v>
                </c:pt>
                <c:pt idx="27955">
                  <c:v>17848015</c:v>
                </c:pt>
                <c:pt idx="27956">
                  <c:v>1347635190</c:v>
                </c:pt>
                <c:pt idx="27957">
                  <c:v>1417167870</c:v>
                </c:pt>
                <c:pt idx="27958">
                  <c:v>220052604</c:v>
                </c:pt>
                <c:pt idx="27959">
                  <c:v>155016576</c:v>
                </c:pt>
                <c:pt idx="27960">
                  <c:v>10320840</c:v>
                </c:pt>
                <c:pt idx="27961">
                  <c:v>174857608</c:v>
                </c:pt>
                <c:pt idx="27962">
                  <c:v>24040510</c:v>
                </c:pt>
                <c:pt idx="27963">
                  <c:v>939749440</c:v>
                </c:pt>
                <c:pt idx="27964">
                  <c:v>323548904</c:v>
                </c:pt>
                <c:pt idx="27965">
                  <c:v>44202106</c:v>
                </c:pt>
                <c:pt idx="27966">
                  <c:v>312168058</c:v>
                </c:pt>
                <c:pt idx="27967">
                  <c:v>850446354</c:v>
                </c:pt>
                <c:pt idx="27968">
                  <c:v>49685746</c:v>
                </c:pt>
                <c:pt idx="27969">
                  <c:v>258115348</c:v>
                </c:pt>
                <c:pt idx="27970">
                  <c:v>304564791</c:v>
                </c:pt>
                <c:pt idx="27971">
                  <c:v>39358917</c:v>
                </c:pt>
                <c:pt idx="27972">
                  <c:v>27145680</c:v>
                </c:pt>
                <c:pt idx="27973">
                  <c:v>770103549</c:v>
                </c:pt>
                <c:pt idx="27974">
                  <c:v>15844884</c:v>
                </c:pt>
                <c:pt idx="27975">
                  <c:v>807014492</c:v>
                </c:pt>
                <c:pt idx="27976">
                  <c:v>38370264</c:v>
                </c:pt>
                <c:pt idx="27977">
                  <c:v>404542080</c:v>
                </c:pt>
                <c:pt idx="27978">
                  <c:v>481754232</c:v>
                </c:pt>
                <c:pt idx="27979">
                  <c:v>865657492</c:v>
                </c:pt>
                <c:pt idx="27980">
                  <c:v>29150979</c:v>
                </c:pt>
                <c:pt idx="27981">
                  <c:v>331746354</c:v>
                </c:pt>
                <c:pt idx="27982">
                  <c:v>21948864</c:v>
                </c:pt>
                <c:pt idx="27983">
                  <c:v>173993820</c:v>
                </c:pt>
                <c:pt idx="27984">
                  <c:v>1597108050</c:v>
                </c:pt>
                <c:pt idx="27985">
                  <c:v>48177080</c:v>
                </c:pt>
                <c:pt idx="27986">
                  <c:v>56096768</c:v>
                </c:pt>
                <c:pt idx="27987">
                  <c:v>10479596</c:v>
                </c:pt>
                <c:pt idx="27988">
                  <c:v>104386300</c:v>
                </c:pt>
                <c:pt idx="27989">
                  <c:v>178306300</c:v>
                </c:pt>
                <c:pt idx="27990">
                  <c:v>196972710</c:v>
                </c:pt>
                <c:pt idx="27991">
                  <c:v>1136980395</c:v>
                </c:pt>
                <c:pt idx="27992">
                  <c:v>1370670105</c:v>
                </c:pt>
                <c:pt idx="27993">
                  <c:v>1210669902</c:v>
                </c:pt>
                <c:pt idx="27994">
                  <c:v>1108043040</c:v>
                </c:pt>
                <c:pt idx="27995">
                  <c:v>1495341500</c:v>
                </c:pt>
                <c:pt idx="27996">
                  <c:v>11148408</c:v>
                </c:pt>
                <c:pt idx="27997">
                  <c:v>653207085</c:v>
                </c:pt>
                <c:pt idx="27998">
                  <c:v>38950884</c:v>
                </c:pt>
                <c:pt idx="27999">
                  <c:v>9327318</c:v>
                </c:pt>
                <c:pt idx="28000">
                  <c:v>105835200</c:v>
                </c:pt>
                <c:pt idx="28001">
                  <c:v>4777332</c:v>
                </c:pt>
                <c:pt idx="28002">
                  <c:v>259402500</c:v>
                </c:pt>
                <c:pt idx="28003">
                  <c:v>118813695</c:v>
                </c:pt>
                <c:pt idx="28004">
                  <c:v>326897967</c:v>
                </c:pt>
                <c:pt idx="28005">
                  <c:v>517888800</c:v>
                </c:pt>
                <c:pt idx="28006">
                  <c:v>24569888</c:v>
                </c:pt>
                <c:pt idx="28007">
                  <c:v>21876382</c:v>
                </c:pt>
                <c:pt idx="28008">
                  <c:v>49134365</c:v>
                </c:pt>
                <c:pt idx="28009">
                  <c:v>55999400</c:v>
                </c:pt>
                <c:pt idx="28010">
                  <c:v>49678701</c:v>
                </c:pt>
                <c:pt idx="28011">
                  <c:v>4353020</c:v>
                </c:pt>
                <c:pt idx="28012">
                  <c:v>63257005</c:v>
                </c:pt>
                <c:pt idx="28013">
                  <c:v>10009350</c:v>
                </c:pt>
                <c:pt idx="28014">
                  <c:v>10009845</c:v>
                </c:pt>
                <c:pt idx="28015">
                  <c:v>94913483</c:v>
                </c:pt>
                <c:pt idx="28016">
                  <c:v>16120419</c:v>
                </c:pt>
                <c:pt idx="28017">
                  <c:v>19124730</c:v>
                </c:pt>
                <c:pt idx="28018">
                  <c:v>68946675</c:v>
                </c:pt>
                <c:pt idx="28019">
                  <c:v>28355988</c:v>
                </c:pt>
                <c:pt idx="28020">
                  <c:v>46737912</c:v>
                </c:pt>
                <c:pt idx="28021">
                  <c:v>24875233</c:v>
                </c:pt>
                <c:pt idx="28022">
                  <c:v>11917290</c:v>
                </c:pt>
                <c:pt idx="28023">
                  <c:v>38410000</c:v>
                </c:pt>
                <c:pt idx="28024">
                  <c:v>41985476</c:v>
                </c:pt>
                <c:pt idx="28025">
                  <c:v>7901542</c:v>
                </c:pt>
                <c:pt idx="28026">
                  <c:v>119379488</c:v>
                </c:pt>
                <c:pt idx="28027">
                  <c:v>101687330</c:v>
                </c:pt>
                <c:pt idx="28028">
                  <c:v>31010760</c:v>
                </c:pt>
                <c:pt idx="28029">
                  <c:v>13094600</c:v>
                </c:pt>
                <c:pt idx="28030">
                  <c:v>43819980</c:v>
                </c:pt>
                <c:pt idx="28031">
                  <c:v>120660729</c:v>
                </c:pt>
                <c:pt idx="28032">
                  <c:v>15189694</c:v>
                </c:pt>
                <c:pt idx="28033">
                  <c:v>291259640</c:v>
                </c:pt>
                <c:pt idx="28034">
                  <c:v>33154947</c:v>
                </c:pt>
                <c:pt idx="28035">
                  <c:v>245231998</c:v>
                </c:pt>
                <c:pt idx="28036">
                  <c:v>1084077317</c:v>
                </c:pt>
                <c:pt idx="28037">
                  <c:v>12847626</c:v>
                </c:pt>
                <c:pt idx="28038">
                  <c:v>4997418</c:v>
                </c:pt>
                <c:pt idx="28039">
                  <c:v>28457960</c:v>
                </c:pt>
                <c:pt idx="28040">
                  <c:v>169402333</c:v>
                </c:pt>
                <c:pt idx="28041">
                  <c:v>13819498</c:v>
                </c:pt>
                <c:pt idx="28042">
                  <c:v>17200144</c:v>
                </c:pt>
                <c:pt idx="28043">
                  <c:v>7878598</c:v>
                </c:pt>
                <c:pt idx="28044">
                  <c:v>96472620</c:v>
                </c:pt>
                <c:pt idx="28045">
                  <c:v>222384515</c:v>
                </c:pt>
                <c:pt idx="28046">
                  <c:v>31978656</c:v>
                </c:pt>
                <c:pt idx="28047">
                  <c:v>281808065</c:v>
                </c:pt>
                <c:pt idx="28048">
                  <c:v>122049759</c:v>
                </c:pt>
                <c:pt idx="28049">
                  <c:v>66213630</c:v>
                </c:pt>
                <c:pt idx="28050">
                  <c:v>24190440</c:v>
                </c:pt>
                <c:pt idx="28051">
                  <c:v>13288583</c:v>
                </c:pt>
                <c:pt idx="28052">
                  <c:v>17884427</c:v>
                </c:pt>
                <c:pt idx="28053">
                  <c:v>24807294</c:v>
                </c:pt>
                <c:pt idx="28054">
                  <c:v>5243619</c:v>
                </c:pt>
                <c:pt idx="28055">
                  <c:v>105943221</c:v>
                </c:pt>
                <c:pt idx="28056">
                  <c:v>51902473</c:v>
                </c:pt>
                <c:pt idx="28057">
                  <c:v>33310028</c:v>
                </c:pt>
                <c:pt idx="28058">
                  <c:v>110643840</c:v>
                </c:pt>
                <c:pt idx="28059">
                  <c:v>20014750</c:v>
                </c:pt>
                <c:pt idx="28060">
                  <c:v>390450903</c:v>
                </c:pt>
                <c:pt idx="28061">
                  <c:v>43338360</c:v>
                </c:pt>
                <c:pt idx="28062">
                  <c:v>104410109</c:v>
                </c:pt>
                <c:pt idx="28063">
                  <c:v>86590064</c:v>
                </c:pt>
                <c:pt idx="28064">
                  <c:v>44401890</c:v>
                </c:pt>
                <c:pt idx="28065">
                  <c:v>30245006</c:v>
                </c:pt>
                <c:pt idx="28066">
                  <c:v>103750641</c:v>
                </c:pt>
                <c:pt idx="28067">
                  <c:v>164717462</c:v>
                </c:pt>
                <c:pt idx="28068">
                  <c:v>62864034</c:v>
                </c:pt>
                <c:pt idx="28069">
                  <c:v>31191608</c:v>
                </c:pt>
                <c:pt idx="28070">
                  <c:v>1333962511</c:v>
                </c:pt>
                <c:pt idx="28071">
                  <c:v>1170646364</c:v>
                </c:pt>
                <c:pt idx="28072">
                  <c:v>1796491116</c:v>
                </c:pt>
                <c:pt idx="28073">
                  <c:v>69219038</c:v>
                </c:pt>
                <c:pt idx="28074">
                  <c:v>303898725</c:v>
                </c:pt>
                <c:pt idx="28075">
                  <c:v>65906820</c:v>
                </c:pt>
                <c:pt idx="28076">
                  <c:v>2147483647</c:v>
                </c:pt>
                <c:pt idx="28077">
                  <c:v>2067009945</c:v>
                </c:pt>
                <c:pt idx="28078">
                  <c:v>406179808</c:v>
                </c:pt>
                <c:pt idx="28079">
                  <c:v>286774482</c:v>
                </c:pt>
                <c:pt idx="28080">
                  <c:v>26038635</c:v>
                </c:pt>
                <c:pt idx="28081">
                  <c:v>44437974</c:v>
                </c:pt>
                <c:pt idx="28082">
                  <c:v>74727345</c:v>
                </c:pt>
                <c:pt idx="28083">
                  <c:v>143431002</c:v>
                </c:pt>
                <c:pt idx="28084">
                  <c:v>40965694</c:v>
                </c:pt>
                <c:pt idx="28085">
                  <c:v>1607330844</c:v>
                </c:pt>
                <c:pt idx="28086">
                  <c:v>98617025</c:v>
                </c:pt>
                <c:pt idx="28087">
                  <c:v>141983864</c:v>
                </c:pt>
                <c:pt idx="28088">
                  <c:v>107858202</c:v>
                </c:pt>
                <c:pt idx="28089">
                  <c:v>15825345</c:v>
                </c:pt>
                <c:pt idx="28090">
                  <c:v>22668512</c:v>
                </c:pt>
                <c:pt idx="28091">
                  <c:v>58997212</c:v>
                </c:pt>
                <c:pt idx="28092">
                  <c:v>93482514</c:v>
                </c:pt>
                <c:pt idx="28093">
                  <c:v>810301128</c:v>
                </c:pt>
                <c:pt idx="28094">
                  <c:v>2147483647</c:v>
                </c:pt>
                <c:pt idx="28095">
                  <c:v>63677040</c:v>
                </c:pt>
                <c:pt idx="28096">
                  <c:v>256729806</c:v>
                </c:pt>
                <c:pt idx="28097">
                  <c:v>1612778816</c:v>
                </c:pt>
                <c:pt idx="28098">
                  <c:v>195068250</c:v>
                </c:pt>
                <c:pt idx="28099">
                  <c:v>568717380</c:v>
                </c:pt>
                <c:pt idx="28100">
                  <c:v>2147483647</c:v>
                </c:pt>
                <c:pt idx="28101">
                  <c:v>722238540</c:v>
                </c:pt>
                <c:pt idx="28102">
                  <c:v>99854820</c:v>
                </c:pt>
                <c:pt idx="28103">
                  <c:v>524248230</c:v>
                </c:pt>
                <c:pt idx="28104">
                  <c:v>124125274</c:v>
                </c:pt>
                <c:pt idx="28105">
                  <c:v>85683168</c:v>
                </c:pt>
                <c:pt idx="28106">
                  <c:v>1313777356</c:v>
                </c:pt>
                <c:pt idx="28107">
                  <c:v>135015798</c:v>
                </c:pt>
                <c:pt idx="28108">
                  <c:v>136310850</c:v>
                </c:pt>
                <c:pt idx="28109">
                  <c:v>240176587</c:v>
                </c:pt>
                <c:pt idx="28110">
                  <c:v>16779625</c:v>
                </c:pt>
                <c:pt idx="28111">
                  <c:v>102769128</c:v>
                </c:pt>
                <c:pt idx="28112">
                  <c:v>966506976</c:v>
                </c:pt>
                <c:pt idx="28113">
                  <c:v>118782960</c:v>
                </c:pt>
                <c:pt idx="28114">
                  <c:v>104712062</c:v>
                </c:pt>
                <c:pt idx="28115">
                  <c:v>14586000</c:v>
                </c:pt>
                <c:pt idx="28116">
                  <c:v>18447604</c:v>
                </c:pt>
                <c:pt idx="28117">
                  <c:v>492741185</c:v>
                </c:pt>
                <c:pt idx="28118">
                  <c:v>795205389</c:v>
                </c:pt>
                <c:pt idx="28119">
                  <c:v>8066688</c:v>
                </c:pt>
                <c:pt idx="28120">
                  <c:v>141547064</c:v>
                </c:pt>
                <c:pt idx="28121">
                  <c:v>70683030</c:v>
                </c:pt>
                <c:pt idx="28122">
                  <c:v>4195520</c:v>
                </c:pt>
                <c:pt idx="28123">
                  <c:v>39264918</c:v>
                </c:pt>
                <c:pt idx="28124">
                  <c:v>55609180</c:v>
                </c:pt>
                <c:pt idx="28125">
                  <c:v>330962058</c:v>
                </c:pt>
                <c:pt idx="28126">
                  <c:v>109061966</c:v>
                </c:pt>
                <c:pt idx="28127">
                  <c:v>37793601</c:v>
                </c:pt>
                <c:pt idx="28128">
                  <c:v>1453683994</c:v>
                </c:pt>
                <c:pt idx="28129">
                  <c:v>47672658</c:v>
                </c:pt>
                <c:pt idx="28130">
                  <c:v>171988440</c:v>
                </c:pt>
                <c:pt idx="28131">
                  <c:v>1214277528</c:v>
                </c:pt>
                <c:pt idx="28132">
                  <c:v>2147483647</c:v>
                </c:pt>
                <c:pt idx="28133">
                  <c:v>416408104</c:v>
                </c:pt>
                <c:pt idx="28134">
                  <c:v>252156914</c:v>
                </c:pt>
                <c:pt idx="28135">
                  <c:v>1195343632</c:v>
                </c:pt>
                <c:pt idx="28136">
                  <c:v>1060952138</c:v>
                </c:pt>
                <c:pt idx="28137">
                  <c:v>284996024</c:v>
                </c:pt>
                <c:pt idx="28138">
                  <c:v>67802928</c:v>
                </c:pt>
                <c:pt idx="28139">
                  <c:v>2147483647</c:v>
                </c:pt>
                <c:pt idx="28140">
                  <c:v>1337340309</c:v>
                </c:pt>
                <c:pt idx="28141">
                  <c:v>992914895</c:v>
                </c:pt>
                <c:pt idx="28142">
                  <c:v>1337134040</c:v>
                </c:pt>
                <c:pt idx="28143">
                  <c:v>2147483647</c:v>
                </c:pt>
                <c:pt idx="28144">
                  <c:v>2004406092</c:v>
                </c:pt>
                <c:pt idx="28145">
                  <c:v>2017918992</c:v>
                </c:pt>
                <c:pt idx="28146">
                  <c:v>1411322406</c:v>
                </c:pt>
                <c:pt idx="28147">
                  <c:v>1269859800</c:v>
                </c:pt>
                <c:pt idx="28148">
                  <c:v>2147483647</c:v>
                </c:pt>
                <c:pt idx="28149">
                  <c:v>1729745948</c:v>
                </c:pt>
                <c:pt idx="28150">
                  <c:v>1157968579</c:v>
                </c:pt>
                <c:pt idx="28151">
                  <c:v>229441408</c:v>
                </c:pt>
                <c:pt idx="28152">
                  <c:v>984611092</c:v>
                </c:pt>
                <c:pt idx="28153">
                  <c:v>188894871</c:v>
                </c:pt>
                <c:pt idx="28154">
                  <c:v>939172050</c:v>
                </c:pt>
                <c:pt idx="28155">
                  <c:v>1997475895</c:v>
                </c:pt>
                <c:pt idx="28156">
                  <c:v>2147483647</c:v>
                </c:pt>
                <c:pt idx="28157">
                  <c:v>1178006218</c:v>
                </c:pt>
                <c:pt idx="28158">
                  <c:v>356159046</c:v>
                </c:pt>
                <c:pt idx="28159">
                  <c:v>41481584</c:v>
                </c:pt>
                <c:pt idx="28160">
                  <c:v>879981600</c:v>
                </c:pt>
                <c:pt idx="28161">
                  <c:v>54103992</c:v>
                </c:pt>
                <c:pt idx="28162">
                  <c:v>844786878</c:v>
                </c:pt>
                <c:pt idx="28163">
                  <c:v>207355280</c:v>
                </c:pt>
                <c:pt idx="28164">
                  <c:v>114639200</c:v>
                </c:pt>
                <c:pt idx="28165">
                  <c:v>65826108</c:v>
                </c:pt>
                <c:pt idx="28166">
                  <c:v>130087171</c:v>
                </c:pt>
                <c:pt idx="28167">
                  <c:v>34633599</c:v>
                </c:pt>
                <c:pt idx="28168">
                  <c:v>46466294</c:v>
                </c:pt>
                <c:pt idx="28169">
                  <c:v>121971150</c:v>
                </c:pt>
                <c:pt idx="28170">
                  <c:v>314115312</c:v>
                </c:pt>
                <c:pt idx="28171">
                  <c:v>438503364</c:v>
                </c:pt>
                <c:pt idx="28172">
                  <c:v>106752979</c:v>
                </c:pt>
                <c:pt idx="28173">
                  <c:v>515221650</c:v>
                </c:pt>
                <c:pt idx="28174">
                  <c:v>7391048</c:v>
                </c:pt>
                <c:pt idx="28175">
                  <c:v>1054692909</c:v>
                </c:pt>
                <c:pt idx="28176">
                  <c:v>789553352</c:v>
                </c:pt>
                <c:pt idx="28177">
                  <c:v>160352270</c:v>
                </c:pt>
                <c:pt idx="28178">
                  <c:v>1678314352</c:v>
                </c:pt>
                <c:pt idx="28179">
                  <c:v>1593029285</c:v>
                </c:pt>
                <c:pt idx="28180">
                  <c:v>28091018</c:v>
                </c:pt>
                <c:pt idx="28181">
                  <c:v>543353583</c:v>
                </c:pt>
                <c:pt idx="28182">
                  <c:v>13280358</c:v>
                </c:pt>
                <c:pt idx="28183">
                  <c:v>57975722</c:v>
                </c:pt>
                <c:pt idx="28184">
                  <c:v>84667482</c:v>
                </c:pt>
                <c:pt idx="28185">
                  <c:v>110206119</c:v>
                </c:pt>
                <c:pt idx="28186">
                  <c:v>2147483647</c:v>
                </c:pt>
                <c:pt idx="28187">
                  <c:v>245502525</c:v>
                </c:pt>
                <c:pt idx="28188">
                  <c:v>82766640</c:v>
                </c:pt>
                <c:pt idx="28189">
                  <c:v>6490365</c:v>
                </c:pt>
                <c:pt idx="28190">
                  <c:v>496977368</c:v>
                </c:pt>
                <c:pt idx="28191">
                  <c:v>158438212</c:v>
                </c:pt>
                <c:pt idx="28192">
                  <c:v>43562392</c:v>
                </c:pt>
                <c:pt idx="28193">
                  <c:v>696742168</c:v>
                </c:pt>
                <c:pt idx="28194">
                  <c:v>470889188</c:v>
                </c:pt>
                <c:pt idx="28195">
                  <c:v>670496789</c:v>
                </c:pt>
                <c:pt idx="28196">
                  <c:v>651969486</c:v>
                </c:pt>
                <c:pt idx="28197">
                  <c:v>1312971696</c:v>
                </c:pt>
                <c:pt idx="28198">
                  <c:v>49761772</c:v>
                </c:pt>
                <c:pt idx="28199">
                  <c:v>101114768</c:v>
                </c:pt>
                <c:pt idx="28200">
                  <c:v>19694304</c:v>
                </c:pt>
                <c:pt idx="28201">
                  <c:v>74246760</c:v>
                </c:pt>
                <c:pt idx="28202">
                  <c:v>1924267932</c:v>
                </c:pt>
                <c:pt idx="28203">
                  <c:v>1116666345</c:v>
                </c:pt>
                <c:pt idx="28204">
                  <c:v>813952672</c:v>
                </c:pt>
                <c:pt idx="28205">
                  <c:v>795428712</c:v>
                </c:pt>
                <c:pt idx="28206">
                  <c:v>1659692562</c:v>
                </c:pt>
                <c:pt idx="28207">
                  <c:v>1490496057</c:v>
                </c:pt>
                <c:pt idx="28208">
                  <c:v>625536520</c:v>
                </c:pt>
                <c:pt idx="28209">
                  <c:v>139235208</c:v>
                </c:pt>
                <c:pt idx="28210">
                  <c:v>22395776</c:v>
                </c:pt>
                <c:pt idx="28211">
                  <c:v>585769057</c:v>
                </c:pt>
                <c:pt idx="28212">
                  <c:v>221924601</c:v>
                </c:pt>
                <c:pt idx="28213">
                  <c:v>66707081</c:v>
                </c:pt>
                <c:pt idx="28214">
                  <c:v>11821933</c:v>
                </c:pt>
                <c:pt idx="28215">
                  <c:v>27804465</c:v>
                </c:pt>
                <c:pt idx="28216">
                  <c:v>47376875</c:v>
                </c:pt>
                <c:pt idx="28217">
                  <c:v>134810700</c:v>
                </c:pt>
                <c:pt idx="28218">
                  <c:v>43490633</c:v>
                </c:pt>
                <c:pt idx="28219">
                  <c:v>491988105</c:v>
                </c:pt>
                <c:pt idx="28220">
                  <c:v>150875162</c:v>
                </c:pt>
                <c:pt idx="28221">
                  <c:v>145221616</c:v>
                </c:pt>
                <c:pt idx="28222">
                  <c:v>936258250</c:v>
                </c:pt>
                <c:pt idx="28223">
                  <c:v>42142320</c:v>
                </c:pt>
                <c:pt idx="28224">
                  <c:v>18834665</c:v>
                </c:pt>
                <c:pt idx="28225">
                  <c:v>205902623</c:v>
                </c:pt>
                <c:pt idx="28226">
                  <c:v>38756736</c:v>
                </c:pt>
                <c:pt idx="28227">
                  <c:v>1740267552</c:v>
                </c:pt>
                <c:pt idx="28228">
                  <c:v>2147483647</c:v>
                </c:pt>
                <c:pt idx="28229">
                  <c:v>127063926</c:v>
                </c:pt>
                <c:pt idx="28230">
                  <c:v>1198733044</c:v>
                </c:pt>
                <c:pt idx="28231">
                  <c:v>36011630</c:v>
                </c:pt>
                <c:pt idx="28232">
                  <c:v>109531968</c:v>
                </c:pt>
                <c:pt idx="28233">
                  <c:v>1252099440</c:v>
                </c:pt>
                <c:pt idx="28234">
                  <c:v>293405700</c:v>
                </c:pt>
                <c:pt idx="28235">
                  <c:v>35449896</c:v>
                </c:pt>
                <c:pt idx="28236">
                  <c:v>73637812</c:v>
                </c:pt>
                <c:pt idx="28237">
                  <c:v>48746520</c:v>
                </c:pt>
                <c:pt idx="28238">
                  <c:v>360839919</c:v>
                </c:pt>
                <c:pt idx="28239">
                  <c:v>1263091726</c:v>
                </c:pt>
                <c:pt idx="28240">
                  <c:v>378655214</c:v>
                </c:pt>
                <c:pt idx="28241">
                  <c:v>243384617</c:v>
                </c:pt>
                <c:pt idx="28242">
                  <c:v>9901424</c:v>
                </c:pt>
                <c:pt idx="28243">
                  <c:v>131530300</c:v>
                </c:pt>
                <c:pt idx="28244">
                  <c:v>21049420</c:v>
                </c:pt>
                <c:pt idx="28245">
                  <c:v>954866172</c:v>
                </c:pt>
                <c:pt idx="28246">
                  <c:v>2119287950</c:v>
                </c:pt>
                <c:pt idx="28247">
                  <c:v>1136918640</c:v>
                </c:pt>
                <c:pt idx="28248">
                  <c:v>494242320</c:v>
                </c:pt>
                <c:pt idx="28249">
                  <c:v>2047551804</c:v>
                </c:pt>
                <c:pt idx="28250">
                  <c:v>1536844716</c:v>
                </c:pt>
                <c:pt idx="28251">
                  <c:v>867912084</c:v>
                </c:pt>
                <c:pt idx="28252">
                  <c:v>1663590</c:v>
                </c:pt>
                <c:pt idx="28253">
                  <c:v>1652958752</c:v>
                </c:pt>
                <c:pt idx="28254">
                  <c:v>1803329626</c:v>
                </c:pt>
                <c:pt idx="28255">
                  <c:v>1607312454</c:v>
                </c:pt>
                <c:pt idx="28256">
                  <c:v>1547185848</c:v>
                </c:pt>
                <c:pt idx="28257">
                  <c:v>851322105</c:v>
                </c:pt>
                <c:pt idx="28258">
                  <c:v>520624664</c:v>
                </c:pt>
                <c:pt idx="28259">
                  <c:v>1670125080</c:v>
                </c:pt>
                <c:pt idx="28260">
                  <c:v>497343626</c:v>
                </c:pt>
                <c:pt idx="28261">
                  <c:v>2147483647</c:v>
                </c:pt>
                <c:pt idx="28262">
                  <c:v>889199850</c:v>
                </c:pt>
                <c:pt idx="28263">
                  <c:v>995680788</c:v>
                </c:pt>
                <c:pt idx="28264">
                  <c:v>1360349982</c:v>
                </c:pt>
                <c:pt idx="28265">
                  <c:v>2147483647</c:v>
                </c:pt>
                <c:pt idx="28266">
                  <c:v>1734712668</c:v>
                </c:pt>
                <c:pt idx="28267">
                  <c:v>1504210234</c:v>
                </c:pt>
                <c:pt idx="28268">
                  <c:v>370636829</c:v>
                </c:pt>
                <c:pt idx="28269">
                  <c:v>2147483647</c:v>
                </c:pt>
                <c:pt idx="28270">
                  <c:v>1292680950</c:v>
                </c:pt>
                <c:pt idx="28271">
                  <c:v>233324733</c:v>
                </c:pt>
                <c:pt idx="28272">
                  <c:v>797365705</c:v>
                </c:pt>
                <c:pt idx="28273">
                  <c:v>837740313</c:v>
                </c:pt>
                <c:pt idx="28274">
                  <c:v>1019586852</c:v>
                </c:pt>
                <c:pt idx="28275">
                  <c:v>1208618263</c:v>
                </c:pt>
                <c:pt idx="28276">
                  <c:v>1048496295</c:v>
                </c:pt>
                <c:pt idx="28277">
                  <c:v>1196048139</c:v>
                </c:pt>
                <c:pt idx="28278">
                  <c:v>1211442015</c:v>
                </c:pt>
                <c:pt idx="28279">
                  <c:v>1601346656</c:v>
                </c:pt>
                <c:pt idx="28280">
                  <c:v>1248176322</c:v>
                </c:pt>
                <c:pt idx="28281">
                  <c:v>1427941953</c:v>
                </c:pt>
                <c:pt idx="28282">
                  <c:v>991821537</c:v>
                </c:pt>
                <c:pt idx="28283">
                  <c:v>1238183352</c:v>
                </c:pt>
                <c:pt idx="28284">
                  <c:v>756263910</c:v>
                </c:pt>
                <c:pt idx="28285">
                  <c:v>1109145741</c:v>
                </c:pt>
                <c:pt idx="28286">
                  <c:v>995039574</c:v>
                </c:pt>
                <c:pt idx="28287">
                  <c:v>42803379</c:v>
                </c:pt>
                <c:pt idx="28288">
                  <c:v>211027012</c:v>
                </c:pt>
                <c:pt idx="28289">
                  <c:v>31315540</c:v>
                </c:pt>
                <c:pt idx="28290">
                  <c:v>125739386</c:v>
                </c:pt>
                <c:pt idx="28291">
                  <c:v>1673901736</c:v>
                </c:pt>
                <c:pt idx="28292">
                  <c:v>777782494</c:v>
                </c:pt>
                <c:pt idx="28293">
                  <c:v>783207180</c:v>
                </c:pt>
                <c:pt idx="28294">
                  <c:v>128835180</c:v>
                </c:pt>
                <c:pt idx="28295">
                  <c:v>4099716</c:v>
                </c:pt>
                <c:pt idx="28296">
                  <c:v>20218257</c:v>
                </c:pt>
                <c:pt idx="28297">
                  <c:v>43030088</c:v>
                </c:pt>
                <c:pt idx="28298">
                  <c:v>11304040</c:v>
                </c:pt>
                <c:pt idx="28299">
                  <c:v>25647102</c:v>
                </c:pt>
                <c:pt idx="28300">
                  <c:v>24566840</c:v>
                </c:pt>
                <c:pt idx="28301">
                  <c:v>58335480</c:v>
                </c:pt>
                <c:pt idx="28302">
                  <c:v>5375871</c:v>
                </c:pt>
                <c:pt idx="28303">
                  <c:v>248421912</c:v>
                </c:pt>
                <c:pt idx="28304">
                  <c:v>231369576</c:v>
                </c:pt>
                <c:pt idx="28305">
                  <c:v>888145005</c:v>
                </c:pt>
                <c:pt idx="28306">
                  <c:v>7368096</c:v>
                </c:pt>
                <c:pt idx="28307">
                  <c:v>95700055</c:v>
                </c:pt>
                <c:pt idx="28308">
                  <c:v>58867326</c:v>
                </c:pt>
                <c:pt idx="28309">
                  <c:v>311080756</c:v>
                </c:pt>
                <c:pt idx="28310">
                  <c:v>111574097</c:v>
                </c:pt>
                <c:pt idx="28311">
                  <c:v>24480535</c:v>
                </c:pt>
                <c:pt idx="28312">
                  <c:v>325031058</c:v>
                </c:pt>
                <c:pt idx="28313">
                  <c:v>76995981</c:v>
                </c:pt>
                <c:pt idx="28314">
                  <c:v>369089064</c:v>
                </c:pt>
                <c:pt idx="28315">
                  <c:v>87616686</c:v>
                </c:pt>
                <c:pt idx="28316">
                  <c:v>9937080</c:v>
                </c:pt>
                <c:pt idx="28317">
                  <c:v>356426884</c:v>
                </c:pt>
                <c:pt idx="28318">
                  <c:v>26271960</c:v>
                </c:pt>
                <c:pt idx="28319">
                  <c:v>170296368</c:v>
                </c:pt>
                <c:pt idx="28320">
                  <c:v>37221198</c:v>
                </c:pt>
                <c:pt idx="28321">
                  <c:v>42489096</c:v>
                </c:pt>
                <c:pt idx="28322">
                  <c:v>28315078</c:v>
                </c:pt>
                <c:pt idx="28323">
                  <c:v>230824036</c:v>
                </c:pt>
                <c:pt idx="28324">
                  <c:v>69884880</c:v>
                </c:pt>
                <c:pt idx="28325">
                  <c:v>562213050</c:v>
                </c:pt>
                <c:pt idx="28326">
                  <c:v>312280584</c:v>
                </c:pt>
                <c:pt idx="28327">
                  <c:v>134908956</c:v>
                </c:pt>
                <c:pt idx="28328">
                  <c:v>399305244</c:v>
                </c:pt>
                <c:pt idx="28329">
                  <c:v>38618928</c:v>
                </c:pt>
                <c:pt idx="28330">
                  <c:v>60112962</c:v>
                </c:pt>
                <c:pt idx="28331">
                  <c:v>20885568</c:v>
                </c:pt>
                <c:pt idx="28332">
                  <c:v>157402720</c:v>
                </c:pt>
                <c:pt idx="28333">
                  <c:v>207248454</c:v>
                </c:pt>
                <c:pt idx="28334">
                  <c:v>159304620</c:v>
                </c:pt>
                <c:pt idx="28335">
                  <c:v>94421168</c:v>
                </c:pt>
                <c:pt idx="28336">
                  <c:v>1529309313</c:v>
                </c:pt>
                <c:pt idx="28337">
                  <c:v>1437663843</c:v>
                </c:pt>
                <c:pt idx="28338">
                  <c:v>357703659</c:v>
                </c:pt>
                <c:pt idx="28339">
                  <c:v>1108296112</c:v>
                </c:pt>
                <c:pt idx="28340">
                  <c:v>2114940016</c:v>
                </c:pt>
                <c:pt idx="28341">
                  <c:v>739581920</c:v>
                </c:pt>
                <c:pt idx="28342">
                  <c:v>15144580</c:v>
                </c:pt>
                <c:pt idx="28343">
                  <c:v>222586994</c:v>
                </c:pt>
                <c:pt idx="28344">
                  <c:v>21669496</c:v>
                </c:pt>
                <c:pt idx="28345">
                  <c:v>32534775</c:v>
                </c:pt>
                <c:pt idx="28346">
                  <c:v>517924108</c:v>
                </c:pt>
                <c:pt idx="28347">
                  <c:v>25159260</c:v>
                </c:pt>
                <c:pt idx="28348">
                  <c:v>47492216</c:v>
                </c:pt>
                <c:pt idx="28349">
                  <c:v>22353447</c:v>
                </c:pt>
                <c:pt idx="28350">
                  <c:v>850608540</c:v>
                </c:pt>
                <c:pt idx="28351">
                  <c:v>206446483</c:v>
                </c:pt>
                <c:pt idx="28352">
                  <c:v>494947716</c:v>
                </c:pt>
                <c:pt idx="28353">
                  <c:v>358442367</c:v>
                </c:pt>
                <c:pt idx="28354">
                  <c:v>22398156</c:v>
                </c:pt>
                <c:pt idx="28355">
                  <c:v>11336013</c:v>
                </c:pt>
                <c:pt idx="28356">
                  <c:v>64818429</c:v>
                </c:pt>
                <c:pt idx="28357">
                  <c:v>18191784</c:v>
                </c:pt>
                <c:pt idx="28358">
                  <c:v>72668400</c:v>
                </c:pt>
                <c:pt idx="28359">
                  <c:v>22683423</c:v>
                </c:pt>
                <c:pt idx="28360">
                  <c:v>77899336</c:v>
                </c:pt>
                <c:pt idx="28361">
                  <c:v>51556708</c:v>
                </c:pt>
                <c:pt idx="28362">
                  <c:v>543487372</c:v>
                </c:pt>
                <c:pt idx="28363">
                  <c:v>53415582</c:v>
                </c:pt>
                <c:pt idx="28364">
                  <c:v>68405598</c:v>
                </c:pt>
                <c:pt idx="28365">
                  <c:v>199625730</c:v>
                </c:pt>
                <c:pt idx="28366">
                  <c:v>140048940</c:v>
                </c:pt>
                <c:pt idx="28367">
                  <c:v>15161310</c:v>
                </c:pt>
                <c:pt idx="28368">
                  <c:v>533052429</c:v>
                </c:pt>
                <c:pt idx="28369">
                  <c:v>51149064</c:v>
                </c:pt>
                <c:pt idx="28370">
                  <c:v>15917844</c:v>
                </c:pt>
                <c:pt idx="28371">
                  <c:v>58051620</c:v>
                </c:pt>
                <c:pt idx="28372">
                  <c:v>19995714</c:v>
                </c:pt>
                <c:pt idx="28373">
                  <c:v>56131870</c:v>
                </c:pt>
                <c:pt idx="28374">
                  <c:v>89815284</c:v>
                </c:pt>
                <c:pt idx="28375">
                  <c:v>114537456</c:v>
                </c:pt>
                <c:pt idx="28376">
                  <c:v>245521177</c:v>
                </c:pt>
                <c:pt idx="28377">
                  <c:v>117114065</c:v>
                </c:pt>
                <c:pt idx="28378">
                  <c:v>514952000</c:v>
                </c:pt>
                <c:pt idx="28379">
                  <c:v>41059070</c:v>
                </c:pt>
                <c:pt idx="28380">
                  <c:v>122130018</c:v>
                </c:pt>
                <c:pt idx="28381">
                  <c:v>79496608</c:v>
                </c:pt>
                <c:pt idx="28382">
                  <c:v>60744250</c:v>
                </c:pt>
                <c:pt idx="28383">
                  <c:v>22599120</c:v>
                </c:pt>
                <c:pt idx="28384">
                  <c:v>152684190</c:v>
                </c:pt>
                <c:pt idx="28385">
                  <c:v>59186166</c:v>
                </c:pt>
                <c:pt idx="28386">
                  <c:v>514036704</c:v>
                </c:pt>
                <c:pt idx="28387">
                  <c:v>1010006054</c:v>
                </c:pt>
                <c:pt idx="28388">
                  <c:v>7208244</c:v>
                </c:pt>
                <c:pt idx="28389">
                  <c:v>1011039660</c:v>
                </c:pt>
                <c:pt idx="28390">
                  <c:v>1250535089</c:v>
                </c:pt>
                <c:pt idx="28391">
                  <c:v>272675556</c:v>
                </c:pt>
                <c:pt idx="28392">
                  <c:v>9120790</c:v>
                </c:pt>
                <c:pt idx="28393">
                  <c:v>30283125</c:v>
                </c:pt>
                <c:pt idx="28394">
                  <c:v>3790776</c:v>
                </c:pt>
                <c:pt idx="28395">
                  <c:v>28310828</c:v>
                </c:pt>
                <c:pt idx="28396">
                  <c:v>285139460</c:v>
                </c:pt>
                <c:pt idx="28397">
                  <c:v>42208869</c:v>
                </c:pt>
                <c:pt idx="28398">
                  <c:v>42437691</c:v>
                </c:pt>
                <c:pt idx="28399">
                  <c:v>14411204</c:v>
                </c:pt>
                <c:pt idx="28400">
                  <c:v>18979006</c:v>
                </c:pt>
                <c:pt idx="28401">
                  <c:v>12296424</c:v>
                </c:pt>
                <c:pt idx="28402">
                  <c:v>62410062</c:v>
                </c:pt>
                <c:pt idx="28403">
                  <c:v>170701760</c:v>
                </c:pt>
                <c:pt idx="28404">
                  <c:v>39270244</c:v>
                </c:pt>
                <c:pt idx="28405">
                  <c:v>71524860</c:v>
                </c:pt>
                <c:pt idx="28406">
                  <c:v>40379316</c:v>
                </c:pt>
                <c:pt idx="28407">
                  <c:v>1162387007</c:v>
                </c:pt>
                <c:pt idx="28408">
                  <c:v>1045142614</c:v>
                </c:pt>
                <c:pt idx="28409">
                  <c:v>297371646</c:v>
                </c:pt>
                <c:pt idx="28410">
                  <c:v>1766343816</c:v>
                </c:pt>
                <c:pt idx="28411">
                  <c:v>1159024400</c:v>
                </c:pt>
                <c:pt idx="28412">
                  <c:v>14033594</c:v>
                </c:pt>
                <c:pt idx="28413">
                  <c:v>167280367</c:v>
                </c:pt>
                <c:pt idx="28414">
                  <c:v>517512996</c:v>
                </c:pt>
                <c:pt idx="28415">
                  <c:v>164076445</c:v>
                </c:pt>
                <c:pt idx="28416">
                  <c:v>1064655255</c:v>
                </c:pt>
                <c:pt idx="28417">
                  <c:v>1108768568</c:v>
                </c:pt>
                <c:pt idx="28418">
                  <c:v>353633085</c:v>
                </c:pt>
                <c:pt idx="28419">
                  <c:v>75389850</c:v>
                </c:pt>
                <c:pt idx="28420">
                  <c:v>112894771</c:v>
                </c:pt>
                <c:pt idx="28421">
                  <c:v>26647120</c:v>
                </c:pt>
                <c:pt idx="28422">
                  <c:v>244703763</c:v>
                </c:pt>
                <c:pt idx="28423">
                  <c:v>48231480</c:v>
                </c:pt>
                <c:pt idx="28424">
                  <c:v>97737626</c:v>
                </c:pt>
                <c:pt idx="28425">
                  <c:v>229857901</c:v>
                </c:pt>
                <c:pt idx="28426">
                  <c:v>30024463</c:v>
                </c:pt>
                <c:pt idx="28427">
                  <c:v>18476764</c:v>
                </c:pt>
                <c:pt idx="28428">
                  <c:v>62557152</c:v>
                </c:pt>
                <c:pt idx="28429">
                  <c:v>642680948</c:v>
                </c:pt>
                <c:pt idx="28430">
                  <c:v>823354056</c:v>
                </c:pt>
                <c:pt idx="28431">
                  <c:v>85381630</c:v>
                </c:pt>
                <c:pt idx="28432">
                  <c:v>101221455</c:v>
                </c:pt>
                <c:pt idx="28433">
                  <c:v>137046016</c:v>
                </c:pt>
                <c:pt idx="28434">
                  <c:v>40851785</c:v>
                </c:pt>
                <c:pt idx="28435">
                  <c:v>31707675</c:v>
                </c:pt>
                <c:pt idx="28436">
                  <c:v>9425025</c:v>
                </c:pt>
                <c:pt idx="28437">
                  <c:v>10167690</c:v>
                </c:pt>
                <c:pt idx="28438">
                  <c:v>2972528</c:v>
                </c:pt>
                <c:pt idx="28439">
                  <c:v>10935760</c:v>
                </c:pt>
                <c:pt idx="28440">
                  <c:v>35650230</c:v>
                </c:pt>
                <c:pt idx="28441">
                  <c:v>1478372037</c:v>
                </c:pt>
                <c:pt idx="28442">
                  <c:v>2059631207</c:v>
                </c:pt>
                <c:pt idx="28443">
                  <c:v>1949116184</c:v>
                </c:pt>
                <c:pt idx="28444">
                  <c:v>273131544</c:v>
                </c:pt>
                <c:pt idx="28445">
                  <c:v>2669402</c:v>
                </c:pt>
                <c:pt idx="28446">
                  <c:v>90819872</c:v>
                </c:pt>
                <c:pt idx="28447">
                  <c:v>10278390</c:v>
                </c:pt>
                <c:pt idx="28448">
                  <c:v>10185140</c:v>
                </c:pt>
                <c:pt idx="28449">
                  <c:v>101506284</c:v>
                </c:pt>
                <c:pt idx="28450">
                  <c:v>1878502</c:v>
                </c:pt>
                <c:pt idx="28451">
                  <c:v>68976859</c:v>
                </c:pt>
                <c:pt idx="28452">
                  <c:v>327663626</c:v>
                </c:pt>
                <c:pt idx="28453">
                  <c:v>329142440</c:v>
                </c:pt>
                <c:pt idx="28454">
                  <c:v>8187176</c:v>
                </c:pt>
                <c:pt idx="28455">
                  <c:v>175709650</c:v>
                </c:pt>
                <c:pt idx="28456">
                  <c:v>612557520</c:v>
                </c:pt>
                <c:pt idx="28457">
                  <c:v>1329659650</c:v>
                </c:pt>
                <c:pt idx="28458">
                  <c:v>356226120</c:v>
                </c:pt>
                <c:pt idx="28459">
                  <c:v>299633406</c:v>
                </c:pt>
                <c:pt idx="28460">
                  <c:v>57023308</c:v>
                </c:pt>
                <c:pt idx="28461">
                  <c:v>579970639</c:v>
                </c:pt>
                <c:pt idx="28462">
                  <c:v>33672940</c:v>
                </c:pt>
                <c:pt idx="28463">
                  <c:v>24573976</c:v>
                </c:pt>
                <c:pt idx="28464">
                  <c:v>54952064</c:v>
                </c:pt>
                <c:pt idx="28465">
                  <c:v>356038462</c:v>
                </c:pt>
                <c:pt idx="28466">
                  <c:v>123200700</c:v>
                </c:pt>
                <c:pt idx="28467">
                  <c:v>30088674</c:v>
                </c:pt>
                <c:pt idx="28468">
                  <c:v>31056993</c:v>
                </c:pt>
                <c:pt idx="28469">
                  <c:v>60039210</c:v>
                </c:pt>
                <c:pt idx="28470">
                  <c:v>6445575</c:v>
                </c:pt>
                <c:pt idx="28471">
                  <c:v>32996855</c:v>
                </c:pt>
                <c:pt idx="28472">
                  <c:v>73251157</c:v>
                </c:pt>
                <c:pt idx="28473">
                  <c:v>120518235</c:v>
                </c:pt>
                <c:pt idx="28474">
                  <c:v>18493268</c:v>
                </c:pt>
                <c:pt idx="28475">
                  <c:v>23039658</c:v>
                </c:pt>
                <c:pt idx="28476">
                  <c:v>28092082</c:v>
                </c:pt>
                <c:pt idx="28477">
                  <c:v>17633448</c:v>
                </c:pt>
                <c:pt idx="28478">
                  <c:v>71360613</c:v>
                </c:pt>
                <c:pt idx="28479">
                  <c:v>1208896</c:v>
                </c:pt>
                <c:pt idx="28480">
                  <c:v>754975270</c:v>
                </c:pt>
                <c:pt idx="28481">
                  <c:v>11837875</c:v>
                </c:pt>
                <c:pt idx="28482">
                  <c:v>20144180</c:v>
                </c:pt>
                <c:pt idx="28483">
                  <c:v>35376345</c:v>
                </c:pt>
                <c:pt idx="28484">
                  <c:v>92616678</c:v>
                </c:pt>
                <c:pt idx="28485">
                  <c:v>79964634</c:v>
                </c:pt>
                <c:pt idx="28486">
                  <c:v>77897360</c:v>
                </c:pt>
                <c:pt idx="28487">
                  <c:v>5477520</c:v>
                </c:pt>
                <c:pt idx="28488">
                  <c:v>460273677</c:v>
                </c:pt>
                <c:pt idx="28489">
                  <c:v>13600224</c:v>
                </c:pt>
                <c:pt idx="28490">
                  <c:v>13909002</c:v>
                </c:pt>
                <c:pt idx="28491">
                  <c:v>293504547</c:v>
                </c:pt>
                <c:pt idx="28492">
                  <c:v>7920150</c:v>
                </c:pt>
                <c:pt idx="28493">
                  <c:v>44048536</c:v>
                </c:pt>
                <c:pt idx="28494">
                  <c:v>38819130</c:v>
                </c:pt>
                <c:pt idx="28495">
                  <c:v>58259520</c:v>
                </c:pt>
                <c:pt idx="28496">
                  <c:v>23384835</c:v>
                </c:pt>
                <c:pt idx="28497">
                  <c:v>19666542</c:v>
                </c:pt>
                <c:pt idx="28498">
                  <c:v>5770764</c:v>
                </c:pt>
                <c:pt idx="28499">
                  <c:v>8458323</c:v>
                </c:pt>
                <c:pt idx="28500">
                  <c:v>71273478</c:v>
                </c:pt>
                <c:pt idx="28501">
                  <c:v>32035850</c:v>
                </c:pt>
                <c:pt idx="28502">
                  <c:v>127938624</c:v>
                </c:pt>
                <c:pt idx="28503">
                  <c:v>64461091</c:v>
                </c:pt>
                <c:pt idx="28504">
                  <c:v>3716496</c:v>
                </c:pt>
                <c:pt idx="28505">
                  <c:v>40573547</c:v>
                </c:pt>
                <c:pt idx="28506">
                  <c:v>25062700</c:v>
                </c:pt>
                <c:pt idx="28507">
                  <c:v>18358600</c:v>
                </c:pt>
                <c:pt idx="28508">
                  <c:v>8540520</c:v>
                </c:pt>
                <c:pt idx="28509">
                  <c:v>6890469</c:v>
                </c:pt>
                <c:pt idx="28510">
                  <c:v>14023046</c:v>
                </c:pt>
                <c:pt idx="28511">
                  <c:v>10702589</c:v>
                </c:pt>
                <c:pt idx="28512">
                  <c:v>91546210</c:v>
                </c:pt>
                <c:pt idx="28513">
                  <c:v>360480140</c:v>
                </c:pt>
                <c:pt idx="28514">
                  <c:v>105047946</c:v>
                </c:pt>
                <c:pt idx="28515">
                  <c:v>1375848000</c:v>
                </c:pt>
                <c:pt idx="28516">
                  <c:v>1017649524</c:v>
                </c:pt>
                <c:pt idx="28517">
                  <c:v>1509242192</c:v>
                </c:pt>
                <c:pt idx="28518">
                  <c:v>2147483647</c:v>
                </c:pt>
                <c:pt idx="28519">
                  <c:v>1681102104</c:v>
                </c:pt>
                <c:pt idx="28520">
                  <c:v>2147483647</c:v>
                </c:pt>
                <c:pt idx="28521">
                  <c:v>1684039830</c:v>
                </c:pt>
                <c:pt idx="28522">
                  <c:v>1777583325</c:v>
                </c:pt>
                <c:pt idx="28523">
                  <c:v>355716480</c:v>
                </c:pt>
                <c:pt idx="28524">
                  <c:v>1398961647</c:v>
                </c:pt>
                <c:pt idx="28525">
                  <c:v>2147483647</c:v>
                </c:pt>
                <c:pt idx="28526">
                  <c:v>464809100</c:v>
                </c:pt>
                <c:pt idx="28527">
                  <c:v>633773043</c:v>
                </c:pt>
                <c:pt idx="28528">
                  <c:v>1397398808</c:v>
                </c:pt>
                <c:pt idx="28529">
                  <c:v>2015170423</c:v>
                </c:pt>
                <c:pt idx="28530">
                  <c:v>1073983833</c:v>
                </c:pt>
                <c:pt idx="28531">
                  <c:v>1918469096</c:v>
                </c:pt>
                <c:pt idx="28532">
                  <c:v>311480832</c:v>
                </c:pt>
                <c:pt idx="28533">
                  <c:v>2067313269</c:v>
                </c:pt>
                <c:pt idx="28534">
                  <c:v>1974191200</c:v>
                </c:pt>
                <c:pt idx="28535">
                  <c:v>1437054674</c:v>
                </c:pt>
                <c:pt idx="28536">
                  <c:v>2147483647</c:v>
                </c:pt>
                <c:pt idx="28537">
                  <c:v>1215380958</c:v>
                </c:pt>
                <c:pt idx="28538">
                  <c:v>1514822472</c:v>
                </c:pt>
                <c:pt idx="28539">
                  <c:v>1302930660</c:v>
                </c:pt>
                <c:pt idx="28540">
                  <c:v>2147483647</c:v>
                </c:pt>
                <c:pt idx="28541">
                  <c:v>2147483647</c:v>
                </c:pt>
                <c:pt idx="28542">
                  <c:v>1683929235</c:v>
                </c:pt>
                <c:pt idx="28543">
                  <c:v>1102914740</c:v>
                </c:pt>
                <c:pt idx="28544">
                  <c:v>1827185500</c:v>
                </c:pt>
                <c:pt idx="28545">
                  <c:v>2147483647</c:v>
                </c:pt>
                <c:pt idx="28546">
                  <c:v>2147483647</c:v>
                </c:pt>
                <c:pt idx="28547">
                  <c:v>918267432</c:v>
                </c:pt>
                <c:pt idx="28548">
                  <c:v>881416304</c:v>
                </c:pt>
                <c:pt idx="28549">
                  <c:v>201073170</c:v>
                </c:pt>
                <c:pt idx="28550">
                  <c:v>163934160</c:v>
                </c:pt>
                <c:pt idx="28551">
                  <c:v>2147483647</c:v>
                </c:pt>
                <c:pt idx="28552">
                  <c:v>1929066808</c:v>
                </c:pt>
                <c:pt idx="28553">
                  <c:v>910553625</c:v>
                </c:pt>
                <c:pt idx="28554">
                  <c:v>1848171590</c:v>
                </c:pt>
                <c:pt idx="28555">
                  <c:v>535899452</c:v>
                </c:pt>
                <c:pt idx="28556">
                  <c:v>1805169303</c:v>
                </c:pt>
                <c:pt idx="28557">
                  <c:v>2147483647</c:v>
                </c:pt>
                <c:pt idx="28558">
                  <c:v>965156400</c:v>
                </c:pt>
                <c:pt idx="28559">
                  <c:v>37479455</c:v>
                </c:pt>
                <c:pt idx="28560">
                  <c:v>612409197</c:v>
                </c:pt>
                <c:pt idx="28561">
                  <c:v>1746822104</c:v>
                </c:pt>
                <c:pt idx="28562">
                  <c:v>2147483647</c:v>
                </c:pt>
                <c:pt idx="28563">
                  <c:v>2147483647</c:v>
                </c:pt>
                <c:pt idx="28564">
                  <c:v>1087526788</c:v>
                </c:pt>
                <c:pt idx="28565">
                  <c:v>1572060986</c:v>
                </c:pt>
                <c:pt idx="28566">
                  <c:v>2122246340</c:v>
                </c:pt>
                <c:pt idx="28567">
                  <c:v>1313441519</c:v>
                </c:pt>
                <c:pt idx="28568">
                  <c:v>2147483647</c:v>
                </c:pt>
                <c:pt idx="28569">
                  <c:v>2147483647</c:v>
                </c:pt>
                <c:pt idx="28570">
                  <c:v>756138488</c:v>
                </c:pt>
                <c:pt idx="28571">
                  <c:v>2147483647</c:v>
                </c:pt>
                <c:pt idx="28572">
                  <c:v>1209754158</c:v>
                </c:pt>
                <c:pt idx="28573">
                  <c:v>2147483647</c:v>
                </c:pt>
                <c:pt idx="28574">
                  <c:v>925289796</c:v>
                </c:pt>
                <c:pt idx="28575">
                  <c:v>2147483647</c:v>
                </c:pt>
                <c:pt idx="28576">
                  <c:v>1898625536</c:v>
                </c:pt>
                <c:pt idx="28577">
                  <c:v>2147483647</c:v>
                </c:pt>
                <c:pt idx="28578">
                  <c:v>2147483647</c:v>
                </c:pt>
                <c:pt idx="28579">
                  <c:v>2041736816</c:v>
                </c:pt>
                <c:pt idx="28580">
                  <c:v>2147483647</c:v>
                </c:pt>
                <c:pt idx="28581">
                  <c:v>2147483647</c:v>
                </c:pt>
                <c:pt idx="28582">
                  <c:v>2147483647</c:v>
                </c:pt>
                <c:pt idx="28583">
                  <c:v>2083188726</c:v>
                </c:pt>
                <c:pt idx="28584">
                  <c:v>2147483647</c:v>
                </c:pt>
                <c:pt idx="28585">
                  <c:v>2147483647</c:v>
                </c:pt>
                <c:pt idx="28586">
                  <c:v>1258503064</c:v>
                </c:pt>
                <c:pt idx="28587">
                  <c:v>2147483647</c:v>
                </c:pt>
                <c:pt idx="28588">
                  <c:v>21437916</c:v>
                </c:pt>
                <c:pt idx="28589">
                  <c:v>1211506434</c:v>
                </c:pt>
                <c:pt idx="28590">
                  <c:v>2025243235</c:v>
                </c:pt>
                <c:pt idx="28591">
                  <c:v>1184499498</c:v>
                </c:pt>
                <c:pt idx="28592">
                  <c:v>413280928</c:v>
                </c:pt>
                <c:pt idx="28593">
                  <c:v>1842013040</c:v>
                </c:pt>
                <c:pt idx="28594">
                  <c:v>1220942534</c:v>
                </c:pt>
                <c:pt idx="28595">
                  <c:v>1099140120</c:v>
                </c:pt>
                <c:pt idx="28596">
                  <c:v>1376790632</c:v>
                </c:pt>
                <c:pt idx="28597">
                  <c:v>1117881459</c:v>
                </c:pt>
                <c:pt idx="28598">
                  <c:v>1020452796</c:v>
                </c:pt>
                <c:pt idx="28599">
                  <c:v>1356950640</c:v>
                </c:pt>
                <c:pt idx="28600">
                  <c:v>1869894950</c:v>
                </c:pt>
                <c:pt idx="28601">
                  <c:v>1094322196</c:v>
                </c:pt>
                <c:pt idx="28602">
                  <c:v>1395176296</c:v>
                </c:pt>
                <c:pt idx="28603">
                  <c:v>1261106700</c:v>
                </c:pt>
                <c:pt idx="28604">
                  <c:v>2147483647</c:v>
                </c:pt>
                <c:pt idx="28605">
                  <c:v>21150767</c:v>
                </c:pt>
                <c:pt idx="28606">
                  <c:v>1100582925</c:v>
                </c:pt>
                <c:pt idx="28607">
                  <c:v>1875429059</c:v>
                </c:pt>
                <c:pt idx="28608">
                  <c:v>7280454</c:v>
                </c:pt>
                <c:pt idx="28609">
                  <c:v>1659658805</c:v>
                </c:pt>
                <c:pt idx="28610">
                  <c:v>1732024100</c:v>
                </c:pt>
                <c:pt idx="28611">
                  <c:v>1369764936</c:v>
                </c:pt>
                <c:pt idx="28612">
                  <c:v>706810194</c:v>
                </c:pt>
                <c:pt idx="28613">
                  <c:v>185247720</c:v>
                </c:pt>
                <c:pt idx="28614">
                  <c:v>576292232</c:v>
                </c:pt>
                <c:pt idx="28615">
                  <c:v>7569072</c:v>
                </c:pt>
                <c:pt idx="28616">
                  <c:v>270716544</c:v>
                </c:pt>
                <c:pt idx="28617">
                  <c:v>140924280</c:v>
                </c:pt>
                <c:pt idx="28618">
                  <c:v>313018552</c:v>
                </c:pt>
                <c:pt idx="28619">
                  <c:v>134579357</c:v>
                </c:pt>
                <c:pt idx="28620">
                  <c:v>55364988</c:v>
                </c:pt>
                <c:pt idx="28621">
                  <c:v>18832455</c:v>
                </c:pt>
                <c:pt idx="28622">
                  <c:v>105312190</c:v>
                </c:pt>
                <c:pt idx="28623">
                  <c:v>214175862</c:v>
                </c:pt>
                <c:pt idx="28624">
                  <c:v>231409156</c:v>
                </c:pt>
                <c:pt idx="28625">
                  <c:v>904143024</c:v>
                </c:pt>
                <c:pt idx="28626">
                  <c:v>254346561</c:v>
                </c:pt>
                <c:pt idx="28627">
                  <c:v>484367554</c:v>
                </c:pt>
                <c:pt idx="28628">
                  <c:v>149615169</c:v>
                </c:pt>
                <c:pt idx="28629">
                  <c:v>373419693</c:v>
                </c:pt>
                <c:pt idx="28630">
                  <c:v>107040408</c:v>
                </c:pt>
                <c:pt idx="28631">
                  <c:v>9375140</c:v>
                </c:pt>
                <c:pt idx="28632">
                  <c:v>9317644</c:v>
                </c:pt>
                <c:pt idx="28633">
                  <c:v>204737190</c:v>
                </c:pt>
                <c:pt idx="28634">
                  <c:v>2014546668</c:v>
                </c:pt>
                <c:pt idx="28635">
                  <c:v>297370176</c:v>
                </c:pt>
                <c:pt idx="28636">
                  <c:v>135774520</c:v>
                </c:pt>
                <c:pt idx="28637">
                  <c:v>43156800</c:v>
                </c:pt>
                <c:pt idx="28638">
                  <c:v>6674577</c:v>
                </c:pt>
                <c:pt idx="28639">
                  <c:v>788704068</c:v>
                </c:pt>
                <c:pt idx="28640">
                  <c:v>80508660</c:v>
                </c:pt>
                <c:pt idx="28641">
                  <c:v>1937516301</c:v>
                </c:pt>
                <c:pt idx="28642">
                  <c:v>1137940116</c:v>
                </c:pt>
                <c:pt idx="28643">
                  <c:v>1183637147</c:v>
                </c:pt>
                <c:pt idx="28644">
                  <c:v>968358132</c:v>
                </c:pt>
                <c:pt idx="28645">
                  <c:v>719818550</c:v>
                </c:pt>
                <c:pt idx="28646">
                  <c:v>1208041008</c:v>
                </c:pt>
                <c:pt idx="28647">
                  <c:v>40145567</c:v>
                </c:pt>
                <c:pt idx="28648">
                  <c:v>1353544757</c:v>
                </c:pt>
                <c:pt idx="28649">
                  <c:v>33310732</c:v>
                </c:pt>
                <c:pt idx="28650">
                  <c:v>18023032</c:v>
                </c:pt>
                <c:pt idx="28651">
                  <c:v>68885796</c:v>
                </c:pt>
                <c:pt idx="28652">
                  <c:v>821081198</c:v>
                </c:pt>
                <c:pt idx="28653">
                  <c:v>11494664</c:v>
                </c:pt>
                <c:pt idx="28654">
                  <c:v>907830618</c:v>
                </c:pt>
                <c:pt idx="28655">
                  <c:v>7633641</c:v>
                </c:pt>
                <c:pt idx="28656">
                  <c:v>8776040</c:v>
                </c:pt>
                <c:pt idx="28657">
                  <c:v>1908898085</c:v>
                </c:pt>
                <c:pt idx="28658">
                  <c:v>1042956000</c:v>
                </c:pt>
                <c:pt idx="28659">
                  <c:v>210292344</c:v>
                </c:pt>
                <c:pt idx="28660">
                  <c:v>84964980</c:v>
                </c:pt>
                <c:pt idx="28661">
                  <c:v>1533640948</c:v>
                </c:pt>
                <c:pt idx="28662">
                  <c:v>74933967</c:v>
                </c:pt>
                <c:pt idx="28663">
                  <c:v>32975800</c:v>
                </c:pt>
                <c:pt idx="28664">
                  <c:v>716230632</c:v>
                </c:pt>
                <c:pt idx="28665">
                  <c:v>981556950</c:v>
                </c:pt>
                <c:pt idx="28666">
                  <c:v>1120652828</c:v>
                </c:pt>
                <c:pt idx="28667">
                  <c:v>40318626</c:v>
                </c:pt>
                <c:pt idx="28668">
                  <c:v>794704656</c:v>
                </c:pt>
                <c:pt idx="28669">
                  <c:v>29155918</c:v>
                </c:pt>
                <c:pt idx="28670">
                  <c:v>52828976</c:v>
                </c:pt>
                <c:pt idx="28671">
                  <c:v>20845179</c:v>
                </c:pt>
                <c:pt idx="28672">
                  <c:v>484534492</c:v>
                </c:pt>
                <c:pt idx="28673">
                  <c:v>414458940</c:v>
                </c:pt>
                <c:pt idx="28674">
                  <c:v>469530908</c:v>
                </c:pt>
                <c:pt idx="28675">
                  <c:v>143787904</c:v>
                </c:pt>
                <c:pt idx="28676">
                  <c:v>1130884978</c:v>
                </c:pt>
                <c:pt idx="28677">
                  <c:v>256071267</c:v>
                </c:pt>
                <c:pt idx="28678">
                  <c:v>1577780790</c:v>
                </c:pt>
                <c:pt idx="28679">
                  <c:v>17302782</c:v>
                </c:pt>
                <c:pt idx="28680">
                  <c:v>249578060</c:v>
                </c:pt>
                <c:pt idx="28681">
                  <c:v>1166875248</c:v>
                </c:pt>
                <c:pt idx="28682">
                  <c:v>97927698</c:v>
                </c:pt>
                <c:pt idx="28683">
                  <c:v>150703935</c:v>
                </c:pt>
                <c:pt idx="28684">
                  <c:v>63174956</c:v>
                </c:pt>
                <c:pt idx="28685">
                  <c:v>12817440</c:v>
                </c:pt>
                <c:pt idx="28686">
                  <c:v>428659420</c:v>
                </c:pt>
                <c:pt idx="28687">
                  <c:v>168103776</c:v>
                </c:pt>
                <c:pt idx="28688">
                  <c:v>4434216</c:v>
                </c:pt>
                <c:pt idx="28689">
                  <c:v>65430072</c:v>
                </c:pt>
                <c:pt idx="28690">
                  <c:v>306733152</c:v>
                </c:pt>
                <c:pt idx="28691">
                  <c:v>50627003</c:v>
                </c:pt>
                <c:pt idx="28692">
                  <c:v>33525899</c:v>
                </c:pt>
                <c:pt idx="28693">
                  <c:v>48174543</c:v>
                </c:pt>
                <c:pt idx="28694">
                  <c:v>181541580</c:v>
                </c:pt>
                <c:pt idx="28695">
                  <c:v>582591555</c:v>
                </c:pt>
                <c:pt idx="28696">
                  <c:v>16903472</c:v>
                </c:pt>
                <c:pt idx="28697">
                  <c:v>787870020</c:v>
                </c:pt>
                <c:pt idx="28698">
                  <c:v>448499679</c:v>
                </c:pt>
                <c:pt idx="28699">
                  <c:v>242421760</c:v>
                </c:pt>
                <c:pt idx="28700">
                  <c:v>1267039400</c:v>
                </c:pt>
                <c:pt idx="28701">
                  <c:v>1286858232</c:v>
                </c:pt>
                <c:pt idx="28702">
                  <c:v>659623262</c:v>
                </c:pt>
                <c:pt idx="28703">
                  <c:v>1455529449</c:v>
                </c:pt>
                <c:pt idx="28704">
                  <c:v>917795320</c:v>
                </c:pt>
                <c:pt idx="28705">
                  <c:v>1078619568</c:v>
                </c:pt>
                <c:pt idx="28706">
                  <c:v>1092289952</c:v>
                </c:pt>
                <c:pt idx="28707">
                  <c:v>1664511786</c:v>
                </c:pt>
                <c:pt idx="28708">
                  <c:v>1052185680</c:v>
                </c:pt>
                <c:pt idx="28709">
                  <c:v>71129421</c:v>
                </c:pt>
                <c:pt idx="28710">
                  <c:v>49388700</c:v>
                </c:pt>
                <c:pt idx="28711">
                  <c:v>223235145</c:v>
                </c:pt>
                <c:pt idx="28712">
                  <c:v>7447104</c:v>
                </c:pt>
                <c:pt idx="28713">
                  <c:v>1213204692</c:v>
                </c:pt>
                <c:pt idx="28714">
                  <c:v>1050261250</c:v>
                </c:pt>
                <c:pt idx="28715">
                  <c:v>29910027</c:v>
                </c:pt>
                <c:pt idx="28716">
                  <c:v>1679011856</c:v>
                </c:pt>
                <c:pt idx="28717">
                  <c:v>287908632</c:v>
                </c:pt>
                <c:pt idx="28718">
                  <c:v>428174250</c:v>
                </c:pt>
                <c:pt idx="28719">
                  <c:v>2147483647</c:v>
                </c:pt>
                <c:pt idx="28720">
                  <c:v>121005250</c:v>
                </c:pt>
                <c:pt idx="28721">
                  <c:v>65674906</c:v>
                </c:pt>
                <c:pt idx="28722">
                  <c:v>27378264</c:v>
                </c:pt>
                <c:pt idx="28723">
                  <c:v>283428810</c:v>
                </c:pt>
                <c:pt idx="28724">
                  <c:v>422723372</c:v>
                </c:pt>
                <c:pt idx="28725">
                  <c:v>905815680</c:v>
                </c:pt>
                <c:pt idx="28726">
                  <c:v>816392998</c:v>
                </c:pt>
                <c:pt idx="28727">
                  <c:v>1106025606</c:v>
                </c:pt>
                <c:pt idx="28728">
                  <c:v>1149355042</c:v>
                </c:pt>
                <c:pt idx="28729">
                  <c:v>635216499</c:v>
                </c:pt>
                <c:pt idx="28730">
                  <c:v>825603634</c:v>
                </c:pt>
                <c:pt idx="28731">
                  <c:v>322112980</c:v>
                </c:pt>
                <c:pt idx="28732">
                  <c:v>979972000</c:v>
                </c:pt>
                <c:pt idx="28733">
                  <c:v>401799690</c:v>
                </c:pt>
                <c:pt idx="28734">
                  <c:v>259772320</c:v>
                </c:pt>
                <c:pt idx="28735">
                  <c:v>869508444</c:v>
                </c:pt>
                <c:pt idx="28736">
                  <c:v>999947194</c:v>
                </c:pt>
                <c:pt idx="28737">
                  <c:v>511754978</c:v>
                </c:pt>
                <c:pt idx="28738">
                  <c:v>332908158</c:v>
                </c:pt>
                <c:pt idx="28739">
                  <c:v>1250258196</c:v>
                </c:pt>
                <c:pt idx="28740">
                  <c:v>623723796</c:v>
                </c:pt>
                <c:pt idx="28741">
                  <c:v>1093706120</c:v>
                </c:pt>
                <c:pt idx="28742">
                  <c:v>1030137885</c:v>
                </c:pt>
                <c:pt idx="28743">
                  <c:v>1854064080</c:v>
                </c:pt>
                <c:pt idx="28744">
                  <c:v>1458104991</c:v>
                </c:pt>
                <c:pt idx="28745">
                  <c:v>1438206995</c:v>
                </c:pt>
                <c:pt idx="28746">
                  <c:v>789598152</c:v>
                </c:pt>
                <c:pt idx="28747">
                  <c:v>1217115424</c:v>
                </c:pt>
                <c:pt idx="28748">
                  <c:v>1479744612</c:v>
                </c:pt>
                <c:pt idx="28749">
                  <c:v>1113684590</c:v>
                </c:pt>
                <c:pt idx="28750">
                  <c:v>559515216</c:v>
                </c:pt>
                <c:pt idx="28751">
                  <c:v>180967438</c:v>
                </c:pt>
                <c:pt idx="28752">
                  <c:v>4852904</c:v>
                </c:pt>
                <c:pt idx="28753">
                  <c:v>414901496</c:v>
                </c:pt>
                <c:pt idx="28754">
                  <c:v>11452323</c:v>
                </c:pt>
                <c:pt idx="28755">
                  <c:v>702519587</c:v>
                </c:pt>
                <c:pt idx="28756">
                  <c:v>830977702</c:v>
                </c:pt>
                <c:pt idx="28757">
                  <c:v>79186884</c:v>
                </c:pt>
                <c:pt idx="28758">
                  <c:v>16706024</c:v>
                </c:pt>
                <c:pt idx="28759">
                  <c:v>4706195</c:v>
                </c:pt>
                <c:pt idx="28760">
                  <c:v>290525052</c:v>
                </c:pt>
                <c:pt idx="28761">
                  <c:v>15432480</c:v>
                </c:pt>
                <c:pt idx="28762">
                  <c:v>125775078</c:v>
                </c:pt>
                <c:pt idx="28763">
                  <c:v>40836996</c:v>
                </c:pt>
                <c:pt idx="28764">
                  <c:v>70971750</c:v>
                </c:pt>
                <c:pt idx="28765">
                  <c:v>322233408</c:v>
                </c:pt>
                <c:pt idx="28766">
                  <c:v>7483400</c:v>
                </c:pt>
                <c:pt idx="28767">
                  <c:v>96105454</c:v>
                </c:pt>
                <c:pt idx="28768">
                  <c:v>267385074</c:v>
                </c:pt>
                <c:pt idx="28769">
                  <c:v>73750580</c:v>
                </c:pt>
                <c:pt idx="28770">
                  <c:v>6776631</c:v>
                </c:pt>
                <c:pt idx="28771">
                  <c:v>7848252</c:v>
                </c:pt>
                <c:pt idx="28772">
                  <c:v>78387464</c:v>
                </c:pt>
                <c:pt idx="28773">
                  <c:v>217027811</c:v>
                </c:pt>
                <c:pt idx="28774">
                  <c:v>124417016</c:v>
                </c:pt>
                <c:pt idx="28775">
                  <c:v>20624084</c:v>
                </c:pt>
                <c:pt idx="28776">
                  <c:v>3609177</c:v>
                </c:pt>
                <c:pt idx="28777">
                  <c:v>166406856</c:v>
                </c:pt>
                <c:pt idx="28778">
                  <c:v>206277290</c:v>
                </c:pt>
                <c:pt idx="28779">
                  <c:v>462217590</c:v>
                </c:pt>
                <c:pt idx="28780">
                  <c:v>494523965</c:v>
                </c:pt>
                <c:pt idx="28781">
                  <c:v>1091415425</c:v>
                </c:pt>
                <c:pt idx="28782">
                  <c:v>20216950</c:v>
                </c:pt>
                <c:pt idx="28783">
                  <c:v>39034177</c:v>
                </c:pt>
                <c:pt idx="28784">
                  <c:v>17113523</c:v>
                </c:pt>
                <c:pt idx="28785">
                  <c:v>70749392</c:v>
                </c:pt>
                <c:pt idx="28786">
                  <c:v>257884032</c:v>
                </c:pt>
                <c:pt idx="28787">
                  <c:v>21828400</c:v>
                </c:pt>
                <c:pt idx="28788">
                  <c:v>129029241</c:v>
                </c:pt>
                <c:pt idx="28789">
                  <c:v>56171520</c:v>
                </c:pt>
                <c:pt idx="28790">
                  <c:v>28675275</c:v>
                </c:pt>
                <c:pt idx="28791">
                  <c:v>77185124</c:v>
                </c:pt>
                <c:pt idx="28792">
                  <c:v>264809375</c:v>
                </c:pt>
                <c:pt idx="28793">
                  <c:v>860855958</c:v>
                </c:pt>
                <c:pt idx="28794">
                  <c:v>106360140</c:v>
                </c:pt>
                <c:pt idx="28795">
                  <c:v>35516320</c:v>
                </c:pt>
                <c:pt idx="28796">
                  <c:v>1335819898</c:v>
                </c:pt>
                <c:pt idx="28797">
                  <c:v>37320085</c:v>
                </c:pt>
                <c:pt idx="28798">
                  <c:v>458185200</c:v>
                </c:pt>
                <c:pt idx="28799">
                  <c:v>1723611934</c:v>
                </c:pt>
                <c:pt idx="28800">
                  <c:v>89083030</c:v>
                </c:pt>
                <c:pt idx="28801">
                  <c:v>290321733</c:v>
                </c:pt>
                <c:pt idx="28802">
                  <c:v>101250158</c:v>
                </c:pt>
                <c:pt idx="28803">
                  <c:v>20136800</c:v>
                </c:pt>
                <c:pt idx="28804">
                  <c:v>4561480</c:v>
                </c:pt>
                <c:pt idx="28805">
                  <c:v>29904768</c:v>
                </c:pt>
                <c:pt idx="28806">
                  <c:v>18377299</c:v>
                </c:pt>
                <c:pt idx="28807">
                  <c:v>215470080</c:v>
                </c:pt>
                <c:pt idx="28808">
                  <c:v>58292900</c:v>
                </c:pt>
                <c:pt idx="28809">
                  <c:v>300946275</c:v>
                </c:pt>
                <c:pt idx="28810">
                  <c:v>778193899</c:v>
                </c:pt>
                <c:pt idx="28811">
                  <c:v>6974982</c:v>
                </c:pt>
                <c:pt idx="28812">
                  <c:v>336216981</c:v>
                </c:pt>
                <c:pt idx="28813">
                  <c:v>110358968</c:v>
                </c:pt>
                <c:pt idx="28814">
                  <c:v>1568315295</c:v>
                </c:pt>
                <c:pt idx="28815">
                  <c:v>58300668</c:v>
                </c:pt>
                <c:pt idx="28816">
                  <c:v>44815513</c:v>
                </c:pt>
                <c:pt idx="28817">
                  <c:v>37251840</c:v>
                </c:pt>
                <c:pt idx="28818">
                  <c:v>165306925</c:v>
                </c:pt>
                <c:pt idx="28819">
                  <c:v>1017775246</c:v>
                </c:pt>
                <c:pt idx="28820">
                  <c:v>11329143</c:v>
                </c:pt>
                <c:pt idx="28821">
                  <c:v>81148844</c:v>
                </c:pt>
                <c:pt idx="28822">
                  <c:v>104161218</c:v>
                </c:pt>
                <c:pt idx="28823">
                  <c:v>18591522</c:v>
                </c:pt>
                <c:pt idx="28824">
                  <c:v>41614455</c:v>
                </c:pt>
                <c:pt idx="28825">
                  <c:v>60748980</c:v>
                </c:pt>
                <c:pt idx="28826">
                  <c:v>521426652</c:v>
                </c:pt>
                <c:pt idx="28827">
                  <c:v>1699704146</c:v>
                </c:pt>
                <c:pt idx="28828">
                  <c:v>1253759988</c:v>
                </c:pt>
                <c:pt idx="28829">
                  <c:v>536429565</c:v>
                </c:pt>
                <c:pt idx="28830">
                  <c:v>813747011</c:v>
                </c:pt>
                <c:pt idx="28831">
                  <c:v>969424470</c:v>
                </c:pt>
                <c:pt idx="28832">
                  <c:v>1040435382</c:v>
                </c:pt>
                <c:pt idx="28833">
                  <c:v>297894560</c:v>
                </c:pt>
                <c:pt idx="28834">
                  <c:v>9205230</c:v>
                </c:pt>
                <c:pt idx="28835">
                  <c:v>506133265</c:v>
                </c:pt>
                <c:pt idx="28836">
                  <c:v>242274240</c:v>
                </c:pt>
                <c:pt idx="28837">
                  <c:v>2147483647</c:v>
                </c:pt>
                <c:pt idx="28838">
                  <c:v>1325334120</c:v>
                </c:pt>
                <c:pt idx="28839">
                  <c:v>1186144515</c:v>
                </c:pt>
                <c:pt idx="28840">
                  <c:v>1569844090</c:v>
                </c:pt>
                <c:pt idx="28841">
                  <c:v>821576868</c:v>
                </c:pt>
                <c:pt idx="28842">
                  <c:v>1458950100</c:v>
                </c:pt>
                <c:pt idx="28843">
                  <c:v>1206106489</c:v>
                </c:pt>
                <c:pt idx="28844">
                  <c:v>87861928</c:v>
                </c:pt>
                <c:pt idx="28845">
                  <c:v>47101362</c:v>
                </c:pt>
                <c:pt idx="28846">
                  <c:v>28239900</c:v>
                </c:pt>
                <c:pt idx="28847">
                  <c:v>240557560</c:v>
                </c:pt>
                <c:pt idx="28848">
                  <c:v>225047202</c:v>
                </c:pt>
                <c:pt idx="28849">
                  <c:v>4556800</c:v>
                </c:pt>
                <c:pt idx="28850">
                  <c:v>53571782</c:v>
                </c:pt>
                <c:pt idx="28851">
                  <c:v>389018455</c:v>
                </c:pt>
                <c:pt idx="28852">
                  <c:v>3265816</c:v>
                </c:pt>
                <c:pt idx="28853">
                  <c:v>316462336</c:v>
                </c:pt>
                <c:pt idx="28854">
                  <c:v>69955720</c:v>
                </c:pt>
                <c:pt idx="28855">
                  <c:v>11147972</c:v>
                </c:pt>
                <c:pt idx="28856">
                  <c:v>15253230</c:v>
                </c:pt>
                <c:pt idx="28857">
                  <c:v>137135485</c:v>
                </c:pt>
                <c:pt idx="28858">
                  <c:v>3609392</c:v>
                </c:pt>
                <c:pt idx="28859">
                  <c:v>15394830</c:v>
                </c:pt>
                <c:pt idx="28860">
                  <c:v>21694446</c:v>
                </c:pt>
                <c:pt idx="28861">
                  <c:v>1297580156</c:v>
                </c:pt>
                <c:pt idx="28862">
                  <c:v>124881750</c:v>
                </c:pt>
                <c:pt idx="28863">
                  <c:v>215669160</c:v>
                </c:pt>
                <c:pt idx="28864">
                  <c:v>77814336</c:v>
                </c:pt>
                <c:pt idx="28865">
                  <c:v>109814950</c:v>
                </c:pt>
                <c:pt idx="28866">
                  <c:v>6904560</c:v>
                </c:pt>
                <c:pt idx="28867">
                  <c:v>35186404</c:v>
                </c:pt>
                <c:pt idx="28868">
                  <c:v>72483660</c:v>
                </c:pt>
                <c:pt idx="28869">
                  <c:v>280714883</c:v>
                </c:pt>
                <c:pt idx="28870">
                  <c:v>24949050</c:v>
                </c:pt>
                <c:pt idx="28871">
                  <c:v>35711874</c:v>
                </c:pt>
                <c:pt idx="28872">
                  <c:v>131598243</c:v>
                </c:pt>
                <c:pt idx="28873">
                  <c:v>131908441</c:v>
                </c:pt>
                <c:pt idx="28874">
                  <c:v>83442751</c:v>
                </c:pt>
                <c:pt idx="28875">
                  <c:v>77607936</c:v>
                </c:pt>
                <c:pt idx="28876">
                  <c:v>56943540</c:v>
                </c:pt>
                <c:pt idx="28877">
                  <c:v>6619621</c:v>
                </c:pt>
                <c:pt idx="28878">
                  <c:v>113122114</c:v>
                </c:pt>
                <c:pt idx="28879">
                  <c:v>756746100</c:v>
                </c:pt>
                <c:pt idx="28880">
                  <c:v>1066446094</c:v>
                </c:pt>
                <c:pt idx="28881">
                  <c:v>441176620</c:v>
                </c:pt>
                <c:pt idx="28882">
                  <c:v>1312307648</c:v>
                </c:pt>
                <c:pt idx="28883">
                  <c:v>311632408</c:v>
                </c:pt>
                <c:pt idx="28884">
                  <c:v>21583630</c:v>
                </c:pt>
                <c:pt idx="28885">
                  <c:v>33578454</c:v>
                </c:pt>
                <c:pt idx="28886">
                  <c:v>1051045877</c:v>
                </c:pt>
                <c:pt idx="28887">
                  <c:v>294038300</c:v>
                </c:pt>
                <c:pt idx="28888">
                  <c:v>139643136</c:v>
                </c:pt>
                <c:pt idx="28889">
                  <c:v>33997160</c:v>
                </c:pt>
                <c:pt idx="28890">
                  <c:v>35001260</c:v>
                </c:pt>
                <c:pt idx="28891">
                  <c:v>78740054</c:v>
                </c:pt>
                <c:pt idx="28892">
                  <c:v>192160080</c:v>
                </c:pt>
                <c:pt idx="28893">
                  <c:v>135980775</c:v>
                </c:pt>
                <c:pt idx="28894">
                  <c:v>37770713</c:v>
                </c:pt>
                <c:pt idx="28895">
                  <c:v>20043480</c:v>
                </c:pt>
                <c:pt idx="28896">
                  <c:v>24423912</c:v>
                </c:pt>
                <c:pt idx="28897">
                  <c:v>592873347</c:v>
                </c:pt>
                <c:pt idx="28898">
                  <c:v>25475760</c:v>
                </c:pt>
                <c:pt idx="28899">
                  <c:v>442844116</c:v>
                </c:pt>
                <c:pt idx="28900">
                  <c:v>16934632</c:v>
                </c:pt>
                <c:pt idx="28901">
                  <c:v>56749835</c:v>
                </c:pt>
                <c:pt idx="28902">
                  <c:v>227188130</c:v>
                </c:pt>
                <c:pt idx="28903">
                  <c:v>259884440</c:v>
                </c:pt>
                <c:pt idx="28904">
                  <c:v>28234846</c:v>
                </c:pt>
                <c:pt idx="28905">
                  <c:v>186229680</c:v>
                </c:pt>
                <c:pt idx="28906">
                  <c:v>126304310</c:v>
                </c:pt>
                <c:pt idx="28907">
                  <c:v>152961096</c:v>
                </c:pt>
                <c:pt idx="28908">
                  <c:v>647796864</c:v>
                </c:pt>
                <c:pt idx="28909">
                  <c:v>433868002</c:v>
                </c:pt>
                <c:pt idx="28910">
                  <c:v>414905400</c:v>
                </c:pt>
                <c:pt idx="28911">
                  <c:v>18476076</c:v>
                </c:pt>
                <c:pt idx="28912">
                  <c:v>127697076</c:v>
                </c:pt>
                <c:pt idx="28913">
                  <c:v>23135420</c:v>
                </c:pt>
                <c:pt idx="28914">
                  <c:v>28856320</c:v>
                </c:pt>
                <c:pt idx="28915">
                  <c:v>724065252</c:v>
                </c:pt>
                <c:pt idx="28916">
                  <c:v>4579962</c:v>
                </c:pt>
                <c:pt idx="28917">
                  <c:v>6944652</c:v>
                </c:pt>
                <c:pt idx="28918">
                  <c:v>569843750</c:v>
                </c:pt>
                <c:pt idx="28919">
                  <c:v>321771508</c:v>
                </c:pt>
                <c:pt idx="28920">
                  <c:v>261521592</c:v>
                </c:pt>
                <c:pt idx="28921">
                  <c:v>55022726</c:v>
                </c:pt>
                <c:pt idx="28922">
                  <c:v>208688590</c:v>
                </c:pt>
                <c:pt idx="28923">
                  <c:v>320339046</c:v>
                </c:pt>
                <c:pt idx="28924">
                  <c:v>212884861</c:v>
                </c:pt>
                <c:pt idx="28925">
                  <c:v>41047765</c:v>
                </c:pt>
                <c:pt idx="28926">
                  <c:v>25438392</c:v>
                </c:pt>
                <c:pt idx="28927">
                  <c:v>44964350</c:v>
                </c:pt>
                <c:pt idx="28928">
                  <c:v>26038697</c:v>
                </c:pt>
                <c:pt idx="28929">
                  <c:v>24789912</c:v>
                </c:pt>
                <c:pt idx="28930">
                  <c:v>84744562</c:v>
                </c:pt>
                <c:pt idx="28931">
                  <c:v>527156080</c:v>
                </c:pt>
                <c:pt idx="28932">
                  <c:v>3398525</c:v>
                </c:pt>
                <c:pt idx="28933">
                  <c:v>18767035</c:v>
                </c:pt>
                <c:pt idx="28934">
                  <c:v>52502008</c:v>
                </c:pt>
                <c:pt idx="28935">
                  <c:v>17387307</c:v>
                </c:pt>
                <c:pt idx="28936">
                  <c:v>16738800</c:v>
                </c:pt>
                <c:pt idx="28937">
                  <c:v>144705765</c:v>
                </c:pt>
                <c:pt idx="28938">
                  <c:v>43191519</c:v>
                </c:pt>
                <c:pt idx="28939">
                  <c:v>121662050</c:v>
                </c:pt>
                <c:pt idx="28940">
                  <c:v>18152673</c:v>
                </c:pt>
                <c:pt idx="28941">
                  <c:v>361178954</c:v>
                </c:pt>
                <c:pt idx="28942">
                  <c:v>27300300</c:v>
                </c:pt>
                <c:pt idx="28943">
                  <c:v>59569020</c:v>
                </c:pt>
                <c:pt idx="28944">
                  <c:v>17997200</c:v>
                </c:pt>
                <c:pt idx="28945">
                  <c:v>21389512</c:v>
                </c:pt>
                <c:pt idx="28946">
                  <c:v>59956224</c:v>
                </c:pt>
                <c:pt idx="28947">
                  <c:v>8347064</c:v>
                </c:pt>
                <c:pt idx="28948">
                  <c:v>127106960</c:v>
                </c:pt>
                <c:pt idx="28949">
                  <c:v>38834459</c:v>
                </c:pt>
                <c:pt idx="28950">
                  <c:v>7756164</c:v>
                </c:pt>
                <c:pt idx="28951">
                  <c:v>15415270</c:v>
                </c:pt>
                <c:pt idx="28952">
                  <c:v>13375476</c:v>
                </c:pt>
                <c:pt idx="28953">
                  <c:v>10822144</c:v>
                </c:pt>
                <c:pt idx="28954">
                  <c:v>16387560</c:v>
                </c:pt>
                <c:pt idx="28955">
                  <c:v>19309719</c:v>
                </c:pt>
                <c:pt idx="28956">
                  <c:v>3684640</c:v>
                </c:pt>
                <c:pt idx="28957">
                  <c:v>43048800</c:v>
                </c:pt>
                <c:pt idx="28958">
                  <c:v>17367185</c:v>
                </c:pt>
                <c:pt idx="28959">
                  <c:v>11733921</c:v>
                </c:pt>
                <c:pt idx="28960">
                  <c:v>10937914</c:v>
                </c:pt>
                <c:pt idx="28961">
                  <c:v>22019410</c:v>
                </c:pt>
                <c:pt idx="28962">
                  <c:v>28654236</c:v>
                </c:pt>
                <c:pt idx="28963">
                  <c:v>11515240</c:v>
                </c:pt>
                <c:pt idx="28964">
                  <c:v>181657792</c:v>
                </c:pt>
                <c:pt idx="28965">
                  <c:v>18766348</c:v>
                </c:pt>
                <c:pt idx="28966">
                  <c:v>9256716</c:v>
                </c:pt>
                <c:pt idx="28967">
                  <c:v>96104580</c:v>
                </c:pt>
                <c:pt idx="28968">
                  <c:v>3510936</c:v>
                </c:pt>
                <c:pt idx="28969">
                  <c:v>7127754</c:v>
                </c:pt>
                <c:pt idx="28970">
                  <c:v>3002912</c:v>
                </c:pt>
                <c:pt idx="28971">
                  <c:v>12991550</c:v>
                </c:pt>
                <c:pt idx="28972">
                  <c:v>1365696</c:v>
                </c:pt>
                <c:pt idx="28973">
                  <c:v>23171110</c:v>
                </c:pt>
                <c:pt idx="28974">
                  <c:v>284724850</c:v>
                </c:pt>
                <c:pt idx="28975">
                  <c:v>15056275</c:v>
                </c:pt>
                <c:pt idx="28976">
                  <c:v>17097750</c:v>
                </c:pt>
                <c:pt idx="28977">
                  <c:v>43187351</c:v>
                </c:pt>
                <c:pt idx="28978">
                  <c:v>54323052</c:v>
                </c:pt>
                <c:pt idx="28979">
                  <c:v>789540478</c:v>
                </c:pt>
                <c:pt idx="28980">
                  <c:v>94306625</c:v>
                </c:pt>
                <c:pt idx="28981">
                  <c:v>28615023</c:v>
                </c:pt>
                <c:pt idx="28982">
                  <c:v>73147944</c:v>
                </c:pt>
                <c:pt idx="28983">
                  <c:v>30257070</c:v>
                </c:pt>
                <c:pt idx="28984">
                  <c:v>26323362</c:v>
                </c:pt>
                <c:pt idx="28985">
                  <c:v>32933052</c:v>
                </c:pt>
                <c:pt idx="28986">
                  <c:v>9246528</c:v>
                </c:pt>
                <c:pt idx="28987">
                  <c:v>24985176</c:v>
                </c:pt>
                <c:pt idx="28988">
                  <c:v>22499042</c:v>
                </c:pt>
                <c:pt idx="28989">
                  <c:v>62045037</c:v>
                </c:pt>
                <c:pt idx="28990">
                  <c:v>47357256</c:v>
                </c:pt>
                <c:pt idx="28991">
                  <c:v>421954744</c:v>
                </c:pt>
                <c:pt idx="28992">
                  <c:v>483092379</c:v>
                </c:pt>
                <c:pt idx="28993">
                  <c:v>1072472232</c:v>
                </c:pt>
                <c:pt idx="28994">
                  <c:v>254518688</c:v>
                </c:pt>
                <c:pt idx="28995">
                  <c:v>1271613330</c:v>
                </c:pt>
                <c:pt idx="28996">
                  <c:v>1319326974</c:v>
                </c:pt>
                <c:pt idx="28997">
                  <c:v>790252194</c:v>
                </c:pt>
                <c:pt idx="28998">
                  <c:v>2014921224</c:v>
                </c:pt>
                <c:pt idx="28999">
                  <c:v>666931786</c:v>
                </c:pt>
                <c:pt idx="29000">
                  <c:v>801948112</c:v>
                </c:pt>
                <c:pt idx="29001">
                  <c:v>626167282</c:v>
                </c:pt>
                <c:pt idx="29002">
                  <c:v>485200599</c:v>
                </c:pt>
                <c:pt idx="29003">
                  <c:v>1619061459</c:v>
                </c:pt>
                <c:pt idx="29004">
                  <c:v>959154240</c:v>
                </c:pt>
                <c:pt idx="29005">
                  <c:v>2147483647</c:v>
                </c:pt>
                <c:pt idx="29006">
                  <c:v>288801240</c:v>
                </c:pt>
                <c:pt idx="29007">
                  <c:v>139825075</c:v>
                </c:pt>
                <c:pt idx="29008">
                  <c:v>290364669</c:v>
                </c:pt>
                <c:pt idx="29009">
                  <c:v>94689400</c:v>
                </c:pt>
                <c:pt idx="29010">
                  <c:v>153979574</c:v>
                </c:pt>
                <c:pt idx="29011">
                  <c:v>7420568</c:v>
                </c:pt>
                <c:pt idx="29012">
                  <c:v>20115975</c:v>
                </c:pt>
                <c:pt idx="29013">
                  <c:v>3160584</c:v>
                </c:pt>
                <c:pt idx="29014">
                  <c:v>1367386384</c:v>
                </c:pt>
                <c:pt idx="29015">
                  <c:v>1078253514</c:v>
                </c:pt>
                <c:pt idx="29016">
                  <c:v>860205876</c:v>
                </c:pt>
                <c:pt idx="29017">
                  <c:v>14812882</c:v>
                </c:pt>
                <c:pt idx="29018">
                  <c:v>377455318</c:v>
                </c:pt>
                <c:pt idx="29019">
                  <c:v>6442586</c:v>
                </c:pt>
                <c:pt idx="29020">
                  <c:v>7925016</c:v>
                </c:pt>
                <c:pt idx="29021">
                  <c:v>65527652</c:v>
                </c:pt>
                <c:pt idx="29022">
                  <c:v>49652200</c:v>
                </c:pt>
                <c:pt idx="29023">
                  <c:v>171681048</c:v>
                </c:pt>
                <c:pt idx="29024">
                  <c:v>371502568</c:v>
                </c:pt>
                <c:pt idx="29025">
                  <c:v>1677012696</c:v>
                </c:pt>
                <c:pt idx="29026">
                  <c:v>718748075</c:v>
                </c:pt>
                <c:pt idx="29027">
                  <c:v>936387200</c:v>
                </c:pt>
                <c:pt idx="29028">
                  <c:v>10219680</c:v>
                </c:pt>
                <c:pt idx="29029">
                  <c:v>1263408</c:v>
                </c:pt>
                <c:pt idx="29030">
                  <c:v>79539967</c:v>
                </c:pt>
                <c:pt idx="29031">
                  <c:v>6091740</c:v>
                </c:pt>
                <c:pt idx="29032">
                  <c:v>52046982</c:v>
                </c:pt>
                <c:pt idx="29033">
                  <c:v>59280939</c:v>
                </c:pt>
                <c:pt idx="29034">
                  <c:v>1316637468</c:v>
                </c:pt>
                <c:pt idx="29035">
                  <c:v>8019875</c:v>
                </c:pt>
                <c:pt idx="29036">
                  <c:v>53504626</c:v>
                </c:pt>
                <c:pt idx="29037">
                  <c:v>678471385</c:v>
                </c:pt>
                <c:pt idx="29038">
                  <c:v>677287204</c:v>
                </c:pt>
                <c:pt idx="29039">
                  <c:v>1100776867</c:v>
                </c:pt>
                <c:pt idx="29040">
                  <c:v>491513548</c:v>
                </c:pt>
                <c:pt idx="29041">
                  <c:v>1435743740</c:v>
                </c:pt>
                <c:pt idx="29042">
                  <c:v>1616927662</c:v>
                </c:pt>
                <c:pt idx="29043">
                  <c:v>1076146840</c:v>
                </c:pt>
                <c:pt idx="29044">
                  <c:v>944506290</c:v>
                </c:pt>
                <c:pt idx="29045">
                  <c:v>1473269198</c:v>
                </c:pt>
                <c:pt idx="29046">
                  <c:v>803855320</c:v>
                </c:pt>
                <c:pt idx="29047">
                  <c:v>385096460</c:v>
                </c:pt>
                <c:pt idx="29048">
                  <c:v>21562320</c:v>
                </c:pt>
                <c:pt idx="29049">
                  <c:v>5243412</c:v>
                </c:pt>
                <c:pt idx="29050">
                  <c:v>4592000</c:v>
                </c:pt>
                <c:pt idx="29051">
                  <c:v>4588584</c:v>
                </c:pt>
                <c:pt idx="29052">
                  <c:v>2952697</c:v>
                </c:pt>
                <c:pt idx="29053">
                  <c:v>87629300</c:v>
                </c:pt>
                <c:pt idx="29054">
                  <c:v>17882883</c:v>
                </c:pt>
                <c:pt idx="29055">
                  <c:v>235466028</c:v>
                </c:pt>
                <c:pt idx="29056">
                  <c:v>368157504</c:v>
                </c:pt>
                <c:pt idx="29057">
                  <c:v>19545526</c:v>
                </c:pt>
                <c:pt idx="29058">
                  <c:v>8444430</c:v>
                </c:pt>
                <c:pt idx="29059">
                  <c:v>28135302</c:v>
                </c:pt>
                <c:pt idx="29060">
                  <c:v>87146640</c:v>
                </c:pt>
                <c:pt idx="29061">
                  <c:v>74028149</c:v>
                </c:pt>
                <c:pt idx="29062">
                  <c:v>1370771850</c:v>
                </c:pt>
                <c:pt idx="29063">
                  <c:v>10088722</c:v>
                </c:pt>
                <c:pt idx="29064">
                  <c:v>142426875</c:v>
                </c:pt>
                <c:pt idx="29065">
                  <c:v>36561720</c:v>
                </c:pt>
                <c:pt idx="29066">
                  <c:v>373669080</c:v>
                </c:pt>
                <c:pt idx="29067">
                  <c:v>3767726</c:v>
                </c:pt>
                <c:pt idx="29068">
                  <c:v>5485426</c:v>
                </c:pt>
                <c:pt idx="29069">
                  <c:v>2843724</c:v>
                </c:pt>
                <c:pt idx="29070">
                  <c:v>66002976</c:v>
                </c:pt>
                <c:pt idx="29071">
                  <c:v>458441290</c:v>
                </c:pt>
                <c:pt idx="29072">
                  <c:v>26263206</c:v>
                </c:pt>
                <c:pt idx="29073">
                  <c:v>17696160</c:v>
                </c:pt>
                <c:pt idx="29074">
                  <c:v>412078120</c:v>
                </c:pt>
                <c:pt idx="29075">
                  <c:v>689685421</c:v>
                </c:pt>
                <c:pt idx="29076">
                  <c:v>5326561</c:v>
                </c:pt>
                <c:pt idx="29077">
                  <c:v>8547522</c:v>
                </c:pt>
                <c:pt idx="29078">
                  <c:v>12978204</c:v>
                </c:pt>
                <c:pt idx="29079">
                  <c:v>29707776</c:v>
                </c:pt>
                <c:pt idx="29080">
                  <c:v>3386720</c:v>
                </c:pt>
                <c:pt idx="29081">
                  <c:v>3218712</c:v>
                </c:pt>
                <c:pt idx="29082">
                  <c:v>1131041433</c:v>
                </c:pt>
                <c:pt idx="29083">
                  <c:v>905809</c:v>
                </c:pt>
                <c:pt idx="29084">
                  <c:v>1619400</c:v>
                </c:pt>
                <c:pt idx="29085">
                  <c:v>119605365</c:v>
                </c:pt>
                <c:pt idx="29086">
                  <c:v>1560877248</c:v>
                </c:pt>
                <c:pt idx="29087">
                  <c:v>9685830</c:v>
                </c:pt>
                <c:pt idx="29088">
                  <c:v>14505792</c:v>
                </c:pt>
                <c:pt idx="29089">
                  <c:v>38855184</c:v>
                </c:pt>
                <c:pt idx="29090">
                  <c:v>16230838</c:v>
                </c:pt>
                <c:pt idx="29091">
                  <c:v>124594740</c:v>
                </c:pt>
                <c:pt idx="29092">
                  <c:v>753350247</c:v>
                </c:pt>
                <c:pt idx="29093">
                  <c:v>1903800</c:v>
                </c:pt>
                <c:pt idx="29094">
                  <c:v>145849475</c:v>
                </c:pt>
                <c:pt idx="29095">
                  <c:v>47616121</c:v>
                </c:pt>
                <c:pt idx="29096">
                  <c:v>49640640</c:v>
                </c:pt>
                <c:pt idx="29097">
                  <c:v>13566520</c:v>
                </c:pt>
                <c:pt idx="29098">
                  <c:v>9180864</c:v>
                </c:pt>
                <c:pt idx="29099">
                  <c:v>13420408</c:v>
                </c:pt>
                <c:pt idx="29100">
                  <c:v>15154737</c:v>
                </c:pt>
                <c:pt idx="29101">
                  <c:v>81625444</c:v>
                </c:pt>
                <c:pt idx="29102">
                  <c:v>165377615</c:v>
                </c:pt>
                <c:pt idx="29103">
                  <c:v>81814700</c:v>
                </c:pt>
                <c:pt idx="29104">
                  <c:v>17777448</c:v>
                </c:pt>
                <c:pt idx="29105">
                  <c:v>8000852</c:v>
                </c:pt>
                <c:pt idx="29106">
                  <c:v>49000718</c:v>
                </c:pt>
                <c:pt idx="29107">
                  <c:v>606040616</c:v>
                </c:pt>
                <c:pt idx="29108">
                  <c:v>926243525</c:v>
                </c:pt>
                <c:pt idx="29109">
                  <c:v>1186567920</c:v>
                </c:pt>
                <c:pt idx="29110">
                  <c:v>612423438</c:v>
                </c:pt>
                <c:pt idx="29111">
                  <c:v>32580535</c:v>
                </c:pt>
                <c:pt idx="29112">
                  <c:v>5711812</c:v>
                </c:pt>
                <c:pt idx="29113">
                  <c:v>157250175</c:v>
                </c:pt>
                <c:pt idx="29114">
                  <c:v>1247205</c:v>
                </c:pt>
                <c:pt idx="29115">
                  <c:v>3378804</c:v>
                </c:pt>
                <c:pt idx="29116">
                  <c:v>118558899</c:v>
                </c:pt>
                <c:pt idx="29117">
                  <c:v>4393324</c:v>
                </c:pt>
                <c:pt idx="29118">
                  <c:v>12960720</c:v>
                </c:pt>
                <c:pt idx="29119">
                  <c:v>19541592</c:v>
                </c:pt>
                <c:pt idx="29120">
                  <c:v>31373956</c:v>
                </c:pt>
                <c:pt idx="29121">
                  <c:v>4858800</c:v>
                </c:pt>
                <c:pt idx="29122">
                  <c:v>5745224</c:v>
                </c:pt>
                <c:pt idx="29123">
                  <c:v>97648524</c:v>
                </c:pt>
                <c:pt idx="29124">
                  <c:v>4454280</c:v>
                </c:pt>
                <c:pt idx="29125">
                  <c:v>18037635</c:v>
                </c:pt>
                <c:pt idx="29126">
                  <c:v>137671758</c:v>
                </c:pt>
                <c:pt idx="29127">
                  <c:v>6424892</c:v>
                </c:pt>
                <c:pt idx="29128">
                  <c:v>4715800</c:v>
                </c:pt>
                <c:pt idx="29129">
                  <c:v>16906855</c:v>
                </c:pt>
                <c:pt idx="29130">
                  <c:v>3459918</c:v>
                </c:pt>
                <c:pt idx="29131">
                  <c:v>5385800</c:v>
                </c:pt>
                <c:pt idx="29132">
                  <c:v>46477494</c:v>
                </c:pt>
                <c:pt idx="29133">
                  <c:v>12012210</c:v>
                </c:pt>
                <c:pt idx="29134">
                  <c:v>10938875</c:v>
                </c:pt>
                <c:pt idx="29135">
                  <c:v>1321257960</c:v>
                </c:pt>
                <c:pt idx="29136">
                  <c:v>10272824</c:v>
                </c:pt>
                <c:pt idx="29137">
                  <c:v>95065828</c:v>
                </c:pt>
                <c:pt idx="29138">
                  <c:v>17374695</c:v>
                </c:pt>
                <c:pt idx="29139">
                  <c:v>63530430</c:v>
                </c:pt>
                <c:pt idx="29140">
                  <c:v>22379775</c:v>
                </c:pt>
                <c:pt idx="29141">
                  <c:v>10923574</c:v>
                </c:pt>
                <c:pt idx="29142">
                  <c:v>107975182</c:v>
                </c:pt>
                <c:pt idx="29143">
                  <c:v>319441832</c:v>
                </c:pt>
                <c:pt idx="29144">
                  <c:v>32772090</c:v>
                </c:pt>
                <c:pt idx="29145">
                  <c:v>551619084</c:v>
                </c:pt>
                <c:pt idx="29146">
                  <c:v>16017226</c:v>
                </c:pt>
                <c:pt idx="29147">
                  <c:v>61249686</c:v>
                </c:pt>
                <c:pt idx="29148">
                  <c:v>6851746</c:v>
                </c:pt>
                <c:pt idx="29149">
                  <c:v>28761270</c:v>
                </c:pt>
                <c:pt idx="29150">
                  <c:v>32660419</c:v>
                </c:pt>
                <c:pt idx="29151">
                  <c:v>60649556</c:v>
                </c:pt>
              </c:numCache>
            </c:numRef>
          </c:xVal>
          <c:yVal>
            <c:numRef>
              <c:f>Sheet1!$Q$2:$Q$29153</c:f>
              <c:numCache>
                <c:formatCode>General</c:formatCode>
                <c:ptCount val="291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2</c:v>
                </c:pt>
                <c:pt idx="69">
                  <c:v>2</c:v>
                </c:pt>
                <c:pt idx="70">
                  <c:v>0</c:v>
                </c:pt>
                <c:pt idx="71">
                  <c:v>0</c:v>
                </c:pt>
                <c:pt idx="72">
                  <c:v>0</c:v>
                </c:pt>
                <c:pt idx="73">
                  <c:v>0</c:v>
                </c:pt>
                <c:pt idx="74">
                  <c:v>3</c:v>
                </c:pt>
                <c:pt idx="75">
                  <c:v>2</c:v>
                </c:pt>
                <c:pt idx="76">
                  <c:v>0</c:v>
                </c:pt>
                <c:pt idx="77">
                  <c:v>0</c:v>
                </c:pt>
                <c:pt idx="78">
                  <c:v>0</c:v>
                </c:pt>
                <c:pt idx="79">
                  <c:v>0</c:v>
                </c:pt>
                <c:pt idx="80">
                  <c:v>0</c:v>
                </c:pt>
                <c:pt idx="81">
                  <c:v>0</c:v>
                </c:pt>
                <c:pt idx="82">
                  <c:v>0</c:v>
                </c:pt>
                <c:pt idx="83">
                  <c:v>0</c:v>
                </c:pt>
                <c:pt idx="84">
                  <c:v>0</c:v>
                </c:pt>
                <c:pt idx="85">
                  <c:v>0</c:v>
                </c:pt>
                <c:pt idx="86">
                  <c:v>0</c:v>
                </c:pt>
                <c:pt idx="87">
                  <c:v>0</c:v>
                </c:pt>
                <c:pt idx="88">
                  <c:v>0</c:v>
                </c:pt>
                <c:pt idx="89">
                  <c:v>1</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5</c:v>
                </c:pt>
                <c:pt idx="108">
                  <c:v>0</c:v>
                </c:pt>
                <c:pt idx="109">
                  <c:v>6</c:v>
                </c:pt>
                <c:pt idx="110">
                  <c:v>0</c:v>
                </c:pt>
                <c:pt idx="111">
                  <c:v>0</c:v>
                </c:pt>
                <c:pt idx="112">
                  <c:v>0</c:v>
                </c:pt>
                <c:pt idx="113">
                  <c:v>0</c:v>
                </c:pt>
                <c:pt idx="114">
                  <c:v>0</c:v>
                </c:pt>
                <c:pt idx="115">
                  <c:v>0</c:v>
                </c:pt>
                <c:pt idx="116">
                  <c:v>15</c:v>
                </c:pt>
                <c:pt idx="117">
                  <c:v>4</c:v>
                </c:pt>
                <c:pt idx="118">
                  <c:v>0</c:v>
                </c:pt>
                <c:pt idx="119">
                  <c:v>0</c:v>
                </c:pt>
                <c:pt idx="120">
                  <c:v>0</c:v>
                </c:pt>
                <c:pt idx="121">
                  <c:v>0</c:v>
                </c:pt>
                <c:pt idx="122">
                  <c:v>9</c:v>
                </c:pt>
                <c:pt idx="123">
                  <c:v>1</c:v>
                </c:pt>
                <c:pt idx="124">
                  <c:v>0</c:v>
                </c:pt>
                <c:pt idx="125">
                  <c:v>0</c:v>
                </c:pt>
                <c:pt idx="126">
                  <c:v>0</c:v>
                </c:pt>
                <c:pt idx="127">
                  <c:v>0</c:v>
                </c:pt>
                <c:pt idx="128">
                  <c:v>1</c:v>
                </c:pt>
                <c:pt idx="129">
                  <c:v>1</c:v>
                </c:pt>
                <c:pt idx="130">
                  <c:v>0</c:v>
                </c:pt>
                <c:pt idx="131">
                  <c:v>6</c:v>
                </c:pt>
                <c:pt idx="132">
                  <c:v>0</c:v>
                </c:pt>
                <c:pt idx="133">
                  <c:v>0</c:v>
                </c:pt>
                <c:pt idx="134">
                  <c:v>3</c:v>
                </c:pt>
                <c:pt idx="135">
                  <c:v>3</c:v>
                </c:pt>
                <c:pt idx="136">
                  <c:v>2</c:v>
                </c:pt>
                <c:pt idx="137">
                  <c:v>0</c:v>
                </c:pt>
                <c:pt idx="138">
                  <c:v>0</c:v>
                </c:pt>
                <c:pt idx="139">
                  <c:v>2</c:v>
                </c:pt>
                <c:pt idx="140">
                  <c:v>0</c:v>
                </c:pt>
                <c:pt idx="141">
                  <c:v>1</c:v>
                </c:pt>
                <c:pt idx="142">
                  <c:v>1</c:v>
                </c:pt>
                <c:pt idx="143">
                  <c:v>1</c:v>
                </c:pt>
                <c:pt idx="144">
                  <c:v>0</c:v>
                </c:pt>
                <c:pt idx="145">
                  <c:v>1</c:v>
                </c:pt>
                <c:pt idx="146">
                  <c:v>0</c:v>
                </c:pt>
                <c:pt idx="147">
                  <c:v>0</c:v>
                </c:pt>
                <c:pt idx="148">
                  <c:v>0</c:v>
                </c:pt>
                <c:pt idx="149">
                  <c:v>0</c:v>
                </c:pt>
                <c:pt idx="150">
                  <c:v>0</c:v>
                </c:pt>
                <c:pt idx="151">
                  <c:v>0</c:v>
                </c:pt>
                <c:pt idx="152">
                  <c:v>0</c:v>
                </c:pt>
                <c:pt idx="153">
                  <c:v>0</c:v>
                </c:pt>
                <c:pt idx="154">
                  <c:v>2</c:v>
                </c:pt>
                <c:pt idx="155">
                  <c:v>0</c:v>
                </c:pt>
                <c:pt idx="156">
                  <c:v>0</c:v>
                </c:pt>
                <c:pt idx="157">
                  <c:v>0</c:v>
                </c:pt>
                <c:pt idx="158">
                  <c:v>1</c:v>
                </c:pt>
                <c:pt idx="159">
                  <c:v>0</c:v>
                </c:pt>
                <c:pt idx="160">
                  <c:v>0</c:v>
                </c:pt>
                <c:pt idx="161">
                  <c:v>0</c:v>
                </c:pt>
                <c:pt idx="162">
                  <c:v>0</c:v>
                </c:pt>
                <c:pt idx="163">
                  <c:v>0</c:v>
                </c:pt>
                <c:pt idx="164">
                  <c:v>0</c:v>
                </c:pt>
                <c:pt idx="165">
                  <c:v>0</c:v>
                </c:pt>
                <c:pt idx="166">
                  <c:v>2</c:v>
                </c:pt>
                <c:pt idx="167">
                  <c:v>0</c:v>
                </c:pt>
                <c:pt idx="168">
                  <c:v>0</c:v>
                </c:pt>
                <c:pt idx="169">
                  <c:v>0</c:v>
                </c:pt>
                <c:pt idx="170">
                  <c:v>0</c:v>
                </c:pt>
                <c:pt idx="171">
                  <c:v>0</c:v>
                </c:pt>
                <c:pt idx="172">
                  <c:v>0</c:v>
                </c:pt>
                <c:pt idx="173">
                  <c:v>0</c:v>
                </c:pt>
                <c:pt idx="174">
                  <c:v>0</c:v>
                </c:pt>
                <c:pt idx="175">
                  <c:v>5</c:v>
                </c:pt>
                <c:pt idx="176">
                  <c:v>0</c:v>
                </c:pt>
                <c:pt idx="177">
                  <c:v>5</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1</c:v>
                </c:pt>
                <c:pt idx="193">
                  <c:v>0</c:v>
                </c:pt>
                <c:pt idx="194">
                  <c:v>1</c:v>
                </c:pt>
                <c:pt idx="195">
                  <c:v>0</c:v>
                </c:pt>
                <c:pt idx="196">
                  <c:v>0</c:v>
                </c:pt>
                <c:pt idx="197">
                  <c:v>0</c:v>
                </c:pt>
                <c:pt idx="198">
                  <c:v>0</c:v>
                </c:pt>
                <c:pt idx="199">
                  <c:v>0</c:v>
                </c:pt>
                <c:pt idx="200">
                  <c:v>2</c:v>
                </c:pt>
                <c:pt idx="201">
                  <c:v>0</c:v>
                </c:pt>
                <c:pt idx="202">
                  <c:v>0</c:v>
                </c:pt>
                <c:pt idx="203">
                  <c:v>2</c:v>
                </c:pt>
                <c:pt idx="204">
                  <c:v>1</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2</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1</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2</c:v>
                </c:pt>
                <c:pt idx="280">
                  <c:v>1</c:v>
                </c:pt>
                <c:pt idx="281">
                  <c:v>0</c:v>
                </c:pt>
                <c:pt idx="282">
                  <c:v>0</c:v>
                </c:pt>
                <c:pt idx="283">
                  <c:v>0</c:v>
                </c:pt>
                <c:pt idx="284">
                  <c:v>0</c:v>
                </c:pt>
                <c:pt idx="285">
                  <c:v>0</c:v>
                </c:pt>
                <c:pt idx="286">
                  <c:v>0</c:v>
                </c:pt>
                <c:pt idx="287">
                  <c:v>0</c:v>
                </c:pt>
                <c:pt idx="288">
                  <c:v>0</c:v>
                </c:pt>
                <c:pt idx="289">
                  <c:v>1</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3</c:v>
                </c:pt>
                <c:pt idx="318">
                  <c:v>0</c:v>
                </c:pt>
                <c:pt idx="319">
                  <c:v>0</c:v>
                </c:pt>
                <c:pt idx="320">
                  <c:v>0</c:v>
                </c:pt>
                <c:pt idx="321">
                  <c:v>0</c:v>
                </c:pt>
                <c:pt idx="322">
                  <c:v>0</c:v>
                </c:pt>
                <c:pt idx="323">
                  <c:v>0</c:v>
                </c:pt>
                <c:pt idx="324">
                  <c:v>0</c:v>
                </c:pt>
                <c:pt idx="325">
                  <c:v>1</c:v>
                </c:pt>
                <c:pt idx="326">
                  <c:v>0</c:v>
                </c:pt>
                <c:pt idx="327">
                  <c:v>3</c:v>
                </c:pt>
                <c:pt idx="328">
                  <c:v>0</c:v>
                </c:pt>
                <c:pt idx="329">
                  <c:v>0</c:v>
                </c:pt>
                <c:pt idx="330">
                  <c:v>0</c:v>
                </c:pt>
                <c:pt idx="331">
                  <c:v>2</c:v>
                </c:pt>
                <c:pt idx="332">
                  <c:v>0</c:v>
                </c:pt>
                <c:pt idx="333">
                  <c:v>0</c:v>
                </c:pt>
                <c:pt idx="334">
                  <c:v>1</c:v>
                </c:pt>
                <c:pt idx="335">
                  <c:v>2</c:v>
                </c:pt>
                <c:pt idx="336">
                  <c:v>0</c:v>
                </c:pt>
                <c:pt idx="337">
                  <c:v>0</c:v>
                </c:pt>
                <c:pt idx="338">
                  <c:v>0</c:v>
                </c:pt>
                <c:pt idx="339">
                  <c:v>0</c:v>
                </c:pt>
                <c:pt idx="340">
                  <c:v>0</c:v>
                </c:pt>
                <c:pt idx="341">
                  <c:v>0</c:v>
                </c:pt>
                <c:pt idx="342">
                  <c:v>0</c:v>
                </c:pt>
                <c:pt idx="343">
                  <c:v>4</c:v>
                </c:pt>
                <c:pt idx="344">
                  <c:v>1</c:v>
                </c:pt>
                <c:pt idx="345">
                  <c:v>0</c:v>
                </c:pt>
                <c:pt idx="346">
                  <c:v>0</c:v>
                </c:pt>
                <c:pt idx="347">
                  <c:v>1</c:v>
                </c:pt>
                <c:pt idx="348">
                  <c:v>0</c:v>
                </c:pt>
                <c:pt idx="349">
                  <c:v>1</c:v>
                </c:pt>
                <c:pt idx="350">
                  <c:v>0</c:v>
                </c:pt>
                <c:pt idx="351">
                  <c:v>0</c:v>
                </c:pt>
                <c:pt idx="352">
                  <c:v>1</c:v>
                </c:pt>
                <c:pt idx="353">
                  <c:v>0</c:v>
                </c:pt>
                <c:pt idx="354">
                  <c:v>0</c:v>
                </c:pt>
                <c:pt idx="355">
                  <c:v>0</c:v>
                </c:pt>
                <c:pt idx="356">
                  <c:v>2</c:v>
                </c:pt>
                <c:pt idx="357">
                  <c:v>0</c:v>
                </c:pt>
                <c:pt idx="358">
                  <c:v>4</c:v>
                </c:pt>
                <c:pt idx="359">
                  <c:v>0</c:v>
                </c:pt>
                <c:pt idx="360">
                  <c:v>0</c:v>
                </c:pt>
                <c:pt idx="361">
                  <c:v>3</c:v>
                </c:pt>
                <c:pt idx="362">
                  <c:v>4</c:v>
                </c:pt>
                <c:pt idx="363">
                  <c:v>0</c:v>
                </c:pt>
                <c:pt idx="364">
                  <c:v>1</c:v>
                </c:pt>
                <c:pt idx="365">
                  <c:v>0</c:v>
                </c:pt>
                <c:pt idx="366">
                  <c:v>0</c:v>
                </c:pt>
                <c:pt idx="367">
                  <c:v>1</c:v>
                </c:pt>
                <c:pt idx="368">
                  <c:v>0</c:v>
                </c:pt>
                <c:pt idx="369">
                  <c:v>1</c:v>
                </c:pt>
                <c:pt idx="370">
                  <c:v>5</c:v>
                </c:pt>
                <c:pt idx="371">
                  <c:v>3</c:v>
                </c:pt>
                <c:pt idx="372">
                  <c:v>0</c:v>
                </c:pt>
                <c:pt idx="373">
                  <c:v>1</c:v>
                </c:pt>
                <c:pt idx="374">
                  <c:v>1</c:v>
                </c:pt>
                <c:pt idx="375">
                  <c:v>0</c:v>
                </c:pt>
                <c:pt idx="376">
                  <c:v>0</c:v>
                </c:pt>
                <c:pt idx="377">
                  <c:v>3</c:v>
                </c:pt>
                <c:pt idx="378">
                  <c:v>0</c:v>
                </c:pt>
                <c:pt idx="379">
                  <c:v>0</c:v>
                </c:pt>
                <c:pt idx="380">
                  <c:v>0</c:v>
                </c:pt>
                <c:pt idx="381">
                  <c:v>0</c:v>
                </c:pt>
                <c:pt idx="382">
                  <c:v>1</c:v>
                </c:pt>
                <c:pt idx="383">
                  <c:v>2</c:v>
                </c:pt>
                <c:pt idx="384">
                  <c:v>1</c:v>
                </c:pt>
                <c:pt idx="385">
                  <c:v>0</c:v>
                </c:pt>
                <c:pt idx="386">
                  <c:v>2</c:v>
                </c:pt>
                <c:pt idx="387">
                  <c:v>0</c:v>
                </c:pt>
                <c:pt idx="388">
                  <c:v>2</c:v>
                </c:pt>
                <c:pt idx="389">
                  <c:v>0</c:v>
                </c:pt>
                <c:pt idx="390">
                  <c:v>1</c:v>
                </c:pt>
                <c:pt idx="391">
                  <c:v>0</c:v>
                </c:pt>
                <c:pt idx="392">
                  <c:v>1</c:v>
                </c:pt>
                <c:pt idx="393">
                  <c:v>2</c:v>
                </c:pt>
                <c:pt idx="394">
                  <c:v>0</c:v>
                </c:pt>
                <c:pt idx="395">
                  <c:v>0</c:v>
                </c:pt>
                <c:pt idx="396">
                  <c:v>0</c:v>
                </c:pt>
                <c:pt idx="397">
                  <c:v>2</c:v>
                </c:pt>
                <c:pt idx="398">
                  <c:v>2</c:v>
                </c:pt>
                <c:pt idx="399">
                  <c:v>1</c:v>
                </c:pt>
                <c:pt idx="400">
                  <c:v>0</c:v>
                </c:pt>
                <c:pt idx="401">
                  <c:v>0</c:v>
                </c:pt>
                <c:pt idx="402">
                  <c:v>0</c:v>
                </c:pt>
                <c:pt idx="403">
                  <c:v>0</c:v>
                </c:pt>
                <c:pt idx="404">
                  <c:v>4</c:v>
                </c:pt>
                <c:pt idx="405">
                  <c:v>2</c:v>
                </c:pt>
                <c:pt idx="406">
                  <c:v>0</c:v>
                </c:pt>
                <c:pt idx="407">
                  <c:v>0</c:v>
                </c:pt>
                <c:pt idx="408">
                  <c:v>5</c:v>
                </c:pt>
                <c:pt idx="409">
                  <c:v>0</c:v>
                </c:pt>
                <c:pt idx="410">
                  <c:v>0</c:v>
                </c:pt>
                <c:pt idx="411">
                  <c:v>2</c:v>
                </c:pt>
                <c:pt idx="412">
                  <c:v>0</c:v>
                </c:pt>
                <c:pt idx="413">
                  <c:v>2</c:v>
                </c:pt>
                <c:pt idx="414">
                  <c:v>0</c:v>
                </c:pt>
                <c:pt idx="415">
                  <c:v>1</c:v>
                </c:pt>
                <c:pt idx="416">
                  <c:v>0</c:v>
                </c:pt>
                <c:pt idx="417">
                  <c:v>1</c:v>
                </c:pt>
                <c:pt idx="418">
                  <c:v>1</c:v>
                </c:pt>
                <c:pt idx="419">
                  <c:v>1</c:v>
                </c:pt>
                <c:pt idx="420">
                  <c:v>0</c:v>
                </c:pt>
                <c:pt idx="421">
                  <c:v>0</c:v>
                </c:pt>
                <c:pt idx="422">
                  <c:v>6</c:v>
                </c:pt>
                <c:pt idx="423">
                  <c:v>0</c:v>
                </c:pt>
                <c:pt idx="424">
                  <c:v>0</c:v>
                </c:pt>
                <c:pt idx="425">
                  <c:v>0</c:v>
                </c:pt>
                <c:pt idx="426">
                  <c:v>3</c:v>
                </c:pt>
                <c:pt idx="427">
                  <c:v>0</c:v>
                </c:pt>
                <c:pt idx="428">
                  <c:v>0</c:v>
                </c:pt>
                <c:pt idx="429">
                  <c:v>2</c:v>
                </c:pt>
                <c:pt idx="430">
                  <c:v>0</c:v>
                </c:pt>
                <c:pt idx="431">
                  <c:v>0</c:v>
                </c:pt>
                <c:pt idx="432">
                  <c:v>0</c:v>
                </c:pt>
                <c:pt idx="433">
                  <c:v>1</c:v>
                </c:pt>
                <c:pt idx="434">
                  <c:v>2</c:v>
                </c:pt>
                <c:pt idx="435">
                  <c:v>0</c:v>
                </c:pt>
                <c:pt idx="436">
                  <c:v>0</c:v>
                </c:pt>
                <c:pt idx="437">
                  <c:v>2</c:v>
                </c:pt>
                <c:pt idx="438">
                  <c:v>3</c:v>
                </c:pt>
                <c:pt idx="439">
                  <c:v>2</c:v>
                </c:pt>
                <c:pt idx="440">
                  <c:v>0</c:v>
                </c:pt>
                <c:pt idx="441">
                  <c:v>0</c:v>
                </c:pt>
                <c:pt idx="442">
                  <c:v>1</c:v>
                </c:pt>
                <c:pt idx="443">
                  <c:v>4</c:v>
                </c:pt>
                <c:pt idx="444">
                  <c:v>1</c:v>
                </c:pt>
                <c:pt idx="445">
                  <c:v>1</c:v>
                </c:pt>
                <c:pt idx="446">
                  <c:v>0</c:v>
                </c:pt>
                <c:pt idx="447">
                  <c:v>0</c:v>
                </c:pt>
                <c:pt idx="448">
                  <c:v>2</c:v>
                </c:pt>
                <c:pt idx="449">
                  <c:v>1</c:v>
                </c:pt>
                <c:pt idx="450">
                  <c:v>0</c:v>
                </c:pt>
                <c:pt idx="451">
                  <c:v>1</c:v>
                </c:pt>
                <c:pt idx="452">
                  <c:v>0</c:v>
                </c:pt>
                <c:pt idx="453">
                  <c:v>0</c:v>
                </c:pt>
                <c:pt idx="454">
                  <c:v>1</c:v>
                </c:pt>
                <c:pt idx="455">
                  <c:v>3</c:v>
                </c:pt>
                <c:pt idx="456">
                  <c:v>1</c:v>
                </c:pt>
                <c:pt idx="457">
                  <c:v>4</c:v>
                </c:pt>
                <c:pt idx="458">
                  <c:v>1</c:v>
                </c:pt>
                <c:pt idx="459">
                  <c:v>8</c:v>
                </c:pt>
                <c:pt idx="460">
                  <c:v>4</c:v>
                </c:pt>
                <c:pt idx="461">
                  <c:v>0</c:v>
                </c:pt>
                <c:pt idx="462">
                  <c:v>4</c:v>
                </c:pt>
                <c:pt idx="463">
                  <c:v>5</c:v>
                </c:pt>
                <c:pt idx="464">
                  <c:v>9</c:v>
                </c:pt>
                <c:pt idx="465">
                  <c:v>1</c:v>
                </c:pt>
                <c:pt idx="466">
                  <c:v>0</c:v>
                </c:pt>
                <c:pt idx="467">
                  <c:v>0</c:v>
                </c:pt>
                <c:pt idx="468">
                  <c:v>0</c:v>
                </c:pt>
                <c:pt idx="469">
                  <c:v>0</c:v>
                </c:pt>
                <c:pt idx="470">
                  <c:v>0</c:v>
                </c:pt>
                <c:pt idx="471">
                  <c:v>2</c:v>
                </c:pt>
                <c:pt idx="472">
                  <c:v>0</c:v>
                </c:pt>
                <c:pt idx="473">
                  <c:v>1</c:v>
                </c:pt>
                <c:pt idx="474">
                  <c:v>25</c:v>
                </c:pt>
                <c:pt idx="475">
                  <c:v>1</c:v>
                </c:pt>
                <c:pt idx="476">
                  <c:v>0</c:v>
                </c:pt>
                <c:pt idx="477">
                  <c:v>0</c:v>
                </c:pt>
                <c:pt idx="478">
                  <c:v>2</c:v>
                </c:pt>
                <c:pt idx="479">
                  <c:v>3</c:v>
                </c:pt>
                <c:pt idx="480">
                  <c:v>2</c:v>
                </c:pt>
                <c:pt idx="481">
                  <c:v>0</c:v>
                </c:pt>
                <c:pt idx="482">
                  <c:v>5</c:v>
                </c:pt>
                <c:pt idx="483">
                  <c:v>2</c:v>
                </c:pt>
                <c:pt idx="484">
                  <c:v>2</c:v>
                </c:pt>
                <c:pt idx="485">
                  <c:v>2</c:v>
                </c:pt>
                <c:pt idx="486">
                  <c:v>3</c:v>
                </c:pt>
                <c:pt idx="487">
                  <c:v>1</c:v>
                </c:pt>
                <c:pt idx="488">
                  <c:v>1</c:v>
                </c:pt>
                <c:pt idx="489">
                  <c:v>1</c:v>
                </c:pt>
                <c:pt idx="490">
                  <c:v>0</c:v>
                </c:pt>
                <c:pt idx="491">
                  <c:v>2</c:v>
                </c:pt>
                <c:pt idx="492">
                  <c:v>2</c:v>
                </c:pt>
                <c:pt idx="493">
                  <c:v>1</c:v>
                </c:pt>
                <c:pt idx="494">
                  <c:v>0</c:v>
                </c:pt>
                <c:pt idx="495">
                  <c:v>2</c:v>
                </c:pt>
                <c:pt idx="496">
                  <c:v>8</c:v>
                </c:pt>
                <c:pt idx="497">
                  <c:v>0</c:v>
                </c:pt>
                <c:pt idx="498">
                  <c:v>0</c:v>
                </c:pt>
                <c:pt idx="499">
                  <c:v>1</c:v>
                </c:pt>
                <c:pt idx="500">
                  <c:v>0</c:v>
                </c:pt>
                <c:pt idx="501">
                  <c:v>4</c:v>
                </c:pt>
                <c:pt idx="502">
                  <c:v>0</c:v>
                </c:pt>
                <c:pt idx="503">
                  <c:v>0</c:v>
                </c:pt>
                <c:pt idx="504">
                  <c:v>0</c:v>
                </c:pt>
                <c:pt idx="505">
                  <c:v>1</c:v>
                </c:pt>
                <c:pt idx="506">
                  <c:v>0</c:v>
                </c:pt>
                <c:pt idx="507">
                  <c:v>1</c:v>
                </c:pt>
                <c:pt idx="508">
                  <c:v>6</c:v>
                </c:pt>
                <c:pt idx="509">
                  <c:v>12</c:v>
                </c:pt>
                <c:pt idx="510">
                  <c:v>2</c:v>
                </c:pt>
                <c:pt idx="511">
                  <c:v>0</c:v>
                </c:pt>
                <c:pt idx="512">
                  <c:v>0</c:v>
                </c:pt>
                <c:pt idx="513">
                  <c:v>0</c:v>
                </c:pt>
                <c:pt idx="514">
                  <c:v>0</c:v>
                </c:pt>
                <c:pt idx="515">
                  <c:v>1</c:v>
                </c:pt>
                <c:pt idx="516">
                  <c:v>0</c:v>
                </c:pt>
                <c:pt idx="517">
                  <c:v>0</c:v>
                </c:pt>
                <c:pt idx="518">
                  <c:v>3</c:v>
                </c:pt>
                <c:pt idx="519">
                  <c:v>0</c:v>
                </c:pt>
                <c:pt idx="520">
                  <c:v>0</c:v>
                </c:pt>
                <c:pt idx="521">
                  <c:v>0</c:v>
                </c:pt>
                <c:pt idx="522">
                  <c:v>0</c:v>
                </c:pt>
                <c:pt idx="523">
                  <c:v>0</c:v>
                </c:pt>
                <c:pt idx="524">
                  <c:v>1</c:v>
                </c:pt>
                <c:pt idx="525">
                  <c:v>0</c:v>
                </c:pt>
                <c:pt idx="526">
                  <c:v>0</c:v>
                </c:pt>
                <c:pt idx="527">
                  <c:v>0</c:v>
                </c:pt>
                <c:pt idx="528">
                  <c:v>2</c:v>
                </c:pt>
                <c:pt idx="529">
                  <c:v>0</c:v>
                </c:pt>
                <c:pt idx="530">
                  <c:v>0</c:v>
                </c:pt>
                <c:pt idx="531">
                  <c:v>1</c:v>
                </c:pt>
                <c:pt idx="532">
                  <c:v>2</c:v>
                </c:pt>
                <c:pt idx="533">
                  <c:v>0</c:v>
                </c:pt>
                <c:pt idx="534">
                  <c:v>0</c:v>
                </c:pt>
                <c:pt idx="535">
                  <c:v>3</c:v>
                </c:pt>
                <c:pt idx="536">
                  <c:v>3</c:v>
                </c:pt>
                <c:pt idx="537">
                  <c:v>1</c:v>
                </c:pt>
                <c:pt idx="538">
                  <c:v>3</c:v>
                </c:pt>
                <c:pt idx="539">
                  <c:v>0</c:v>
                </c:pt>
                <c:pt idx="540">
                  <c:v>0</c:v>
                </c:pt>
                <c:pt idx="541">
                  <c:v>0</c:v>
                </c:pt>
                <c:pt idx="542">
                  <c:v>1</c:v>
                </c:pt>
                <c:pt idx="543">
                  <c:v>4</c:v>
                </c:pt>
                <c:pt idx="544">
                  <c:v>1</c:v>
                </c:pt>
                <c:pt idx="545">
                  <c:v>1</c:v>
                </c:pt>
                <c:pt idx="546">
                  <c:v>1</c:v>
                </c:pt>
                <c:pt idx="547">
                  <c:v>1</c:v>
                </c:pt>
                <c:pt idx="548">
                  <c:v>0</c:v>
                </c:pt>
                <c:pt idx="549">
                  <c:v>1</c:v>
                </c:pt>
                <c:pt idx="550">
                  <c:v>4</c:v>
                </c:pt>
                <c:pt idx="551">
                  <c:v>1</c:v>
                </c:pt>
                <c:pt idx="552">
                  <c:v>4</c:v>
                </c:pt>
                <c:pt idx="553">
                  <c:v>1</c:v>
                </c:pt>
                <c:pt idx="554">
                  <c:v>0</c:v>
                </c:pt>
                <c:pt idx="555">
                  <c:v>3</c:v>
                </c:pt>
                <c:pt idx="556">
                  <c:v>2</c:v>
                </c:pt>
                <c:pt idx="557">
                  <c:v>2</c:v>
                </c:pt>
                <c:pt idx="558">
                  <c:v>1</c:v>
                </c:pt>
                <c:pt idx="559">
                  <c:v>0</c:v>
                </c:pt>
                <c:pt idx="560">
                  <c:v>1</c:v>
                </c:pt>
                <c:pt idx="561">
                  <c:v>1</c:v>
                </c:pt>
                <c:pt idx="562">
                  <c:v>0</c:v>
                </c:pt>
                <c:pt idx="563">
                  <c:v>0</c:v>
                </c:pt>
                <c:pt idx="564">
                  <c:v>0</c:v>
                </c:pt>
                <c:pt idx="565">
                  <c:v>0</c:v>
                </c:pt>
                <c:pt idx="566">
                  <c:v>0</c:v>
                </c:pt>
                <c:pt idx="567">
                  <c:v>0</c:v>
                </c:pt>
                <c:pt idx="568">
                  <c:v>1</c:v>
                </c:pt>
                <c:pt idx="569">
                  <c:v>0</c:v>
                </c:pt>
                <c:pt idx="570">
                  <c:v>0</c:v>
                </c:pt>
                <c:pt idx="571">
                  <c:v>0</c:v>
                </c:pt>
                <c:pt idx="572">
                  <c:v>0</c:v>
                </c:pt>
                <c:pt idx="573">
                  <c:v>0</c:v>
                </c:pt>
                <c:pt idx="574">
                  <c:v>0</c:v>
                </c:pt>
                <c:pt idx="575">
                  <c:v>0</c:v>
                </c:pt>
                <c:pt idx="576">
                  <c:v>0</c:v>
                </c:pt>
                <c:pt idx="577">
                  <c:v>0</c:v>
                </c:pt>
                <c:pt idx="578">
                  <c:v>0</c:v>
                </c:pt>
                <c:pt idx="579">
                  <c:v>0</c:v>
                </c:pt>
                <c:pt idx="580">
                  <c:v>0</c:v>
                </c:pt>
                <c:pt idx="581">
                  <c:v>2</c:v>
                </c:pt>
                <c:pt idx="582">
                  <c:v>3</c:v>
                </c:pt>
                <c:pt idx="583">
                  <c:v>0</c:v>
                </c:pt>
                <c:pt idx="584">
                  <c:v>0</c:v>
                </c:pt>
                <c:pt idx="585">
                  <c:v>0</c:v>
                </c:pt>
                <c:pt idx="586">
                  <c:v>0</c:v>
                </c:pt>
                <c:pt idx="587">
                  <c:v>0</c:v>
                </c:pt>
                <c:pt idx="588">
                  <c:v>0</c:v>
                </c:pt>
                <c:pt idx="589">
                  <c:v>0</c:v>
                </c:pt>
                <c:pt idx="590">
                  <c:v>0</c:v>
                </c:pt>
                <c:pt idx="591">
                  <c:v>0</c:v>
                </c:pt>
                <c:pt idx="592">
                  <c:v>0</c:v>
                </c:pt>
                <c:pt idx="593">
                  <c:v>1</c:v>
                </c:pt>
                <c:pt idx="594">
                  <c:v>0</c:v>
                </c:pt>
                <c:pt idx="595">
                  <c:v>0</c:v>
                </c:pt>
                <c:pt idx="596">
                  <c:v>1</c:v>
                </c:pt>
                <c:pt idx="597">
                  <c:v>0</c:v>
                </c:pt>
                <c:pt idx="598">
                  <c:v>0</c:v>
                </c:pt>
                <c:pt idx="599">
                  <c:v>0</c:v>
                </c:pt>
                <c:pt idx="600">
                  <c:v>0</c:v>
                </c:pt>
                <c:pt idx="601">
                  <c:v>0</c:v>
                </c:pt>
                <c:pt idx="602">
                  <c:v>0</c:v>
                </c:pt>
                <c:pt idx="603">
                  <c:v>1</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1</c:v>
                </c:pt>
                <c:pt idx="621">
                  <c:v>0</c:v>
                </c:pt>
                <c:pt idx="622">
                  <c:v>0</c:v>
                </c:pt>
                <c:pt idx="623">
                  <c:v>0</c:v>
                </c:pt>
                <c:pt idx="624">
                  <c:v>0</c:v>
                </c:pt>
                <c:pt idx="625">
                  <c:v>0</c:v>
                </c:pt>
                <c:pt idx="626">
                  <c:v>0</c:v>
                </c:pt>
                <c:pt idx="627">
                  <c:v>0</c:v>
                </c:pt>
                <c:pt idx="628">
                  <c:v>0</c:v>
                </c:pt>
                <c:pt idx="629">
                  <c:v>0</c:v>
                </c:pt>
                <c:pt idx="630">
                  <c:v>0</c:v>
                </c:pt>
                <c:pt idx="631">
                  <c:v>0</c:v>
                </c:pt>
                <c:pt idx="632">
                  <c:v>2</c:v>
                </c:pt>
                <c:pt idx="633">
                  <c:v>0</c:v>
                </c:pt>
                <c:pt idx="634">
                  <c:v>1</c:v>
                </c:pt>
                <c:pt idx="635">
                  <c:v>2</c:v>
                </c:pt>
                <c:pt idx="636">
                  <c:v>0</c:v>
                </c:pt>
                <c:pt idx="637">
                  <c:v>0</c:v>
                </c:pt>
                <c:pt idx="638">
                  <c:v>0</c:v>
                </c:pt>
                <c:pt idx="639">
                  <c:v>0</c:v>
                </c:pt>
                <c:pt idx="640">
                  <c:v>0</c:v>
                </c:pt>
                <c:pt idx="641">
                  <c:v>0</c:v>
                </c:pt>
                <c:pt idx="642">
                  <c:v>0</c:v>
                </c:pt>
                <c:pt idx="643">
                  <c:v>1</c:v>
                </c:pt>
                <c:pt idx="644">
                  <c:v>0</c:v>
                </c:pt>
                <c:pt idx="645">
                  <c:v>0</c:v>
                </c:pt>
                <c:pt idx="646">
                  <c:v>0</c:v>
                </c:pt>
                <c:pt idx="647">
                  <c:v>0</c:v>
                </c:pt>
                <c:pt idx="648">
                  <c:v>1</c:v>
                </c:pt>
                <c:pt idx="649">
                  <c:v>0</c:v>
                </c:pt>
                <c:pt idx="650">
                  <c:v>0</c:v>
                </c:pt>
                <c:pt idx="651">
                  <c:v>0</c:v>
                </c:pt>
                <c:pt idx="652">
                  <c:v>0</c:v>
                </c:pt>
                <c:pt idx="653">
                  <c:v>0</c:v>
                </c:pt>
                <c:pt idx="654">
                  <c:v>0</c:v>
                </c:pt>
                <c:pt idx="655">
                  <c:v>0</c:v>
                </c:pt>
                <c:pt idx="656">
                  <c:v>2</c:v>
                </c:pt>
                <c:pt idx="657">
                  <c:v>0</c:v>
                </c:pt>
                <c:pt idx="658">
                  <c:v>0</c:v>
                </c:pt>
                <c:pt idx="659">
                  <c:v>0</c:v>
                </c:pt>
                <c:pt idx="660">
                  <c:v>0</c:v>
                </c:pt>
                <c:pt idx="661">
                  <c:v>0</c:v>
                </c:pt>
                <c:pt idx="662">
                  <c:v>0</c:v>
                </c:pt>
                <c:pt idx="663">
                  <c:v>0</c:v>
                </c:pt>
                <c:pt idx="664">
                  <c:v>0</c:v>
                </c:pt>
                <c:pt idx="665">
                  <c:v>0</c:v>
                </c:pt>
                <c:pt idx="666">
                  <c:v>0</c:v>
                </c:pt>
                <c:pt idx="667">
                  <c:v>0</c:v>
                </c:pt>
                <c:pt idx="668">
                  <c:v>0</c:v>
                </c:pt>
                <c:pt idx="669">
                  <c:v>1</c:v>
                </c:pt>
                <c:pt idx="670">
                  <c:v>1</c:v>
                </c:pt>
                <c:pt idx="671">
                  <c:v>1</c:v>
                </c:pt>
                <c:pt idx="672">
                  <c:v>0</c:v>
                </c:pt>
                <c:pt idx="673">
                  <c:v>0</c:v>
                </c:pt>
                <c:pt idx="674">
                  <c:v>0</c:v>
                </c:pt>
                <c:pt idx="675">
                  <c:v>0</c:v>
                </c:pt>
                <c:pt idx="676">
                  <c:v>0</c:v>
                </c:pt>
                <c:pt idx="677">
                  <c:v>0</c:v>
                </c:pt>
                <c:pt idx="678">
                  <c:v>0</c:v>
                </c:pt>
                <c:pt idx="679">
                  <c:v>1</c:v>
                </c:pt>
                <c:pt idx="680">
                  <c:v>0</c:v>
                </c:pt>
                <c:pt idx="681">
                  <c:v>0</c:v>
                </c:pt>
                <c:pt idx="682">
                  <c:v>0</c:v>
                </c:pt>
                <c:pt idx="683">
                  <c:v>0</c:v>
                </c:pt>
                <c:pt idx="684">
                  <c:v>1</c:v>
                </c:pt>
                <c:pt idx="685">
                  <c:v>0</c:v>
                </c:pt>
                <c:pt idx="686">
                  <c:v>1</c:v>
                </c:pt>
                <c:pt idx="687">
                  <c:v>0</c:v>
                </c:pt>
                <c:pt idx="688">
                  <c:v>9</c:v>
                </c:pt>
                <c:pt idx="689">
                  <c:v>1</c:v>
                </c:pt>
                <c:pt idx="690">
                  <c:v>0</c:v>
                </c:pt>
                <c:pt idx="691">
                  <c:v>0</c:v>
                </c:pt>
                <c:pt idx="692">
                  <c:v>0</c:v>
                </c:pt>
                <c:pt idx="693">
                  <c:v>1</c:v>
                </c:pt>
                <c:pt idx="694">
                  <c:v>0</c:v>
                </c:pt>
                <c:pt idx="695">
                  <c:v>0</c:v>
                </c:pt>
                <c:pt idx="696">
                  <c:v>0</c:v>
                </c:pt>
                <c:pt idx="697">
                  <c:v>0</c:v>
                </c:pt>
                <c:pt idx="698">
                  <c:v>6</c:v>
                </c:pt>
                <c:pt idx="699">
                  <c:v>1</c:v>
                </c:pt>
                <c:pt idx="700">
                  <c:v>1</c:v>
                </c:pt>
                <c:pt idx="701">
                  <c:v>1</c:v>
                </c:pt>
                <c:pt idx="702">
                  <c:v>0</c:v>
                </c:pt>
                <c:pt idx="703">
                  <c:v>0</c:v>
                </c:pt>
                <c:pt idx="704">
                  <c:v>0</c:v>
                </c:pt>
                <c:pt idx="705">
                  <c:v>0</c:v>
                </c:pt>
                <c:pt idx="706">
                  <c:v>0</c:v>
                </c:pt>
                <c:pt idx="707">
                  <c:v>0</c:v>
                </c:pt>
                <c:pt idx="708">
                  <c:v>0</c:v>
                </c:pt>
                <c:pt idx="709">
                  <c:v>0</c:v>
                </c:pt>
                <c:pt idx="710">
                  <c:v>2</c:v>
                </c:pt>
                <c:pt idx="711">
                  <c:v>1</c:v>
                </c:pt>
                <c:pt idx="712">
                  <c:v>2</c:v>
                </c:pt>
                <c:pt idx="713">
                  <c:v>0</c:v>
                </c:pt>
                <c:pt idx="714">
                  <c:v>0</c:v>
                </c:pt>
                <c:pt idx="715">
                  <c:v>0</c:v>
                </c:pt>
                <c:pt idx="716">
                  <c:v>0</c:v>
                </c:pt>
                <c:pt idx="717">
                  <c:v>0</c:v>
                </c:pt>
                <c:pt idx="718">
                  <c:v>0</c:v>
                </c:pt>
                <c:pt idx="719">
                  <c:v>0</c:v>
                </c:pt>
                <c:pt idx="720">
                  <c:v>0</c:v>
                </c:pt>
                <c:pt idx="721">
                  <c:v>1</c:v>
                </c:pt>
                <c:pt idx="722">
                  <c:v>0</c:v>
                </c:pt>
                <c:pt idx="723">
                  <c:v>0</c:v>
                </c:pt>
                <c:pt idx="724">
                  <c:v>0</c:v>
                </c:pt>
                <c:pt idx="725">
                  <c:v>0</c:v>
                </c:pt>
                <c:pt idx="726">
                  <c:v>0</c:v>
                </c:pt>
                <c:pt idx="727">
                  <c:v>0</c:v>
                </c:pt>
                <c:pt idx="728">
                  <c:v>0</c:v>
                </c:pt>
                <c:pt idx="729">
                  <c:v>1</c:v>
                </c:pt>
                <c:pt idx="730">
                  <c:v>0</c:v>
                </c:pt>
                <c:pt idx="731">
                  <c:v>1</c:v>
                </c:pt>
                <c:pt idx="732">
                  <c:v>1</c:v>
                </c:pt>
                <c:pt idx="733">
                  <c:v>0</c:v>
                </c:pt>
                <c:pt idx="734">
                  <c:v>0</c:v>
                </c:pt>
                <c:pt idx="735">
                  <c:v>0</c:v>
                </c:pt>
                <c:pt idx="736">
                  <c:v>0</c:v>
                </c:pt>
                <c:pt idx="737">
                  <c:v>3</c:v>
                </c:pt>
                <c:pt idx="738">
                  <c:v>0</c:v>
                </c:pt>
                <c:pt idx="739">
                  <c:v>0</c:v>
                </c:pt>
                <c:pt idx="740">
                  <c:v>0</c:v>
                </c:pt>
                <c:pt idx="741">
                  <c:v>0</c:v>
                </c:pt>
                <c:pt idx="742">
                  <c:v>0</c:v>
                </c:pt>
                <c:pt idx="743">
                  <c:v>4</c:v>
                </c:pt>
                <c:pt idx="744">
                  <c:v>0</c:v>
                </c:pt>
                <c:pt idx="745">
                  <c:v>0</c:v>
                </c:pt>
                <c:pt idx="746">
                  <c:v>0</c:v>
                </c:pt>
                <c:pt idx="747">
                  <c:v>0</c:v>
                </c:pt>
                <c:pt idx="748">
                  <c:v>0</c:v>
                </c:pt>
                <c:pt idx="749">
                  <c:v>0</c:v>
                </c:pt>
                <c:pt idx="750">
                  <c:v>2</c:v>
                </c:pt>
                <c:pt idx="751">
                  <c:v>0</c:v>
                </c:pt>
                <c:pt idx="752">
                  <c:v>2</c:v>
                </c:pt>
                <c:pt idx="753">
                  <c:v>0</c:v>
                </c:pt>
                <c:pt idx="754">
                  <c:v>2</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2</c:v>
                </c:pt>
                <c:pt idx="811">
                  <c:v>0</c:v>
                </c:pt>
                <c:pt idx="812">
                  <c:v>0</c:v>
                </c:pt>
                <c:pt idx="813">
                  <c:v>0</c:v>
                </c:pt>
                <c:pt idx="814">
                  <c:v>2</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1</c:v>
                </c:pt>
                <c:pt idx="884">
                  <c:v>0</c:v>
                </c:pt>
                <c:pt idx="885">
                  <c:v>3</c:v>
                </c:pt>
                <c:pt idx="886">
                  <c:v>0</c:v>
                </c:pt>
                <c:pt idx="887">
                  <c:v>0</c:v>
                </c:pt>
                <c:pt idx="888">
                  <c:v>0</c:v>
                </c:pt>
                <c:pt idx="889">
                  <c:v>0</c:v>
                </c:pt>
                <c:pt idx="890">
                  <c:v>0</c:v>
                </c:pt>
                <c:pt idx="891">
                  <c:v>0</c:v>
                </c:pt>
                <c:pt idx="892">
                  <c:v>0</c:v>
                </c:pt>
                <c:pt idx="893">
                  <c:v>0</c:v>
                </c:pt>
                <c:pt idx="894">
                  <c:v>0</c:v>
                </c:pt>
                <c:pt idx="895">
                  <c:v>0</c:v>
                </c:pt>
                <c:pt idx="896">
                  <c:v>1</c:v>
                </c:pt>
                <c:pt idx="897">
                  <c:v>0</c:v>
                </c:pt>
                <c:pt idx="898">
                  <c:v>0</c:v>
                </c:pt>
                <c:pt idx="899">
                  <c:v>0</c:v>
                </c:pt>
                <c:pt idx="900">
                  <c:v>0</c:v>
                </c:pt>
                <c:pt idx="901">
                  <c:v>0</c:v>
                </c:pt>
                <c:pt idx="902">
                  <c:v>0</c:v>
                </c:pt>
                <c:pt idx="903">
                  <c:v>0</c:v>
                </c:pt>
                <c:pt idx="904">
                  <c:v>2</c:v>
                </c:pt>
                <c:pt idx="905">
                  <c:v>0</c:v>
                </c:pt>
                <c:pt idx="906">
                  <c:v>0</c:v>
                </c:pt>
                <c:pt idx="907">
                  <c:v>0</c:v>
                </c:pt>
                <c:pt idx="908">
                  <c:v>0</c:v>
                </c:pt>
                <c:pt idx="909">
                  <c:v>0</c:v>
                </c:pt>
                <c:pt idx="910">
                  <c:v>1</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1</c:v>
                </c:pt>
                <c:pt idx="928">
                  <c:v>0</c:v>
                </c:pt>
                <c:pt idx="929">
                  <c:v>0</c:v>
                </c:pt>
                <c:pt idx="930">
                  <c:v>0</c:v>
                </c:pt>
                <c:pt idx="931">
                  <c:v>0</c:v>
                </c:pt>
                <c:pt idx="932">
                  <c:v>1</c:v>
                </c:pt>
                <c:pt idx="933">
                  <c:v>0</c:v>
                </c:pt>
                <c:pt idx="934">
                  <c:v>0</c:v>
                </c:pt>
                <c:pt idx="935">
                  <c:v>1</c:v>
                </c:pt>
                <c:pt idx="936">
                  <c:v>0</c:v>
                </c:pt>
                <c:pt idx="937">
                  <c:v>0</c:v>
                </c:pt>
                <c:pt idx="938">
                  <c:v>0</c:v>
                </c:pt>
                <c:pt idx="939">
                  <c:v>1</c:v>
                </c:pt>
                <c:pt idx="940">
                  <c:v>0</c:v>
                </c:pt>
                <c:pt idx="941">
                  <c:v>1</c:v>
                </c:pt>
                <c:pt idx="942">
                  <c:v>0</c:v>
                </c:pt>
                <c:pt idx="943">
                  <c:v>0</c:v>
                </c:pt>
                <c:pt idx="944">
                  <c:v>0</c:v>
                </c:pt>
                <c:pt idx="945">
                  <c:v>2</c:v>
                </c:pt>
                <c:pt idx="946">
                  <c:v>0</c:v>
                </c:pt>
                <c:pt idx="947">
                  <c:v>0</c:v>
                </c:pt>
                <c:pt idx="948">
                  <c:v>0</c:v>
                </c:pt>
                <c:pt idx="949">
                  <c:v>0</c:v>
                </c:pt>
                <c:pt idx="950">
                  <c:v>0</c:v>
                </c:pt>
                <c:pt idx="951">
                  <c:v>0</c:v>
                </c:pt>
                <c:pt idx="952">
                  <c:v>1</c:v>
                </c:pt>
                <c:pt idx="953">
                  <c:v>0</c:v>
                </c:pt>
                <c:pt idx="954">
                  <c:v>0</c:v>
                </c:pt>
                <c:pt idx="955">
                  <c:v>0</c:v>
                </c:pt>
                <c:pt idx="956">
                  <c:v>0</c:v>
                </c:pt>
                <c:pt idx="957">
                  <c:v>0</c:v>
                </c:pt>
                <c:pt idx="958">
                  <c:v>0</c:v>
                </c:pt>
                <c:pt idx="959">
                  <c:v>0</c:v>
                </c:pt>
                <c:pt idx="960">
                  <c:v>3</c:v>
                </c:pt>
                <c:pt idx="961">
                  <c:v>0</c:v>
                </c:pt>
                <c:pt idx="962">
                  <c:v>0</c:v>
                </c:pt>
                <c:pt idx="963">
                  <c:v>0</c:v>
                </c:pt>
                <c:pt idx="964">
                  <c:v>3</c:v>
                </c:pt>
                <c:pt idx="965">
                  <c:v>0</c:v>
                </c:pt>
                <c:pt idx="966">
                  <c:v>0</c:v>
                </c:pt>
                <c:pt idx="967">
                  <c:v>0</c:v>
                </c:pt>
                <c:pt idx="968">
                  <c:v>0</c:v>
                </c:pt>
                <c:pt idx="969">
                  <c:v>0</c:v>
                </c:pt>
                <c:pt idx="970">
                  <c:v>0</c:v>
                </c:pt>
                <c:pt idx="971">
                  <c:v>0</c:v>
                </c:pt>
                <c:pt idx="972">
                  <c:v>0</c:v>
                </c:pt>
                <c:pt idx="973">
                  <c:v>0</c:v>
                </c:pt>
                <c:pt idx="974">
                  <c:v>1</c:v>
                </c:pt>
                <c:pt idx="975">
                  <c:v>0</c:v>
                </c:pt>
                <c:pt idx="976">
                  <c:v>0</c:v>
                </c:pt>
                <c:pt idx="977">
                  <c:v>0</c:v>
                </c:pt>
                <c:pt idx="978">
                  <c:v>0</c:v>
                </c:pt>
                <c:pt idx="979">
                  <c:v>0</c:v>
                </c:pt>
                <c:pt idx="980">
                  <c:v>0</c:v>
                </c:pt>
                <c:pt idx="981">
                  <c:v>4</c:v>
                </c:pt>
                <c:pt idx="982">
                  <c:v>4</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1</c:v>
                </c:pt>
                <c:pt idx="1000">
                  <c:v>0</c:v>
                </c:pt>
                <c:pt idx="1001">
                  <c:v>7</c:v>
                </c:pt>
                <c:pt idx="1002">
                  <c:v>0</c:v>
                </c:pt>
                <c:pt idx="1003">
                  <c:v>0</c:v>
                </c:pt>
                <c:pt idx="1004">
                  <c:v>0</c:v>
                </c:pt>
                <c:pt idx="1005">
                  <c:v>0</c:v>
                </c:pt>
                <c:pt idx="1006">
                  <c:v>0</c:v>
                </c:pt>
                <c:pt idx="1007">
                  <c:v>2</c:v>
                </c:pt>
                <c:pt idx="1008">
                  <c:v>0</c:v>
                </c:pt>
                <c:pt idx="1009">
                  <c:v>0</c:v>
                </c:pt>
                <c:pt idx="1010">
                  <c:v>0</c:v>
                </c:pt>
                <c:pt idx="1011">
                  <c:v>0</c:v>
                </c:pt>
                <c:pt idx="1012">
                  <c:v>0</c:v>
                </c:pt>
                <c:pt idx="1013">
                  <c:v>0</c:v>
                </c:pt>
                <c:pt idx="1014">
                  <c:v>0</c:v>
                </c:pt>
                <c:pt idx="1015">
                  <c:v>0</c:v>
                </c:pt>
                <c:pt idx="1016">
                  <c:v>0</c:v>
                </c:pt>
                <c:pt idx="1017">
                  <c:v>0</c:v>
                </c:pt>
                <c:pt idx="1018">
                  <c:v>3</c:v>
                </c:pt>
                <c:pt idx="1019">
                  <c:v>2</c:v>
                </c:pt>
                <c:pt idx="1020">
                  <c:v>2</c:v>
                </c:pt>
                <c:pt idx="1021">
                  <c:v>1</c:v>
                </c:pt>
                <c:pt idx="1022">
                  <c:v>3</c:v>
                </c:pt>
                <c:pt idx="1023">
                  <c:v>0</c:v>
                </c:pt>
                <c:pt idx="1024">
                  <c:v>0</c:v>
                </c:pt>
                <c:pt idx="1025">
                  <c:v>0</c:v>
                </c:pt>
                <c:pt idx="1026">
                  <c:v>2</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2</c:v>
                </c:pt>
                <c:pt idx="1068">
                  <c:v>0</c:v>
                </c:pt>
                <c:pt idx="1069">
                  <c:v>0</c:v>
                </c:pt>
                <c:pt idx="1070">
                  <c:v>2</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2</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1</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1</c:v>
                </c:pt>
                <c:pt idx="1385">
                  <c:v>0</c:v>
                </c:pt>
                <c:pt idx="1386">
                  <c:v>0</c:v>
                </c:pt>
                <c:pt idx="1387">
                  <c:v>0</c:v>
                </c:pt>
                <c:pt idx="1388">
                  <c:v>0</c:v>
                </c:pt>
                <c:pt idx="1389">
                  <c:v>0</c:v>
                </c:pt>
                <c:pt idx="1390">
                  <c:v>1</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1</c:v>
                </c:pt>
                <c:pt idx="1416">
                  <c:v>4</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2</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2</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1</c:v>
                </c:pt>
                <c:pt idx="1565">
                  <c:v>1</c:v>
                </c:pt>
                <c:pt idx="1566">
                  <c:v>2</c:v>
                </c:pt>
                <c:pt idx="1567">
                  <c:v>0</c:v>
                </c:pt>
                <c:pt idx="1568">
                  <c:v>0</c:v>
                </c:pt>
                <c:pt idx="1569">
                  <c:v>0</c:v>
                </c:pt>
                <c:pt idx="1570">
                  <c:v>0</c:v>
                </c:pt>
                <c:pt idx="1571">
                  <c:v>0</c:v>
                </c:pt>
                <c:pt idx="1572">
                  <c:v>0</c:v>
                </c:pt>
                <c:pt idx="1573">
                  <c:v>0</c:v>
                </c:pt>
                <c:pt idx="1574">
                  <c:v>0</c:v>
                </c:pt>
                <c:pt idx="1575">
                  <c:v>0</c:v>
                </c:pt>
                <c:pt idx="1576">
                  <c:v>0</c:v>
                </c:pt>
                <c:pt idx="1577">
                  <c:v>0</c:v>
                </c:pt>
                <c:pt idx="1578">
                  <c:v>3</c:v>
                </c:pt>
                <c:pt idx="1579">
                  <c:v>1</c:v>
                </c:pt>
                <c:pt idx="1580">
                  <c:v>1</c:v>
                </c:pt>
                <c:pt idx="1581">
                  <c:v>0</c:v>
                </c:pt>
                <c:pt idx="1582">
                  <c:v>0</c:v>
                </c:pt>
                <c:pt idx="1583">
                  <c:v>0</c:v>
                </c:pt>
                <c:pt idx="1584">
                  <c:v>3</c:v>
                </c:pt>
                <c:pt idx="1585">
                  <c:v>0</c:v>
                </c:pt>
                <c:pt idx="1586">
                  <c:v>0</c:v>
                </c:pt>
                <c:pt idx="1587">
                  <c:v>0</c:v>
                </c:pt>
                <c:pt idx="1588">
                  <c:v>2</c:v>
                </c:pt>
                <c:pt idx="1589">
                  <c:v>0</c:v>
                </c:pt>
                <c:pt idx="1590">
                  <c:v>0</c:v>
                </c:pt>
                <c:pt idx="1591">
                  <c:v>0</c:v>
                </c:pt>
                <c:pt idx="1592">
                  <c:v>1</c:v>
                </c:pt>
                <c:pt idx="1593">
                  <c:v>0</c:v>
                </c:pt>
                <c:pt idx="1594">
                  <c:v>0</c:v>
                </c:pt>
                <c:pt idx="1595">
                  <c:v>1</c:v>
                </c:pt>
                <c:pt idx="1596">
                  <c:v>1</c:v>
                </c:pt>
                <c:pt idx="1597">
                  <c:v>0</c:v>
                </c:pt>
                <c:pt idx="1598">
                  <c:v>0</c:v>
                </c:pt>
                <c:pt idx="1599">
                  <c:v>2</c:v>
                </c:pt>
                <c:pt idx="1600">
                  <c:v>0</c:v>
                </c:pt>
                <c:pt idx="1601">
                  <c:v>0</c:v>
                </c:pt>
                <c:pt idx="1602">
                  <c:v>3</c:v>
                </c:pt>
                <c:pt idx="1603">
                  <c:v>0</c:v>
                </c:pt>
                <c:pt idx="1604">
                  <c:v>0</c:v>
                </c:pt>
                <c:pt idx="1605">
                  <c:v>0</c:v>
                </c:pt>
                <c:pt idx="1606">
                  <c:v>3</c:v>
                </c:pt>
                <c:pt idx="1607">
                  <c:v>0</c:v>
                </c:pt>
                <c:pt idx="1608">
                  <c:v>0</c:v>
                </c:pt>
                <c:pt idx="1609">
                  <c:v>0</c:v>
                </c:pt>
                <c:pt idx="1610">
                  <c:v>0</c:v>
                </c:pt>
                <c:pt idx="1611">
                  <c:v>0</c:v>
                </c:pt>
                <c:pt idx="1612">
                  <c:v>0</c:v>
                </c:pt>
                <c:pt idx="1613">
                  <c:v>0</c:v>
                </c:pt>
                <c:pt idx="1614">
                  <c:v>1</c:v>
                </c:pt>
                <c:pt idx="1615">
                  <c:v>0</c:v>
                </c:pt>
                <c:pt idx="1616">
                  <c:v>0</c:v>
                </c:pt>
                <c:pt idx="1617">
                  <c:v>6</c:v>
                </c:pt>
                <c:pt idx="1618">
                  <c:v>0</c:v>
                </c:pt>
                <c:pt idx="1619">
                  <c:v>1</c:v>
                </c:pt>
                <c:pt idx="1620">
                  <c:v>1</c:v>
                </c:pt>
                <c:pt idx="1621">
                  <c:v>0</c:v>
                </c:pt>
                <c:pt idx="1622">
                  <c:v>1</c:v>
                </c:pt>
                <c:pt idx="1623">
                  <c:v>0</c:v>
                </c:pt>
                <c:pt idx="1624">
                  <c:v>5</c:v>
                </c:pt>
                <c:pt idx="1625">
                  <c:v>0</c:v>
                </c:pt>
                <c:pt idx="1626">
                  <c:v>0</c:v>
                </c:pt>
                <c:pt idx="1627">
                  <c:v>1</c:v>
                </c:pt>
                <c:pt idx="1628">
                  <c:v>0</c:v>
                </c:pt>
                <c:pt idx="1629">
                  <c:v>0</c:v>
                </c:pt>
                <c:pt idx="1630">
                  <c:v>0</c:v>
                </c:pt>
                <c:pt idx="1631">
                  <c:v>0</c:v>
                </c:pt>
                <c:pt idx="1632">
                  <c:v>0</c:v>
                </c:pt>
                <c:pt idx="1633">
                  <c:v>0</c:v>
                </c:pt>
                <c:pt idx="1634">
                  <c:v>0</c:v>
                </c:pt>
                <c:pt idx="1635">
                  <c:v>0</c:v>
                </c:pt>
                <c:pt idx="1636">
                  <c:v>0</c:v>
                </c:pt>
                <c:pt idx="1637">
                  <c:v>0</c:v>
                </c:pt>
                <c:pt idx="1638">
                  <c:v>0</c:v>
                </c:pt>
                <c:pt idx="1639">
                  <c:v>1</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4</c:v>
                </c:pt>
                <c:pt idx="1655">
                  <c:v>0</c:v>
                </c:pt>
                <c:pt idx="1656">
                  <c:v>0</c:v>
                </c:pt>
                <c:pt idx="1657">
                  <c:v>0</c:v>
                </c:pt>
                <c:pt idx="1658">
                  <c:v>0</c:v>
                </c:pt>
                <c:pt idx="1659">
                  <c:v>0</c:v>
                </c:pt>
                <c:pt idx="1660">
                  <c:v>0</c:v>
                </c:pt>
                <c:pt idx="1661">
                  <c:v>0</c:v>
                </c:pt>
                <c:pt idx="1662">
                  <c:v>0</c:v>
                </c:pt>
                <c:pt idx="1663">
                  <c:v>0</c:v>
                </c:pt>
                <c:pt idx="1664">
                  <c:v>0</c:v>
                </c:pt>
                <c:pt idx="1665">
                  <c:v>2</c:v>
                </c:pt>
                <c:pt idx="1666">
                  <c:v>0</c:v>
                </c:pt>
                <c:pt idx="1667">
                  <c:v>0</c:v>
                </c:pt>
                <c:pt idx="1668">
                  <c:v>3</c:v>
                </c:pt>
                <c:pt idx="1669">
                  <c:v>3</c:v>
                </c:pt>
                <c:pt idx="1670">
                  <c:v>1</c:v>
                </c:pt>
                <c:pt idx="1671">
                  <c:v>0</c:v>
                </c:pt>
                <c:pt idx="1672">
                  <c:v>1</c:v>
                </c:pt>
                <c:pt idx="1673">
                  <c:v>0</c:v>
                </c:pt>
                <c:pt idx="1674">
                  <c:v>0</c:v>
                </c:pt>
                <c:pt idx="1675">
                  <c:v>1</c:v>
                </c:pt>
                <c:pt idx="1676">
                  <c:v>0</c:v>
                </c:pt>
                <c:pt idx="1677">
                  <c:v>0</c:v>
                </c:pt>
                <c:pt idx="1678">
                  <c:v>0</c:v>
                </c:pt>
                <c:pt idx="1679">
                  <c:v>0</c:v>
                </c:pt>
                <c:pt idx="1680">
                  <c:v>0</c:v>
                </c:pt>
                <c:pt idx="1681">
                  <c:v>0</c:v>
                </c:pt>
                <c:pt idx="1682">
                  <c:v>1</c:v>
                </c:pt>
                <c:pt idx="1683">
                  <c:v>0</c:v>
                </c:pt>
                <c:pt idx="1684">
                  <c:v>0</c:v>
                </c:pt>
                <c:pt idx="1685">
                  <c:v>1</c:v>
                </c:pt>
                <c:pt idx="1686">
                  <c:v>0</c:v>
                </c:pt>
                <c:pt idx="1687">
                  <c:v>3</c:v>
                </c:pt>
                <c:pt idx="1688">
                  <c:v>0</c:v>
                </c:pt>
                <c:pt idx="1689">
                  <c:v>2</c:v>
                </c:pt>
                <c:pt idx="1690">
                  <c:v>0</c:v>
                </c:pt>
                <c:pt idx="1691">
                  <c:v>2</c:v>
                </c:pt>
                <c:pt idx="1692">
                  <c:v>0</c:v>
                </c:pt>
                <c:pt idx="1693">
                  <c:v>0</c:v>
                </c:pt>
                <c:pt idx="1694">
                  <c:v>0</c:v>
                </c:pt>
                <c:pt idx="1695">
                  <c:v>0</c:v>
                </c:pt>
                <c:pt idx="1696">
                  <c:v>1</c:v>
                </c:pt>
                <c:pt idx="1697">
                  <c:v>0</c:v>
                </c:pt>
                <c:pt idx="1698">
                  <c:v>0</c:v>
                </c:pt>
                <c:pt idx="1699">
                  <c:v>2</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1</c:v>
                </c:pt>
                <c:pt idx="1717">
                  <c:v>3</c:v>
                </c:pt>
                <c:pt idx="1718">
                  <c:v>1</c:v>
                </c:pt>
                <c:pt idx="1719">
                  <c:v>0</c:v>
                </c:pt>
                <c:pt idx="1720">
                  <c:v>1</c:v>
                </c:pt>
                <c:pt idx="1721">
                  <c:v>0</c:v>
                </c:pt>
                <c:pt idx="1722">
                  <c:v>3</c:v>
                </c:pt>
                <c:pt idx="1723">
                  <c:v>0</c:v>
                </c:pt>
                <c:pt idx="1724">
                  <c:v>0</c:v>
                </c:pt>
                <c:pt idx="1725">
                  <c:v>2</c:v>
                </c:pt>
                <c:pt idx="1726">
                  <c:v>1</c:v>
                </c:pt>
                <c:pt idx="1727">
                  <c:v>2</c:v>
                </c:pt>
                <c:pt idx="1728">
                  <c:v>1</c:v>
                </c:pt>
                <c:pt idx="1729">
                  <c:v>0</c:v>
                </c:pt>
                <c:pt idx="1730">
                  <c:v>0</c:v>
                </c:pt>
                <c:pt idx="1731">
                  <c:v>0</c:v>
                </c:pt>
                <c:pt idx="1732">
                  <c:v>0</c:v>
                </c:pt>
                <c:pt idx="1733">
                  <c:v>1</c:v>
                </c:pt>
                <c:pt idx="1734">
                  <c:v>2</c:v>
                </c:pt>
                <c:pt idx="1735">
                  <c:v>1</c:v>
                </c:pt>
                <c:pt idx="1736">
                  <c:v>2</c:v>
                </c:pt>
                <c:pt idx="1737">
                  <c:v>4</c:v>
                </c:pt>
                <c:pt idx="1738">
                  <c:v>0</c:v>
                </c:pt>
                <c:pt idx="1739">
                  <c:v>1</c:v>
                </c:pt>
                <c:pt idx="1740">
                  <c:v>1</c:v>
                </c:pt>
                <c:pt idx="1741">
                  <c:v>0</c:v>
                </c:pt>
                <c:pt idx="1742">
                  <c:v>0</c:v>
                </c:pt>
                <c:pt idx="1743">
                  <c:v>1</c:v>
                </c:pt>
                <c:pt idx="1744">
                  <c:v>1</c:v>
                </c:pt>
                <c:pt idx="1745">
                  <c:v>3</c:v>
                </c:pt>
                <c:pt idx="1746">
                  <c:v>0</c:v>
                </c:pt>
                <c:pt idx="1747">
                  <c:v>2</c:v>
                </c:pt>
                <c:pt idx="1748">
                  <c:v>0</c:v>
                </c:pt>
                <c:pt idx="1749">
                  <c:v>0</c:v>
                </c:pt>
                <c:pt idx="1750">
                  <c:v>1</c:v>
                </c:pt>
                <c:pt idx="1751">
                  <c:v>1</c:v>
                </c:pt>
                <c:pt idx="1752">
                  <c:v>0</c:v>
                </c:pt>
                <c:pt idx="1753">
                  <c:v>0</c:v>
                </c:pt>
                <c:pt idx="1754">
                  <c:v>0</c:v>
                </c:pt>
                <c:pt idx="1755">
                  <c:v>0</c:v>
                </c:pt>
                <c:pt idx="1756">
                  <c:v>0</c:v>
                </c:pt>
                <c:pt idx="1757">
                  <c:v>4</c:v>
                </c:pt>
                <c:pt idx="1758">
                  <c:v>0</c:v>
                </c:pt>
                <c:pt idx="1759">
                  <c:v>1</c:v>
                </c:pt>
                <c:pt idx="1760">
                  <c:v>0</c:v>
                </c:pt>
                <c:pt idx="1761">
                  <c:v>1</c:v>
                </c:pt>
                <c:pt idx="1762">
                  <c:v>1</c:v>
                </c:pt>
                <c:pt idx="1763">
                  <c:v>0</c:v>
                </c:pt>
                <c:pt idx="1764">
                  <c:v>0</c:v>
                </c:pt>
                <c:pt idx="1765">
                  <c:v>2</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1</c:v>
                </c:pt>
                <c:pt idx="1782">
                  <c:v>0</c:v>
                </c:pt>
                <c:pt idx="1783">
                  <c:v>0</c:v>
                </c:pt>
                <c:pt idx="1784">
                  <c:v>1</c:v>
                </c:pt>
                <c:pt idx="1785">
                  <c:v>0</c:v>
                </c:pt>
                <c:pt idx="1786">
                  <c:v>0</c:v>
                </c:pt>
                <c:pt idx="1787">
                  <c:v>0</c:v>
                </c:pt>
                <c:pt idx="1788">
                  <c:v>0</c:v>
                </c:pt>
                <c:pt idx="1789">
                  <c:v>0</c:v>
                </c:pt>
                <c:pt idx="1790">
                  <c:v>0</c:v>
                </c:pt>
                <c:pt idx="1791">
                  <c:v>2</c:v>
                </c:pt>
                <c:pt idx="1792">
                  <c:v>0</c:v>
                </c:pt>
                <c:pt idx="1793">
                  <c:v>0</c:v>
                </c:pt>
                <c:pt idx="1794">
                  <c:v>0</c:v>
                </c:pt>
                <c:pt idx="1795">
                  <c:v>3</c:v>
                </c:pt>
                <c:pt idx="1796">
                  <c:v>0</c:v>
                </c:pt>
                <c:pt idx="1797">
                  <c:v>0</c:v>
                </c:pt>
                <c:pt idx="1798">
                  <c:v>0</c:v>
                </c:pt>
                <c:pt idx="1799">
                  <c:v>0</c:v>
                </c:pt>
                <c:pt idx="1800">
                  <c:v>0</c:v>
                </c:pt>
                <c:pt idx="1801">
                  <c:v>2</c:v>
                </c:pt>
                <c:pt idx="1802">
                  <c:v>1</c:v>
                </c:pt>
                <c:pt idx="1803">
                  <c:v>1</c:v>
                </c:pt>
                <c:pt idx="1804">
                  <c:v>2</c:v>
                </c:pt>
                <c:pt idx="1805">
                  <c:v>1</c:v>
                </c:pt>
                <c:pt idx="1806">
                  <c:v>1</c:v>
                </c:pt>
                <c:pt idx="1807">
                  <c:v>3</c:v>
                </c:pt>
                <c:pt idx="1808">
                  <c:v>0</c:v>
                </c:pt>
                <c:pt idx="1809">
                  <c:v>1</c:v>
                </c:pt>
                <c:pt idx="1810">
                  <c:v>0</c:v>
                </c:pt>
                <c:pt idx="1811">
                  <c:v>2</c:v>
                </c:pt>
                <c:pt idx="1812">
                  <c:v>0</c:v>
                </c:pt>
                <c:pt idx="1813">
                  <c:v>1</c:v>
                </c:pt>
                <c:pt idx="1814">
                  <c:v>0</c:v>
                </c:pt>
                <c:pt idx="1815">
                  <c:v>0</c:v>
                </c:pt>
                <c:pt idx="1816">
                  <c:v>1</c:v>
                </c:pt>
                <c:pt idx="1817">
                  <c:v>2</c:v>
                </c:pt>
                <c:pt idx="1818">
                  <c:v>3</c:v>
                </c:pt>
                <c:pt idx="1819">
                  <c:v>0</c:v>
                </c:pt>
                <c:pt idx="1820">
                  <c:v>1</c:v>
                </c:pt>
                <c:pt idx="1821">
                  <c:v>0</c:v>
                </c:pt>
                <c:pt idx="1822">
                  <c:v>1</c:v>
                </c:pt>
                <c:pt idx="1823">
                  <c:v>3</c:v>
                </c:pt>
                <c:pt idx="1824">
                  <c:v>5</c:v>
                </c:pt>
                <c:pt idx="1825">
                  <c:v>1</c:v>
                </c:pt>
                <c:pt idx="1826">
                  <c:v>0</c:v>
                </c:pt>
                <c:pt idx="1827">
                  <c:v>0</c:v>
                </c:pt>
                <c:pt idx="1828">
                  <c:v>0</c:v>
                </c:pt>
                <c:pt idx="1829">
                  <c:v>0</c:v>
                </c:pt>
                <c:pt idx="1830">
                  <c:v>2</c:v>
                </c:pt>
                <c:pt idx="1831">
                  <c:v>1</c:v>
                </c:pt>
                <c:pt idx="1832">
                  <c:v>1</c:v>
                </c:pt>
                <c:pt idx="1833">
                  <c:v>1</c:v>
                </c:pt>
                <c:pt idx="1834">
                  <c:v>1</c:v>
                </c:pt>
                <c:pt idx="1835">
                  <c:v>0</c:v>
                </c:pt>
                <c:pt idx="1836">
                  <c:v>0</c:v>
                </c:pt>
                <c:pt idx="1837">
                  <c:v>0</c:v>
                </c:pt>
                <c:pt idx="1838">
                  <c:v>0</c:v>
                </c:pt>
                <c:pt idx="1839">
                  <c:v>0</c:v>
                </c:pt>
                <c:pt idx="1840">
                  <c:v>0</c:v>
                </c:pt>
                <c:pt idx="1841">
                  <c:v>2</c:v>
                </c:pt>
                <c:pt idx="1842">
                  <c:v>2</c:v>
                </c:pt>
                <c:pt idx="1843">
                  <c:v>0</c:v>
                </c:pt>
                <c:pt idx="1844">
                  <c:v>0</c:v>
                </c:pt>
                <c:pt idx="1845">
                  <c:v>0</c:v>
                </c:pt>
                <c:pt idx="1846">
                  <c:v>0</c:v>
                </c:pt>
                <c:pt idx="1847">
                  <c:v>0</c:v>
                </c:pt>
                <c:pt idx="1848">
                  <c:v>0</c:v>
                </c:pt>
                <c:pt idx="1849">
                  <c:v>4</c:v>
                </c:pt>
                <c:pt idx="1850">
                  <c:v>0</c:v>
                </c:pt>
                <c:pt idx="1851">
                  <c:v>0</c:v>
                </c:pt>
                <c:pt idx="1852">
                  <c:v>1</c:v>
                </c:pt>
                <c:pt idx="1853">
                  <c:v>0</c:v>
                </c:pt>
                <c:pt idx="1854">
                  <c:v>6</c:v>
                </c:pt>
                <c:pt idx="1855">
                  <c:v>0</c:v>
                </c:pt>
                <c:pt idx="1856">
                  <c:v>0</c:v>
                </c:pt>
                <c:pt idx="1857">
                  <c:v>1</c:v>
                </c:pt>
                <c:pt idx="1858">
                  <c:v>0</c:v>
                </c:pt>
                <c:pt idx="1859">
                  <c:v>0</c:v>
                </c:pt>
                <c:pt idx="1860">
                  <c:v>1</c:v>
                </c:pt>
                <c:pt idx="1861">
                  <c:v>3</c:v>
                </c:pt>
                <c:pt idx="1862">
                  <c:v>3</c:v>
                </c:pt>
                <c:pt idx="1863">
                  <c:v>1</c:v>
                </c:pt>
                <c:pt idx="1864">
                  <c:v>1</c:v>
                </c:pt>
                <c:pt idx="1865">
                  <c:v>1</c:v>
                </c:pt>
                <c:pt idx="1866">
                  <c:v>0</c:v>
                </c:pt>
                <c:pt idx="1867">
                  <c:v>0</c:v>
                </c:pt>
                <c:pt idx="1868">
                  <c:v>0</c:v>
                </c:pt>
                <c:pt idx="1869">
                  <c:v>3</c:v>
                </c:pt>
                <c:pt idx="1870">
                  <c:v>0</c:v>
                </c:pt>
                <c:pt idx="1871">
                  <c:v>0</c:v>
                </c:pt>
                <c:pt idx="1872">
                  <c:v>2</c:v>
                </c:pt>
                <c:pt idx="1873">
                  <c:v>0</c:v>
                </c:pt>
                <c:pt idx="1874">
                  <c:v>0</c:v>
                </c:pt>
                <c:pt idx="1875">
                  <c:v>0</c:v>
                </c:pt>
                <c:pt idx="1876">
                  <c:v>1</c:v>
                </c:pt>
                <c:pt idx="1877">
                  <c:v>0</c:v>
                </c:pt>
                <c:pt idx="1878">
                  <c:v>0</c:v>
                </c:pt>
                <c:pt idx="1879">
                  <c:v>0</c:v>
                </c:pt>
                <c:pt idx="1880">
                  <c:v>0</c:v>
                </c:pt>
                <c:pt idx="1881">
                  <c:v>0</c:v>
                </c:pt>
                <c:pt idx="1882">
                  <c:v>1</c:v>
                </c:pt>
                <c:pt idx="1883">
                  <c:v>0</c:v>
                </c:pt>
                <c:pt idx="1884">
                  <c:v>1</c:v>
                </c:pt>
                <c:pt idx="1885">
                  <c:v>1</c:v>
                </c:pt>
                <c:pt idx="1886">
                  <c:v>2</c:v>
                </c:pt>
                <c:pt idx="1887">
                  <c:v>0</c:v>
                </c:pt>
                <c:pt idx="1888">
                  <c:v>0</c:v>
                </c:pt>
                <c:pt idx="1889">
                  <c:v>4</c:v>
                </c:pt>
                <c:pt idx="1890">
                  <c:v>0</c:v>
                </c:pt>
                <c:pt idx="1891">
                  <c:v>0</c:v>
                </c:pt>
                <c:pt idx="1892">
                  <c:v>0</c:v>
                </c:pt>
                <c:pt idx="1893">
                  <c:v>2</c:v>
                </c:pt>
                <c:pt idx="1894">
                  <c:v>0</c:v>
                </c:pt>
                <c:pt idx="1895">
                  <c:v>1</c:v>
                </c:pt>
                <c:pt idx="1896">
                  <c:v>0</c:v>
                </c:pt>
                <c:pt idx="1897">
                  <c:v>1</c:v>
                </c:pt>
                <c:pt idx="1898">
                  <c:v>0</c:v>
                </c:pt>
                <c:pt idx="1899">
                  <c:v>1</c:v>
                </c:pt>
                <c:pt idx="1900">
                  <c:v>0</c:v>
                </c:pt>
                <c:pt idx="1901">
                  <c:v>0</c:v>
                </c:pt>
                <c:pt idx="1902">
                  <c:v>1</c:v>
                </c:pt>
                <c:pt idx="1903">
                  <c:v>2</c:v>
                </c:pt>
                <c:pt idx="1904">
                  <c:v>0</c:v>
                </c:pt>
                <c:pt idx="1905">
                  <c:v>1</c:v>
                </c:pt>
                <c:pt idx="1906">
                  <c:v>3</c:v>
                </c:pt>
                <c:pt idx="1907">
                  <c:v>4</c:v>
                </c:pt>
                <c:pt idx="1908">
                  <c:v>4</c:v>
                </c:pt>
                <c:pt idx="1909">
                  <c:v>0</c:v>
                </c:pt>
                <c:pt idx="1910">
                  <c:v>1</c:v>
                </c:pt>
                <c:pt idx="1911">
                  <c:v>0</c:v>
                </c:pt>
                <c:pt idx="1912">
                  <c:v>0</c:v>
                </c:pt>
                <c:pt idx="1913">
                  <c:v>0</c:v>
                </c:pt>
                <c:pt idx="1914">
                  <c:v>0</c:v>
                </c:pt>
                <c:pt idx="1915">
                  <c:v>0</c:v>
                </c:pt>
                <c:pt idx="1916">
                  <c:v>1</c:v>
                </c:pt>
                <c:pt idx="1917">
                  <c:v>0</c:v>
                </c:pt>
                <c:pt idx="1918">
                  <c:v>0</c:v>
                </c:pt>
                <c:pt idx="1919">
                  <c:v>11</c:v>
                </c:pt>
                <c:pt idx="1920">
                  <c:v>2</c:v>
                </c:pt>
                <c:pt idx="1921">
                  <c:v>0</c:v>
                </c:pt>
                <c:pt idx="1922">
                  <c:v>0</c:v>
                </c:pt>
                <c:pt idx="1923">
                  <c:v>0</c:v>
                </c:pt>
                <c:pt idx="1924">
                  <c:v>1</c:v>
                </c:pt>
                <c:pt idx="1925">
                  <c:v>0</c:v>
                </c:pt>
                <c:pt idx="1926">
                  <c:v>1</c:v>
                </c:pt>
                <c:pt idx="1927">
                  <c:v>4</c:v>
                </c:pt>
                <c:pt idx="1928">
                  <c:v>0</c:v>
                </c:pt>
                <c:pt idx="1929">
                  <c:v>0</c:v>
                </c:pt>
                <c:pt idx="1930">
                  <c:v>1</c:v>
                </c:pt>
                <c:pt idx="1931">
                  <c:v>0</c:v>
                </c:pt>
                <c:pt idx="1932">
                  <c:v>5</c:v>
                </c:pt>
                <c:pt idx="1933">
                  <c:v>1</c:v>
                </c:pt>
                <c:pt idx="1934">
                  <c:v>0</c:v>
                </c:pt>
                <c:pt idx="1935">
                  <c:v>0</c:v>
                </c:pt>
                <c:pt idx="1936">
                  <c:v>0</c:v>
                </c:pt>
                <c:pt idx="1937">
                  <c:v>1</c:v>
                </c:pt>
                <c:pt idx="1938">
                  <c:v>1</c:v>
                </c:pt>
                <c:pt idx="1939">
                  <c:v>1</c:v>
                </c:pt>
                <c:pt idx="1940">
                  <c:v>0</c:v>
                </c:pt>
                <c:pt idx="1941">
                  <c:v>1</c:v>
                </c:pt>
                <c:pt idx="1942">
                  <c:v>0</c:v>
                </c:pt>
                <c:pt idx="1943">
                  <c:v>0</c:v>
                </c:pt>
                <c:pt idx="1944">
                  <c:v>0</c:v>
                </c:pt>
                <c:pt idx="1945">
                  <c:v>0</c:v>
                </c:pt>
                <c:pt idx="1946">
                  <c:v>0</c:v>
                </c:pt>
                <c:pt idx="1947">
                  <c:v>4</c:v>
                </c:pt>
                <c:pt idx="1948">
                  <c:v>1</c:v>
                </c:pt>
                <c:pt idx="1949">
                  <c:v>0</c:v>
                </c:pt>
                <c:pt idx="1950">
                  <c:v>1</c:v>
                </c:pt>
                <c:pt idx="1951">
                  <c:v>0</c:v>
                </c:pt>
                <c:pt idx="1952">
                  <c:v>0</c:v>
                </c:pt>
                <c:pt idx="1953">
                  <c:v>0</c:v>
                </c:pt>
                <c:pt idx="1954">
                  <c:v>1</c:v>
                </c:pt>
                <c:pt idx="1955">
                  <c:v>0</c:v>
                </c:pt>
                <c:pt idx="1956">
                  <c:v>2</c:v>
                </c:pt>
                <c:pt idx="1957">
                  <c:v>4</c:v>
                </c:pt>
                <c:pt idx="1958">
                  <c:v>1</c:v>
                </c:pt>
                <c:pt idx="1959">
                  <c:v>0</c:v>
                </c:pt>
                <c:pt idx="1960">
                  <c:v>1</c:v>
                </c:pt>
                <c:pt idx="1961">
                  <c:v>3</c:v>
                </c:pt>
                <c:pt idx="1962">
                  <c:v>0</c:v>
                </c:pt>
                <c:pt idx="1963">
                  <c:v>0</c:v>
                </c:pt>
                <c:pt idx="1964">
                  <c:v>1</c:v>
                </c:pt>
                <c:pt idx="1965">
                  <c:v>0</c:v>
                </c:pt>
                <c:pt idx="1966">
                  <c:v>0</c:v>
                </c:pt>
                <c:pt idx="1967">
                  <c:v>5</c:v>
                </c:pt>
                <c:pt idx="1968">
                  <c:v>0</c:v>
                </c:pt>
                <c:pt idx="1969">
                  <c:v>1</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2</c:v>
                </c:pt>
                <c:pt idx="1983">
                  <c:v>0</c:v>
                </c:pt>
                <c:pt idx="1984">
                  <c:v>1</c:v>
                </c:pt>
                <c:pt idx="1985">
                  <c:v>1</c:v>
                </c:pt>
                <c:pt idx="1986">
                  <c:v>1</c:v>
                </c:pt>
                <c:pt idx="1987">
                  <c:v>1</c:v>
                </c:pt>
                <c:pt idx="1988">
                  <c:v>0</c:v>
                </c:pt>
                <c:pt idx="1989">
                  <c:v>2</c:v>
                </c:pt>
                <c:pt idx="1990">
                  <c:v>0</c:v>
                </c:pt>
                <c:pt idx="1991">
                  <c:v>0</c:v>
                </c:pt>
                <c:pt idx="1992">
                  <c:v>0</c:v>
                </c:pt>
                <c:pt idx="1993">
                  <c:v>1</c:v>
                </c:pt>
                <c:pt idx="1994">
                  <c:v>1</c:v>
                </c:pt>
                <c:pt idx="1995">
                  <c:v>0</c:v>
                </c:pt>
                <c:pt idx="1996">
                  <c:v>0</c:v>
                </c:pt>
                <c:pt idx="1997">
                  <c:v>0</c:v>
                </c:pt>
                <c:pt idx="1998">
                  <c:v>1</c:v>
                </c:pt>
                <c:pt idx="1999">
                  <c:v>1</c:v>
                </c:pt>
                <c:pt idx="2000">
                  <c:v>0</c:v>
                </c:pt>
                <c:pt idx="2001">
                  <c:v>3</c:v>
                </c:pt>
                <c:pt idx="2002">
                  <c:v>0</c:v>
                </c:pt>
                <c:pt idx="2003">
                  <c:v>3</c:v>
                </c:pt>
                <c:pt idx="2004">
                  <c:v>0</c:v>
                </c:pt>
                <c:pt idx="2005">
                  <c:v>0</c:v>
                </c:pt>
                <c:pt idx="2006">
                  <c:v>0</c:v>
                </c:pt>
                <c:pt idx="2007">
                  <c:v>4</c:v>
                </c:pt>
                <c:pt idx="2008">
                  <c:v>1</c:v>
                </c:pt>
                <c:pt idx="2009">
                  <c:v>0</c:v>
                </c:pt>
                <c:pt idx="2010">
                  <c:v>0</c:v>
                </c:pt>
                <c:pt idx="2011">
                  <c:v>0</c:v>
                </c:pt>
                <c:pt idx="2012">
                  <c:v>1</c:v>
                </c:pt>
                <c:pt idx="2013">
                  <c:v>0</c:v>
                </c:pt>
                <c:pt idx="2014">
                  <c:v>1</c:v>
                </c:pt>
                <c:pt idx="2015">
                  <c:v>0</c:v>
                </c:pt>
                <c:pt idx="2016">
                  <c:v>1</c:v>
                </c:pt>
                <c:pt idx="2017">
                  <c:v>0</c:v>
                </c:pt>
                <c:pt idx="2018">
                  <c:v>0</c:v>
                </c:pt>
                <c:pt idx="2019">
                  <c:v>1</c:v>
                </c:pt>
                <c:pt idx="2020">
                  <c:v>1</c:v>
                </c:pt>
                <c:pt idx="2021">
                  <c:v>0</c:v>
                </c:pt>
                <c:pt idx="2022">
                  <c:v>0</c:v>
                </c:pt>
                <c:pt idx="2023">
                  <c:v>3</c:v>
                </c:pt>
                <c:pt idx="2024">
                  <c:v>0</c:v>
                </c:pt>
                <c:pt idx="2025">
                  <c:v>0</c:v>
                </c:pt>
                <c:pt idx="2026">
                  <c:v>0</c:v>
                </c:pt>
                <c:pt idx="2027">
                  <c:v>2</c:v>
                </c:pt>
                <c:pt idx="2028">
                  <c:v>0</c:v>
                </c:pt>
                <c:pt idx="2029">
                  <c:v>0</c:v>
                </c:pt>
                <c:pt idx="2030">
                  <c:v>0</c:v>
                </c:pt>
                <c:pt idx="2031">
                  <c:v>0</c:v>
                </c:pt>
                <c:pt idx="2032">
                  <c:v>1</c:v>
                </c:pt>
                <c:pt idx="2033">
                  <c:v>4</c:v>
                </c:pt>
                <c:pt idx="2034">
                  <c:v>0</c:v>
                </c:pt>
                <c:pt idx="2035">
                  <c:v>5</c:v>
                </c:pt>
                <c:pt idx="2036">
                  <c:v>1</c:v>
                </c:pt>
                <c:pt idx="2037">
                  <c:v>4</c:v>
                </c:pt>
                <c:pt idx="2038">
                  <c:v>0</c:v>
                </c:pt>
                <c:pt idx="2039">
                  <c:v>0</c:v>
                </c:pt>
                <c:pt idx="2040">
                  <c:v>0</c:v>
                </c:pt>
                <c:pt idx="2041">
                  <c:v>0</c:v>
                </c:pt>
                <c:pt idx="2042">
                  <c:v>0</c:v>
                </c:pt>
                <c:pt idx="2043">
                  <c:v>1</c:v>
                </c:pt>
                <c:pt idx="2044">
                  <c:v>0</c:v>
                </c:pt>
                <c:pt idx="2045">
                  <c:v>0</c:v>
                </c:pt>
                <c:pt idx="2046">
                  <c:v>0</c:v>
                </c:pt>
                <c:pt idx="2047">
                  <c:v>2</c:v>
                </c:pt>
                <c:pt idx="2048">
                  <c:v>2</c:v>
                </c:pt>
                <c:pt idx="2049">
                  <c:v>0</c:v>
                </c:pt>
                <c:pt idx="2050">
                  <c:v>0</c:v>
                </c:pt>
                <c:pt idx="2051">
                  <c:v>6</c:v>
                </c:pt>
                <c:pt idx="2052">
                  <c:v>0</c:v>
                </c:pt>
                <c:pt idx="2053">
                  <c:v>0</c:v>
                </c:pt>
                <c:pt idx="2054">
                  <c:v>0</c:v>
                </c:pt>
                <c:pt idx="2055">
                  <c:v>0</c:v>
                </c:pt>
                <c:pt idx="2056">
                  <c:v>0</c:v>
                </c:pt>
                <c:pt idx="2057">
                  <c:v>0</c:v>
                </c:pt>
                <c:pt idx="2058">
                  <c:v>0</c:v>
                </c:pt>
                <c:pt idx="2059">
                  <c:v>4</c:v>
                </c:pt>
                <c:pt idx="2060">
                  <c:v>0</c:v>
                </c:pt>
                <c:pt idx="2061">
                  <c:v>0</c:v>
                </c:pt>
                <c:pt idx="2062">
                  <c:v>0</c:v>
                </c:pt>
                <c:pt idx="2063">
                  <c:v>0</c:v>
                </c:pt>
                <c:pt idx="2064">
                  <c:v>0</c:v>
                </c:pt>
                <c:pt idx="2065">
                  <c:v>0</c:v>
                </c:pt>
                <c:pt idx="2066">
                  <c:v>0</c:v>
                </c:pt>
                <c:pt idx="2067">
                  <c:v>0</c:v>
                </c:pt>
                <c:pt idx="2068">
                  <c:v>0</c:v>
                </c:pt>
                <c:pt idx="2069">
                  <c:v>6</c:v>
                </c:pt>
                <c:pt idx="2070">
                  <c:v>2</c:v>
                </c:pt>
                <c:pt idx="2071">
                  <c:v>0</c:v>
                </c:pt>
                <c:pt idx="2072">
                  <c:v>0</c:v>
                </c:pt>
                <c:pt idx="2073">
                  <c:v>2</c:v>
                </c:pt>
                <c:pt idx="2074">
                  <c:v>0</c:v>
                </c:pt>
                <c:pt idx="2075">
                  <c:v>0</c:v>
                </c:pt>
                <c:pt idx="2076">
                  <c:v>2</c:v>
                </c:pt>
                <c:pt idx="2077">
                  <c:v>0</c:v>
                </c:pt>
                <c:pt idx="2078">
                  <c:v>0</c:v>
                </c:pt>
                <c:pt idx="2079">
                  <c:v>0</c:v>
                </c:pt>
                <c:pt idx="2080">
                  <c:v>1</c:v>
                </c:pt>
                <c:pt idx="2081">
                  <c:v>0</c:v>
                </c:pt>
                <c:pt idx="2082">
                  <c:v>0</c:v>
                </c:pt>
                <c:pt idx="2083">
                  <c:v>0</c:v>
                </c:pt>
                <c:pt idx="2084">
                  <c:v>0</c:v>
                </c:pt>
                <c:pt idx="2085">
                  <c:v>0</c:v>
                </c:pt>
                <c:pt idx="2086">
                  <c:v>0</c:v>
                </c:pt>
                <c:pt idx="2087">
                  <c:v>0</c:v>
                </c:pt>
                <c:pt idx="2088">
                  <c:v>0</c:v>
                </c:pt>
                <c:pt idx="2089">
                  <c:v>2</c:v>
                </c:pt>
                <c:pt idx="2090">
                  <c:v>0</c:v>
                </c:pt>
                <c:pt idx="2091">
                  <c:v>0</c:v>
                </c:pt>
                <c:pt idx="2092">
                  <c:v>0</c:v>
                </c:pt>
                <c:pt idx="2093">
                  <c:v>0</c:v>
                </c:pt>
                <c:pt idx="2094">
                  <c:v>0</c:v>
                </c:pt>
                <c:pt idx="2095">
                  <c:v>4</c:v>
                </c:pt>
                <c:pt idx="2096">
                  <c:v>1</c:v>
                </c:pt>
                <c:pt idx="2097">
                  <c:v>2</c:v>
                </c:pt>
                <c:pt idx="2098">
                  <c:v>1</c:v>
                </c:pt>
                <c:pt idx="2099">
                  <c:v>2</c:v>
                </c:pt>
                <c:pt idx="2100">
                  <c:v>1</c:v>
                </c:pt>
                <c:pt idx="2101">
                  <c:v>0</c:v>
                </c:pt>
                <c:pt idx="2102">
                  <c:v>2</c:v>
                </c:pt>
                <c:pt idx="2103">
                  <c:v>2</c:v>
                </c:pt>
                <c:pt idx="2104">
                  <c:v>0</c:v>
                </c:pt>
                <c:pt idx="2105">
                  <c:v>1</c:v>
                </c:pt>
                <c:pt idx="2106">
                  <c:v>0</c:v>
                </c:pt>
                <c:pt idx="2107">
                  <c:v>0</c:v>
                </c:pt>
                <c:pt idx="2108">
                  <c:v>0</c:v>
                </c:pt>
                <c:pt idx="2109">
                  <c:v>1</c:v>
                </c:pt>
                <c:pt idx="2110">
                  <c:v>1</c:v>
                </c:pt>
                <c:pt idx="2111">
                  <c:v>0</c:v>
                </c:pt>
                <c:pt idx="2112">
                  <c:v>0</c:v>
                </c:pt>
                <c:pt idx="2113">
                  <c:v>2</c:v>
                </c:pt>
                <c:pt idx="2114">
                  <c:v>3</c:v>
                </c:pt>
                <c:pt idx="2115">
                  <c:v>1</c:v>
                </c:pt>
                <c:pt idx="2116">
                  <c:v>0</c:v>
                </c:pt>
                <c:pt idx="2117">
                  <c:v>0</c:v>
                </c:pt>
                <c:pt idx="2118">
                  <c:v>0</c:v>
                </c:pt>
                <c:pt idx="2119">
                  <c:v>0</c:v>
                </c:pt>
                <c:pt idx="2120">
                  <c:v>6</c:v>
                </c:pt>
                <c:pt idx="2121">
                  <c:v>2</c:v>
                </c:pt>
                <c:pt idx="2122">
                  <c:v>0</c:v>
                </c:pt>
                <c:pt idx="2123">
                  <c:v>3</c:v>
                </c:pt>
                <c:pt idx="2124">
                  <c:v>0</c:v>
                </c:pt>
                <c:pt idx="2125">
                  <c:v>0</c:v>
                </c:pt>
                <c:pt idx="2126">
                  <c:v>0</c:v>
                </c:pt>
                <c:pt idx="2127">
                  <c:v>0</c:v>
                </c:pt>
                <c:pt idx="2128">
                  <c:v>0</c:v>
                </c:pt>
                <c:pt idx="2129">
                  <c:v>4</c:v>
                </c:pt>
                <c:pt idx="2130">
                  <c:v>0</c:v>
                </c:pt>
                <c:pt idx="2131">
                  <c:v>0</c:v>
                </c:pt>
                <c:pt idx="2132">
                  <c:v>2</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3</c:v>
                </c:pt>
                <c:pt idx="2146">
                  <c:v>1</c:v>
                </c:pt>
                <c:pt idx="2147">
                  <c:v>0</c:v>
                </c:pt>
                <c:pt idx="2148">
                  <c:v>0</c:v>
                </c:pt>
                <c:pt idx="2149">
                  <c:v>2</c:v>
                </c:pt>
                <c:pt idx="2150">
                  <c:v>0</c:v>
                </c:pt>
                <c:pt idx="2151">
                  <c:v>0</c:v>
                </c:pt>
                <c:pt idx="2152">
                  <c:v>0</c:v>
                </c:pt>
                <c:pt idx="2153">
                  <c:v>4</c:v>
                </c:pt>
                <c:pt idx="2154">
                  <c:v>0</c:v>
                </c:pt>
                <c:pt idx="2155">
                  <c:v>0</c:v>
                </c:pt>
                <c:pt idx="2156">
                  <c:v>2</c:v>
                </c:pt>
                <c:pt idx="2157">
                  <c:v>0</c:v>
                </c:pt>
                <c:pt idx="2158">
                  <c:v>2</c:v>
                </c:pt>
                <c:pt idx="2159">
                  <c:v>0</c:v>
                </c:pt>
                <c:pt idx="2160">
                  <c:v>0</c:v>
                </c:pt>
                <c:pt idx="2161">
                  <c:v>3</c:v>
                </c:pt>
                <c:pt idx="2162">
                  <c:v>3</c:v>
                </c:pt>
                <c:pt idx="2163">
                  <c:v>2</c:v>
                </c:pt>
                <c:pt idx="2164">
                  <c:v>0</c:v>
                </c:pt>
                <c:pt idx="2165">
                  <c:v>2</c:v>
                </c:pt>
                <c:pt idx="2166">
                  <c:v>0</c:v>
                </c:pt>
                <c:pt idx="2167">
                  <c:v>4</c:v>
                </c:pt>
                <c:pt idx="2168">
                  <c:v>0</c:v>
                </c:pt>
                <c:pt idx="2169">
                  <c:v>0</c:v>
                </c:pt>
                <c:pt idx="2170">
                  <c:v>0</c:v>
                </c:pt>
                <c:pt idx="2171">
                  <c:v>0</c:v>
                </c:pt>
                <c:pt idx="2172">
                  <c:v>0</c:v>
                </c:pt>
                <c:pt idx="2173">
                  <c:v>0</c:v>
                </c:pt>
                <c:pt idx="2174">
                  <c:v>0</c:v>
                </c:pt>
                <c:pt idx="2175">
                  <c:v>0</c:v>
                </c:pt>
                <c:pt idx="2176">
                  <c:v>0</c:v>
                </c:pt>
                <c:pt idx="2177">
                  <c:v>0</c:v>
                </c:pt>
                <c:pt idx="2178">
                  <c:v>0</c:v>
                </c:pt>
                <c:pt idx="2179">
                  <c:v>3</c:v>
                </c:pt>
                <c:pt idx="2180">
                  <c:v>1</c:v>
                </c:pt>
                <c:pt idx="2181">
                  <c:v>0</c:v>
                </c:pt>
                <c:pt idx="2182">
                  <c:v>0</c:v>
                </c:pt>
                <c:pt idx="2183">
                  <c:v>4</c:v>
                </c:pt>
                <c:pt idx="2184">
                  <c:v>3</c:v>
                </c:pt>
                <c:pt idx="2185">
                  <c:v>0</c:v>
                </c:pt>
                <c:pt idx="2186">
                  <c:v>0</c:v>
                </c:pt>
                <c:pt idx="2187">
                  <c:v>1</c:v>
                </c:pt>
                <c:pt idx="2188">
                  <c:v>0</c:v>
                </c:pt>
                <c:pt idx="2189">
                  <c:v>0</c:v>
                </c:pt>
                <c:pt idx="2190">
                  <c:v>0</c:v>
                </c:pt>
                <c:pt idx="2191">
                  <c:v>0</c:v>
                </c:pt>
                <c:pt idx="2192">
                  <c:v>0</c:v>
                </c:pt>
                <c:pt idx="2193">
                  <c:v>0</c:v>
                </c:pt>
                <c:pt idx="2194">
                  <c:v>0</c:v>
                </c:pt>
                <c:pt idx="2195">
                  <c:v>0</c:v>
                </c:pt>
                <c:pt idx="2196">
                  <c:v>0</c:v>
                </c:pt>
                <c:pt idx="2197">
                  <c:v>3</c:v>
                </c:pt>
                <c:pt idx="2198">
                  <c:v>0</c:v>
                </c:pt>
                <c:pt idx="2199">
                  <c:v>0</c:v>
                </c:pt>
                <c:pt idx="2200">
                  <c:v>2</c:v>
                </c:pt>
                <c:pt idx="2201">
                  <c:v>1</c:v>
                </c:pt>
                <c:pt idx="2202">
                  <c:v>0</c:v>
                </c:pt>
                <c:pt idx="2203">
                  <c:v>0</c:v>
                </c:pt>
                <c:pt idx="2204">
                  <c:v>0</c:v>
                </c:pt>
                <c:pt idx="2205">
                  <c:v>0</c:v>
                </c:pt>
                <c:pt idx="2206">
                  <c:v>1</c:v>
                </c:pt>
                <c:pt idx="2207">
                  <c:v>1</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1</c:v>
                </c:pt>
                <c:pt idx="2222">
                  <c:v>0</c:v>
                </c:pt>
                <c:pt idx="2223">
                  <c:v>0</c:v>
                </c:pt>
                <c:pt idx="2224">
                  <c:v>2</c:v>
                </c:pt>
                <c:pt idx="2225">
                  <c:v>0</c:v>
                </c:pt>
                <c:pt idx="2226">
                  <c:v>2</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3</c:v>
                </c:pt>
                <c:pt idx="2250">
                  <c:v>2</c:v>
                </c:pt>
                <c:pt idx="2251">
                  <c:v>0</c:v>
                </c:pt>
                <c:pt idx="2252">
                  <c:v>0</c:v>
                </c:pt>
                <c:pt idx="2253">
                  <c:v>0</c:v>
                </c:pt>
                <c:pt idx="2254">
                  <c:v>0</c:v>
                </c:pt>
                <c:pt idx="2255">
                  <c:v>0</c:v>
                </c:pt>
                <c:pt idx="2256">
                  <c:v>0</c:v>
                </c:pt>
                <c:pt idx="2257">
                  <c:v>0</c:v>
                </c:pt>
                <c:pt idx="2258">
                  <c:v>0</c:v>
                </c:pt>
                <c:pt idx="2259">
                  <c:v>0</c:v>
                </c:pt>
                <c:pt idx="2260">
                  <c:v>0</c:v>
                </c:pt>
                <c:pt idx="2261">
                  <c:v>1</c:v>
                </c:pt>
                <c:pt idx="2262">
                  <c:v>0</c:v>
                </c:pt>
                <c:pt idx="2263">
                  <c:v>6</c:v>
                </c:pt>
                <c:pt idx="2264">
                  <c:v>1</c:v>
                </c:pt>
                <c:pt idx="2265">
                  <c:v>0</c:v>
                </c:pt>
                <c:pt idx="2266">
                  <c:v>0</c:v>
                </c:pt>
                <c:pt idx="2267">
                  <c:v>0</c:v>
                </c:pt>
                <c:pt idx="2268">
                  <c:v>0</c:v>
                </c:pt>
                <c:pt idx="2269">
                  <c:v>1</c:v>
                </c:pt>
                <c:pt idx="2270">
                  <c:v>0</c:v>
                </c:pt>
                <c:pt idx="2271">
                  <c:v>0</c:v>
                </c:pt>
                <c:pt idx="2272">
                  <c:v>4</c:v>
                </c:pt>
                <c:pt idx="2273">
                  <c:v>0</c:v>
                </c:pt>
                <c:pt idx="2274">
                  <c:v>0</c:v>
                </c:pt>
                <c:pt idx="2275">
                  <c:v>0</c:v>
                </c:pt>
                <c:pt idx="2276">
                  <c:v>1</c:v>
                </c:pt>
                <c:pt idx="2277">
                  <c:v>0</c:v>
                </c:pt>
                <c:pt idx="2278">
                  <c:v>0</c:v>
                </c:pt>
                <c:pt idx="2279">
                  <c:v>0</c:v>
                </c:pt>
                <c:pt idx="2280">
                  <c:v>0</c:v>
                </c:pt>
                <c:pt idx="2281">
                  <c:v>1</c:v>
                </c:pt>
                <c:pt idx="2282">
                  <c:v>0</c:v>
                </c:pt>
                <c:pt idx="2283">
                  <c:v>0</c:v>
                </c:pt>
                <c:pt idx="2284">
                  <c:v>2</c:v>
                </c:pt>
                <c:pt idx="2285">
                  <c:v>1</c:v>
                </c:pt>
                <c:pt idx="2286">
                  <c:v>0</c:v>
                </c:pt>
                <c:pt idx="2287">
                  <c:v>0</c:v>
                </c:pt>
                <c:pt idx="2288">
                  <c:v>0</c:v>
                </c:pt>
                <c:pt idx="2289">
                  <c:v>0</c:v>
                </c:pt>
                <c:pt idx="2290">
                  <c:v>0</c:v>
                </c:pt>
                <c:pt idx="2291">
                  <c:v>0</c:v>
                </c:pt>
                <c:pt idx="2292">
                  <c:v>0</c:v>
                </c:pt>
                <c:pt idx="2293">
                  <c:v>0</c:v>
                </c:pt>
                <c:pt idx="2294">
                  <c:v>0</c:v>
                </c:pt>
                <c:pt idx="2295">
                  <c:v>0</c:v>
                </c:pt>
                <c:pt idx="2296">
                  <c:v>0</c:v>
                </c:pt>
                <c:pt idx="2297">
                  <c:v>3</c:v>
                </c:pt>
                <c:pt idx="2298">
                  <c:v>0</c:v>
                </c:pt>
                <c:pt idx="2299">
                  <c:v>0</c:v>
                </c:pt>
                <c:pt idx="2300">
                  <c:v>1</c:v>
                </c:pt>
                <c:pt idx="2301">
                  <c:v>3</c:v>
                </c:pt>
                <c:pt idx="2302">
                  <c:v>0</c:v>
                </c:pt>
                <c:pt idx="2303">
                  <c:v>0</c:v>
                </c:pt>
                <c:pt idx="2304">
                  <c:v>0</c:v>
                </c:pt>
                <c:pt idx="2305">
                  <c:v>6</c:v>
                </c:pt>
                <c:pt idx="2306">
                  <c:v>0</c:v>
                </c:pt>
                <c:pt idx="2307">
                  <c:v>2</c:v>
                </c:pt>
                <c:pt idx="2308">
                  <c:v>2</c:v>
                </c:pt>
                <c:pt idx="2309">
                  <c:v>0</c:v>
                </c:pt>
                <c:pt idx="2310">
                  <c:v>0</c:v>
                </c:pt>
                <c:pt idx="2311">
                  <c:v>0</c:v>
                </c:pt>
                <c:pt idx="2312">
                  <c:v>0</c:v>
                </c:pt>
                <c:pt idx="2313">
                  <c:v>0</c:v>
                </c:pt>
                <c:pt idx="2314">
                  <c:v>0</c:v>
                </c:pt>
                <c:pt idx="2315">
                  <c:v>1</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7</c:v>
                </c:pt>
                <c:pt idx="2329">
                  <c:v>0</c:v>
                </c:pt>
                <c:pt idx="2330">
                  <c:v>0</c:v>
                </c:pt>
                <c:pt idx="2331">
                  <c:v>0</c:v>
                </c:pt>
                <c:pt idx="2332">
                  <c:v>0</c:v>
                </c:pt>
                <c:pt idx="2333">
                  <c:v>0</c:v>
                </c:pt>
                <c:pt idx="2334">
                  <c:v>0</c:v>
                </c:pt>
                <c:pt idx="2335">
                  <c:v>0</c:v>
                </c:pt>
                <c:pt idx="2336">
                  <c:v>0</c:v>
                </c:pt>
                <c:pt idx="2337">
                  <c:v>4</c:v>
                </c:pt>
                <c:pt idx="2338">
                  <c:v>0</c:v>
                </c:pt>
                <c:pt idx="2339">
                  <c:v>0</c:v>
                </c:pt>
                <c:pt idx="2340">
                  <c:v>1</c:v>
                </c:pt>
                <c:pt idx="2341">
                  <c:v>5</c:v>
                </c:pt>
                <c:pt idx="2342">
                  <c:v>1</c:v>
                </c:pt>
                <c:pt idx="2343">
                  <c:v>0</c:v>
                </c:pt>
                <c:pt idx="2344">
                  <c:v>0</c:v>
                </c:pt>
                <c:pt idx="2345">
                  <c:v>1</c:v>
                </c:pt>
                <c:pt idx="2346">
                  <c:v>1</c:v>
                </c:pt>
                <c:pt idx="2347">
                  <c:v>1</c:v>
                </c:pt>
                <c:pt idx="2348">
                  <c:v>0</c:v>
                </c:pt>
                <c:pt idx="2349">
                  <c:v>0</c:v>
                </c:pt>
                <c:pt idx="2350">
                  <c:v>0</c:v>
                </c:pt>
                <c:pt idx="2351">
                  <c:v>0</c:v>
                </c:pt>
                <c:pt idx="2352">
                  <c:v>0</c:v>
                </c:pt>
                <c:pt idx="2353">
                  <c:v>0</c:v>
                </c:pt>
                <c:pt idx="2354">
                  <c:v>5</c:v>
                </c:pt>
                <c:pt idx="2355">
                  <c:v>0</c:v>
                </c:pt>
                <c:pt idx="2356">
                  <c:v>0</c:v>
                </c:pt>
                <c:pt idx="2357">
                  <c:v>0</c:v>
                </c:pt>
                <c:pt idx="2358">
                  <c:v>0</c:v>
                </c:pt>
                <c:pt idx="2359">
                  <c:v>2</c:v>
                </c:pt>
                <c:pt idx="2360">
                  <c:v>0</c:v>
                </c:pt>
                <c:pt idx="2361">
                  <c:v>1</c:v>
                </c:pt>
                <c:pt idx="2362">
                  <c:v>0</c:v>
                </c:pt>
                <c:pt idx="2363">
                  <c:v>0</c:v>
                </c:pt>
                <c:pt idx="2364">
                  <c:v>1</c:v>
                </c:pt>
                <c:pt idx="2365">
                  <c:v>1</c:v>
                </c:pt>
                <c:pt idx="2366">
                  <c:v>0</c:v>
                </c:pt>
                <c:pt idx="2367">
                  <c:v>9</c:v>
                </c:pt>
                <c:pt idx="2368">
                  <c:v>1</c:v>
                </c:pt>
                <c:pt idx="2369">
                  <c:v>3</c:v>
                </c:pt>
                <c:pt idx="2370">
                  <c:v>0</c:v>
                </c:pt>
                <c:pt idx="2371">
                  <c:v>0</c:v>
                </c:pt>
                <c:pt idx="2372">
                  <c:v>3</c:v>
                </c:pt>
                <c:pt idx="2373">
                  <c:v>0</c:v>
                </c:pt>
                <c:pt idx="2374">
                  <c:v>0</c:v>
                </c:pt>
                <c:pt idx="2375">
                  <c:v>0</c:v>
                </c:pt>
                <c:pt idx="2376">
                  <c:v>1</c:v>
                </c:pt>
                <c:pt idx="2377">
                  <c:v>1</c:v>
                </c:pt>
                <c:pt idx="2378">
                  <c:v>3</c:v>
                </c:pt>
                <c:pt idx="2379">
                  <c:v>0</c:v>
                </c:pt>
                <c:pt idx="2380">
                  <c:v>0</c:v>
                </c:pt>
                <c:pt idx="2381">
                  <c:v>0</c:v>
                </c:pt>
                <c:pt idx="2382">
                  <c:v>1</c:v>
                </c:pt>
                <c:pt idx="2383">
                  <c:v>0</c:v>
                </c:pt>
                <c:pt idx="2384">
                  <c:v>0</c:v>
                </c:pt>
                <c:pt idx="2385">
                  <c:v>1</c:v>
                </c:pt>
                <c:pt idx="2386">
                  <c:v>3</c:v>
                </c:pt>
                <c:pt idx="2387">
                  <c:v>2</c:v>
                </c:pt>
                <c:pt idx="2388">
                  <c:v>0</c:v>
                </c:pt>
                <c:pt idx="2389">
                  <c:v>27</c:v>
                </c:pt>
                <c:pt idx="2390">
                  <c:v>1</c:v>
                </c:pt>
                <c:pt idx="2391">
                  <c:v>10</c:v>
                </c:pt>
                <c:pt idx="2392">
                  <c:v>2</c:v>
                </c:pt>
                <c:pt idx="2393">
                  <c:v>8</c:v>
                </c:pt>
                <c:pt idx="2394">
                  <c:v>17</c:v>
                </c:pt>
                <c:pt idx="2395">
                  <c:v>6</c:v>
                </c:pt>
                <c:pt idx="2396">
                  <c:v>16</c:v>
                </c:pt>
                <c:pt idx="2397">
                  <c:v>16</c:v>
                </c:pt>
                <c:pt idx="2398">
                  <c:v>23</c:v>
                </c:pt>
                <c:pt idx="2399">
                  <c:v>32</c:v>
                </c:pt>
                <c:pt idx="2400">
                  <c:v>4</c:v>
                </c:pt>
                <c:pt idx="2401">
                  <c:v>18</c:v>
                </c:pt>
                <c:pt idx="2402">
                  <c:v>12</c:v>
                </c:pt>
                <c:pt idx="2403">
                  <c:v>6</c:v>
                </c:pt>
                <c:pt idx="2404">
                  <c:v>7</c:v>
                </c:pt>
                <c:pt idx="2405">
                  <c:v>2</c:v>
                </c:pt>
                <c:pt idx="2406">
                  <c:v>4</c:v>
                </c:pt>
                <c:pt idx="2407">
                  <c:v>7</c:v>
                </c:pt>
                <c:pt idx="2408">
                  <c:v>2</c:v>
                </c:pt>
                <c:pt idx="2409">
                  <c:v>0</c:v>
                </c:pt>
                <c:pt idx="2410">
                  <c:v>1</c:v>
                </c:pt>
                <c:pt idx="2411">
                  <c:v>2</c:v>
                </c:pt>
                <c:pt idx="2412">
                  <c:v>1</c:v>
                </c:pt>
                <c:pt idx="2413">
                  <c:v>1</c:v>
                </c:pt>
                <c:pt idx="2414">
                  <c:v>1</c:v>
                </c:pt>
                <c:pt idx="2415">
                  <c:v>22</c:v>
                </c:pt>
                <c:pt idx="2416">
                  <c:v>8</c:v>
                </c:pt>
                <c:pt idx="2417">
                  <c:v>0</c:v>
                </c:pt>
                <c:pt idx="2418">
                  <c:v>0</c:v>
                </c:pt>
                <c:pt idx="2419">
                  <c:v>1</c:v>
                </c:pt>
                <c:pt idx="2420">
                  <c:v>7</c:v>
                </c:pt>
                <c:pt idx="2421">
                  <c:v>3</c:v>
                </c:pt>
                <c:pt idx="2422">
                  <c:v>8</c:v>
                </c:pt>
                <c:pt idx="2423">
                  <c:v>3</c:v>
                </c:pt>
                <c:pt idx="2424">
                  <c:v>1</c:v>
                </c:pt>
                <c:pt idx="2425">
                  <c:v>1</c:v>
                </c:pt>
                <c:pt idx="2426">
                  <c:v>0</c:v>
                </c:pt>
                <c:pt idx="2427">
                  <c:v>0</c:v>
                </c:pt>
                <c:pt idx="2428">
                  <c:v>0</c:v>
                </c:pt>
                <c:pt idx="2429">
                  <c:v>2</c:v>
                </c:pt>
                <c:pt idx="2430">
                  <c:v>0</c:v>
                </c:pt>
                <c:pt idx="2431">
                  <c:v>0</c:v>
                </c:pt>
                <c:pt idx="2432">
                  <c:v>4</c:v>
                </c:pt>
                <c:pt idx="2433">
                  <c:v>1</c:v>
                </c:pt>
                <c:pt idx="2434">
                  <c:v>1</c:v>
                </c:pt>
                <c:pt idx="2435">
                  <c:v>5</c:v>
                </c:pt>
                <c:pt idx="2436">
                  <c:v>4</c:v>
                </c:pt>
                <c:pt idx="2437">
                  <c:v>0</c:v>
                </c:pt>
                <c:pt idx="2438">
                  <c:v>0</c:v>
                </c:pt>
                <c:pt idx="2439">
                  <c:v>0</c:v>
                </c:pt>
                <c:pt idx="2440">
                  <c:v>0</c:v>
                </c:pt>
                <c:pt idx="2441">
                  <c:v>0</c:v>
                </c:pt>
                <c:pt idx="2442">
                  <c:v>0</c:v>
                </c:pt>
                <c:pt idx="2443">
                  <c:v>2</c:v>
                </c:pt>
                <c:pt idx="2444">
                  <c:v>0</c:v>
                </c:pt>
                <c:pt idx="2445">
                  <c:v>0</c:v>
                </c:pt>
                <c:pt idx="2446">
                  <c:v>1</c:v>
                </c:pt>
                <c:pt idx="2447">
                  <c:v>1</c:v>
                </c:pt>
                <c:pt idx="2448">
                  <c:v>4</c:v>
                </c:pt>
                <c:pt idx="2449">
                  <c:v>0</c:v>
                </c:pt>
                <c:pt idx="2450">
                  <c:v>2</c:v>
                </c:pt>
                <c:pt idx="2451">
                  <c:v>0</c:v>
                </c:pt>
                <c:pt idx="2452">
                  <c:v>0</c:v>
                </c:pt>
                <c:pt idx="2453">
                  <c:v>2</c:v>
                </c:pt>
                <c:pt idx="2454">
                  <c:v>1</c:v>
                </c:pt>
                <c:pt idx="2455">
                  <c:v>0</c:v>
                </c:pt>
                <c:pt idx="2456">
                  <c:v>0</c:v>
                </c:pt>
                <c:pt idx="2457">
                  <c:v>1</c:v>
                </c:pt>
                <c:pt idx="2458">
                  <c:v>0</c:v>
                </c:pt>
                <c:pt idx="2459">
                  <c:v>0</c:v>
                </c:pt>
                <c:pt idx="2460">
                  <c:v>1</c:v>
                </c:pt>
                <c:pt idx="2461">
                  <c:v>0</c:v>
                </c:pt>
                <c:pt idx="2462">
                  <c:v>1</c:v>
                </c:pt>
                <c:pt idx="2463">
                  <c:v>0</c:v>
                </c:pt>
                <c:pt idx="2464">
                  <c:v>0</c:v>
                </c:pt>
                <c:pt idx="2465">
                  <c:v>0</c:v>
                </c:pt>
                <c:pt idx="2466">
                  <c:v>0</c:v>
                </c:pt>
                <c:pt idx="2467">
                  <c:v>2</c:v>
                </c:pt>
                <c:pt idx="2468">
                  <c:v>0</c:v>
                </c:pt>
                <c:pt idx="2469">
                  <c:v>1</c:v>
                </c:pt>
                <c:pt idx="2470">
                  <c:v>2</c:v>
                </c:pt>
                <c:pt idx="2471">
                  <c:v>0</c:v>
                </c:pt>
                <c:pt idx="2472">
                  <c:v>0</c:v>
                </c:pt>
                <c:pt idx="2473">
                  <c:v>0</c:v>
                </c:pt>
                <c:pt idx="2474">
                  <c:v>0</c:v>
                </c:pt>
                <c:pt idx="2475">
                  <c:v>1</c:v>
                </c:pt>
                <c:pt idx="2476">
                  <c:v>2</c:v>
                </c:pt>
                <c:pt idx="2477">
                  <c:v>0</c:v>
                </c:pt>
                <c:pt idx="2478">
                  <c:v>0</c:v>
                </c:pt>
                <c:pt idx="2479">
                  <c:v>0</c:v>
                </c:pt>
                <c:pt idx="2480">
                  <c:v>0</c:v>
                </c:pt>
                <c:pt idx="2481">
                  <c:v>0</c:v>
                </c:pt>
                <c:pt idx="2482">
                  <c:v>2</c:v>
                </c:pt>
                <c:pt idx="2483">
                  <c:v>0</c:v>
                </c:pt>
                <c:pt idx="2484">
                  <c:v>0</c:v>
                </c:pt>
                <c:pt idx="2485">
                  <c:v>0</c:v>
                </c:pt>
                <c:pt idx="2486">
                  <c:v>0</c:v>
                </c:pt>
                <c:pt idx="2487">
                  <c:v>2</c:v>
                </c:pt>
                <c:pt idx="2488">
                  <c:v>1</c:v>
                </c:pt>
                <c:pt idx="2489">
                  <c:v>1</c:v>
                </c:pt>
                <c:pt idx="2490">
                  <c:v>0</c:v>
                </c:pt>
                <c:pt idx="2491">
                  <c:v>0</c:v>
                </c:pt>
                <c:pt idx="2492">
                  <c:v>0</c:v>
                </c:pt>
                <c:pt idx="2493">
                  <c:v>3</c:v>
                </c:pt>
                <c:pt idx="2494">
                  <c:v>0</c:v>
                </c:pt>
                <c:pt idx="2495">
                  <c:v>0</c:v>
                </c:pt>
                <c:pt idx="2496">
                  <c:v>0</c:v>
                </c:pt>
                <c:pt idx="2497">
                  <c:v>0</c:v>
                </c:pt>
                <c:pt idx="2498">
                  <c:v>0</c:v>
                </c:pt>
                <c:pt idx="2499">
                  <c:v>0</c:v>
                </c:pt>
                <c:pt idx="2500">
                  <c:v>1</c:v>
                </c:pt>
                <c:pt idx="2501">
                  <c:v>1</c:v>
                </c:pt>
                <c:pt idx="2502">
                  <c:v>2</c:v>
                </c:pt>
                <c:pt idx="2503">
                  <c:v>0</c:v>
                </c:pt>
                <c:pt idx="2504">
                  <c:v>2</c:v>
                </c:pt>
                <c:pt idx="2505">
                  <c:v>0</c:v>
                </c:pt>
                <c:pt idx="2506">
                  <c:v>0</c:v>
                </c:pt>
                <c:pt idx="2507">
                  <c:v>1</c:v>
                </c:pt>
                <c:pt idx="2508">
                  <c:v>8</c:v>
                </c:pt>
                <c:pt idx="2509">
                  <c:v>0</c:v>
                </c:pt>
                <c:pt idx="2510">
                  <c:v>0</c:v>
                </c:pt>
                <c:pt idx="2511">
                  <c:v>0</c:v>
                </c:pt>
                <c:pt idx="2512">
                  <c:v>1</c:v>
                </c:pt>
                <c:pt idx="2513">
                  <c:v>0</c:v>
                </c:pt>
                <c:pt idx="2514">
                  <c:v>0</c:v>
                </c:pt>
                <c:pt idx="2515">
                  <c:v>0</c:v>
                </c:pt>
                <c:pt idx="2516">
                  <c:v>0</c:v>
                </c:pt>
                <c:pt idx="2517">
                  <c:v>2</c:v>
                </c:pt>
                <c:pt idx="2518">
                  <c:v>4</c:v>
                </c:pt>
                <c:pt idx="2519">
                  <c:v>0</c:v>
                </c:pt>
                <c:pt idx="2520">
                  <c:v>0</c:v>
                </c:pt>
                <c:pt idx="2521">
                  <c:v>0</c:v>
                </c:pt>
                <c:pt idx="2522">
                  <c:v>0</c:v>
                </c:pt>
                <c:pt idx="2523">
                  <c:v>1</c:v>
                </c:pt>
                <c:pt idx="2524">
                  <c:v>0</c:v>
                </c:pt>
                <c:pt idx="2525">
                  <c:v>0</c:v>
                </c:pt>
                <c:pt idx="2526">
                  <c:v>3</c:v>
                </c:pt>
                <c:pt idx="2527">
                  <c:v>0</c:v>
                </c:pt>
                <c:pt idx="2528">
                  <c:v>0</c:v>
                </c:pt>
                <c:pt idx="2529">
                  <c:v>0</c:v>
                </c:pt>
                <c:pt idx="2530">
                  <c:v>3</c:v>
                </c:pt>
                <c:pt idx="2531">
                  <c:v>0</c:v>
                </c:pt>
                <c:pt idx="2532">
                  <c:v>1</c:v>
                </c:pt>
                <c:pt idx="2533">
                  <c:v>3</c:v>
                </c:pt>
                <c:pt idx="2534">
                  <c:v>1</c:v>
                </c:pt>
                <c:pt idx="2535">
                  <c:v>1</c:v>
                </c:pt>
                <c:pt idx="2536">
                  <c:v>0</c:v>
                </c:pt>
                <c:pt idx="2537">
                  <c:v>1</c:v>
                </c:pt>
                <c:pt idx="2538">
                  <c:v>0</c:v>
                </c:pt>
                <c:pt idx="2539">
                  <c:v>0</c:v>
                </c:pt>
                <c:pt idx="2540">
                  <c:v>0</c:v>
                </c:pt>
                <c:pt idx="2541">
                  <c:v>1</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4</c:v>
                </c:pt>
                <c:pt idx="2558">
                  <c:v>1</c:v>
                </c:pt>
                <c:pt idx="2559">
                  <c:v>0</c:v>
                </c:pt>
                <c:pt idx="2560">
                  <c:v>4</c:v>
                </c:pt>
                <c:pt idx="2561">
                  <c:v>1</c:v>
                </c:pt>
                <c:pt idx="2562">
                  <c:v>0</c:v>
                </c:pt>
                <c:pt idx="2563">
                  <c:v>1</c:v>
                </c:pt>
                <c:pt idx="2564">
                  <c:v>0</c:v>
                </c:pt>
                <c:pt idx="2565">
                  <c:v>0</c:v>
                </c:pt>
                <c:pt idx="2566">
                  <c:v>0</c:v>
                </c:pt>
                <c:pt idx="2567">
                  <c:v>0</c:v>
                </c:pt>
                <c:pt idx="2568">
                  <c:v>0</c:v>
                </c:pt>
                <c:pt idx="2569">
                  <c:v>0</c:v>
                </c:pt>
                <c:pt idx="2570">
                  <c:v>0</c:v>
                </c:pt>
                <c:pt idx="2571">
                  <c:v>0</c:v>
                </c:pt>
                <c:pt idx="2572">
                  <c:v>2</c:v>
                </c:pt>
                <c:pt idx="2573">
                  <c:v>0</c:v>
                </c:pt>
                <c:pt idx="2574">
                  <c:v>1</c:v>
                </c:pt>
                <c:pt idx="2575">
                  <c:v>0</c:v>
                </c:pt>
                <c:pt idx="2576">
                  <c:v>0</c:v>
                </c:pt>
                <c:pt idx="2577">
                  <c:v>0</c:v>
                </c:pt>
                <c:pt idx="2578">
                  <c:v>0</c:v>
                </c:pt>
                <c:pt idx="2579">
                  <c:v>0</c:v>
                </c:pt>
                <c:pt idx="2580">
                  <c:v>0</c:v>
                </c:pt>
                <c:pt idx="2581">
                  <c:v>0</c:v>
                </c:pt>
                <c:pt idx="2582">
                  <c:v>0</c:v>
                </c:pt>
                <c:pt idx="2583">
                  <c:v>0</c:v>
                </c:pt>
                <c:pt idx="2584">
                  <c:v>0</c:v>
                </c:pt>
                <c:pt idx="2585">
                  <c:v>2</c:v>
                </c:pt>
                <c:pt idx="2586">
                  <c:v>0</c:v>
                </c:pt>
                <c:pt idx="2587">
                  <c:v>1</c:v>
                </c:pt>
                <c:pt idx="2588">
                  <c:v>1</c:v>
                </c:pt>
                <c:pt idx="2589">
                  <c:v>0</c:v>
                </c:pt>
                <c:pt idx="2590">
                  <c:v>0</c:v>
                </c:pt>
                <c:pt idx="2591">
                  <c:v>1</c:v>
                </c:pt>
                <c:pt idx="2592">
                  <c:v>0</c:v>
                </c:pt>
                <c:pt idx="2593">
                  <c:v>2</c:v>
                </c:pt>
                <c:pt idx="2594">
                  <c:v>0</c:v>
                </c:pt>
                <c:pt idx="2595">
                  <c:v>0</c:v>
                </c:pt>
                <c:pt idx="2596">
                  <c:v>3</c:v>
                </c:pt>
                <c:pt idx="2597">
                  <c:v>2</c:v>
                </c:pt>
                <c:pt idx="2598">
                  <c:v>2</c:v>
                </c:pt>
                <c:pt idx="2599">
                  <c:v>0</c:v>
                </c:pt>
                <c:pt idx="2600">
                  <c:v>7</c:v>
                </c:pt>
                <c:pt idx="2601">
                  <c:v>1</c:v>
                </c:pt>
                <c:pt idx="2602">
                  <c:v>1</c:v>
                </c:pt>
                <c:pt idx="2603">
                  <c:v>1</c:v>
                </c:pt>
                <c:pt idx="2604">
                  <c:v>2</c:v>
                </c:pt>
                <c:pt idx="2605">
                  <c:v>1</c:v>
                </c:pt>
                <c:pt idx="2606">
                  <c:v>0</c:v>
                </c:pt>
                <c:pt idx="2607">
                  <c:v>19</c:v>
                </c:pt>
                <c:pt idx="2608">
                  <c:v>0</c:v>
                </c:pt>
                <c:pt idx="2609">
                  <c:v>1</c:v>
                </c:pt>
                <c:pt idx="2610">
                  <c:v>1</c:v>
                </c:pt>
                <c:pt idx="2611">
                  <c:v>1</c:v>
                </c:pt>
                <c:pt idx="2612">
                  <c:v>0</c:v>
                </c:pt>
                <c:pt idx="2613">
                  <c:v>0</c:v>
                </c:pt>
                <c:pt idx="2614">
                  <c:v>3</c:v>
                </c:pt>
                <c:pt idx="2615">
                  <c:v>4</c:v>
                </c:pt>
                <c:pt idx="2616">
                  <c:v>1</c:v>
                </c:pt>
                <c:pt idx="2617">
                  <c:v>0</c:v>
                </c:pt>
                <c:pt idx="2618">
                  <c:v>0</c:v>
                </c:pt>
                <c:pt idx="2619">
                  <c:v>3</c:v>
                </c:pt>
                <c:pt idx="2620">
                  <c:v>3</c:v>
                </c:pt>
                <c:pt idx="2621">
                  <c:v>0</c:v>
                </c:pt>
                <c:pt idx="2622">
                  <c:v>7</c:v>
                </c:pt>
                <c:pt idx="2623">
                  <c:v>0</c:v>
                </c:pt>
                <c:pt idx="2624">
                  <c:v>0</c:v>
                </c:pt>
                <c:pt idx="2625">
                  <c:v>0</c:v>
                </c:pt>
                <c:pt idx="2626">
                  <c:v>0</c:v>
                </c:pt>
                <c:pt idx="2627">
                  <c:v>2</c:v>
                </c:pt>
                <c:pt idx="2628">
                  <c:v>0</c:v>
                </c:pt>
                <c:pt idx="2629">
                  <c:v>2</c:v>
                </c:pt>
                <c:pt idx="2630">
                  <c:v>0</c:v>
                </c:pt>
                <c:pt idx="2631">
                  <c:v>0</c:v>
                </c:pt>
                <c:pt idx="2632">
                  <c:v>0</c:v>
                </c:pt>
                <c:pt idx="2633">
                  <c:v>1</c:v>
                </c:pt>
                <c:pt idx="2634">
                  <c:v>0</c:v>
                </c:pt>
                <c:pt idx="2635">
                  <c:v>0</c:v>
                </c:pt>
                <c:pt idx="2636">
                  <c:v>1</c:v>
                </c:pt>
                <c:pt idx="2637">
                  <c:v>5</c:v>
                </c:pt>
                <c:pt idx="2638">
                  <c:v>1</c:v>
                </c:pt>
                <c:pt idx="2639">
                  <c:v>0</c:v>
                </c:pt>
                <c:pt idx="2640">
                  <c:v>0</c:v>
                </c:pt>
                <c:pt idx="2641">
                  <c:v>3</c:v>
                </c:pt>
                <c:pt idx="2642">
                  <c:v>1</c:v>
                </c:pt>
                <c:pt idx="2643">
                  <c:v>0</c:v>
                </c:pt>
                <c:pt idx="2644">
                  <c:v>2</c:v>
                </c:pt>
                <c:pt idx="2645">
                  <c:v>3</c:v>
                </c:pt>
                <c:pt idx="2646">
                  <c:v>2</c:v>
                </c:pt>
                <c:pt idx="2647">
                  <c:v>0</c:v>
                </c:pt>
                <c:pt idx="2648">
                  <c:v>1</c:v>
                </c:pt>
                <c:pt idx="2649">
                  <c:v>1</c:v>
                </c:pt>
                <c:pt idx="2650">
                  <c:v>1</c:v>
                </c:pt>
                <c:pt idx="2651">
                  <c:v>1</c:v>
                </c:pt>
                <c:pt idx="2652">
                  <c:v>0</c:v>
                </c:pt>
                <c:pt idx="2653">
                  <c:v>1</c:v>
                </c:pt>
                <c:pt idx="2654">
                  <c:v>1</c:v>
                </c:pt>
                <c:pt idx="2655">
                  <c:v>1</c:v>
                </c:pt>
                <c:pt idx="2656">
                  <c:v>0</c:v>
                </c:pt>
                <c:pt idx="2657">
                  <c:v>0</c:v>
                </c:pt>
                <c:pt idx="2658">
                  <c:v>0</c:v>
                </c:pt>
                <c:pt idx="2659">
                  <c:v>0</c:v>
                </c:pt>
                <c:pt idx="2660">
                  <c:v>3</c:v>
                </c:pt>
                <c:pt idx="2661">
                  <c:v>5</c:v>
                </c:pt>
                <c:pt idx="2662">
                  <c:v>3</c:v>
                </c:pt>
                <c:pt idx="2663">
                  <c:v>5</c:v>
                </c:pt>
                <c:pt idx="2664">
                  <c:v>3</c:v>
                </c:pt>
                <c:pt idx="2665">
                  <c:v>0</c:v>
                </c:pt>
                <c:pt idx="2666">
                  <c:v>0</c:v>
                </c:pt>
                <c:pt idx="2667">
                  <c:v>0</c:v>
                </c:pt>
                <c:pt idx="2668">
                  <c:v>0</c:v>
                </c:pt>
                <c:pt idx="2669">
                  <c:v>0</c:v>
                </c:pt>
                <c:pt idx="2670">
                  <c:v>0</c:v>
                </c:pt>
                <c:pt idx="2671">
                  <c:v>1</c:v>
                </c:pt>
                <c:pt idx="2672">
                  <c:v>0</c:v>
                </c:pt>
                <c:pt idx="2673">
                  <c:v>0</c:v>
                </c:pt>
                <c:pt idx="2674">
                  <c:v>0</c:v>
                </c:pt>
                <c:pt idx="2675">
                  <c:v>0</c:v>
                </c:pt>
                <c:pt idx="2676">
                  <c:v>0</c:v>
                </c:pt>
                <c:pt idx="2677">
                  <c:v>3</c:v>
                </c:pt>
                <c:pt idx="2678">
                  <c:v>0</c:v>
                </c:pt>
                <c:pt idx="2679">
                  <c:v>0</c:v>
                </c:pt>
                <c:pt idx="2680">
                  <c:v>0</c:v>
                </c:pt>
                <c:pt idx="2681">
                  <c:v>0</c:v>
                </c:pt>
                <c:pt idx="2682">
                  <c:v>0</c:v>
                </c:pt>
                <c:pt idx="2683">
                  <c:v>0</c:v>
                </c:pt>
                <c:pt idx="2684">
                  <c:v>0</c:v>
                </c:pt>
                <c:pt idx="2685">
                  <c:v>1</c:v>
                </c:pt>
                <c:pt idx="2686">
                  <c:v>0</c:v>
                </c:pt>
                <c:pt idx="2687">
                  <c:v>0</c:v>
                </c:pt>
                <c:pt idx="2688">
                  <c:v>3</c:v>
                </c:pt>
                <c:pt idx="2689">
                  <c:v>0</c:v>
                </c:pt>
                <c:pt idx="2690">
                  <c:v>1</c:v>
                </c:pt>
                <c:pt idx="2691">
                  <c:v>0</c:v>
                </c:pt>
                <c:pt idx="2692">
                  <c:v>0</c:v>
                </c:pt>
                <c:pt idx="2693">
                  <c:v>2</c:v>
                </c:pt>
                <c:pt idx="2694">
                  <c:v>0</c:v>
                </c:pt>
                <c:pt idx="2695">
                  <c:v>1</c:v>
                </c:pt>
                <c:pt idx="2696">
                  <c:v>0</c:v>
                </c:pt>
                <c:pt idx="2697">
                  <c:v>1</c:v>
                </c:pt>
                <c:pt idx="2698">
                  <c:v>6</c:v>
                </c:pt>
                <c:pt idx="2699">
                  <c:v>1</c:v>
                </c:pt>
                <c:pt idx="2700">
                  <c:v>2</c:v>
                </c:pt>
                <c:pt idx="2701">
                  <c:v>0</c:v>
                </c:pt>
                <c:pt idx="2702">
                  <c:v>0</c:v>
                </c:pt>
                <c:pt idx="2703">
                  <c:v>0</c:v>
                </c:pt>
                <c:pt idx="2704">
                  <c:v>1</c:v>
                </c:pt>
                <c:pt idx="2705">
                  <c:v>3</c:v>
                </c:pt>
                <c:pt idx="2706">
                  <c:v>2</c:v>
                </c:pt>
                <c:pt idx="2707">
                  <c:v>1</c:v>
                </c:pt>
                <c:pt idx="2708">
                  <c:v>1</c:v>
                </c:pt>
                <c:pt idx="2709">
                  <c:v>0</c:v>
                </c:pt>
                <c:pt idx="2710">
                  <c:v>0</c:v>
                </c:pt>
                <c:pt idx="2711">
                  <c:v>0</c:v>
                </c:pt>
                <c:pt idx="2712">
                  <c:v>2</c:v>
                </c:pt>
                <c:pt idx="2713">
                  <c:v>1</c:v>
                </c:pt>
                <c:pt idx="2714">
                  <c:v>0</c:v>
                </c:pt>
                <c:pt idx="2715">
                  <c:v>4</c:v>
                </c:pt>
                <c:pt idx="2716">
                  <c:v>0</c:v>
                </c:pt>
                <c:pt idx="2717">
                  <c:v>1</c:v>
                </c:pt>
                <c:pt idx="2718">
                  <c:v>1</c:v>
                </c:pt>
                <c:pt idx="2719">
                  <c:v>0</c:v>
                </c:pt>
                <c:pt idx="2720">
                  <c:v>0</c:v>
                </c:pt>
                <c:pt idx="2721">
                  <c:v>1</c:v>
                </c:pt>
                <c:pt idx="2722">
                  <c:v>0</c:v>
                </c:pt>
                <c:pt idx="2723">
                  <c:v>0</c:v>
                </c:pt>
                <c:pt idx="2724">
                  <c:v>0</c:v>
                </c:pt>
                <c:pt idx="2725">
                  <c:v>4</c:v>
                </c:pt>
                <c:pt idx="2726">
                  <c:v>1</c:v>
                </c:pt>
                <c:pt idx="2727">
                  <c:v>0</c:v>
                </c:pt>
                <c:pt idx="2728">
                  <c:v>0</c:v>
                </c:pt>
                <c:pt idx="2729">
                  <c:v>0</c:v>
                </c:pt>
                <c:pt idx="2730">
                  <c:v>0</c:v>
                </c:pt>
                <c:pt idx="2731">
                  <c:v>0</c:v>
                </c:pt>
                <c:pt idx="2732">
                  <c:v>0</c:v>
                </c:pt>
                <c:pt idx="2733">
                  <c:v>0</c:v>
                </c:pt>
                <c:pt idx="2734">
                  <c:v>3</c:v>
                </c:pt>
                <c:pt idx="2735">
                  <c:v>0</c:v>
                </c:pt>
                <c:pt idx="2736">
                  <c:v>1</c:v>
                </c:pt>
                <c:pt idx="2737">
                  <c:v>2</c:v>
                </c:pt>
                <c:pt idx="2738">
                  <c:v>1</c:v>
                </c:pt>
                <c:pt idx="2739">
                  <c:v>4</c:v>
                </c:pt>
                <c:pt idx="2740">
                  <c:v>0</c:v>
                </c:pt>
                <c:pt idx="2741">
                  <c:v>0</c:v>
                </c:pt>
                <c:pt idx="2742">
                  <c:v>0</c:v>
                </c:pt>
                <c:pt idx="2743">
                  <c:v>1</c:v>
                </c:pt>
                <c:pt idx="2744">
                  <c:v>1</c:v>
                </c:pt>
                <c:pt idx="2745">
                  <c:v>2</c:v>
                </c:pt>
                <c:pt idx="2746">
                  <c:v>0</c:v>
                </c:pt>
                <c:pt idx="2747">
                  <c:v>0</c:v>
                </c:pt>
                <c:pt idx="2748">
                  <c:v>0</c:v>
                </c:pt>
                <c:pt idx="2749">
                  <c:v>4</c:v>
                </c:pt>
                <c:pt idx="2750">
                  <c:v>0</c:v>
                </c:pt>
                <c:pt idx="2751">
                  <c:v>1</c:v>
                </c:pt>
                <c:pt idx="2752">
                  <c:v>0</c:v>
                </c:pt>
                <c:pt idx="2753">
                  <c:v>2</c:v>
                </c:pt>
                <c:pt idx="2754">
                  <c:v>1</c:v>
                </c:pt>
                <c:pt idx="2755">
                  <c:v>1</c:v>
                </c:pt>
                <c:pt idx="2756">
                  <c:v>4</c:v>
                </c:pt>
                <c:pt idx="2757">
                  <c:v>0</c:v>
                </c:pt>
                <c:pt idx="2758">
                  <c:v>1</c:v>
                </c:pt>
                <c:pt idx="2759">
                  <c:v>0</c:v>
                </c:pt>
                <c:pt idx="2760">
                  <c:v>2</c:v>
                </c:pt>
                <c:pt idx="2761">
                  <c:v>5</c:v>
                </c:pt>
                <c:pt idx="2762">
                  <c:v>2</c:v>
                </c:pt>
                <c:pt idx="2763">
                  <c:v>0</c:v>
                </c:pt>
                <c:pt idx="2764">
                  <c:v>3</c:v>
                </c:pt>
                <c:pt idx="2765">
                  <c:v>0</c:v>
                </c:pt>
                <c:pt idx="2766">
                  <c:v>1</c:v>
                </c:pt>
                <c:pt idx="2767">
                  <c:v>5</c:v>
                </c:pt>
                <c:pt idx="2768">
                  <c:v>1</c:v>
                </c:pt>
                <c:pt idx="2769">
                  <c:v>1</c:v>
                </c:pt>
                <c:pt idx="2770">
                  <c:v>1</c:v>
                </c:pt>
                <c:pt idx="2771">
                  <c:v>0</c:v>
                </c:pt>
                <c:pt idx="2772">
                  <c:v>1</c:v>
                </c:pt>
                <c:pt idx="2773">
                  <c:v>0</c:v>
                </c:pt>
                <c:pt idx="2774">
                  <c:v>3</c:v>
                </c:pt>
                <c:pt idx="2775">
                  <c:v>3</c:v>
                </c:pt>
                <c:pt idx="2776">
                  <c:v>1</c:v>
                </c:pt>
                <c:pt idx="2777">
                  <c:v>1</c:v>
                </c:pt>
                <c:pt idx="2778">
                  <c:v>0</c:v>
                </c:pt>
                <c:pt idx="2779">
                  <c:v>4</c:v>
                </c:pt>
                <c:pt idx="2780">
                  <c:v>1</c:v>
                </c:pt>
                <c:pt idx="2781">
                  <c:v>0</c:v>
                </c:pt>
                <c:pt idx="2782">
                  <c:v>1</c:v>
                </c:pt>
                <c:pt idx="2783">
                  <c:v>1</c:v>
                </c:pt>
                <c:pt idx="2784">
                  <c:v>0</c:v>
                </c:pt>
                <c:pt idx="2785">
                  <c:v>0</c:v>
                </c:pt>
                <c:pt idx="2786">
                  <c:v>0</c:v>
                </c:pt>
                <c:pt idx="2787">
                  <c:v>0</c:v>
                </c:pt>
                <c:pt idx="2788">
                  <c:v>0</c:v>
                </c:pt>
                <c:pt idx="2789">
                  <c:v>1</c:v>
                </c:pt>
                <c:pt idx="2790">
                  <c:v>1</c:v>
                </c:pt>
                <c:pt idx="2791">
                  <c:v>3</c:v>
                </c:pt>
                <c:pt idx="2792">
                  <c:v>2</c:v>
                </c:pt>
                <c:pt idx="2793">
                  <c:v>1</c:v>
                </c:pt>
                <c:pt idx="2794">
                  <c:v>1</c:v>
                </c:pt>
                <c:pt idx="2795">
                  <c:v>2</c:v>
                </c:pt>
                <c:pt idx="2796">
                  <c:v>0</c:v>
                </c:pt>
                <c:pt idx="2797">
                  <c:v>2</c:v>
                </c:pt>
                <c:pt idx="2798">
                  <c:v>1</c:v>
                </c:pt>
                <c:pt idx="2799">
                  <c:v>0</c:v>
                </c:pt>
                <c:pt idx="2800">
                  <c:v>4</c:v>
                </c:pt>
                <c:pt idx="2801">
                  <c:v>2</c:v>
                </c:pt>
                <c:pt idx="2802">
                  <c:v>0</c:v>
                </c:pt>
                <c:pt idx="2803">
                  <c:v>0</c:v>
                </c:pt>
                <c:pt idx="2804">
                  <c:v>0</c:v>
                </c:pt>
                <c:pt idx="2805">
                  <c:v>0</c:v>
                </c:pt>
                <c:pt idx="2806">
                  <c:v>1</c:v>
                </c:pt>
                <c:pt idx="2807">
                  <c:v>0</c:v>
                </c:pt>
                <c:pt idx="2808">
                  <c:v>4</c:v>
                </c:pt>
                <c:pt idx="2809">
                  <c:v>1</c:v>
                </c:pt>
                <c:pt idx="2810">
                  <c:v>0</c:v>
                </c:pt>
                <c:pt idx="2811">
                  <c:v>4</c:v>
                </c:pt>
                <c:pt idx="2812">
                  <c:v>0</c:v>
                </c:pt>
                <c:pt idx="2813">
                  <c:v>1</c:v>
                </c:pt>
                <c:pt idx="2814">
                  <c:v>3</c:v>
                </c:pt>
                <c:pt idx="2815">
                  <c:v>0</c:v>
                </c:pt>
                <c:pt idx="2816">
                  <c:v>0</c:v>
                </c:pt>
                <c:pt idx="2817">
                  <c:v>1</c:v>
                </c:pt>
                <c:pt idx="2818">
                  <c:v>0</c:v>
                </c:pt>
                <c:pt idx="2819">
                  <c:v>0</c:v>
                </c:pt>
                <c:pt idx="2820">
                  <c:v>0</c:v>
                </c:pt>
                <c:pt idx="2821">
                  <c:v>0</c:v>
                </c:pt>
                <c:pt idx="2822">
                  <c:v>0</c:v>
                </c:pt>
                <c:pt idx="2823">
                  <c:v>1</c:v>
                </c:pt>
                <c:pt idx="2824">
                  <c:v>2</c:v>
                </c:pt>
                <c:pt idx="2825">
                  <c:v>0</c:v>
                </c:pt>
                <c:pt idx="2826">
                  <c:v>0</c:v>
                </c:pt>
                <c:pt idx="2827">
                  <c:v>1</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1</c:v>
                </c:pt>
                <c:pt idx="2841">
                  <c:v>0</c:v>
                </c:pt>
                <c:pt idx="2842">
                  <c:v>0</c:v>
                </c:pt>
                <c:pt idx="2843">
                  <c:v>0</c:v>
                </c:pt>
                <c:pt idx="2844">
                  <c:v>0</c:v>
                </c:pt>
                <c:pt idx="2845">
                  <c:v>0</c:v>
                </c:pt>
                <c:pt idx="2846">
                  <c:v>0</c:v>
                </c:pt>
                <c:pt idx="2847">
                  <c:v>0</c:v>
                </c:pt>
                <c:pt idx="2848">
                  <c:v>0</c:v>
                </c:pt>
                <c:pt idx="2849">
                  <c:v>3</c:v>
                </c:pt>
                <c:pt idx="2850">
                  <c:v>0</c:v>
                </c:pt>
                <c:pt idx="2851">
                  <c:v>0</c:v>
                </c:pt>
                <c:pt idx="2852">
                  <c:v>0</c:v>
                </c:pt>
                <c:pt idx="2853">
                  <c:v>0</c:v>
                </c:pt>
                <c:pt idx="2854">
                  <c:v>2</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4</c:v>
                </c:pt>
                <c:pt idx="2887">
                  <c:v>0</c:v>
                </c:pt>
                <c:pt idx="2888">
                  <c:v>0</c:v>
                </c:pt>
                <c:pt idx="2889">
                  <c:v>0</c:v>
                </c:pt>
                <c:pt idx="2890">
                  <c:v>0</c:v>
                </c:pt>
                <c:pt idx="2891">
                  <c:v>0</c:v>
                </c:pt>
                <c:pt idx="2892">
                  <c:v>0</c:v>
                </c:pt>
                <c:pt idx="2893">
                  <c:v>0</c:v>
                </c:pt>
                <c:pt idx="2894">
                  <c:v>0</c:v>
                </c:pt>
                <c:pt idx="2895">
                  <c:v>0</c:v>
                </c:pt>
                <c:pt idx="2896">
                  <c:v>0</c:v>
                </c:pt>
                <c:pt idx="2897">
                  <c:v>1</c:v>
                </c:pt>
                <c:pt idx="2898">
                  <c:v>0</c:v>
                </c:pt>
                <c:pt idx="2899">
                  <c:v>0</c:v>
                </c:pt>
                <c:pt idx="2900">
                  <c:v>1</c:v>
                </c:pt>
                <c:pt idx="2901">
                  <c:v>0</c:v>
                </c:pt>
                <c:pt idx="2902">
                  <c:v>0</c:v>
                </c:pt>
                <c:pt idx="2903">
                  <c:v>0</c:v>
                </c:pt>
                <c:pt idx="2904">
                  <c:v>0</c:v>
                </c:pt>
                <c:pt idx="2905">
                  <c:v>0</c:v>
                </c:pt>
                <c:pt idx="2906">
                  <c:v>0</c:v>
                </c:pt>
                <c:pt idx="2907">
                  <c:v>0</c:v>
                </c:pt>
                <c:pt idx="2908">
                  <c:v>0</c:v>
                </c:pt>
                <c:pt idx="2909">
                  <c:v>0</c:v>
                </c:pt>
                <c:pt idx="2910">
                  <c:v>8</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3</c:v>
                </c:pt>
                <c:pt idx="2931">
                  <c:v>0</c:v>
                </c:pt>
                <c:pt idx="2932">
                  <c:v>0</c:v>
                </c:pt>
                <c:pt idx="2933">
                  <c:v>0</c:v>
                </c:pt>
                <c:pt idx="2934">
                  <c:v>0</c:v>
                </c:pt>
                <c:pt idx="2935">
                  <c:v>0</c:v>
                </c:pt>
                <c:pt idx="2936">
                  <c:v>0</c:v>
                </c:pt>
                <c:pt idx="2937">
                  <c:v>0</c:v>
                </c:pt>
                <c:pt idx="2938">
                  <c:v>0</c:v>
                </c:pt>
                <c:pt idx="2939">
                  <c:v>0</c:v>
                </c:pt>
                <c:pt idx="2940">
                  <c:v>0</c:v>
                </c:pt>
                <c:pt idx="2941">
                  <c:v>0</c:v>
                </c:pt>
                <c:pt idx="2942">
                  <c:v>1</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1</c:v>
                </c:pt>
                <c:pt idx="2956">
                  <c:v>0</c:v>
                </c:pt>
                <c:pt idx="2957">
                  <c:v>0</c:v>
                </c:pt>
                <c:pt idx="2958">
                  <c:v>0</c:v>
                </c:pt>
                <c:pt idx="2959">
                  <c:v>0</c:v>
                </c:pt>
                <c:pt idx="2960">
                  <c:v>0</c:v>
                </c:pt>
                <c:pt idx="2961">
                  <c:v>0</c:v>
                </c:pt>
                <c:pt idx="2962">
                  <c:v>0</c:v>
                </c:pt>
                <c:pt idx="2963">
                  <c:v>0</c:v>
                </c:pt>
                <c:pt idx="2964">
                  <c:v>0</c:v>
                </c:pt>
                <c:pt idx="2965">
                  <c:v>2</c:v>
                </c:pt>
                <c:pt idx="2966">
                  <c:v>0</c:v>
                </c:pt>
                <c:pt idx="2967">
                  <c:v>0</c:v>
                </c:pt>
                <c:pt idx="2968">
                  <c:v>0</c:v>
                </c:pt>
                <c:pt idx="2969">
                  <c:v>0</c:v>
                </c:pt>
                <c:pt idx="2970">
                  <c:v>0</c:v>
                </c:pt>
                <c:pt idx="2971">
                  <c:v>0</c:v>
                </c:pt>
                <c:pt idx="2972">
                  <c:v>6</c:v>
                </c:pt>
                <c:pt idx="2973">
                  <c:v>0</c:v>
                </c:pt>
                <c:pt idx="2974">
                  <c:v>5</c:v>
                </c:pt>
                <c:pt idx="2975">
                  <c:v>2</c:v>
                </c:pt>
                <c:pt idx="2976">
                  <c:v>1</c:v>
                </c:pt>
                <c:pt idx="2977">
                  <c:v>0</c:v>
                </c:pt>
                <c:pt idx="2978">
                  <c:v>0</c:v>
                </c:pt>
                <c:pt idx="2979">
                  <c:v>0</c:v>
                </c:pt>
                <c:pt idx="2980">
                  <c:v>3</c:v>
                </c:pt>
                <c:pt idx="2981">
                  <c:v>4</c:v>
                </c:pt>
                <c:pt idx="2982">
                  <c:v>0</c:v>
                </c:pt>
                <c:pt idx="2983">
                  <c:v>2</c:v>
                </c:pt>
                <c:pt idx="2984">
                  <c:v>0</c:v>
                </c:pt>
                <c:pt idx="2985">
                  <c:v>0</c:v>
                </c:pt>
                <c:pt idx="2986">
                  <c:v>0</c:v>
                </c:pt>
                <c:pt idx="2987">
                  <c:v>0</c:v>
                </c:pt>
                <c:pt idx="2988">
                  <c:v>2</c:v>
                </c:pt>
                <c:pt idx="2989">
                  <c:v>2</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1</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5</c:v>
                </c:pt>
                <c:pt idx="3082">
                  <c:v>1</c:v>
                </c:pt>
                <c:pt idx="3083">
                  <c:v>2</c:v>
                </c:pt>
                <c:pt idx="3084">
                  <c:v>1</c:v>
                </c:pt>
                <c:pt idx="3085">
                  <c:v>0</c:v>
                </c:pt>
                <c:pt idx="3086">
                  <c:v>0</c:v>
                </c:pt>
                <c:pt idx="3087">
                  <c:v>0</c:v>
                </c:pt>
                <c:pt idx="3088">
                  <c:v>0</c:v>
                </c:pt>
                <c:pt idx="3089">
                  <c:v>0</c:v>
                </c:pt>
                <c:pt idx="3090">
                  <c:v>0</c:v>
                </c:pt>
                <c:pt idx="3091">
                  <c:v>0</c:v>
                </c:pt>
                <c:pt idx="3092">
                  <c:v>0</c:v>
                </c:pt>
                <c:pt idx="3093">
                  <c:v>1</c:v>
                </c:pt>
                <c:pt idx="3094">
                  <c:v>0</c:v>
                </c:pt>
                <c:pt idx="3095">
                  <c:v>0</c:v>
                </c:pt>
                <c:pt idx="3096">
                  <c:v>0</c:v>
                </c:pt>
                <c:pt idx="3097">
                  <c:v>0</c:v>
                </c:pt>
                <c:pt idx="3098">
                  <c:v>0</c:v>
                </c:pt>
                <c:pt idx="3099">
                  <c:v>0</c:v>
                </c:pt>
                <c:pt idx="3100">
                  <c:v>0</c:v>
                </c:pt>
                <c:pt idx="3101">
                  <c:v>0</c:v>
                </c:pt>
                <c:pt idx="3102">
                  <c:v>0</c:v>
                </c:pt>
                <c:pt idx="3103">
                  <c:v>0</c:v>
                </c:pt>
                <c:pt idx="3104">
                  <c:v>0</c:v>
                </c:pt>
                <c:pt idx="3105">
                  <c:v>2</c:v>
                </c:pt>
                <c:pt idx="3106">
                  <c:v>0</c:v>
                </c:pt>
                <c:pt idx="3107">
                  <c:v>0</c:v>
                </c:pt>
                <c:pt idx="3108">
                  <c:v>2</c:v>
                </c:pt>
                <c:pt idx="3109">
                  <c:v>1</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4</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4</c:v>
                </c:pt>
                <c:pt idx="3200">
                  <c:v>0</c:v>
                </c:pt>
                <c:pt idx="3201">
                  <c:v>0</c:v>
                </c:pt>
                <c:pt idx="3202">
                  <c:v>0</c:v>
                </c:pt>
                <c:pt idx="3203">
                  <c:v>0</c:v>
                </c:pt>
                <c:pt idx="3204">
                  <c:v>0</c:v>
                </c:pt>
                <c:pt idx="3205">
                  <c:v>0</c:v>
                </c:pt>
                <c:pt idx="3206">
                  <c:v>0</c:v>
                </c:pt>
                <c:pt idx="3207">
                  <c:v>0</c:v>
                </c:pt>
                <c:pt idx="3208">
                  <c:v>3</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1</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1</c:v>
                </c:pt>
                <c:pt idx="3271">
                  <c:v>0</c:v>
                </c:pt>
                <c:pt idx="3272">
                  <c:v>0</c:v>
                </c:pt>
                <c:pt idx="3273">
                  <c:v>0</c:v>
                </c:pt>
                <c:pt idx="3274">
                  <c:v>0</c:v>
                </c:pt>
                <c:pt idx="3275">
                  <c:v>0</c:v>
                </c:pt>
                <c:pt idx="3276">
                  <c:v>0</c:v>
                </c:pt>
                <c:pt idx="3277">
                  <c:v>2</c:v>
                </c:pt>
                <c:pt idx="3278">
                  <c:v>0</c:v>
                </c:pt>
                <c:pt idx="3279">
                  <c:v>0</c:v>
                </c:pt>
                <c:pt idx="3280">
                  <c:v>0</c:v>
                </c:pt>
                <c:pt idx="3281">
                  <c:v>0</c:v>
                </c:pt>
                <c:pt idx="3282">
                  <c:v>2</c:v>
                </c:pt>
                <c:pt idx="3283">
                  <c:v>0</c:v>
                </c:pt>
                <c:pt idx="3284">
                  <c:v>0</c:v>
                </c:pt>
                <c:pt idx="3285">
                  <c:v>0</c:v>
                </c:pt>
                <c:pt idx="3286">
                  <c:v>0</c:v>
                </c:pt>
                <c:pt idx="3287">
                  <c:v>1</c:v>
                </c:pt>
                <c:pt idx="3288">
                  <c:v>0</c:v>
                </c:pt>
                <c:pt idx="3289">
                  <c:v>0</c:v>
                </c:pt>
                <c:pt idx="3290">
                  <c:v>0</c:v>
                </c:pt>
                <c:pt idx="3291">
                  <c:v>0</c:v>
                </c:pt>
                <c:pt idx="3292">
                  <c:v>0</c:v>
                </c:pt>
                <c:pt idx="3293">
                  <c:v>0</c:v>
                </c:pt>
                <c:pt idx="3294">
                  <c:v>0</c:v>
                </c:pt>
                <c:pt idx="3295">
                  <c:v>2</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1</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1</c:v>
                </c:pt>
                <c:pt idx="3356">
                  <c:v>0</c:v>
                </c:pt>
                <c:pt idx="3357">
                  <c:v>1</c:v>
                </c:pt>
                <c:pt idx="3358">
                  <c:v>0</c:v>
                </c:pt>
                <c:pt idx="3359">
                  <c:v>0</c:v>
                </c:pt>
                <c:pt idx="3360">
                  <c:v>0</c:v>
                </c:pt>
                <c:pt idx="3361">
                  <c:v>0</c:v>
                </c:pt>
                <c:pt idx="3362">
                  <c:v>0</c:v>
                </c:pt>
                <c:pt idx="3363">
                  <c:v>3</c:v>
                </c:pt>
                <c:pt idx="3364">
                  <c:v>0</c:v>
                </c:pt>
                <c:pt idx="3365">
                  <c:v>2</c:v>
                </c:pt>
                <c:pt idx="3366">
                  <c:v>1</c:v>
                </c:pt>
                <c:pt idx="3367">
                  <c:v>0</c:v>
                </c:pt>
                <c:pt idx="3368">
                  <c:v>2</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2</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2</c:v>
                </c:pt>
                <c:pt idx="3469">
                  <c:v>0</c:v>
                </c:pt>
                <c:pt idx="3470">
                  <c:v>1</c:v>
                </c:pt>
                <c:pt idx="3471">
                  <c:v>0</c:v>
                </c:pt>
                <c:pt idx="3472">
                  <c:v>0</c:v>
                </c:pt>
                <c:pt idx="3473">
                  <c:v>0</c:v>
                </c:pt>
                <c:pt idx="3474">
                  <c:v>0</c:v>
                </c:pt>
                <c:pt idx="3475">
                  <c:v>0</c:v>
                </c:pt>
                <c:pt idx="3476">
                  <c:v>2</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3</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2</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1</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1</c:v>
                </c:pt>
                <c:pt idx="3639">
                  <c:v>0</c:v>
                </c:pt>
                <c:pt idx="3640">
                  <c:v>1</c:v>
                </c:pt>
                <c:pt idx="3641">
                  <c:v>1</c:v>
                </c:pt>
                <c:pt idx="3642">
                  <c:v>1</c:v>
                </c:pt>
                <c:pt idx="3643">
                  <c:v>0</c:v>
                </c:pt>
                <c:pt idx="3644">
                  <c:v>0</c:v>
                </c:pt>
                <c:pt idx="3645">
                  <c:v>0</c:v>
                </c:pt>
                <c:pt idx="3646">
                  <c:v>0</c:v>
                </c:pt>
                <c:pt idx="3647">
                  <c:v>0</c:v>
                </c:pt>
                <c:pt idx="3648">
                  <c:v>0</c:v>
                </c:pt>
                <c:pt idx="3649">
                  <c:v>0</c:v>
                </c:pt>
                <c:pt idx="3650">
                  <c:v>1</c:v>
                </c:pt>
                <c:pt idx="3651">
                  <c:v>0</c:v>
                </c:pt>
                <c:pt idx="3652">
                  <c:v>0</c:v>
                </c:pt>
                <c:pt idx="3653">
                  <c:v>0</c:v>
                </c:pt>
                <c:pt idx="3654">
                  <c:v>0</c:v>
                </c:pt>
                <c:pt idx="3655">
                  <c:v>0</c:v>
                </c:pt>
                <c:pt idx="3656">
                  <c:v>0</c:v>
                </c:pt>
                <c:pt idx="3657">
                  <c:v>0</c:v>
                </c:pt>
                <c:pt idx="3658">
                  <c:v>2</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1</c:v>
                </c:pt>
                <c:pt idx="3676">
                  <c:v>0</c:v>
                </c:pt>
                <c:pt idx="3677">
                  <c:v>0</c:v>
                </c:pt>
                <c:pt idx="3678">
                  <c:v>2</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2</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2</c:v>
                </c:pt>
                <c:pt idx="3711">
                  <c:v>0</c:v>
                </c:pt>
                <c:pt idx="3712">
                  <c:v>0</c:v>
                </c:pt>
                <c:pt idx="3713">
                  <c:v>1</c:v>
                </c:pt>
                <c:pt idx="3714">
                  <c:v>0</c:v>
                </c:pt>
                <c:pt idx="3715">
                  <c:v>7</c:v>
                </c:pt>
                <c:pt idx="3716">
                  <c:v>1</c:v>
                </c:pt>
                <c:pt idx="3717">
                  <c:v>0</c:v>
                </c:pt>
                <c:pt idx="3718">
                  <c:v>0</c:v>
                </c:pt>
                <c:pt idx="3719">
                  <c:v>5</c:v>
                </c:pt>
                <c:pt idx="3720">
                  <c:v>3</c:v>
                </c:pt>
                <c:pt idx="3721">
                  <c:v>0</c:v>
                </c:pt>
                <c:pt idx="3722">
                  <c:v>1</c:v>
                </c:pt>
                <c:pt idx="3723">
                  <c:v>0</c:v>
                </c:pt>
                <c:pt idx="3724">
                  <c:v>0</c:v>
                </c:pt>
                <c:pt idx="3725">
                  <c:v>3</c:v>
                </c:pt>
                <c:pt idx="3726">
                  <c:v>0</c:v>
                </c:pt>
                <c:pt idx="3727">
                  <c:v>0</c:v>
                </c:pt>
                <c:pt idx="3728">
                  <c:v>0</c:v>
                </c:pt>
                <c:pt idx="3729">
                  <c:v>0</c:v>
                </c:pt>
                <c:pt idx="3730">
                  <c:v>0</c:v>
                </c:pt>
                <c:pt idx="3731">
                  <c:v>0</c:v>
                </c:pt>
                <c:pt idx="3732">
                  <c:v>0</c:v>
                </c:pt>
                <c:pt idx="3733">
                  <c:v>0</c:v>
                </c:pt>
                <c:pt idx="3734">
                  <c:v>0</c:v>
                </c:pt>
                <c:pt idx="3735">
                  <c:v>1</c:v>
                </c:pt>
                <c:pt idx="3736">
                  <c:v>0</c:v>
                </c:pt>
                <c:pt idx="3737">
                  <c:v>0</c:v>
                </c:pt>
                <c:pt idx="3738">
                  <c:v>0</c:v>
                </c:pt>
                <c:pt idx="3739">
                  <c:v>2</c:v>
                </c:pt>
                <c:pt idx="3740">
                  <c:v>0</c:v>
                </c:pt>
                <c:pt idx="3741">
                  <c:v>0</c:v>
                </c:pt>
                <c:pt idx="3742">
                  <c:v>0</c:v>
                </c:pt>
                <c:pt idx="3743">
                  <c:v>0</c:v>
                </c:pt>
                <c:pt idx="3744">
                  <c:v>0</c:v>
                </c:pt>
                <c:pt idx="3745">
                  <c:v>3</c:v>
                </c:pt>
                <c:pt idx="3746">
                  <c:v>1</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3</c:v>
                </c:pt>
                <c:pt idx="3786">
                  <c:v>0</c:v>
                </c:pt>
                <c:pt idx="3787">
                  <c:v>0</c:v>
                </c:pt>
                <c:pt idx="3788">
                  <c:v>0</c:v>
                </c:pt>
                <c:pt idx="3789">
                  <c:v>0</c:v>
                </c:pt>
                <c:pt idx="3790">
                  <c:v>1</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3</c:v>
                </c:pt>
                <c:pt idx="3805">
                  <c:v>0</c:v>
                </c:pt>
                <c:pt idx="3806">
                  <c:v>0</c:v>
                </c:pt>
                <c:pt idx="3807">
                  <c:v>0</c:v>
                </c:pt>
                <c:pt idx="3808">
                  <c:v>0</c:v>
                </c:pt>
                <c:pt idx="3809">
                  <c:v>3</c:v>
                </c:pt>
                <c:pt idx="3810">
                  <c:v>0</c:v>
                </c:pt>
                <c:pt idx="3811">
                  <c:v>0</c:v>
                </c:pt>
                <c:pt idx="3812">
                  <c:v>0</c:v>
                </c:pt>
                <c:pt idx="3813">
                  <c:v>0</c:v>
                </c:pt>
                <c:pt idx="3814">
                  <c:v>0</c:v>
                </c:pt>
                <c:pt idx="3815">
                  <c:v>0</c:v>
                </c:pt>
                <c:pt idx="3816">
                  <c:v>1</c:v>
                </c:pt>
                <c:pt idx="3817">
                  <c:v>2</c:v>
                </c:pt>
                <c:pt idx="3818">
                  <c:v>0</c:v>
                </c:pt>
                <c:pt idx="3819">
                  <c:v>0</c:v>
                </c:pt>
                <c:pt idx="3820">
                  <c:v>0</c:v>
                </c:pt>
                <c:pt idx="3821">
                  <c:v>0</c:v>
                </c:pt>
                <c:pt idx="3822">
                  <c:v>0</c:v>
                </c:pt>
                <c:pt idx="3823">
                  <c:v>0</c:v>
                </c:pt>
                <c:pt idx="3824">
                  <c:v>1</c:v>
                </c:pt>
                <c:pt idx="3825">
                  <c:v>0</c:v>
                </c:pt>
                <c:pt idx="3826">
                  <c:v>0</c:v>
                </c:pt>
                <c:pt idx="3827">
                  <c:v>2</c:v>
                </c:pt>
                <c:pt idx="3828">
                  <c:v>0</c:v>
                </c:pt>
                <c:pt idx="3829">
                  <c:v>1</c:v>
                </c:pt>
                <c:pt idx="3830">
                  <c:v>0</c:v>
                </c:pt>
                <c:pt idx="3831">
                  <c:v>0</c:v>
                </c:pt>
                <c:pt idx="3832">
                  <c:v>6</c:v>
                </c:pt>
                <c:pt idx="3833">
                  <c:v>2</c:v>
                </c:pt>
                <c:pt idx="3834">
                  <c:v>0</c:v>
                </c:pt>
                <c:pt idx="3835">
                  <c:v>2</c:v>
                </c:pt>
                <c:pt idx="3836">
                  <c:v>1</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3</c:v>
                </c:pt>
                <c:pt idx="3923">
                  <c:v>0</c:v>
                </c:pt>
                <c:pt idx="3924">
                  <c:v>0</c:v>
                </c:pt>
                <c:pt idx="3925">
                  <c:v>3</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2</c:v>
                </c:pt>
                <c:pt idx="3958">
                  <c:v>0</c:v>
                </c:pt>
                <c:pt idx="3959">
                  <c:v>0</c:v>
                </c:pt>
                <c:pt idx="3960">
                  <c:v>0</c:v>
                </c:pt>
                <c:pt idx="3961">
                  <c:v>0</c:v>
                </c:pt>
                <c:pt idx="3962">
                  <c:v>0</c:v>
                </c:pt>
                <c:pt idx="3963">
                  <c:v>0</c:v>
                </c:pt>
                <c:pt idx="3964">
                  <c:v>0</c:v>
                </c:pt>
                <c:pt idx="3965">
                  <c:v>0</c:v>
                </c:pt>
                <c:pt idx="3966">
                  <c:v>0</c:v>
                </c:pt>
                <c:pt idx="3967">
                  <c:v>1</c:v>
                </c:pt>
                <c:pt idx="3968">
                  <c:v>0</c:v>
                </c:pt>
                <c:pt idx="3969">
                  <c:v>0</c:v>
                </c:pt>
                <c:pt idx="3970">
                  <c:v>1</c:v>
                </c:pt>
                <c:pt idx="3971">
                  <c:v>0</c:v>
                </c:pt>
                <c:pt idx="3972">
                  <c:v>0</c:v>
                </c:pt>
                <c:pt idx="3973">
                  <c:v>0</c:v>
                </c:pt>
                <c:pt idx="3974">
                  <c:v>0</c:v>
                </c:pt>
                <c:pt idx="3975">
                  <c:v>1</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3</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2</c:v>
                </c:pt>
                <c:pt idx="4003">
                  <c:v>0</c:v>
                </c:pt>
                <c:pt idx="4004">
                  <c:v>0</c:v>
                </c:pt>
                <c:pt idx="4005">
                  <c:v>0</c:v>
                </c:pt>
                <c:pt idx="4006">
                  <c:v>0</c:v>
                </c:pt>
                <c:pt idx="4007">
                  <c:v>0</c:v>
                </c:pt>
                <c:pt idx="4008">
                  <c:v>1</c:v>
                </c:pt>
                <c:pt idx="4009">
                  <c:v>1</c:v>
                </c:pt>
                <c:pt idx="4010">
                  <c:v>0</c:v>
                </c:pt>
                <c:pt idx="4011">
                  <c:v>0</c:v>
                </c:pt>
                <c:pt idx="4012">
                  <c:v>0</c:v>
                </c:pt>
                <c:pt idx="4013">
                  <c:v>0</c:v>
                </c:pt>
                <c:pt idx="4014">
                  <c:v>0</c:v>
                </c:pt>
                <c:pt idx="4015">
                  <c:v>0</c:v>
                </c:pt>
                <c:pt idx="4016">
                  <c:v>0</c:v>
                </c:pt>
                <c:pt idx="4017">
                  <c:v>0</c:v>
                </c:pt>
                <c:pt idx="4018">
                  <c:v>0</c:v>
                </c:pt>
                <c:pt idx="4019">
                  <c:v>0</c:v>
                </c:pt>
                <c:pt idx="4020">
                  <c:v>0</c:v>
                </c:pt>
                <c:pt idx="4021">
                  <c:v>3</c:v>
                </c:pt>
                <c:pt idx="4022">
                  <c:v>1</c:v>
                </c:pt>
                <c:pt idx="4023">
                  <c:v>3</c:v>
                </c:pt>
                <c:pt idx="4024">
                  <c:v>0</c:v>
                </c:pt>
                <c:pt idx="4025">
                  <c:v>0</c:v>
                </c:pt>
                <c:pt idx="4026">
                  <c:v>7</c:v>
                </c:pt>
                <c:pt idx="4027">
                  <c:v>0</c:v>
                </c:pt>
                <c:pt idx="4028">
                  <c:v>0</c:v>
                </c:pt>
                <c:pt idx="4029">
                  <c:v>0</c:v>
                </c:pt>
                <c:pt idx="4030">
                  <c:v>2</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2</c:v>
                </c:pt>
                <c:pt idx="4044">
                  <c:v>0</c:v>
                </c:pt>
                <c:pt idx="4045">
                  <c:v>0</c:v>
                </c:pt>
                <c:pt idx="4046">
                  <c:v>2</c:v>
                </c:pt>
                <c:pt idx="4047">
                  <c:v>0</c:v>
                </c:pt>
                <c:pt idx="4048">
                  <c:v>0</c:v>
                </c:pt>
                <c:pt idx="4049">
                  <c:v>1</c:v>
                </c:pt>
                <c:pt idx="4050">
                  <c:v>0</c:v>
                </c:pt>
                <c:pt idx="4051">
                  <c:v>1</c:v>
                </c:pt>
                <c:pt idx="4052">
                  <c:v>0</c:v>
                </c:pt>
                <c:pt idx="4053">
                  <c:v>0</c:v>
                </c:pt>
                <c:pt idx="4054">
                  <c:v>3</c:v>
                </c:pt>
                <c:pt idx="4055">
                  <c:v>1</c:v>
                </c:pt>
                <c:pt idx="4056">
                  <c:v>0</c:v>
                </c:pt>
                <c:pt idx="4057">
                  <c:v>0</c:v>
                </c:pt>
                <c:pt idx="4058">
                  <c:v>0</c:v>
                </c:pt>
                <c:pt idx="4059">
                  <c:v>0</c:v>
                </c:pt>
                <c:pt idx="4060">
                  <c:v>0</c:v>
                </c:pt>
                <c:pt idx="4061">
                  <c:v>7</c:v>
                </c:pt>
                <c:pt idx="4062">
                  <c:v>0</c:v>
                </c:pt>
                <c:pt idx="4063">
                  <c:v>0</c:v>
                </c:pt>
                <c:pt idx="4064">
                  <c:v>1</c:v>
                </c:pt>
                <c:pt idx="4065">
                  <c:v>2</c:v>
                </c:pt>
                <c:pt idx="4066">
                  <c:v>0</c:v>
                </c:pt>
                <c:pt idx="4067">
                  <c:v>9</c:v>
                </c:pt>
                <c:pt idx="4068">
                  <c:v>1</c:v>
                </c:pt>
                <c:pt idx="4069">
                  <c:v>0</c:v>
                </c:pt>
                <c:pt idx="4070">
                  <c:v>2</c:v>
                </c:pt>
                <c:pt idx="4071">
                  <c:v>0</c:v>
                </c:pt>
                <c:pt idx="4072">
                  <c:v>2</c:v>
                </c:pt>
                <c:pt idx="4073">
                  <c:v>0</c:v>
                </c:pt>
                <c:pt idx="4074">
                  <c:v>0</c:v>
                </c:pt>
                <c:pt idx="4075">
                  <c:v>0</c:v>
                </c:pt>
                <c:pt idx="4076">
                  <c:v>0</c:v>
                </c:pt>
                <c:pt idx="4077">
                  <c:v>0</c:v>
                </c:pt>
                <c:pt idx="4078">
                  <c:v>4</c:v>
                </c:pt>
                <c:pt idx="4079">
                  <c:v>0</c:v>
                </c:pt>
                <c:pt idx="4080">
                  <c:v>0</c:v>
                </c:pt>
                <c:pt idx="4081">
                  <c:v>0</c:v>
                </c:pt>
                <c:pt idx="4082">
                  <c:v>3</c:v>
                </c:pt>
                <c:pt idx="4083">
                  <c:v>6</c:v>
                </c:pt>
                <c:pt idx="4084">
                  <c:v>0</c:v>
                </c:pt>
                <c:pt idx="4085">
                  <c:v>0</c:v>
                </c:pt>
                <c:pt idx="4086">
                  <c:v>3</c:v>
                </c:pt>
                <c:pt idx="4087">
                  <c:v>0</c:v>
                </c:pt>
                <c:pt idx="4088">
                  <c:v>3</c:v>
                </c:pt>
                <c:pt idx="4089">
                  <c:v>0</c:v>
                </c:pt>
                <c:pt idx="4090">
                  <c:v>0</c:v>
                </c:pt>
                <c:pt idx="4091">
                  <c:v>0</c:v>
                </c:pt>
                <c:pt idx="4092">
                  <c:v>0</c:v>
                </c:pt>
                <c:pt idx="4093">
                  <c:v>0</c:v>
                </c:pt>
                <c:pt idx="4094">
                  <c:v>0</c:v>
                </c:pt>
                <c:pt idx="4095">
                  <c:v>2</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1</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5</c:v>
                </c:pt>
                <c:pt idx="4188">
                  <c:v>0</c:v>
                </c:pt>
                <c:pt idx="4189">
                  <c:v>0</c:v>
                </c:pt>
                <c:pt idx="4190">
                  <c:v>3</c:v>
                </c:pt>
                <c:pt idx="4191">
                  <c:v>0</c:v>
                </c:pt>
                <c:pt idx="4192">
                  <c:v>0</c:v>
                </c:pt>
                <c:pt idx="4193">
                  <c:v>0</c:v>
                </c:pt>
                <c:pt idx="4194">
                  <c:v>1</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3</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3</c:v>
                </c:pt>
                <c:pt idx="4240">
                  <c:v>0</c:v>
                </c:pt>
                <c:pt idx="4241">
                  <c:v>0</c:v>
                </c:pt>
                <c:pt idx="4242">
                  <c:v>3</c:v>
                </c:pt>
                <c:pt idx="4243">
                  <c:v>0</c:v>
                </c:pt>
                <c:pt idx="4244">
                  <c:v>0</c:v>
                </c:pt>
                <c:pt idx="4245">
                  <c:v>1</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3</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1</c:v>
                </c:pt>
                <c:pt idx="4357">
                  <c:v>0</c:v>
                </c:pt>
                <c:pt idx="4358">
                  <c:v>0</c:v>
                </c:pt>
                <c:pt idx="4359">
                  <c:v>0</c:v>
                </c:pt>
                <c:pt idx="4360">
                  <c:v>0</c:v>
                </c:pt>
                <c:pt idx="4361">
                  <c:v>0</c:v>
                </c:pt>
                <c:pt idx="4362">
                  <c:v>0</c:v>
                </c:pt>
                <c:pt idx="4363">
                  <c:v>0</c:v>
                </c:pt>
                <c:pt idx="4364">
                  <c:v>0</c:v>
                </c:pt>
                <c:pt idx="4365">
                  <c:v>0</c:v>
                </c:pt>
                <c:pt idx="4366">
                  <c:v>0</c:v>
                </c:pt>
                <c:pt idx="4367">
                  <c:v>0</c:v>
                </c:pt>
                <c:pt idx="4368">
                  <c:v>1</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1</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1</c:v>
                </c:pt>
                <c:pt idx="4408">
                  <c:v>0</c:v>
                </c:pt>
                <c:pt idx="4409">
                  <c:v>0</c:v>
                </c:pt>
                <c:pt idx="4410">
                  <c:v>0</c:v>
                </c:pt>
                <c:pt idx="4411">
                  <c:v>0</c:v>
                </c:pt>
                <c:pt idx="4412">
                  <c:v>0</c:v>
                </c:pt>
                <c:pt idx="4413">
                  <c:v>0</c:v>
                </c:pt>
                <c:pt idx="4414">
                  <c:v>0</c:v>
                </c:pt>
                <c:pt idx="4415">
                  <c:v>0</c:v>
                </c:pt>
                <c:pt idx="4416">
                  <c:v>2</c:v>
                </c:pt>
                <c:pt idx="4417">
                  <c:v>0</c:v>
                </c:pt>
                <c:pt idx="4418">
                  <c:v>0</c:v>
                </c:pt>
                <c:pt idx="4419">
                  <c:v>0</c:v>
                </c:pt>
                <c:pt idx="4420">
                  <c:v>4</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1</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1</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1</c:v>
                </c:pt>
                <c:pt idx="4568">
                  <c:v>0</c:v>
                </c:pt>
                <c:pt idx="4569">
                  <c:v>1</c:v>
                </c:pt>
                <c:pt idx="4570">
                  <c:v>0</c:v>
                </c:pt>
                <c:pt idx="4571">
                  <c:v>4</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3</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10</c:v>
                </c:pt>
                <c:pt idx="4654">
                  <c:v>11</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5</c:v>
                </c:pt>
                <c:pt idx="4738">
                  <c:v>1</c:v>
                </c:pt>
                <c:pt idx="4739">
                  <c:v>0</c:v>
                </c:pt>
                <c:pt idx="4740">
                  <c:v>5</c:v>
                </c:pt>
                <c:pt idx="4741">
                  <c:v>0</c:v>
                </c:pt>
                <c:pt idx="4742">
                  <c:v>0</c:v>
                </c:pt>
                <c:pt idx="4743">
                  <c:v>1</c:v>
                </c:pt>
                <c:pt idx="4744">
                  <c:v>0</c:v>
                </c:pt>
                <c:pt idx="4745">
                  <c:v>0</c:v>
                </c:pt>
                <c:pt idx="4746">
                  <c:v>1</c:v>
                </c:pt>
                <c:pt idx="4747">
                  <c:v>0</c:v>
                </c:pt>
                <c:pt idx="4748">
                  <c:v>0</c:v>
                </c:pt>
                <c:pt idx="4749">
                  <c:v>1</c:v>
                </c:pt>
                <c:pt idx="4750">
                  <c:v>0</c:v>
                </c:pt>
                <c:pt idx="4751">
                  <c:v>0</c:v>
                </c:pt>
                <c:pt idx="4752">
                  <c:v>0</c:v>
                </c:pt>
                <c:pt idx="4753">
                  <c:v>0</c:v>
                </c:pt>
                <c:pt idx="4754">
                  <c:v>0</c:v>
                </c:pt>
                <c:pt idx="4755">
                  <c:v>5</c:v>
                </c:pt>
                <c:pt idx="4756">
                  <c:v>0</c:v>
                </c:pt>
                <c:pt idx="4757">
                  <c:v>0</c:v>
                </c:pt>
                <c:pt idx="4758">
                  <c:v>5</c:v>
                </c:pt>
                <c:pt idx="4759">
                  <c:v>0</c:v>
                </c:pt>
                <c:pt idx="4760">
                  <c:v>0</c:v>
                </c:pt>
                <c:pt idx="4761">
                  <c:v>0</c:v>
                </c:pt>
                <c:pt idx="4762">
                  <c:v>1</c:v>
                </c:pt>
                <c:pt idx="4763">
                  <c:v>0</c:v>
                </c:pt>
                <c:pt idx="4764">
                  <c:v>0</c:v>
                </c:pt>
                <c:pt idx="4765">
                  <c:v>0</c:v>
                </c:pt>
                <c:pt idx="4766">
                  <c:v>0</c:v>
                </c:pt>
                <c:pt idx="4767">
                  <c:v>0</c:v>
                </c:pt>
                <c:pt idx="4768">
                  <c:v>0</c:v>
                </c:pt>
                <c:pt idx="4769">
                  <c:v>0</c:v>
                </c:pt>
                <c:pt idx="4770">
                  <c:v>4</c:v>
                </c:pt>
                <c:pt idx="4771">
                  <c:v>0</c:v>
                </c:pt>
                <c:pt idx="4772">
                  <c:v>0</c:v>
                </c:pt>
                <c:pt idx="4773">
                  <c:v>0</c:v>
                </c:pt>
                <c:pt idx="4774">
                  <c:v>0</c:v>
                </c:pt>
                <c:pt idx="4775">
                  <c:v>3</c:v>
                </c:pt>
                <c:pt idx="4776">
                  <c:v>2</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2</c:v>
                </c:pt>
                <c:pt idx="4812">
                  <c:v>1</c:v>
                </c:pt>
                <c:pt idx="4813">
                  <c:v>3</c:v>
                </c:pt>
                <c:pt idx="4814">
                  <c:v>5</c:v>
                </c:pt>
                <c:pt idx="4815">
                  <c:v>0</c:v>
                </c:pt>
                <c:pt idx="4816">
                  <c:v>2</c:v>
                </c:pt>
                <c:pt idx="4817">
                  <c:v>4</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2</c:v>
                </c:pt>
                <c:pt idx="4839">
                  <c:v>0</c:v>
                </c:pt>
                <c:pt idx="4840">
                  <c:v>0</c:v>
                </c:pt>
                <c:pt idx="4841">
                  <c:v>0</c:v>
                </c:pt>
                <c:pt idx="4842">
                  <c:v>0</c:v>
                </c:pt>
                <c:pt idx="4843">
                  <c:v>0</c:v>
                </c:pt>
                <c:pt idx="4844">
                  <c:v>0</c:v>
                </c:pt>
                <c:pt idx="4845">
                  <c:v>0</c:v>
                </c:pt>
                <c:pt idx="4846">
                  <c:v>0</c:v>
                </c:pt>
                <c:pt idx="4847">
                  <c:v>0</c:v>
                </c:pt>
                <c:pt idx="4848">
                  <c:v>3</c:v>
                </c:pt>
                <c:pt idx="4849">
                  <c:v>0</c:v>
                </c:pt>
                <c:pt idx="4850">
                  <c:v>0</c:v>
                </c:pt>
                <c:pt idx="4851">
                  <c:v>0</c:v>
                </c:pt>
                <c:pt idx="4852">
                  <c:v>0</c:v>
                </c:pt>
                <c:pt idx="4853">
                  <c:v>0</c:v>
                </c:pt>
                <c:pt idx="4854">
                  <c:v>0</c:v>
                </c:pt>
                <c:pt idx="4855">
                  <c:v>1</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2</c:v>
                </c:pt>
                <c:pt idx="4878">
                  <c:v>0</c:v>
                </c:pt>
                <c:pt idx="4879">
                  <c:v>0</c:v>
                </c:pt>
                <c:pt idx="4880">
                  <c:v>3</c:v>
                </c:pt>
                <c:pt idx="4881">
                  <c:v>0</c:v>
                </c:pt>
                <c:pt idx="4882">
                  <c:v>0</c:v>
                </c:pt>
                <c:pt idx="4883">
                  <c:v>0</c:v>
                </c:pt>
                <c:pt idx="4884">
                  <c:v>0</c:v>
                </c:pt>
                <c:pt idx="4885">
                  <c:v>0</c:v>
                </c:pt>
                <c:pt idx="4886">
                  <c:v>0</c:v>
                </c:pt>
                <c:pt idx="4887">
                  <c:v>1</c:v>
                </c:pt>
                <c:pt idx="4888">
                  <c:v>0</c:v>
                </c:pt>
                <c:pt idx="4889">
                  <c:v>0</c:v>
                </c:pt>
                <c:pt idx="4890">
                  <c:v>0</c:v>
                </c:pt>
                <c:pt idx="4891">
                  <c:v>0</c:v>
                </c:pt>
                <c:pt idx="4892">
                  <c:v>1</c:v>
                </c:pt>
                <c:pt idx="4893">
                  <c:v>0</c:v>
                </c:pt>
                <c:pt idx="4894">
                  <c:v>1</c:v>
                </c:pt>
                <c:pt idx="4895">
                  <c:v>0</c:v>
                </c:pt>
                <c:pt idx="4896">
                  <c:v>0</c:v>
                </c:pt>
                <c:pt idx="4897">
                  <c:v>0</c:v>
                </c:pt>
                <c:pt idx="4898">
                  <c:v>0</c:v>
                </c:pt>
                <c:pt idx="4899">
                  <c:v>0</c:v>
                </c:pt>
                <c:pt idx="4900">
                  <c:v>0</c:v>
                </c:pt>
                <c:pt idx="4901">
                  <c:v>0</c:v>
                </c:pt>
                <c:pt idx="4902">
                  <c:v>0</c:v>
                </c:pt>
                <c:pt idx="4903">
                  <c:v>0</c:v>
                </c:pt>
                <c:pt idx="4904">
                  <c:v>0</c:v>
                </c:pt>
                <c:pt idx="4905">
                  <c:v>4</c:v>
                </c:pt>
                <c:pt idx="4906">
                  <c:v>5</c:v>
                </c:pt>
                <c:pt idx="4907">
                  <c:v>1</c:v>
                </c:pt>
                <c:pt idx="4908">
                  <c:v>2</c:v>
                </c:pt>
                <c:pt idx="4909">
                  <c:v>0</c:v>
                </c:pt>
                <c:pt idx="4910">
                  <c:v>1</c:v>
                </c:pt>
                <c:pt idx="4911">
                  <c:v>0</c:v>
                </c:pt>
                <c:pt idx="4912">
                  <c:v>0</c:v>
                </c:pt>
                <c:pt idx="4913">
                  <c:v>0</c:v>
                </c:pt>
                <c:pt idx="4914">
                  <c:v>0</c:v>
                </c:pt>
                <c:pt idx="4915">
                  <c:v>0</c:v>
                </c:pt>
                <c:pt idx="4916">
                  <c:v>0</c:v>
                </c:pt>
                <c:pt idx="4917">
                  <c:v>0</c:v>
                </c:pt>
                <c:pt idx="4918">
                  <c:v>0</c:v>
                </c:pt>
                <c:pt idx="4919">
                  <c:v>0</c:v>
                </c:pt>
                <c:pt idx="4920">
                  <c:v>0</c:v>
                </c:pt>
                <c:pt idx="4921">
                  <c:v>0</c:v>
                </c:pt>
                <c:pt idx="4922">
                  <c:v>1</c:v>
                </c:pt>
                <c:pt idx="4923">
                  <c:v>0</c:v>
                </c:pt>
                <c:pt idx="4924">
                  <c:v>0</c:v>
                </c:pt>
                <c:pt idx="4925">
                  <c:v>0</c:v>
                </c:pt>
                <c:pt idx="4926">
                  <c:v>0</c:v>
                </c:pt>
                <c:pt idx="4927">
                  <c:v>0</c:v>
                </c:pt>
                <c:pt idx="4928">
                  <c:v>0</c:v>
                </c:pt>
                <c:pt idx="4929">
                  <c:v>0</c:v>
                </c:pt>
                <c:pt idx="4930">
                  <c:v>2</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8</c:v>
                </c:pt>
                <c:pt idx="4952">
                  <c:v>3</c:v>
                </c:pt>
                <c:pt idx="4953">
                  <c:v>2</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3</c:v>
                </c:pt>
                <c:pt idx="4971">
                  <c:v>0</c:v>
                </c:pt>
                <c:pt idx="4972">
                  <c:v>0</c:v>
                </c:pt>
                <c:pt idx="4973">
                  <c:v>1</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2</c:v>
                </c:pt>
                <c:pt idx="4988">
                  <c:v>0</c:v>
                </c:pt>
                <c:pt idx="4989">
                  <c:v>0</c:v>
                </c:pt>
                <c:pt idx="4990">
                  <c:v>0</c:v>
                </c:pt>
                <c:pt idx="4991">
                  <c:v>0</c:v>
                </c:pt>
                <c:pt idx="4992">
                  <c:v>9</c:v>
                </c:pt>
                <c:pt idx="4993">
                  <c:v>0</c:v>
                </c:pt>
                <c:pt idx="4994">
                  <c:v>0</c:v>
                </c:pt>
                <c:pt idx="4995">
                  <c:v>0</c:v>
                </c:pt>
                <c:pt idx="4996">
                  <c:v>0</c:v>
                </c:pt>
                <c:pt idx="4997">
                  <c:v>0</c:v>
                </c:pt>
                <c:pt idx="4998">
                  <c:v>0</c:v>
                </c:pt>
                <c:pt idx="4999">
                  <c:v>0</c:v>
                </c:pt>
                <c:pt idx="5000">
                  <c:v>0</c:v>
                </c:pt>
                <c:pt idx="5001">
                  <c:v>0</c:v>
                </c:pt>
                <c:pt idx="5002">
                  <c:v>0</c:v>
                </c:pt>
                <c:pt idx="5003">
                  <c:v>3</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6</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3</c:v>
                </c:pt>
                <c:pt idx="5078">
                  <c:v>1</c:v>
                </c:pt>
                <c:pt idx="5079">
                  <c:v>0</c:v>
                </c:pt>
                <c:pt idx="5080">
                  <c:v>0</c:v>
                </c:pt>
                <c:pt idx="5081">
                  <c:v>0</c:v>
                </c:pt>
                <c:pt idx="5082">
                  <c:v>0</c:v>
                </c:pt>
                <c:pt idx="5083">
                  <c:v>0</c:v>
                </c:pt>
                <c:pt idx="5084">
                  <c:v>1</c:v>
                </c:pt>
                <c:pt idx="5085">
                  <c:v>0</c:v>
                </c:pt>
                <c:pt idx="5086">
                  <c:v>0</c:v>
                </c:pt>
                <c:pt idx="5087">
                  <c:v>0</c:v>
                </c:pt>
                <c:pt idx="5088">
                  <c:v>0</c:v>
                </c:pt>
                <c:pt idx="5089">
                  <c:v>0</c:v>
                </c:pt>
                <c:pt idx="5090">
                  <c:v>0</c:v>
                </c:pt>
                <c:pt idx="5091">
                  <c:v>2</c:v>
                </c:pt>
                <c:pt idx="5092">
                  <c:v>0</c:v>
                </c:pt>
                <c:pt idx="5093">
                  <c:v>0</c:v>
                </c:pt>
                <c:pt idx="5094">
                  <c:v>1</c:v>
                </c:pt>
                <c:pt idx="5095">
                  <c:v>0</c:v>
                </c:pt>
                <c:pt idx="5096">
                  <c:v>0</c:v>
                </c:pt>
                <c:pt idx="5097">
                  <c:v>0</c:v>
                </c:pt>
                <c:pt idx="5098">
                  <c:v>0</c:v>
                </c:pt>
                <c:pt idx="5099">
                  <c:v>0</c:v>
                </c:pt>
                <c:pt idx="5100">
                  <c:v>0</c:v>
                </c:pt>
                <c:pt idx="5101">
                  <c:v>0</c:v>
                </c:pt>
                <c:pt idx="5102">
                  <c:v>0</c:v>
                </c:pt>
                <c:pt idx="5103">
                  <c:v>1</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1</c:v>
                </c:pt>
                <c:pt idx="5121">
                  <c:v>0</c:v>
                </c:pt>
                <c:pt idx="5122">
                  <c:v>0</c:v>
                </c:pt>
                <c:pt idx="5123">
                  <c:v>0</c:v>
                </c:pt>
                <c:pt idx="5124">
                  <c:v>1</c:v>
                </c:pt>
                <c:pt idx="5125">
                  <c:v>1</c:v>
                </c:pt>
                <c:pt idx="5126">
                  <c:v>2</c:v>
                </c:pt>
                <c:pt idx="5127">
                  <c:v>4</c:v>
                </c:pt>
                <c:pt idx="5128">
                  <c:v>0</c:v>
                </c:pt>
                <c:pt idx="5129">
                  <c:v>2</c:v>
                </c:pt>
                <c:pt idx="5130">
                  <c:v>0</c:v>
                </c:pt>
                <c:pt idx="5131">
                  <c:v>3</c:v>
                </c:pt>
                <c:pt idx="5132">
                  <c:v>2</c:v>
                </c:pt>
                <c:pt idx="5133">
                  <c:v>0</c:v>
                </c:pt>
                <c:pt idx="5134">
                  <c:v>0</c:v>
                </c:pt>
                <c:pt idx="5135">
                  <c:v>0</c:v>
                </c:pt>
                <c:pt idx="5136">
                  <c:v>0</c:v>
                </c:pt>
                <c:pt idx="5137">
                  <c:v>0</c:v>
                </c:pt>
                <c:pt idx="5138">
                  <c:v>0</c:v>
                </c:pt>
                <c:pt idx="5139">
                  <c:v>0</c:v>
                </c:pt>
                <c:pt idx="5140">
                  <c:v>0</c:v>
                </c:pt>
                <c:pt idx="5141">
                  <c:v>2</c:v>
                </c:pt>
                <c:pt idx="5142">
                  <c:v>0</c:v>
                </c:pt>
                <c:pt idx="5143">
                  <c:v>0</c:v>
                </c:pt>
                <c:pt idx="5144">
                  <c:v>0</c:v>
                </c:pt>
                <c:pt idx="5145">
                  <c:v>1</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4</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3</c:v>
                </c:pt>
                <c:pt idx="5177">
                  <c:v>0</c:v>
                </c:pt>
                <c:pt idx="5178">
                  <c:v>0</c:v>
                </c:pt>
                <c:pt idx="5179">
                  <c:v>0</c:v>
                </c:pt>
                <c:pt idx="5180">
                  <c:v>0</c:v>
                </c:pt>
                <c:pt idx="5181">
                  <c:v>0</c:v>
                </c:pt>
                <c:pt idx="5182">
                  <c:v>0</c:v>
                </c:pt>
                <c:pt idx="5183">
                  <c:v>0</c:v>
                </c:pt>
                <c:pt idx="5184">
                  <c:v>3</c:v>
                </c:pt>
                <c:pt idx="5185">
                  <c:v>0</c:v>
                </c:pt>
                <c:pt idx="5186">
                  <c:v>0</c:v>
                </c:pt>
                <c:pt idx="5187">
                  <c:v>0</c:v>
                </c:pt>
                <c:pt idx="5188">
                  <c:v>0</c:v>
                </c:pt>
                <c:pt idx="5189">
                  <c:v>0</c:v>
                </c:pt>
                <c:pt idx="5190">
                  <c:v>1</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2</c:v>
                </c:pt>
                <c:pt idx="5232">
                  <c:v>1</c:v>
                </c:pt>
                <c:pt idx="5233">
                  <c:v>2</c:v>
                </c:pt>
                <c:pt idx="5234">
                  <c:v>0</c:v>
                </c:pt>
                <c:pt idx="5235">
                  <c:v>2</c:v>
                </c:pt>
                <c:pt idx="5236">
                  <c:v>0</c:v>
                </c:pt>
                <c:pt idx="5237">
                  <c:v>0</c:v>
                </c:pt>
                <c:pt idx="5238">
                  <c:v>0</c:v>
                </c:pt>
                <c:pt idx="5239">
                  <c:v>2</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2</c:v>
                </c:pt>
                <c:pt idx="5275">
                  <c:v>1</c:v>
                </c:pt>
                <c:pt idx="5276">
                  <c:v>1</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3</c:v>
                </c:pt>
                <c:pt idx="5315">
                  <c:v>1</c:v>
                </c:pt>
                <c:pt idx="5316">
                  <c:v>0</c:v>
                </c:pt>
                <c:pt idx="5317">
                  <c:v>1</c:v>
                </c:pt>
                <c:pt idx="5318">
                  <c:v>0</c:v>
                </c:pt>
                <c:pt idx="5319">
                  <c:v>0</c:v>
                </c:pt>
                <c:pt idx="5320">
                  <c:v>0</c:v>
                </c:pt>
                <c:pt idx="5321">
                  <c:v>0</c:v>
                </c:pt>
                <c:pt idx="5322">
                  <c:v>1</c:v>
                </c:pt>
                <c:pt idx="5323">
                  <c:v>0</c:v>
                </c:pt>
                <c:pt idx="5324">
                  <c:v>0</c:v>
                </c:pt>
                <c:pt idx="5325">
                  <c:v>0</c:v>
                </c:pt>
                <c:pt idx="5326">
                  <c:v>1</c:v>
                </c:pt>
                <c:pt idx="5327">
                  <c:v>2</c:v>
                </c:pt>
                <c:pt idx="5328">
                  <c:v>3</c:v>
                </c:pt>
                <c:pt idx="5329">
                  <c:v>0</c:v>
                </c:pt>
                <c:pt idx="5330">
                  <c:v>0</c:v>
                </c:pt>
                <c:pt idx="5331">
                  <c:v>0</c:v>
                </c:pt>
                <c:pt idx="5332">
                  <c:v>0</c:v>
                </c:pt>
                <c:pt idx="5333">
                  <c:v>2</c:v>
                </c:pt>
                <c:pt idx="5334">
                  <c:v>1</c:v>
                </c:pt>
                <c:pt idx="5335">
                  <c:v>0</c:v>
                </c:pt>
                <c:pt idx="5336">
                  <c:v>0</c:v>
                </c:pt>
                <c:pt idx="5337">
                  <c:v>0</c:v>
                </c:pt>
                <c:pt idx="5338">
                  <c:v>0</c:v>
                </c:pt>
                <c:pt idx="5339">
                  <c:v>2</c:v>
                </c:pt>
                <c:pt idx="5340">
                  <c:v>0</c:v>
                </c:pt>
                <c:pt idx="5341">
                  <c:v>0</c:v>
                </c:pt>
                <c:pt idx="5342">
                  <c:v>0</c:v>
                </c:pt>
                <c:pt idx="5343">
                  <c:v>1</c:v>
                </c:pt>
                <c:pt idx="5344">
                  <c:v>1</c:v>
                </c:pt>
                <c:pt idx="5345">
                  <c:v>0</c:v>
                </c:pt>
                <c:pt idx="5346">
                  <c:v>4</c:v>
                </c:pt>
                <c:pt idx="5347">
                  <c:v>1</c:v>
                </c:pt>
                <c:pt idx="5348">
                  <c:v>1</c:v>
                </c:pt>
                <c:pt idx="5349">
                  <c:v>2</c:v>
                </c:pt>
                <c:pt idx="5350">
                  <c:v>0</c:v>
                </c:pt>
                <c:pt idx="5351">
                  <c:v>0</c:v>
                </c:pt>
                <c:pt idx="5352">
                  <c:v>2</c:v>
                </c:pt>
                <c:pt idx="5353">
                  <c:v>0</c:v>
                </c:pt>
                <c:pt idx="5354">
                  <c:v>2</c:v>
                </c:pt>
                <c:pt idx="5355">
                  <c:v>0</c:v>
                </c:pt>
                <c:pt idx="5356">
                  <c:v>0</c:v>
                </c:pt>
                <c:pt idx="5357">
                  <c:v>0</c:v>
                </c:pt>
                <c:pt idx="5358">
                  <c:v>1</c:v>
                </c:pt>
                <c:pt idx="5359">
                  <c:v>0</c:v>
                </c:pt>
                <c:pt idx="5360">
                  <c:v>2</c:v>
                </c:pt>
                <c:pt idx="5361">
                  <c:v>0</c:v>
                </c:pt>
                <c:pt idx="5362">
                  <c:v>0</c:v>
                </c:pt>
                <c:pt idx="5363">
                  <c:v>0</c:v>
                </c:pt>
                <c:pt idx="5364">
                  <c:v>1</c:v>
                </c:pt>
                <c:pt idx="5365">
                  <c:v>0</c:v>
                </c:pt>
                <c:pt idx="5366">
                  <c:v>0</c:v>
                </c:pt>
                <c:pt idx="5367">
                  <c:v>0</c:v>
                </c:pt>
                <c:pt idx="5368">
                  <c:v>0</c:v>
                </c:pt>
                <c:pt idx="5369">
                  <c:v>2</c:v>
                </c:pt>
                <c:pt idx="5370">
                  <c:v>0</c:v>
                </c:pt>
                <c:pt idx="5371">
                  <c:v>0</c:v>
                </c:pt>
                <c:pt idx="5372">
                  <c:v>0</c:v>
                </c:pt>
                <c:pt idx="5373">
                  <c:v>0</c:v>
                </c:pt>
                <c:pt idx="5374">
                  <c:v>0</c:v>
                </c:pt>
                <c:pt idx="5375">
                  <c:v>0</c:v>
                </c:pt>
                <c:pt idx="5376">
                  <c:v>0</c:v>
                </c:pt>
                <c:pt idx="5377">
                  <c:v>1</c:v>
                </c:pt>
                <c:pt idx="5378">
                  <c:v>0</c:v>
                </c:pt>
                <c:pt idx="5379">
                  <c:v>1</c:v>
                </c:pt>
                <c:pt idx="5380">
                  <c:v>3</c:v>
                </c:pt>
                <c:pt idx="5381">
                  <c:v>4</c:v>
                </c:pt>
                <c:pt idx="5382">
                  <c:v>0</c:v>
                </c:pt>
                <c:pt idx="5383">
                  <c:v>0</c:v>
                </c:pt>
                <c:pt idx="5384">
                  <c:v>4</c:v>
                </c:pt>
                <c:pt idx="5385">
                  <c:v>0</c:v>
                </c:pt>
                <c:pt idx="5386">
                  <c:v>0</c:v>
                </c:pt>
                <c:pt idx="5387">
                  <c:v>0</c:v>
                </c:pt>
                <c:pt idx="5388">
                  <c:v>0</c:v>
                </c:pt>
                <c:pt idx="5389">
                  <c:v>0</c:v>
                </c:pt>
                <c:pt idx="5390">
                  <c:v>0</c:v>
                </c:pt>
                <c:pt idx="5391">
                  <c:v>1</c:v>
                </c:pt>
                <c:pt idx="5392">
                  <c:v>3</c:v>
                </c:pt>
                <c:pt idx="5393">
                  <c:v>1</c:v>
                </c:pt>
                <c:pt idx="5394">
                  <c:v>1</c:v>
                </c:pt>
                <c:pt idx="5395">
                  <c:v>0</c:v>
                </c:pt>
                <c:pt idx="5396">
                  <c:v>0</c:v>
                </c:pt>
                <c:pt idx="5397">
                  <c:v>2</c:v>
                </c:pt>
                <c:pt idx="5398">
                  <c:v>0</c:v>
                </c:pt>
                <c:pt idx="5399">
                  <c:v>0</c:v>
                </c:pt>
                <c:pt idx="5400">
                  <c:v>0</c:v>
                </c:pt>
                <c:pt idx="5401">
                  <c:v>0</c:v>
                </c:pt>
                <c:pt idx="5402">
                  <c:v>0</c:v>
                </c:pt>
                <c:pt idx="5403">
                  <c:v>0</c:v>
                </c:pt>
                <c:pt idx="5404">
                  <c:v>1</c:v>
                </c:pt>
                <c:pt idx="5405">
                  <c:v>2</c:v>
                </c:pt>
                <c:pt idx="5406">
                  <c:v>3</c:v>
                </c:pt>
                <c:pt idx="5407">
                  <c:v>0</c:v>
                </c:pt>
                <c:pt idx="5408">
                  <c:v>11</c:v>
                </c:pt>
                <c:pt idx="5409">
                  <c:v>3</c:v>
                </c:pt>
                <c:pt idx="5410">
                  <c:v>0</c:v>
                </c:pt>
                <c:pt idx="5411">
                  <c:v>2</c:v>
                </c:pt>
                <c:pt idx="5412">
                  <c:v>3</c:v>
                </c:pt>
                <c:pt idx="5413">
                  <c:v>6</c:v>
                </c:pt>
                <c:pt idx="5414">
                  <c:v>9</c:v>
                </c:pt>
                <c:pt idx="5415">
                  <c:v>14</c:v>
                </c:pt>
                <c:pt idx="5416">
                  <c:v>1</c:v>
                </c:pt>
                <c:pt idx="5417">
                  <c:v>15</c:v>
                </c:pt>
                <c:pt idx="5418">
                  <c:v>0</c:v>
                </c:pt>
                <c:pt idx="5419">
                  <c:v>1</c:v>
                </c:pt>
                <c:pt idx="5420">
                  <c:v>0</c:v>
                </c:pt>
                <c:pt idx="5421">
                  <c:v>1</c:v>
                </c:pt>
                <c:pt idx="5422">
                  <c:v>1</c:v>
                </c:pt>
                <c:pt idx="5423">
                  <c:v>0</c:v>
                </c:pt>
                <c:pt idx="5424">
                  <c:v>0</c:v>
                </c:pt>
                <c:pt idx="5425">
                  <c:v>0</c:v>
                </c:pt>
                <c:pt idx="5426">
                  <c:v>6</c:v>
                </c:pt>
                <c:pt idx="5427">
                  <c:v>4</c:v>
                </c:pt>
                <c:pt idx="5428">
                  <c:v>0</c:v>
                </c:pt>
                <c:pt idx="5429">
                  <c:v>1</c:v>
                </c:pt>
                <c:pt idx="5430">
                  <c:v>0</c:v>
                </c:pt>
                <c:pt idx="5431">
                  <c:v>0</c:v>
                </c:pt>
                <c:pt idx="5432">
                  <c:v>1</c:v>
                </c:pt>
                <c:pt idx="5433">
                  <c:v>0</c:v>
                </c:pt>
                <c:pt idx="5434">
                  <c:v>2</c:v>
                </c:pt>
                <c:pt idx="5435">
                  <c:v>4</c:v>
                </c:pt>
                <c:pt idx="5436">
                  <c:v>0</c:v>
                </c:pt>
                <c:pt idx="5437">
                  <c:v>0</c:v>
                </c:pt>
                <c:pt idx="5438">
                  <c:v>1</c:v>
                </c:pt>
                <c:pt idx="5439">
                  <c:v>0</c:v>
                </c:pt>
                <c:pt idx="5440">
                  <c:v>0</c:v>
                </c:pt>
                <c:pt idx="5441">
                  <c:v>1</c:v>
                </c:pt>
                <c:pt idx="5442">
                  <c:v>0</c:v>
                </c:pt>
                <c:pt idx="5443">
                  <c:v>0</c:v>
                </c:pt>
                <c:pt idx="5444">
                  <c:v>2</c:v>
                </c:pt>
                <c:pt idx="5445">
                  <c:v>2</c:v>
                </c:pt>
                <c:pt idx="5446">
                  <c:v>0</c:v>
                </c:pt>
                <c:pt idx="5447">
                  <c:v>0</c:v>
                </c:pt>
                <c:pt idx="5448">
                  <c:v>0</c:v>
                </c:pt>
                <c:pt idx="5449">
                  <c:v>0</c:v>
                </c:pt>
                <c:pt idx="5450">
                  <c:v>1</c:v>
                </c:pt>
                <c:pt idx="5451">
                  <c:v>1</c:v>
                </c:pt>
                <c:pt idx="5452">
                  <c:v>2</c:v>
                </c:pt>
                <c:pt idx="5453">
                  <c:v>0</c:v>
                </c:pt>
                <c:pt idx="5454">
                  <c:v>0</c:v>
                </c:pt>
                <c:pt idx="5455">
                  <c:v>0</c:v>
                </c:pt>
                <c:pt idx="5456">
                  <c:v>0</c:v>
                </c:pt>
                <c:pt idx="5457">
                  <c:v>4</c:v>
                </c:pt>
                <c:pt idx="5458">
                  <c:v>2</c:v>
                </c:pt>
                <c:pt idx="5459">
                  <c:v>2</c:v>
                </c:pt>
                <c:pt idx="5460">
                  <c:v>0</c:v>
                </c:pt>
                <c:pt idx="5461">
                  <c:v>0</c:v>
                </c:pt>
                <c:pt idx="5462">
                  <c:v>1</c:v>
                </c:pt>
                <c:pt idx="5463">
                  <c:v>0</c:v>
                </c:pt>
                <c:pt idx="5464">
                  <c:v>0</c:v>
                </c:pt>
                <c:pt idx="5465">
                  <c:v>1</c:v>
                </c:pt>
                <c:pt idx="5466">
                  <c:v>0</c:v>
                </c:pt>
                <c:pt idx="5467">
                  <c:v>2</c:v>
                </c:pt>
                <c:pt idx="5468">
                  <c:v>3</c:v>
                </c:pt>
                <c:pt idx="5469">
                  <c:v>6</c:v>
                </c:pt>
                <c:pt idx="5470">
                  <c:v>1</c:v>
                </c:pt>
                <c:pt idx="5471">
                  <c:v>2</c:v>
                </c:pt>
                <c:pt idx="5472">
                  <c:v>0</c:v>
                </c:pt>
                <c:pt idx="5473">
                  <c:v>1</c:v>
                </c:pt>
                <c:pt idx="5474">
                  <c:v>0</c:v>
                </c:pt>
                <c:pt idx="5475">
                  <c:v>0</c:v>
                </c:pt>
                <c:pt idx="5476">
                  <c:v>4</c:v>
                </c:pt>
                <c:pt idx="5477">
                  <c:v>0</c:v>
                </c:pt>
                <c:pt idx="5478">
                  <c:v>0</c:v>
                </c:pt>
                <c:pt idx="5479">
                  <c:v>1</c:v>
                </c:pt>
                <c:pt idx="5480">
                  <c:v>0</c:v>
                </c:pt>
                <c:pt idx="5481">
                  <c:v>1</c:v>
                </c:pt>
                <c:pt idx="5482">
                  <c:v>0</c:v>
                </c:pt>
                <c:pt idx="5483">
                  <c:v>0</c:v>
                </c:pt>
                <c:pt idx="5484">
                  <c:v>7</c:v>
                </c:pt>
                <c:pt idx="5485">
                  <c:v>6</c:v>
                </c:pt>
                <c:pt idx="5486">
                  <c:v>1</c:v>
                </c:pt>
                <c:pt idx="5487">
                  <c:v>2</c:v>
                </c:pt>
                <c:pt idx="5488">
                  <c:v>2</c:v>
                </c:pt>
                <c:pt idx="5489">
                  <c:v>0</c:v>
                </c:pt>
                <c:pt idx="5490">
                  <c:v>10</c:v>
                </c:pt>
                <c:pt idx="5491">
                  <c:v>1</c:v>
                </c:pt>
                <c:pt idx="5492">
                  <c:v>0</c:v>
                </c:pt>
                <c:pt idx="5493">
                  <c:v>1</c:v>
                </c:pt>
                <c:pt idx="5494">
                  <c:v>1</c:v>
                </c:pt>
                <c:pt idx="5495">
                  <c:v>0</c:v>
                </c:pt>
                <c:pt idx="5496">
                  <c:v>0</c:v>
                </c:pt>
                <c:pt idx="5497">
                  <c:v>0</c:v>
                </c:pt>
                <c:pt idx="5498">
                  <c:v>0</c:v>
                </c:pt>
                <c:pt idx="5499">
                  <c:v>1</c:v>
                </c:pt>
                <c:pt idx="5500">
                  <c:v>0</c:v>
                </c:pt>
                <c:pt idx="5501">
                  <c:v>5</c:v>
                </c:pt>
                <c:pt idx="5502">
                  <c:v>0</c:v>
                </c:pt>
                <c:pt idx="5503">
                  <c:v>4</c:v>
                </c:pt>
                <c:pt idx="5504">
                  <c:v>3</c:v>
                </c:pt>
                <c:pt idx="5505">
                  <c:v>0</c:v>
                </c:pt>
                <c:pt idx="5506">
                  <c:v>3</c:v>
                </c:pt>
                <c:pt idx="5507">
                  <c:v>0</c:v>
                </c:pt>
                <c:pt idx="5508">
                  <c:v>0</c:v>
                </c:pt>
                <c:pt idx="5509">
                  <c:v>0</c:v>
                </c:pt>
                <c:pt idx="5510">
                  <c:v>0</c:v>
                </c:pt>
                <c:pt idx="5511">
                  <c:v>0</c:v>
                </c:pt>
                <c:pt idx="5512">
                  <c:v>0</c:v>
                </c:pt>
                <c:pt idx="5513">
                  <c:v>0</c:v>
                </c:pt>
                <c:pt idx="5514">
                  <c:v>0</c:v>
                </c:pt>
                <c:pt idx="5515">
                  <c:v>0</c:v>
                </c:pt>
                <c:pt idx="5516">
                  <c:v>0</c:v>
                </c:pt>
                <c:pt idx="5517">
                  <c:v>2</c:v>
                </c:pt>
                <c:pt idx="5518">
                  <c:v>0</c:v>
                </c:pt>
                <c:pt idx="5519">
                  <c:v>1</c:v>
                </c:pt>
                <c:pt idx="5520">
                  <c:v>0</c:v>
                </c:pt>
                <c:pt idx="5521">
                  <c:v>0</c:v>
                </c:pt>
                <c:pt idx="5522">
                  <c:v>3</c:v>
                </c:pt>
                <c:pt idx="5523">
                  <c:v>0</c:v>
                </c:pt>
                <c:pt idx="5524">
                  <c:v>0</c:v>
                </c:pt>
                <c:pt idx="5525">
                  <c:v>1</c:v>
                </c:pt>
                <c:pt idx="5526">
                  <c:v>0</c:v>
                </c:pt>
                <c:pt idx="5527">
                  <c:v>2</c:v>
                </c:pt>
                <c:pt idx="5528">
                  <c:v>0</c:v>
                </c:pt>
                <c:pt idx="5529">
                  <c:v>0</c:v>
                </c:pt>
                <c:pt idx="5530">
                  <c:v>0</c:v>
                </c:pt>
                <c:pt idx="5531">
                  <c:v>0</c:v>
                </c:pt>
                <c:pt idx="5532">
                  <c:v>0</c:v>
                </c:pt>
                <c:pt idx="5533">
                  <c:v>0</c:v>
                </c:pt>
                <c:pt idx="5534">
                  <c:v>1</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1</c:v>
                </c:pt>
                <c:pt idx="5552">
                  <c:v>2</c:v>
                </c:pt>
                <c:pt idx="5553">
                  <c:v>0</c:v>
                </c:pt>
                <c:pt idx="5554">
                  <c:v>1</c:v>
                </c:pt>
                <c:pt idx="5555">
                  <c:v>0</c:v>
                </c:pt>
                <c:pt idx="5556">
                  <c:v>4</c:v>
                </c:pt>
                <c:pt idx="5557">
                  <c:v>0</c:v>
                </c:pt>
                <c:pt idx="5558">
                  <c:v>1</c:v>
                </c:pt>
                <c:pt idx="5559">
                  <c:v>2</c:v>
                </c:pt>
                <c:pt idx="5560">
                  <c:v>0</c:v>
                </c:pt>
                <c:pt idx="5561">
                  <c:v>0</c:v>
                </c:pt>
                <c:pt idx="5562">
                  <c:v>1</c:v>
                </c:pt>
                <c:pt idx="5563">
                  <c:v>2</c:v>
                </c:pt>
                <c:pt idx="5564">
                  <c:v>2</c:v>
                </c:pt>
                <c:pt idx="5565">
                  <c:v>3</c:v>
                </c:pt>
                <c:pt idx="5566">
                  <c:v>4</c:v>
                </c:pt>
                <c:pt idx="5567">
                  <c:v>0</c:v>
                </c:pt>
                <c:pt idx="5568">
                  <c:v>0</c:v>
                </c:pt>
                <c:pt idx="5569">
                  <c:v>0</c:v>
                </c:pt>
                <c:pt idx="5570">
                  <c:v>5</c:v>
                </c:pt>
                <c:pt idx="5571">
                  <c:v>0</c:v>
                </c:pt>
                <c:pt idx="5572">
                  <c:v>2</c:v>
                </c:pt>
                <c:pt idx="5573">
                  <c:v>1</c:v>
                </c:pt>
                <c:pt idx="5574">
                  <c:v>0</c:v>
                </c:pt>
                <c:pt idx="5575">
                  <c:v>0</c:v>
                </c:pt>
                <c:pt idx="5576">
                  <c:v>1</c:v>
                </c:pt>
                <c:pt idx="5577">
                  <c:v>3</c:v>
                </c:pt>
                <c:pt idx="5578">
                  <c:v>0</c:v>
                </c:pt>
                <c:pt idx="5579">
                  <c:v>1</c:v>
                </c:pt>
                <c:pt idx="5580">
                  <c:v>5</c:v>
                </c:pt>
                <c:pt idx="5581">
                  <c:v>1</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1</c:v>
                </c:pt>
                <c:pt idx="5596">
                  <c:v>0</c:v>
                </c:pt>
                <c:pt idx="5597">
                  <c:v>0</c:v>
                </c:pt>
                <c:pt idx="5598">
                  <c:v>0</c:v>
                </c:pt>
                <c:pt idx="5599">
                  <c:v>0</c:v>
                </c:pt>
                <c:pt idx="5600">
                  <c:v>0</c:v>
                </c:pt>
                <c:pt idx="5601">
                  <c:v>0</c:v>
                </c:pt>
                <c:pt idx="5602">
                  <c:v>0</c:v>
                </c:pt>
                <c:pt idx="5603">
                  <c:v>3</c:v>
                </c:pt>
                <c:pt idx="5604">
                  <c:v>0</c:v>
                </c:pt>
                <c:pt idx="5605">
                  <c:v>0</c:v>
                </c:pt>
                <c:pt idx="5606">
                  <c:v>1</c:v>
                </c:pt>
                <c:pt idx="5607">
                  <c:v>0</c:v>
                </c:pt>
                <c:pt idx="5608">
                  <c:v>1</c:v>
                </c:pt>
                <c:pt idx="5609">
                  <c:v>0</c:v>
                </c:pt>
                <c:pt idx="5610">
                  <c:v>0</c:v>
                </c:pt>
                <c:pt idx="5611">
                  <c:v>1</c:v>
                </c:pt>
                <c:pt idx="5612">
                  <c:v>3</c:v>
                </c:pt>
                <c:pt idx="5613">
                  <c:v>1</c:v>
                </c:pt>
                <c:pt idx="5614">
                  <c:v>0</c:v>
                </c:pt>
                <c:pt idx="5615">
                  <c:v>0</c:v>
                </c:pt>
                <c:pt idx="5616">
                  <c:v>0</c:v>
                </c:pt>
                <c:pt idx="5617">
                  <c:v>12</c:v>
                </c:pt>
                <c:pt idx="5618">
                  <c:v>7</c:v>
                </c:pt>
                <c:pt idx="5619">
                  <c:v>5</c:v>
                </c:pt>
                <c:pt idx="5620">
                  <c:v>4</c:v>
                </c:pt>
                <c:pt idx="5621">
                  <c:v>7</c:v>
                </c:pt>
                <c:pt idx="5622">
                  <c:v>6</c:v>
                </c:pt>
                <c:pt idx="5623">
                  <c:v>5</c:v>
                </c:pt>
                <c:pt idx="5624">
                  <c:v>3</c:v>
                </c:pt>
                <c:pt idx="5625">
                  <c:v>3</c:v>
                </c:pt>
                <c:pt idx="5626">
                  <c:v>2</c:v>
                </c:pt>
                <c:pt idx="5627">
                  <c:v>1</c:v>
                </c:pt>
                <c:pt idx="5628">
                  <c:v>1</c:v>
                </c:pt>
                <c:pt idx="5629">
                  <c:v>7</c:v>
                </c:pt>
                <c:pt idx="5630">
                  <c:v>3</c:v>
                </c:pt>
                <c:pt idx="5631">
                  <c:v>2</c:v>
                </c:pt>
                <c:pt idx="5632">
                  <c:v>0</c:v>
                </c:pt>
                <c:pt idx="5633">
                  <c:v>2</c:v>
                </c:pt>
                <c:pt idx="5634">
                  <c:v>4</c:v>
                </c:pt>
                <c:pt idx="5635">
                  <c:v>2</c:v>
                </c:pt>
                <c:pt idx="5636">
                  <c:v>3</c:v>
                </c:pt>
                <c:pt idx="5637">
                  <c:v>0</c:v>
                </c:pt>
                <c:pt idx="5638">
                  <c:v>0</c:v>
                </c:pt>
                <c:pt idx="5639">
                  <c:v>0</c:v>
                </c:pt>
                <c:pt idx="5640">
                  <c:v>1</c:v>
                </c:pt>
                <c:pt idx="5641">
                  <c:v>4</c:v>
                </c:pt>
                <c:pt idx="5642">
                  <c:v>3</c:v>
                </c:pt>
                <c:pt idx="5643">
                  <c:v>0</c:v>
                </c:pt>
                <c:pt idx="5644">
                  <c:v>0</c:v>
                </c:pt>
                <c:pt idx="5645">
                  <c:v>0</c:v>
                </c:pt>
                <c:pt idx="5646">
                  <c:v>0</c:v>
                </c:pt>
                <c:pt idx="5647">
                  <c:v>1</c:v>
                </c:pt>
                <c:pt idx="5648">
                  <c:v>0</c:v>
                </c:pt>
                <c:pt idx="5649">
                  <c:v>0</c:v>
                </c:pt>
                <c:pt idx="5650">
                  <c:v>0</c:v>
                </c:pt>
                <c:pt idx="5651">
                  <c:v>0</c:v>
                </c:pt>
                <c:pt idx="5652">
                  <c:v>2</c:v>
                </c:pt>
                <c:pt idx="5653">
                  <c:v>0</c:v>
                </c:pt>
                <c:pt idx="5654">
                  <c:v>3</c:v>
                </c:pt>
                <c:pt idx="5655">
                  <c:v>0</c:v>
                </c:pt>
                <c:pt idx="5656">
                  <c:v>0</c:v>
                </c:pt>
                <c:pt idx="5657">
                  <c:v>0</c:v>
                </c:pt>
                <c:pt idx="5658">
                  <c:v>0</c:v>
                </c:pt>
                <c:pt idx="5659">
                  <c:v>7</c:v>
                </c:pt>
                <c:pt idx="5660">
                  <c:v>2</c:v>
                </c:pt>
                <c:pt idx="5661">
                  <c:v>5</c:v>
                </c:pt>
                <c:pt idx="5662">
                  <c:v>3</c:v>
                </c:pt>
                <c:pt idx="5663">
                  <c:v>5</c:v>
                </c:pt>
                <c:pt idx="5664">
                  <c:v>0</c:v>
                </c:pt>
                <c:pt idx="5665">
                  <c:v>5</c:v>
                </c:pt>
                <c:pt idx="5666">
                  <c:v>2</c:v>
                </c:pt>
                <c:pt idx="5667">
                  <c:v>15</c:v>
                </c:pt>
                <c:pt idx="5668">
                  <c:v>1</c:v>
                </c:pt>
                <c:pt idx="5669">
                  <c:v>3</c:v>
                </c:pt>
                <c:pt idx="5670">
                  <c:v>3</c:v>
                </c:pt>
                <c:pt idx="5671">
                  <c:v>2</c:v>
                </c:pt>
                <c:pt idx="5672">
                  <c:v>0</c:v>
                </c:pt>
                <c:pt idx="5673">
                  <c:v>0</c:v>
                </c:pt>
                <c:pt idx="5674">
                  <c:v>1</c:v>
                </c:pt>
                <c:pt idx="5675">
                  <c:v>3</c:v>
                </c:pt>
                <c:pt idx="5676">
                  <c:v>4</c:v>
                </c:pt>
                <c:pt idx="5677">
                  <c:v>4</c:v>
                </c:pt>
                <c:pt idx="5678">
                  <c:v>5</c:v>
                </c:pt>
                <c:pt idx="5679">
                  <c:v>1</c:v>
                </c:pt>
                <c:pt idx="5680">
                  <c:v>0</c:v>
                </c:pt>
                <c:pt idx="5681">
                  <c:v>0</c:v>
                </c:pt>
                <c:pt idx="5682">
                  <c:v>7</c:v>
                </c:pt>
                <c:pt idx="5683">
                  <c:v>1</c:v>
                </c:pt>
                <c:pt idx="5684">
                  <c:v>0</c:v>
                </c:pt>
                <c:pt idx="5685">
                  <c:v>1</c:v>
                </c:pt>
                <c:pt idx="5686">
                  <c:v>0</c:v>
                </c:pt>
                <c:pt idx="5687">
                  <c:v>0</c:v>
                </c:pt>
                <c:pt idx="5688">
                  <c:v>0</c:v>
                </c:pt>
                <c:pt idx="5689">
                  <c:v>3</c:v>
                </c:pt>
                <c:pt idx="5690">
                  <c:v>0</c:v>
                </c:pt>
                <c:pt idx="5691">
                  <c:v>0</c:v>
                </c:pt>
                <c:pt idx="5692">
                  <c:v>0</c:v>
                </c:pt>
                <c:pt idx="5693">
                  <c:v>0</c:v>
                </c:pt>
                <c:pt idx="5694">
                  <c:v>3</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3</c:v>
                </c:pt>
                <c:pt idx="5712">
                  <c:v>0</c:v>
                </c:pt>
                <c:pt idx="5713">
                  <c:v>0</c:v>
                </c:pt>
                <c:pt idx="5714">
                  <c:v>1</c:v>
                </c:pt>
                <c:pt idx="5715">
                  <c:v>0</c:v>
                </c:pt>
                <c:pt idx="5716">
                  <c:v>0</c:v>
                </c:pt>
                <c:pt idx="5717">
                  <c:v>0</c:v>
                </c:pt>
                <c:pt idx="5718">
                  <c:v>0</c:v>
                </c:pt>
                <c:pt idx="5719">
                  <c:v>0</c:v>
                </c:pt>
                <c:pt idx="5720">
                  <c:v>0</c:v>
                </c:pt>
                <c:pt idx="5721">
                  <c:v>0</c:v>
                </c:pt>
                <c:pt idx="5722">
                  <c:v>0</c:v>
                </c:pt>
                <c:pt idx="5723">
                  <c:v>2</c:v>
                </c:pt>
                <c:pt idx="5724">
                  <c:v>0</c:v>
                </c:pt>
                <c:pt idx="5725">
                  <c:v>0</c:v>
                </c:pt>
                <c:pt idx="5726">
                  <c:v>0</c:v>
                </c:pt>
                <c:pt idx="5727">
                  <c:v>0</c:v>
                </c:pt>
                <c:pt idx="5728">
                  <c:v>0</c:v>
                </c:pt>
                <c:pt idx="5729">
                  <c:v>0</c:v>
                </c:pt>
                <c:pt idx="5730">
                  <c:v>0</c:v>
                </c:pt>
                <c:pt idx="5731">
                  <c:v>0</c:v>
                </c:pt>
                <c:pt idx="5732">
                  <c:v>0</c:v>
                </c:pt>
                <c:pt idx="5733">
                  <c:v>0</c:v>
                </c:pt>
                <c:pt idx="5734">
                  <c:v>1</c:v>
                </c:pt>
                <c:pt idx="5735">
                  <c:v>3</c:v>
                </c:pt>
                <c:pt idx="5736">
                  <c:v>5</c:v>
                </c:pt>
                <c:pt idx="5737">
                  <c:v>0</c:v>
                </c:pt>
                <c:pt idx="5738">
                  <c:v>0</c:v>
                </c:pt>
                <c:pt idx="5739">
                  <c:v>0</c:v>
                </c:pt>
                <c:pt idx="5740">
                  <c:v>0</c:v>
                </c:pt>
                <c:pt idx="5741">
                  <c:v>0</c:v>
                </c:pt>
                <c:pt idx="5742">
                  <c:v>2</c:v>
                </c:pt>
                <c:pt idx="5743">
                  <c:v>3</c:v>
                </c:pt>
                <c:pt idx="5744">
                  <c:v>0</c:v>
                </c:pt>
                <c:pt idx="5745">
                  <c:v>0</c:v>
                </c:pt>
                <c:pt idx="5746">
                  <c:v>0</c:v>
                </c:pt>
                <c:pt idx="5747">
                  <c:v>0</c:v>
                </c:pt>
                <c:pt idx="5748">
                  <c:v>2</c:v>
                </c:pt>
                <c:pt idx="5749">
                  <c:v>0</c:v>
                </c:pt>
                <c:pt idx="5750">
                  <c:v>0</c:v>
                </c:pt>
                <c:pt idx="5751">
                  <c:v>1</c:v>
                </c:pt>
                <c:pt idx="5752">
                  <c:v>2</c:v>
                </c:pt>
                <c:pt idx="5753">
                  <c:v>0</c:v>
                </c:pt>
                <c:pt idx="5754">
                  <c:v>3</c:v>
                </c:pt>
                <c:pt idx="5755">
                  <c:v>0</c:v>
                </c:pt>
                <c:pt idx="5756">
                  <c:v>4</c:v>
                </c:pt>
                <c:pt idx="5757">
                  <c:v>1</c:v>
                </c:pt>
                <c:pt idx="5758">
                  <c:v>0</c:v>
                </c:pt>
                <c:pt idx="5759">
                  <c:v>3</c:v>
                </c:pt>
                <c:pt idx="5760">
                  <c:v>0</c:v>
                </c:pt>
                <c:pt idx="5761">
                  <c:v>0</c:v>
                </c:pt>
                <c:pt idx="5762">
                  <c:v>2</c:v>
                </c:pt>
                <c:pt idx="5763">
                  <c:v>1</c:v>
                </c:pt>
                <c:pt idx="5764">
                  <c:v>0</c:v>
                </c:pt>
                <c:pt idx="5765">
                  <c:v>1</c:v>
                </c:pt>
                <c:pt idx="5766">
                  <c:v>0</c:v>
                </c:pt>
                <c:pt idx="5767">
                  <c:v>0</c:v>
                </c:pt>
                <c:pt idx="5768">
                  <c:v>0</c:v>
                </c:pt>
                <c:pt idx="5769">
                  <c:v>0</c:v>
                </c:pt>
                <c:pt idx="5770">
                  <c:v>3</c:v>
                </c:pt>
                <c:pt idx="5771">
                  <c:v>1</c:v>
                </c:pt>
                <c:pt idx="5772">
                  <c:v>1</c:v>
                </c:pt>
                <c:pt idx="5773">
                  <c:v>0</c:v>
                </c:pt>
                <c:pt idx="5774">
                  <c:v>0</c:v>
                </c:pt>
                <c:pt idx="5775">
                  <c:v>0</c:v>
                </c:pt>
                <c:pt idx="5776">
                  <c:v>0</c:v>
                </c:pt>
                <c:pt idx="5777">
                  <c:v>0</c:v>
                </c:pt>
                <c:pt idx="5778">
                  <c:v>3</c:v>
                </c:pt>
                <c:pt idx="5779">
                  <c:v>1</c:v>
                </c:pt>
                <c:pt idx="5780">
                  <c:v>0</c:v>
                </c:pt>
                <c:pt idx="5781">
                  <c:v>0</c:v>
                </c:pt>
                <c:pt idx="5782">
                  <c:v>1</c:v>
                </c:pt>
                <c:pt idx="5783">
                  <c:v>0</c:v>
                </c:pt>
                <c:pt idx="5784">
                  <c:v>1</c:v>
                </c:pt>
                <c:pt idx="5785">
                  <c:v>8</c:v>
                </c:pt>
                <c:pt idx="5786">
                  <c:v>2</c:v>
                </c:pt>
                <c:pt idx="5787">
                  <c:v>3</c:v>
                </c:pt>
                <c:pt idx="5788">
                  <c:v>0</c:v>
                </c:pt>
                <c:pt idx="5789">
                  <c:v>5</c:v>
                </c:pt>
                <c:pt idx="5790">
                  <c:v>0</c:v>
                </c:pt>
                <c:pt idx="5791">
                  <c:v>0</c:v>
                </c:pt>
                <c:pt idx="5792">
                  <c:v>0</c:v>
                </c:pt>
                <c:pt idx="5793">
                  <c:v>0</c:v>
                </c:pt>
                <c:pt idx="5794">
                  <c:v>0</c:v>
                </c:pt>
                <c:pt idx="5795">
                  <c:v>0</c:v>
                </c:pt>
                <c:pt idx="5796">
                  <c:v>5</c:v>
                </c:pt>
                <c:pt idx="5797">
                  <c:v>0</c:v>
                </c:pt>
                <c:pt idx="5798">
                  <c:v>8</c:v>
                </c:pt>
                <c:pt idx="5799">
                  <c:v>1</c:v>
                </c:pt>
                <c:pt idx="5800">
                  <c:v>1</c:v>
                </c:pt>
                <c:pt idx="5801">
                  <c:v>1</c:v>
                </c:pt>
                <c:pt idx="5802">
                  <c:v>0</c:v>
                </c:pt>
                <c:pt idx="5803">
                  <c:v>0</c:v>
                </c:pt>
                <c:pt idx="5804">
                  <c:v>1</c:v>
                </c:pt>
                <c:pt idx="5805">
                  <c:v>0</c:v>
                </c:pt>
                <c:pt idx="5806">
                  <c:v>2</c:v>
                </c:pt>
                <c:pt idx="5807">
                  <c:v>2</c:v>
                </c:pt>
                <c:pt idx="5808">
                  <c:v>3</c:v>
                </c:pt>
                <c:pt idx="5809">
                  <c:v>2</c:v>
                </c:pt>
                <c:pt idx="5810">
                  <c:v>1</c:v>
                </c:pt>
                <c:pt idx="5811">
                  <c:v>7</c:v>
                </c:pt>
                <c:pt idx="5812">
                  <c:v>2</c:v>
                </c:pt>
                <c:pt idx="5813">
                  <c:v>0</c:v>
                </c:pt>
                <c:pt idx="5814">
                  <c:v>0</c:v>
                </c:pt>
                <c:pt idx="5815">
                  <c:v>1</c:v>
                </c:pt>
                <c:pt idx="5816">
                  <c:v>2</c:v>
                </c:pt>
                <c:pt idx="5817">
                  <c:v>0</c:v>
                </c:pt>
                <c:pt idx="5818">
                  <c:v>3</c:v>
                </c:pt>
                <c:pt idx="5819">
                  <c:v>3</c:v>
                </c:pt>
                <c:pt idx="5820">
                  <c:v>1</c:v>
                </c:pt>
                <c:pt idx="5821">
                  <c:v>2</c:v>
                </c:pt>
                <c:pt idx="5822">
                  <c:v>1</c:v>
                </c:pt>
                <c:pt idx="5823">
                  <c:v>1</c:v>
                </c:pt>
                <c:pt idx="5824">
                  <c:v>6</c:v>
                </c:pt>
                <c:pt idx="5825">
                  <c:v>1</c:v>
                </c:pt>
                <c:pt idx="5826">
                  <c:v>2</c:v>
                </c:pt>
                <c:pt idx="5827">
                  <c:v>2</c:v>
                </c:pt>
                <c:pt idx="5828">
                  <c:v>1</c:v>
                </c:pt>
                <c:pt idx="5829">
                  <c:v>0</c:v>
                </c:pt>
                <c:pt idx="5830">
                  <c:v>6</c:v>
                </c:pt>
                <c:pt idx="5831">
                  <c:v>2</c:v>
                </c:pt>
                <c:pt idx="5832">
                  <c:v>0</c:v>
                </c:pt>
                <c:pt idx="5833">
                  <c:v>0</c:v>
                </c:pt>
                <c:pt idx="5834">
                  <c:v>2</c:v>
                </c:pt>
                <c:pt idx="5835">
                  <c:v>4</c:v>
                </c:pt>
                <c:pt idx="5836">
                  <c:v>0</c:v>
                </c:pt>
                <c:pt idx="5837">
                  <c:v>0</c:v>
                </c:pt>
                <c:pt idx="5838">
                  <c:v>0</c:v>
                </c:pt>
                <c:pt idx="5839">
                  <c:v>0</c:v>
                </c:pt>
                <c:pt idx="5840">
                  <c:v>2</c:v>
                </c:pt>
                <c:pt idx="5841">
                  <c:v>0</c:v>
                </c:pt>
                <c:pt idx="5842">
                  <c:v>3</c:v>
                </c:pt>
                <c:pt idx="5843">
                  <c:v>3</c:v>
                </c:pt>
                <c:pt idx="5844">
                  <c:v>7</c:v>
                </c:pt>
                <c:pt idx="5845">
                  <c:v>3</c:v>
                </c:pt>
                <c:pt idx="5846">
                  <c:v>2</c:v>
                </c:pt>
                <c:pt idx="5847">
                  <c:v>0</c:v>
                </c:pt>
                <c:pt idx="5848">
                  <c:v>0</c:v>
                </c:pt>
                <c:pt idx="5849">
                  <c:v>1</c:v>
                </c:pt>
                <c:pt idx="5850">
                  <c:v>0</c:v>
                </c:pt>
                <c:pt idx="5851">
                  <c:v>0</c:v>
                </c:pt>
                <c:pt idx="5852">
                  <c:v>0</c:v>
                </c:pt>
                <c:pt idx="5853">
                  <c:v>3</c:v>
                </c:pt>
                <c:pt idx="5854">
                  <c:v>0</c:v>
                </c:pt>
                <c:pt idx="5855">
                  <c:v>0</c:v>
                </c:pt>
                <c:pt idx="5856">
                  <c:v>0</c:v>
                </c:pt>
                <c:pt idx="5857">
                  <c:v>3</c:v>
                </c:pt>
                <c:pt idx="5858">
                  <c:v>0</c:v>
                </c:pt>
                <c:pt idx="5859">
                  <c:v>0</c:v>
                </c:pt>
                <c:pt idx="5860">
                  <c:v>1</c:v>
                </c:pt>
                <c:pt idx="5861">
                  <c:v>4</c:v>
                </c:pt>
                <c:pt idx="5862">
                  <c:v>0</c:v>
                </c:pt>
                <c:pt idx="5863">
                  <c:v>0</c:v>
                </c:pt>
                <c:pt idx="5864">
                  <c:v>0</c:v>
                </c:pt>
                <c:pt idx="5865">
                  <c:v>2</c:v>
                </c:pt>
                <c:pt idx="5866">
                  <c:v>0</c:v>
                </c:pt>
                <c:pt idx="5867">
                  <c:v>1</c:v>
                </c:pt>
                <c:pt idx="5868">
                  <c:v>4</c:v>
                </c:pt>
                <c:pt idx="5869">
                  <c:v>0</c:v>
                </c:pt>
                <c:pt idx="5870">
                  <c:v>0</c:v>
                </c:pt>
                <c:pt idx="5871">
                  <c:v>0</c:v>
                </c:pt>
                <c:pt idx="5872">
                  <c:v>0</c:v>
                </c:pt>
                <c:pt idx="5873">
                  <c:v>2</c:v>
                </c:pt>
                <c:pt idx="5874">
                  <c:v>0</c:v>
                </c:pt>
                <c:pt idx="5875">
                  <c:v>5</c:v>
                </c:pt>
                <c:pt idx="5876">
                  <c:v>0</c:v>
                </c:pt>
                <c:pt idx="5877">
                  <c:v>0</c:v>
                </c:pt>
                <c:pt idx="5878">
                  <c:v>1</c:v>
                </c:pt>
                <c:pt idx="5879">
                  <c:v>1</c:v>
                </c:pt>
                <c:pt idx="5880">
                  <c:v>0</c:v>
                </c:pt>
                <c:pt idx="5881">
                  <c:v>0</c:v>
                </c:pt>
                <c:pt idx="5882">
                  <c:v>1</c:v>
                </c:pt>
                <c:pt idx="5883">
                  <c:v>0</c:v>
                </c:pt>
                <c:pt idx="5884">
                  <c:v>0</c:v>
                </c:pt>
                <c:pt idx="5885">
                  <c:v>4</c:v>
                </c:pt>
                <c:pt idx="5886">
                  <c:v>0</c:v>
                </c:pt>
                <c:pt idx="5887">
                  <c:v>0</c:v>
                </c:pt>
                <c:pt idx="5888">
                  <c:v>0</c:v>
                </c:pt>
                <c:pt idx="5889">
                  <c:v>0</c:v>
                </c:pt>
                <c:pt idx="5890">
                  <c:v>0</c:v>
                </c:pt>
                <c:pt idx="5891">
                  <c:v>3</c:v>
                </c:pt>
                <c:pt idx="5892">
                  <c:v>1</c:v>
                </c:pt>
                <c:pt idx="5893">
                  <c:v>0</c:v>
                </c:pt>
                <c:pt idx="5894">
                  <c:v>0</c:v>
                </c:pt>
                <c:pt idx="5895">
                  <c:v>0</c:v>
                </c:pt>
                <c:pt idx="5896">
                  <c:v>0</c:v>
                </c:pt>
                <c:pt idx="5897">
                  <c:v>6</c:v>
                </c:pt>
                <c:pt idx="5898">
                  <c:v>4</c:v>
                </c:pt>
                <c:pt idx="5899">
                  <c:v>1</c:v>
                </c:pt>
                <c:pt idx="5900">
                  <c:v>0</c:v>
                </c:pt>
                <c:pt idx="5901">
                  <c:v>0</c:v>
                </c:pt>
                <c:pt idx="5902">
                  <c:v>0</c:v>
                </c:pt>
                <c:pt idx="5903">
                  <c:v>3</c:v>
                </c:pt>
                <c:pt idx="5904">
                  <c:v>2</c:v>
                </c:pt>
                <c:pt idx="5905">
                  <c:v>2</c:v>
                </c:pt>
                <c:pt idx="5906">
                  <c:v>1</c:v>
                </c:pt>
                <c:pt idx="5907">
                  <c:v>2</c:v>
                </c:pt>
                <c:pt idx="5908">
                  <c:v>0</c:v>
                </c:pt>
                <c:pt idx="5909">
                  <c:v>0</c:v>
                </c:pt>
                <c:pt idx="5910">
                  <c:v>0</c:v>
                </c:pt>
                <c:pt idx="5911">
                  <c:v>0</c:v>
                </c:pt>
                <c:pt idx="5912">
                  <c:v>0</c:v>
                </c:pt>
                <c:pt idx="5913">
                  <c:v>1</c:v>
                </c:pt>
                <c:pt idx="5914">
                  <c:v>0</c:v>
                </c:pt>
                <c:pt idx="5915">
                  <c:v>0</c:v>
                </c:pt>
                <c:pt idx="5916">
                  <c:v>0</c:v>
                </c:pt>
                <c:pt idx="5917">
                  <c:v>0</c:v>
                </c:pt>
                <c:pt idx="5918">
                  <c:v>0</c:v>
                </c:pt>
                <c:pt idx="5919">
                  <c:v>3</c:v>
                </c:pt>
                <c:pt idx="5920">
                  <c:v>0</c:v>
                </c:pt>
                <c:pt idx="5921">
                  <c:v>0</c:v>
                </c:pt>
                <c:pt idx="5922">
                  <c:v>0</c:v>
                </c:pt>
                <c:pt idx="5923">
                  <c:v>3</c:v>
                </c:pt>
                <c:pt idx="5924">
                  <c:v>0</c:v>
                </c:pt>
                <c:pt idx="5925">
                  <c:v>7</c:v>
                </c:pt>
                <c:pt idx="5926">
                  <c:v>0</c:v>
                </c:pt>
                <c:pt idx="5927">
                  <c:v>3</c:v>
                </c:pt>
                <c:pt idx="5928">
                  <c:v>3</c:v>
                </c:pt>
                <c:pt idx="5929">
                  <c:v>0</c:v>
                </c:pt>
                <c:pt idx="5930">
                  <c:v>0</c:v>
                </c:pt>
                <c:pt idx="5931">
                  <c:v>0</c:v>
                </c:pt>
                <c:pt idx="5932">
                  <c:v>4</c:v>
                </c:pt>
                <c:pt idx="5933">
                  <c:v>8</c:v>
                </c:pt>
                <c:pt idx="5934">
                  <c:v>1</c:v>
                </c:pt>
                <c:pt idx="5935">
                  <c:v>0</c:v>
                </c:pt>
                <c:pt idx="5936">
                  <c:v>0</c:v>
                </c:pt>
                <c:pt idx="5937">
                  <c:v>0</c:v>
                </c:pt>
                <c:pt idx="5938">
                  <c:v>0</c:v>
                </c:pt>
                <c:pt idx="5939">
                  <c:v>0</c:v>
                </c:pt>
                <c:pt idx="5940">
                  <c:v>0</c:v>
                </c:pt>
                <c:pt idx="5941">
                  <c:v>0</c:v>
                </c:pt>
                <c:pt idx="5942">
                  <c:v>1</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4</c:v>
                </c:pt>
                <c:pt idx="5956">
                  <c:v>0</c:v>
                </c:pt>
                <c:pt idx="5957">
                  <c:v>0</c:v>
                </c:pt>
                <c:pt idx="5958">
                  <c:v>0</c:v>
                </c:pt>
                <c:pt idx="5959">
                  <c:v>1</c:v>
                </c:pt>
                <c:pt idx="5960">
                  <c:v>1</c:v>
                </c:pt>
                <c:pt idx="5961">
                  <c:v>1</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1</c:v>
                </c:pt>
                <c:pt idx="6006">
                  <c:v>0</c:v>
                </c:pt>
                <c:pt idx="6007">
                  <c:v>0</c:v>
                </c:pt>
                <c:pt idx="6008">
                  <c:v>4</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4</c:v>
                </c:pt>
                <c:pt idx="6024">
                  <c:v>1</c:v>
                </c:pt>
                <c:pt idx="6025">
                  <c:v>0</c:v>
                </c:pt>
                <c:pt idx="6026">
                  <c:v>2</c:v>
                </c:pt>
                <c:pt idx="6027">
                  <c:v>0</c:v>
                </c:pt>
                <c:pt idx="6028">
                  <c:v>0</c:v>
                </c:pt>
                <c:pt idx="6029">
                  <c:v>0</c:v>
                </c:pt>
                <c:pt idx="6030">
                  <c:v>0</c:v>
                </c:pt>
                <c:pt idx="6031">
                  <c:v>0</c:v>
                </c:pt>
                <c:pt idx="6032">
                  <c:v>0</c:v>
                </c:pt>
                <c:pt idx="6033">
                  <c:v>1</c:v>
                </c:pt>
                <c:pt idx="6034">
                  <c:v>0</c:v>
                </c:pt>
                <c:pt idx="6035">
                  <c:v>2</c:v>
                </c:pt>
                <c:pt idx="6036">
                  <c:v>0</c:v>
                </c:pt>
                <c:pt idx="6037">
                  <c:v>0</c:v>
                </c:pt>
                <c:pt idx="6038">
                  <c:v>0</c:v>
                </c:pt>
                <c:pt idx="6039">
                  <c:v>0</c:v>
                </c:pt>
                <c:pt idx="6040">
                  <c:v>0</c:v>
                </c:pt>
                <c:pt idx="6041">
                  <c:v>0</c:v>
                </c:pt>
                <c:pt idx="6042">
                  <c:v>0</c:v>
                </c:pt>
                <c:pt idx="6043">
                  <c:v>0</c:v>
                </c:pt>
                <c:pt idx="6044">
                  <c:v>0</c:v>
                </c:pt>
                <c:pt idx="6045">
                  <c:v>3</c:v>
                </c:pt>
                <c:pt idx="6046">
                  <c:v>0</c:v>
                </c:pt>
                <c:pt idx="6047">
                  <c:v>0</c:v>
                </c:pt>
                <c:pt idx="6048">
                  <c:v>0</c:v>
                </c:pt>
                <c:pt idx="6049">
                  <c:v>0</c:v>
                </c:pt>
                <c:pt idx="6050">
                  <c:v>0</c:v>
                </c:pt>
                <c:pt idx="6051">
                  <c:v>0</c:v>
                </c:pt>
                <c:pt idx="6052">
                  <c:v>0</c:v>
                </c:pt>
                <c:pt idx="6053">
                  <c:v>0</c:v>
                </c:pt>
                <c:pt idx="6054">
                  <c:v>0</c:v>
                </c:pt>
                <c:pt idx="6055">
                  <c:v>1</c:v>
                </c:pt>
                <c:pt idx="6056">
                  <c:v>1</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1</c:v>
                </c:pt>
                <c:pt idx="6082">
                  <c:v>0</c:v>
                </c:pt>
                <c:pt idx="6083">
                  <c:v>0</c:v>
                </c:pt>
                <c:pt idx="6084">
                  <c:v>0</c:v>
                </c:pt>
                <c:pt idx="6085">
                  <c:v>1</c:v>
                </c:pt>
                <c:pt idx="6086">
                  <c:v>0</c:v>
                </c:pt>
                <c:pt idx="6087">
                  <c:v>0</c:v>
                </c:pt>
                <c:pt idx="6088">
                  <c:v>0</c:v>
                </c:pt>
                <c:pt idx="6089">
                  <c:v>0</c:v>
                </c:pt>
                <c:pt idx="6090">
                  <c:v>0</c:v>
                </c:pt>
                <c:pt idx="6091">
                  <c:v>0</c:v>
                </c:pt>
                <c:pt idx="6092">
                  <c:v>0</c:v>
                </c:pt>
                <c:pt idx="6093">
                  <c:v>0</c:v>
                </c:pt>
                <c:pt idx="6094">
                  <c:v>1</c:v>
                </c:pt>
                <c:pt idx="6095">
                  <c:v>0</c:v>
                </c:pt>
                <c:pt idx="6096">
                  <c:v>3</c:v>
                </c:pt>
                <c:pt idx="6097">
                  <c:v>2</c:v>
                </c:pt>
                <c:pt idx="6098">
                  <c:v>0</c:v>
                </c:pt>
                <c:pt idx="6099">
                  <c:v>0</c:v>
                </c:pt>
                <c:pt idx="6100">
                  <c:v>13</c:v>
                </c:pt>
                <c:pt idx="6101">
                  <c:v>3</c:v>
                </c:pt>
                <c:pt idx="6102">
                  <c:v>7</c:v>
                </c:pt>
                <c:pt idx="6103">
                  <c:v>7</c:v>
                </c:pt>
                <c:pt idx="6104">
                  <c:v>1</c:v>
                </c:pt>
                <c:pt idx="6105">
                  <c:v>1</c:v>
                </c:pt>
                <c:pt idx="6106">
                  <c:v>1</c:v>
                </c:pt>
                <c:pt idx="6107">
                  <c:v>2</c:v>
                </c:pt>
                <c:pt idx="6108">
                  <c:v>2</c:v>
                </c:pt>
                <c:pt idx="6109">
                  <c:v>3</c:v>
                </c:pt>
                <c:pt idx="6110">
                  <c:v>3</c:v>
                </c:pt>
                <c:pt idx="6111">
                  <c:v>1</c:v>
                </c:pt>
                <c:pt idx="6112">
                  <c:v>0</c:v>
                </c:pt>
                <c:pt idx="6113">
                  <c:v>4</c:v>
                </c:pt>
                <c:pt idx="6114">
                  <c:v>4</c:v>
                </c:pt>
                <c:pt idx="6115">
                  <c:v>1</c:v>
                </c:pt>
                <c:pt idx="6116">
                  <c:v>0</c:v>
                </c:pt>
                <c:pt idx="6117">
                  <c:v>0</c:v>
                </c:pt>
                <c:pt idx="6118">
                  <c:v>7</c:v>
                </c:pt>
                <c:pt idx="6119">
                  <c:v>0</c:v>
                </c:pt>
                <c:pt idx="6120">
                  <c:v>1</c:v>
                </c:pt>
                <c:pt idx="6121">
                  <c:v>2</c:v>
                </c:pt>
                <c:pt idx="6122">
                  <c:v>0</c:v>
                </c:pt>
                <c:pt idx="6123">
                  <c:v>3</c:v>
                </c:pt>
                <c:pt idx="6124">
                  <c:v>0</c:v>
                </c:pt>
                <c:pt idx="6125">
                  <c:v>1</c:v>
                </c:pt>
                <c:pt idx="6126">
                  <c:v>6</c:v>
                </c:pt>
                <c:pt idx="6127">
                  <c:v>5</c:v>
                </c:pt>
                <c:pt idx="6128">
                  <c:v>2</c:v>
                </c:pt>
                <c:pt idx="6129">
                  <c:v>4</c:v>
                </c:pt>
                <c:pt idx="6130">
                  <c:v>24</c:v>
                </c:pt>
                <c:pt idx="6131">
                  <c:v>5</c:v>
                </c:pt>
                <c:pt idx="6132">
                  <c:v>3</c:v>
                </c:pt>
                <c:pt idx="6133">
                  <c:v>3</c:v>
                </c:pt>
                <c:pt idx="6134">
                  <c:v>0</c:v>
                </c:pt>
                <c:pt idx="6135">
                  <c:v>5</c:v>
                </c:pt>
                <c:pt idx="6136">
                  <c:v>3</c:v>
                </c:pt>
                <c:pt idx="6137">
                  <c:v>0</c:v>
                </c:pt>
                <c:pt idx="6138">
                  <c:v>0</c:v>
                </c:pt>
                <c:pt idx="6139">
                  <c:v>2</c:v>
                </c:pt>
                <c:pt idx="6140">
                  <c:v>1</c:v>
                </c:pt>
                <c:pt idx="6141">
                  <c:v>1</c:v>
                </c:pt>
                <c:pt idx="6142">
                  <c:v>1</c:v>
                </c:pt>
                <c:pt idx="6143">
                  <c:v>6</c:v>
                </c:pt>
                <c:pt idx="6144">
                  <c:v>1</c:v>
                </c:pt>
                <c:pt idx="6145">
                  <c:v>0</c:v>
                </c:pt>
                <c:pt idx="6146">
                  <c:v>1</c:v>
                </c:pt>
                <c:pt idx="6147">
                  <c:v>3</c:v>
                </c:pt>
                <c:pt idx="6148">
                  <c:v>1</c:v>
                </c:pt>
                <c:pt idx="6149">
                  <c:v>3</c:v>
                </c:pt>
                <c:pt idx="6150">
                  <c:v>10</c:v>
                </c:pt>
                <c:pt idx="6151">
                  <c:v>3</c:v>
                </c:pt>
                <c:pt idx="6152">
                  <c:v>6</c:v>
                </c:pt>
                <c:pt idx="6153">
                  <c:v>0</c:v>
                </c:pt>
                <c:pt idx="6154">
                  <c:v>2</c:v>
                </c:pt>
                <c:pt idx="6155">
                  <c:v>5</c:v>
                </c:pt>
                <c:pt idx="6156">
                  <c:v>3</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2</c:v>
                </c:pt>
                <c:pt idx="6180">
                  <c:v>0</c:v>
                </c:pt>
                <c:pt idx="6181">
                  <c:v>0</c:v>
                </c:pt>
                <c:pt idx="6182">
                  <c:v>3</c:v>
                </c:pt>
                <c:pt idx="6183">
                  <c:v>0</c:v>
                </c:pt>
                <c:pt idx="6184">
                  <c:v>0</c:v>
                </c:pt>
                <c:pt idx="6185">
                  <c:v>0</c:v>
                </c:pt>
                <c:pt idx="6186">
                  <c:v>0</c:v>
                </c:pt>
                <c:pt idx="6187">
                  <c:v>0</c:v>
                </c:pt>
                <c:pt idx="6188">
                  <c:v>0</c:v>
                </c:pt>
                <c:pt idx="6189">
                  <c:v>0</c:v>
                </c:pt>
                <c:pt idx="6190">
                  <c:v>2</c:v>
                </c:pt>
                <c:pt idx="6191">
                  <c:v>5</c:v>
                </c:pt>
                <c:pt idx="6192">
                  <c:v>2</c:v>
                </c:pt>
                <c:pt idx="6193">
                  <c:v>0</c:v>
                </c:pt>
                <c:pt idx="6194">
                  <c:v>0</c:v>
                </c:pt>
                <c:pt idx="6195">
                  <c:v>0</c:v>
                </c:pt>
                <c:pt idx="6196">
                  <c:v>0</c:v>
                </c:pt>
                <c:pt idx="6197">
                  <c:v>0</c:v>
                </c:pt>
                <c:pt idx="6198">
                  <c:v>0</c:v>
                </c:pt>
                <c:pt idx="6199">
                  <c:v>0</c:v>
                </c:pt>
                <c:pt idx="6200">
                  <c:v>2</c:v>
                </c:pt>
                <c:pt idx="6201">
                  <c:v>0</c:v>
                </c:pt>
                <c:pt idx="6202">
                  <c:v>0</c:v>
                </c:pt>
                <c:pt idx="6203">
                  <c:v>0</c:v>
                </c:pt>
                <c:pt idx="6204">
                  <c:v>0</c:v>
                </c:pt>
                <c:pt idx="6205">
                  <c:v>0</c:v>
                </c:pt>
                <c:pt idx="6206">
                  <c:v>0</c:v>
                </c:pt>
                <c:pt idx="6207">
                  <c:v>0</c:v>
                </c:pt>
                <c:pt idx="6208">
                  <c:v>0</c:v>
                </c:pt>
                <c:pt idx="6209">
                  <c:v>0</c:v>
                </c:pt>
                <c:pt idx="6210">
                  <c:v>0</c:v>
                </c:pt>
                <c:pt idx="6211">
                  <c:v>2</c:v>
                </c:pt>
                <c:pt idx="6212">
                  <c:v>0</c:v>
                </c:pt>
                <c:pt idx="6213">
                  <c:v>0</c:v>
                </c:pt>
                <c:pt idx="6214">
                  <c:v>0</c:v>
                </c:pt>
                <c:pt idx="6215">
                  <c:v>0</c:v>
                </c:pt>
                <c:pt idx="6216">
                  <c:v>1</c:v>
                </c:pt>
                <c:pt idx="6217">
                  <c:v>2</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13</c:v>
                </c:pt>
                <c:pt idx="6242">
                  <c:v>13</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2</c:v>
                </c:pt>
                <c:pt idx="6269">
                  <c:v>1</c:v>
                </c:pt>
                <c:pt idx="6270">
                  <c:v>0</c:v>
                </c:pt>
                <c:pt idx="6271">
                  <c:v>5</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2</c:v>
                </c:pt>
                <c:pt idx="6302">
                  <c:v>0</c:v>
                </c:pt>
                <c:pt idx="6303">
                  <c:v>0</c:v>
                </c:pt>
                <c:pt idx="6304">
                  <c:v>1</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2</c:v>
                </c:pt>
                <c:pt idx="6320">
                  <c:v>0</c:v>
                </c:pt>
                <c:pt idx="6321">
                  <c:v>0</c:v>
                </c:pt>
                <c:pt idx="6322">
                  <c:v>2</c:v>
                </c:pt>
                <c:pt idx="6323">
                  <c:v>4</c:v>
                </c:pt>
                <c:pt idx="6324">
                  <c:v>1</c:v>
                </c:pt>
                <c:pt idx="6325">
                  <c:v>0</c:v>
                </c:pt>
                <c:pt idx="6326">
                  <c:v>0</c:v>
                </c:pt>
                <c:pt idx="6327">
                  <c:v>0</c:v>
                </c:pt>
                <c:pt idx="6328">
                  <c:v>0</c:v>
                </c:pt>
                <c:pt idx="6329">
                  <c:v>0</c:v>
                </c:pt>
                <c:pt idx="6330">
                  <c:v>0</c:v>
                </c:pt>
                <c:pt idx="6331">
                  <c:v>0</c:v>
                </c:pt>
                <c:pt idx="6332">
                  <c:v>1</c:v>
                </c:pt>
                <c:pt idx="6333">
                  <c:v>0</c:v>
                </c:pt>
                <c:pt idx="6334">
                  <c:v>0</c:v>
                </c:pt>
                <c:pt idx="6335">
                  <c:v>0</c:v>
                </c:pt>
                <c:pt idx="6336">
                  <c:v>0</c:v>
                </c:pt>
                <c:pt idx="6337">
                  <c:v>0</c:v>
                </c:pt>
                <c:pt idx="6338">
                  <c:v>0</c:v>
                </c:pt>
                <c:pt idx="6339">
                  <c:v>0</c:v>
                </c:pt>
                <c:pt idx="6340">
                  <c:v>0</c:v>
                </c:pt>
                <c:pt idx="6341">
                  <c:v>0</c:v>
                </c:pt>
                <c:pt idx="6342">
                  <c:v>0</c:v>
                </c:pt>
                <c:pt idx="6343">
                  <c:v>2</c:v>
                </c:pt>
                <c:pt idx="6344">
                  <c:v>0</c:v>
                </c:pt>
                <c:pt idx="6345">
                  <c:v>0</c:v>
                </c:pt>
                <c:pt idx="6346">
                  <c:v>0</c:v>
                </c:pt>
                <c:pt idx="6347">
                  <c:v>0</c:v>
                </c:pt>
                <c:pt idx="6348">
                  <c:v>5</c:v>
                </c:pt>
                <c:pt idx="6349">
                  <c:v>6</c:v>
                </c:pt>
                <c:pt idx="6350">
                  <c:v>4</c:v>
                </c:pt>
                <c:pt idx="6351">
                  <c:v>1</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5</c:v>
                </c:pt>
                <c:pt idx="6376">
                  <c:v>5</c:v>
                </c:pt>
                <c:pt idx="6377">
                  <c:v>0</c:v>
                </c:pt>
                <c:pt idx="6378">
                  <c:v>5</c:v>
                </c:pt>
                <c:pt idx="6379">
                  <c:v>8</c:v>
                </c:pt>
                <c:pt idx="6380">
                  <c:v>1</c:v>
                </c:pt>
                <c:pt idx="6381">
                  <c:v>0</c:v>
                </c:pt>
                <c:pt idx="6382">
                  <c:v>1</c:v>
                </c:pt>
                <c:pt idx="6383">
                  <c:v>0</c:v>
                </c:pt>
                <c:pt idx="6384">
                  <c:v>5</c:v>
                </c:pt>
                <c:pt idx="6385">
                  <c:v>6</c:v>
                </c:pt>
                <c:pt idx="6386">
                  <c:v>1</c:v>
                </c:pt>
                <c:pt idx="6387">
                  <c:v>3</c:v>
                </c:pt>
                <c:pt idx="6388">
                  <c:v>3</c:v>
                </c:pt>
                <c:pt idx="6389">
                  <c:v>3</c:v>
                </c:pt>
                <c:pt idx="6390">
                  <c:v>0</c:v>
                </c:pt>
                <c:pt idx="6391">
                  <c:v>13</c:v>
                </c:pt>
                <c:pt idx="6392">
                  <c:v>0</c:v>
                </c:pt>
                <c:pt idx="6393">
                  <c:v>6</c:v>
                </c:pt>
                <c:pt idx="6394">
                  <c:v>2</c:v>
                </c:pt>
                <c:pt idx="6395">
                  <c:v>0</c:v>
                </c:pt>
                <c:pt idx="6396">
                  <c:v>1</c:v>
                </c:pt>
                <c:pt idx="6397">
                  <c:v>1</c:v>
                </c:pt>
                <c:pt idx="6398">
                  <c:v>0</c:v>
                </c:pt>
                <c:pt idx="6399">
                  <c:v>0</c:v>
                </c:pt>
                <c:pt idx="6400">
                  <c:v>0</c:v>
                </c:pt>
                <c:pt idx="6401">
                  <c:v>0</c:v>
                </c:pt>
                <c:pt idx="6402">
                  <c:v>0</c:v>
                </c:pt>
                <c:pt idx="6403">
                  <c:v>0</c:v>
                </c:pt>
                <c:pt idx="6404">
                  <c:v>0</c:v>
                </c:pt>
                <c:pt idx="6405">
                  <c:v>8</c:v>
                </c:pt>
                <c:pt idx="6406">
                  <c:v>1</c:v>
                </c:pt>
                <c:pt idx="6407">
                  <c:v>5</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1</c:v>
                </c:pt>
                <c:pt idx="6428">
                  <c:v>0</c:v>
                </c:pt>
                <c:pt idx="6429">
                  <c:v>0</c:v>
                </c:pt>
                <c:pt idx="6430">
                  <c:v>2</c:v>
                </c:pt>
                <c:pt idx="6431">
                  <c:v>3</c:v>
                </c:pt>
                <c:pt idx="6432">
                  <c:v>0</c:v>
                </c:pt>
                <c:pt idx="6433">
                  <c:v>0</c:v>
                </c:pt>
                <c:pt idx="6434">
                  <c:v>0</c:v>
                </c:pt>
                <c:pt idx="6435">
                  <c:v>0</c:v>
                </c:pt>
                <c:pt idx="6436">
                  <c:v>7</c:v>
                </c:pt>
                <c:pt idx="6437">
                  <c:v>2</c:v>
                </c:pt>
                <c:pt idx="6438">
                  <c:v>2</c:v>
                </c:pt>
                <c:pt idx="6439">
                  <c:v>5</c:v>
                </c:pt>
                <c:pt idx="6440">
                  <c:v>4</c:v>
                </c:pt>
                <c:pt idx="6441">
                  <c:v>4</c:v>
                </c:pt>
                <c:pt idx="6442">
                  <c:v>0</c:v>
                </c:pt>
                <c:pt idx="6443">
                  <c:v>5</c:v>
                </c:pt>
                <c:pt idx="6444">
                  <c:v>4</c:v>
                </c:pt>
                <c:pt idx="6445">
                  <c:v>0</c:v>
                </c:pt>
                <c:pt idx="6446">
                  <c:v>0</c:v>
                </c:pt>
                <c:pt idx="6447">
                  <c:v>4</c:v>
                </c:pt>
                <c:pt idx="6448">
                  <c:v>1</c:v>
                </c:pt>
                <c:pt idx="6449">
                  <c:v>0</c:v>
                </c:pt>
                <c:pt idx="6450">
                  <c:v>2</c:v>
                </c:pt>
                <c:pt idx="6451">
                  <c:v>1</c:v>
                </c:pt>
                <c:pt idx="6452">
                  <c:v>3</c:v>
                </c:pt>
                <c:pt idx="6453">
                  <c:v>0</c:v>
                </c:pt>
                <c:pt idx="6454">
                  <c:v>3</c:v>
                </c:pt>
                <c:pt idx="6455">
                  <c:v>0</c:v>
                </c:pt>
                <c:pt idx="6456">
                  <c:v>2</c:v>
                </c:pt>
                <c:pt idx="6457">
                  <c:v>1</c:v>
                </c:pt>
                <c:pt idx="6458">
                  <c:v>0</c:v>
                </c:pt>
                <c:pt idx="6459">
                  <c:v>1</c:v>
                </c:pt>
                <c:pt idx="6460">
                  <c:v>4</c:v>
                </c:pt>
                <c:pt idx="6461">
                  <c:v>0</c:v>
                </c:pt>
                <c:pt idx="6462">
                  <c:v>1</c:v>
                </c:pt>
                <c:pt idx="6463">
                  <c:v>3</c:v>
                </c:pt>
                <c:pt idx="6464">
                  <c:v>0</c:v>
                </c:pt>
                <c:pt idx="6465">
                  <c:v>0</c:v>
                </c:pt>
                <c:pt idx="6466">
                  <c:v>0</c:v>
                </c:pt>
                <c:pt idx="6467">
                  <c:v>0</c:v>
                </c:pt>
                <c:pt idx="6468">
                  <c:v>0</c:v>
                </c:pt>
                <c:pt idx="6469">
                  <c:v>0</c:v>
                </c:pt>
                <c:pt idx="6470">
                  <c:v>5</c:v>
                </c:pt>
                <c:pt idx="6471">
                  <c:v>1</c:v>
                </c:pt>
                <c:pt idx="6472">
                  <c:v>0</c:v>
                </c:pt>
                <c:pt idx="6473">
                  <c:v>2</c:v>
                </c:pt>
                <c:pt idx="6474">
                  <c:v>4</c:v>
                </c:pt>
                <c:pt idx="6475">
                  <c:v>0</c:v>
                </c:pt>
                <c:pt idx="6476">
                  <c:v>0</c:v>
                </c:pt>
                <c:pt idx="6477">
                  <c:v>0</c:v>
                </c:pt>
                <c:pt idx="6478">
                  <c:v>1</c:v>
                </c:pt>
                <c:pt idx="6479">
                  <c:v>1</c:v>
                </c:pt>
                <c:pt idx="6480">
                  <c:v>1</c:v>
                </c:pt>
                <c:pt idx="6481">
                  <c:v>0</c:v>
                </c:pt>
                <c:pt idx="6482">
                  <c:v>0</c:v>
                </c:pt>
                <c:pt idx="6483">
                  <c:v>0</c:v>
                </c:pt>
                <c:pt idx="6484">
                  <c:v>0</c:v>
                </c:pt>
                <c:pt idx="6485">
                  <c:v>0</c:v>
                </c:pt>
                <c:pt idx="6486">
                  <c:v>0</c:v>
                </c:pt>
                <c:pt idx="6487">
                  <c:v>0</c:v>
                </c:pt>
                <c:pt idx="6488">
                  <c:v>1</c:v>
                </c:pt>
                <c:pt idx="6489">
                  <c:v>2</c:v>
                </c:pt>
                <c:pt idx="6490">
                  <c:v>6</c:v>
                </c:pt>
                <c:pt idx="6491">
                  <c:v>0</c:v>
                </c:pt>
                <c:pt idx="6492">
                  <c:v>1</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1</c:v>
                </c:pt>
                <c:pt idx="6518">
                  <c:v>0</c:v>
                </c:pt>
                <c:pt idx="6519">
                  <c:v>0</c:v>
                </c:pt>
                <c:pt idx="6520">
                  <c:v>0</c:v>
                </c:pt>
                <c:pt idx="6521">
                  <c:v>0</c:v>
                </c:pt>
                <c:pt idx="6522">
                  <c:v>0</c:v>
                </c:pt>
                <c:pt idx="6523">
                  <c:v>0</c:v>
                </c:pt>
                <c:pt idx="6524">
                  <c:v>0</c:v>
                </c:pt>
                <c:pt idx="6525">
                  <c:v>0</c:v>
                </c:pt>
                <c:pt idx="6526">
                  <c:v>0</c:v>
                </c:pt>
                <c:pt idx="6527">
                  <c:v>0</c:v>
                </c:pt>
                <c:pt idx="6528">
                  <c:v>3</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2</c:v>
                </c:pt>
                <c:pt idx="6560">
                  <c:v>0</c:v>
                </c:pt>
                <c:pt idx="6561">
                  <c:v>1</c:v>
                </c:pt>
                <c:pt idx="6562">
                  <c:v>0</c:v>
                </c:pt>
                <c:pt idx="6563">
                  <c:v>0</c:v>
                </c:pt>
                <c:pt idx="6564">
                  <c:v>0</c:v>
                </c:pt>
                <c:pt idx="6565">
                  <c:v>1</c:v>
                </c:pt>
                <c:pt idx="6566">
                  <c:v>3</c:v>
                </c:pt>
                <c:pt idx="6567">
                  <c:v>0</c:v>
                </c:pt>
                <c:pt idx="6568">
                  <c:v>0</c:v>
                </c:pt>
                <c:pt idx="6569">
                  <c:v>0</c:v>
                </c:pt>
                <c:pt idx="6570">
                  <c:v>0</c:v>
                </c:pt>
                <c:pt idx="6571">
                  <c:v>6</c:v>
                </c:pt>
                <c:pt idx="6572">
                  <c:v>0</c:v>
                </c:pt>
                <c:pt idx="6573">
                  <c:v>0</c:v>
                </c:pt>
                <c:pt idx="6574">
                  <c:v>0</c:v>
                </c:pt>
                <c:pt idx="6575">
                  <c:v>0</c:v>
                </c:pt>
                <c:pt idx="6576">
                  <c:v>0</c:v>
                </c:pt>
                <c:pt idx="6577">
                  <c:v>0</c:v>
                </c:pt>
                <c:pt idx="6578">
                  <c:v>0</c:v>
                </c:pt>
                <c:pt idx="6579">
                  <c:v>5</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4</c:v>
                </c:pt>
                <c:pt idx="6615">
                  <c:v>0</c:v>
                </c:pt>
                <c:pt idx="6616">
                  <c:v>0</c:v>
                </c:pt>
                <c:pt idx="6617">
                  <c:v>0</c:v>
                </c:pt>
                <c:pt idx="6618">
                  <c:v>0</c:v>
                </c:pt>
                <c:pt idx="6619">
                  <c:v>0</c:v>
                </c:pt>
                <c:pt idx="6620">
                  <c:v>3</c:v>
                </c:pt>
                <c:pt idx="6621">
                  <c:v>0</c:v>
                </c:pt>
                <c:pt idx="6622">
                  <c:v>0</c:v>
                </c:pt>
                <c:pt idx="6623">
                  <c:v>0</c:v>
                </c:pt>
                <c:pt idx="6624">
                  <c:v>0</c:v>
                </c:pt>
                <c:pt idx="6625">
                  <c:v>0</c:v>
                </c:pt>
                <c:pt idx="6626">
                  <c:v>0</c:v>
                </c:pt>
                <c:pt idx="6627">
                  <c:v>0</c:v>
                </c:pt>
                <c:pt idx="6628">
                  <c:v>0</c:v>
                </c:pt>
                <c:pt idx="6629">
                  <c:v>0</c:v>
                </c:pt>
                <c:pt idx="6630">
                  <c:v>0</c:v>
                </c:pt>
                <c:pt idx="6631">
                  <c:v>1</c:v>
                </c:pt>
                <c:pt idx="6632">
                  <c:v>3</c:v>
                </c:pt>
                <c:pt idx="6633">
                  <c:v>2</c:v>
                </c:pt>
                <c:pt idx="6634">
                  <c:v>2</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1</c:v>
                </c:pt>
                <c:pt idx="6662">
                  <c:v>0</c:v>
                </c:pt>
                <c:pt idx="6663">
                  <c:v>0</c:v>
                </c:pt>
                <c:pt idx="6664">
                  <c:v>0</c:v>
                </c:pt>
                <c:pt idx="6665">
                  <c:v>0</c:v>
                </c:pt>
                <c:pt idx="6666">
                  <c:v>0</c:v>
                </c:pt>
                <c:pt idx="6667">
                  <c:v>0</c:v>
                </c:pt>
                <c:pt idx="6668">
                  <c:v>0</c:v>
                </c:pt>
                <c:pt idx="6669">
                  <c:v>1</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1</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1</c:v>
                </c:pt>
                <c:pt idx="6705">
                  <c:v>1</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6</c:v>
                </c:pt>
                <c:pt idx="6742">
                  <c:v>10</c:v>
                </c:pt>
                <c:pt idx="6743">
                  <c:v>1</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2</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1</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2</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2</c:v>
                </c:pt>
                <c:pt idx="6937">
                  <c:v>0</c:v>
                </c:pt>
                <c:pt idx="6938">
                  <c:v>0</c:v>
                </c:pt>
                <c:pt idx="6939">
                  <c:v>2</c:v>
                </c:pt>
                <c:pt idx="6940">
                  <c:v>0</c:v>
                </c:pt>
                <c:pt idx="6941">
                  <c:v>3</c:v>
                </c:pt>
                <c:pt idx="6942">
                  <c:v>0</c:v>
                </c:pt>
                <c:pt idx="6943">
                  <c:v>0</c:v>
                </c:pt>
                <c:pt idx="6944">
                  <c:v>0</c:v>
                </c:pt>
                <c:pt idx="6945">
                  <c:v>0</c:v>
                </c:pt>
                <c:pt idx="6946">
                  <c:v>0</c:v>
                </c:pt>
                <c:pt idx="6947">
                  <c:v>0</c:v>
                </c:pt>
                <c:pt idx="6948">
                  <c:v>0</c:v>
                </c:pt>
                <c:pt idx="6949">
                  <c:v>3</c:v>
                </c:pt>
                <c:pt idx="6950">
                  <c:v>4</c:v>
                </c:pt>
                <c:pt idx="6951">
                  <c:v>0</c:v>
                </c:pt>
                <c:pt idx="6952">
                  <c:v>1</c:v>
                </c:pt>
                <c:pt idx="6953">
                  <c:v>0</c:v>
                </c:pt>
                <c:pt idx="6954">
                  <c:v>0</c:v>
                </c:pt>
                <c:pt idx="6955">
                  <c:v>2</c:v>
                </c:pt>
                <c:pt idx="6956">
                  <c:v>0</c:v>
                </c:pt>
                <c:pt idx="6957">
                  <c:v>0</c:v>
                </c:pt>
                <c:pt idx="6958">
                  <c:v>0</c:v>
                </c:pt>
                <c:pt idx="6959">
                  <c:v>2</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5</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3</c:v>
                </c:pt>
                <c:pt idx="6986">
                  <c:v>0</c:v>
                </c:pt>
                <c:pt idx="6987">
                  <c:v>0</c:v>
                </c:pt>
                <c:pt idx="6988">
                  <c:v>0</c:v>
                </c:pt>
                <c:pt idx="6989">
                  <c:v>0</c:v>
                </c:pt>
                <c:pt idx="6990">
                  <c:v>0</c:v>
                </c:pt>
                <c:pt idx="6991">
                  <c:v>0</c:v>
                </c:pt>
                <c:pt idx="6992">
                  <c:v>0</c:v>
                </c:pt>
                <c:pt idx="6993">
                  <c:v>0</c:v>
                </c:pt>
                <c:pt idx="6994">
                  <c:v>0</c:v>
                </c:pt>
                <c:pt idx="6995">
                  <c:v>0</c:v>
                </c:pt>
                <c:pt idx="6996">
                  <c:v>0</c:v>
                </c:pt>
                <c:pt idx="6997">
                  <c:v>2</c:v>
                </c:pt>
                <c:pt idx="6998">
                  <c:v>0</c:v>
                </c:pt>
                <c:pt idx="6999">
                  <c:v>0</c:v>
                </c:pt>
                <c:pt idx="7000">
                  <c:v>0</c:v>
                </c:pt>
                <c:pt idx="7001">
                  <c:v>0</c:v>
                </c:pt>
                <c:pt idx="7002">
                  <c:v>0</c:v>
                </c:pt>
                <c:pt idx="7003">
                  <c:v>0</c:v>
                </c:pt>
                <c:pt idx="7004">
                  <c:v>0</c:v>
                </c:pt>
                <c:pt idx="7005">
                  <c:v>0</c:v>
                </c:pt>
                <c:pt idx="7006">
                  <c:v>0</c:v>
                </c:pt>
                <c:pt idx="7007">
                  <c:v>0</c:v>
                </c:pt>
                <c:pt idx="7008">
                  <c:v>0</c:v>
                </c:pt>
                <c:pt idx="7009">
                  <c:v>0</c:v>
                </c:pt>
                <c:pt idx="7010">
                  <c:v>0</c:v>
                </c:pt>
                <c:pt idx="7011">
                  <c:v>0</c:v>
                </c:pt>
                <c:pt idx="7012">
                  <c:v>0</c:v>
                </c:pt>
                <c:pt idx="7013">
                  <c:v>0</c:v>
                </c:pt>
                <c:pt idx="7014">
                  <c:v>0</c:v>
                </c:pt>
                <c:pt idx="7015">
                  <c:v>0</c:v>
                </c:pt>
                <c:pt idx="7016">
                  <c:v>0</c:v>
                </c:pt>
                <c:pt idx="7017">
                  <c:v>0</c:v>
                </c:pt>
                <c:pt idx="7018">
                  <c:v>0</c:v>
                </c:pt>
                <c:pt idx="7019">
                  <c:v>0</c:v>
                </c:pt>
                <c:pt idx="7020">
                  <c:v>0</c:v>
                </c:pt>
                <c:pt idx="7021">
                  <c:v>0</c:v>
                </c:pt>
                <c:pt idx="7022">
                  <c:v>0</c:v>
                </c:pt>
                <c:pt idx="7023">
                  <c:v>0</c:v>
                </c:pt>
                <c:pt idx="7024">
                  <c:v>0</c:v>
                </c:pt>
                <c:pt idx="7025">
                  <c:v>0</c:v>
                </c:pt>
                <c:pt idx="7026">
                  <c:v>3</c:v>
                </c:pt>
                <c:pt idx="7027">
                  <c:v>0</c:v>
                </c:pt>
                <c:pt idx="7028">
                  <c:v>0</c:v>
                </c:pt>
                <c:pt idx="7029">
                  <c:v>0</c:v>
                </c:pt>
                <c:pt idx="7030">
                  <c:v>0</c:v>
                </c:pt>
                <c:pt idx="7031">
                  <c:v>0</c:v>
                </c:pt>
                <c:pt idx="7032">
                  <c:v>0</c:v>
                </c:pt>
                <c:pt idx="7033">
                  <c:v>0</c:v>
                </c:pt>
                <c:pt idx="7034">
                  <c:v>0</c:v>
                </c:pt>
                <c:pt idx="7035">
                  <c:v>0</c:v>
                </c:pt>
                <c:pt idx="7036">
                  <c:v>0</c:v>
                </c:pt>
                <c:pt idx="7037">
                  <c:v>0</c:v>
                </c:pt>
                <c:pt idx="7038">
                  <c:v>0</c:v>
                </c:pt>
                <c:pt idx="7039">
                  <c:v>0</c:v>
                </c:pt>
                <c:pt idx="7040">
                  <c:v>0</c:v>
                </c:pt>
                <c:pt idx="7041">
                  <c:v>0</c:v>
                </c:pt>
                <c:pt idx="7042">
                  <c:v>0</c:v>
                </c:pt>
                <c:pt idx="7043">
                  <c:v>0</c:v>
                </c:pt>
                <c:pt idx="7044">
                  <c:v>0</c:v>
                </c:pt>
                <c:pt idx="7045">
                  <c:v>0</c:v>
                </c:pt>
                <c:pt idx="7046">
                  <c:v>0</c:v>
                </c:pt>
                <c:pt idx="7047">
                  <c:v>0</c:v>
                </c:pt>
                <c:pt idx="7048">
                  <c:v>0</c:v>
                </c:pt>
                <c:pt idx="7049">
                  <c:v>0</c:v>
                </c:pt>
                <c:pt idx="7050">
                  <c:v>0</c:v>
                </c:pt>
                <c:pt idx="7051">
                  <c:v>0</c:v>
                </c:pt>
                <c:pt idx="7052">
                  <c:v>0</c:v>
                </c:pt>
                <c:pt idx="7053">
                  <c:v>0</c:v>
                </c:pt>
                <c:pt idx="7054">
                  <c:v>0</c:v>
                </c:pt>
                <c:pt idx="7055">
                  <c:v>0</c:v>
                </c:pt>
                <c:pt idx="7056">
                  <c:v>0</c:v>
                </c:pt>
                <c:pt idx="7057">
                  <c:v>0</c:v>
                </c:pt>
                <c:pt idx="7058">
                  <c:v>0</c:v>
                </c:pt>
                <c:pt idx="7059">
                  <c:v>0</c:v>
                </c:pt>
                <c:pt idx="7060">
                  <c:v>0</c:v>
                </c:pt>
                <c:pt idx="7061">
                  <c:v>0</c:v>
                </c:pt>
                <c:pt idx="7062">
                  <c:v>0</c:v>
                </c:pt>
                <c:pt idx="7063">
                  <c:v>0</c:v>
                </c:pt>
                <c:pt idx="7064">
                  <c:v>0</c:v>
                </c:pt>
                <c:pt idx="7065">
                  <c:v>0</c:v>
                </c:pt>
                <c:pt idx="7066">
                  <c:v>0</c:v>
                </c:pt>
                <c:pt idx="7067">
                  <c:v>0</c:v>
                </c:pt>
                <c:pt idx="7068">
                  <c:v>4</c:v>
                </c:pt>
                <c:pt idx="7069">
                  <c:v>0</c:v>
                </c:pt>
                <c:pt idx="7070">
                  <c:v>0</c:v>
                </c:pt>
                <c:pt idx="7071">
                  <c:v>0</c:v>
                </c:pt>
                <c:pt idx="7072">
                  <c:v>0</c:v>
                </c:pt>
                <c:pt idx="7073">
                  <c:v>0</c:v>
                </c:pt>
                <c:pt idx="7074">
                  <c:v>0</c:v>
                </c:pt>
                <c:pt idx="7075">
                  <c:v>0</c:v>
                </c:pt>
                <c:pt idx="7076">
                  <c:v>0</c:v>
                </c:pt>
                <c:pt idx="7077">
                  <c:v>0</c:v>
                </c:pt>
                <c:pt idx="7078">
                  <c:v>0</c:v>
                </c:pt>
                <c:pt idx="7079">
                  <c:v>0</c:v>
                </c:pt>
                <c:pt idx="7080">
                  <c:v>0</c:v>
                </c:pt>
                <c:pt idx="7081">
                  <c:v>0</c:v>
                </c:pt>
                <c:pt idx="7082">
                  <c:v>0</c:v>
                </c:pt>
                <c:pt idx="7083">
                  <c:v>3</c:v>
                </c:pt>
                <c:pt idx="7084">
                  <c:v>0</c:v>
                </c:pt>
                <c:pt idx="7085">
                  <c:v>1</c:v>
                </c:pt>
                <c:pt idx="7086">
                  <c:v>0</c:v>
                </c:pt>
                <c:pt idx="7087">
                  <c:v>0</c:v>
                </c:pt>
                <c:pt idx="7088">
                  <c:v>0</c:v>
                </c:pt>
                <c:pt idx="7089">
                  <c:v>1</c:v>
                </c:pt>
                <c:pt idx="7090">
                  <c:v>0</c:v>
                </c:pt>
                <c:pt idx="7091">
                  <c:v>0</c:v>
                </c:pt>
                <c:pt idx="7092">
                  <c:v>0</c:v>
                </c:pt>
                <c:pt idx="7093">
                  <c:v>0</c:v>
                </c:pt>
                <c:pt idx="7094">
                  <c:v>0</c:v>
                </c:pt>
                <c:pt idx="7095">
                  <c:v>0</c:v>
                </c:pt>
                <c:pt idx="7096">
                  <c:v>0</c:v>
                </c:pt>
                <c:pt idx="7097">
                  <c:v>0</c:v>
                </c:pt>
                <c:pt idx="7098">
                  <c:v>0</c:v>
                </c:pt>
                <c:pt idx="7099">
                  <c:v>0</c:v>
                </c:pt>
                <c:pt idx="7100">
                  <c:v>0</c:v>
                </c:pt>
                <c:pt idx="7101">
                  <c:v>0</c:v>
                </c:pt>
                <c:pt idx="7102">
                  <c:v>0</c:v>
                </c:pt>
                <c:pt idx="7103">
                  <c:v>0</c:v>
                </c:pt>
                <c:pt idx="7104">
                  <c:v>0</c:v>
                </c:pt>
                <c:pt idx="7105">
                  <c:v>0</c:v>
                </c:pt>
                <c:pt idx="7106">
                  <c:v>0</c:v>
                </c:pt>
                <c:pt idx="7107">
                  <c:v>0</c:v>
                </c:pt>
                <c:pt idx="7108">
                  <c:v>0</c:v>
                </c:pt>
                <c:pt idx="7109">
                  <c:v>0</c:v>
                </c:pt>
                <c:pt idx="7110">
                  <c:v>0</c:v>
                </c:pt>
                <c:pt idx="7111">
                  <c:v>0</c:v>
                </c:pt>
                <c:pt idx="7112">
                  <c:v>0</c:v>
                </c:pt>
                <c:pt idx="7113">
                  <c:v>0</c:v>
                </c:pt>
                <c:pt idx="7114">
                  <c:v>0</c:v>
                </c:pt>
                <c:pt idx="7115">
                  <c:v>0</c:v>
                </c:pt>
                <c:pt idx="7116">
                  <c:v>0</c:v>
                </c:pt>
                <c:pt idx="7117">
                  <c:v>0</c:v>
                </c:pt>
                <c:pt idx="7118">
                  <c:v>0</c:v>
                </c:pt>
                <c:pt idx="7119">
                  <c:v>0</c:v>
                </c:pt>
                <c:pt idx="7120">
                  <c:v>0</c:v>
                </c:pt>
                <c:pt idx="7121">
                  <c:v>0</c:v>
                </c:pt>
                <c:pt idx="7122">
                  <c:v>0</c:v>
                </c:pt>
                <c:pt idx="7123">
                  <c:v>0</c:v>
                </c:pt>
                <c:pt idx="7124">
                  <c:v>0</c:v>
                </c:pt>
                <c:pt idx="7125">
                  <c:v>0</c:v>
                </c:pt>
                <c:pt idx="7126">
                  <c:v>0</c:v>
                </c:pt>
                <c:pt idx="7127">
                  <c:v>0</c:v>
                </c:pt>
                <c:pt idx="7128">
                  <c:v>0</c:v>
                </c:pt>
                <c:pt idx="7129">
                  <c:v>0</c:v>
                </c:pt>
                <c:pt idx="7130">
                  <c:v>0</c:v>
                </c:pt>
                <c:pt idx="7131">
                  <c:v>0</c:v>
                </c:pt>
                <c:pt idx="7132">
                  <c:v>0</c:v>
                </c:pt>
                <c:pt idx="7133">
                  <c:v>0</c:v>
                </c:pt>
                <c:pt idx="7134">
                  <c:v>0</c:v>
                </c:pt>
                <c:pt idx="7135">
                  <c:v>0</c:v>
                </c:pt>
                <c:pt idx="7136">
                  <c:v>0</c:v>
                </c:pt>
                <c:pt idx="7137">
                  <c:v>0</c:v>
                </c:pt>
                <c:pt idx="7138">
                  <c:v>0</c:v>
                </c:pt>
                <c:pt idx="7139">
                  <c:v>0</c:v>
                </c:pt>
                <c:pt idx="7140">
                  <c:v>0</c:v>
                </c:pt>
                <c:pt idx="7141">
                  <c:v>0</c:v>
                </c:pt>
                <c:pt idx="7142">
                  <c:v>0</c:v>
                </c:pt>
                <c:pt idx="7143">
                  <c:v>0</c:v>
                </c:pt>
                <c:pt idx="7144">
                  <c:v>0</c:v>
                </c:pt>
                <c:pt idx="7145">
                  <c:v>0</c:v>
                </c:pt>
                <c:pt idx="7146">
                  <c:v>0</c:v>
                </c:pt>
                <c:pt idx="7147">
                  <c:v>0</c:v>
                </c:pt>
                <c:pt idx="7148">
                  <c:v>0</c:v>
                </c:pt>
                <c:pt idx="7149">
                  <c:v>2</c:v>
                </c:pt>
                <c:pt idx="7150">
                  <c:v>0</c:v>
                </c:pt>
                <c:pt idx="7151">
                  <c:v>0</c:v>
                </c:pt>
                <c:pt idx="7152">
                  <c:v>0</c:v>
                </c:pt>
                <c:pt idx="7153">
                  <c:v>0</c:v>
                </c:pt>
                <c:pt idx="7154">
                  <c:v>0</c:v>
                </c:pt>
                <c:pt idx="7155">
                  <c:v>0</c:v>
                </c:pt>
                <c:pt idx="7156">
                  <c:v>0</c:v>
                </c:pt>
                <c:pt idx="7157">
                  <c:v>0</c:v>
                </c:pt>
                <c:pt idx="7158">
                  <c:v>0</c:v>
                </c:pt>
                <c:pt idx="7159">
                  <c:v>0</c:v>
                </c:pt>
                <c:pt idx="7160">
                  <c:v>0</c:v>
                </c:pt>
                <c:pt idx="7161">
                  <c:v>0</c:v>
                </c:pt>
                <c:pt idx="7162">
                  <c:v>0</c:v>
                </c:pt>
                <c:pt idx="7163">
                  <c:v>0</c:v>
                </c:pt>
                <c:pt idx="7164">
                  <c:v>0</c:v>
                </c:pt>
                <c:pt idx="7165">
                  <c:v>0</c:v>
                </c:pt>
                <c:pt idx="7166">
                  <c:v>0</c:v>
                </c:pt>
                <c:pt idx="7167">
                  <c:v>0</c:v>
                </c:pt>
                <c:pt idx="7168">
                  <c:v>0</c:v>
                </c:pt>
                <c:pt idx="7169">
                  <c:v>0</c:v>
                </c:pt>
                <c:pt idx="7170">
                  <c:v>0</c:v>
                </c:pt>
                <c:pt idx="7171">
                  <c:v>0</c:v>
                </c:pt>
                <c:pt idx="7172">
                  <c:v>0</c:v>
                </c:pt>
                <c:pt idx="7173">
                  <c:v>0</c:v>
                </c:pt>
                <c:pt idx="7174">
                  <c:v>0</c:v>
                </c:pt>
                <c:pt idx="7175">
                  <c:v>0</c:v>
                </c:pt>
                <c:pt idx="7176">
                  <c:v>0</c:v>
                </c:pt>
                <c:pt idx="7177">
                  <c:v>0</c:v>
                </c:pt>
                <c:pt idx="7178">
                  <c:v>0</c:v>
                </c:pt>
                <c:pt idx="7179">
                  <c:v>0</c:v>
                </c:pt>
                <c:pt idx="7180">
                  <c:v>0</c:v>
                </c:pt>
                <c:pt idx="7181">
                  <c:v>0</c:v>
                </c:pt>
                <c:pt idx="7182">
                  <c:v>0</c:v>
                </c:pt>
                <c:pt idx="7183">
                  <c:v>0</c:v>
                </c:pt>
                <c:pt idx="7184">
                  <c:v>0</c:v>
                </c:pt>
                <c:pt idx="7185">
                  <c:v>0</c:v>
                </c:pt>
                <c:pt idx="7186">
                  <c:v>0</c:v>
                </c:pt>
                <c:pt idx="7187">
                  <c:v>0</c:v>
                </c:pt>
                <c:pt idx="7188">
                  <c:v>0</c:v>
                </c:pt>
                <c:pt idx="7189">
                  <c:v>4</c:v>
                </c:pt>
                <c:pt idx="7190">
                  <c:v>5</c:v>
                </c:pt>
                <c:pt idx="7191">
                  <c:v>7</c:v>
                </c:pt>
                <c:pt idx="7192">
                  <c:v>0</c:v>
                </c:pt>
                <c:pt idx="7193">
                  <c:v>0</c:v>
                </c:pt>
                <c:pt idx="7194">
                  <c:v>0</c:v>
                </c:pt>
                <c:pt idx="7195">
                  <c:v>1</c:v>
                </c:pt>
                <c:pt idx="7196">
                  <c:v>0</c:v>
                </c:pt>
                <c:pt idx="7197">
                  <c:v>0</c:v>
                </c:pt>
                <c:pt idx="7198">
                  <c:v>0</c:v>
                </c:pt>
                <c:pt idx="7199">
                  <c:v>0</c:v>
                </c:pt>
                <c:pt idx="7200">
                  <c:v>1</c:v>
                </c:pt>
                <c:pt idx="7201">
                  <c:v>0</c:v>
                </c:pt>
                <c:pt idx="7202">
                  <c:v>0</c:v>
                </c:pt>
                <c:pt idx="7203">
                  <c:v>0</c:v>
                </c:pt>
                <c:pt idx="7204">
                  <c:v>0</c:v>
                </c:pt>
                <c:pt idx="7205">
                  <c:v>0</c:v>
                </c:pt>
                <c:pt idx="7206">
                  <c:v>0</c:v>
                </c:pt>
                <c:pt idx="7207">
                  <c:v>0</c:v>
                </c:pt>
                <c:pt idx="7208">
                  <c:v>0</c:v>
                </c:pt>
                <c:pt idx="7209">
                  <c:v>0</c:v>
                </c:pt>
                <c:pt idx="7210">
                  <c:v>0</c:v>
                </c:pt>
                <c:pt idx="7211">
                  <c:v>0</c:v>
                </c:pt>
                <c:pt idx="7212">
                  <c:v>0</c:v>
                </c:pt>
                <c:pt idx="7213">
                  <c:v>0</c:v>
                </c:pt>
                <c:pt idx="7214">
                  <c:v>1</c:v>
                </c:pt>
                <c:pt idx="7215">
                  <c:v>0</c:v>
                </c:pt>
                <c:pt idx="7216">
                  <c:v>0</c:v>
                </c:pt>
                <c:pt idx="7217">
                  <c:v>0</c:v>
                </c:pt>
                <c:pt idx="7218">
                  <c:v>1</c:v>
                </c:pt>
                <c:pt idx="7219">
                  <c:v>0</c:v>
                </c:pt>
                <c:pt idx="7220">
                  <c:v>0</c:v>
                </c:pt>
                <c:pt idx="7221">
                  <c:v>0</c:v>
                </c:pt>
                <c:pt idx="7222">
                  <c:v>0</c:v>
                </c:pt>
                <c:pt idx="7223">
                  <c:v>0</c:v>
                </c:pt>
                <c:pt idx="7224">
                  <c:v>0</c:v>
                </c:pt>
                <c:pt idx="7225">
                  <c:v>0</c:v>
                </c:pt>
                <c:pt idx="7226">
                  <c:v>0</c:v>
                </c:pt>
                <c:pt idx="7227">
                  <c:v>0</c:v>
                </c:pt>
                <c:pt idx="7228">
                  <c:v>0</c:v>
                </c:pt>
                <c:pt idx="7229">
                  <c:v>0</c:v>
                </c:pt>
                <c:pt idx="7230">
                  <c:v>0</c:v>
                </c:pt>
                <c:pt idx="7231">
                  <c:v>0</c:v>
                </c:pt>
                <c:pt idx="7232">
                  <c:v>0</c:v>
                </c:pt>
                <c:pt idx="7233">
                  <c:v>0</c:v>
                </c:pt>
                <c:pt idx="7234">
                  <c:v>0</c:v>
                </c:pt>
                <c:pt idx="7235">
                  <c:v>0</c:v>
                </c:pt>
                <c:pt idx="7236">
                  <c:v>0</c:v>
                </c:pt>
                <c:pt idx="7237">
                  <c:v>0</c:v>
                </c:pt>
                <c:pt idx="7238">
                  <c:v>0</c:v>
                </c:pt>
                <c:pt idx="7239">
                  <c:v>0</c:v>
                </c:pt>
                <c:pt idx="7240">
                  <c:v>0</c:v>
                </c:pt>
                <c:pt idx="7241">
                  <c:v>0</c:v>
                </c:pt>
                <c:pt idx="7242">
                  <c:v>0</c:v>
                </c:pt>
                <c:pt idx="7243">
                  <c:v>0</c:v>
                </c:pt>
                <c:pt idx="7244">
                  <c:v>0</c:v>
                </c:pt>
                <c:pt idx="7245">
                  <c:v>0</c:v>
                </c:pt>
                <c:pt idx="7246">
                  <c:v>0</c:v>
                </c:pt>
                <c:pt idx="7247">
                  <c:v>0</c:v>
                </c:pt>
                <c:pt idx="7248">
                  <c:v>0</c:v>
                </c:pt>
                <c:pt idx="7249">
                  <c:v>0</c:v>
                </c:pt>
                <c:pt idx="7250">
                  <c:v>0</c:v>
                </c:pt>
                <c:pt idx="7251">
                  <c:v>0</c:v>
                </c:pt>
                <c:pt idx="7252">
                  <c:v>0</c:v>
                </c:pt>
                <c:pt idx="7253">
                  <c:v>0</c:v>
                </c:pt>
                <c:pt idx="7254">
                  <c:v>0</c:v>
                </c:pt>
                <c:pt idx="7255">
                  <c:v>0</c:v>
                </c:pt>
                <c:pt idx="7256">
                  <c:v>0</c:v>
                </c:pt>
                <c:pt idx="7257">
                  <c:v>0</c:v>
                </c:pt>
                <c:pt idx="7258">
                  <c:v>0</c:v>
                </c:pt>
                <c:pt idx="7259">
                  <c:v>0</c:v>
                </c:pt>
                <c:pt idx="7260">
                  <c:v>0</c:v>
                </c:pt>
                <c:pt idx="7261">
                  <c:v>0</c:v>
                </c:pt>
                <c:pt idx="7262">
                  <c:v>0</c:v>
                </c:pt>
                <c:pt idx="7263">
                  <c:v>0</c:v>
                </c:pt>
                <c:pt idx="7264">
                  <c:v>0</c:v>
                </c:pt>
                <c:pt idx="7265">
                  <c:v>0</c:v>
                </c:pt>
                <c:pt idx="7266">
                  <c:v>2</c:v>
                </c:pt>
                <c:pt idx="7267">
                  <c:v>0</c:v>
                </c:pt>
                <c:pt idx="7268">
                  <c:v>0</c:v>
                </c:pt>
                <c:pt idx="7269">
                  <c:v>0</c:v>
                </c:pt>
                <c:pt idx="7270">
                  <c:v>0</c:v>
                </c:pt>
                <c:pt idx="7271">
                  <c:v>0</c:v>
                </c:pt>
                <c:pt idx="7272">
                  <c:v>0</c:v>
                </c:pt>
                <c:pt idx="7273">
                  <c:v>0</c:v>
                </c:pt>
                <c:pt idx="7274">
                  <c:v>0</c:v>
                </c:pt>
                <c:pt idx="7275">
                  <c:v>0</c:v>
                </c:pt>
                <c:pt idx="7276">
                  <c:v>0</c:v>
                </c:pt>
                <c:pt idx="7277">
                  <c:v>0</c:v>
                </c:pt>
                <c:pt idx="7278">
                  <c:v>0</c:v>
                </c:pt>
                <c:pt idx="7279">
                  <c:v>0</c:v>
                </c:pt>
                <c:pt idx="7280">
                  <c:v>0</c:v>
                </c:pt>
                <c:pt idx="7281">
                  <c:v>1</c:v>
                </c:pt>
                <c:pt idx="7282">
                  <c:v>0</c:v>
                </c:pt>
                <c:pt idx="7283">
                  <c:v>0</c:v>
                </c:pt>
                <c:pt idx="7284">
                  <c:v>0</c:v>
                </c:pt>
                <c:pt idx="7285">
                  <c:v>0</c:v>
                </c:pt>
                <c:pt idx="7286">
                  <c:v>0</c:v>
                </c:pt>
                <c:pt idx="7287">
                  <c:v>0</c:v>
                </c:pt>
                <c:pt idx="7288">
                  <c:v>0</c:v>
                </c:pt>
                <c:pt idx="7289">
                  <c:v>0</c:v>
                </c:pt>
                <c:pt idx="7290">
                  <c:v>0</c:v>
                </c:pt>
                <c:pt idx="7291">
                  <c:v>0</c:v>
                </c:pt>
                <c:pt idx="7292">
                  <c:v>0</c:v>
                </c:pt>
                <c:pt idx="7293">
                  <c:v>0</c:v>
                </c:pt>
                <c:pt idx="7294">
                  <c:v>0</c:v>
                </c:pt>
                <c:pt idx="7295">
                  <c:v>0</c:v>
                </c:pt>
                <c:pt idx="7296">
                  <c:v>0</c:v>
                </c:pt>
                <c:pt idx="7297">
                  <c:v>5</c:v>
                </c:pt>
                <c:pt idx="7298">
                  <c:v>4</c:v>
                </c:pt>
                <c:pt idx="7299">
                  <c:v>5</c:v>
                </c:pt>
                <c:pt idx="7300">
                  <c:v>6</c:v>
                </c:pt>
                <c:pt idx="7301">
                  <c:v>0</c:v>
                </c:pt>
                <c:pt idx="7302">
                  <c:v>0</c:v>
                </c:pt>
                <c:pt idx="7303">
                  <c:v>0</c:v>
                </c:pt>
                <c:pt idx="7304">
                  <c:v>0</c:v>
                </c:pt>
                <c:pt idx="7305">
                  <c:v>0</c:v>
                </c:pt>
                <c:pt idx="7306">
                  <c:v>0</c:v>
                </c:pt>
                <c:pt idx="7307">
                  <c:v>0</c:v>
                </c:pt>
                <c:pt idx="7308">
                  <c:v>0</c:v>
                </c:pt>
                <c:pt idx="7309">
                  <c:v>0</c:v>
                </c:pt>
                <c:pt idx="7310">
                  <c:v>0</c:v>
                </c:pt>
                <c:pt idx="7311">
                  <c:v>4</c:v>
                </c:pt>
                <c:pt idx="7312">
                  <c:v>0</c:v>
                </c:pt>
                <c:pt idx="7313">
                  <c:v>0</c:v>
                </c:pt>
                <c:pt idx="7314">
                  <c:v>0</c:v>
                </c:pt>
                <c:pt idx="7315">
                  <c:v>0</c:v>
                </c:pt>
                <c:pt idx="7316">
                  <c:v>0</c:v>
                </c:pt>
                <c:pt idx="7317">
                  <c:v>0</c:v>
                </c:pt>
                <c:pt idx="7318">
                  <c:v>0</c:v>
                </c:pt>
                <c:pt idx="7319">
                  <c:v>0</c:v>
                </c:pt>
                <c:pt idx="7320">
                  <c:v>0</c:v>
                </c:pt>
                <c:pt idx="7321">
                  <c:v>0</c:v>
                </c:pt>
                <c:pt idx="7322">
                  <c:v>0</c:v>
                </c:pt>
                <c:pt idx="7323">
                  <c:v>0</c:v>
                </c:pt>
                <c:pt idx="7324">
                  <c:v>0</c:v>
                </c:pt>
                <c:pt idx="7325">
                  <c:v>0</c:v>
                </c:pt>
                <c:pt idx="7326">
                  <c:v>2</c:v>
                </c:pt>
                <c:pt idx="7327">
                  <c:v>2</c:v>
                </c:pt>
                <c:pt idx="7328">
                  <c:v>0</c:v>
                </c:pt>
                <c:pt idx="7329">
                  <c:v>5</c:v>
                </c:pt>
                <c:pt idx="7330">
                  <c:v>0</c:v>
                </c:pt>
                <c:pt idx="7331">
                  <c:v>0</c:v>
                </c:pt>
                <c:pt idx="7332">
                  <c:v>1</c:v>
                </c:pt>
                <c:pt idx="7333">
                  <c:v>0</c:v>
                </c:pt>
                <c:pt idx="7334">
                  <c:v>3</c:v>
                </c:pt>
                <c:pt idx="7335">
                  <c:v>0</c:v>
                </c:pt>
                <c:pt idx="7336">
                  <c:v>0</c:v>
                </c:pt>
                <c:pt idx="7337">
                  <c:v>1</c:v>
                </c:pt>
                <c:pt idx="7338">
                  <c:v>0</c:v>
                </c:pt>
                <c:pt idx="7339">
                  <c:v>0</c:v>
                </c:pt>
                <c:pt idx="7340">
                  <c:v>0</c:v>
                </c:pt>
                <c:pt idx="7341">
                  <c:v>0</c:v>
                </c:pt>
                <c:pt idx="7342">
                  <c:v>1</c:v>
                </c:pt>
                <c:pt idx="7343">
                  <c:v>0</c:v>
                </c:pt>
                <c:pt idx="7344">
                  <c:v>0</c:v>
                </c:pt>
                <c:pt idx="7345">
                  <c:v>0</c:v>
                </c:pt>
                <c:pt idx="7346">
                  <c:v>0</c:v>
                </c:pt>
                <c:pt idx="7347">
                  <c:v>0</c:v>
                </c:pt>
                <c:pt idx="7348">
                  <c:v>0</c:v>
                </c:pt>
                <c:pt idx="7349">
                  <c:v>0</c:v>
                </c:pt>
                <c:pt idx="7350">
                  <c:v>0</c:v>
                </c:pt>
                <c:pt idx="7351">
                  <c:v>0</c:v>
                </c:pt>
                <c:pt idx="7352">
                  <c:v>0</c:v>
                </c:pt>
                <c:pt idx="7353">
                  <c:v>0</c:v>
                </c:pt>
                <c:pt idx="7354">
                  <c:v>0</c:v>
                </c:pt>
                <c:pt idx="7355">
                  <c:v>0</c:v>
                </c:pt>
                <c:pt idx="7356">
                  <c:v>1</c:v>
                </c:pt>
                <c:pt idx="7357">
                  <c:v>1</c:v>
                </c:pt>
                <c:pt idx="7358">
                  <c:v>0</c:v>
                </c:pt>
                <c:pt idx="7359">
                  <c:v>0</c:v>
                </c:pt>
                <c:pt idx="7360">
                  <c:v>0</c:v>
                </c:pt>
                <c:pt idx="7361">
                  <c:v>0</c:v>
                </c:pt>
                <c:pt idx="7362">
                  <c:v>0</c:v>
                </c:pt>
                <c:pt idx="7363">
                  <c:v>0</c:v>
                </c:pt>
                <c:pt idx="7364">
                  <c:v>0</c:v>
                </c:pt>
                <c:pt idx="7365">
                  <c:v>0</c:v>
                </c:pt>
                <c:pt idx="7366">
                  <c:v>0</c:v>
                </c:pt>
                <c:pt idx="7367">
                  <c:v>0</c:v>
                </c:pt>
                <c:pt idx="7368">
                  <c:v>0</c:v>
                </c:pt>
                <c:pt idx="7369">
                  <c:v>2</c:v>
                </c:pt>
                <c:pt idx="7370">
                  <c:v>0</c:v>
                </c:pt>
                <c:pt idx="7371">
                  <c:v>0</c:v>
                </c:pt>
                <c:pt idx="7372">
                  <c:v>2</c:v>
                </c:pt>
                <c:pt idx="7373">
                  <c:v>0</c:v>
                </c:pt>
                <c:pt idx="7374">
                  <c:v>0</c:v>
                </c:pt>
                <c:pt idx="7375">
                  <c:v>1</c:v>
                </c:pt>
                <c:pt idx="7376">
                  <c:v>2</c:v>
                </c:pt>
                <c:pt idx="7377">
                  <c:v>5</c:v>
                </c:pt>
                <c:pt idx="7378">
                  <c:v>2</c:v>
                </c:pt>
                <c:pt idx="7379">
                  <c:v>9</c:v>
                </c:pt>
                <c:pt idx="7380">
                  <c:v>0</c:v>
                </c:pt>
                <c:pt idx="7381">
                  <c:v>0</c:v>
                </c:pt>
                <c:pt idx="7382">
                  <c:v>3</c:v>
                </c:pt>
                <c:pt idx="7383">
                  <c:v>0</c:v>
                </c:pt>
                <c:pt idx="7384">
                  <c:v>0</c:v>
                </c:pt>
                <c:pt idx="7385">
                  <c:v>0</c:v>
                </c:pt>
                <c:pt idx="7386">
                  <c:v>0</c:v>
                </c:pt>
                <c:pt idx="7387">
                  <c:v>0</c:v>
                </c:pt>
                <c:pt idx="7388">
                  <c:v>0</c:v>
                </c:pt>
                <c:pt idx="7389">
                  <c:v>0</c:v>
                </c:pt>
                <c:pt idx="7390">
                  <c:v>3</c:v>
                </c:pt>
                <c:pt idx="7391">
                  <c:v>3</c:v>
                </c:pt>
                <c:pt idx="7392">
                  <c:v>2</c:v>
                </c:pt>
                <c:pt idx="7393">
                  <c:v>2</c:v>
                </c:pt>
                <c:pt idx="7394">
                  <c:v>1</c:v>
                </c:pt>
                <c:pt idx="7395">
                  <c:v>1</c:v>
                </c:pt>
                <c:pt idx="7396">
                  <c:v>8</c:v>
                </c:pt>
                <c:pt idx="7397">
                  <c:v>1</c:v>
                </c:pt>
                <c:pt idx="7398">
                  <c:v>0</c:v>
                </c:pt>
                <c:pt idx="7399">
                  <c:v>0</c:v>
                </c:pt>
                <c:pt idx="7400">
                  <c:v>0</c:v>
                </c:pt>
                <c:pt idx="7401">
                  <c:v>0</c:v>
                </c:pt>
                <c:pt idx="7402">
                  <c:v>0</c:v>
                </c:pt>
                <c:pt idx="7403">
                  <c:v>1</c:v>
                </c:pt>
                <c:pt idx="7404">
                  <c:v>1</c:v>
                </c:pt>
                <c:pt idx="7405">
                  <c:v>3</c:v>
                </c:pt>
                <c:pt idx="7406">
                  <c:v>0</c:v>
                </c:pt>
                <c:pt idx="7407">
                  <c:v>3</c:v>
                </c:pt>
                <c:pt idx="7408">
                  <c:v>1</c:v>
                </c:pt>
                <c:pt idx="7409">
                  <c:v>1</c:v>
                </c:pt>
                <c:pt idx="7410">
                  <c:v>6</c:v>
                </c:pt>
                <c:pt idx="7411">
                  <c:v>3</c:v>
                </c:pt>
                <c:pt idx="7412">
                  <c:v>0</c:v>
                </c:pt>
                <c:pt idx="7413">
                  <c:v>0</c:v>
                </c:pt>
                <c:pt idx="7414">
                  <c:v>0</c:v>
                </c:pt>
                <c:pt idx="7415">
                  <c:v>2</c:v>
                </c:pt>
                <c:pt idx="7416">
                  <c:v>0</c:v>
                </c:pt>
                <c:pt idx="7417">
                  <c:v>0</c:v>
                </c:pt>
                <c:pt idx="7418">
                  <c:v>0</c:v>
                </c:pt>
                <c:pt idx="7419">
                  <c:v>0</c:v>
                </c:pt>
                <c:pt idx="7420">
                  <c:v>0</c:v>
                </c:pt>
                <c:pt idx="7421">
                  <c:v>0</c:v>
                </c:pt>
                <c:pt idx="7422">
                  <c:v>0</c:v>
                </c:pt>
                <c:pt idx="7423">
                  <c:v>15</c:v>
                </c:pt>
                <c:pt idx="7424">
                  <c:v>0</c:v>
                </c:pt>
                <c:pt idx="7425">
                  <c:v>0</c:v>
                </c:pt>
                <c:pt idx="7426">
                  <c:v>0</c:v>
                </c:pt>
                <c:pt idx="7427">
                  <c:v>0</c:v>
                </c:pt>
                <c:pt idx="7428">
                  <c:v>0</c:v>
                </c:pt>
                <c:pt idx="7429">
                  <c:v>0</c:v>
                </c:pt>
                <c:pt idx="7430">
                  <c:v>0</c:v>
                </c:pt>
                <c:pt idx="7431">
                  <c:v>0</c:v>
                </c:pt>
                <c:pt idx="7432">
                  <c:v>0</c:v>
                </c:pt>
                <c:pt idx="7433">
                  <c:v>0</c:v>
                </c:pt>
                <c:pt idx="7434">
                  <c:v>1</c:v>
                </c:pt>
                <c:pt idx="7435">
                  <c:v>0</c:v>
                </c:pt>
                <c:pt idx="7436">
                  <c:v>0</c:v>
                </c:pt>
                <c:pt idx="7437">
                  <c:v>0</c:v>
                </c:pt>
                <c:pt idx="7438">
                  <c:v>7</c:v>
                </c:pt>
                <c:pt idx="7439">
                  <c:v>0</c:v>
                </c:pt>
                <c:pt idx="7440">
                  <c:v>0</c:v>
                </c:pt>
                <c:pt idx="7441">
                  <c:v>0</c:v>
                </c:pt>
                <c:pt idx="7442">
                  <c:v>0</c:v>
                </c:pt>
                <c:pt idx="7443">
                  <c:v>0</c:v>
                </c:pt>
                <c:pt idx="7444">
                  <c:v>1</c:v>
                </c:pt>
                <c:pt idx="7445">
                  <c:v>4</c:v>
                </c:pt>
                <c:pt idx="7446">
                  <c:v>2</c:v>
                </c:pt>
                <c:pt idx="7447">
                  <c:v>4</c:v>
                </c:pt>
                <c:pt idx="7448">
                  <c:v>4</c:v>
                </c:pt>
                <c:pt idx="7449">
                  <c:v>2</c:v>
                </c:pt>
                <c:pt idx="7450">
                  <c:v>0</c:v>
                </c:pt>
                <c:pt idx="7451">
                  <c:v>5</c:v>
                </c:pt>
                <c:pt idx="7452">
                  <c:v>1</c:v>
                </c:pt>
                <c:pt idx="7453">
                  <c:v>4</c:v>
                </c:pt>
                <c:pt idx="7454">
                  <c:v>2</c:v>
                </c:pt>
                <c:pt idx="7455">
                  <c:v>0</c:v>
                </c:pt>
                <c:pt idx="7456">
                  <c:v>5</c:v>
                </c:pt>
                <c:pt idx="7457">
                  <c:v>3</c:v>
                </c:pt>
                <c:pt idx="7458">
                  <c:v>5</c:v>
                </c:pt>
                <c:pt idx="7459">
                  <c:v>0</c:v>
                </c:pt>
                <c:pt idx="7460">
                  <c:v>3</c:v>
                </c:pt>
                <c:pt idx="7461">
                  <c:v>0</c:v>
                </c:pt>
                <c:pt idx="7462">
                  <c:v>6</c:v>
                </c:pt>
                <c:pt idx="7463">
                  <c:v>5</c:v>
                </c:pt>
                <c:pt idx="7464">
                  <c:v>1</c:v>
                </c:pt>
                <c:pt idx="7465">
                  <c:v>7</c:v>
                </c:pt>
                <c:pt idx="7466">
                  <c:v>0</c:v>
                </c:pt>
                <c:pt idx="7467">
                  <c:v>0</c:v>
                </c:pt>
                <c:pt idx="7468">
                  <c:v>2</c:v>
                </c:pt>
                <c:pt idx="7469">
                  <c:v>0</c:v>
                </c:pt>
                <c:pt idx="7470">
                  <c:v>0</c:v>
                </c:pt>
                <c:pt idx="7471">
                  <c:v>0</c:v>
                </c:pt>
                <c:pt idx="7472">
                  <c:v>0</c:v>
                </c:pt>
                <c:pt idx="7473">
                  <c:v>0</c:v>
                </c:pt>
                <c:pt idx="7474">
                  <c:v>0</c:v>
                </c:pt>
                <c:pt idx="7475">
                  <c:v>0</c:v>
                </c:pt>
                <c:pt idx="7476">
                  <c:v>0</c:v>
                </c:pt>
                <c:pt idx="7477">
                  <c:v>0</c:v>
                </c:pt>
                <c:pt idx="7478">
                  <c:v>0</c:v>
                </c:pt>
                <c:pt idx="7479">
                  <c:v>0</c:v>
                </c:pt>
                <c:pt idx="7480">
                  <c:v>0</c:v>
                </c:pt>
                <c:pt idx="7481">
                  <c:v>0</c:v>
                </c:pt>
                <c:pt idx="7482">
                  <c:v>0</c:v>
                </c:pt>
                <c:pt idx="7483">
                  <c:v>0</c:v>
                </c:pt>
                <c:pt idx="7484">
                  <c:v>0</c:v>
                </c:pt>
                <c:pt idx="7485">
                  <c:v>0</c:v>
                </c:pt>
                <c:pt idx="7486">
                  <c:v>0</c:v>
                </c:pt>
                <c:pt idx="7487">
                  <c:v>0</c:v>
                </c:pt>
                <c:pt idx="7488">
                  <c:v>0</c:v>
                </c:pt>
                <c:pt idx="7489">
                  <c:v>0</c:v>
                </c:pt>
                <c:pt idx="7490">
                  <c:v>0</c:v>
                </c:pt>
                <c:pt idx="7491">
                  <c:v>1</c:v>
                </c:pt>
                <c:pt idx="7492">
                  <c:v>0</c:v>
                </c:pt>
                <c:pt idx="7493">
                  <c:v>18</c:v>
                </c:pt>
                <c:pt idx="7494">
                  <c:v>0</c:v>
                </c:pt>
                <c:pt idx="7495">
                  <c:v>0</c:v>
                </c:pt>
                <c:pt idx="7496">
                  <c:v>0</c:v>
                </c:pt>
                <c:pt idx="7497">
                  <c:v>0</c:v>
                </c:pt>
                <c:pt idx="7498">
                  <c:v>0</c:v>
                </c:pt>
                <c:pt idx="7499">
                  <c:v>0</c:v>
                </c:pt>
                <c:pt idx="7500">
                  <c:v>0</c:v>
                </c:pt>
                <c:pt idx="7501">
                  <c:v>0</c:v>
                </c:pt>
                <c:pt idx="7502">
                  <c:v>0</c:v>
                </c:pt>
                <c:pt idx="7503">
                  <c:v>0</c:v>
                </c:pt>
                <c:pt idx="7504">
                  <c:v>0</c:v>
                </c:pt>
                <c:pt idx="7505">
                  <c:v>0</c:v>
                </c:pt>
                <c:pt idx="7506">
                  <c:v>0</c:v>
                </c:pt>
                <c:pt idx="7507">
                  <c:v>0</c:v>
                </c:pt>
                <c:pt idx="7508">
                  <c:v>0</c:v>
                </c:pt>
                <c:pt idx="7509">
                  <c:v>1</c:v>
                </c:pt>
                <c:pt idx="7510">
                  <c:v>0</c:v>
                </c:pt>
                <c:pt idx="7511">
                  <c:v>0</c:v>
                </c:pt>
                <c:pt idx="7512">
                  <c:v>0</c:v>
                </c:pt>
                <c:pt idx="7513">
                  <c:v>0</c:v>
                </c:pt>
                <c:pt idx="7514">
                  <c:v>0</c:v>
                </c:pt>
                <c:pt idx="7515">
                  <c:v>0</c:v>
                </c:pt>
                <c:pt idx="7516">
                  <c:v>0</c:v>
                </c:pt>
                <c:pt idx="7517">
                  <c:v>0</c:v>
                </c:pt>
                <c:pt idx="7518">
                  <c:v>0</c:v>
                </c:pt>
                <c:pt idx="7519">
                  <c:v>0</c:v>
                </c:pt>
                <c:pt idx="7520">
                  <c:v>0</c:v>
                </c:pt>
                <c:pt idx="7521">
                  <c:v>0</c:v>
                </c:pt>
                <c:pt idx="7522">
                  <c:v>0</c:v>
                </c:pt>
                <c:pt idx="7523">
                  <c:v>0</c:v>
                </c:pt>
                <c:pt idx="7524">
                  <c:v>0</c:v>
                </c:pt>
                <c:pt idx="7525">
                  <c:v>0</c:v>
                </c:pt>
                <c:pt idx="7526">
                  <c:v>0</c:v>
                </c:pt>
                <c:pt idx="7527">
                  <c:v>0</c:v>
                </c:pt>
                <c:pt idx="7528">
                  <c:v>0</c:v>
                </c:pt>
                <c:pt idx="7529">
                  <c:v>0</c:v>
                </c:pt>
                <c:pt idx="7530">
                  <c:v>0</c:v>
                </c:pt>
                <c:pt idx="7531">
                  <c:v>0</c:v>
                </c:pt>
                <c:pt idx="7532">
                  <c:v>0</c:v>
                </c:pt>
                <c:pt idx="7533">
                  <c:v>0</c:v>
                </c:pt>
                <c:pt idx="7534">
                  <c:v>0</c:v>
                </c:pt>
                <c:pt idx="7535">
                  <c:v>0</c:v>
                </c:pt>
                <c:pt idx="7536">
                  <c:v>2</c:v>
                </c:pt>
                <c:pt idx="7537">
                  <c:v>0</c:v>
                </c:pt>
                <c:pt idx="7538">
                  <c:v>0</c:v>
                </c:pt>
                <c:pt idx="7539">
                  <c:v>1</c:v>
                </c:pt>
                <c:pt idx="7540">
                  <c:v>0</c:v>
                </c:pt>
                <c:pt idx="7541">
                  <c:v>0</c:v>
                </c:pt>
                <c:pt idx="7542">
                  <c:v>0</c:v>
                </c:pt>
                <c:pt idx="7543">
                  <c:v>0</c:v>
                </c:pt>
                <c:pt idx="7544">
                  <c:v>0</c:v>
                </c:pt>
                <c:pt idx="7545">
                  <c:v>0</c:v>
                </c:pt>
                <c:pt idx="7546">
                  <c:v>0</c:v>
                </c:pt>
                <c:pt idx="7547">
                  <c:v>0</c:v>
                </c:pt>
                <c:pt idx="7548">
                  <c:v>0</c:v>
                </c:pt>
                <c:pt idx="7549">
                  <c:v>0</c:v>
                </c:pt>
                <c:pt idx="7550">
                  <c:v>0</c:v>
                </c:pt>
                <c:pt idx="7551">
                  <c:v>0</c:v>
                </c:pt>
                <c:pt idx="7552">
                  <c:v>0</c:v>
                </c:pt>
                <c:pt idx="7553">
                  <c:v>0</c:v>
                </c:pt>
                <c:pt idx="7554">
                  <c:v>0</c:v>
                </c:pt>
                <c:pt idx="7555">
                  <c:v>0</c:v>
                </c:pt>
                <c:pt idx="7556">
                  <c:v>0</c:v>
                </c:pt>
                <c:pt idx="7557">
                  <c:v>0</c:v>
                </c:pt>
                <c:pt idx="7558">
                  <c:v>0</c:v>
                </c:pt>
                <c:pt idx="7559">
                  <c:v>0</c:v>
                </c:pt>
                <c:pt idx="7560">
                  <c:v>0</c:v>
                </c:pt>
                <c:pt idx="7561">
                  <c:v>0</c:v>
                </c:pt>
                <c:pt idx="7562">
                  <c:v>0</c:v>
                </c:pt>
                <c:pt idx="7563">
                  <c:v>0</c:v>
                </c:pt>
                <c:pt idx="7564">
                  <c:v>0</c:v>
                </c:pt>
                <c:pt idx="7565">
                  <c:v>0</c:v>
                </c:pt>
                <c:pt idx="7566">
                  <c:v>0</c:v>
                </c:pt>
                <c:pt idx="7567">
                  <c:v>1</c:v>
                </c:pt>
                <c:pt idx="7568">
                  <c:v>0</c:v>
                </c:pt>
                <c:pt idx="7569">
                  <c:v>0</c:v>
                </c:pt>
                <c:pt idx="7570">
                  <c:v>0</c:v>
                </c:pt>
                <c:pt idx="7571">
                  <c:v>0</c:v>
                </c:pt>
                <c:pt idx="7572">
                  <c:v>0</c:v>
                </c:pt>
                <c:pt idx="7573">
                  <c:v>0</c:v>
                </c:pt>
                <c:pt idx="7574">
                  <c:v>0</c:v>
                </c:pt>
                <c:pt idx="7575">
                  <c:v>0</c:v>
                </c:pt>
                <c:pt idx="7576">
                  <c:v>0</c:v>
                </c:pt>
                <c:pt idx="7577">
                  <c:v>0</c:v>
                </c:pt>
                <c:pt idx="7578">
                  <c:v>0</c:v>
                </c:pt>
                <c:pt idx="7579">
                  <c:v>0</c:v>
                </c:pt>
                <c:pt idx="7580">
                  <c:v>0</c:v>
                </c:pt>
                <c:pt idx="7581">
                  <c:v>0</c:v>
                </c:pt>
                <c:pt idx="7582">
                  <c:v>0</c:v>
                </c:pt>
                <c:pt idx="7583">
                  <c:v>0</c:v>
                </c:pt>
                <c:pt idx="7584">
                  <c:v>0</c:v>
                </c:pt>
                <c:pt idx="7585">
                  <c:v>0</c:v>
                </c:pt>
                <c:pt idx="7586">
                  <c:v>0</c:v>
                </c:pt>
                <c:pt idx="7587">
                  <c:v>0</c:v>
                </c:pt>
                <c:pt idx="7588">
                  <c:v>0</c:v>
                </c:pt>
                <c:pt idx="7589">
                  <c:v>0</c:v>
                </c:pt>
                <c:pt idx="7590">
                  <c:v>0</c:v>
                </c:pt>
                <c:pt idx="7591">
                  <c:v>0</c:v>
                </c:pt>
                <c:pt idx="7592">
                  <c:v>0</c:v>
                </c:pt>
                <c:pt idx="7593">
                  <c:v>0</c:v>
                </c:pt>
                <c:pt idx="7594">
                  <c:v>0</c:v>
                </c:pt>
                <c:pt idx="7595">
                  <c:v>1</c:v>
                </c:pt>
                <c:pt idx="7596">
                  <c:v>0</c:v>
                </c:pt>
                <c:pt idx="7597">
                  <c:v>0</c:v>
                </c:pt>
                <c:pt idx="7598">
                  <c:v>0</c:v>
                </c:pt>
                <c:pt idx="7599">
                  <c:v>0</c:v>
                </c:pt>
                <c:pt idx="7600">
                  <c:v>0</c:v>
                </c:pt>
                <c:pt idx="7601">
                  <c:v>0</c:v>
                </c:pt>
                <c:pt idx="7602">
                  <c:v>7</c:v>
                </c:pt>
                <c:pt idx="7603">
                  <c:v>4</c:v>
                </c:pt>
                <c:pt idx="7604">
                  <c:v>0</c:v>
                </c:pt>
                <c:pt idx="7605">
                  <c:v>0</c:v>
                </c:pt>
                <c:pt idx="7606">
                  <c:v>1</c:v>
                </c:pt>
                <c:pt idx="7607">
                  <c:v>0</c:v>
                </c:pt>
                <c:pt idx="7608">
                  <c:v>0</c:v>
                </c:pt>
                <c:pt idx="7609">
                  <c:v>0</c:v>
                </c:pt>
                <c:pt idx="7610">
                  <c:v>0</c:v>
                </c:pt>
                <c:pt idx="7611">
                  <c:v>1</c:v>
                </c:pt>
                <c:pt idx="7612">
                  <c:v>0</c:v>
                </c:pt>
                <c:pt idx="7613">
                  <c:v>2</c:v>
                </c:pt>
                <c:pt idx="7614">
                  <c:v>3</c:v>
                </c:pt>
                <c:pt idx="7615">
                  <c:v>0</c:v>
                </c:pt>
                <c:pt idx="7616">
                  <c:v>0</c:v>
                </c:pt>
                <c:pt idx="7617">
                  <c:v>0</c:v>
                </c:pt>
                <c:pt idx="7618">
                  <c:v>2</c:v>
                </c:pt>
                <c:pt idx="7619">
                  <c:v>0</c:v>
                </c:pt>
                <c:pt idx="7620">
                  <c:v>7</c:v>
                </c:pt>
                <c:pt idx="7621">
                  <c:v>0</c:v>
                </c:pt>
                <c:pt idx="7622">
                  <c:v>0</c:v>
                </c:pt>
                <c:pt idx="7623">
                  <c:v>0</c:v>
                </c:pt>
                <c:pt idx="7624">
                  <c:v>0</c:v>
                </c:pt>
                <c:pt idx="7625">
                  <c:v>2</c:v>
                </c:pt>
                <c:pt idx="7626">
                  <c:v>0</c:v>
                </c:pt>
                <c:pt idx="7627">
                  <c:v>0</c:v>
                </c:pt>
                <c:pt idx="7628">
                  <c:v>0</c:v>
                </c:pt>
                <c:pt idx="7629">
                  <c:v>3</c:v>
                </c:pt>
                <c:pt idx="7630">
                  <c:v>0</c:v>
                </c:pt>
                <c:pt idx="7631">
                  <c:v>0</c:v>
                </c:pt>
                <c:pt idx="7632">
                  <c:v>0</c:v>
                </c:pt>
                <c:pt idx="7633">
                  <c:v>0</c:v>
                </c:pt>
                <c:pt idx="7634">
                  <c:v>2</c:v>
                </c:pt>
                <c:pt idx="7635">
                  <c:v>4</c:v>
                </c:pt>
                <c:pt idx="7636">
                  <c:v>3</c:v>
                </c:pt>
                <c:pt idx="7637">
                  <c:v>0</c:v>
                </c:pt>
                <c:pt idx="7638">
                  <c:v>0</c:v>
                </c:pt>
                <c:pt idx="7639">
                  <c:v>2</c:v>
                </c:pt>
                <c:pt idx="7640">
                  <c:v>0</c:v>
                </c:pt>
                <c:pt idx="7641">
                  <c:v>0</c:v>
                </c:pt>
                <c:pt idx="7642">
                  <c:v>1</c:v>
                </c:pt>
                <c:pt idx="7643">
                  <c:v>5</c:v>
                </c:pt>
                <c:pt idx="7644">
                  <c:v>0</c:v>
                </c:pt>
                <c:pt idx="7645">
                  <c:v>0</c:v>
                </c:pt>
                <c:pt idx="7646">
                  <c:v>0</c:v>
                </c:pt>
                <c:pt idx="7647">
                  <c:v>0</c:v>
                </c:pt>
                <c:pt idx="7648">
                  <c:v>0</c:v>
                </c:pt>
                <c:pt idx="7649">
                  <c:v>0</c:v>
                </c:pt>
                <c:pt idx="7650">
                  <c:v>0</c:v>
                </c:pt>
                <c:pt idx="7651">
                  <c:v>0</c:v>
                </c:pt>
                <c:pt idx="7652">
                  <c:v>2</c:v>
                </c:pt>
                <c:pt idx="7653">
                  <c:v>0</c:v>
                </c:pt>
                <c:pt idx="7654">
                  <c:v>0</c:v>
                </c:pt>
                <c:pt idx="7655">
                  <c:v>0</c:v>
                </c:pt>
                <c:pt idx="7656">
                  <c:v>1</c:v>
                </c:pt>
                <c:pt idx="7657">
                  <c:v>0</c:v>
                </c:pt>
                <c:pt idx="7658">
                  <c:v>2</c:v>
                </c:pt>
                <c:pt idx="7659">
                  <c:v>0</c:v>
                </c:pt>
                <c:pt idx="7660">
                  <c:v>2</c:v>
                </c:pt>
                <c:pt idx="7661">
                  <c:v>2</c:v>
                </c:pt>
                <c:pt idx="7662">
                  <c:v>0</c:v>
                </c:pt>
                <c:pt idx="7663">
                  <c:v>0</c:v>
                </c:pt>
                <c:pt idx="7664">
                  <c:v>0</c:v>
                </c:pt>
                <c:pt idx="7665">
                  <c:v>0</c:v>
                </c:pt>
                <c:pt idx="7666">
                  <c:v>0</c:v>
                </c:pt>
                <c:pt idx="7667">
                  <c:v>0</c:v>
                </c:pt>
                <c:pt idx="7668">
                  <c:v>0</c:v>
                </c:pt>
                <c:pt idx="7669">
                  <c:v>0</c:v>
                </c:pt>
                <c:pt idx="7670">
                  <c:v>0</c:v>
                </c:pt>
                <c:pt idx="7671">
                  <c:v>1</c:v>
                </c:pt>
                <c:pt idx="7672">
                  <c:v>2</c:v>
                </c:pt>
                <c:pt idx="7673">
                  <c:v>14</c:v>
                </c:pt>
                <c:pt idx="7674">
                  <c:v>3</c:v>
                </c:pt>
                <c:pt idx="7675">
                  <c:v>2</c:v>
                </c:pt>
                <c:pt idx="7676">
                  <c:v>2</c:v>
                </c:pt>
                <c:pt idx="7677">
                  <c:v>0</c:v>
                </c:pt>
                <c:pt idx="7678">
                  <c:v>2</c:v>
                </c:pt>
                <c:pt idx="7679">
                  <c:v>19</c:v>
                </c:pt>
                <c:pt idx="7680">
                  <c:v>1</c:v>
                </c:pt>
                <c:pt idx="7681">
                  <c:v>2</c:v>
                </c:pt>
                <c:pt idx="7682">
                  <c:v>1</c:v>
                </c:pt>
                <c:pt idx="7683">
                  <c:v>2</c:v>
                </c:pt>
                <c:pt idx="7684">
                  <c:v>5</c:v>
                </c:pt>
                <c:pt idx="7685">
                  <c:v>0</c:v>
                </c:pt>
                <c:pt idx="7686">
                  <c:v>1</c:v>
                </c:pt>
                <c:pt idx="7687">
                  <c:v>0</c:v>
                </c:pt>
                <c:pt idx="7688">
                  <c:v>1</c:v>
                </c:pt>
                <c:pt idx="7689">
                  <c:v>4</c:v>
                </c:pt>
                <c:pt idx="7690">
                  <c:v>1</c:v>
                </c:pt>
                <c:pt idx="7691">
                  <c:v>5</c:v>
                </c:pt>
                <c:pt idx="7692">
                  <c:v>6</c:v>
                </c:pt>
                <c:pt idx="7693">
                  <c:v>1</c:v>
                </c:pt>
                <c:pt idx="7694">
                  <c:v>6</c:v>
                </c:pt>
                <c:pt idx="7695">
                  <c:v>17</c:v>
                </c:pt>
                <c:pt idx="7696">
                  <c:v>5</c:v>
                </c:pt>
                <c:pt idx="7697">
                  <c:v>0</c:v>
                </c:pt>
                <c:pt idx="7698">
                  <c:v>1</c:v>
                </c:pt>
                <c:pt idx="7699">
                  <c:v>3</c:v>
                </c:pt>
                <c:pt idx="7700">
                  <c:v>0</c:v>
                </c:pt>
                <c:pt idx="7701">
                  <c:v>0</c:v>
                </c:pt>
                <c:pt idx="7702">
                  <c:v>3</c:v>
                </c:pt>
                <c:pt idx="7703">
                  <c:v>2</c:v>
                </c:pt>
                <c:pt idx="7704">
                  <c:v>1</c:v>
                </c:pt>
                <c:pt idx="7705">
                  <c:v>3</c:v>
                </c:pt>
                <c:pt idx="7706">
                  <c:v>1</c:v>
                </c:pt>
                <c:pt idx="7707">
                  <c:v>0</c:v>
                </c:pt>
                <c:pt idx="7708">
                  <c:v>0</c:v>
                </c:pt>
                <c:pt idx="7709">
                  <c:v>0</c:v>
                </c:pt>
                <c:pt idx="7710">
                  <c:v>0</c:v>
                </c:pt>
                <c:pt idx="7711">
                  <c:v>0</c:v>
                </c:pt>
                <c:pt idx="7712">
                  <c:v>0</c:v>
                </c:pt>
                <c:pt idx="7713">
                  <c:v>0</c:v>
                </c:pt>
                <c:pt idx="7714">
                  <c:v>0</c:v>
                </c:pt>
                <c:pt idx="7715">
                  <c:v>0</c:v>
                </c:pt>
                <c:pt idx="7716">
                  <c:v>1</c:v>
                </c:pt>
                <c:pt idx="7717">
                  <c:v>0</c:v>
                </c:pt>
                <c:pt idx="7718">
                  <c:v>0</c:v>
                </c:pt>
                <c:pt idx="7719">
                  <c:v>0</c:v>
                </c:pt>
                <c:pt idx="7720">
                  <c:v>0</c:v>
                </c:pt>
                <c:pt idx="7721">
                  <c:v>0</c:v>
                </c:pt>
                <c:pt idx="7722">
                  <c:v>0</c:v>
                </c:pt>
                <c:pt idx="7723">
                  <c:v>0</c:v>
                </c:pt>
                <c:pt idx="7724">
                  <c:v>0</c:v>
                </c:pt>
                <c:pt idx="7725">
                  <c:v>0</c:v>
                </c:pt>
                <c:pt idx="7726">
                  <c:v>0</c:v>
                </c:pt>
                <c:pt idx="7727">
                  <c:v>0</c:v>
                </c:pt>
                <c:pt idx="7728">
                  <c:v>0</c:v>
                </c:pt>
                <c:pt idx="7729">
                  <c:v>0</c:v>
                </c:pt>
                <c:pt idx="7730">
                  <c:v>0</c:v>
                </c:pt>
                <c:pt idx="7731">
                  <c:v>0</c:v>
                </c:pt>
                <c:pt idx="7732">
                  <c:v>0</c:v>
                </c:pt>
                <c:pt idx="7733">
                  <c:v>0</c:v>
                </c:pt>
                <c:pt idx="7734">
                  <c:v>1</c:v>
                </c:pt>
                <c:pt idx="7735">
                  <c:v>1</c:v>
                </c:pt>
                <c:pt idx="7736">
                  <c:v>0</c:v>
                </c:pt>
                <c:pt idx="7737">
                  <c:v>0</c:v>
                </c:pt>
                <c:pt idx="7738">
                  <c:v>0</c:v>
                </c:pt>
                <c:pt idx="7739">
                  <c:v>0</c:v>
                </c:pt>
                <c:pt idx="7740">
                  <c:v>0</c:v>
                </c:pt>
                <c:pt idx="7741">
                  <c:v>0</c:v>
                </c:pt>
                <c:pt idx="7742">
                  <c:v>3</c:v>
                </c:pt>
                <c:pt idx="7743">
                  <c:v>0</c:v>
                </c:pt>
                <c:pt idx="7744">
                  <c:v>2</c:v>
                </c:pt>
                <c:pt idx="7745">
                  <c:v>0</c:v>
                </c:pt>
                <c:pt idx="7746">
                  <c:v>0</c:v>
                </c:pt>
                <c:pt idx="7747">
                  <c:v>0</c:v>
                </c:pt>
                <c:pt idx="7748">
                  <c:v>0</c:v>
                </c:pt>
                <c:pt idx="7749">
                  <c:v>0</c:v>
                </c:pt>
                <c:pt idx="7750">
                  <c:v>0</c:v>
                </c:pt>
                <c:pt idx="7751">
                  <c:v>0</c:v>
                </c:pt>
                <c:pt idx="7752">
                  <c:v>0</c:v>
                </c:pt>
                <c:pt idx="7753">
                  <c:v>0</c:v>
                </c:pt>
                <c:pt idx="7754">
                  <c:v>0</c:v>
                </c:pt>
                <c:pt idx="7755">
                  <c:v>1</c:v>
                </c:pt>
                <c:pt idx="7756">
                  <c:v>1</c:v>
                </c:pt>
                <c:pt idx="7757">
                  <c:v>0</c:v>
                </c:pt>
                <c:pt idx="7758">
                  <c:v>0</c:v>
                </c:pt>
                <c:pt idx="7759">
                  <c:v>0</c:v>
                </c:pt>
                <c:pt idx="7760">
                  <c:v>0</c:v>
                </c:pt>
                <c:pt idx="7761">
                  <c:v>0</c:v>
                </c:pt>
                <c:pt idx="7762">
                  <c:v>0</c:v>
                </c:pt>
                <c:pt idx="7763">
                  <c:v>0</c:v>
                </c:pt>
                <c:pt idx="7764">
                  <c:v>0</c:v>
                </c:pt>
                <c:pt idx="7765">
                  <c:v>7</c:v>
                </c:pt>
                <c:pt idx="7766">
                  <c:v>4</c:v>
                </c:pt>
                <c:pt idx="7767">
                  <c:v>1</c:v>
                </c:pt>
                <c:pt idx="7768">
                  <c:v>2</c:v>
                </c:pt>
                <c:pt idx="7769">
                  <c:v>2</c:v>
                </c:pt>
                <c:pt idx="7770">
                  <c:v>0</c:v>
                </c:pt>
                <c:pt idx="7771">
                  <c:v>0</c:v>
                </c:pt>
                <c:pt idx="7772">
                  <c:v>0</c:v>
                </c:pt>
                <c:pt idx="7773">
                  <c:v>0</c:v>
                </c:pt>
                <c:pt idx="7774">
                  <c:v>0</c:v>
                </c:pt>
                <c:pt idx="7775">
                  <c:v>0</c:v>
                </c:pt>
                <c:pt idx="7776">
                  <c:v>0</c:v>
                </c:pt>
                <c:pt idx="7777">
                  <c:v>0</c:v>
                </c:pt>
                <c:pt idx="7778">
                  <c:v>0</c:v>
                </c:pt>
                <c:pt idx="7779">
                  <c:v>0</c:v>
                </c:pt>
                <c:pt idx="7780">
                  <c:v>0</c:v>
                </c:pt>
                <c:pt idx="7781">
                  <c:v>0</c:v>
                </c:pt>
                <c:pt idx="7782">
                  <c:v>0</c:v>
                </c:pt>
                <c:pt idx="7783">
                  <c:v>0</c:v>
                </c:pt>
                <c:pt idx="7784">
                  <c:v>0</c:v>
                </c:pt>
                <c:pt idx="7785">
                  <c:v>0</c:v>
                </c:pt>
                <c:pt idx="7786">
                  <c:v>0</c:v>
                </c:pt>
                <c:pt idx="7787">
                  <c:v>1</c:v>
                </c:pt>
                <c:pt idx="7788">
                  <c:v>0</c:v>
                </c:pt>
                <c:pt idx="7789">
                  <c:v>0</c:v>
                </c:pt>
                <c:pt idx="7790">
                  <c:v>0</c:v>
                </c:pt>
                <c:pt idx="7791">
                  <c:v>0</c:v>
                </c:pt>
                <c:pt idx="7792">
                  <c:v>0</c:v>
                </c:pt>
                <c:pt idx="7793">
                  <c:v>0</c:v>
                </c:pt>
                <c:pt idx="7794">
                  <c:v>2</c:v>
                </c:pt>
                <c:pt idx="7795">
                  <c:v>0</c:v>
                </c:pt>
                <c:pt idx="7796">
                  <c:v>0</c:v>
                </c:pt>
                <c:pt idx="7797">
                  <c:v>0</c:v>
                </c:pt>
                <c:pt idx="7798">
                  <c:v>0</c:v>
                </c:pt>
                <c:pt idx="7799">
                  <c:v>0</c:v>
                </c:pt>
                <c:pt idx="7800">
                  <c:v>0</c:v>
                </c:pt>
                <c:pt idx="7801">
                  <c:v>0</c:v>
                </c:pt>
                <c:pt idx="7802">
                  <c:v>0</c:v>
                </c:pt>
                <c:pt idx="7803">
                  <c:v>1</c:v>
                </c:pt>
                <c:pt idx="7804">
                  <c:v>0</c:v>
                </c:pt>
                <c:pt idx="7805">
                  <c:v>0</c:v>
                </c:pt>
                <c:pt idx="7806">
                  <c:v>0</c:v>
                </c:pt>
                <c:pt idx="7807">
                  <c:v>0</c:v>
                </c:pt>
                <c:pt idx="7808">
                  <c:v>0</c:v>
                </c:pt>
                <c:pt idx="7809">
                  <c:v>0</c:v>
                </c:pt>
                <c:pt idx="7810">
                  <c:v>0</c:v>
                </c:pt>
                <c:pt idx="7811">
                  <c:v>1</c:v>
                </c:pt>
                <c:pt idx="7812">
                  <c:v>0</c:v>
                </c:pt>
                <c:pt idx="7813">
                  <c:v>0</c:v>
                </c:pt>
                <c:pt idx="7814">
                  <c:v>0</c:v>
                </c:pt>
                <c:pt idx="7815">
                  <c:v>0</c:v>
                </c:pt>
                <c:pt idx="7816">
                  <c:v>0</c:v>
                </c:pt>
                <c:pt idx="7817">
                  <c:v>1</c:v>
                </c:pt>
                <c:pt idx="7818">
                  <c:v>0</c:v>
                </c:pt>
                <c:pt idx="7819">
                  <c:v>0</c:v>
                </c:pt>
                <c:pt idx="7820">
                  <c:v>0</c:v>
                </c:pt>
                <c:pt idx="7821">
                  <c:v>0</c:v>
                </c:pt>
                <c:pt idx="7822">
                  <c:v>0</c:v>
                </c:pt>
                <c:pt idx="7823">
                  <c:v>0</c:v>
                </c:pt>
                <c:pt idx="7824">
                  <c:v>0</c:v>
                </c:pt>
                <c:pt idx="7825">
                  <c:v>0</c:v>
                </c:pt>
                <c:pt idx="7826">
                  <c:v>0</c:v>
                </c:pt>
                <c:pt idx="7827">
                  <c:v>0</c:v>
                </c:pt>
                <c:pt idx="7828">
                  <c:v>0</c:v>
                </c:pt>
                <c:pt idx="7829">
                  <c:v>0</c:v>
                </c:pt>
                <c:pt idx="7830">
                  <c:v>0</c:v>
                </c:pt>
                <c:pt idx="7831">
                  <c:v>0</c:v>
                </c:pt>
                <c:pt idx="7832">
                  <c:v>0</c:v>
                </c:pt>
                <c:pt idx="7833">
                  <c:v>0</c:v>
                </c:pt>
                <c:pt idx="7834">
                  <c:v>0</c:v>
                </c:pt>
                <c:pt idx="7835">
                  <c:v>0</c:v>
                </c:pt>
                <c:pt idx="7836">
                  <c:v>0</c:v>
                </c:pt>
                <c:pt idx="7837">
                  <c:v>0</c:v>
                </c:pt>
                <c:pt idx="7838">
                  <c:v>0</c:v>
                </c:pt>
                <c:pt idx="7839">
                  <c:v>1</c:v>
                </c:pt>
                <c:pt idx="7840">
                  <c:v>0</c:v>
                </c:pt>
                <c:pt idx="7841">
                  <c:v>3</c:v>
                </c:pt>
                <c:pt idx="7842">
                  <c:v>0</c:v>
                </c:pt>
                <c:pt idx="7843">
                  <c:v>0</c:v>
                </c:pt>
                <c:pt idx="7844">
                  <c:v>0</c:v>
                </c:pt>
                <c:pt idx="7845">
                  <c:v>0</c:v>
                </c:pt>
                <c:pt idx="7846">
                  <c:v>0</c:v>
                </c:pt>
                <c:pt idx="7847">
                  <c:v>0</c:v>
                </c:pt>
                <c:pt idx="7848">
                  <c:v>5</c:v>
                </c:pt>
                <c:pt idx="7849">
                  <c:v>2</c:v>
                </c:pt>
                <c:pt idx="7850">
                  <c:v>0</c:v>
                </c:pt>
                <c:pt idx="7851">
                  <c:v>0</c:v>
                </c:pt>
                <c:pt idx="7852">
                  <c:v>0</c:v>
                </c:pt>
                <c:pt idx="7853">
                  <c:v>0</c:v>
                </c:pt>
                <c:pt idx="7854">
                  <c:v>0</c:v>
                </c:pt>
                <c:pt idx="7855">
                  <c:v>0</c:v>
                </c:pt>
                <c:pt idx="7856">
                  <c:v>0</c:v>
                </c:pt>
                <c:pt idx="7857">
                  <c:v>0</c:v>
                </c:pt>
                <c:pt idx="7858">
                  <c:v>0</c:v>
                </c:pt>
                <c:pt idx="7859">
                  <c:v>0</c:v>
                </c:pt>
                <c:pt idx="7860">
                  <c:v>0</c:v>
                </c:pt>
                <c:pt idx="7861">
                  <c:v>0</c:v>
                </c:pt>
                <c:pt idx="7862">
                  <c:v>0</c:v>
                </c:pt>
                <c:pt idx="7863">
                  <c:v>1</c:v>
                </c:pt>
                <c:pt idx="7864">
                  <c:v>0</c:v>
                </c:pt>
                <c:pt idx="7865">
                  <c:v>1</c:v>
                </c:pt>
                <c:pt idx="7866">
                  <c:v>1</c:v>
                </c:pt>
                <c:pt idx="7867">
                  <c:v>0</c:v>
                </c:pt>
                <c:pt idx="7868">
                  <c:v>0</c:v>
                </c:pt>
                <c:pt idx="7869">
                  <c:v>0</c:v>
                </c:pt>
                <c:pt idx="7870">
                  <c:v>2</c:v>
                </c:pt>
                <c:pt idx="7871">
                  <c:v>0</c:v>
                </c:pt>
                <c:pt idx="7872">
                  <c:v>0</c:v>
                </c:pt>
                <c:pt idx="7873">
                  <c:v>0</c:v>
                </c:pt>
                <c:pt idx="7874">
                  <c:v>0</c:v>
                </c:pt>
                <c:pt idx="7875">
                  <c:v>0</c:v>
                </c:pt>
                <c:pt idx="7876">
                  <c:v>0</c:v>
                </c:pt>
                <c:pt idx="7877">
                  <c:v>0</c:v>
                </c:pt>
                <c:pt idx="7878">
                  <c:v>0</c:v>
                </c:pt>
                <c:pt idx="7879">
                  <c:v>0</c:v>
                </c:pt>
                <c:pt idx="7880">
                  <c:v>0</c:v>
                </c:pt>
                <c:pt idx="7881">
                  <c:v>0</c:v>
                </c:pt>
                <c:pt idx="7882">
                  <c:v>0</c:v>
                </c:pt>
                <c:pt idx="7883">
                  <c:v>3</c:v>
                </c:pt>
                <c:pt idx="7884">
                  <c:v>0</c:v>
                </c:pt>
                <c:pt idx="7885">
                  <c:v>0</c:v>
                </c:pt>
                <c:pt idx="7886">
                  <c:v>0</c:v>
                </c:pt>
                <c:pt idx="7887">
                  <c:v>0</c:v>
                </c:pt>
                <c:pt idx="7888">
                  <c:v>0</c:v>
                </c:pt>
                <c:pt idx="7889">
                  <c:v>0</c:v>
                </c:pt>
                <c:pt idx="7890">
                  <c:v>0</c:v>
                </c:pt>
                <c:pt idx="7891">
                  <c:v>0</c:v>
                </c:pt>
                <c:pt idx="7892">
                  <c:v>0</c:v>
                </c:pt>
                <c:pt idx="7893">
                  <c:v>0</c:v>
                </c:pt>
                <c:pt idx="7894">
                  <c:v>0</c:v>
                </c:pt>
                <c:pt idx="7895">
                  <c:v>0</c:v>
                </c:pt>
                <c:pt idx="7896">
                  <c:v>0</c:v>
                </c:pt>
                <c:pt idx="7897">
                  <c:v>2</c:v>
                </c:pt>
                <c:pt idx="7898">
                  <c:v>0</c:v>
                </c:pt>
                <c:pt idx="7899">
                  <c:v>0</c:v>
                </c:pt>
                <c:pt idx="7900">
                  <c:v>0</c:v>
                </c:pt>
                <c:pt idx="7901">
                  <c:v>0</c:v>
                </c:pt>
                <c:pt idx="7902">
                  <c:v>0</c:v>
                </c:pt>
                <c:pt idx="7903">
                  <c:v>2</c:v>
                </c:pt>
                <c:pt idx="7904">
                  <c:v>0</c:v>
                </c:pt>
                <c:pt idx="7905">
                  <c:v>0</c:v>
                </c:pt>
                <c:pt idx="7906">
                  <c:v>0</c:v>
                </c:pt>
                <c:pt idx="7907">
                  <c:v>0</c:v>
                </c:pt>
                <c:pt idx="7908">
                  <c:v>0</c:v>
                </c:pt>
                <c:pt idx="7909">
                  <c:v>0</c:v>
                </c:pt>
                <c:pt idx="7910">
                  <c:v>0</c:v>
                </c:pt>
                <c:pt idx="7911">
                  <c:v>0</c:v>
                </c:pt>
                <c:pt idx="7912">
                  <c:v>0</c:v>
                </c:pt>
                <c:pt idx="7913">
                  <c:v>0</c:v>
                </c:pt>
                <c:pt idx="7914">
                  <c:v>0</c:v>
                </c:pt>
                <c:pt idx="7915">
                  <c:v>0</c:v>
                </c:pt>
                <c:pt idx="7916">
                  <c:v>1</c:v>
                </c:pt>
                <c:pt idx="7917">
                  <c:v>0</c:v>
                </c:pt>
                <c:pt idx="7918">
                  <c:v>0</c:v>
                </c:pt>
                <c:pt idx="7919">
                  <c:v>0</c:v>
                </c:pt>
                <c:pt idx="7920">
                  <c:v>0</c:v>
                </c:pt>
                <c:pt idx="7921">
                  <c:v>0</c:v>
                </c:pt>
                <c:pt idx="7922">
                  <c:v>0</c:v>
                </c:pt>
                <c:pt idx="7923">
                  <c:v>0</c:v>
                </c:pt>
                <c:pt idx="7924">
                  <c:v>0</c:v>
                </c:pt>
                <c:pt idx="7925">
                  <c:v>0</c:v>
                </c:pt>
                <c:pt idx="7926">
                  <c:v>0</c:v>
                </c:pt>
                <c:pt idx="7927">
                  <c:v>0</c:v>
                </c:pt>
                <c:pt idx="7928">
                  <c:v>2</c:v>
                </c:pt>
                <c:pt idx="7929">
                  <c:v>2</c:v>
                </c:pt>
                <c:pt idx="7930">
                  <c:v>0</c:v>
                </c:pt>
                <c:pt idx="7931">
                  <c:v>0</c:v>
                </c:pt>
                <c:pt idx="7932">
                  <c:v>0</c:v>
                </c:pt>
                <c:pt idx="7933">
                  <c:v>5</c:v>
                </c:pt>
                <c:pt idx="7934">
                  <c:v>0</c:v>
                </c:pt>
                <c:pt idx="7935">
                  <c:v>0</c:v>
                </c:pt>
                <c:pt idx="7936">
                  <c:v>0</c:v>
                </c:pt>
                <c:pt idx="7937">
                  <c:v>2</c:v>
                </c:pt>
                <c:pt idx="7938">
                  <c:v>2</c:v>
                </c:pt>
                <c:pt idx="7939">
                  <c:v>0</c:v>
                </c:pt>
                <c:pt idx="7940">
                  <c:v>1</c:v>
                </c:pt>
                <c:pt idx="7941">
                  <c:v>1</c:v>
                </c:pt>
                <c:pt idx="7942">
                  <c:v>0</c:v>
                </c:pt>
                <c:pt idx="7943">
                  <c:v>0</c:v>
                </c:pt>
                <c:pt idx="7944">
                  <c:v>0</c:v>
                </c:pt>
                <c:pt idx="7945">
                  <c:v>0</c:v>
                </c:pt>
                <c:pt idx="7946">
                  <c:v>0</c:v>
                </c:pt>
                <c:pt idx="7947">
                  <c:v>0</c:v>
                </c:pt>
                <c:pt idx="7948">
                  <c:v>4</c:v>
                </c:pt>
                <c:pt idx="7949">
                  <c:v>0</c:v>
                </c:pt>
                <c:pt idx="7950">
                  <c:v>0</c:v>
                </c:pt>
                <c:pt idx="7951">
                  <c:v>0</c:v>
                </c:pt>
                <c:pt idx="7952">
                  <c:v>1</c:v>
                </c:pt>
                <c:pt idx="7953">
                  <c:v>1</c:v>
                </c:pt>
                <c:pt idx="7954">
                  <c:v>1</c:v>
                </c:pt>
                <c:pt idx="7955">
                  <c:v>0</c:v>
                </c:pt>
                <c:pt idx="7956">
                  <c:v>0</c:v>
                </c:pt>
                <c:pt idx="7957">
                  <c:v>0</c:v>
                </c:pt>
                <c:pt idx="7958">
                  <c:v>0</c:v>
                </c:pt>
                <c:pt idx="7959">
                  <c:v>0</c:v>
                </c:pt>
                <c:pt idx="7960">
                  <c:v>0</c:v>
                </c:pt>
                <c:pt idx="7961">
                  <c:v>0</c:v>
                </c:pt>
                <c:pt idx="7962">
                  <c:v>0</c:v>
                </c:pt>
                <c:pt idx="7963">
                  <c:v>0</c:v>
                </c:pt>
                <c:pt idx="7964">
                  <c:v>0</c:v>
                </c:pt>
                <c:pt idx="7965">
                  <c:v>0</c:v>
                </c:pt>
                <c:pt idx="7966">
                  <c:v>2</c:v>
                </c:pt>
                <c:pt idx="7967">
                  <c:v>1</c:v>
                </c:pt>
                <c:pt idx="7968">
                  <c:v>1</c:v>
                </c:pt>
                <c:pt idx="7969">
                  <c:v>1</c:v>
                </c:pt>
                <c:pt idx="7970">
                  <c:v>1</c:v>
                </c:pt>
                <c:pt idx="7971">
                  <c:v>0</c:v>
                </c:pt>
                <c:pt idx="7972">
                  <c:v>0</c:v>
                </c:pt>
                <c:pt idx="7973">
                  <c:v>0</c:v>
                </c:pt>
                <c:pt idx="7974">
                  <c:v>0</c:v>
                </c:pt>
                <c:pt idx="7975">
                  <c:v>2</c:v>
                </c:pt>
                <c:pt idx="7976">
                  <c:v>0</c:v>
                </c:pt>
                <c:pt idx="7977">
                  <c:v>0</c:v>
                </c:pt>
                <c:pt idx="7978">
                  <c:v>0</c:v>
                </c:pt>
                <c:pt idx="7979">
                  <c:v>0</c:v>
                </c:pt>
                <c:pt idx="7980">
                  <c:v>0</c:v>
                </c:pt>
                <c:pt idx="7981">
                  <c:v>1</c:v>
                </c:pt>
                <c:pt idx="7982">
                  <c:v>1</c:v>
                </c:pt>
                <c:pt idx="7983">
                  <c:v>4</c:v>
                </c:pt>
                <c:pt idx="7984">
                  <c:v>0</c:v>
                </c:pt>
                <c:pt idx="7985">
                  <c:v>0</c:v>
                </c:pt>
                <c:pt idx="7986">
                  <c:v>0</c:v>
                </c:pt>
                <c:pt idx="7987">
                  <c:v>0</c:v>
                </c:pt>
                <c:pt idx="7988">
                  <c:v>3</c:v>
                </c:pt>
                <c:pt idx="7989">
                  <c:v>1</c:v>
                </c:pt>
                <c:pt idx="7990">
                  <c:v>0</c:v>
                </c:pt>
                <c:pt idx="7991">
                  <c:v>0</c:v>
                </c:pt>
                <c:pt idx="7992">
                  <c:v>0</c:v>
                </c:pt>
                <c:pt idx="7993">
                  <c:v>0</c:v>
                </c:pt>
                <c:pt idx="7994">
                  <c:v>2</c:v>
                </c:pt>
                <c:pt idx="7995">
                  <c:v>2</c:v>
                </c:pt>
                <c:pt idx="7996">
                  <c:v>5</c:v>
                </c:pt>
                <c:pt idx="7997">
                  <c:v>1</c:v>
                </c:pt>
                <c:pt idx="7998">
                  <c:v>1</c:v>
                </c:pt>
                <c:pt idx="7999">
                  <c:v>7</c:v>
                </c:pt>
                <c:pt idx="8000">
                  <c:v>0</c:v>
                </c:pt>
                <c:pt idx="8001">
                  <c:v>1</c:v>
                </c:pt>
                <c:pt idx="8002">
                  <c:v>0</c:v>
                </c:pt>
                <c:pt idx="8003">
                  <c:v>2</c:v>
                </c:pt>
                <c:pt idx="8004">
                  <c:v>0</c:v>
                </c:pt>
                <c:pt idx="8005">
                  <c:v>0</c:v>
                </c:pt>
                <c:pt idx="8006">
                  <c:v>0</c:v>
                </c:pt>
                <c:pt idx="8007">
                  <c:v>1</c:v>
                </c:pt>
                <c:pt idx="8008">
                  <c:v>0</c:v>
                </c:pt>
                <c:pt idx="8009">
                  <c:v>0</c:v>
                </c:pt>
                <c:pt idx="8010">
                  <c:v>0</c:v>
                </c:pt>
                <c:pt idx="8011">
                  <c:v>0</c:v>
                </c:pt>
                <c:pt idx="8012">
                  <c:v>3</c:v>
                </c:pt>
                <c:pt idx="8013">
                  <c:v>0</c:v>
                </c:pt>
                <c:pt idx="8014">
                  <c:v>1</c:v>
                </c:pt>
                <c:pt idx="8015">
                  <c:v>0</c:v>
                </c:pt>
                <c:pt idx="8016">
                  <c:v>0</c:v>
                </c:pt>
                <c:pt idx="8017">
                  <c:v>0</c:v>
                </c:pt>
                <c:pt idx="8018">
                  <c:v>0</c:v>
                </c:pt>
                <c:pt idx="8019">
                  <c:v>0</c:v>
                </c:pt>
                <c:pt idx="8020">
                  <c:v>0</c:v>
                </c:pt>
                <c:pt idx="8021">
                  <c:v>0</c:v>
                </c:pt>
                <c:pt idx="8022">
                  <c:v>0</c:v>
                </c:pt>
                <c:pt idx="8023">
                  <c:v>0</c:v>
                </c:pt>
                <c:pt idx="8024">
                  <c:v>0</c:v>
                </c:pt>
                <c:pt idx="8025">
                  <c:v>0</c:v>
                </c:pt>
                <c:pt idx="8026">
                  <c:v>0</c:v>
                </c:pt>
                <c:pt idx="8027">
                  <c:v>0</c:v>
                </c:pt>
                <c:pt idx="8028">
                  <c:v>0</c:v>
                </c:pt>
                <c:pt idx="8029">
                  <c:v>0</c:v>
                </c:pt>
                <c:pt idx="8030">
                  <c:v>0</c:v>
                </c:pt>
                <c:pt idx="8031">
                  <c:v>0</c:v>
                </c:pt>
                <c:pt idx="8032">
                  <c:v>0</c:v>
                </c:pt>
                <c:pt idx="8033">
                  <c:v>0</c:v>
                </c:pt>
                <c:pt idx="8034">
                  <c:v>0</c:v>
                </c:pt>
                <c:pt idx="8035">
                  <c:v>0</c:v>
                </c:pt>
                <c:pt idx="8036">
                  <c:v>0</c:v>
                </c:pt>
                <c:pt idx="8037">
                  <c:v>1</c:v>
                </c:pt>
                <c:pt idx="8038">
                  <c:v>0</c:v>
                </c:pt>
                <c:pt idx="8039">
                  <c:v>0</c:v>
                </c:pt>
                <c:pt idx="8040">
                  <c:v>0</c:v>
                </c:pt>
                <c:pt idx="8041">
                  <c:v>1</c:v>
                </c:pt>
                <c:pt idx="8042">
                  <c:v>3</c:v>
                </c:pt>
                <c:pt idx="8043">
                  <c:v>1</c:v>
                </c:pt>
                <c:pt idx="8044">
                  <c:v>0</c:v>
                </c:pt>
                <c:pt idx="8045">
                  <c:v>0</c:v>
                </c:pt>
                <c:pt idx="8046">
                  <c:v>1</c:v>
                </c:pt>
                <c:pt idx="8047">
                  <c:v>0</c:v>
                </c:pt>
                <c:pt idx="8048">
                  <c:v>0</c:v>
                </c:pt>
                <c:pt idx="8049">
                  <c:v>0</c:v>
                </c:pt>
                <c:pt idx="8050">
                  <c:v>0</c:v>
                </c:pt>
                <c:pt idx="8051">
                  <c:v>0</c:v>
                </c:pt>
                <c:pt idx="8052">
                  <c:v>0</c:v>
                </c:pt>
                <c:pt idx="8053">
                  <c:v>0</c:v>
                </c:pt>
                <c:pt idx="8054">
                  <c:v>0</c:v>
                </c:pt>
                <c:pt idx="8055">
                  <c:v>2</c:v>
                </c:pt>
                <c:pt idx="8056">
                  <c:v>0</c:v>
                </c:pt>
                <c:pt idx="8057">
                  <c:v>0</c:v>
                </c:pt>
                <c:pt idx="8058">
                  <c:v>0</c:v>
                </c:pt>
                <c:pt idx="8059">
                  <c:v>0</c:v>
                </c:pt>
                <c:pt idx="8060">
                  <c:v>1</c:v>
                </c:pt>
                <c:pt idx="8061">
                  <c:v>1</c:v>
                </c:pt>
                <c:pt idx="8062">
                  <c:v>0</c:v>
                </c:pt>
                <c:pt idx="8063">
                  <c:v>0</c:v>
                </c:pt>
                <c:pt idx="8064">
                  <c:v>0</c:v>
                </c:pt>
                <c:pt idx="8065">
                  <c:v>0</c:v>
                </c:pt>
                <c:pt idx="8066">
                  <c:v>0</c:v>
                </c:pt>
                <c:pt idx="8067">
                  <c:v>0</c:v>
                </c:pt>
                <c:pt idx="8068">
                  <c:v>0</c:v>
                </c:pt>
                <c:pt idx="8069">
                  <c:v>0</c:v>
                </c:pt>
                <c:pt idx="8070">
                  <c:v>0</c:v>
                </c:pt>
                <c:pt idx="8071">
                  <c:v>0</c:v>
                </c:pt>
                <c:pt idx="8072">
                  <c:v>0</c:v>
                </c:pt>
                <c:pt idx="8073">
                  <c:v>1</c:v>
                </c:pt>
                <c:pt idx="8074">
                  <c:v>0</c:v>
                </c:pt>
                <c:pt idx="8075">
                  <c:v>0</c:v>
                </c:pt>
                <c:pt idx="8076">
                  <c:v>0</c:v>
                </c:pt>
                <c:pt idx="8077">
                  <c:v>0</c:v>
                </c:pt>
                <c:pt idx="8078">
                  <c:v>1</c:v>
                </c:pt>
                <c:pt idx="8079">
                  <c:v>0</c:v>
                </c:pt>
                <c:pt idx="8080">
                  <c:v>0</c:v>
                </c:pt>
                <c:pt idx="8081">
                  <c:v>0</c:v>
                </c:pt>
                <c:pt idx="8082">
                  <c:v>0</c:v>
                </c:pt>
                <c:pt idx="8083">
                  <c:v>0</c:v>
                </c:pt>
                <c:pt idx="8084">
                  <c:v>0</c:v>
                </c:pt>
                <c:pt idx="8085">
                  <c:v>0</c:v>
                </c:pt>
                <c:pt idx="8086">
                  <c:v>0</c:v>
                </c:pt>
                <c:pt idx="8087">
                  <c:v>2</c:v>
                </c:pt>
                <c:pt idx="8088">
                  <c:v>0</c:v>
                </c:pt>
                <c:pt idx="8089">
                  <c:v>0</c:v>
                </c:pt>
                <c:pt idx="8090">
                  <c:v>0</c:v>
                </c:pt>
                <c:pt idx="8091">
                  <c:v>0</c:v>
                </c:pt>
                <c:pt idx="8092">
                  <c:v>0</c:v>
                </c:pt>
                <c:pt idx="8093">
                  <c:v>7</c:v>
                </c:pt>
                <c:pt idx="8094">
                  <c:v>0</c:v>
                </c:pt>
                <c:pt idx="8095">
                  <c:v>0</c:v>
                </c:pt>
                <c:pt idx="8096">
                  <c:v>2</c:v>
                </c:pt>
                <c:pt idx="8097">
                  <c:v>1</c:v>
                </c:pt>
                <c:pt idx="8098">
                  <c:v>1</c:v>
                </c:pt>
                <c:pt idx="8099">
                  <c:v>0</c:v>
                </c:pt>
                <c:pt idx="8100">
                  <c:v>6</c:v>
                </c:pt>
                <c:pt idx="8101">
                  <c:v>1</c:v>
                </c:pt>
                <c:pt idx="8102">
                  <c:v>3</c:v>
                </c:pt>
                <c:pt idx="8103">
                  <c:v>3</c:v>
                </c:pt>
                <c:pt idx="8104">
                  <c:v>0</c:v>
                </c:pt>
                <c:pt idx="8105">
                  <c:v>5</c:v>
                </c:pt>
                <c:pt idx="8106">
                  <c:v>0</c:v>
                </c:pt>
                <c:pt idx="8107">
                  <c:v>0</c:v>
                </c:pt>
                <c:pt idx="8108">
                  <c:v>4</c:v>
                </c:pt>
                <c:pt idx="8109">
                  <c:v>0</c:v>
                </c:pt>
                <c:pt idx="8110">
                  <c:v>0</c:v>
                </c:pt>
                <c:pt idx="8111">
                  <c:v>0</c:v>
                </c:pt>
                <c:pt idx="8112">
                  <c:v>0</c:v>
                </c:pt>
                <c:pt idx="8113">
                  <c:v>0</c:v>
                </c:pt>
                <c:pt idx="8114">
                  <c:v>0</c:v>
                </c:pt>
                <c:pt idx="8115">
                  <c:v>0</c:v>
                </c:pt>
                <c:pt idx="8116">
                  <c:v>1</c:v>
                </c:pt>
                <c:pt idx="8117">
                  <c:v>0</c:v>
                </c:pt>
                <c:pt idx="8118">
                  <c:v>0</c:v>
                </c:pt>
                <c:pt idx="8119">
                  <c:v>1</c:v>
                </c:pt>
                <c:pt idx="8120">
                  <c:v>0</c:v>
                </c:pt>
                <c:pt idx="8121">
                  <c:v>1</c:v>
                </c:pt>
                <c:pt idx="8122">
                  <c:v>0</c:v>
                </c:pt>
                <c:pt idx="8123">
                  <c:v>0</c:v>
                </c:pt>
                <c:pt idx="8124">
                  <c:v>0</c:v>
                </c:pt>
                <c:pt idx="8125">
                  <c:v>0</c:v>
                </c:pt>
                <c:pt idx="8126">
                  <c:v>1</c:v>
                </c:pt>
                <c:pt idx="8127">
                  <c:v>0</c:v>
                </c:pt>
                <c:pt idx="8128">
                  <c:v>0</c:v>
                </c:pt>
                <c:pt idx="8129">
                  <c:v>0</c:v>
                </c:pt>
                <c:pt idx="8130">
                  <c:v>0</c:v>
                </c:pt>
                <c:pt idx="8131">
                  <c:v>0</c:v>
                </c:pt>
                <c:pt idx="8132">
                  <c:v>0</c:v>
                </c:pt>
                <c:pt idx="8133">
                  <c:v>0</c:v>
                </c:pt>
                <c:pt idx="8134">
                  <c:v>0</c:v>
                </c:pt>
                <c:pt idx="8135">
                  <c:v>0</c:v>
                </c:pt>
                <c:pt idx="8136">
                  <c:v>0</c:v>
                </c:pt>
                <c:pt idx="8137">
                  <c:v>0</c:v>
                </c:pt>
                <c:pt idx="8138">
                  <c:v>5</c:v>
                </c:pt>
                <c:pt idx="8139">
                  <c:v>3</c:v>
                </c:pt>
                <c:pt idx="8140">
                  <c:v>0</c:v>
                </c:pt>
                <c:pt idx="8141">
                  <c:v>2</c:v>
                </c:pt>
                <c:pt idx="8142">
                  <c:v>6</c:v>
                </c:pt>
                <c:pt idx="8143">
                  <c:v>0</c:v>
                </c:pt>
                <c:pt idx="8144">
                  <c:v>2</c:v>
                </c:pt>
                <c:pt idx="8145">
                  <c:v>2</c:v>
                </c:pt>
                <c:pt idx="8146">
                  <c:v>0</c:v>
                </c:pt>
                <c:pt idx="8147">
                  <c:v>0</c:v>
                </c:pt>
                <c:pt idx="8148">
                  <c:v>0</c:v>
                </c:pt>
                <c:pt idx="8149">
                  <c:v>0</c:v>
                </c:pt>
                <c:pt idx="8150">
                  <c:v>0</c:v>
                </c:pt>
                <c:pt idx="8151">
                  <c:v>0</c:v>
                </c:pt>
                <c:pt idx="8152">
                  <c:v>0</c:v>
                </c:pt>
                <c:pt idx="8153">
                  <c:v>0</c:v>
                </c:pt>
                <c:pt idx="8154">
                  <c:v>0</c:v>
                </c:pt>
                <c:pt idx="8155">
                  <c:v>0</c:v>
                </c:pt>
                <c:pt idx="8156">
                  <c:v>0</c:v>
                </c:pt>
                <c:pt idx="8157">
                  <c:v>1</c:v>
                </c:pt>
                <c:pt idx="8158">
                  <c:v>1</c:v>
                </c:pt>
                <c:pt idx="8159">
                  <c:v>0</c:v>
                </c:pt>
                <c:pt idx="8160">
                  <c:v>0</c:v>
                </c:pt>
                <c:pt idx="8161">
                  <c:v>0</c:v>
                </c:pt>
                <c:pt idx="8162">
                  <c:v>0</c:v>
                </c:pt>
                <c:pt idx="8163">
                  <c:v>0</c:v>
                </c:pt>
                <c:pt idx="8164">
                  <c:v>0</c:v>
                </c:pt>
                <c:pt idx="8165">
                  <c:v>0</c:v>
                </c:pt>
                <c:pt idx="8166">
                  <c:v>0</c:v>
                </c:pt>
                <c:pt idx="8167">
                  <c:v>0</c:v>
                </c:pt>
                <c:pt idx="8168">
                  <c:v>0</c:v>
                </c:pt>
                <c:pt idx="8169">
                  <c:v>1</c:v>
                </c:pt>
                <c:pt idx="8170">
                  <c:v>6</c:v>
                </c:pt>
                <c:pt idx="8171">
                  <c:v>5</c:v>
                </c:pt>
                <c:pt idx="8172">
                  <c:v>0</c:v>
                </c:pt>
                <c:pt idx="8173">
                  <c:v>0</c:v>
                </c:pt>
                <c:pt idx="8174">
                  <c:v>0</c:v>
                </c:pt>
                <c:pt idx="8175">
                  <c:v>0</c:v>
                </c:pt>
                <c:pt idx="8176">
                  <c:v>0</c:v>
                </c:pt>
                <c:pt idx="8177">
                  <c:v>0</c:v>
                </c:pt>
                <c:pt idx="8178">
                  <c:v>0</c:v>
                </c:pt>
                <c:pt idx="8179">
                  <c:v>0</c:v>
                </c:pt>
                <c:pt idx="8180">
                  <c:v>0</c:v>
                </c:pt>
                <c:pt idx="8181">
                  <c:v>0</c:v>
                </c:pt>
                <c:pt idx="8182">
                  <c:v>1</c:v>
                </c:pt>
                <c:pt idx="8183">
                  <c:v>2</c:v>
                </c:pt>
                <c:pt idx="8184">
                  <c:v>1</c:v>
                </c:pt>
                <c:pt idx="8185">
                  <c:v>0</c:v>
                </c:pt>
                <c:pt idx="8186">
                  <c:v>1</c:v>
                </c:pt>
                <c:pt idx="8187">
                  <c:v>4</c:v>
                </c:pt>
                <c:pt idx="8188">
                  <c:v>0</c:v>
                </c:pt>
                <c:pt idx="8189">
                  <c:v>5</c:v>
                </c:pt>
                <c:pt idx="8190">
                  <c:v>0</c:v>
                </c:pt>
                <c:pt idx="8191">
                  <c:v>0</c:v>
                </c:pt>
                <c:pt idx="8192">
                  <c:v>0</c:v>
                </c:pt>
                <c:pt idx="8193">
                  <c:v>0</c:v>
                </c:pt>
                <c:pt idx="8194">
                  <c:v>0</c:v>
                </c:pt>
                <c:pt idx="8195">
                  <c:v>0</c:v>
                </c:pt>
                <c:pt idx="8196">
                  <c:v>0</c:v>
                </c:pt>
                <c:pt idx="8197">
                  <c:v>0</c:v>
                </c:pt>
                <c:pt idx="8198">
                  <c:v>4</c:v>
                </c:pt>
                <c:pt idx="8199">
                  <c:v>0</c:v>
                </c:pt>
                <c:pt idx="8200">
                  <c:v>1</c:v>
                </c:pt>
                <c:pt idx="8201">
                  <c:v>1</c:v>
                </c:pt>
                <c:pt idx="8202">
                  <c:v>0</c:v>
                </c:pt>
                <c:pt idx="8203">
                  <c:v>0</c:v>
                </c:pt>
                <c:pt idx="8204">
                  <c:v>0</c:v>
                </c:pt>
                <c:pt idx="8205">
                  <c:v>0</c:v>
                </c:pt>
                <c:pt idx="8206">
                  <c:v>0</c:v>
                </c:pt>
                <c:pt idx="8207">
                  <c:v>0</c:v>
                </c:pt>
                <c:pt idx="8208">
                  <c:v>0</c:v>
                </c:pt>
                <c:pt idx="8209">
                  <c:v>1</c:v>
                </c:pt>
                <c:pt idx="8210">
                  <c:v>0</c:v>
                </c:pt>
                <c:pt idx="8211">
                  <c:v>0</c:v>
                </c:pt>
                <c:pt idx="8212">
                  <c:v>0</c:v>
                </c:pt>
                <c:pt idx="8213">
                  <c:v>0</c:v>
                </c:pt>
                <c:pt idx="8214">
                  <c:v>0</c:v>
                </c:pt>
                <c:pt idx="8215">
                  <c:v>0</c:v>
                </c:pt>
                <c:pt idx="8216">
                  <c:v>0</c:v>
                </c:pt>
                <c:pt idx="8217">
                  <c:v>0</c:v>
                </c:pt>
                <c:pt idx="8218">
                  <c:v>0</c:v>
                </c:pt>
                <c:pt idx="8219">
                  <c:v>0</c:v>
                </c:pt>
                <c:pt idx="8220">
                  <c:v>0</c:v>
                </c:pt>
                <c:pt idx="8221">
                  <c:v>0</c:v>
                </c:pt>
                <c:pt idx="8222">
                  <c:v>0</c:v>
                </c:pt>
                <c:pt idx="8223">
                  <c:v>1</c:v>
                </c:pt>
                <c:pt idx="8224">
                  <c:v>0</c:v>
                </c:pt>
                <c:pt idx="8225">
                  <c:v>1</c:v>
                </c:pt>
                <c:pt idx="8226">
                  <c:v>2</c:v>
                </c:pt>
                <c:pt idx="8227">
                  <c:v>8</c:v>
                </c:pt>
                <c:pt idx="8228">
                  <c:v>4</c:v>
                </c:pt>
                <c:pt idx="8229">
                  <c:v>0</c:v>
                </c:pt>
                <c:pt idx="8230">
                  <c:v>0</c:v>
                </c:pt>
                <c:pt idx="8231">
                  <c:v>1</c:v>
                </c:pt>
                <c:pt idx="8232">
                  <c:v>0</c:v>
                </c:pt>
                <c:pt idx="8233">
                  <c:v>0</c:v>
                </c:pt>
                <c:pt idx="8234">
                  <c:v>1</c:v>
                </c:pt>
                <c:pt idx="8235">
                  <c:v>3</c:v>
                </c:pt>
                <c:pt idx="8236">
                  <c:v>0</c:v>
                </c:pt>
                <c:pt idx="8237">
                  <c:v>0</c:v>
                </c:pt>
                <c:pt idx="8238">
                  <c:v>0</c:v>
                </c:pt>
                <c:pt idx="8239">
                  <c:v>0</c:v>
                </c:pt>
                <c:pt idx="8240">
                  <c:v>0</c:v>
                </c:pt>
                <c:pt idx="8241">
                  <c:v>0</c:v>
                </c:pt>
                <c:pt idx="8242">
                  <c:v>3</c:v>
                </c:pt>
                <c:pt idx="8243">
                  <c:v>0</c:v>
                </c:pt>
                <c:pt idx="8244">
                  <c:v>6</c:v>
                </c:pt>
                <c:pt idx="8245">
                  <c:v>2</c:v>
                </c:pt>
                <c:pt idx="8246">
                  <c:v>0</c:v>
                </c:pt>
                <c:pt idx="8247">
                  <c:v>4</c:v>
                </c:pt>
                <c:pt idx="8248">
                  <c:v>0</c:v>
                </c:pt>
                <c:pt idx="8249">
                  <c:v>0</c:v>
                </c:pt>
                <c:pt idx="8250">
                  <c:v>3</c:v>
                </c:pt>
                <c:pt idx="8251">
                  <c:v>0</c:v>
                </c:pt>
                <c:pt idx="8252">
                  <c:v>2</c:v>
                </c:pt>
                <c:pt idx="8253">
                  <c:v>1</c:v>
                </c:pt>
                <c:pt idx="8254">
                  <c:v>0</c:v>
                </c:pt>
                <c:pt idx="8255">
                  <c:v>0</c:v>
                </c:pt>
                <c:pt idx="8256">
                  <c:v>4</c:v>
                </c:pt>
                <c:pt idx="8257">
                  <c:v>6</c:v>
                </c:pt>
                <c:pt idx="8258">
                  <c:v>0</c:v>
                </c:pt>
                <c:pt idx="8259">
                  <c:v>0</c:v>
                </c:pt>
                <c:pt idx="8260">
                  <c:v>0</c:v>
                </c:pt>
                <c:pt idx="8261">
                  <c:v>2</c:v>
                </c:pt>
                <c:pt idx="8262">
                  <c:v>2</c:v>
                </c:pt>
                <c:pt idx="8263">
                  <c:v>0</c:v>
                </c:pt>
                <c:pt idx="8264">
                  <c:v>2</c:v>
                </c:pt>
                <c:pt idx="8265">
                  <c:v>0</c:v>
                </c:pt>
                <c:pt idx="8266">
                  <c:v>3</c:v>
                </c:pt>
                <c:pt idx="8267">
                  <c:v>3</c:v>
                </c:pt>
                <c:pt idx="8268">
                  <c:v>0</c:v>
                </c:pt>
                <c:pt idx="8269">
                  <c:v>3</c:v>
                </c:pt>
                <c:pt idx="8270">
                  <c:v>0</c:v>
                </c:pt>
                <c:pt idx="8271">
                  <c:v>0</c:v>
                </c:pt>
                <c:pt idx="8272">
                  <c:v>0</c:v>
                </c:pt>
                <c:pt idx="8273">
                  <c:v>0</c:v>
                </c:pt>
                <c:pt idx="8274">
                  <c:v>0</c:v>
                </c:pt>
                <c:pt idx="8275">
                  <c:v>1</c:v>
                </c:pt>
                <c:pt idx="8276">
                  <c:v>0</c:v>
                </c:pt>
                <c:pt idx="8277">
                  <c:v>0</c:v>
                </c:pt>
                <c:pt idx="8278">
                  <c:v>0</c:v>
                </c:pt>
                <c:pt idx="8279">
                  <c:v>0</c:v>
                </c:pt>
                <c:pt idx="8280">
                  <c:v>0</c:v>
                </c:pt>
                <c:pt idx="8281">
                  <c:v>1</c:v>
                </c:pt>
                <c:pt idx="8282">
                  <c:v>1</c:v>
                </c:pt>
                <c:pt idx="8283">
                  <c:v>0</c:v>
                </c:pt>
                <c:pt idx="8284">
                  <c:v>0</c:v>
                </c:pt>
                <c:pt idx="8285">
                  <c:v>2</c:v>
                </c:pt>
                <c:pt idx="8286">
                  <c:v>3</c:v>
                </c:pt>
                <c:pt idx="8287">
                  <c:v>1</c:v>
                </c:pt>
                <c:pt idx="8288">
                  <c:v>0</c:v>
                </c:pt>
                <c:pt idx="8289">
                  <c:v>0</c:v>
                </c:pt>
                <c:pt idx="8290">
                  <c:v>0</c:v>
                </c:pt>
                <c:pt idx="8291">
                  <c:v>0</c:v>
                </c:pt>
                <c:pt idx="8292">
                  <c:v>0</c:v>
                </c:pt>
                <c:pt idx="8293">
                  <c:v>0</c:v>
                </c:pt>
                <c:pt idx="8294">
                  <c:v>1</c:v>
                </c:pt>
                <c:pt idx="8295">
                  <c:v>1</c:v>
                </c:pt>
                <c:pt idx="8296">
                  <c:v>0</c:v>
                </c:pt>
                <c:pt idx="8297">
                  <c:v>0</c:v>
                </c:pt>
                <c:pt idx="8298">
                  <c:v>1</c:v>
                </c:pt>
                <c:pt idx="8299">
                  <c:v>0</c:v>
                </c:pt>
                <c:pt idx="8300">
                  <c:v>0</c:v>
                </c:pt>
                <c:pt idx="8301">
                  <c:v>0</c:v>
                </c:pt>
                <c:pt idx="8302">
                  <c:v>0</c:v>
                </c:pt>
                <c:pt idx="8303">
                  <c:v>0</c:v>
                </c:pt>
                <c:pt idx="8304">
                  <c:v>4</c:v>
                </c:pt>
                <c:pt idx="8305">
                  <c:v>0</c:v>
                </c:pt>
                <c:pt idx="8306">
                  <c:v>0</c:v>
                </c:pt>
                <c:pt idx="8307">
                  <c:v>0</c:v>
                </c:pt>
                <c:pt idx="8308">
                  <c:v>0</c:v>
                </c:pt>
                <c:pt idx="8309">
                  <c:v>4</c:v>
                </c:pt>
                <c:pt idx="8310">
                  <c:v>0</c:v>
                </c:pt>
                <c:pt idx="8311">
                  <c:v>0</c:v>
                </c:pt>
                <c:pt idx="8312">
                  <c:v>0</c:v>
                </c:pt>
                <c:pt idx="8313">
                  <c:v>0</c:v>
                </c:pt>
                <c:pt idx="8314">
                  <c:v>0</c:v>
                </c:pt>
                <c:pt idx="8315">
                  <c:v>0</c:v>
                </c:pt>
                <c:pt idx="8316">
                  <c:v>0</c:v>
                </c:pt>
                <c:pt idx="8317">
                  <c:v>5</c:v>
                </c:pt>
                <c:pt idx="8318">
                  <c:v>5</c:v>
                </c:pt>
                <c:pt idx="8319">
                  <c:v>0</c:v>
                </c:pt>
                <c:pt idx="8320">
                  <c:v>0</c:v>
                </c:pt>
                <c:pt idx="8321">
                  <c:v>0</c:v>
                </c:pt>
                <c:pt idx="8322">
                  <c:v>0</c:v>
                </c:pt>
                <c:pt idx="8323">
                  <c:v>3</c:v>
                </c:pt>
                <c:pt idx="8324">
                  <c:v>2</c:v>
                </c:pt>
                <c:pt idx="8325">
                  <c:v>0</c:v>
                </c:pt>
                <c:pt idx="8326">
                  <c:v>0</c:v>
                </c:pt>
                <c:pt idx="8327">
                  <c:v>0</c:v>
                </c:pt>
                <c:pt idx="8328">
                  <c:v>0</c:v>
                </c:pt>
                <c:pt idx="8329">
                  <c:v>0</c:v>
                </c:pt>
                <c:pt idx="8330">
                  <c:v>0</c:v>
                </c:pt>
                <c:pt idx="8331">
                  <c:v>0</c:v>
                </c:pt>
                <c:pt idx="8332">
                  <c:v>0</c:v>
                </c:pt>
                <c:pt idx="8333">
                  <c:v>0</c:v>
                </c:pt>
                <c:pt idx="8334">
                  <c:v>0</c:v>
                </c:pt>
                <c:pt idx="8335">
                  <c:v>0</c:v>
                </c:pt>
                <c:pt idx="8336">
                  <c:v>0</c:v>
                </c:pt>
                <c:pt idx="8337">
                  <c:v>0</c:v>
                </c:pt>
                <c:pt idx="8338">
                  <c:v>0</c:v>
                </c:pt>
                <c:pt idx="8339">
                  <c:v>0</c:v>
                </c:pt>
                <c:pt idx="8340">
                  <c:v>0</c:v>
                </c:pt>
                <c:pt idx="8341">
                  <c:v>0</c:v>
                </c:pt>
                <c:pt idx="8342">
                  <c:v>1</c:v>
                </c:pt>
                <c:pt idx="8343">
                  <c:v>0</c:v>
                </c:pt>
                <c:pt idx="8344">
                  <c:v>0</c:v>
                </c:pt>
                <c:pt idx="8345">
                  <c:v>0</c:v>
                </c:pt>
                <c:pt idx="8346">
                  <c:v>0</c:v>
                </c:pt>
                <c:pt idx="8347">
                  <c:v>0</c:v>
                </c:pt>
                <c:pt idx="8348">
                  <c:v>0</c:v>
                </c:pt>
                <c:pt idx="8349">
                  <c:v>0</c:v>
                </c:pt>
                <c:pt idx="8350">
                  <c:v>0</c:v>
                </c:pt>
                <c:pt idx="8351">
                  <c:v>0</c:v>
                </c:pt>
                <c:pt idx="8352">
                  <c:v>0</c:v>
                </c:pt>
                <c:pt idx="8353">
                  <c:v>0</c:v>
                </c:pt>
                <c:pt idx="8354">
                  <c:v>0</c:v>
                </c:pt>
                <c:pt idx="8355">
                  <c:v>1</c:v>
                </c:pt>
                <c:pt idx="8356">
                  <c:v>0</c:v>
                </c:pt>
                <c:pt idx="8357">
                  <c:v>0</c:v>
                </c:pt>
                <c:pt idx="8358">
                  <c:v>5</c:v>
                </c:pt>
                <c:pt idx="8359">
                  <c:v>0</c:v>
                </c:pt>
                <c:pt idx="8360">
                  <c:v>0</c:v>
                </c:pt>
                <c:pt idx="8361">
                  <c:v>0</c:v>
                </c:pt>
                <c:pt idx="8362">
                  <c:v>0</c:v>
                </c:pt>
                <c:pt idx="8363">
                  <c:v>0</c:v>
                </c:pt>
                <c:pt idx="8364">
                  <c:v>0</c:v>
                </c:pt>
                <c:pt idx="8365">
                  <c:v>0</c:v>
                </c:pt>
                <c:pt idx="8366">
                  <c:v>3</c:v>
                </c:pt>
                <c:pt idx="8367">
                  <c:v>1</c:v>
                </c:pt>
                <c:pt idx="8368">
                  <c:v>3</c:v>
                </c:pt>
                <c:pt idx="8369">
                  <c:v>0</c:v>
                </c:pt>
                <c:pt idx="8370">
                  <c:v>0</c:v>
                </c:pt>
                <c:pt idx="8371">
                  <c:v>0</c:v>
                </c:pt>
                <c:pt idx="8372">
                  <c:v>0</c:v>
                </c:pt>
                <c:pt idx="8373">
                  <c:v>0</c:v>
                </c:pt>
                <c:pt idx="8374">
                  <c:v>0</c:v>
                </c:pt>
                <c:pt idx="8375">
                  <c:v>0</c:v>
                </c:pt>
                <c:pt idx="8376">
                  <c:v>0</c:v>
                </c:pt>
                <c:pt idx="8377">
                  <c:v>0</c:v>
                </c:pt>
                <c:pt idx="8378">
                  <c:v>0</c:v>
                </c:pt>
                <c:pt idx="8379">
                  <c:v>5</c:v>
                </c:pt>
                <c:pt idx="8380">
                  <c:v>5</c:v>
                </c:pt>
                <c:pt idx="8381">
                  <c:v>1</c:v>
                </c:pt>
                <c:pt idx="8382">
                  <c:v>2</c:v>
                </c:pt>
                <c:pt idx="8383">
                  <c:v>0</c:v>
                </c:pt>
                <c:pt idx="8384">
                  <c:v>0</c:v>
                </c:pt>
                <c:pt idx="8385">
                  <c:v>3</c:v>
                </c:pt>
                <c:pt idx="8386">
                  <c:v>0</c:v>
                </c:pt>
                <c:pt idx="8387">
                  <c:v>0</c:v>
                </c:pt>
                <c:pt idx="8388">
                  <c:v>0</c:v>
                </c:pt>
                <c:pt idx="8389">
                  <c:v>0</c:v>
                </c:pt>
                <c:pt idx="8390">
                  <c:v>2</c:v>
                </c:pt>
                <c:pt idx="8391">
                  <c:v>0</c:v>
                </c:pt>
                <c:pt idx="8392">
                  <c:v>4</c:v>
                </c:pt>
                <c:pt idx="8393">
                  <c:v>3</c:v>
                </c:pt>
                <c:pt idx="8394">
                  <c:v>0</c:v>
                </c:pt>
                <c:pt idx="8395">
                  <c:v>1</c:v>
                </c:pt>
                <c:pt idx="8396">
                  <c:v>2</c:v>
                </c:pt>
                <c:pt idx="8397">
                  <c:v>0</c:v>
                </c:pt>
                <c:pt idx="8398">
                  <c:v>2</c:v>
                </c:pt>
                <c:pt idx="8399">
                  <c:v>1</c:v>
                </c:pt>
                <c:pt idx="8400">
                  <c:v>0</c:v>
                </c:pt>
                <c:pt idx="8401">
                  <c:v>0</c:v>
                </c:pt>
                <c:pt idx="8402">
                  <c:v>1</c:v>
                </c:pt>
                <c:pt idx="8403">
                  <c:v>5</c:v>
                </c:pt>
                <c:pt idx="8404">
                  <c:v>3</c:v>
                </c:pt>
                <c:pt idx="8405">
                  <c:v>7</c:v>
                </c:pt>
                <c:pt idx="8406">
                  <c:v>2</c:v>
                </c:pt>
                <c:pt idx="8407">
                  <c:v>0</c:v>
                </c:pt>
                <c:pt idx="8408">
                  <c:v>5</c:v>
                </c:pt>
                <c:pt idx="8409">
                  <c:v>1</c:v>
                </c:pt>
                <c:pt idx="8410">
                  <c:v>2</c:v>
                </c:pt>
                <c:pt idx="8411">
                  <c:v>0</c:v>
                </c:pt>
                <c:pt idx="8412">
                  <c:v>0</c:v>
                </c:pt>
                <c:pt idx="8413">
                  <c:v>0</c:v>
                </c:pt>
                <c:pt idx="8414">
                  <c:v>0</c:v>
                </c:pt>
                <c:pt idx="8415">
                  <c:v>0</c:v>
                </c:pt>
                <c:pt idx="8416">
                  <c:v>5</c:v>
                </c:pt>
                <c:pt idx="8417">
                  <c:v>3</c:v>
                </c:pt>
                <c:pt idx="8418">
                  <c:v>3</c:v>
                </c:pt>
                <c:pt idx="8419">
                  <c:v>1</c:v>
                </c:pt>
                <c:pt idx="8420">
                  <c:v>5</c:v>
                </c:pt>
                <c:pt idx="8421">
                  <c:v>3</c:v>
                </c:pt>
                <c:pt idx="8422">
                  <c:v>0</c:v>
                </c:pt>
                <c:pt idx="8423">
                  <c:v>7</c:v>
                </c:pt>
                <c:pt idx="8424">
                  <c:v>8</c:v>
                </c:pt>
                <c:pt idx="8425">
                  <c:v>2</c:v>
                </c:pt>
                <c:pt idx="8426">
                  <c:v>0</c:v>
                </c:pt>
                <c:pt idx="8427">
                  <c:v>7</c:v>
                </c:pt>
                <c:pt idx="8428">
                  <c:v>1</c:v>
                </c:pt>
                <c:pt idx="8429">
                  <c:v>0</c:v>
                </c:pt>
                <c:pt idx="8430">
                  <c:v>3</c:v>
                </c:pt>
                <c:pt idx="8431">
                  <c:v>1</c:v>
                </c:pt>
                <c:pt idx="8432">
                  <c:v>0</c:v>
                </c:pt>
                <c:pt idx="8433">
                  <c:v>3</c:v>
                </c:pt>
                <c:pt idx="8434">
                  <c:v>2</c:v>
                </c:pt>
                <c:pt idx="8435">
                  <c:v>1</c:v>
                </c:pt>
                <c:pt idx="8436">
                  <c:v>3</c:v>
                </c:pt>
                <c:pt idx="8437">
                  <c:v>4</c:v>
                </c:pt>
                <c:pt idx="8438">
                  <c:v>6</c:v>
                </c:pt>
                <c:pt idx="8439">
                  <c:v>0</c:v>
                </c:pt>
                <c:pt idx="8440">
                  <c:v>0</c:v>
                </c:pt>
                <c:pt idx="8441">
                  <c:v>0</c:v>
                </c:pt>
                <c:pt idx="8442">
                  <c:v>0</c:v>
                </c:pt>
                <c:pt idx="8443">
                  <c:v>0</c:v>
                </c:pt>
                <c:pt idx="8444">
                  <c:v>2</c:v>
                </c:pt>
                <c:pt idx="8445">
                  <c:v>0</c:v>
                </c:pt>
                <c:pt idx="8446">
                  <c:v>1</c:v>
                </c:pt>
                <c:pt idx="8447">
                  <c:v>0</c:v>
                </c:pt>
                <c:pt idx="8448">
                  <c:v>4</c:v>
                </c:pt>
                <c:pt idx="8449">
                  <c:v>5</c:v>
                </c:pt>
                <c:pt idx="8450">
                  <c:v>4</c:v>
                </c:pt>
                <c:pt idx="8451">
                  <c:v>4</c:v>
                </c:pt>
                <c:pt idx="8452">
                  <c:v>5</c:v>
                </c:pt>
                <c:pt idx="8453">
                  <c:v>4</c:v>
                </c:pt>
                <c:pt idx="8454">
                  <c:v>0</c:v>
                </c:pt>
                <c:pt idx="8455">
                  <c:v>0</c:v>
                </c:pt>
                <c:pt idx="8456">
                  <c:v>0</c:v>
                </c:pt>
                <c:pt idx="8457">
                  <c:v>0</c:v>
                </c:pt>
                <c:pt idx="8458">
                  <c:v>2</c:v>
                </c:pt>
                <c:pt idx="8459">
                  <c:v>0</c:v>
                </c:pt>
                <c:pt idx="8460">
                  <c:v>1</c:v>
                </c:pt>
                <c:pt idx="8461">
                  <c:v>2</c:v>
                </c:pt>
                <c:pt idx="8462">
                  <c:v>0</c:v>
                </c:pt>
                <c:pt idx="8463">
                  <c:v>0</c:v>
                </c:pt>
                <c:pt idx="8464">
                  <c:v>2</c:v>
                </c:pt>
                <c:pt idx="8465">
                  <c:v>2</c:v>
                </c:pt>
                <c:pt idx="8466">
                  <c:v>14</c:v>
                </c:pt>
                <c:pt idx="8467">
                  <c:v>0</c:v>
                </c:pt>
                <c:pt idx="8468">
                  <c:v>0</c:v>
                </c:pt>
                <c:pt idx="8469">
                  <c:v>0</c:v>
                </c:pt>
                <c:pt idx="8470">
                  <c:v>1</c:v>
                </c:pt>
                <c:pt idx="8471">
                  <c:v>0</c:v>
                </c:pt>
                <c:pt idx="8472">
                  <c:v>1</c:v>
                </c:pt>
                <c:pt idx="8473">
                  <c:v>2</c:v>
                </c:pt>
                <c:pt idx="8474">
                  <c:v>2</c:v>
                </c:pt>
                <c:pt idx="8475">
                  <c:v>0</c:v>
                </c:pt>
                <c:pt idx="8476">
                  <c:v>0</c:v>
                </c:pt>
                <c:pt idx="8477">
                  <c:v>0</c:v>
                </c:pt>
                <c:pt idx="8478">
                  <c:v>0</c:v>
                </c:pt>
                <c:pt idx="8479">
                  <c:v>0</c:v>
                </c:pt>
                <c:pt idx="8480">
                  <c:v>0</c:v>
                </c:pt>
                <c:pt idx="8481">
                  <c:v>0</c:v>
                </c:pt>
                <c:pt idx="8482">
                  <c:v>0</c:v>
                </c:pt>
                <c:pt idx="8483">
                  <c:v>1</c:v>
                </c:pt>
                <c:pt idx="8484">
                  <c:v>1</c:v>
                </c:pt>
                <c:pt idx="8485">
                  <c:v>0</c:v>
                </c:pt>
                <c:pt idx="8486">
                  <c:v>0</c:v>
                </c:pt>
                <c:pt idx="8487">
                  <c:v>0</c:v>
                </c:pt>
                <c:pt idx="8488">
                  <c:v>0</c:v>
                </c:pt>
                <c:pt idx="8489">
                  <c:v>0</c:v>
                </c:pt>
                <c:pt idx="8490">
                  <c:v>2</c:v>
                </c:pt>
                <c:pt idx="8491">
                  <c:v>2</c:v>
                </c:pt>
                <c:pt idx="8492">
                  <c:v>1</c:v>
                </c:pt>
                <c:pt idx="8493">
                  <c:v>0</c:v>
                </c:pt>
                <c:pt idx="8494">
                  <c:v>0</c:v>
                </c:pt>
                <c:pt idx="8495">
                  <c:v>0</c:v>
                </c:pt>
                <c:pt idx="8496">
                  <c:v>2</c:v>
                </c:pt>
                <c:pt idx="8497">
                  <c:v>2</c:v>
                </c:pt>
                <c:pt idx="8498">
                  <c:v>0</c:v>
                </c:pt>
                <c:pt idx="8499">
                  <c:v>0</c:v>
                </c:pt>
                <c:pt idx="8500">
                  <c:v>0</c:v>
                </c:pt>
                <c:pt idx="8501">
                  <c:v>0</c:v>
                </c:pt>
                <c:pt idx="8502">
                  <c:v>0</c:v>
                </c:pt>
                <c:pt idx="8503">
                  <c:v>3</c:v>
                </c:pt>
                <c:pt idx="8504">
                  <c:v>2</c:v>
                </c:pt>
                <c:pt idx="8505">
                  <c:v>1</c:v>
                </c:pt>
                <c:pt idx="8506">
                  <c:v>0</c:v>
                </c:pt>
                <c:pt idx="8507">
                  <c:v>0</c:v>
                </c:pt>
                <c:pt idx="8508">
                  <c:v>0</c:v>
                </c:pt>
                <c:pt idx="8509">
                  <c:v>0</c:v>
                </c:pt>
                <c:pt idx="8510">
                  <c:v>0</c:v>
                </c:pt>
                <c:pt idx="8511">
                  <c:v>0</c:v>
                </c:pt>
                <c:pt idx="8512">
                  <c:v>0</c:v>
                </c:pt>
                <c:pt idx="8513">
                  <c:v>1</c:v>
                </c:pt>
                <c:pt idx="8514">
                  <c:v>2</c:v>
                </c:pt>
                <c:pt idx="8515">
                  <c:v>0</c:v>
                </c:pt>
                <c:pt idx="8516">
                  <c:v>0</c:v>
                </c:pt>
                <c:pt idx="8517">
                  <c:v>3</c:v>
                </c:pt>
                <c:pt idx="8518">
                  <c:v>0</c:v>
                </c:pt>
                <c:pt idx="8519">
                  <c:v>0</c:v>
                </c:pt>
                <c:pt idx="8520">
                  <c:v>0</c:v>
                </c:pt>
                <c:pt idx="8521">
                  <c:v>0</c:v>
                </c:pt>
                <c:pt idx="8522">
                  <c:v>0</c:v>
                </c:pt>
                <c:pt idx="8523">
                  <c:v>4</c:v>
                </c:pt>
                <c:pt idx="8524">
                  <c:v>6</c:v>
                </c:pt>
                <c:pt idx="8525">
                  <c:v>0</c:v>
                </c:pt>
                <c:pt idx="8526">
                  <c:v>4</c:v>
                </c:pt>
                <c:pt idx="8527">
                  <c:v>0</c:v>
                </c:pt>
                <c:pt idx="8528">
                  <c:v>0</c:v>
                </c:pt>
                <c:pt idx="8529">
                  <c:v>0</c:v>
                </c:pt>
                <c:pt idx="8530">
                  <c:v>4</c:v>
                </c:pt>
                <c:pt idx="8531">
                  <c:v>1</c:v>
                </c:pt>
                <c:pt idx="8532">
                  <c:v>1</c:v>
                </c:pt>
                <c:pt idx="8533">
                  <c:v>0</c:v>
                </c:pt>
                <c:pt idx="8534">
                  <c:v>0</c:v>
                </c:pt>
                <c:pt idx="8535">
                  <c:v>0</c:v>
                </c:pt>
                <c:pt idx="8536">
                  <c:v>0</c:v>
                </c:pt>
                <c:pt idx="8537">
                  <c:v>0</c:v>
                </c:pt>
                <c:pt idx="8538">
                  <c:v>0</c:v>
                </c:pt>
                <c:pt idx="8539">
                  <c:v>0</c:v>
                </c:pt>
                <c:pt idx="8540">
                  <c:v>0</c:v>
                </c:pt>
                <c:pt idx="8541">
                  <c:v>0</c:v>
                </c:pt>
                <c:pt idx="8542">
                  <c:v>9</c:v>
                </c:pt>
                <c:pt idx="8543">
                  <c:v>5</c:v>
                </c:pt>
                <c:pt idx="8544">
                  <c:v>0</c:v>
                </c:pt>
                <c:pt idx="8545">
                  <c:v>1</c:v>
                </c:pt>
                <c:pt idx="8546">
                  <c:v>2</c:v>
                </c:pt>
                <c:pt idx="8547">
                  <c:v>3</c:v>
                </c:pt>
                <c:pt idx="8548">
                  <c:v>8</c:v>
                </c:pt>
                <c:pt idx="8549">
                  <c:v>3</c:v>
                </c:pt>
                <c:pt idx="8550">
                  <c:v>1</c:v>
                </c:pt>
                <c:pt idx="8551">
                  <c:v>4</c:v>
                </c:pt>
                <c:pt idx="8552">
                  <c:v>7</c:v>
                </c:pt>
                <c:pt idx="8553">
                  <c:v>0</c:v>
                </c:pt>
                <c:pt idx="8554">
                  <c:v>0</c:v>
                </c:pt>
                <c:pt idx="8555">
                  <c:v>0</c:v>
                </c:pt>
                <c:pt idx="8556">
                  <c:v>0</c:v>
                </c:pt>
                <c:pt idx="8557">
                  <c:v>1</c:v>
                </c:pt>
                <c:pt idx="8558">
                  <c:v>4</c:v>
                </c:pt>
                <c:pt idx="8559">
                  <c:v>7</c:v>
                </c:pt>
                <c:pt idx="8560">
                  <c:v>9</c:v>
                </c:pt>
                <c:pt idx="8561">
                  <c:v>3</c:v>
                </c:pt>
                <c:pt idx="8562">
                  <c:v>7</c:v>
                </c:pt>
                <c:pt idx="8563">
                  <c:v>5</c:v>
                </c:pt>
                <c:pt idx="8564">
                  <c:v>1</c:v>
                </c:pt>
                <c:pt idx="8565">
                  <c:v>10</c:v>
                </c:pt>
                <c:pt idx="8566">
                  <c:v>2</c:v>
                </c:pt>
                <c:pt idx="8567">
                  <c:v>7</c:v>
                </c:pt>
                <c:pt idx="8568">
                  <c:v>1</c:v>
                </c:pt>
                <c:pt idx="8569">
                  <c:v>1</c:v>
                </c:pt>
                <c:pt idx="8570">
                  <c:v>3</c:v>
                </c:pt>
                <c:pt idx="8571">
                  <c:v>0</c:v>
                </c:pt>
                <c:pt idx="8572">
                  <c:v>0</c:v>
                </c:pt>
                <c:pt idx="8573">
                  <c:v>3</c:v>
                </c:pt>
                <c:pt idx="8574">
                  <c:v>3</c:v>
                </c:pt>
                <c:pt idx="8575">
                  <c:v>1</c:v>
                </c:pt>
                <c:pt idx="8576">
                  <c:v>0</c:v>
                </c:pt>
                <c:pt idx="8577">
                  <c:v>0</c:v>
                </c:pt>
                <c:pt idx="8578">
                  <c:v>2</c:v>
                </c:pt>
                <c:pt idx="8579">
                  <c:v>0</c:v>
                </c:pt>
                <c:pt idx="8580">
                  <c:v>0</c:v>
                </c:pt>
                <c:pt idx="8581">
                  <c:v>0</c:v>
                </c:pt>
                <c:pt idx="8582">
                  <c:v>0</c:v>
                </c:pt>
                <c:pt idx="8583">
                  <c:v>0</c:v>
                </c:pt>
                <c:pt idx="8584">
                  <c:v>0</c:v>
                </c:pt>
                <c:pt idx="8585">
                  <c:v>0</c:v>
                </c:pt>
                <c:pt idx="8586">
                  <c:v>0</c:v>
                </c:pt>
                <c:pt idx="8587">
                  <c:v>0</c:v>
                </c:pt>
                <c:pt idx="8588">
                  <c:v>0</c:v>
                </c:pt>
                <c:pt idx="8589">
                  <c:v>0</c:v>
                </c:pt>
                <c:pt idx="8590">
                  <c:v>0</c:v>
                </c:pt>
                <c:pt idx="8591">
                  <c:v>0</c:v>
                </c:pt>
                <c:pt idx="8592">
                  <c:v>0</c:v>
                </c:pt>
                <c:pt idx="8593">
                  <c:v>1</c:v>
                </c:pt>
                <c:pt idx="8594">
                  <c:v>0</c:v>
                </c:pt>
                <c:pt idx="8595">
                  <c:v>0</c:v>
                </c:pt>
                <c:pt idx="8596">
                  <c:v>0</c:v>
                </c:pt>
                <c:pt idx="8597">
                  <c:v>0</c:v>
                </c:pt>
                <c:pt idx="8598">
                  <c:v>0</c:v>
                </c:pt>
                <c:pt idx="8599">
                  <c:v>0</c:v>
                </c:pt>
                <c:pt idx="8600">
                  <c:v>0</c:v>
                </c:pt>
                <c:pt idx="8601">
                  <c:v>0</c:v>
                </c:pt>
                <c:pt idx="8602">
                  <c:v>0</c:v>
                </c:pt>
                <c:pt idx="8603">
                  <c:v>0</c:v>
                </c:pt>
                <c:pt idx="8604">
                  <c:v>0</c:v>
                </c:pt>
                <c:pt idx="8605">
                  <c:v>3</c:v>
                </c:pt>
                <c:pt idx="8606">
                  <c:v>3</c:v>
                </c:pt>
                <c:pt idx="8607">
                  <c:v>0</c:v>
                </c:pt>
                <c:pt idx="8608">
                  <c:v>0</c:v>
                </c:pt>
                <c:pt idx="8609">
                  <c:v>0</c:v>
                </c:pt>
                <c:pt idx="8610">
                  <c:v>1</c:v>
                </c:pt>
                <c:pt idx="8611">
                  <c:v>0</c:v>
                </c:pt>
                <c:pt idx="8612">
                  <c:v>3</c:v>
                </c:pt>
                <c:pt idx="8613">
                  <c:v>0</c:v>
                </c:pt>
                <c:pt idx="8614">
                  <c:v>4</c:v>
                </c:pt>
                <c:pt idx="8615">
                  <c:v>1</c:v>
                </c:pt>
                <c:pt idx="8616">
                  <c:v>0</c:v>
                </c:pt>
                <c:pt idx="8617">
                  <c:v>0</c:v>
                </c:pt>
                <c:pt idx="8618">
                  <c:v>1</c:v>
                </c:pt>
                <c:pt idx="8619">
                  <c:v>2</c:v>
                </c:pt>
                <c:pt idx="8620">
                  <c:v>0</c:v>
                </c:pt>
                <c:pt idx="8621">
                  <c:v>1</c:v>
                </c:pt>
                <c:pt idx="8622">
                  <c:v>1</c:v>
                </c:pt>
                <c:pt idx="8623">
                  <c:v>7</c:v>
                </c:pt>
                <c:pt idx="8624">
                  <c:v>0</c:v>
                </c:pt>
                <c:pt idx="8625">
                  <c:v>0</c:v>
                </c:pt>
                <c:pt idx="8626">
                  <c:v>0</c:v>
                </c:pt>
                <c:pt idx="8627">
                  <c:v>0</c:v>
                </c:pt>
                <c:pt idx="8628">
                  <c:v>1</c:v>
                </c:pt>
                <c:pt idx="8629">
                  <c:v>0</c:v>
                </c:pt>
                <c:pt idx="8630">
                  <c:v>1</c:v>
                </c:pt>
                <c:pt idx="8631">
                  <c:v>2</c:v>
                </c:pt>
                <c:pt idx="8632">
                  <c:v>2</c:v>
                </c:pt>
                <c:pt idx="8633">
                  <c:v>1</c:v>
                </c:pt>
                <c:pt idx="8634">
                  <c:v>1</c:v>
                </c:pt>
                <c:pt idx="8635">
                  <c:v>2</c:v>
                </c:pt>
                <c:pt idx="8636">
                  <c:v>0</c:v>
                </c:pt>
                <c:pt idx="8637">
                  <c:v>0</c:v>
                </c:pt>
                <c:pt idx="8638">
                  <c:v>0</c:v>
                </c:pt>
                <c:pt idx="8639">
                  <c:v>0</c:v>
                </c:pt>
                <c:pt idx="8640">
                  <c:v>2</c:v>
                </c:pt>
                <c:pt idx="8641">
                  <c:v>0</c:v>
                </c:pt>
                <c:pt idx="8642">
                  <c:v>4</c:v>
                </c:pt>
                <c:pt idx="8643">
                  <c:v>0</c:v>
                </c:pt>
                <c:pt idx="8644">
                  <c:v>0</c:v>
                </c:pt>
                <c:pt idx="8645">
                  <c:v>1</c:v>
                </c:pt>
                <c:pt idx="8646">
                  <c:v>0</c:v>
                </c:pt>
                <c:pt idx="8647">
                  <c:v>0</c:v>
                </c:pt>
                <c:pt idx="8648">
                  <c:v>1</c:v>
                </c:pt>
                <c:pt idx="8649">
                  <c:v>0</c:v>
                </c:pt>
                <c:pt idx="8650">
                  <c:v>0</c:v>
                </c:pt>
                <c:pt idx="8651">
                  <c:v>0</c:v>
                </c:pt>
                <c:pt idx="8652">
                  <c:v>0</c:v>
                </c:pt>
                <c:pt idx="8653">
                  <c:v>0</c:v>
                </c:pt>
                <c:pt idx="8654">
                  <c:v>0</c:v>
                </c:pt>
                <c:pt idx="8655">
                  <c:v>0</c:v>
                </c:pt>
                <c:pt idx="8656">
                  <c:v>0</c:v>
                </c:pt>
                <c:pt idx="8657">
                  <c:v>0</c:v>
                </c:pt>
                <c:pt idx="8658">
                  <c:v>0</c:v>
                </c:pt>
                <c:pt idx="8659">
                  <c:v>0</c:v>
                </c:pt>
                <c:pt idx="8660">
                  <c:v>0</c:v>
                </c:pt>
                <c:pt idx="8661">
                  <c:v>1</c:v>
                </c:pt>
                <c:pt idx="8662">
                  <c:v>0</c:v>
                </c:pt>
                <c:pt idx="8663">
                  <c:v>0</c:v>
                </c:pt>
                <c:pt idx="8664">
                  <c:v>0</c:v>
                </c:pt>
                <c:pt idx="8665">
                  <c:v>0</c:v>
                </c:pt>
                <c:pt idx="8666">
                  <c:v>0</c:v>
                </c:pt>
                <c:pt idx="8667">
                  <c:v>0</c:v>
                </c:pt>
                <c:pt idx="8668">
                  <c:v>1</c:v>
                </c:pt>
                <c:pt idx="8669">
                  <c:v>0</c:v>
                </c:pt>
                <c:pt idx="8670">
                  <c:v>2</c:v>
                </c:pt>
                <c:pt idx="8671">
                  <c:v>1</c:v>
                </c:pt>
                <c:pt idx="8672">
                  <c:v>5</c:v>
                </c:pt>
                <c:pt idx="8673">
                  <c:v>0</c:v>
                </c:pt>
                <c:pt idx="8674">
                  <c:v>0</c:v>
                </c:pt>
                <c:pt idx="8675">
                  <c:v>1</c:v>
                </c:pt>
                <c:pt idx="8676">
                  <c:v>0</c:v>
                </c:pt>
                <c:pt idx="8677">
                  <c:v>0</c:v>
                </c:pt>
                <c:pt idx="8678">
                  <c:v>0</c:v>
                </c:pt>
                <c:pt idx="8679">
                  <c:v>0</c:v>
                </c:pt>
                <c:pt idx="8680">
                  <c:v>0</c:v>
                </c:pt>
                <c:pt idx="8681">
                  <c:v>0</c:v>
                </c:pt>
                <c:pt idx="8682">
                  <c:v>0</c:v>
                </c:pt>
                <c:pt idx="8683">
                  <c:v>0</c:v>
                </c:pt>
                <c:pt idx="8684">
                  <c:v>0</c:v>
                </c:pt>
                <c:pt idx="8685">
                  <c:v>0</c:v>
                </c:pt>
                <c:pt idx="8686">
                  <c:v>0</c:v>
                </c:pt>
                <c:pt idx="8687">
                  <c:v>1</c:v>
                </c:pt>
                <c:pt idx="8688">
                  <c:v>0</c:v>
                </c:pt>
                <c:pt idx="8689">
                  <c:v>0</c:v>
                </c:pt>
                <c:pt idx="8690">
                  <c:v>1</c:v>
                </c:pt>
                <c:pt idx="8691">
                  <c:v>0</c:v>
                </c:pt>
                <c:pt idx="8692">
                  <c:v>0</c:v>
                </c:pt>
                <c:pt idx="8693">
                  <c:v>1</c:v>
                </c:pt>
                <c:pt idx="8694">
                  <c:v>0</c:v>
                </c:pt>
                <c:pt idx="8695">
                  <c:v>0</c:v>
                </c:pt>
                <c:pt idx="8696">
                  <c:v>0</c:v>
                </c:pt>
                <c:pt idx="8697">
                  <c:v>0</c:v>
                </c:pt>
                <c:pt idx="8698">
                  <c:v>0</c:v>
                </c:pt>
                <c:pt idx="8699">
                  <c:v>0</c:v>
                </c:pt>
                <c:pt idx="8700">
                  <c:v>0</c:v>
                </c:pt>
                <c:pt idx="8701">
                  <c:v>0</c:v>
                </c:pt>
                <c:pt idx="8702">
                  <c:v>0</c:v>
                </c:pt>
                <c:pt idx="8703">
                  <c:v>0</c:v>
                </c:pt>
                <c:pt idx="8704">
                  <c:v>0</c:v>
                </c:pt>
                <c:pt idx="8705">
                  <c:v>0</c:v>
                </c:pt>
                <c:pt idx="8706">
                  <c:v>2</c:v>
                </c:pt>
                <c:pt idx="8707">
                  <c:v>0</c:v>
                </c:pt>
                <c:pt idx="8708">
                  <c:v>3</c:v>
                </c:pt>
                <c:pt idx="8709">
                  <c:v>1</c:v>
                </c:pt>
                <c:pt idx="8710">
                  <c:v>0</c:v>
                </c:pt>
                <c:pt idx="8711">
                  <c:v>0</c:v>
                </c:pt>
                <c:pt idx="8712">
                  <c:v>0</c:v>
                </c:pt>
                <c:pt idx="8713">
                  <c:v>0</c:v>
                </c:pt>
                <c:pt idx="8714">
                  <c:v>1</c:v>
                </c:pt>
                <c:pt idx="8715">
                  <c:v>2</c:v>
                </c:pt>
                <c:pt idx="8716">
                  <c:v>0</c:v>
                </c:pt>
                <c:pt idx="8717">
                  <c:v>0</c:v>
                </c:pt>
                <c:pt idx="8718">
                  <c:v>0</c:v>
                </c:pt>
                <c:pt idx="8719">
                  <c:v>0</c:v>
                </c:pt>
                <c:pt idx="8720">
                  <c:v>0</c:v>
                </c:pt>
                <c:pt idx="8721">
                  <c:v>0</c:v>
                </c:pt>
                <c:pt idx="8722">
                  <c:v>0</c:v>
                </c:pt>
                <c:pt idx="8723">
                  <c:v>0</c:v>
                </c:pt>
                <c:pt idx="8724">
                  <c:v>0</c:v>
                </c:pt>
                <c:pt idx="8725">
                  <c:v>0</c:v>
                </c:pt>
                <c:pt idx="8726">
                  <c:v>0</c:v>
                </c:pt>
                <c:pt idx="8727">
                  <c:v>0</c:v>
                </c:pt>
                <c:pt idx="8728">
                  <c:v>0</c:v>
                </c:pt>
                <c:pt idx="8729">
                  <c:v>0</c:v>
                </c:pt>
                <c:pt idx="8730">
                  <c:v>0</c:v>
                </c:pt>
                <c:pt idx="8731">
                  <c:v>0</c:v>
                </c:pt>
                <c:pt idx="8732">
                  <c:v>0</c:v>
                </c:pt>
                <c:pt idx="8733">
                  <c:v>0</c:v>
                </c:pt>
                <c:pt idx="8734">
                  <c:v>0</c:v>
                </c:pt>
                <c:pt idx="8735">
                  <c:v>0</c:v>
                </c:pt>
                <c:pt idx="8736">
                  <c:v>0</c:v>
                </c:pt>
                <c:pt idx="8737">
                  <c:v>0</c:v>
                </c:pt>
                <c:pt idx="8738">
                  <c:v>0</c:v>
                </c:pt>
                <c:pt idx="8739">
                  <c:v>0</c:v>
                </c:pt>
                <c:pt idx="8740">
                  <c:v>3</c:v>
                </c:pt>
                <c:pt idx="8741">
                  <c:v>0</c:v>
                </c:pt>
                <c:pt idx="8742">
                  <c:v>2</c:v>
                </c:pt>
                <c:pt idx="8743">
                  <c:v>0</c:v>
                </c:pt>
                <c:pt idx="8744">
                  <c:v>0</c:v>
                </c:pt>
                <c:pt idx="8745">
                  <c:v>0</c:v>
                </c:pt>
                <c:pt idx="8746">
                  <c:v>0</c:v>
                </c:pt>
                <c:pt idx="8747">
                  <c:v>0</c:v>
                </c:pt>
                <c:pt idx="8748">
                  <c:v>0</c:v>
                </c:pt>
                <c:pt idx="8749">
                  <c:v>0</c:v>
                </c:pt>
                <c:pt idx="8750">
                  <c:v>0</c:v>
                </c:pt>
                <c:pt idx="8751">
                  <c:v>0</c:v>
                </c:pt>
                <c:pt idx="8752">
                  <c:v>0</c:v>
                </c:pt>
                <c:pt idx="8753">
                  <c:v>0</c:v>
                </c:pt>
                <c:pt idx="8754">
                  <c:v>0</c:v>
                </c:pt>
                <c:pt idx="8755">
                  <c:v>0</c:v>
                </c:pt>
                <c:pt idx="8756">
                  <c:v>0</c:v>
                </c:pt>
                <c:pt idx="8757">
                  <c:v>0</c:v>
                </c:pt>
                <c:pt idx="8758">
                  <c:v>7</c:v>
                </c:pt>
                <c:pt idx="8759">
                  <c:v>5</c:v>
                </c:pt>
                <c:pt idx="8760">
                  <c:v>0</c:v>
                </c:pt>
                <c:pt idx="8761">
                  <c:v>0</c:v>
                </c:pt>
                <c:pt idx="8762">
                  <c:v>0</c:v>
                </c:pt>
                <c:pt idx="8763">
                  <c:v>0</c:v>
                </c:pt>
                <c:pt idx="8764">
                  <c:v>0</c:v>
                </c:pt>
                <c:pt idx="8765">
                  <c:v>0</c:v>
                </c:pt>
                <c:pt idx="8766">
                  <c:v>0</c:v>
                </c:pt>
                <c:pt idx="8767">
                  <c:v>0</c:v>
                </c:pt>
                <c:pt idx="8768">
                  <c:v>0</c:v>
                </c:pt>
                <c:pt idx="8769">
                  <c:v>0</c:v>
                </c:pt>
                <c:pt idx="8770">
                  <c:v>0</c:v>
                </c:pt>
                <c:pt idx="8771">
                  <c:v>0</c:v>
                </c:pt>
                <c:pt idx="8772">
                  <c:v>0</c:v>
                </c:pt>
                <c:pt idx="8773">
                  <c:v>0</c:v>
                </c:pt>
                <c:pt idx="8774">
                  <c:v>0</c:v>
                </c:pt>
                <c:pt idx="8775">
                  <c:v>0</c:v>
                </c:pt>
                <c:pt idx="8776">
                  <c:v>2</c:v>
                </c:pt>
                <c:pt idx="8777">
                  <c:v>0</c:v>
                </c:pt>
                <c:pt idx="8778">
                  <c:v>0</c:v>
                </c:pt>
                <c:pt idx="8779">
                  <c:v>0</c:v>
                </c:pt>
                <c:pt idx="8780">
                  <c:v>0</c:v>
                </c:pt>
                <c:pt idx="8781">
                  <c:v>0</c:v>
                </c:pt>
                <c:pt idx="8782">
                  <c:v>0</c:v>
                </c:pt>
                <c:pt idx="8783">
                  <c:v>0</c:v>
                </c:pt>
                <c:pt idx="8784">
                  <c:v>0</c:v>
                </c:pt>
                <c:pt idx="8785">
                  <c:v>0</c:v>
                </c:pt>
                <c:pt idx="8786">
                  <c:v>1</c:v>
                </c:pt>
                <c:pt idx="8787">
                  <c:v>0</c:v>
                </c:pt>
                <c:pt idx="8788">
                  <c:v>0</c:v>
                </c:pt>
                <c:pt idx="8789">
                  <c:v>0</c:v>
                </c:pt>
                <c:pt idx="8790">
                  <c:v>0</c:v>
                </c:pt>
                <c:pt idx="8791">
                  <c:v>0</c:v>
                </c:pt>
                <c:pt idx="8792">
                  <c:v>0</c:v>
                </c:pt>
                <c:pt idx="8793">
                  <c:v>0</c:v>
                </c:pt>
                <c:pt idx="8794">
                  <c:v>0</c:v>
                </c:pt>
                <c:pt idx="8795">
                  <c:v>0</c:v>
                </c:pt>
                <c:pt idx="8796">
                  <c:v>0</c:v>
                </c:pt>
                <c:pt idx="8797">
                  <c:v>0</c:v>
                </c:pt>
                <c:pt idx="8798">
                  <c:v>0</c:v>
                </c:pt>
                <c:pt idx="8799">
                  <c:v>0</c:v>
                </c:pt>
                <c:pt idx="8800">
                  <c:v>0</c:v>
                </c:pt>
                <c:pt idx="8801">
                  <c:v>0</c:v>
                </c:pt>
                <c:pt idx="8802">
                  <c:v>0</c:v>
                </c:pt>
                <c:pt idx="8803">
                  <c:v>0</c:v>
                </c:pt>
                <c:pt idx="8804">
                  <c:v>0</c:v>
                </c:pt>
                <c:pt idx="8805">
                  <c:v>2</c:v>
                </c:pt>
                <c:pt idx="8806">
                  <c:v>0</c:v>
                </c:pt>
                <c:pt idx="8807">
                  <c:v>0</c:v>
                </c:pt>
                <c:pt idx="8808">
                  <c:v>0</c:v>
                </c:pt>
                <c:pt idx="8809">
                  <c:v>0</c:v>
                </c:pt>
                <c:pt idx="8810">
                  <c:v>0</c:v>
                </c:pt>
                <c:pt idx="8811">
                  <c:v>0</c:v>
                </c:pt>
                <c:pt idx="8812">
                  <c:v>1</c:v>
                </c:pt>
                <c:pt idx="8813">
                  <c:v>0</c:v>
                </c:pt>
                <c:pt idx="8814">
                  <c:v>0</c:v>
                </c:pt>
                <c:pt idx="8815">
                  <c:v>0</c:v>
                </c:pt>
                <c:pt idx="8816">
                  <c:v>0</c:v>
                </c:pt>
                <c:pt idx="8817">
                  <c:v>0</c:v>
                </c:pt>
                <c:pt idx="8818">
                  <c:v>0</c:v>
                </c:pt>
                <c:pt idx="8819">
                  <c:v>0</c:v>
                </c:pt>
                <c:pt idx="8820">
                  <c:v>0</c:v>
                </c:pt>
                <c:pt idx="8821">
                  <c:v>0</c:v>
                </c:pt>
                <c:pt idx="8822">
                  <c:v>0</c:v>
                </c:pt>
                <c:pt idx="8823">
                  <c:v>0</c:v>
                </c:pt>
                <c:pt idx="8824">
                  <c:v>0</c:v>
                </c:pt>
                <c:pt idx="8825">
                  <c:v>2</c:v>
                </c:pt>
                <c:pt idx="8826">
                  <c:v>0</c:v>
                </c:pt>
                <c:pt idx="8827">
                  <c:v>0</c:v>
                </c:pt>
                <c:pt idx="8828">
                  <c:v>0</c:v>
                </c:pt>
                <c:pt idx="8829">
                  <c:v>0</c:v>
                </c:pt>
                <c:pt idx="8830">
                  <c:v>1</c:v>
                </c:pt>
                <c:pt idx="8831">
                  <c:v>0</c:v>
                </c:pt>
                <c:pt idx="8832">
                  <c:v>0</c:v>
                </c:pt>
                <c:pt idx="8833">
                  <c:v>0</c:v>
                </c:pt>
                <c:pt idx="8834">
                  <c:v>0</c:v>
                </c:pt>
                <c:pt idx="8835">
                  <c:v>0</c:v>
                </c:pt>
                <c:pt idx="8836">
                  <c:v>0</c:v>
                </c:pt>
                <c:pt idx="8837">
                  <c:v>0</c:v>
                </c:pt>
                <c:pt idx="8838">
                  <c:v>2</c:v>
                </c:pt>
                <c:pt idx="8839">
                  <c:v>0</c:v>
                </c:pt>
                <c:pt idx="8840">
                  <c:v>1</c:v>
                </c:pt>
                <c:pt idx="8841">
                  <c:v>0</c:v>
                </c:pt>
                <c:pt idx="8842">
                  <c:v>0</c:v>
                </c:pt>
                <c:pt idx="8843">
                  <c:v>0</c:v>
                </c:pt>
                <c:pt idx="8844">
                  <c:v>0</c:v>
                </c:pt>
                <c:pt idx="8845">
                  <c:v>0</c:v>
                </c:pt>
                <c:pt idx="8846">
                  <c:v>0</c:v>
                </c:pt>
                <c:pt idx="8847">
                  <c:v>0</c:v>
                </c:pt>
                <c:pt idx="8848">
                  <c:v>0</c:v>
                </c:pt>
                <c:pt idx="8849">
                  <c:v>0</c:v>
                </c:pt>
                <c:pt idx="8850">
                  <c:v>0</c:v>
                </c:pt>
                <c:pt idx="8851">
                  <c:v>2</c:v>
                </c:pt>
                <c:pt idx="8852">
                  <c:v>0</c:v>
                </c:pt>
                <c:pt idx="8853">
                  <c:v>0</c:v>
                </c:pt>
                <c:pt idx="8854">
                  <c:v>0</c:v>
                </c:pt>
                <c:pt idx="8855">
                  <c:v>1</c:v>
                </c:pt>
                <c:pt idx="8856">
                  <c:v>0</c:v>
                </c:pt>
                <c:pt idx="8857">
                  <c:v>0</c:v>
                </c:pt>
                <c:pt idx="8858">
                  <c:v>2</c:v>
                </c:pt>
                <c:pt idx="8859">
                  <c:v>0</c:v>
                </c:pt>
                <c:pt idx="8860">
                  <c:v>0</c:v>
                </c:pt>
                <c:pt idx="8861">
                  <c:v>0</c:v>
                </c:pt>
                <c:pt idx="8862">
                  <c:v>4</c:v>
                </c:pt>
                <c:pt idx="8863">
                  <c:v>2</c:v>
                </c:pt>
                <c:pt idx="8864">
                  <c:v>0</c:v>
                </c:pt>
                <c:pt idx="8865">
                  <c:v>3</c:v>
                </c:pt>
                <c:pt idx="8866">
                  <c:v>3</c:v>
                </c:pt>
                <c:pt idx="8867">
                  <c:v>3</c:v>
                </c:pt>
                <c:pt idx="8868">
                  <c:v>1</c:v>
                </c:pt>
                <c:pt idx="8869">
                  <c:v>0</c:v>
                </c:pt>
                <c:pt idx="8870">
                  <c:v>0</c:v>
                </c:pt>
                <c:pt idx="8871">
                  <c:v>4</c:v>
                </c:pt>
                <c:pt idx="8872">
                  <c:v>2</c:v>
                </c:pt>
                <c:pt idx="8873">
                  <c:v>2</c:v>
                </c:pt>
                <c:pt idx="8874">
                  <c:v>0</c:v>
                </c:pt>
                <c:pt idx="8875">
                  <c:v>0</c:v>
                </c:pt>
                <c:pt idx="8876">
                  <c:v>0</c:v>
                </c:pt>
                <c:pt idx="8877">
                  <c:v>0</c:v>
                </c:pt>
                <c:pt idx="8878">
                  <c:v>0</c:v>
                </c:pt>
                <c:pt idx="8879">
                  <c:v>0</c:v>
                </c:pt>
                <c:pt idx="8880">
                  <c:v>2</c:v>
                </c:pt>
                <c:pt idx="8881">
                  <c:v>1</c:v>
                </c:pt>
                <c:pt idx="8882">
                  <c:v>2</c:v>
                </c:pt>
                <c:pt idx="8883">
                  <c:v>0</c:v>
                </c:pt>
                <c:pt idx="8884">
                  <c:v>0</c:v>
                </c:pt>
                <c:pt idx="8885">
                  <c:v>0</c:v>
                </c:pt>
                <c:pt idx="8886">
                  <c:v>0</c:v>
                </c:pt>
                <c:pt idx="8887">
                  <c:v>0</c:v>
                </c:pt>
                <c:pt idx="8888">
                  <c:v>0</c:v>
                </c:pt>
                <c:pt idx="8889">
                  <c:v>0</c:v>
                </c:pt>
                <c:pt idx="8890">
                  <c:v>0</c:v>
                </c:pt>
                <c:pt idx="8891">
                  <c:v>0</c:v>
                </c:pt>
                <c:pt idx="8892">
                  <c:v>0</c:v>
                </c:pt>
                <c:pt idx="8893">
                  <c:v>0</c:v>
                </c:pt>
                <c:pt idx="8894">
                  <c:v>0</c:v>
                </c:pt>
                <c:pt idx="8895">
                  <c:v>1</c:v>
                </c:pt>
                <c:pt idx="8896">
                  <c:v>0</c:v>
                </c:pt>
                <c:pt idx="8897">
                  <c:v>0</c:v>
                </c:pt>
                <c:pt idx="8898">
                  <c:v>0</c:v>
                </c:pt>
                <c:pt idx="8899">
                  <c:v>0</c:v>
                </c:pt>
                <c:pt idx="8900">
                  <c:v>0</c:v>
                </c:pt>
                <c:pt idx="8901">
                  <c:v>0</c:v>
                </c:pt>
                <c:pt idx="8902">
                  <c:v>0</c:v>
                </c:pt>
                <c:pt idx="8903">
                  <c:v>0</c:v>
                </c:pt>
                <c:pt idx="8904">
                  <c:v>0</c:v>
                </c:pt>
                <c:pt idx="8905">
                  <c:v>0</c:v>
                </c:pt>
                <c:pt idx="8906">
                  <c:v>0</c:v>
                </c:pt>
                <c:pt idx="8907">
                  <c:v>0</c:v>
                </c:pt>
                <c:pt idx="8908">
                  <c:v>0</c:v>
                </c:pt>
                <c:pt idx="8909">
                  <c:v>0</c:v>
                </c:pt>
                <c:pt idx="8910">
                  <c:v>0</c:v>
                </c:pt>
                <c:pt idx="8911">
                  <c:v>0</c:v>
                </c:pt>
                <c:pt idx="8912">
                  <c:v>0</c:v>
                </c:pt>
                <c:pt idx="8913">
                  <c:v>1</c:v>
                </c:pt>
                <c:pt idx="8914">
                  <c:v>4</c:v>
                </c:pt>
                <c:pt idx="8915">
                  <c:v>0</c:v>
                </c:pt>
                <c:pt idx="8916">
                  <c:v>0</c:v>
                </c:pt>
                <c:pt idx="8917">
                  <c:v>0</c:v>
                </c:pt>
                <c:pt idx="8918">
                  <c:v>0</c:v>
                </c:pt>
                <c:pt idx="8919">
                  <c:v>0</c:v>
                </c:pt>
                <c:pt idx="8920">
                  <c:v>0</c:v>
                </c:pt>
                <c:pt idx="8921">
                  <c:v>0</c:v>
                </c:pt>
                <c:pt idx="8922">
                  <c:v>0</c:v>
                </c:pt>
                <c:pt idx="8923">
                  <c:v>0</c:v>
                </c:pt>
                <c:pt idx="8924">
                  <c:v>0</c:v>
                </c:pt>
                <c:pt idx="8925">
                  <c:v>0</c:v>
                </c:pt>
                <c:pt idx="8926">
                  <c:v>0</c:v>
                </c:pt>
                <c:pt idx="8927">
                  <c:v>0</c:v>
                </c:pt>
                <c:pt idx="8928">
                  <c:v>0</c:v>
                </c:pt>
                <c:pt idx="8929">
                  <c:v>0</c:v>
                </c:pt>
                <c:pt idx="8930">
                  <c:v>0</c:v>
                </c:pt>
                <c:pt idx="8931">
                  <c:v>0</c:v>
                </c:pt>
                <c:pt idx="8932">
                  <c:v>0</c:v>
                </c:pt>
                <c:pt idx="8933">
                  <c:v>0</c:v>
                </c:pt>
                <c:pt idx="8934">
                  <c:v>0</c:v>
                </c:pt>
                <c:pt idx="8935">
                  <c:v>0</c:v>
                </c:pt>
                <c:pt idx="8936">
                  <c:v>0</c:v>
                </c:pt>
                <c:pt idx="8937">
                  <c:v>0</c:v>
                </c:pt>
                <c:pt idx="8938">
                  <c:v>0</c:v>
                </c:pt>
                <c:pt idx="8939">
                  <c:v>0</c:v>
                </c:pt>
                <c:pt idx="8940">
                  <c:v>1</c:v>
                </c:pt>
                <c:pt idx="8941">
                  <c:v>0</c:v>
                </c:pt>
                <c:pt idx="8942">
                  <c:v>2</c:v>
                </c:pt>
                <c:pt idx="8943">
                  <c:v>0</c:v>
                </c:pt>
                <c:pt idx="8944">
                  <c:v>0</c:v>
                </c:pt>
                <c:pt idx="8945">
                  <c:v>0</c:v>
                </c:pt>
                <c:pt idx="8946">
                  <c:v>0</c:v>
                </c:pt>
                <c:pt idx="8947">
                  <c:v>0</c:v>
                </c:pt>
                <c:pt idx="8948">
                  <c:v>0</c:v>
                </c:pt>
                <c:pt idx="8949">
                  <c:v>0</c:v>
                </c:pt>
                <c:pt idx="8950">
                  <c:v>0</c:v>
                </c:pt>
                <c:pt idx="8951">
                  <c:v>0</c:v>
                </c:pt>
                <c:pt idx="8952">
                  <c:v>0</c:v>
                </c:pt>
                <c:pt idx="8953">
                  <c:v>0</c:v>
                </c:pt>
                <c:pt idx="8954">
                  <c:v>0</c:v>
                </c:pt>
                <c:pt idx="8955">
                  <c:v>0</c:v>
                </c:pt>
                <c:pt idx="8956">
                  <c:v>0</c:v>
                </c:pt>
                <c:pt idx="8957">
                  <c:v>0</c:v>
                </c:pt>
                <c:pt idx="8958">
                  <c:v>0</c:v>
                </c:pt>
                <c:pt idx="8959">
                  <c:v>0</c:v>
                </c:pt>
                <c:pt idx="8960">
                  <c:v>1</c:v>
                </c:pt>
                <c:pt idx="8961">
                  <c:v>0</c:v>
                </c:pt>
                <c:pt idx="8962">
                  <c:v>0</c:v>
                </c:pt>
                <c:pt idx="8963">
                  <c:v>0</c:v>
                </c:pt>
                <c:pt idx="8964">
                  <c:v>1</c:v>
                </c:pt>
                <c:pt idx="8965">
                  <c:v>0</c:v>
                </c:pt>
                <c:pt idx="8966">
                  <c:v>0</c:v>
                </c:pt>
                <c:pt idx="8967">
                  <c:v>0</c:v>
                </c:pt>
                <c:pt idx="8968">
                  <c:v>0</c:v>
                </c:pt>
                <c:pt idx="8969">
                  <c:v>0</c:v>
                </c:pt>
                <c:pt idx="8970">
                  <c:v>0</c:v>
                </c:pt>
                <c:pt idx="8971">
                  <c:v>0</c:v>
                </c:pt>
                <c:pt idx="8972">
                  <c:v>0</c:v>
                </c:pt>
                <c:pt idx="8973">
                  <c:v>0</c:v>
                </c:pt>
                <c:pt idx="8974">
                  <c:v>0</c:v>
                </c:pt>
                <c:pt idx="8975">
                  <c:v>0</c:v>
                </c:pt>
                <c:pt idx="8976">
                  <c:v>0</c:v>
                </c:pt>
                <c:pt idx="8977">
                  <c:v>0</c:v>
                </c:pt>
                <c:pt idx="8978">
                  <c:v>0</c:v>
                </c:pt>
                <c:pt idx="8979">
                  <c:v>0</c:v>
                </c:pt>
                <c:pt idx="8980">
                  <c:v>1</c:v>
                </c:pt>
                <c:pt idx="8981">
                  <c:v>1</c:v>
                </c:pt>
                <c:pt idx="8982">
                  <c:v>1</c:v>
                </c:pt>
                <c:pt idx="8983">
                  <c:v>0</c:v>
                </c:pt>
                <c:pt idx="8984">
                  <c:v>0</c:v>
                </c:pt>
                <c:pt idx="8985">
                  <c:v>0</c:v>
                </c:pt>
                <c:pt idx="8986">
                  <c:v>0</c:v>
                </c:pt>
                <c:pt idx="8987">
                  <c:v>0</c:v>
                </c:pt>
                <c:pt idx="8988">
                  <c:v>0</c:v>
                </c:pt>
                <c:pt idx="8989">
                  <c:v>0</c:v>
                </c:pt>
                <c:pt idx="8990">
                  <c:v>0</c:v>
                </c:pt>
                <c:pt idx="8991">
                  <c:v>0</c:v>
                </c:pt>
                <c:pt idx="8992">
                  <c:v>0</c:v>
                </c:pt>
                <c:pt idx="8993">
                  <c:v>0</c:v>
                </c:pt>
                <c:pt idx="8994">
                  <c:v>0</c:v>
                </c:pt>
                <c:pt idx="8995">
                  <c:v>0</c:v>
                </c:pt>
                <c:pt idx="8996">
                  <c:v>0</c:v>
                </c:pt>
                <c:pt idx="8997">
                  <c:v>0</c:v>
                </c:pt>
                <c:pt idx="8998">
                  <c:v>2</c:v>
                </c:pt>
                <c:pt idx="8999">
                  <c:v>0</c:v>
                </c:pt>
                <c:pt idx="9000">
                  <c:v>0</c:v>
                </c:pt>
                <c:pt idx="9001">
                  <c:v>0</c:v>
                </c:pt>
                <c:pt idx="9002">
                  <c:v>0</c:v>
                </c:pt>
                <c:pt idx="9003">
                  <c:v>0</c:v>
                </c:pt>
                <c:pt idx="9004">
                  <c:v>0</c:v>
                </c:pt>
                <c:pt idx="9005">
                  <c:v>0</c:v>
                </c:pt>
                <c:pt idx="9006">
                  <c:v>0</c:v>
                </c:pt>
                <c:pt idx="9007">
                  <c:v>0</c:v>
                </c:pt>
                <c:pt idx="9008">
                  <c:v>0</c:v>
                </c:pt>
                <c:pt idx="9009">
                  <c:v>0</c:v>
                </c:pt>
                <c:pt idx="9010">
                  <c:v>0</c:v>
                </c:pt>
                <c:pt idx="9011">
                  <c:v>0</c:v>
                </c:pt>
                <c:pt idx="9012">
                  <c:v>4</c:v>
                </c:pt>
                <c:pt idx="9013">
                  <c:v>0</c:v>
                </c:pt>
                <c:pt idx="9014">
                  <c:v>0</c:v>
                </c:pt>
                <c:pt idx="9015">
                  <c:v>1</c:v>
                </c:pt>
                <c:pt idx="9016">
                  <c:v>5</c:v>
                </c:pt>
                <c:pt idx="9017">
                  <c:v>0</c:v>
                </c:pt>
                <c:pt idx="9018">
                  <c:v>0</c:v>
                </c:pt>
                <c:pt idx="9019">
                  <c:v>0</c:v>
                </c:pt>
                <c:pt idx="9020">
                  <c:v>0</c:v>
                </c:pt>
                <c:pt idx="9021">
                  <c:v>0</c:v>
                </c:pt>
                <c:pt idx="9022">
                  <c:v>0</c:v>
                </c:pt>
                <c:pt idx="9023">
                  <c:v>4</c:v>
                </c:pt>
                <c:pt idx="9024">
                  <c:v>0</c:v>
                </c:pt>
                <c:pt idx="9025">
                  <c:v>0</c:v>
                </c:pt>
                <c:pt idx="9026">
                  <c:v>0</c:v>
                </c:pt>
                <c:pt idx="9027">
                  <c:v>0</c:v>
                </c:pt>
                <c:pt idx="9028">
                  <c:v>0</c:v>
                </c:pt>
                <c:pt idx="9029">
                  <c:v>0</c:v>
                </c:pt>
                <c:pt idx="9030">
                  <c:v>0</c:v>
                </c:pt>
                <c:pt idx="9031">
                  <c:v>1</c:v>
                </c:pt>
                <c:pt idx="9032">
                  <c:v>0</c:v>
                </c:pt>
                <c:pt idx="9033">
                  <c:v>0</c:v>
                </c:pt>
                <c:pt idx="9034">
                  <c:v>0</c:v>
                </c:pt>
                <c:pt idx="9035">
                  <c:v>0</c:v>
                </c:pt>
                <c:pt idx="9036">
                  <c:v>0</c:v>
                </c:pt>
                <c:pt idx="9037">
                  <c:v>1</c:v>
                </c:pt>
                <c:pt idx="9038">
                  <c:v>0</c:v>
                </c:pt>
                <c:pt idx="9039">
                  <c:v>0</c:v>
                </c:pt>
                <c:pt idx="9040">
                  <c:v>0</c:v>
                </c:pt>
                <c:pt idx="9041">
                  <c:v>0</c:v>
                </c:pt>
                <c:pt idx="9042">
                  <c:v>0</c:v>
                </c:pt>
                <c:pt idx="9043">
                  <c:v>2</c:v>
                </c:pt>
                <c:pt idx="9044">
                  <c:v>1</c:v>
                </c:pt>
                <c:pt idx="9045">
                  <c:v>1</c:v>
                </c:pt>
                <c:pt idx="9046">
                  <c:v>1</c:v>
                </c:pt>
                <c:pt idx="9047">
                  <c:v>0</c:v>
                </c:pt>
                <c:pt idx="9048">
                  <c:v>4</c:v>
                </c:pt>
                <c:pt idx="9049">
                  <c:v>0</c:v>
                </c:pt>
                <c:pt idx="9050">
                  <c:v>0</c:v>
                </c:pt>
                <c:pt idx="9051">
                  <c:v>0</c:v>
                </c:pt>
                <c:pt idx="9052">
                  <c:v>0</c:v>
                </c:pt>
                <c:pt idx="9053">
                  <c:v>0</c:v>
                </c:pt>
                <c:pt idx="9054">
                  <c:v>1</c:v>
                </c:pt>
                <c:pt idx="9055">
                  <c:v>0</c:v>
                </c:pt>
                <c:pt idx="9056">
                  <c:v>2</c:v>
                </c:pt>
                <c:pt idx="9057">
                  <c:v>0</c:v>
                </c:pt>
                <c:pt idx="9058">
                  <c:v>2</c:v>
                </c:pt>
                <c:pt idx="9059">
                  <c:v>0</c:v>
                </c:pt>
                <c:pt idx="9060">
                  <c:v>0</c:v>
                </c:pt>
                <c:pt idx="9061">
                  <c:v>4</c:v>
                </c:pt>
                <c:pt idx="9062">
                  <c:v>0</c:v>
                </c:pt>
                <c:pt idx="9063">
                  <c:v>1</c:v>
                </c:pt>
                <c:pt idx="9064">
                  <c:v>0</c:v>
                </c:pt>
                <c:pt idx="9065">
                  <c:v>0</c:v>
                </c:pt>
                <c:pt idx="9066">
                  <c:v>0</c:v>
                </c:pt>
                <c:pt idx="9067">
                  <c:v>2</c:v>
                </c:pt>
                <c:pt idx="9068">
                  <c:v>0</c:v>
                </c:pt>
                <c:pt idx="9069">
                  <c:v>0</c:v>
                </c:pt>
                <c:pt idx="9070">
                  <c:v>0</c:v>
                </c:pt>
                <c:pt idx="9071">
                  <c:v>0</c:v>
                </c:pt>
                <c:pt idx="9072">
                  <c:v>0</c:v>
                </c:pt>
                <c:pt idx="9073">
                  <c:v>0</c:v>
                </c:pt>
                <c:pt idx="9074">
                  <c:v>0</c:v>
                </c:pt>
                <c:pt idx="9075">
                  <c:v>1</c:v>
                </c:pt>
                <c:pt idx="9076">
                  <c:v>0</c:v>
                </c:pt>
                <c:pt idx="9077">
                  <c:v>0</c:v>
                </c:pt>
                <c:pt idx="9078">
                  <c:v>0</c:v>
                </c:pt>
                <c:pt idx="9079">
                  <c:v>0</c:v>
                </c:pt>
                <c:pt idx="9080">
                  <c:v>0</c:v>
                </c:pt>
                <c:pt idx="9081">
                  <c:v>0</c:v>
                </c:pt>
                <c:pt idx="9082">
                  <c:v>0</c:v>
                </c:pt>
                <c:pt idx="9083">
                  <c:v>2</c:v>
                </c:pt>
                <c:pt idx="9084">
                  <c:v>3</c:v>
                </c:pt>
                <c:pt idx="9085">
                  <c:v>0</c:v>
                </c:pt>
                <c:pt idx="9086">
                  <c:v>2</c:v>
                </c:pt>
                <c:pt idx="9087">
                  <c:v>0</c:v>
                </c:pt>
                <c:pt idx="9088">
                  <c:v>0</c:v>
                </c:pt>
                <c:pt idx="9089">
                  <c:v>1</c:v>
                </c:pt>
                <c:pt idx="9090">
                  <c:v>0</c:v>
                </c:pt>
                <c:pt idx="9091">
                  <c:v>0</c:v>
                </c:pt>
                <c:pt idx="9092">
                  <c:v>0</c:v>
                </c:pt>
                <c:pt idx="9093">
                  <c:v>0</c:v>
                </c:pt>
                <c:pt idx="9094">
                  <c:v>0</c:v>
                </c:pt>
                <c:pt idx="9095">
                  <c:v>0</c:v>
                </c:pt>
                <c:pt idx="9096">
                  <c:v>0</c:v>
                </c:pt>
                <c:pt idx="9097">
                  <c:v>0</c:v>
                </c:pt>
                <c:pt idx="9098">
                  <c:v>0</c:v>
                </c:pt>
                <c:pt idx="9099">
                  <c:v>0</c:v>
                </c:pt>
                <c:pt idx="9100">
                  <c:v>0</c:v>
                </c:pt>
                <c:pt idx="9101">
                  <c:v>1</c:v>
                </c:pt>
                <c:pt idx="9102">
                  <c:v>1</c:v>
                </c:pt>
                <c:pt idx="9103">
                  <c:v>0</c:v>
                </c:pt>
                <c:pt idx="9104">
                  <c:v>1</c:v>
                </c:pt>
                <c:pt idx="9105">
                  <c:v>0</c:v>
                </c:pt>
                <c:pt idx="9106">
                  <c:v>0</c:v>
                </c:pt>
                <c:pt idx="9107">
                  <c:v>1</c:v>
                </c:pt>
                <c:pt idx="9108">
                  <c:v>0</c:v>
                </c:pt>
                <c:pt idx="9109">
                  <c:v>1</c:v>
                </c:pt>
                <c:pt idx="9110">
                  <c:v>0</c:v>
                </c:pt>
                <c:pt idx="9111">
                  <c:v>9</c:v>
                </c:pt>
                <c:pt idx="9112">
                  <c:v>0</c:v>
                </c:pt>
                <c:pt idx="9113">
                  <c:v>0</c:v>
                </c:pt>
                <c:pt idx="9114">
                  <c:v>0</c:v>
                </c:pt>
                <c:pt idx="9115">
                  <c:v>0</c:v>
                </c:pt>
                <c:pt idx="9116">
                  <c:v>2</c:v>
                </c:pt>
                <c:pt idx="9117">
                  <c:v>1</c:v>
                </c:pt>
                <c:pt idx="9118">
                  <c:v>3</c:v>
                </c:pt>
                <c:pt idx="9119">
                  <c:v>1</c:v>
                </c:pt>
                <c:pt idx="9120">
                  <c:v>0</c:v>
                </c:pt>
                <c:pt idx="9121">
                  <c:v>0</c:v>
                </c:pt>
                <c:pt idx="9122">
                  <c:v>1</c:v>
                </c:pt>
                <c:pt idx="9123">
                  <c:v>2</c:v>
                </c:pt>
                <c:pt idx="9124">
                  <c:v>5</c:v>
                </c:pt>
                <c:pt idx="9125">
                  <c:v>1</c:v>
                </c:pt>
                <c:pt idx="9126">
                  <c:v>0</c:v>
                </c:pt>
                <c:pt idx="9127">
                  <c:v>8</c:v>
                </c:pt>
                <c:pt idx="9128">
                  <c:v>2</c:v>
                </c:pt>
                <c:pt idx="9129">
                  <c:v>3</c:v>
                </c:pt>
                <c:pt idx="9130">
                  <c:v>2</c:v>
                </c:pt>
                <c:pt idx="9131">
                  <c:v>0</c:v>
                </c:pt>
                <c:pt idx="9132">
                  <c:v>0</c:v>
                </c:pt>
                <c:pt idx="9133">
                  <c:v>4</c:v>
                </c:pt>
                <c:pt idx="9134">
                  <c:v>1</c:v>
                </c:pt>
                <c:pt idx="9135">
                  <c:v>0</c:v>
                </c:pt>
                <c:pt idx="9136">
                  <c:v>1</c:v>
                </c:pt>
                <c:pt idx="9137">
                  <c:v>0</c:v>
                </c:pt>
                <c:pt idx="9138">
                  <c:v>0</c:v>
                </c:pt>
                <c:pt idx="9139">
                  <c:v>0</c:v>
                </c:pt>
                <c:pt idx="9140">
                  <c:v>1</c:v>
                </c:pt>
                <c:pt idx="9141">
                  <c:v>2</c:v>
                </c:pt>
                <c:pt idx="9142">
                  <c:v>0</c:v>
                </c:pt>
                <c:pt idx="9143">
                  <c:v>0</c:v>
                </c:pt>
                <c:pt idx="9144">
                  <c:v>0</c:v>
                </c:pt>
                <c:pt idx="9145">
                  <c:v>0</c:v>
                </c:pt>
                <c:pt idx="9146">
                  <c:v>0</c:v>
                </c:pt>
                <c:pt idx="9147">
                  <c:v>0</c:v>
                </c:pt>
                <c:pt idx="9148">
                  <c:v>0</c:v>
                </c:pt>
                <c:pt idx="9149">
                  <c:v>0</c:v>
                </c:pt>
                <c:pt idx="9150">
                  <c:v>0</c:v>
                </c:pt>
                <c:pt idx="9151">
                  <c:v>0</c:v>
                </c:pt>
                <c:pt idx="9152">
                  <c:v>0</c:v>
                </c:pt>
                <c:pt idx="9153">
                  <c:v>0</c:v>
                </c:pt>
                <c:pt idx="9154">
                  <c:v>0</c:v>
                </c:pt>
                <c:pt idx="9155">
                  <c:v>0</c:v>
                </c:pt>
                <c:pt idx="9156">
                  <c:v>0</c:v>
                </c:pt>
                <c:pt idx="9157">
                  <c:v>0</c:v>
                </c:pt>
                <c:pt idx="9158">
                  <c:v>0</c:v>
                </c:pt>
                <c:pt idx="9159">
                  <c:v>0</c:v>
                </c:pt>
                <c:pt idx="9160">
                  <c:v>0</c:v>
                </c:pt>
                <c:pt idx="9161">
                  <c:v>0</c:v>
                </c:pt>
                <c:pt idx="9162">
                  <c:v>0</c:v>
                </c:pt>
                <c:pt idx="9163">
                  <c:v>0</c:v>
                </c:pt>
                <c:pt idx="9164">
                  <c:v>0</c:v>
                </c:pt>
                <c:pt idx="9165">
                  <c:v>0</c:v>
                </c:pt>
                <c:pt idx="9166">
                  <c:v>0</c:v>
                </c:pt>
                <c:pt idx="9167">
                  <c:v>0</c:v>
                </c:pt>
                <c:pt idx="9168">
                  <c:v>0</c:v>
                </c:pt>
                <c:pt idx="9169">
                  <c:v>1</c:v>
                </c:pt>
                <c:pt idx="9170">
                  <c:v>2</c:v>
                </c:pt>
                <c:pt idx="9171">
                  <c:v>1</c:v>
                </c:pt>
                <c:pt idx="9172">
                  <c:v>0</c:v>
                </c:pt>
                <c:pt idx="9173">
                  <c:v>0</c:v>
                </c:pt>
                <c:pt idx="9174">
                  <c:v>0</c:v>
                </c:pt>
                <c:pt idx="9175">
                  <c:v>0</c:v>
                </c:pt>
                <c:pt idx="9176">
                  <c:v>0</c:v>
                </c:pt>
                <c:pt idx="9177">
                  <c:v>0</c:v>
                </c:pt>
                <c:pt idx="9178">
                  <c:v>0</c:v>
                </c:pt>
                <c:pt idx="9179">
                  <c:v>0</c:v>
                </c:pt>
                <c:pt idx="9180">
                  <c:v>0</c:v>
                </c:pt>
                <c:pt idx="9181">
                  <c:v>0</c:v>
                </c:pt>
                <c:pt idx="9182">
                  <c:v>0</c:v>
                </c:pt>
                <c:pt idx="9183">
                  <c:v>0</c:v>
                </c:pt>
                <c:pt idx="9184">
                  <c:v>0</c:v>
                </c:pt>
                <c:pt idx="9185">
                  <c:v>0</c:v>
                </c:pt>
                <c:pt idx="9186">
                  <c:v>0</c:v>
                </c:pt>
                <c:pt idx="9187">
                  <c:v>0</c:v>
                </c:pt>
                <c:pt idx="9188">
                  <c:v>0</c:v>
                </c:pt>
                <c:pt idx="9189">
                  <c:v>0</c:v>
                </c:pt>
                <c:pt idx="9190">
                  <c:v>0</c:v>
                </c:pt>
                <c:pt idx="9191">
                  <c:v>0</c:v>
                </c:pt>
                <c:pt idx="9192">
                  <c:v>0</c:v>
                </c:pt>
                <c:pt idx="9193">
                  <c:v>0</c:v>
                </c:pt>
                <c:pt idx="9194">
                  <c:v>1</c:v>
                </c:pt>
                <c:pt idx="9195">
                  <c:v>0</c:v>
                </c:pt>
                <c:pt idx="9196">
                  <c:v>0</c:v>
                </c:pt>
                <c:pt idx="9197">
                  <c:v>0</c:v>
                </c:pt>
                <c:pt idx="9198">
                  <c:v>0</c:v>
                </c:pt>
                <c:pt idx="9199">
                  <c:v>0</c:v>
                </c:pt>
                <c:pt idx="9200">
                  <c:v>0</c:v>
                </c:pt>
                <c:pt idx="9201">
                  <c:v>0</c:v>
                </c:pt>
                <c:pt idx="9202">
                  <c:v>1</c:v>
                </c:pt>
                <c:pt idx="9203">
                  <c:v>0</c:v>
                </c:pt>
                <c:pt idx="9204">
                  <c:v>0</c:v>
                </c:pt>
                <c:pt idx="9205">
                  <c:v>0</c:v>
                </c:pt>
                <c:pt idx="9206">
                  <c:v>0</c:v>
                </c:pt>
                <c:pt idx="9207">
                  <c:v>0</c:v>
                </c:pt>
                <c:pt idx="9208">
                  <c:v>0</c:v>
                </c:pt>
                <c:pt idx="9209">
                  <c:v>0</c:v>
                </c:pt>
                <c:pt idx="9210">
                  <c:v>5</c:v>
                </c:pt>
                <c:pt idx="9211">
                  <c:v>5</c:v>
                </c:pt>
                <c:pt idx="9212">
                  <c:v>0</c:v>
                </c:pt>
                <c:pt idx="9213">
                  <c:v>1</c:v>
                </c:pt>
                <c:pt idx="9214">
                  <c:v>1</c:v>
                </c:pt>
                <c:pt idx="9215">
                  <c:v>3</c:v>
                </c:pt>
                <c:pt idx="9216">
                  <c:v>1</c:v>
                </c:pt>
                <c:pt idx="9217">
                  <c:v>0</c:v>
                </c:pt>
                <c:pt idx="9218">
                  <c:v>0</c:v>
                </c:pt>
                <c:pt idx="9219">
                  <c:v>0</c:v>
                </c:pt>
                <c:pt idx="9220">
                  <c:v>0</c:v>
                </c:pt>
                <c:pt idx="9221">
                  <c:v>1</c:v>
                </c:pt>
                <c:pt idx="9222">
                  <c:v>0</c:v>
                </c:pt>
                <c:pt idx="9223">
                  <c:v>1</c:v>
                </c:pt>
                <c:pt idx="9224">
                  <c:v>1</c:v>
                </c:pt>
                <c:pt idx="9225">
                  <c:v>3</c:v>
                </c:pt>
                <c:pt idx="9226">
                  <c:v>1</c:v>
                </c:pt>
                <c:pt idx="9227">
                  <c:v>0</c:v>
                </c:pt>
                <c:pt idx="9228">
                  <c:v>1</c:v>
                </c:pt>
                <c:pt idx="9229">
                  <c:v>0</c:v>
                </c:pt>
                <c:pt idx="9230">
                  <c:v>0</c:v>
                </c:pt>
                <c:pt idx="9231">
                  <c:v>0</c:v>
                </c:pt>
                <c:pt idx="9232">
                  <c:v>0</c:v>
                </c:pt>
                <c:pt idx="9233">
                  <c:v>0</c:v>
                </c:pt>
                <c:pt idx="9234">
                  <c:v>0</c:v>
                </c:pt>
                <c:pt idx="9235">
                  <c:v>0</c:v>
                </c:pt>
                <c:pt idx="9236">
                  <c:v>0</c:v>
                </c:pt>
                <c:pt idx="9237">
                  <c:v>0</c:v>
                </c:pt>
                <c:pt idx="9238">
                  <c:v>1</c:v>
                </c:pt>
                <c:pt idx="9239">
                  <c:v>0</c:v>
                </c:pt>
                <c:pt idx="9240">
                  <c:v>0</c:v>
                </c:pt>
                <c:pt idx="9241">
                  <c:v>0</c:v>
                </c:pt>
                <c:pt idx="9242">
                  <c:v>6</c:v>
                </c:pt>
                <c:pt idx="9243">
                  <c:v>2</c:v>
                </c:pt>
                <c:pt idx="9244">
                  <c:v>1</c:v>
                </c:pt>
                <c:pt idx="9245">
                  <c:v>0</c:v>
                </c:pt>
                <c:pt idx="9246">
                  <c:v>2</c:v>
                </c:pt>
                <c:pt idx="9247">
                  <c:v>4</c:v>
                </c:pt>
                <c:pt idx="9248">
                  <c:v>0</c:v>
                </c:pt>
                <c:pt idx="9249">
                  <c:v>0</c:v>
                </c:pt>
                <c:pt idx="9250">
                  <c:v>0</c:v>
                </c:pt>
                <c:pt idx="9251">
                  <c:v>0</c:v>
                </c:pt>
                <c:pt idx="9252">
                  <c:v>0</c:v>
                </c:pt>
                <c:pt idx="9253">
                  <c:v>0</c:v>
                </c:pt>
                <c:pt idx="9254">
                  <c:v>0</c:v>
                </c:pt>
                <c:pt idx="9255">
                  <c:v>0</c:v>
                </c:pt>
                <c:pt idx="9256">
                  <c:v>0</c:v>
                </c:pt>
                <c:pt idx="9257">
                  <c:v>0</c:v>
                </c:pt>
                <c:pt idx="9258">
                  <c:v>0</c:v>
                </c:pt>
                <c:pt idx="9259">
                  <c:v>0</c:v>
                </c:pt>
                <c:pt idx="9260">
                  <c:v>0</c:v>
                </c:pt>
                <c:pt idx="9261">
                  <c:v>0</c:v>
                </c:pt>
                <c:pt idx="9262">
                  <c:v>1</c:v>
                </c:pt>
                <c:pt idx="9263">
                  <c:v>0</c:v>
                </c:pt>
                <c:pt idx="9264">
                  <c:v>0</c:v>
                </c:pt>
                <c:pt idx="9265">
                  <c:v>0</c:v>
                </c:pt>
                <c:pt idx="9266">
                  <c:v>0</c:v>
                </c:pt>
                <c:pt idx="9267">
                  <c:v>0</c:v>
                </c:pt>
                <c:pt idx="9268">
                  <c:v>0</c:v>
                </c:pt>
                <c:pt idx="9269">
                  <c:v>0</c:v>
                </c:pt>
                <c:pt idx="9270">
                  <c:v>0</c:v>
                </c:pt>
                <c:pt idx="9271">
                  <c:v>0</c:v>
                </c:pt>
                <c:pt idx="9272">
                  <c:v>0</c:v>
                </c:pt>
                <c:pt idx="9273">
                  <c:v>0</c:v>
                </c:pt>
                <c:pt idx="9274">
                  <c:v>0</c:v>
                </c:pt>
                <c:pt idx="9275">
                  <c:v>0</c:v>
                </c:pt>
                <c:pt idx="9276">
                  <c:v>1</c:v>
                </c:pt>
                <c:pt idx="9277">
                  <c:v>0</c:v>
                </c:pt>
                <c:pt idx="9278">
                  <c:v>0</c:v>
                </c:pt>
                <c:pt idx="9279">
                  <c:v>2</c:v>
                </c:pt>
                <c:pt idx="9280">
                  <c:v>1</c:v>
                </c:pt>
                <c:pt idx="9281">
                  <c:v>0</c:v>
                </c:pt>
                <c:pt idx="9282">
                  <c:v>0</c:v>
                </c:pt>
                <c:pt idx="9283">
                  <c:v>0</c:v>
                </c:pt>
                <c:pt idx="9284">
                  <c:v>2</c:v>
                </c:pt>
                <c:pt idx="9285">
                  <c:v>0</c:v>
                </c:pt>
                <c:pt idx="9286">
                  <c:v>0</c:v>
                </c:pt>
                <c:pt idx="9287">
                  <c:v>0</c:v>
                </c:pt>
                <c:pt idx="9288">
                  <c:v>0</c:v>
                </c:pt>
                <c:pt idx="9289">
                  <c:v>1</c:v>
                </c:pt>
                <c:pt idx="9290">
                  <c:v>0</c:v>
                </c:pt>
                <c:pt idx="9291">
                  <c:v>0</c:v>
                </c:pt>
                <c:pt idx="9292">
                  <c:v>0</c:v>
                </c:pt>
                <c:pt idx="9293">
                  <c:v>0</c:v>
                </c:pt>
                <c:pt idx="9294">
                  <c:v>0</c:v>
                </c:pt>
                <c:pt idx="9295">
                  <c:v>4</c:v>
                </c:pt>
                <c:pt idx="9296">
                  <c:v>2</c:v>
                </c:pt>
                <c:pt idx="9297">
                  <c:v>1</c:v>
                </c:pt>
                <c:pt idx="9298">
                  <c:v>0</c:v>
                </c:pt>
                <c:pt idx="9299">
                  <c:v>2</c:v>
                </c:pt>
                <c:pt idx="9300">
                  <c:v>0</c:v>
                </c:pt>
                <c:pt idx="9301">
                  <c:v>2</c:v>
                </c:pt>
                <c:pt idx="9302">
                  <c:v>0</c:v>
                </c:pt>
                <c:pt idx="9303">
                  <c:v>2</c:v>
                </c:pt>
                <c:pt idx="9304">
                  <c:v>0</c:v>
                </c:pt>
                <c:pt idx="9305">
                  <c:v>0</c:v>
                </c:pt>
                <c:pt idx="9306">
                  <c:v>3</c:v>
                </c:pt>
                <c:pt idx="9307">
                  <c:v>5</c:v>
                </c:pt>
                <c:pt idx="9308">
                  <c:v>0</c:v>
                </c:pt>
                <c:pt idx="9309">
                  <c:v>0</c:v>
                </c:pt>
                <c:pt idx="9310">
                  <c:v>3</c:v>
                </c:pt>
                <c:pt idx="9311">
                  <c:v>3</c:v>
                </c:pt>
                <c:pt idx="9312">
                  <c:v>0</c:v>
                </c:pt>
                <c:pt idx="9313">
                  <c:v>3</c:v>
                </c:pt>
                <c:pt idx="9314">
                  <c:v>4</c:v>
                </c:pt>
                <c:pt idx="9315">
                  <c:v>0</c:v>
                </c:pt>
                <c:pt idx="9316">
                  <c:v>0</c:v>
                </c:pt>
                <c:pt idx="9317">
                  <c:v>4</c:v>
                </c:pt>
                <c:pt idx="9318">
                  <c:v>4</c:v>
                </c:pt>
                <c:pt idx="9319">
                  <c:v>1</c:v>
                </c:pt>
                <c:pt idx="9320">
                  <c:v>0</c:v>
                </c:pt>
                <c:pt idx="9321">
                  <c:v>2</c:v>
                </c:pt>
                <c:pt idx="9322">
                  <c:v>0</c:v>
                </c:pt>
                <c:pt idx="9323">
                  <c:v>0</c:v>
                </c:pt>
                <c:pt idx="9324">
                  <c:v>3</c:v>
                </c:pt>
                <c:pt idx="9325">
                  <c:v>0</c:v>
                </c:pt>
                <c:pt idx="9326">
                  <c:v>1</c:v>
                </c:pt>
                <c:pt idx="9327">
                  <c:v>2</c:v>
                </c:pt>
                <c:pt idx="9328">
                  <c:v>0</c:v>
                </c:pt>
                <c:pt idx="9329">
                  <c:v>0</c:v>
                </c:pt>
                <c:pt idx="9330">
                  <c:v>0</c:v>
                </c:pt>
                <c:pt idx="9331">
                  <c:v>20</c:v>
                </c:pt>
                <c:pt idx="9332">
                  <c:v>0</c:v>
                </c:pt>
                <c:pt idx="9333">
                  <c:v>10</c:v>
                </c:pt>
                <c:pt idx="9334">
                  <c:v>2</c:v>
                </c:pt>
                <c:pt idx="9335">
                  <c:v>0</c:v>
                </c:pt>
                <c:pt idx="9336">
                  <c:v>2</c:v>
                </c:pt>
                <c:pt idx="9337">
                  <c:v>1</c:v>
                </c:pt>
                <c:pt idx="9338">
                  <c:v>8</c:v>
                </c:pt>
                <c:pt idx="9339">
                  <c:v>3</c:v>
                </c:pt>
                <c:pt idx="9340">
                  <c:v>1</c:v>
                </c:pt>
                <c:pt idx="9341">
                  <c:v>7</c:v>
                </c:pt>
                <c:pt idx="9342">
                  <c:v>1</c:v>
                </c:pt>
                <c:pt idx="9343">
                  <c:v>0</c:v>
                </c:pt>
                <c:pt idx="9344">
                  <c:v>1</c:v>
                </c:pt>
                <c:pt idx="9345">
                  <c:v>0</c:v>
                </c:pt>
                <c:pt idx="9346">
                  <c:v>4</c:v>
                </c:pt>
                <c:pt idx="9347">
                  <c:v>4</c:v>
                </c:pt>
                <c:pt idx="9348">
                  <c:v>3</c:v>
                </c:pt>
                <c:pt idx="9349">
                  <c:v>0</c:v>
                </c:pt>
                <c:pt idx="9350">
                  <c:v>1</c:v>
                </c:pt>
                <c:pt idx="9351">
                  <c:v>0</c:v>
                </c:pt>
                <c:pt idx="9352">
                  <c:v>1</c:v>
                </c:pt>
                <c:pt idx="9353">
                  <c:v>0</c:v>
                </c:pt>
                <c:pt idx="9354">
                  <c:v>0</c:v>
                </c:pt>
                <c:pt idx="9355">
                  <c:v>0</c:v>
                </c:pt>
                <c:pt idx="9356">
                  <c:v>0</c:v>
                </c:pt>
                <c:pt idx="9357">
                  <c:v>0</c:v>
                </c:pt>
                <c:pt idx="9358">
                  <c:v>0</c:v>
                </c:pt>
                <c:pt idx="9359">
                  <c:v>0</c:v>
                </c:pt>
                <c:pt idx="9360">
                  <c:v>0</c:v>
                </c:pt>
                <c:pt idx="9361">
                  <c:v>2</c:v>
                </c:pt>
                <c:pt idx="9362">
                  <c:v>0</c:v>
                </c:pt>
                <c:pt idx="9363">
                  <c:v>3</c:v>
                </c:pt>
                <c:pt idx="9364">
                  <c:v>0</c:v>
                </c:pt>
                <c:pt idx="9365">
                  <c:v>0</c:v>
                </c:pt>
                <c:pt idx="9366">
                  <c:v>0</c:v>
                </c:pt>
                <c:pt idx="9367">
                  <c:v>0</c:v>
                </c:pt>
                <c:pt idx="9368">
                  <c:v>0</c:v>
                </c:pt>
                <c:pt idx="9369">
                  <c:v>0</c:v>
                </c:pt>
                <c:pt idx="9370">
                  <c:v>2</c:v>
                </c:pt>
                <c:pt idx="9371">
                  <c:v>0</c:v>
                </c:pt>
                <c:pt idx="9372">
                  <c:v>1</c:v>
                </c:pt>
                <c:pt idx="9373">
                  <c:v>0</c:v>
                </c:pt>
                <c:pt idx="9374">
                  <c:v>0</c:v>
                </c:pt>
                <c:pt idx="9375">
                  <c:v>0</c:v>
                </c:pt>
                <c:pt idx="9376">
                  <c:v>0</c:v>
                </c:pt>
                <c:pt idx="9377">
                  <c:v>0</c:v>
                </c:pt>
                <c:pt idx="9378">
                  <c:v>0</c:v>
                </c:pt>
                <c:pt idx="9379">
                  <c:v>15</c:v>
                </c:pt>
                <c:pt idx="9380">
                  <c:v>2</c:v>
                </c:pt>
                <c:pt idx="9381">
                  <c:v>1</c:v>
                </c:pt>
                <c:pt idx="9382">
                  <c:v>3</c:v>
                </c:pt>
                <c:pt idx="9383">
                  <c:v>0</c:v>
                </c:pt>
                <c:pt idx="9384">
                  <c:v>0</c:v>
                </c:pt>
                <c:pt idx="9385">
                  <c:v>1</c:v>
                </c:pt>
                <c:pt idx="9386">
                  <c:v>0</c:v>
                </c:pt>
                <c:pt idx="9387">
                  <c:v>0</c:v>
                </c:pt>
                <c:pt idx="9388">
                  <c:v>0</c:v>
                </c:pt>
                <c:pt idx="9389">
                  <c:v>2</c:v>
                </c:pt>
                <c:pt idx="9390">
                  <c:v>5</c:v>
                </c:pt>
                <c:pt idx="9391">
                  <c:v>0</c:v>
                </c:pt>
                <c:pt idx="9392">
                  <c:v>2</c:v>
                </c:pt>
                <c:pt idx="9393">
                  <c:v>3</c:v>
                </c:pt>
                <c:pt idx="9394">
                  <c:v>5</c:v>
                </c:pt>
                <c:pt idx="9395">
                  <c:v>5</c:v>
                </c:pt>
                <c:pt idx="9396">
                  <c:v>4</c:v>
                </c:pt>
                <c:pt idx="9397">
                  <c:v>1</c:v>
                </c:pt>
                <c:pt idx="9398">
                  <c:v>0</c:v>
                </c:pt>
                <c:pt idx="9399">
                  <c:v>0</c:v>
                </c:pt>
                <c:pt idx="9400">
                  <c:v>0</c:v>
                </c:pt>
                <c:pt idx="9401">
                  <c:v>1</c:v>
                </c:pt>
                <c:pt idx="9402">
                  <c:v>0</c:v>
                </c:pt>
                <c:pt idx="9403">
                  <c:v>0</c:v>
                </c:pt>
                <c:pt idx="9404">
                  <c:v>0</c:v>
                </c:pt>
                <c:pt idx="9405">
                  <c:v>0</c:v>
                </c:pt>
                <c:pt idx="9406">
                  <c:v>2</c:v>
                </c:pt>
                <c:pt idx="9407">
                  <c:v>0</c:v>
                </c:pt>
                <c:pt idx="9408">
                  <c:v>0</c:v>
                </c:pt>
                <c:pt idx="9409">
                  <c:v>0</c:v>
                </c:pt>
                <c:pt idx="9410">
                  <c:v>0</c:v>
                </c:pt>
                <c:pt idx="9411">
                  <c:v>0</c:v>
                </c:pt>
                <c:pt idx="9412">
                  <c:v>1</c:v>
                </c:pt>
                <c:pt idx="9413">
                  <c:v>1</c:v>
                </c:pt>
                <c:pt idx="9414">
                  <c:v>1</c:v>
                </c:pt>
                <c:pt idx="9415">
                  <c:v>2</c:v>
                </c:pt>
                <c:pt idx="9416">
                  <c:v>2</c:v>
                </c:pt>
                <c:pt idx="9417">
                  <c:v>0</c:v>
                </c:pt>
                <c:pt idx="9418">
                  <c:v>2</c:v>
                </c:pt>
                <c:pt idx="9419">
                  <c:v>0</c:v>
                </c:pt>
                <c:pt idx="9420">
                  <c:v>1</c:v>
                </c:pt>
                <c:pt idx="9421">
                  <c:v>1</c:v>
                </c:pt>
                <c:pt idx="9422">
                  <c:v>0</c:v>
                </c:pt>
                <c:pt idx="9423">
                  <c:v>0</c:v>
                </c:pt>
                <c:pt idx="9424">
                  <c:v>1</c:v>
                </c:pt>
                <c:pt idx="9425">
                  <c:v>2</c:v>
                </c:pt>
                <c:pt idx="9426">
                  <c:v>1</c:v>
                </c:pt>
                <c:pt idx="9427">
                  <c:v>2</c:v>
                </c:pt>
                <c:pt idx="9428">
                  <c:v>0</c:v>
                </c:pt>
                <c:pt idx="9429">
                  <c:v>2</c:v>
                </c:pt>
                <c:pt idx="9430">
                  <c:v>2</c:v>
                </c:pt>
                <c:pt idx="9431">
                  <c:v>0</c:v>
                </c:pt>
                <c:pt idx="9432">
                  <c:v>0</c:v>
                </c:pt>
                <c:pt idx="9433">
                  <c:v>0</c:v>
                </c:pt>
                <c:pt idx="9434">
                  <c:v>2</c:v>
                </c:pt>
                <c:pt idx="9435">
                  <c:v>2</c:v>
                </c:pt>
                <c:pt idx="9436">
                  <c:v>3</c:v>
                </c:pt>
                <c:pt idx="9437">
                  <c:v>0</c:v>
                </c:pt>
                <c:pt idx="9438">
                  <c:v>3</c:v>
                </c:pt>
                <c:pt idx="9439">
                  <c:v>0</c:v>
                </c:pt>
                <c:pt idx="9440">
                  <c:v>2</c:v>
                </c:pt>
                <c:pt idx="9441">
                  <c:v>4</c:v>
                </c:pt>
                <c:pt idx="9442">
                  <c:v>2</c:v>
                </c:pt>
                <c:pt idx="9443">
                  <c:v>0</c:v>
                </c:pt>
                <c:pt idx="9444">
                  <c:v>18</c:v>
                </c:pt>
                <c:pt idx="9445">
                  <c:v>6</c:v>
                </c:pt>
                <c:pt idx="9446">
                  <c:v>0</c:v>
                </c:pt>
                <c:pt idx="9447">
                  <c:v>1</c:v>
                </c:pt>
                <c:pt idx="9448">
                  <c:v>7</c:v>
                </c:pt>
                <c:pt idx="9449">
                  <c:v>0</c:v>
                </c:pt>
                <c:pt idx="9450">
                  <c:v>0</c:v>
                </c:pt>
                <c:pt idx="9451">
                  <c:v>0</c:v>
                </c:pt>
                <c:pt idx="9452">
                  <c:v>1</c:v>
                </c:pt>
                <c:pt idx="9453">
                  <c:v>2</c:v>
                </c:pt>
                <c:pt idx="9454">
                  <c:v>8</c:v>
                </c:pt>
                <c:pt idx="9455">
                  <c:v>3</c:v>
                </c:pt>
                <c:pt idx="9456">
                  <c:v>0</c:v>
                </c:pt>
                <c:pt idx="9457">
                  <c:v>3</c:v>
                </c:pt>
                <c:pt idx="9458">
                  <c:v>1</c:v>
                </c:pt>
                <c:pt idx="9459">
                  <c:v>1</c:v>
                </c:pt>
                <c:pt idx="9460">
                  <c:v>1</c:v>
                </c:pt>
                <c:pt idx="9461">
                  <c:v>5</c:v>
                </c:pt>
                <c:pt idx="9462">
                  <c:v>0</c:v>
                </c:pt>
                <c:pt idx="9463">
                  <c:v>0</c:v>
                </c:pt>
                <c:pt idx="9464">
                  <c:v>0</c:v>
                </c:pt>
                <c:pt idx="9465">
                  <c:v>0</c:v>
                </c:pt>
                <c:pt idx="9466">
                  <c:v>8</c:v>
                </c:pt>
                <c:pt idx="9467">
                  <c:v>1</c:v>
                </c:pt>
                <c:pt idx="9468">
                  <c:v>1</c:v>
                </c:pt>
                <c:pt idx="9469">
                  <c:v>2</c:v>
                </c:pt>
                <c:pt idx="9470">
                  <c:v>2</c:v>
                </c:pt>
                <c:pt idx="9471">
                  <c:v>0</c:v>
                </c:pt>
                <c:pt idx="9472">
                  <c:v>5</c:v>
                </c:pt>
                <c:pt idx="9473">
                  <c:v>2</c:v>
                </c:pt>
                <c:pt idx="9474">
                  <c:v>6</c:v>
                </c:pt>
                <c:pt idx="9475">
                  <c:v>2</c:v>
                </c:pt>
                <c:pt idx="9476">
                  <c:v>0</c:v>
                </c:pt>
                <c:pt idx="9477">
                  <c:v>1</c:v>
                </c:pt>
                <c:pt idx="9478">
                  <c:v>0</c:v>
                </c:pt>
                <c:pt idx="9479">
                  <c:v>1</c:v>
                </c:pt>
                <c:pt idx="9480">
                  <c:v>2</c:v>
                </c:pt>
                <c:pt idx="9481">
                  <c:v>0</c:v>
                </c:pt>
                <c:pt idx="9482">
                  <c:v>0</c:v>
                </c:pt>
                <c:pt idx="9483">
                  <c:v>0</c:v>
                </c:pt>
                <c:pt idx="9484">
                  <c:v>1</c:v>
                </c:pt>
                <c:pt idx="9485">
                  <c:v>0</c:v>
                </c:pt>
                <c:pt idx="9486">
                  <c:v>0</c:v>
                </c:pt>
                <c:pt idx="9487">
                  <c:v>2</c:v>
                </c:pt>
                <c:pt idx="9488">
                  <c:v>2</c:v>
                </c:pt>
                <c:pt idx="9489">
                  <c:v>3</c:v>
                </c:pt>
                <c:pt idx="9490">
                  <c:v>1</c:v>
                </c:pt>
                <c:pt idx="9491">
                  <c:v>4</c:v>
                </c:pt>
                <c:pt idx="9492">
                  <c:v>1</c:v>
                </c:pt>
                <c:pt idx="9493">
                  <c:v>0</c:v>
                </c:pt>
                <c:pt idx="9494">
                  <c:v>0</c:v>
                </c:pt>
                <c:pt idx="9495">
                  <c:v>0</c:v>
                </c:pt>
                <c:pt idx="9496">
                  <c:v>1</c:v>
                </c:pt>
                <c:pt idx="9497">
                  <c:v>16</c:v>
                </c:pt>
                <c:pt idx="9498">
                  <c:v>5</c:v>
                </c:pt>
                <c:pt idx="9499">
                  <c:v>1</c:v>
                </c:pt>
                <c:pt idx="9500">
                  <c:v>0</c:v>
                </c:pt>
                <c:pt idx="9501">
                  <c:v>0</c:v>
                </c:pt>
                <c:pt idx="9502">
                  <c:v>2</c:v>
                </c:pt>
                <c:pt idx="9503">
                  <c:v>4</c:v>
                </c:pt>
                <c:pt idx="9504">
                  <c:v>5</c:v>
                </c:pt>
                <c:pt idx="9505">
                  <c:v>1</c:v>
                </c:pt>
                <c:pt idx="9506">
                  <c:v>2</c:v>
                </c:pt>
                <c:pt idx="9507">
                  <c:v>0</c:v>
                </c:pt>
                <c:pt idx="9508">
                  <c:v>1</c:v>
                </c:pt>
                <c:pt idx="9509">
                  <c:v>0</c:v>
                </c:pt>
                <c:pt idx="9510">
                  <c:v>1</c:v>
                </c:pt>
                <c:pt idx="9511">
                  <c:v>0</c:v>
                </c:pt>
                <c:pt idx="9512">
                  <c:v>5</c:v>
                </c:pt>
                <c:pt idx="9513">
                  <c:v>1</c:v>
                </c:pt>
                <c:pt idx="9514">
                  <c:v>5</c:v>
                </c:pt>
                <c:pt idx="9515">
                  <c:v>1</c:v>
                </c:pt>
                <c:pt idx="9516">
                  <c:v>0</c:v>
                </c:pt>
                <c:pt idx="9517">
                  <c:v>0</c:v>
                </c:pt>
                <c:pt idx="9518">
                  <c:v>7</c:v>
                </c:pt>
                <c:pt idx="9519">
                  <c:v>0</c:v>
                </c:pt>
                <c:pt idx="9520">
                  <c:v>1</c:v>
                </c:pt>
                <c:pt idx="9521">
                  <c:v>3</c:v>
                </c:pt>
                <c:pt idx="9522">
                  <c:v>4</c:v>
                </c:pt>
                <c:pt idx="9523">
                  <c:v>4</c:v>
                </c:pt>
                <c:pt idx="9524">
                  <c:v>0</c:v>
                </c:pt>
                <c:pt idx="9525">
                  <c:v>0</c:v>
                </c:pt>
                <c:pt idx="9526">
                  <c:v>5</c:v>
                </c:pt>
                <c:pt idx="9527">
                  <c:v>0</c:v>
                </c:pt>
                <c:pt idx="9528">
                  <c:v>0</c:v>
                </c:pt>
                <c:pt idx="9529">
                  <c:v>2</c:v>
                </c:pt>
                <c:pt idx="9530">
                  <c:v>3</c:v>
                </c:pt>
                <c:pt idx="9531">
                  <c:v>0</c:v>
                </c:pt>
                <c:pt idx="9532">
                  <c:v>0</c:v>
                </c:pt>
                <c:pt idx="9533">
                  <c:v>3</c:v>
                </c:pt>
                <c:pt idx="9534">
                  <c:v>1</c:v>
                </c:pt>
                <c:pt idx="9535">
                  <c:v>2</c:v>
                </c:pt>
                <c:pt idx="9536">
                  <c:v>1</c:v>
                </c:pt>
                <c:pt idx="9537">
                  <c:v>1</c:v>
                </c:pt>
                <c:pt idx="9538">
                  <c:v>2</c:v>
                </c:pt>
                <c:pt idx="9539">
                  <c:v>1</c:v>
                </c:pt>
                <c:pt idx="9540">
                  <c:v>0</c:v>
                </c:pt>
                <c:pt idx="9541">
                  <c:v>0</c:v>
                </c:pt>
                <c:pt idx="9542">
                  <c:v>2</c:v>
                </c:pt>
                <c:pt idx="9543">
                  <c:v>2</c:v>
                </c:pt>
                <c:pt idx="9544">
                  <c:v>3</c:v>
                </c:pt>
                <c:pt idx="9545">
                  <c:v>0</c:v>
                </c:pt>
                <c:pt idx="9546">
                  <c:v>1</c:v>
                </c:pt>
                <c:pt idx="9547">
                  <c:v>1</c:v>
                </c:pt>
                <c:pt idx="9548">
                  <c:v>0</c:v>
                </c:pt>
                <c:pt idx="9549">
                  <c:v>3</c:v>
                </c:pt>
                <c:pt idx="9550">
                  <c:v>1</c:v>
                </c:pt>
                <c:pt idx="9551">
                  <c:v>0</c:v>
                </c:pt>
                <c:pt idx="9552">
                  <c:v>1</c:v>
                </c:pt>
                <c:pt idx="9553">
                  <c:v>0</c:v>
                </c:pt>
                <c:pt idx="9554">
                  <c:v>3</c:v>
                </c:pt>
                <c:pt idx="9555">
                  <c:v>0</c:v>
                </c:pt>
                <c:pt idx="9556">
                  <c:v>0</c:v>
                </c:pt>
                <c:pt idx="9557">
                  <c:v>0</c:v>
                </c:pt>
                <c:pt idx="9558">
                  <c:v>2</c:v>
                </c:pt>
                <c:pt idx="9559">
                  <c:v>0</c:v>
                </c:pt>
                <c:pt idx="9560">
                  <c:v>0</c:v>
                </c:pt>
                <c:pt idx="9561">
                  <c:v>1</c:v>
                </c:pt>
                <c:pt idx="9562">
                  <c:v>0</c:v>
                </c:pt>
                <c:pt idx="9563">
                  <c:v>2</c:v>
                </c:pt>
                <c:pt idx="9564">
                  <c:v>2</c:v>
                </c:pt>
                <c:pt idx="9565">
                  <c:v>0</c:v>
                </c:pt>
                <c:pt idx="9566">
                  <c:v>1</c:v>
                </c:pt>
                <c:pt idx="9567">
                  <c:v>1</c:v>
                </c:pt>
                <c:pt idx="9568">
                  <c:v>0</c:v>
                </c:pt>
                <c:pt idx="9569">
                  <c:v>1</c:v>
                </c:pt>
                <c:pt idx="9570">
                  <c:v>1</c:v>
                </c:pt>
                <c:pt idx="9571">
                  <c:v>0</c:v>
                </c:pt>
                <c:pt idx="9572">
                  <c:v>0</c:v>
                </c:pt>
                <c:pt idx="9573">
                  <c:v>2</c:v>
                </c:pt>
                <c:pt idx="9574">
                  <c:v>0</c:v>
                </c:pt>
                <c:pt idx="9575">
                  <c:v>0</c:v>
                </c:pt>
                <c:pt idx="9576">
                  <c:v>0</c:v>
                </c:pt>
                <c:pt idx="9577">
                  <c:v>0</c:v>
                </c:pt>
                <c:pt idx="9578">
                  <c:v>1</c:v>
                </c:pt>
                <c:pt idx="9579">
                  <c:v>0</c:v>
                </c:pt>
                <c:pt idx="9580">
                  <c:v>0</c:v>
                </c:pt>
                <c:pt idx="9581">
                  <c:v>0</c:v>
                </c:pt>
                <c:pt idx="9582">
                  <c:v>0</c:v>
                </c:pt>
                <c:pt idx="9583">
                  <c:v>0</c:v>
                </c:pt>
                <c:pt idx="9584">
                  <c:v>0</c:v>
                </c:pt>
                <c:pt idx="9585">
                  <c:v>0</c:v>
                </c:pt>
                <c:pt idx="9586">
                  <c:v>0</c:v>
                </c:pt>
                <c:pt idx="9587">
                  <c:v>1</c:v>
                </c:pt>
                <c:pt idx="9588">
                  <c:v>0</c:v>
                </c:pt>
                <c:pt idx="9589">
                  <c:v>0</c:v>
                </c:pt>
                <c:pt idx="9590">
                  <c:v>0</c:v>
                </c:pt>
                <c:pt idx="9591">
                  <c:v>0</c:v>
                </c:pt>
                <c:pt idx="9592">
                  <c:v>2</c:v>
                </c:pt>
                <c:pt idx="9593">
                  <c:v>0</c:v>
                </c:pt>
                <c:pt idx="9594">
                  <c:v>0</c:v>
                </c:pt>
                <c:pt idx="9595">
                  <c:v>2</c:v>
                </c:pt>
                <c:pt idx="9596">
                  <c:v>1</c:v>
                </c:pt>
                <c:pt idx="9597">
                  <c:v>1</c:v>
                </c:pt>
                <c:pt idx="9598">
                  <c:v>0</c:v>
                </c:pt>
                <c:pt idx="9599">
                  <c:v>0</c:v>
                </c:pt>
                <c:pt idx="9600">
                  <c:v>0</c:v>
                </c:pt>
                <c:pt idx="9601">
                  <c:v>0</c:v>
                </c:pt>
                <c:pt idx="9602">
                  <c:v>0</c:v>
                </c:pt>
                <c:pt idx="9603">
                  <c:v>0</c:v>
                </c:pt>
                <c:pt idx="9604">
                  <c:v>1</c:v>
                </c:pt>
                <c:pt idx="9605">
                  <c:v>0</c:v>
                </c:pt>
                <c:pt idx="9606">
                  <c:v>0</c:v>
                </c:pt>
                <c:pt idx="9607">
                  <c:v>0</c:v>
                </c:pt>
                <c:pt idx="9608">
                  <c:v>0</c:v>
                </c:pt>
                <c:pt idx="9609">
                  <c:v>1</c:v>
                </c:pt>
                <c:pt idx="9610">
                  <c:v>1</c:v>
                </c:pt>
                <c:pt idx="9611">
                  <c:v>0</c:v>
                </c:pt>
                <c:pt idx="9612">
                  <c:v>0</c:v>
                </c:pt>
                <c:pt idx="9613">
                  <c:v>7</c:v>
                </c:pt>
                <c:pt idx="9614">
                  <c:v>1</c:v>
                </c:pt>
                <c:pt idx="9615">
                  <c:v>1</c:v>
                </c:pt>
                <c:pt idx="9616">
                  <c:v>1</c:v>
                </c:pt>
                <c:pt idx="9617">
                  <c:v>9</c:v>
                </c:pt>
                <c:pt idx="9618">
                  <c:v>16</c:v>
                </c:pt>
                <c:pt idx="9619">
                  <c:v>4</c:v>
                </c:pt>
                <c:pt idx="9620">
                  <c:v>0</c:v>
                </c:pt>
                <c:pt idx="9621">
                  <c:v>2</c:v>
                </c:pt>
                <c:pt idx="9622">
                  <c:v>1</c:v>
                </c:pt>
                <c:pt idx="9623">
                  <c:v>0</c:v>
                </c:pt>
                <c:pt idx="9624">
                  <c:v>0</c:v>
                </c:pt>
                <c:pt idx="9625">
                  <c:v>1</c:v>
                </c:pt>
                <c:pt idx="9626">
                  <c:v>0</c:v>
                </c:pt>
                <c:pt idx="9627">
                  <c:v>1</c:v>
                </c:pt>
                <c:pt idx="9628">
                  <c:v>2</c:v>
                </c:pt>
                <c:pt idx="9629">
                  <c:v>1</c:v>
                </c:pt>
                <c:pt idx="9630">
                  <c:v>2</c:v>
                </c:pt>
                <c:pt idx="9631">
                  <c:v>2</c:v>
                </c:pt>
                <c:pt idx="9632">
                  <c:v>1</c:v>
                </c:pt>
                <c:pt idx="9633">
                  <c:v>2</c:v>
                </c:pt>
                <c:pt idx="9634">
                  <c:v>1</c:v>
                </c:pt>
                <c:pt idx="9635">
                  <c:v>1</c:v>
                </c:pt>
                <c:pt idx="9636">
                  <c:v>0</c:v>
                </c:pt>
                <c:pt idx="9637">
                  <c:v>3</c:v>
                </c:pt>
                <c:pt idx="9638">
                  <c:v>4</c:v>
                </c:pt>
                <c:pt idx="9639">
                  <c:v>2</c:v>
                </c:pt>
                <c:pt idx="9640">
                  <c:v>1</c:v>
                </c:pt>
                <c:pt idx="9641">
                  <c:v>0</c:v>
                </c:pt>
                <c:pt idx="9642">
                  <c:v>0</c:v>
                </c:pt>
                <c:pt idx="9643">
                  <c:v>0</c:v>
                </c:pt>
                <c:pt idx="9644">
                  <c:v>0</c:v>
                </c:pt>
                <c:pt idx="9645">
                  <c:v>1</c:v>
                </c:pt>
                <c:pt idx="9646">
                  <c:v>0</c:v>
                </c:pt>
                <c:pt idx="9647">
                  <c:v>4</c:v>
                </c:pt>
                <c:pt idx="9648">
                  <c:v>0</c:v>
                </c:pt>
                <c:pt idx="9649">
                  <c:v>0</c:v>
                </c:pt>
                <c:pt idx="9650">
                  <c:v>1</c:v>
                </c:pt>
                <c:pt idx="9651">
                  <c:v>0</c:v>
                </c:pt>
                <c:pt idx="9652">
                  <c:v>0</c:v>
                </c:pt>
                <c:pt idx="9653">
                  <c:v>0</c:v>
                </c:pt>
                <c:pt idx="9654">
                  <c:v>0</c:v>
                </c:pt>
                <c:pt idx="9655">
                  <c:v>1</c:v>
                </c:pt>
                <c:pt idx="9656">
                  <c:v>0</c:v>
                </c:pt>
                <c:pt idx="9657">
                  <c:v>0</c:v>
                </c:pt>
                <c:pt idx="9658">
                  <c:v>2</c:v>
                </c:pt>
                <c:pt idx="9659">
                  <c:v>4</c:v>
                </c:pt>
                <c:pt idx="9660">
                  <c:v>1</c:v>
                </c:pt>
                <c:pt idx="9661">
                  <c:v>0</c:v>
                </c:pt>
                <c:pt idx="9662">
                  <c:v>1</c:v>
                </c:pt>
                <c:pt idx="9663">
                  <c:v>3</c:v>
                </c:pt>
                <c:pt idx="9664">
                  <c:v>0</c:v>
                </c:pt>
                <c:pt idx="9665">
                  <c:v>2</c:v>
                </c:pt>
                <c:pt idx="9666">
                  <c:v>1</c:v>
                </c:pt>
                <c:pt idx="9667">
                  <c:v>2</c:v>
                </c:pt>
                <c:pt idx="9668">
                  <c:v>1</c:v>
                </c:pt>
                <c:pt idx="9669">
                  <c:v>0</c:v>
                </c:pt>
                <c:pt idx="9670">
                  <c:v>1</c:v>
                </c:pt>
                <c:pt idx="9671">
                  <c:v>0</c:v>
                </c:pt>
                <c:pt idx="9672">
                  <c:v>0</c:v>
                </c:pt>
                <c:pt idx="9673">
                  <c:v>0</c:v>
                </c:pt>
                <c:pt idx="9674">
                  <c:v>0</c:v>
                </c:pt>
                <c:pt idx="9675">
                  <c:v>0</c:v>
                </c:pt>
                <c:pt idx="9676">
                  <c:v>0</c:v>
                </c:pt>
                <c:pt idx="9677">
                  <c:v>2</c:v>
                </c:pt>
                <c:pt idx="9678">
                  <c:v>1</c:v>
                </c:pt>
                <c:pt idx="9679">
                  <c:v>0</c:v>
                </c:pt>
                <c:pt idx="9680">
                  <c:v>0</c:v>
                </c:pt>
                <c:pt idx="9681">
                  <c:v>0</c:v>
                </c:pt>
                <c:pt idx="9682">
                  <c:v>0</c:v>
                </c:pt>
                <c:pt idx="9683">
                  <c:v>0</c:v>
                </c:pt>
                <c:pt idx="9684">
                  <c:v>0</c:v>
                </c:pt>
                <c:pt idx="9685">
                  <c:v>0</c:v>
                </c:pt>
                <c:pt idx="9686">
                  <c:v>0</c:v>
                </c:pt>
                <c:pt idx="9687">
                  <c:v>0</c:v>
                </c:pt>
                <c:pt idx="9688">
                  <c:v>1</c:v>
                </c:pt>
                <c:pt idx="9689">
                  <c:v>0</c:v>
                </c:pt>
                <c:pt idx="9690">
                  <c:v>1</c:v>
                </c:pt>
                <c:pt idx="9691">
                  <c:v>0</c:v>
                </c:pt>
                <c:pt idx="9692">
                  <c:v>0</c:v>
                </c:pt>
                <c:pt idx="9693">
                  <c:v>0</c:v>
                </c:pt>
                <c:pt idx="9694">
                  <c:v>0</c:v>
                </c:pt>
                <c:pt idx="9695">
                  <c:v>0</c:v>
                </c:pt>
                <c:pt idx="9696">
                  <c:v>0</c:v>
                </c:pt>
                <c:pt idx="9697">
                  <c:v>0</c:v>
                </c:pt>
                <c:pt idx="9698">
                  <c:v>0</c:v>
                </c:pt>
                <c:pt idx="9699">
                  <c:v>0</c:v>
                </c:pt>
                <c:pt idx="9700">
                  <c:v>0</c:v>
                </c:pt>
                <c:pt idx="9701">
                  <c:v>0</c:v>
                </c:pt>
                <c:pt idx="9702">
                  <c:v>0</c:v>
                </c:pt>
                <c:pt idx="9703">
                  <c:v>0</c:v>
                </c:pt>
                <c:pt idx="9704">
                  <c:v>0</c:v>
                </c:pt>
                <c:pt idx="9705">
                  <c:v>0</c:v>
                </c:pt>
                <c:pt idx="9706">
                  <c:v>0</c:v>
                </c:pt>
                <c:pt idx="9707">
                  <c:v>0</c:v>
                </c:pt>
                <c:pt idx="9708">
                  <c:v>0</c:v>
                </c:pt>
                <c:pt idx="9709">
                  <c:v>0</c:v>
                </c:pt>
                <c:pt idx="9710">
                  <c:v>0</c:v>
                </c:pt>
                <c:pt idx="9711">
                  <c:v>0</c:v>
                </c:pt>
                <c:pt idx="9712">
                  <c:v>1</c:v>
                </c:pt>
                <c:pt idx="9713">
                  <c:v>0</c:v>
                </c:pt>
                <c:pt idx="9714">
                  <c:v>1</c:v>
                </c:pt>
                <c:pt idx="9715">
                  <c:v>0</c:v>
                </c:pt>
                <c:pt idx="9716">
                  <c:v>0</c:v>
                </c:pt>
                <c:pt idx="9717">
                  <c:v>0</c:v>
                </c:pt>
                <c:pt idx="9718">
                  <c:v>0</c:v>
                </c:pt>
                <c:pt idx="9719">
                  <c:v>0</c:v>
                </c:pt>
                <c:pt idx="9720">
                  <c:v>0</c:v>
                </c:pt>
                <c:pt idx="9721">
                  <c:v>1</c:v>
                </c:pt>
                <c:pt idx="9722">
                  <c:v>0</c:v>
                </c:pt>
                <c:pt idx="9723">
                  <c:v>3</c:v>
                </c:pt>
                <c:pt idx="9724">
                  <c:v>1</c:v>
                </c:pt>
                <c:pt idx="9725">
                  <c:v>0</c:v>
                </c:pt>
                <c:pt idx="9726">
                  <c:v>1</c:v>
                </c:pt>
                <c:pt idx="9727">
                  <c:v>6</c:v>
                </c:pt>
                <c:pt idx="9728">
                  <c:v>1</c:v>
                </c:pt>
                <c:pt idx="9729">
                  <c:v>0</c:v>
                </c:pt>
                <c:pt idx="9730">
                  <c:v>0</c:v>
                </c:pt>
                <c:pt idx="9731">
                  <c:v>3</c:v>
                </c:pt>
                <c:pt idx="9732">
                  <c:v>0</c:v>
                </c:pt>
                <c:pt idx="9733">
                  <c:v>0</c:v>
                </c:pt>
                <c:pt idx="9734">
                  <c:v>0</c:v>
                </c:pt>
                <c:pt idx="9735">
                  <c:v>0</c:v>
                </c:pt>
                <c:pt idx="9736">
                  <c:v>0</c:v>
                </c:pt>
                <c:pt idx="9737">
                  <c:v>0</c:v>
                </c:pt>
                <c:pt idx="9738">
                  <c:v>0</c:v>
                </c:pt>
                <c:pt idx="9739">
                  <c:v>0</c:v>
                </c:pt>
                <c:pt idx="9740">
                  <c:v>1</c:v>
                </c:pt>
                <c:pt idx="9741">
                  <c:v>1</c:v>
                </c:pt>
                <c:pt idx="9742">
                  <c:v>0</c:v>
                </c:pt>
                <c:pt idx="9743">
                  <c:v>0</c:v>
                </c:pt>
                <c:pt idx="9744">
                  <c:v>1</c:v>
                </c:pt>
                <c:pt idx="9745">
                  <c:v>0</c:v>
                </c:pt>
                <c:pt idx="9746">
                  <c:v>0</c:v>
                </c:pt>
                <c:pt idx="9747">
                  <c:v>0</c:v>
                </c:pt>
                <c:pt idx="9748">
                  <c:v>0</c:v>
                </c:pt>
                <c:pt idx="9749">
                  <c:v>0</c:v>
                </c:pt>
                <c:pt idx="9750">
                  <c:v>0</c:v>
                </c:pt>
                <c:pt idx="9751">
                  <c:v>0</c:v>
                </c:pt>
                <c:pt idx="9752">
                  <c:v>0</c:v>
                </c:pt>
                <c:pt idx="9753">
                  <c:v>0</c:v>
                </c:pt>
                <c:pt idx="9754">
                  <c:v>0</c:v>
                </c:pt>
                <c:pt idx="9755">
                  <c:v>0</c:v>
                </c:pt>
                <c:pt idx="9756">
                  <c:v>0</c:v>
                </c:pt>
                <c:pt idx="9757">
                  <c:v>0</c:v>
                </c:pt>
                <c:pt idx="9758">
                  <c:v>0</c:v>
                </c:pt>
                <c:pt idx="9759">
                  <c:v>0</c:v>
                </c:pt>
                <c:pt idx="9760">
                  <c:v>1</c:v>
                </c:pt>
                <c:pt idx="9761">
                  <c:v>1</c:v>
                </c:pt>
                <c:pt idx="9762">
                  <c:v>0</c:v>
                </c:pt>
                <c:pt idx="9763">
                  <c:v>2</c:v>
                </c:pt>
                <c:pt idx="9764">
                  <c:v>1</c:v>
                </c:pt>
                <c:pt idx="9765">
                  <c:v>2</c:v>
                </c:pt>
                <c:pt idx="9766">
                  <c:v>2</c:v>
                </c:pt>
                <c:pt idx="9767">
                  <c:v>0</c:v>
                </c:pt>
                <c:pt idx="9768">
                  <c:v>1</c:v>
                </c:pt>
                <c:pt idx="9769">
                  <c:v>1</c:v>
                </c:pt>
                <c:pt idx="9770">
                  <c:v>2</c:v>
                </c:pt>
                <c:pt idx="9771">
                  <c:v>1</c:v>
                </c:pt>
                <c:pt idx="9772">
                  <c:v>0</c:v>
                </c:pt>
                <c:pt idx="9773">
                  <c:v>0</c:v>
                </c:pt>
                <c:pt idx="9774">
                  <c:v>0</c:v>
                </c:pt>
                <c:pt idx="9775">
                  <c:v>2</c:v>
                </c:pt>
                <c:pt idx="9776">
                  <c:v>0</c:v>
                </c:pt>
                <c:pt idx="9777">
                  <c:v>0</c:v>
                </c:pt>
                <c:pt idx="9778">
                  <c:v>1</c:v>
                </c:pt>
                <c:pt idx="9779">
                  <c:v>0</c:v>
                </c:pt>
                <c:pt idx="9780">
                  <c:v>0</c:v>
                </c:pt>
                <c:pt idx="9781">
                  <c:v>0</c:v>
                </c:pt>
                <c:pt idx="9782">
                  <c:v>0</c:v>
                </c:pt>
                <c:pt idx="9783">
                  <c:v>1</c:v>
                </c:pt>
                <c:pt idx="9784">
                  <c:v>1</c:v>
                </c:pt>
                <c:pt idx="9785">
                  <c:v>0</c:v>
                </c:pt>
                <c:pt idx="9786">
                  <c:v>1</c:v>
                </c:pt>
                <c:pt idx="9787">
                  <c:v>1</c:v>
                </c:pt>
                <c:pt idx="9788">
                  <c:v>1</c:v>
                </c:pt>
                <c:pt idx="9789">
                  <c:v>0</c:v>
                </c:pt>
                <c:pt idx="9790">
                  <c:v>1</c:v>
                </c:pt>
                <c:pt idx="9791">
                  <c:v>0</c:v>
                </c:pt>
                <c:pt idx="9792">
                  <c:v>0</c:v>
                </c:pt>
                <c:pt idx="9793">
                  <c:v>0</c:v>
                </c:pt>
                <c:pt idx="9794">
                  <c:v>0</c:v>
                </c:pt>
                <c:pt idx="9795">
                  <c:v>0</c:v>
                </c:pt>
                <c:pt idx="9796">
                  <c:v>2</c:v>
                </c:pt>
                <c:pt idx="9797">
                  <c:v>2</c:v>
                </c:pt>
                <c:pt idx="9798">
                  <c:v>0</c:v>
                </c:pt>
                <c:pt idx="9799">
                  <c:v>0</c:v>
                </c:pt>
                <c:pt idx="9800">
                  <c:v>0</c:v>
                </c:pt>
                <c:pt idx="9801">
                  <c:v>0</c:v>
                </c:pt>
                <c:pt idx="9802">
                  <c:v>1</c:v>
                </c:pt>
                <c:pt idx="9803">
                  <c:v>2</c:v>
                </c:pt>
                <c:pt idx="9804">
                  <c:v>1</c:v>
                </c:pt>
                <c:pt idx="9805">
                  <c:v>3</c:v>
                </c:pt>
                <c:pt idx="9806">
                  <c:v>0</c:v>
                </c:pt>
                <c:pt idx="9807">
                  <c:v>0</c:v>
                </c:pt>
                <c:pt idx="9808">
                  <c:v>0</c:v>
                </c:pt>
                <c:pt idx="9809">
                  <c:v>2</c:v>
                </c:pt>
                <c:pt idx="9810">
                  <c:v>3</c:v>
                </c:pt>
                <c:pt idx="9811">
                  <c:v>0</c:v>
                </c:pt>
                <c:pt idx="9812">
                  <c:v>0</c:v>
                </c:pt>
                <c:pt idx="9813">
                  <c:v>0</c:v>
                </c:pt>
                <c:pt idx="9814">
                  <c:v>3</c:v>
                </c:pt>
                <c:pt idx="9815">
                  <c:v>0</c:v>
                </c:pt>
                <c:pt idx="9816">
                  <c:v>0</c:v>
                </c:pt>
                <c:pt idx="9817">
                  <c:v>0</c:v>
                </c:pt>
                <c:pt idx="9818">
                  <c:v>0</c:v>
                </c:pt>
                <c:pt idx="9819">
                  <c:v>1</c:v>
                </c:pt>
                <c:pt idx="9820">
                  <c:v>1</c:v>
                </c:pt>
                <c:pt idx="9821">
                  <c:v>0</c:v>
                </c:pt>
                <c:pt idx="9822">
                  <c:v>0</c:v>
                </c:pt>
                <c:pt idx="9823">
                  <c:v>0</c:v>
                </c:pt>
                <c:pt idx="9824">
                  <c:v>0</c:v>
                </c:pt>
                <c:pt idx="9825">
                  <c:v>0</c:v>
                </c:pt>
                <c:pt idx="9826">
                  <c:v>0</c:v>
                </c:pt>
                <c:pt idx="9827">
                  <c:v>1</c:v>
                </c:pt>
                <c:pt idx="9828">
                  <c:v>0</c:v>
                </c:pt>
                <c:pt idx="9829">
                  <c:v>0</c:v>
                </c:pt>
                <c:pt idx="9830">
                  <c:v>0</c:v>
                </c:pt>
                <c:pt idx="9831">
                  <c:v>0</c:v>
                </c:pt>
                <c:pt idx="9832">
                  <c:v>0</c:v>
                </c:pt>
                <c:pt idx="9833">
                  <c:v>0</c:v>
                </c:pt>
                <c:pt idx="9834">
                  <c:v>0</c:v>
                </c:pt>
                <c:pt idx="9835">
                  <c:v>0</c:v>
                </c:pt>
                <c:pt idx="9836">
                  <c:v>0</c:v>
                </c:pt>
                <c:pt idx="9837">
                  <c:v>0</c:v>
                </c:pt>
                <c:pt idx="9838">
                  <c:v>0</c:v>
                </c:pt>
                <c:pt idx="9839">
                  <c:v>0</c:v>
                </c:pt>
                <c:pt idx="9840">
                  <c:v>0</c:v>
                </c:pt>
                <c:pt idx="9841">
                  <c:v>0</c:v>
                </c:pt>
                <c:pt idx="9842">
                  <c:v>0</c:v>
                </c:pt>
                <c:pt idx="9843">
                  <c:v>0</c:v>
                </c:pt>
                <c:pt idx="9844">
                  <c:v>0</c:v>
                </c:pt>
                <c:pt idx="9845">
                  <c:v>0</c:v>
                </c:pt>
                <c:pt idx="9846">
                  <c:v>0</c:v>
                </c:pt>
                <c:pt idx="9847">
                  <c:v>3</c:v>
                </c:pt>
                <c:pt idx="9848">
                  <c:v>0</c:v>
                </c:pt>
                <c:pt idx="9849">
                  <c:v>0</c:v>
                </c:pt>
                <c:pt idx="9850">
                  <c:v>3</c:v>
                </c:pt>
                <c:pt idx="9851">
                  <c:v>0</c:v>
                </c:pt>
                <c:pt idx="9852">
                  <c:v>0</c:v>
                </c:pt>
                <c:pt idx="9853">
                  <c:v>0</c:v>
                </c:pt>
                <c:pt idx="9854">
                  <c:v>0</c:v>
                </c:pt>
                <c:pt idx="9855">
                  <c:v>2</c:v>
                </c:pt>
                <c:pt idx="9856">
                  <c:v>0</c:v>
                </c:pt>
                <c:pt idx="9857">
                  <c:v>0</c:v>
                </c:pt>
                <c:pt idx="9858">
                  <c:v>0</c:v>
                </c:pt>
                <c:pt idx="9859">
                  <c:v>0</c:v>
                </c:pt>
                <c:pt idx="9860">
                  <c:v>0</c:v>
                </c:pt>
                <c:pt idx="9861">
                  <c:v>0</c:v>
                </c:pt>
                <c:pt idx="9862">
                  <c:v>0</c:v>
                </c:pt>
                <c:pt idx="9863">
                  <c:v>1</c:v>
                </c:pt>
                <c:pt idx="9864">
                  <c:v>2</c:v>
                </c:pt>
                <c:pt idx="9865">
                  <c:v>0</c:v>
                </c:pt>
                <c:pt idx="9866">
                  <c:v>0</c:v>
                </c:pt>
                <c:pt idx="9867">
                  <c:v>1</c:v>
                </c:pt>
                <c:pt idx="9868">
                  <c:v>0</c:v>
                </c:pt>
                <c:pt idx="9869">
                  <c:v>1</c:v>
                </c:pt>
                <c:pt idx="9870">
                  <c:v>0</c:v>
                </c:pt>
                <c:pt idx="9871">
                  <c:v>0</c:v>
                </c:pt>
                <c:pt idx="9872">
                  <c:v>0</c:v>
                </c:pt>
                <c:pt idx="9873">
                  <c:v>0</c:v>
                </c:pt>
                <c:pt idx="9874">
                  <c:v>1</c:v>
                </c:pt>
                <c:pt idx="9875">
                  <c:v>1</c:v>
                </c:pt>
                <c:pt idx="9876">
                  <c:v>0</c:v>
                </c:pt>
                <c:pt idx="9877">
                  <c:v>5</c:v>
                </c:pt>
                <c:pt idx="9878">
                  <c:v>0</c:v>
                </c:pt>
                <c:pt idx="9879">
                  <c:v>1</c:v>
                </c:pt>
                <c:pt idx="9880">
                  <c:v>0</c:v>
                </c:pt>
                <c:pt idx="9881">
                  <c:v>2</c:v>
                </c:pt>
                <c:pt idx="9882">
                  <c:v>0</c:v>
                </c:pt>
                <c:pt idx="9883">
                  <c:v>1</c:v>
                </c:pt>
                <c:pt idx="9884">
                  <c:v>1</c:v>
                </c:pt>
                <c:pt idx="9885">
                  <c:v>1</c:v>
                </c:pt>
                <c:pt idx="9886">
                  <c:v>0</c:v>
                </c:pt>
                <c:pt idx="9887">
                  <c:v>0</c:v>
                </c:pt>
                <c:pt idx="9888">
                  <c:v>2</c:v>
                </c:pt>
                <c:pt idx="9889">
                  <c:v>0</c:v>
                </c:pt>
                <c:pt idx="9890">
                  <c:v>0</c:v>
                </c:pt>
                <c:pt idx="9891">
                  <c:v>1</c:v>
                </c:pt>
                <c:pt idx="9892">
                  <c:v>0</c:v>
                </c:pt>
                <c:pt idx="9893">
                  <c:v>0</c:v>
                </c:pt>
                <c:pt idx="9894">
                  <c:v>3</c:v>
                </c:pt>
                <c:pt idx="9895">
                  <c:v>0</c:v>
                </c:pt>
                <c:pt idx="9896">
                  <c:v>0</c:v>
                </c:pt>
                <c:pt idx="9897">
                  <c:v>0</c:v>
                </c:pt>
                <c:pt idx="9898">
                  <c:v>0</c:v>
                </c:pt>
                <c:pt idx="9899">
                  <c:v>0</c:v>
                </c:pt>
                <c:pt idx="9900">
                  <c:v>0</c:v>
                </c:pt>
                <c:pt idx="9901">
                  <c:v>0</c:v>
                </c:pt>
                <c:pt idx="9902">
                  <c:v>1</c:v>
                </c:pt>
                <c:pt idx="9903">
                  <c:v>0</c:v>
                </c:pt>
                <c:pt idx="9904">
                  <c:v>0</c:v>
                </c:pt>
                <c:pt idx="9905">
                  <c:v>0</c:v>
                </c:pt>
                <c:pt idx="9906">
                  <c:v>3</c:v>
                </c:pt>
                <c:pt idx="9907">
                  <c:v>0</c:v>
                </c:pt>
                <c:pt idx="9908">
                  <c:v>0</c:v>
                </c:pt>
                <c:pt idx="9909">
                  <c:v>0</c:v>
                </c:pt>
                <c:pt idx="9910">
                  <c:v>0</c:v>
                </c:pt>
                <c:pt idx="9911">
                  <c:v>0</c:v>
                </c:pt>
                <c:pt idx="9912">
                  <c:v>0</c:v>
                </c:pt>
                <c:pt idx="9913">
                  <c:v>1</c:v>
                </c:pt>
                <c:pt idx="9914">
                  <c:v>1</c:v>
                </c:pt>
                <c:pt idx="9915">
                  <c:v>0</c:v>
                </c:pt>
                <c:pt idx="9916">
                  <c:v>0</c:v>
                </c:pt>
                <c:pt idx="9917">
                  <c:v>0</c:v>
                </c:pt>
                <c:pt idx="9918">
                  <c:v>0</c:v>
                </c:pt>
                <c:pt idx="9919">
                  <c:v>1</c:v>
                </c:pt>
                <c:pt idx="9920">
                  <c:v>3</c:v>
                </c:pt>
                <c:pt idx="9921">
                  <c:v>0</c:v>
                </c:pt>
                <c:pt idx="9922">
                  <c:v>0</c:v>
                </c:pt>
                <c:pt idx="9923">
                  <c:v>0</c:v>
                </c:pt>
                <c:pt idx="9924">
                  <c:v>0</c:v>
                </c:pt>
                <c:pt idx="9925">
                  <c:v>0</c:v>
                </c:pt>
                <c:pt idx="9926">
                  <c:v>0</c:v>
                </c:pt>
                <c:pt idx="9927">
                  <c:v>0</c:v>
                </c:pt>
                <c:pt idx="9928">
                  <c:v>0</c:v>
                </c:pt>
                <c:pt idx="9929">
                  <c:v>0</c:v>
                </c:pt>
                <c:pt idx="9930">
                  <c:v>2</c:v>
                </c:pt>
                <c:pt idx="9931">
                  <c:v>0</c:v>
                </c:pt>
                <c:pt idx="9932">
                  <c:v>0</c:v>
                </c:pt>
                <c:pt idx="9933">
                  <c:v>0</c:v>
                </c:pt>
                <c:pt idx="9934">
                  <c:v>0</c:v>
                </c:pt>
                <c:pt idx="9935">
                  <c:v>2</c:v>
                </c:pt>
                <c:pt idx="9936">
                  <c:v>0</c:v>
                </c:pt>
                <c:pt idx="9937">
                  <c:v>0</c:v>
                </c:pt>
                <c:pt idx="9938">
                  <c:v>0</c:v>
                </c:pt>
                <c:pt idx="9939">
                  <c:v>1</c:v>
                </c:pt>
                <c:pt idx="9940">
                  <c:v>3</c:v>
                </c:pt>
                <c:pt idx="9941">
                  <c:v>1</c:v>
                </c:pt>
                <c:pt idx="9942">
                  <c:v>0</c:v>
                </c:pt>
                <c:pt idx="9943">
                  <c:v>0</c:v>
                </c:pt>
                <c:pt idx="9944">
                  <c:v>0</c:v>
                </c:pt>
                <c:pt idx="9945">
                  <c:v>0</c:v>
                </c:pt>
                <c:pt idx="9946">
                  <c:v>0</c:v>
                </c:pt>
                <c:pt idx="9947">
                  <c:v>0</c:v>
                </c:pt>
                <c:pt idx="9948">
                  <c:v>3</c:v>
                </c:pt>
                <c:pt idx="9949">
                  <c:v>0</c:v>
                </c:pt>
                <c:pt idx="9950">
                  <c:v>0</c:v>
                </c:pt>
                <c:pt idx="9951">
                  <c:v>0</c:v>
                </c:pt>
                <c:pt idx="9952">
                  <c:v>0</c:v>
                </c:pt>
                <c:pt idx="9953">
                  <c:v>0</c:v>
                </c:pt>
                <c:pt idx="9954">
                  <c:v>1</c:v>
                </c:pt>
                <c:pt idx="9955">
                  <c:v>0</c:v>
                </c:pt>
                <c:pt idx="9956">
                  <c:v>0</c:v>
                </c:pt>
                <c:pt idx="9957">
                  <c:v>0</c:v>
                </c:pt>
                <c:pt idx="9958">
                  <c:v>0</c:v>
                </c:pt>
                <c:pt idx="9959">
                  <c:v>0</c:v>
                </c:pt>
                <c:pt idx="9960">
                  <c:v>0</c:v>
                </c:pt>
                <c:pt idx="9961">
                  <c:v>0</c:v>
                </c:pt>
                <c:pt idx="9962">
                  <c:v>0</c:v>
                </c:pt>
                <c:pt idx="9963">
                  <c:v>0</c:v>
                </c:pt>
                <c:pt idx="9964">
                  <c:v>0</c:v>
                </c:pt>
                <c:pt idx="9965">
                  <c:v>0</c:v>
                </c:pt>
                <c:pt idx="9966">
                  <c:v>0</c:v>
                </c:pt>
                <c:pt idx="9967">
                  <c:v>0</c:v>
                </c:pt>
                <c:pt idx="9968">
                  <c:v>0</c:v>
                </c:pt>
                <c:pt idx="9969">
                  <c:v>0</c:v>
                </c:pt>
                <c:pt idx="9970">
                  <c:v>0</c:v>
                </c:pt>
                <c:pt idx="9971">
                  <c:v>0</c:v>
                </c:pt>
                <c:pt idx="9972">
                  <c:v>0</c:v>
                </c:pt>
                <c:pt idx="9973">
                  <c:v>0</c:v>
                </c:pt>
                <c:pt idx="9974">
                  <c:v>0</c:v>
                </c:pt>
                <c:pt idx="9975">
                  <c:v>0</c:v>
                </c:pt>
                <c:pt idx="9976">
                  <c:v>0</c:v>
                </c:pt>
                <c:pt idx="9977">
                  <c:v>0</c:v>
                </c:pt>
                <c:pt idx="9978">
                  <c:v>1</c:v>
                </c:pt>
                <c:pt idx="9979">
                  <c:v>0</c:v>
                </c:pt>
                <c:pt idx="9980">
                  <c:v>1</c:v>
                </c:pt>
                <c:pt idx="9981">
                  <c:v>0</c:v>
                </c:pt>
                <c:pt idx="9982">
                  <c:v>0</c:v>
                </c:pt>
                <c:pt idx="9983">
                  <c:v>0</c:v>
                </c:pt>
                <c:pt idx="9984">
                  <c:v>0</c:v>
                </c:pt>
                <c:pt idx="9985">
                  <c:v>0</c:v>
                </c:pt>
                <c:pt idx="9986">
                  <c:v>0</c:v>
                </c:pt>
                <c:pt idx="9987">
                  <c:v>0</c:v>
                </c:pt>
                <c:pt idx="9988">
                  <c:v>0</c:v>
                </c:pt>
                <c:pt idx="9989">
                  <c:v>0</c:v>
                </c:pt>
                <c:pt idx="9990">
                  <c:v>0</c:v>
                </c:pt>
                <c:pt idx="9991">
                  <c:v>0</c:v>
                </c:pt>
                <c:pt idx="9992">
                  <c:v>0</c:v>
                </c:pt>
                <c:pt idx="9993">
                  <c:v>0</c:v>
                </c:pt>
                <c:pt idx="9994">
                  <c:v>0</c:v>
                </c:pt>
                <c:pt idx="9995">
                  <c:v>0</c:v>
                </c:pt>
                <c:pt idx="9996">
                  <c:v>0</c:v>
                </c:pt>
                <c:pt idx="9997">
                  <c:v>0</c:v>
                </c:pt>
                <c:pt idx="9998">
                  <c:v>0</c:v>
                </c:pt>
                <c:pt idx="9999">
                  <c:v>0</c:v>
                </c:pt>
                <c:pt idx="10000">
                  <c:v>0</c:v>
                </c:pt>
                <c:pt idx="10001">
                  <c:v>0</c:v>
                </c:pt>
                <c:pt idx="10002">
                  <c:v>2</c:v>
                </c:pt>
                <c:pt idx="10003">
                  <c:v>0</c:v>
                </c:pt>
                <c:pt idx="10004">
                  <c:v>0</c:v>
                </c:pt>
                <c:pt idx="10005">
                  <c:v>0</c:v>
                </c:pt>
                <c:pt idx="10006">
                  <c:v>0</c:v>
                </c:pt>
                <c:pt idx="10007">
                  <c:v>0</c:v>
                </c:pt>
                <c:pt idx="10008">
                  <c:v>0</c:v>
                </c:pt>
                <c:pt idx="10009">
                  <c:v>0</c:v>
                </c:pt>
                <c:pt idx="10010">
                  <c:v>0</c:v>
                </c:pt>
                <c:pt idx="10011">
                  <c:v>0</c:v>
                </c:pt>
                <c:pt idx="10012">
                  <c:v>0</c:v>
                </c:pt>
                <c:pt idx="10013">
                  <c:v>0</c:v>
                </c:pt>
                <c:pt idx="10014">
                  <c:v>0</c:v>
                </c:pt>
                <c:pt idx="10015">
                  <c:v>0</c:v>
                </c:pt>
                <c:pt idx="10016">
                  <c:v>1</c:v>
                </c:pt>
                <c:pt idx="10017">
                  <c:v>1</c:v>
                </c:pt>
                <c:pt idx="10018">
                  <c:v>0</c:v>
                </c:pt>
                <c:pt idx="10019">
                  <c:v>0</c:v>
                </c:pt>
                <c:pt idx="10020">
                  <c:v>0</c:v>
                </c:pt>
                <c:pt idx="10021">
                  <c:v>0</c:v>
                </c:pt>
                <c:pt idx="10022">
                  <c:v>0</c:v>
                </c:pt>
                <c:pt idx="10023">
                  <c:v>0</c:v>
                </c:pt>
                <c:pt idx="10024">
                  <c:v>0</c:v>
                </c:pt>
                <c:pt idx="10025">
                  <c:v>0</c:v>
                </c:pt>
                <c:pt idx="10026">
                  <c:v>0</c:v>
                </c:pt>
                <c:pt idx="10027">
                  <c:v>0</c:v>
                </c:pt>
                <c:pt idx="10028">
                  <c:v>0</c:v>
                </c:pt>
                <c:pt idx="10029">
                  <c:v>0</c:v>
                </c:pt>
                <c:pt idx="10030">
                  <c:v>0</c:v>
                </c:pt>
                <c:pt idx="10031">
                  <c:v>1</c:v>
                </c:pt>
                <c:pt idx="10032">
                  <c:v>0</c:v>
                </c:pt>
                <c:pt idx="10033">
                  <c:v>8</c:v>
                </c:pt>
                <c:pt idx="10034">
                  <c:v>0</c:v>
                </c:pt>
                <c:pt idx="10035">
                  <c:v>0</c:v>
                </c:pt>
                <c:pt idx="10036">
                  <c:v>1</c:v>
                </c:pt>
                <c:pt idx="10037">
                  <c:v>2</c:v>
                </c:pt>
                <c:pt idx="10038">
                  <c:v>0</c:v>
                </c:pt>
                <c:pt idx="10039">
                  <c:v>0</c:v>
                </c:pt>
                <c:pt idx="10040">
                  <c:v>7</c:v>
                </c:pt>
                <c:pt idx="10041">
                  <c:v>0</c:v>
                </c:pt>
                <c:pt idx="10042">
                  <c:v>0</c:v>
                </c:pt>
                <c:pt idx="10043">
                  <c:v>0</c:v>
                </c:pt>
                <c:pt idx="10044">
                  <c:v>2</c:v>
                </c:pt>
                <c:pt idx="10045">
                  <c:v>0</c:v>
                </c:pt>
                <c:pt idx="10046">
                  <c:v>0</c:v>
                </c:pt>
                <c:pt idx="10047">
                  <c:v>0</c:v>
                </c:pt>
                <c:pt idx="10048">
                  <c:v>0</c:v>
                </c:pt>
                <c:pt idx="10049">
                  <c:v>0</c:v>
                </c:pt>
                <c:pt idx="10050">
                  <c:v>0</c:v>
                </c:pt>
                <c:pt idx="10051">
                  <c:v>1</c:v>
                </c:pt>
                <c:pt idx="10052">
                  <c:v>0</c:v>
                </c:pt>
                <c:pt idx="10053">
                  <c:v>5</c:v>
                </c:pt>
                <c:pt idx="10054">
                  <c:v>0</c:v>
                </c:pt>
                <c:pt idx="10055">
                  <c:v>2</c:v>
                </c:pt>
                <c:pt idx="10056">
                  <c:v>3</c:v>
                </c:pt>
                <c:pt idx="10057">
                  <c:v>3</c:v>
                </c:pt>
                <c:pt idx="10058">
                  <c:v>8</c:v>
                </c:pt>
                <c:pt idx="10059">
                  <c:v>0</c:v>
                </c:pt>
                <c:pt idx="10060">
                  <c:v>0</c:v>
                </c:pt>
                <c:pt idx="10061">
                  <c:v>1</c:v>
                </c:pt>
                <c:pt idx="10062">
                  <c:v>0</c:v>
                </c:pt>
                <c:pt idx="10063">
                  <c:v>0</c:v>
                </c:pt>
                <c:pt idx="10064">
                  <c:v>0</c:v>
                </c:pt>
                <c:pt idx="10065">
                  <c:v>0</c:v>
                </c:pt>
                <c:pt idx="10066">
                  <c:v>0</c:v>
                </c:pt>
                <c:pt idx="10067">
                  <c:v>0</c:v>
                </c:pt>
                <c:pt idx="10068">
                  <c:v>0</c:v>
                </c:pt>
                <c:pt idx="10069">
                  <c:v>0</c:v>
                </c:pt>
                <c:pt idx="10070">
                  <c:v>0</c:v>
                </c:pt>
                <c:pt idx="10071">
                  <c:v>0</c:v>
                </c:pt>
                <c:pt idx="10072">
                  <c:v>0</c:v>
                </c:pt>
                <c:pt idx="10073">
                  <c:v>0</c:v>
                </c:pt>
                <c:pt idx="10074">
                  <c:v>0</c:v>
                </c:pt>
                <c:pt idx="10075">
                  <c:v>0</c:v>
                </c:pt>
                <c:pt idx="10076">
                  <c:v>0</c:v>
                </c:pt>
                <c:pt idx="10077">
                  <c:v>0</c:v>
                </c:pt>
                <c:pt idx="10078">
                  <c:v>0</c:v>
                </c:pt>
                <c:pt idx="10079">
                  <c:v>0</c:v>
                </c:pt>
                <c:pt idx="10080">
                  <c:v>0</c:v>
                </c:pt>
                <c:pt idx="10081">
                  <c:v>0</c:v>
                </c:pt>
                <c:pt idx="10082">
                  <c:v>0</c:v>
                </c:pt>
                <c:pt idx="10083">
                  <c:v>0</c:v>
                </c:pt>
                <c:pt idx="10084">
                  <c:v>0</c:v>
                </c:pt>
                <c:pt idx="10085">
                  <c:v>0</c:v>
                </c:pt>
                <c:pt idx="10086">
                  <c:v>0</c:v>
                </c:pt>
                <c:pt idx="10087">
                  <c:v>0</c:v>
                </c:pt>
                <c:pt idx="10088">
                  <c:v>0</c:v>
                </c:pt>
                <c:pt idx="10089">
                  <c:v>0</c:v>
                </c:pt>
                <c:pt idx="10090">
                  <c:v>0</c:v>
                </c:pt>
                <c:pt idx="10091">
                  <c:v>0</c:v>
                </c:pt>
                <c:pt idx="10092">
                  <c:v>0</c:v>
                </c:pt>
                <c:pt idx="10093">
                  <c:v>0</c:v>
                </c:pt>
                <c:pt idx="10094">
                  <c:v>0</c:v>
                </c:pt>
                <c:pt idx="10095">
                  <c:v>0</c:v>
                </c:pt>
                <c:pt idx="10096">
                  <c:v>0</c:v>
                </c:pt>
                <c:pt idx="10097">
                  <c:v>0</c:v>
                </c:pt>
                <c:pt idx="10098">
                  <c:v>0</c:v>
                </c:pt>
                <c:pt idx="10099">
                  <c:v>0</c:v>
                </c:pt>
                <c:pt idx="10100">
                  <c:v>0</c:v>
                </c:pt>
                <c:pt idx="10101">
                  <c:v>0</c:v>
                </c:pt>
                <c:pt idx="10102">
                  <c:v>0</c:v>
                </c:pt>
                <c:pt idx="10103">
                  <c:v>0</c:v>
                </c:pt>
                <c:pt idx="10104">
                  <c:v>0</c:v>
                </c:pt>
                <c:pt idx="10105">
                  <c:v>0</c:v>
                </c:pt>
                <c:pt idx="10106">
                  <c:v>0</c:v>
                </c:pt>
                <c:pt idx="10107">
                  <c:v>0</c:v>
                </c:pt>
                <c:pt idx="10108">
                  <c:v>0</c:v>
                </c:pt>
                <c:pt idx="10109">
                  <c:v>0</c:v>
                </c:pt>
                <c:pt idx="10110">
                  <c:v>0</c:v>
                </c:pt>
                <c:pt idx="10111">
                  <c:v>0</c:v>
                </c:pt>
                <c:pt idx="10112">
                  <c:v>0</c:v>
                </c:pt>
                <c:pt idx="10113">
                  <c:v>0</c:v>
                </c:pt>
                <c:pt idx="10114">
                  <c:v>0</c:v>
                </c:pt>
                <c:pt idx="10115">
                  <c:v>0</c:v>
                </c:pt>
                <c:pt idx="10116">
                  <c:v>0</c:v>
                </c:pt>
                <c:pt idx="10117">
                  <c:v>0</c:v>
                </c:pt>
                <c:pt idx="10118">
                  <c:v>0</c:v>
                </c:pt>
                <c:pt idx="10119">
                  <c:v>0</c:v>
                </c:pt>
                <c:pt idx="10120">
                  <c:v>0</c:v>
                </c:pt>
                <c:pt idx="10121">
                  <c:v>0</c:v>
                </c:pt>
                <c:pt idx="10122">
                  <c:v>0</c:v>
                </c:pt>
                <c:pt idx="10123">
                  <c:v>0</c:v>
                </c:pt>
                <c:pt idx="10124">
                  <c:v>2</c:v>
                </c:pt>
                <c:pt idx="10125">
                  <c:v>0</c:v>
                </c:pt>
                <c:pt idx="10126">
                  <c:v>0</c:v>
                </c:pt>
                <c:pt idx="10127">
                  <c:v>1</c:v>
                </c:pt>
                <c:pt idx="10128">
                  <c:v>0</c:v>
                </c:pt>
                <c:pt idx="10129">
                  <c:v>0</c:v>
                </c:pt>
                <c:pt idx="10130">
                  <c:v>0</c:v>
                </c:pt>
                <c:pt idx="10131">
                  <c:v>0</c:v>
                </c:pt>
                <c:pt idx="10132">
                  <c:v>0</c:v>
                </c:pt>
                <c:pt idx="10133">
                  <c:v>0</c:v>
                </c:pt>
                <c:pt idx="10134">
                  <c:v>0</c:v>
                </c:pt>
                <c:pt idx="10135">
                  <c:v>3</c:v>
                </c:pt>
                <c:pt idx="10136">
                  <c:v>0</c:v>
                </c:pt>
                <c:pt idx="10137">
                  <c:v>0</c:v>
                </c:pt>
                <c:pt idx="10138">
                  <c:v>0</c:v>
                </c:pt>
                <c:pt idx="10139">
                  <c:v>0</c:v>
                </c:pt>
                <c:pt idx="10140">
                  <c:v>0</c:v>
                </c:pt>
                <c:pt idx="10141">
                  <c:v>0</c:v>
                </c:pt>
                <c:pt idx="10142">
                  <c:v>0</c:v>
                </c:pt>
                <c:pt idx="10143">
                  <c:v>0</c:v>
                </c:pt>
                <c:pt idx="10144">
                  <c:v>0</c:v>
                </c:pt>
                <c:pt idx="10145">
                  <c:v>0</c:v>
                </c:pt>
                <c:pt idx="10146">
                  <c:v>0</c:v>
                </c:pt>
                <c:pt idx="10147">
                  <c:v>0</c:v>
                </c:pt>
                <c:pt idx="10148">
                  <c:v>0</c:v>
                </c:pt>
                <c:pt idx="10149">
                  <c:v>0</c:v>
                </c:pt>
                <c:pt idx="10150">
                  <c:v>0</c:v>
                </c:pt>
                <c:pt idx="10151">
                  <c:v>0</c:v>
                </c:pt>
                <c:pt idx="10152">
                  <c:v>0</c:v>
                </c:pt>
                <c:pt idx="10153">
                  <c:v>0</c:v>
                </c:pt>
                <c:pt idx="10154">
                  <c:v>0</c:v>
                </c:pt>
                <c:pt idx="10155">
                  <c:v>0</c:v>
                </c:pt>
                <c:pt idx="10156">
                  <c:v>0</c:v>
                </c:pt>
                <c:pt idx="10157">
                  <c:v>0</c:v>
                </c:pt>
                <c:pt idx="10158">
                  <c:v>0</c:v>
                </c:pt>
                <c:pt idx="10159">
                  <c:v>0</c:v>
                </c:pt>
                <c:pt idx="10160">
                  <c:v>0</c:v>
                </c:pt>
                <c:pt idx="10161">
                  <c:v>0</c:v>
                </c:pt>
                <c:pt idx="10162">
                  <c:v>0</c:v>
                </c:pt>
                <c:pt idx="10163">
                  <c:v>0</c:v>
                </c:pt>
                <c:pt idx="10164">
                  <c:v>0</c:v>
                </c:pt>
                <c:pt idx="10165">
                  <c:v>0</c:v>
                </c:pt>
                <c:pt idx="10166">
                  <c:v>0</c:v>
                </c:pt>
                <c:pt idx="10167">
                  <c:v>0</c:v>
                </c:pt>
                <c:pt idx="10168">
                  <c:v>0</c:v>
                </c:pt>
                <c:pt idx="10169">
                  <c:v>0</c:v>
                </c:pt>
                <c:pt idx="10170">
                  <c:v>3</c:v>
                </c:pt>
                <c:pt idx="10171">
                  <c:v>0</c:v>
                </c:pt>
                <c:pt idx="10172">
                  <c:v>0</c:v>
                </c:pt>
                <c:pt idx="10173">
                  <c:v>0</c:v>
                </c:pt>
                <c:pt idx="10174">
                  <c:v>0</c:v>
                </c:pt>
                <c:pt idx="10175">
                  <c:v>0</c:v>
                </c:pt>
                <c:pt idx="10176">
                  <c:v>0</c:v>
                </c:pt>
                <c:pt idx="10177">
                  <c:v>0</c:v>
                </c:pt>
                <c:pt idx="10178">
                  <c:v>0</c:v>
                </c:pt>
                <c:pt idx="10179">
                  <c:v>0</c:v>
                </c:pt>
                <c:pt idx="10180">
                  <c:v>0</c:v>
                </c:pt>
                <c:pt idx="10181">
                  <c:v>0</c:v>
                </c:pt>
                <c:pt idx="10182">
                  <c:v>0</c:v>
                </c:pt>
                <c:pt idx="10183">
                  <c:v>0</c:v>
                </c:pt>
                <c:pt idx="10184">
                  <c:v>0</c:v>
                </c:pt>
                <c:pt idx="10185">
                  <c:v>2</c:v>
                </c:pt>
                <c:pt idx="10186">
                  <c:v>2</c:v>
                </c:pt>
                <c:pt idx="10187">
                  <c:v>0</c:v>
                </c:pt>
                <c:pt idx="10188">
                  <c:v>2</c:v>
                </c:pt>
                <c:pt idx="10189">
                  <c:v>2</c:v>
                </c:pt>
                <c:pt idx="10190">
                  <c:v>0</c:v>
                </c:pt>
                <c:pt idx="10191">
                  <c:v>1</c:v>
                </c:pt>
                <c:pt idx="10192">
                  <c:v>0</c:v>
                </c:pt>
                <c:pt idx="10193">
                  <c:v>0</c:v>
                </c:pt>
                <c:pt idx="10194">
                  <c:v>0</c:v>
                </c:pt>
                <c:pt idx="10195">
                  <c:v>0</c:v>
                </c:pt>
                <c:pt idx="10196">
                  <c:v>0</c:v>
                </c:pt>
                <c:pt idx="10197">
                  <c:v>0</c:v>
                </c:pt>
                <c:pt idx="10198">
                  <c:v>0</c:v>
                </c:pt>
                <c:pt idx="10199">
                  <c:v>0</c:v>
                </c:pt>
                <c:pt idx="10200">
                  <c:v>2</c:v>
                </c:pt>
                <c:pt idx="10201">
                  <c:v>1</c:v>
                </c:pt>
                <c:pt idx="10202">
                  <c:v>0</c:v>
                </c:pt>
                <c:pt idx="10203">
                  <c:v>0</c:v>
                </c:pt>
                <c:pt idx="10204">
                  <c:v>0</c:v>
                </c:pt>
                <c:pt idx="10205">
                  <c:v>0</c:v>
                </c:pt>
                <c:pt idx="10206">
                  <c:v>0</c:v>
                </c:pt>
                <c:pt idx="10207">
                  <c:v>0</c:v>
                </c:pt>
                <c:pt idx="10208">
                  <c:v>0</c:v>
                </c:pt>
                <c:pt idx="10209">
                  <c:v>0</c:v>
                </c:pt>
                <c:pt idx="10210">
                  <c:v>0</c:v>
                </c:pt>
                <c:pt idx="10211">
                  <c:v>0</c:v>
                </c:pt>
                <c:pt idx="10212">
                  <c:v>0</c:v>
                </c:pt>
                <c:pt idx="10213">
                  <c:v>0</c:v>
                </c:pt>
                <c:pt idx="10214">
                  <c:v>0</c:v>
                </c:pt>
                <c:pt idx="10215">
                  <c:v>0</c:v>
                </c:pt>
                <c:pt idx="10216">
                  <c:v>0</c:v>
                </c:pt>
                <c:pt idx="10217">
                  <c:v>0</c:v>
                </c:pt>
                <c:pt idx="10218">
                  <c:v>0</c:v>
                </c:pt>
                <c:pt idx="10219">
                  <c:v>0</c:v>
                </c:pt>
                <c:pt idx="10220">
                  <c:v>1</c:v>
                </c:pt>
                <c:pt idx="10221">
                  <c:v>0</c:v>
                </c:pt>
                <c:pt idx="10222">
                  <c:v>0</c:v>
                </c:pt>
                <c:pt idx="10223">
                  <c:v>0</c:v>
                </c:pt>
                <c:pt idx="10224">
                  <c:v>0</c:v>
                </c:pt>
                <c:pt idx="10225">
                  <c:v>0</c:v>
                </c:pt>
                <c:pt idx="10226">
                  <c:v>0</c:v>
                </c:pt>
                <c:pt idx="10227">
                  <c:v>0</c:v>
                </c:pt>
                <c:pt idx="10228">
                  <c:v>0</c:v>
                </c:pt>
                <c:pt idx="10229">
                  <c:v>0</c:v>
                </c:pt>
                <c:pt idx="10230">
                  <c:v>0</c:v>
                </c:pt>
                <c:pt idx="10231">
                  <c:v>0</c:v>
                </c:pt>
                <c:pt idx="10232">
                  <c:v>0</c:v>
                </c:pt>
                <c:pt idx="10233">
                  <c:v>0</c:v>
                </c:pt>
                <c:pt idx="10234">
                  <c:v>0</c:v>
                </c:pt>
                <c:pt idx="10235">
                  <c:v>0</c:v>
                </c:pt>
                <c:pt idx="10236">
                  <c:v>0</c:v>
                </c:pt>
                <c:pt idx="10237">
                  <c:v>0</c:v>
                </c:pt>
                <c:pt idx="10238">
                  <c:v>0</c:v>
                </c:pt>
                <c:pt idx="10239">
                  <c:v>0</c:v>
                </c:pt>
                <c:pt idx="10240">
                  <c:v>0</c:v>
                </c:pt>
                <c:pt idx="10241">
                  <c:v>0</c:v>
                </c:pt>
                <c:pt idx="10242">
                  <c:v>0</c:v>
                </c:pt>
                <c:pt idx="10243">
                  <c:v>0</c:v>
                </c:pt>
                <c:pt idx="10244">
                  <c:v>0</c:v>
                </c:pt>
                <c:pt idx="10245">
                  <c:v>0</c:v>
                </c:pt>
                <c:pt idx="10246">
                  <c:v>0</c:v>
                </c:pt>
                <c:pt idx="10247">
                  <c:v>0</c:v>
                </c:pt>
                <c:pt idx="10248">
                  <c:v>0</c:v>
                </c:pt>
                <c:pt idx="10249">
                  <c:v>0</c:v>
                </c:pt>
                <c:pt idx="10250">
                  <c:v>0</c:v>
                </c:pt>
                <c:pt idx="10251">
                  <c:v>0</c:v>
                </c:pt>
                <c:pt idx="10252">
                  <c:v>0</c:v>
                </c:pt>
                <c:pt idx="10253">
                  <c:v>0</c:v>
                </c:pt>
                <c:pt idx="10254">
                  <c:v>0</c:v>
                </c:pt>
                <c:pt idx="10255">
                  <c:v>0</c:v>
                </c:pt>
                <c:pt idx="10256">
                  <c:v>0</c:v>
                </c:pt>
                <c:pt idx="10257">
                  <c:v>0</c:v>
                </c:pt>
                <c:pt idx="10258">
                  <c:v>0</c:v>
                </c:pt>
                <c:pt idx="10259">
                  <c:v>0</c:v>
                </c:pt>
                <c:pt idx="10260">
                  <c:v>0</c:v>
                </c:pt>
                <c:pt idx="10261">
                  <c:v>0</c:v>
                </c:pt>
                <c:pt idx="10262">
                  <c:v>0</c:v>
                </c:pt>
                <c:pt idx="10263">
                  <c:v>0</c:v>
                </c:pt>
                <c:pt idx="10264">
                  <c:v>2</c:v>
                </c:pt>
                <c:pt idx="10265">
                  <c:v>1</c:v>
                </c:pt>
                <c:pt idx="10266">
                  <c:v>2</c:v>
                </c:pt>
                <c:pt idx="10267">
                  <c:v>0</c:v>
                </c:pt>
                <c:pt idx="10268">
                  <c:v>0</c:v>
                </c:pt>
                <c:pt idx="10269">
                  <c:v>0</c:v>
                </c:pt>
                <c:pt idx="10270">
                  <c:v>0</c:v>
                </c:pt>
                <c:pt idx="10271">
                  <c:v>0</c:v>
                </c:pt>
                <c:pt idx="10272">
                  <c:v>0</c:v>
                </c:pt>
                <c:pt idx="10273">
                  <c:v>0</c:v>
                </c:pt>
                <c:pt idx="10274">
                  <c:v>0</c:v>
                </c:pt>
                <c:pt idx="10275">
                  <c:v>0</c:v>
                </c:pt>
                <c:pt idx="10276">
                  <c:v>0</c:v>
                </c:pt>
                <c:pt idx="10277">
                  <c:v>0</c:v>
                </c:pt>
                <c:pt idx="10278">
                  <c:v>0</c:v>
                </c:pt>
                <c:pt idx="10279">
                  <c:v>0</c:v>
                </c:pt>
                <c:pt idx="10280">
                  <c:v>1</c:v>
                </c:pt>
                <c:pt idx="10281">
                  <c:v>1</c:v>
                </c:pt>
                <c:pt idx="10282">
                  <c:v>0</c:v>
                </c:pt>
                <c:pt idx="10283">
                  <c:v>0</c:v>
                </c:pt>
                <c:pt idx="10284">
                  <c:v>1</c:v>
                </c:pt>
                <c:pt idx="10285">
                  <c:v>0</c:v>
                </c:pt>
                <c:pt idx="10286">
                  <c:v>0</c:v>
                </c:pt>
                <c:pt idx="10287">
                  <c:v>0</c:v>
                </c:pt>
                <c:pt idx="10288">
                  <c:v>0</c:v>
                </c:pt>
                <c:pt idx="10289">
                  <c:v>0</c:v>
                </c:pt>
                <c:pt idx="10290">
                  <c:v>0</c:v>
                </c:pt>
                <c:pt idx="10291">
                  <c:v>5</c:v>
                </c:pt>
                <c:pt idx="10292">
                  <c:v>2</c:v>
                </c:pt>
                <c:pt idx="10293">
                  <c:v>0</c:v>
                </c:pt>
                <c:pt idx="10294">
                  <c:v>0</c:v>
                </c:pt>
                <c:pt idx="10295">
                  <c:v>0</c:v>
                </c:pt>
                <c:pt idx="10296">
                  <c:v>0</c:v>
                </c:pt>
                <c:pt idx="10297">
                  <c:v>0</c:v>
                </c:pt>
                <c:pt idx="10298">
                  <c:v>0</c:v>
                </c:pt>
                <c:pt idx="10299">
                  <c:v>0</c:v>
                </c:pt>
                <c:pt idx="10300">
                  <c:v>0</c:v>
                </c:pt>
                <c:pt idx="10301">
                  <c:v>0</c:v>
                </c:pt>
                <c:pt idx="10302">
                  <c:v>0</c:v>
                </c:pt>
                <c:pt idx="10303">
                  <c:v>0</c:v>
                </c:pt>
                <c:pt idx="10304">
                  <c:v>0</c:v>
                </c:pt>
                <c:pt idx="10305">
                  <c:v>1</c:v>
                </c:pt>
                <c:pt idx="10306">
                  <c:v>0</c:v>
                </c:pt>
                <c:pt idx="10307">
                  <c:v>0</c:v>
                </c:pt>
                <c:pt idx="10308">
                  <c:v>0</c:v>
                </c:pt>
                <c:pt idx="10309">
                  <c:v>0</c:v>
                </c:pt>
                <c:pt idx="10310">
                  <c:v>0</c:v>
                </c:pt>
                <c:pt idx="10311">
                  <c:v>0</c:v>
                </c:pt>
                <c:pt idx="10312">
                  <c:v>0</c:v>
                </c:pt>
                <c:pt idx="10313">
                  <c:v>0</c:v>
                </c:pt>
                <c:pt idx="10314">
                  <c:v>0</c:v>
                </c:pt>
                <c:pt idx="10315">
                  <c:v>0</c:v>
                </c:pt>
                <c:pt idx="10316">
                  <c:v>0</c:v>
                </c:pt>
                <c:pt idx="10317">
                  <c:v>0</c:v>
                </c:pt>
                <c:pt idx="10318">
                  <c:v>0</c:v>
                </c:pt>
                <c:pt idx="10319">
                  <c:v>5</c:v>
                </c:pt>
                <c:pt idx="10320">
                  <c:v>0</c:v>
                </c:pt>
                <c:pt idx="10321">
                  <c:v>0</c:v>
                </c:pt>
                <c:pt idx="10322">
                  <c:v>0</c:v>
                </c:pt>
                <c:pt idx="10323">
                  <c:v>0</c:v>
                </c:pt>
                <c:pt idx="10324">
                  <c:v>0</c:v>
                </c:pt>
                <c:pt idx="10325">
                  <c:v>0</c:v>
                </c:pt>
                <c:pt idx="10326">
                  <c:v>0</c:v>
                </c:pt>
                <c:pt idx="10327">
                  <c:v>0</c:v>
                </c:pt>
                <c:pt idx="10328">
                  <c:v>0</c:v>
                </c:pt>
                <c:pt idx="10329">
                  <c:v>0</c:v>
                </c:pt>
                <c:pt idx="10330">
                  <c:v>0</c:v>
                </c:pt>
                <c:pt idx="10331">
                  <c:v>0</c:v>
                </c:pt>
                <c:pt idx="10332">
                  <c:v>0</c:v>
                </c:pt>
                <c:pt idx="10333">
                  <c:v>0</c:v>
                </c:pt>
                <c:pt idx="10334">
                  <c:v>0</c:v>
                </c:pt>
                <c:pt idx="10335">
                  <c:v>0</c:v>
                </c:pt>
                <c:pt idx="10336">
                  <c:v>0</c:v>
                </c:pt>
                <c:pt idx="10337">
                  <c:v>0</c:v>
                </c:pt>
                <c:pt idx="10338">
                  <c:v>0</c:v>
                </c:pt>
                <c:pt idx="10339">
                  <c:v>0</c:v>
                </c:pt>
                <c:pt idx="10340">
                  <c:v>0</c:v>
                </c:pt>
                <c:pt idx="10341">
                  <c:v>0</c:v>
                </c:pt>
                <c:pt idx="10342">
                  <c:v>0</c:v>
                </c:pt>
                <c:pt idx="10343">
                  <c:v>0</c:v>
                </c:pt>
                <c:pt idx="10344">
                  <c:v>0</c:v>
                </c:pt>
                <c:pt idx="10345">
                  <c:v>0</c:v>
                </c:pt>
                <c:pt idx="10346">
                  <c:v>0</c:v>
                </c:pt>
                <c:pt idx="10347">
                  <c:v>0</c:v>
                </c:pt>
                <c:pt idx="10348">
                  <c:v>0</c:v>
                </c:pt>
                <c:pt idx="10349">
                  <c:v>0</c:v>
                </c:pt>
                <c:pt idx="10350">
                  <c:v>0</c:v>
                </c:pt>
                <c:pt idx="10351">
                  <c:v>0</c:v>
                </c:pt>
                <c:pt idx="10352">
                  <c:v>0</c:v>
                </c:pt>
                <c:pt idx="10353">
                  <c:v>0</c:v>
                </c:pt>
                <c:pt idx="10354">
                  <c:v>0</c:v>
                </c:pt>
                <c:pt idx="10355">
                  <c:v>0</c:v>
                </c:pt>
                <c:pt idx="10356">
                  <c:v>0</c:v>
                </c:pt>
                <c:pt idx="10357">
                  <c:v>0</c:v>
                </c:pt>
                <c:pt idx="10358">
                  <c:v>0</c:v>
                </c:pt>
                <c:pt idx="10359">
                  <c:v>0</c:v>
                </c:pt>
                <c:pt idx="10360">
                  <c:v>0</c:v>
                </c:pt>
                <c:pt idx="10361">
                  <c:v>0</c:v>
                </c:pt>
                <c:pt idx="10362">
                  <c:v>0</c:v>
                </c:pt>
                <c:pt idx="10363">
                  <c:v>0</c:v>
                </c:pt>
                <c:pt idx="10364">
                  <c:v>0</c:v>
                </c:pt>
                <c:pt idx="10365">
                  <c:v>0</c:v>
                </c:pt>
                <c:pt idx="10366">
                  <c:v>0</c:v>
                </c:pt>
                <c:pt idx="10367">
                  <c:v>0</c:v>
                </c:pt>
                <c:pt idx="10368">
                  <c:v>0</c:v>
                </c:pt>
                <c:pt idx="10369">
                  <c:v>0</c:v>
                </c:pt>
                <c:pt idx="10370">
                  <c:v>0</c:v>
                </c:pt>
                <c:pt idx="10371">
                  <c:v>0</c:v>
                </c:pt>
                <c:pt idx="10372">
                  <c:v>0</c:v>
                </c:pt>
                <c:pt idx="10373">
                  <c:v>0</c:v>
                </c:pt>
                <c:pt idx="10374">
                  <c:v>0</c:v>
                </c:pt>
                <c:pt idx="10375">
                  <c:v>0</c:v>
                </c:pt>
                <c:pt idx="10376">
                  <c:v>0</c:v>
                </c:pt>
                <c:pt idx="10377">
                  <c:v>0</c:v>
                </c:pt>
                <c:pt idx="10378">
                  <c:v>0</c:v>
                </c:pt>
                <c:pt idx="10379">
                  <c:v>0</c:v>
                </c:pt>
                <c:pt idx="10380">
                  <c:v>0</c:v>
                </c:pt>
                <c:pt idx="10381">
                  <c:v>0</c:v>
                </c:pt>
                <c:pt idx="10382">
                  <c:v>0</c:v>
                </c:pt>
                <c:pt idx="10383">
                  <c:v>0</c:v>
                </c:pt>
                <c:pt idx="10384">
                  <c:v>0</c:v>
                </c:pt>
                <c:pt idx="10385">
                  <c:v>0</c:v>
                </c:pt>
                <c:pt idx="10386">
                  <c:v>1</c:v>
                </c:pt>
                <c:pt idx="10387">
                  <c:v>2</c:v>
                </c:pt>
                <c:pt idx="10388">
                  <c:v>0</c:v>
                </c:pt>
                <c:pt idx="10389">
                  <c:v>0</c:v>
                </c:pt>
                <c:pt idx="10390">
                  <c:v>0</c:v>
                </c:pt>
                <c:pt idx="10391">
                  <c:v>1</c:v>
                </c:pt>
                <c:pt idx="10392">
                  <c:v>0</c:v>
                </c:pt>
                <c:pt idx="10393">
                  <c:v>0</c:v>
                </c:pt>
                <c:pt idx="10394">
                  <c:v>1</c:v>
                </c:pt>
                <c:pt idx="10395">
                  <c:v>0</c:v>
                </c:pt>
                <c:pt idx="10396">
                  <c:v>0</c:v>
                </c:pt>
                <c:pt idx="10397">
                  <c:v>0</c:v>
                </c:pt>
                <c:pt idx="10398">
                  <c:v>0</c:v>
                </c:pt>
                <c:pt idx="10399">
                  <c:v>0</c:v>
                </c:pt>
                <c:pt idx="10400">
                  <c:v>0</c:v>
                </c:pt>
                <c:pt idx="10401">
                  <c:v>0</c:v>
                </c:pt>
                <c:pt idx="10402">
                  <c:v>0</c:v>
                </c:pt>
                <c:pt idx="10403">
                  <c:v>0</c:v>
                </c:pt>
                <c:pt idx="10404">
                  <c:v>1</c:v>
                </c:pt>
                <c:pt idx="10405">
                  <c:v>0</c:v>
                </c:pt>
                <c:pt idx="10406">
                  <c:v>0</c:v>
                </c:pt>
                <c:pt idx="10407">
                  <c:v>0</c:v>
                </c:pt>
                <c:pt idx="10408">
                  <c:v>0</c:v>
                </c:pt>
                <c:pt idx="10409">
                  <c:v>0</c:v>
                </c:pt>
                <c:pt idx="10410">
                  <c:v>0</c:v>
                </c:pt>
                <c:pt idx="10411">
                  <c:v>0</c:v>
                </c:pt>
                <c:pt idx="10412">
                  <c:v>0</c:v>
                </c:pt>
                <c:pt idx="10413">
                  <c:v>0</c:v>
                </c:pt>
                <c:pt idx="10414">
                  <c:v>0</c:v>
                </c:pt>
                <c:pt idx="10415">
                  <c:v>0</c:v>
                </c:pt>
                <c:pt idx="10416">
                  <c:v>0</c:v>
                </c:pt>
                <c:pt idx="10417">
                  <c:v>0</c:v>
                </c:pt>
                <c:pt idx="10418">
                  <c:v>0</c:v>
                </c:pt>
                <c:pt idx="10419">
                  <c:v>0</c:v>
                </c:pt>
                <c:pt idx="10420">
                  <c:v>1</c:v>
                </c:pt>
                <c:pt idx="10421">
                  <c:v>1</c:v>
                </c:pt>
                <c:pt idx="10422">
                  <c:v>1</c:v>
                </c:pt>
                <c:pt idx="10423">
                  <c:v>0</c:v>
                </c:pt>
                <c:pt idx="10424">
                  <c:v>2</c:v>
                </c:pt>
                <c:pt idx="10425">
                  <c:v>0</c:v>
                </c:pt>
                <c:pt idx="10426">
                  <c:v>2</c:v>
                </c:pt>
                <c:pt idx="10427">
                  <c:v>0</c:v>
                </c:pt>
                <c:pt idx="10428">
                  <c:v>0</c:v>
                </c:pt>
                <c:pt idx="10429">
                  <c:v>0</c:v>
                </c:pt>
                <c:pt idx="10430">
                  <c:v>0</c:v>
                </c:pt>
                <c:pt idx="10431">
                  <c:v>0</c:v>
                </c:pt>
                <c:pt idx="10432">
                  <c:v>0</c:v>
                </c:pt>
                <c:pt idx="10433">
                  <c:v>0</c:v>
                </c:pt>
                <c:pt idx="10434">
                  <c:v>1</c:v>
                </c:pt>
                <c:pt idx="10435">
                  <c:v>0</c:v>
                </c:pt>
                <c:pt idx="10436">
                  <c:v>0</c:v>
                </c:pt>
                <c:pt idx="10437">
                  <c:v>0</c:v>
                </c:pt>
                <c:pt idx="10438">
                  <c:v>0</c:v>
                </c:pt>
                <c:pt idx="10439">
                  <c:v>0</c:v>
                </c:pt>
                <c:pt idx="10440">
                  <c:v>0</c:v>
                </c:pt>
                <c:pt idx="10441">
                  <c:v>0</c:v>
                </c:pt>
                <c:pt idx="10442">
                  <c:v>0</c:v>
                </c:pt>
                <c:pt idx="10443">
                  <c:v>0</c:v>
                </c:pt>
                <c:pt idx="10444">
                  <c:v>0</c:v>
                </c:pt>
                <c:pt idx="10445">
                  <c:v>0</c:v>
                </c:pt>
                <c:pt idx="10446">
                  <c:v>0</c:v>
                </c:pt>
                <c:pt idx="10447">
                  <c:v>0</c:v>
                </c:pt>
                <c:pt idx="10448">
                  <c:v>0</c:v>
                </c:pt>
                <c:pt idx="10449">
                  <c:v>0</c:v>
                </c:pt>
                <c:pt idx="10450">
                  <c:v>0</c:v>
                </c:pt>
                <c:pt idx="10451">
                  <c:v>0</c:v>
                </c:pt>
                <c:pt idx="10452">
                  <c:v>0</c:v>
                </c:pt>
                <c:pt idx="10453">
                  <c:v>0</c:v>
                </c:pt>
                <c:pt idx="10454">
                  <c:v>0</c:v>
                </c:pt>
                <c:pt idx="10455">
                  <c:v>0</c:v>
                </c:pt>
                <c:pt idx="10456">
                  <c:v>0</c:v>
                </c:pt>
                <c:pt idx="10457">
                  <c:v>0</c:v>
                </c:pt>
                <c:pt idx="10458">
                  <c:v>0</c:v>
                </c:pt>
                <c:pt idx="10459">
                  <c:v>0</c:v>
                </c:pt>
                <c:pt idx="10460">
                  <c:v>0</c:v>
                </c:pt>
                <c:pt idx="10461">
                  <c:v>0</c:v>
                </c:pt>
                <c:pt idx="10462">
                  <c:v>0</c:v>
                </c:pt>
                <c:pt idx="10463">
                  <c:v>0</c:v>
                </c:pt>
                <c:pt idx="10464">
                  <c:v>0</c:v>
                </c:pt>
                <c:pt idx="10465">
                  <c:v>0</c:v>
                </c:pt>
                <c:pt idx="10466">
                  <c:v>0</c:v>
                </c:pt>
                <c:pt idx="10467">
                  <c:v>0</c:v>
                </c:pt>
                <c:pt idx="10468">
                  <c:v>0</c:v>
                </c:pt>
                <c:pt idx="10469">
                  <c:v>0</c:v>
                </c:pt>
                <c:pt idx="10470">
                  <c:v>3</c:v>
                </c:pt>
                <c:pt idx="10471">
                  <c:v>8</c:v>
                </c:pt>
                <c:pt idx="10472">
                  <c:v>0</c:v>
                </c:pt>
                <c:pt idx="10473">
                  <c:v>0</c:v>
                </c:pt>
                <c:pt idx="10474">
                  <c:v>0</c:v>
                </c:pt>
                <c:pt idx="10475">
                  <c:v>0</c:v>
                </c:pt>
                <c:pt idx="10476">
                  <c:v>0</c:v>
                </c:pt>
                <c:pt idx="10477">
                  <c:v>0</c:v>
                </c:pt>
                <c:pt idx="10478">
                  <c:v>0</c:v>
                </c:pt>
                <c:pt idx="10479">
                  <c:v>0</c:v>
                </c:pt>
                <c:pt idx="10480">
                  <c:v>0</c:v>
                </c:pt>
                <c:pt idx="10481">
                  <c:v>0</c:v>
                </c:pt>
                <c:pt idx="10482">
                  <c:v>0</c:v>
                </c:pt>
                <c:pt idx="10483">
                  <c:v>0</c:v>
                </c:pt>
                <c:pt idx="10484">
                  <c:v>0</c:v>
                </c:pt>
                <c:pt idx="10485">
                  <c:v>0</c:v>
                </c:pt>
                <c:pt idx="10486">
                  <c:v>0</c:v>
                </c:pt>
                <c:pt idx="10487">
                  <c:v>0</c:v>
                </c:pt>
                <c:pt idx="10488">
                  <c:v>0</c:v>
                </c:pt>
                <c:pt idx="10489">
                  <c:v>0</c:v>
                </c:pt>
                <c:pt idx="10490">
                  <c:v>0</c:v>
                </c:pt>
                <c:pt idx="10491">
                  <c:v>0</c:v>
                </c:pt>
                <c:pt idx="10492">
                  <c:v>0</c:v>
                </c:pt>
                <c:pt idx="10493">
                  <c:v>0</c:v>
                </c:pt>
                <c:pt idx="10494">
                  <c:v>0</c:v>
                </c:pt>
                <c:pt idx="10495">
                  <c:v>0</c:v>
                </c:pt>
                <c:pt idx="10496">
                  <c:v>0</c:v>
                </c:pt>
                <c:pt idx="10497">
                  <c:v>0</c:v>
                </c:pt>
                <c:pt idx="10498">
                  <c:v>0</c:v>
                </c:pt>
                <c:pt idx="10499">
                  <c:v>0</c:v>
                </c:pt>
                <c:pt idx="10500">
                  <c:v>0</c:v>
                </c:pt>
                <c:pt idx="10501">
                  <c:v>0</c:v>
                </c:pt>
                <c:pt idx="10502">
                  <c:v>0</c:v>
                </c:pt>
                <c:pt idx="10503">
                  <c:v>0</c:v>
                </c:pt>
                <c:pt idx="10504">
                  <c:v>0</c:v>
                </c:pt>
                <c:pt idx="10505">
                  <c:v>0</c:v>
                </c:pt>
                <c:pt idx="10506">
                  <c:v>0</c:v>
                </c:pt>
                <c:pt idx="10507">
                  <c:v>0</c:v>
                </c:pt>
                <c:pt idx="10508">
                  <c:v>0</c:v>
                </c:pt>
                <c:pt idx="10509">
                  <c:v>0</c:v>
                </c:pt>
                <c:pt idx="10510">
                  <c:v>0</c:v>
                </c:pt>
                <c:pt idx="10511">
                  <c:v>0</c:v>
                </c:pt>
                <c:pt idx="10512">
                  <c:v>0</c:v>
                </c:pt>
                <c:pt idx="10513">
                  <c:v>0</c:v>
                </c:pt>
                <c:pt idx="10514">
                  <c:v>3</c:v>
                </c:pt>
                <c:pt idx="10515">
                  <c:v>0</c:v>
                </c:pt>
                <c:pt idx="10516">
                  <c:v>0</c:v>
                </c:pt>
                <c:pt idx="10517">
                  <c:v>0</c:v>
                </c:pt>
                <c:pt idx="10518">
                  <c:v>0</c:v>
                </c:pt>
                <c:pt idx="10519">
                  <c:v>0</c:v>
                </c:pt>
                <c:pt idx="10520">
                  <c:v>0</c:v>
                </c:pt>
                <c:pt idx="10521">
                  <c:v>0</c:v>
                </c:pt>
                <c:pt idx="10522">
                  <c:v>0</c:v>
                </c:pt>
                <c:pt idx="10523">
                  <c:v>0</c:v>
                </c:pt>
                <c:pt idx="10524">
                  <c:v>0</c:v>
                </c:pt>
                <c:pt idx="10525">
                  <c:v>9</c:v>
                </c:pt>
                <c:pt idx="10526">
                  <c:v>0</c:v>
                </c:pt>
                <c:pt idx="10527">
                  <c:v>0</c:v>
                </c:pt>
                <c:pt idx="10528">
                  <c:v>0</c:v>
                </c:pt>
                <c:pt idx="10529">
                  <c:v>0</c:v>
                </c:pt>
                <c:pt idx="10530">
                  <c:v>0</c:v>
                </c:pt>
                <c:pt idx="10531">
                  <c:v>0</c:v>
                </c:pt>
                <c:pt idx="10532">
                  <c:v>0</c:v>
                </c:pt>
                <c:pt idx="10533">
                  <c:v>0</c:v>
                </c:pt>
                <c:pt idx="10534">
                  <c:v>0</c:v>
                </c:pt>
                <c:pt idx="10535">
                  <c:v>5</c:v>
                </c:pt>
                <c:pt idx="10536">
                  <c:v>7</c:v>
                </c:pt>
                <c:pt idx="10537">
                  <c:v>1</c:v>
                </c:pt>
                <c:pt idx="10538">
                  <c:v>0</c:v>
                </c:pt>
                <c:pt idx="10539">
                  <c:v>0</c:v>
                </c:pt>
                <c:pt idx="10540">
                  <c:v>0</c:v>
                </c:pt>
                <c:pt idx="10541">
                  <c:v>0</c:v>
                </c:pt>
                <c:pt idx="10542">
                  <c:v>0</c:v>
                </c:pt>
                <c:pt idx="10543">
                  <c:v>0</c:v>
                </c:pt>
                <c:pt idx="10544">
                  <c:v>0</c:v>
                </c:pt>
                <c:pt idx="10545">
                  <c:v>0</c:v>
                </c:pt>
                <c:pt idx="10546">
                  <c:v>0</c:v>
                </c:pt>
                <c:pt idx="10547">
                  <c:v>0</c:v>
                </c:pt>
                <c:pt idx="10548">
                  <c:v>0</c:v>
                </c:pt>
                <c:pt idx="10549">
                  <c:v>0</c:v>
                </c:pt>
                <c:pt idx="10550">
                  <c:v>0</c:v>
                </c:pt>
                <c:pt idx="10551">
                  <c:v>0</c:v>
                </c:pt>
                <c:pt idx="10552">
                  <c:v>4</c:v>
                </c:pt>
                <c:pt idx="10553">
                  <c:v>2</c:v>
                </c:pt>
                <c:pt idx="10554">
                  <c:v>4</c:v>
                </c:pt>
                <c:pt idx="10555">
                  <c:v>0</c:v>
                </c:pt>
                <c:pt idx="10556">
                  <c:v>4</c:v>
                </c:pt>
                <c:pt idx="10557">
                  <c:v>0</c:v>
                </c:pt>
                <c:pt idx="10558">
                  <c:v>0</c:v>
                </c:pt>
                <c:pt idx="10559">
                  <c:v>5</c:v>
                </c:pt>
                <c:pt idx="10560">
                  <c:v>0</c:v>
                </c:pt>
                <c:pt idx="10561">
                  <c:v>0</c:v>
                </c:pt>
                <c:pt idx="10562">
                  <c:v>0</c:v>
                </c:pt>
                <c:pt idx="10563">
                  <c:v>0</c:v>
                </c:pt>
                <c:pt idx="10564">
                  <c:v>0</c:v>
                </c:pt>
                <c:pt idx="10565">
                  <c:v>0</c:v>
                </c:pt>
                <c:pt idx="10566">
                  <c:v>0</c:v>
                </c:pt>
                <c:pt idx="10567">
                  <c:v>0</c:v>
                </c:pt>
                <c:pt idx="10568">
                  <c:v>1</c:v>
                </c:pt>
                <c:pt idx="10569">
                  <c:v>1</c:v>
                </c:pt>
                <c:pt idx="10570">
                  <c:v>0</c:v>
                </c:pt>
                <c:pt idx="10571">
                  <c:v>0</c:v>
                </c:pt>
                <c:pt idx="10572">
                  <c:v>0</c:v>
                </c:pt>
                <c:pt idx="10573">
                  <c:v>0</c:v>
                </c:pt>
                <c:pt idx="10574">
                  <c:v>0</c:v>
                </c:pt>
                <c:pt idx="10575">
                  <c:v>0</c:v>
                </c:pt>
                <c:pt idx="10576">
                  <c:v>0</c:v>
                </c:pt>
                <c:pt idx="10577">
                  <c:v>0</c:v>
                </c:pt>
                <c:pt idx="10578">
                  <c:v>0</c:v>
                </c:pt>
                <c:pt idx="10579">
                  <c:v>3</c:v>
                </c:pt>
                <c:pt idx="10580">
                  <c:v>0</c:v>
                </c:pt>
                <c:pt idx="10581">
                  <c:v>5</c:v>
                </c:pt>
                <c:pt idx="10582">
                  <c:v>4</c:v>
                </c:pt>
                <c:pt idx="10583">
                  <c:v>5</c:v>
                </c:pt>
                <c:pt idx="10584">
                  <c:v>0</c:v>
                </c:pt>
                <c:pt idx="10585">
                  <c:v>0</c:v>
                </c:pt>
                <c:pt idx="10586">
                  <c:v>0</c:v>
                </c:pt>
                <c:pt idx="10587">
                  <c:v>0</c:v>
                </c:pt>
                <c:pt idx="10588">
                  <c:v>0</c:v>
                </c:pt>
                <c:pt idx="10589">
                  <c:v>0</c:v>
                </c:pt>
                <c:pt idx="10590">
                  <c:v>0</c:v>
                </c:pt>
                <c:pt idx="10591">
                  <c:v>0</c:v>
                </c:pt>
                <c:pt idx="10592">
                  <c:v>0</c:v>
                </c:pt>
                <c:pt idx="10593">
                  <c:v>0</c:v>
                </c:pt>
                <c:pt idx="10594">
                  <c:v>0</c:v>
                </c:pt>
                <c:pt idx="10595">
                  <c:v>0</c:v>
                </c:pt>
                <c:pt idx="10596">
                  <c:v>0</c:v>
                </c:pt>
                <c:pt idx="10597">
                  <c:v>0</c:v>
                </c:pt>
                <c:pt idx="10598">
                  <c:v>0</c:v>
                </c:pt>
                <c:pt idx="10599">
                  <c:v>0</c:v>
                </c:pt>
                <c:pt idx="10600">
                  <c:v>0</c:v>
                </c:pt>
                <c:pt idx="10601">
                  <c:v>0</c:v>
                </c:pt>
                <c:pt idx="10602">
                  <c:v>3</c:v>
                </c:pt>
                <c:pt idx="10603">
                  <c:v>1</c:v>
                </c:pt>
                <c:pt idx="10604">
                  <c:v>5</c:v>
                </c:pt>
                <c:pt idx="10605">
                  <c:v>0</c:v>
                </c:pt>
                <c:pt idx="10606">
                  <c:v>0</c:v>
                </c:pt>
                <c:pt idx="10607">
                  <c:v>2</c:v>
                </c:pt>
                <c:pt idx="10608">
                  <c:v>0</c:v>
                </c:pt>
                <c:pt idx="10609">
                  <c:v>0</c:v>
                </c:pt>
                <c:pt idx="10610">
                  <c:v>0</c:v>
                </c:pt>
                <c:pt idx="10611">
                  <c:v>0</c:v>
                </c:pt>
                <c:pt idx="10612">
                  <c:v>0</c:v>
                </c:pt>
                <c:pt idx="10613">
                  <c:v>0</c:v>
                </c:pt>
                <c:pt idx="10614">
                  <c:v>0</c:v>
                </c:pt>
                <c:pt idx="10615">
                  <c:v>0</c:v>
                </c:pt>
                <c:pt idx="10616">
                  <c:v>0</c:v>
                </c:pt>
                <c:pt idx="10617">
                  <c:v>0</c:v>
                </c:pt>
                <c:pt idx="10618">
                  <c:v>0</c:v>
                </c:pt>
                <c:pt idx="10619">
                  <c:v>5</c:v>
                </c:pt>
                <c:pt idx="10620">
                  <c:v>14</c:v>
                </c:pt>
                <c:pt idx="10621">
                  <c:v>1</c:v>
                </c:pt>
                <c:pt idx="10622">
                  <c:v>4</c:v>
                </c:pt>
                <c:pt idx="10623">
                  <c:v>1</c:v>
                </c:pt>
                <c:pt idx="10624">
                  <c:v>0</c:v>
                </c:pt>
                <c:pt idx="10625">
                  <c:v>1</c:v>
                </c:pt>
                <c:pt idx="10626">
                  <c:v>2</c:v>
                </c:pt>
                <c:pt idx="10627">
                  <c:v>0</c:v>
                </c:pt>
                <c:pt idx="10628">
                  <c:v>2</c:v>
                </c:pt>
                <c:pt idx="10629">
                  <c:v>1</c:v>
                </c:pt>
                <c:pt idx="10630">
                  <c:v>3</c:v>
                </c:pt>
                <c:pt idx="10631">
                  <c:v>2</c:v>
                </c:pt>
                <c:pt idx="10632">
                  <c:v>0</c:v>
                </c:pt>
                <c:pt idx="10633">
                  <c:v>4</c:v>
                </c:pt>
                <c:pt idx="10634">
                  <c:v>0</c:v>
                </c:pt>
                <c:pt idx="10635">
                  <c:v>5</c:v>
                </c:pt>
                <c:pt idx="10636">
                  <c:v>0</c:v>
                </c:pt>
                <c:pt idx="10637">
                  <c:v>2</c:v>
                </c:pt>
                <c:pt idx="10638">
                  <c:v>0</c:v>
                </c:pt>
                <c:pt idx="10639">
                  <c:v>0</c:v>
                </c:pt>
                <c:pt idx="10640">
                  <c:v>2</c:v>
                </c:pt>
                <c:pt idx="10641">
                  <c:v>0</c:v>
                </c:pt>
                <c:pt idx="10642">
                  <c:v>0</c:v>
                </c:pt>
                <c:pt idx="10643">
                  <c:v>0</c:v>
                </c:pt>
                <c:pt idx="10644">
                  <c:v>0</c:v>
                </c:pt>
                <c:pt idx="10645">
                  <c:v>0</c:v>
                </c:pt>
                <c:pt idx="10646">
                  <c:v>0</c:v>
                </c:pt>
                <c:pt idx="10647">
                  <c:v>2</c:v>
                </c:pt>
                <c:pt idx="10648">
                  <c:v>0</c:v>
                </c:pt>
                <c:pt idx="10649">
                  <c:v>0</c:v>
                </c:pt>
                <c:pt idx="10650">
                  <c:v>0</c:v>
                </c:pt>
                <c:pt idx="10651">
                  <c:v>0</c:v>
                </c:pt>
                <c:pt idx="10652">
                  <c:v>0</c:v>
                </c:pt>
                <c:pt idx="10653">
                  <c:v>1</c:v>
                </c:pt>
                <c:pt idx="10654">
                  <c:v>0</c:v>
                </c:pt>
                <c:pt idx="10655">
                  <c:v>0</c:v>
                </c:pt>
                <c:pt idx="10656">
                  <c:v>0</c:v>
                </c:pt>
                <c:pt idx="10657">
                  <c:v>0</c:v>
                </c:pt>
                <c:pt idx="10658">
                  <c:v>0</c:v>
                </c:pt>
                <c:pt idx="10659">
                  <c:v>0</c:v>
                </c:pt>
                <c:pt idx="10660">
                  <c:v>0</c:v>
                </c:pt>
                <c:pt idx="10661">
                  <c:v>0</c:v>
                </c:pt>
                <c:pt idx="10662">
                  <c:v>0</c:v>
                </c:pt>
                <c:pt idx="10663">
                  <c:v>0</c:v>
                </c:pt>
                <c:pt idx="10664">
                  <c:v>0</c:v>
                </c:pt>
                <c:pt idx="10665">
                  <c:v>0</c:v>
                </c:pt>
                <c:pt idx="10666">
                  <c:v>0</c:v>
                </c:pt>
                <c:pt idx="10667">
                  <c:v>0</c:v>
                </c:pt>
                <c:pt idx="10668">
                  <c:v>0</c:v>
                </c:pt>
                <c:pt idx="10669">
                  <c:v>0</c:v>
                </c:pt>
                <c:pt idx="10670">
                  <c:v>0</c:v>
                </c:pt>
                <c:pt idx="10671">
                  <c:v>3</c:v>
                </c:pt>
                <c:pt idx="10672">
                  <c:v>0</c:v>
                </c:pt>
                <c:pt idx="10673">
                  <c:v>0</c:v>
                </c:pt>
                <c:pt idx="10674">
                  <c:v>0</c:v>
                </c:pt>
                <c:pt idx="10675">
                  <c:v>0</c:v>
                </c:pt>
                <c:pt idx="10676">
                  <c:v>0</c:v>
                </c:pt>
                <c:pt idx="10677">
                  <c:v>0</c:v>
                </c:pt>
                <c:pt idx="10678">
                  <c:v>0</c:v>
                </c:pt>
                <c:pt idx="10679">
                  <c:v>1</c:v>
                </c:pt>
                <c:pt idx="10680">
                  <c:v>0</c:v>
                </c:pt>
                <c:pt idx="10681">
                  <c:v>0</c:v>
                </c:pt>
                <c:pt idx="10682">
                  <c:v>0</c:v>
                </c:pt>
                <c:pt idx="10683">
                  <c:v>0</c:v>
                </c:pt>
                <c:pt idx="10684">
                  <c:v>0</c:v>
                </c:pt>
                <c:pt idx="10685">
                  <c:v>0</c:v>
                </c:pt>
                <c:pt idx="10686">
                  <c:v>1</c:v>
                </c:pt>
                <c:pt idx="10687">
                  <c:v>0</c:v>
                </c:pt>
                <c:pt idx="10688">
                  <c:v>0</c:v>
                </c:pt>
                <c:pt idx="10689">
                  <c:v>0</c:v>
                </c:pt>
                <c:pt idx="10690">
                  <c:v>0</c:v>
                </c:pt>
                <c:pt idx="10691">
                  <c:v>0</c:v>
                </c:pt>
                <c:pt idx="10692">
                  <c:v>0</c:v>
                </c:pt>
                <c:pt idx="10693">
                  <c:v>0</c:v>
                </c:pt>
                <c:pt idx="10694">
                  <c:v>0</c:v>
                </c:pt>
                <c:pt idx="10695">
                  <c:v>0</c:v>
                </c:pt>
                <c:pt idx="10696">
                  <c:v>0</c:v>
                </c:pt>
                <c:pt idx="10697">
                  <c:v>0</c:v>
                </c:pt>
                <c:pt idx="10698">
                  <c:v>0</c:v>
                </c:pt>
                <c:pt idx="10699">
                  <c:v>0</c:v>
                </c:pt>
                <c:pt idx="10700">
                  <c:v>0</c:v>
                </c:pt>
                <c:pt idx="10701">
                  <c:v>0</c:v>
                </c:pt>
                <c:pt idx="10702">
                  <c:v>1</c:v>
                </c:pt>
                <c:pt idx="10703">
                  <c:v>0</c:v>
                </c:pt>
                <c:pt idx="10704">
                  <c:v>0</c:v>
                </c:pt>
                <c:pt idx="10705">
                  <c:v>0</c:v>
                </c:pt>
                <c:pt idx="10706">
                  <c:v>0</c:v>
                </c:pt>
                <c:pt idx="10707">
                  <c:v>1</c:v>
                </c:pt>
                <c:pt idx="10708">
                  <c:v>3</c:v>
                </c:pt>
                <c:pt idx="10709">
                  <c:v>3</c:v>
                </c:pt>
                <c:pt idx="10710">
                  <c:v>0</c:v>
                </c:pt>
                <c:pt idx="10711">
                  <c:v>0</c:v>
                </c:pt>
                <c:pt idx="10712">
                  <c:v>0</c:v>
                </c:pt>
                <c:pt idx="10713">
                  <c:v>0</c:v>
                </c:pt>
                <c:pt idx="10714">
                  <c:v>0</c:v>
                </c:pt>
                <c:pt idx="10715">
                  <c:v>0</c:v>
                </c:pt>
                <c:pt idx="10716">
                  <c:v>0</c:v>
                </c:pt>
                <c:pt idx="10717">
                  <c:v>1</c:v>
                </c:pt>
                <c:pt idx="10718">
                  <c:v>3</c:v>
                </c:pt>
                <c:pt idx="10719">
                  <c:v>2</c:v>
                </c:pt>
                <c:pt idx="10720">
                  <c:v>1</c:v>
                </c:pt>
                <c:pt idx="10721">
                  <c:v>0</c:v>
                </c:pt>
                <c:pt idx="10722">
                  <c:v>5</c:v>
                </c:pt>
                <c:pt idx="10723">
                  <c:v>5</c:v>
                </c:pt>
                <c:pt idx="10724">
                  <c:v>6</c:v>
                </c:pt>
                <c:pt idx="10725">
                  <c:v>2</c:v>
                </c:pt>
                <c:pt idx="10726">
                  <c:v>1</c:v>
                </c:pt>
                <c:pt idx="10727">
                  <c:v>0</c:v>
                </c:pt>
                <c:pt idx="10728">
                  <c:v>0</c:v>
                </c:pt>
                <c:pt idx="10729">
                  <c:v>0</c:v>
                </c:pt>
                <c:pt idx="10730">
                  <c:v>0</c:v>
                </c:pt>
                <c:pt idx="10731">
                  <c:v>0</c:v>
                </c:pt>
                <c:pt idx="10732">
                  <c:v>0</c:v>
                </c:pt>
                <c:pt idx="10733">
                  <c:v>1</c:v>
                </c:pt>
                <c:pt idx="10734">
                  <c:v>0</c:v>
                </c:pt>
                <c:pt idx="10735">
                  <c:v>0</c:v>
                </c:pt>
                <c:pt idx="10736">
                  <c:v>0</c:v>
                </c:pt>
                <c:pt idx="10737">
                  <c:v>0</c:v>
                </c:pt>
                <c:pt idx="10738">
                  <c:v>0</c:v>
                </c:pt>
                <c:pt idx="10739">
                  <c:v>1</c:v>
                </c:pt>
                <c:pt idx="10740">
                  <c:v>1</c:v>
                </c:pt>
                <c:pt idx="10741">
                  <c:v>1</c:v>
                </c:pt>
                <c:pt idx="10742">
                  <c:v>3</c:v>
                </c:pt>
                <c:pt idx="10743">
                  <c:v>0</c:v>
                </c:pt>
                <c:pt idx="10744">
                  <c:v>0</c:v>
                </c:pt>
                <c:pt idx="10745">
                  <c:v>0</c:v>
                </c:pt>
                <c:pt idx="10746">
                  <c:v>0</c:v>
                </c:pt>
                <c:pt idx="10747">
                  <c:v>0</c:v>
                </c:pt>
                <c:pt idx="10748">
                  <c:v>0</c:v>
                </c:pt>
                <c:pt idx="10749">
                  <c:v>0</c:v>
                </c:pt>
                <c:pt idx="10750">
                  <c:v>0</c:v>
                </c:pt>
                <c:pt idx="10751">
                  <c:v>0</c:v>
                </c:pt>
                <c:pt idx="10752">
                  <c:v>4</c:v>
                </c:pt>
                <c:pt idx="10753">
                  <c:v>0</c:v>
                </c:pt>
                <c:pt idx="10754">
                  <c:v>0</c:v>
                </c:pt>
                <c:pt idx="10755">
                  <c:v>0</c:v>
                </c:pt>
                <c:pt idx="10756">
                  <c:v>0</c:v>
                </c:pt>
                <c:pt idx="10757">
                  <c:v>0</c:v>
                </c:pt>
                <c:pt idx="10758">
                  <c:v>0</c:v>
                </c:pt>
                <c:pt idx="10759">
                  <c:v>0</c:v>
                </c:pt>
                <c:pt idx="10760">
                  <c:v>0</c:v>
                </c:pt>
                <c:pt idx="10761">
                  <c:v>0</c:v>
                </c:pt>
                <c:pt idx="10762">
                  <c:v>0</c:v>
                </c:pt>
                <c:pt idx="10763">
                  <c:v>0</c:v>
                </c:pt>
                <c:pt idx="10764">
                  <c:v>0</c:v>
                </c:pt>
                <c:pt idx="10765">
                  <c:v>0</c:v>
                </c:pt>
                <c:pt idx="10766">
                  <c:v>1</c:v>
                </c:pt>
                <c:pt idx="10767">
                  <c:v>0</c:v>
                </c:pt>
                <c:pt idx="10768">
                  <c:v>0</c:v>
                </c:pt>
                <c:pt idx="10769">
                  <c:v>0</c:v>
                </c:pt>
                <c:pt idx="10770">
                  <c:v>0</c:v>
                </c:pt>
                <c:pt idx="10771">
                  <c:v>2</c:v>
                </c:pt>
                <c:pt idx="10772">
                  <c:v>0</c:v>
                </c:pt>
                <c:pt idx="10773">
                  <c:v>0</c:v>
                </c:pt>
                <c:pt idx="10774">
                  <c:v>0</c:v>
                </c:pt>
                <c:pt idx="10775">
                  <c:v>1</c:v>
                </c:pt>
                <c:pt idx="10776">
                  <c:v>0</c:v>
                </c:pt>
                <c:pt idx="10777">
                  <c:v>0</c:v>
                </c:pt>
                <c:pt idx="10778">
                  <c:v>0</c:v>
                </c:pt>
                <c:pt idx="10779">
                  <c:v>0</c:v>
                </c:pt>
                <c:pt idx="10780">
                  <c:v>0</c:v>
                </c:pt>
                <c:pt idx="10781">
                  <c:v>0</c:v>
                </c:pt>
                <c:pt idx="10782">
                  <c:v>0</c:v>
                </c:pt>
                <c:pt idx="10783">
                  <c:v>0</c:v>
                </c:pt>
                <c:pt idx="10784">
                  <c:v>0</c:v>
                </c:pt>
                <c:pt idx="10785">
                  <c:v>0</c:v>
                </c:pt>
                <c:pt idx="10786">
                  <c:v>0</c:v>
                </c:pt>
                <c:pt idx="10787">
                  <c:v>0</c:v>
                </c:pt>
                <c:pt idx="10788">
                  <c:v>0</c:v>
                </c:pt>
                <c:pt idx="10789">
                  <c:v>0</c:v>
                </c:pt>
                <c:pt idx="10790">
                  <c:v>2</c:v>
                </c:pt>
                <c:pt idx="10791">
                  <c:v>1</c:v>
                </c:pt>
                <c:pt idx="10792">
                  <c:v>0</c:v>
                </c:pt>
                <c:pt idx="10793">
                  <c:v>3</c:v>
                </c:pt>
                <c:pt idx="10794">
                  <c:v>0</c:v>
                </c:pt>
                <c:pt idx="10795">
                  <c:v>0</c:v>
                </c:pt>
                <c:pt idx="10796">
                  <c:v>3</c:v>
                </c:pt>
                <c:pt idx="10797">
                  <c:v>0</c:v>
                </c:pt>
                <c:pt idx="10798">
                  <c:v>0</c:v>
                </c:pt>
                <c:pt idx="10799">
                  <c:v>0</c:v>
                </c:pt>
                <c:pt idx="10800">
                  <c:v>0</c:v>
                </c:pt>
                <c:pt idx="10801">
                  <c:v>0</c:v>
                </c:pt>
                <c:pt idx="10802">
                  <c:v>0</c:v>
                </c:pt>
                <c:pt idx="10803">
                  <c:v>0</c:v>
                </c:pt>
                <c:pt idx="10804">
                  <c:v>1</c:v>
                </c:pt>
                <c:pt idx="10805">
                  <c:v>0</c:v>
                </c:pt>
                <c:pt idx="10806">
                  <c:v>0</c:v>
                </c:pt>
                <c:pt idx="10807">
                  <c:v>0</c:v>
                </c:pt>
                <c:pt idx="10808">
                  <c:v>0</c:v>
                </c:pt>
                <c:pt idx="10809">
                  <c:v>0</c:v>
                </c:pt>
                <c:pt idx="10810">
                  <c:v>0</c:v>
                </c:pt>
                <c:pt idx="10811">
                  <c:v>0</c:v>
                </c:pt>
                <c:pt idx="10812">
                  <c:v>0</c:v>
                </c:pt>
                <c:pt idx="10813">
                  <c:v>2</c:v>
                </c:pt>
                <c:pt idx="10814">
                  <c:v>0</c:v>
                </c:pt>
                <c:pt idx="10815">
                  <c:v>0</c:v>
                </c:pt>
                <c:pt idx="10816">
                  <c:v>0</c:v>
                </c:pt>
                <c:pt idx="10817">
                  <c:v>0</c:v>
                </c:pt>
                <c:pt idx="10818">
                  <c:v>0</c:v>
                </c:pt>
                <c:pt idx="10819">
                  <c:v>3</c:v>
                </c:pt>
                <c:pt idx="10820">
                  <c:v>0</c:v>
                </c:pt>
                <c:pt idx="10821">
                  <c:v>0</c:v>
                </c:pt>
                <c:pt idx="10822">
                  <c:v>0</c:v>
                </c:pt>
                <c:pt idx="10823">
                  <c:v>0</c:v>
                </c:pt>
                <c:pt idx="10824">
                  <c:v>0</c:v>
                </c:pt>
                <c:pt idx="10825">
                  <c:v>0</c:v>
                </c:pt>
                <c:pt idx="10826">
                  <c:v>4</c:v>
                </c:pt>
                <c:pt idx="10827">
                  <c:v>3</c:v>
                </c:pt>
                <c:pt idx="10828">
                  <c:v>0</c:v>
                </c:pt>
                <c:pt idx="10829">
                  <c:v>0</c:v>
                </c:pt>
                <c:pt idx="10830">
                  <c:v>0</c:v>
                </c:pt>
                <c:pt idx="10831">
                  <c:v>0</c:v>
                </c:pt>
                <c:pt idx="10832">
                  <c:v>0</c:v>
                </c:pt>
                <c:pt idx="10833">
                  <c:v>0</c:v>
                </c:pt>
                <c:pt idx="10834">
                  <c:v>0</c:v>
                </c:pt>
                <c:pt idx="10835">
                  <c:v>0</c:v>
                </c:pt>
                <c:pt idx="10836">
                  <c:v>6</c:v>
                </c:pt>
                <c:pt idx="10837">
                  <c:v>0</c:v>
                </c:pt>
                <c:pt idx="10838">
                  <c:v>0</c:v>
                </c:pt>
                <c:pt idx="10839">
                  <c:v>0</c:v>
                </c:pt>
                <c:pt idx="10840">
                  <c:v>0</c:v>
                </c:pt>
                <c:pt idx="10841">
                  <c:v>0</c:v>
                </c:pt>
                <c:pt idx="10842">
                  <c:v>0</c:v>
                </c:pt>
                <c:pt idx="10843">
                  <c:v>0</c:v>
                </c:pt>
                <c:pt idx="10844">
                  <c:v>0</c:v>
                </c:pt>
                <c:pt idx="10845">
                  <c:v>0</c:v>
                </c:pt>
                <c:pt idx="10846">
                  <c:v>0</c:v>
                </c:pt>
                <c:pt idx="10847">
                  <c:v>0</c:v>
                </c:pt>
                <c:pt idx="10848">
                  <c:v>0</c:v>
                </c:pt>
                <c:pt idx="10849">
                  <c:v>0</c:v>
                </c:pt>
                <c:pt idx="10850">
                  <c:v>2</c:v>
                </c:pt>
                <c:pt idx="10851">
                  <c:v>0</c:v>
                </c:pt>
                <c:pt idx="10852">
                  <c:v>1</c:v>
                </c:pt>
                <c:pt idx="10853">
                  <c:v>0</c:v>
                </c:pt>
                <c:pt idx="10854">
                  <c:v>0</c:v>
                </c:pt>
                <c:pt idx="10855">
                  <c:v>5</c:v>
                </c:pt>
                <c:pt idx="10856">
                  <c:v>1</c:v>
                </c:pt>
                <c:pt idx="10857">
                  <c:v>4</c:v>
                </c:pt>
                <c:pt idx="10858">
                  <c:v>4</c:v>
                </c:pt>
                <c:pt idx="10859">
                  <c:v>1</c:v>
                </c:pt>
                <c:pt idx="10860">
                  <c:v>0</c:v>
                </c:pt>
                <c:pt idx="10861">
                  <c:v>3</c:v>
                </c:pt>
                <c:pt idx="10862">
                  <c:v>5</c:v>
                </c:pt>
                <c:pt idx="10863">
                  <c:v>0</c:v>
                </c:pt>
                <c:pt idx="10864">
                  <c:v>3</c:v>
                </c:pt>
                <c:pt idx="10865">
                  <c:v>2</c:v>
                </c:pt>
                <c:pt idx="10866">
                  <c:v>3</c:v>
                </c:pt>
                <c:pt idx="10867">
                  <c:v>1</c:v>
                </c:pt>
                <c:pt idx="10868">
                  <c:v>0</c:v>
                </c:pt>
                <c:pt idx="10869">
                  <c:v>1</c:v>
                </c:pt>
                <c:pt idx="10870">
                  <c:v>0</c:v>
                </c:pt>
                <c:pt idx="10871">
                  <c:v>0</c:v>
                </c:pt>
                <c:pt idx="10872">
                  <c:v>0</c:v>
                </c:pt>
                <c:pt idx="10873">
                  <c:v>0</c:v>
                </c:pt>
                <c:pt idx="10874">
                  <c:v>0</c:v>
                </c:pt>
                <c:pt idx="10875">
                  <c:v>0</c:v>
                </c:pt>
                <c:pt idx="10876">
                  <c:v>8</c:v>
                </c:pt>
                <c:pt idx="10877">
                  <c:v>3</c:v>
                </c:pt>
                <c:pt idx="10878">
                  <c:v>3</c:v>
                </c:pt>
                <c:pt idx="10879">
                  <c:v>0</c:v>
                </c:pt>
                <c:pt idx="10880">
                  <c:v>0</c:v>
                </c:pt>
                <c:pt idx="10881">
                  <c:v>0</c:v>
                </c:pt>
                <c:pt idx="10882">
                  <c:v>0</c:v>
                </c:pt>
                <c:pt idx="10883">
                  <c:v>0</c:v>
                </c:pt>
                <c:pt idx="10884">
                  <c:v>0</c:v>
                </c:pt>
                <c:pt idx="10885">
                  <c:v>0</c:v>
                </c:pt>
                <c:pt idx="10886">
                  <c:v>0</c:v>
                </c:pt>
                <c:pt idx="10887">
                  <c:v>0</c:v>
                </c:pt>
                <c:pt idx="10888">
                  <c:v>0</c:v>
                </c:pt>
                <c:pt idx="10889">
                  <c:v>0</c:v>
                </c:pt>
                <c:pt idx="10890">
                  <c:v>0</c:v>
                </c:pt>
                <c:pt idx="10891">
                  <c:v>0</c:v>
                </c:pt>
                <c:pt idx="10892">
                  <c:v>0</c:v>
                </c:pt>
                <c:pt idx="10893">
                  <c:v>0</c:v>
                </c:pt>
                <c:pt idx="10894">
                  <c:v>1</c:v>
                </c:pt>
                <c:pt idx="10895">
                  <c:v>0</c:v>
                </c:pt>
                <c:pt idx="10896">
                  <c:v>0</c:v>
                </c:pt>
                <c:pt idx="10897">
                  <c:v>0</c:v>
                </c:pt>
                <c:pt idx="10898">
                  <c:v>0</c:v>
                </c:pt>
                <c:pt idx="10899">
                  <c:v>0</c:v>
                </c:pt>
                <c:pt idx="10900">
                  <c:v>0</c:v>
                </c:pt>
                <c:pt idx="10901">
                  <c:v>0</c:v>
                </c:pt>
                <c:pt idx="10902">
                  <c:v>0</c:v>
                </c:pt>
                <c:pt idx="10903">
                  <c:v>0</c:v>
                </c:pt>
                <c:pt idx="10904">
                  <c:v>0</c:v>
                </c:pt>
                <c:pt idx="10905">
                  <c:v>0</c:v>
                </c:pt>
                <c:pt idx="10906">
                  <c:v>0</c:v>
                </c:pt>
                <c:pt idx="10907">
                  <c:v>0</c:v>
                </c:pt>
                <c:pt idx="10908">
                  <c:v>0</c:v>
                </c:pt>
                <c:pt idx="10909">
                  <c:v>4</c:v>
                </c:pt>
                <c:pt idx="10910">
                  <c:v>4</c:v>
                </c:pt>
                <c:pt idx="10911">
                  <c:v>2</c:v>
                </c:pt>
                <c:pt idx="10912">
                  <c:v>0</c:v>
                </c:pt>
                <c:pt idx="10913">
                  <c:v>0</c:v>
                </c:pt>
                <c:pt idx="10914">
                  <c:v>0</c:v>
                </c:pt>
                <c:pt idx="10915">
                  <c:v>0</c:v>
                </c:pt>
                <c:pt idx="10916">
                  <c:v>3</c:v>
                </c:pt>
                <c:pt idx="10917">
                  <c:v>0</c:v>
                </c:pt>
                <c:pt idx="10918">
                  <c:v>0</c:v>
                </c:pt>
                <c:pt idx="10919">
                  <c:v>0</c:v>
                </c:pt>
                <c:pt idx="10920">
                  <c:v>7</c:v>
                </c:pt>
                <c:pt idx="10921">
                  <c:v>5</c:v>
                </c:pt>
                <c:pt idx="10922">
                  <c:v>7</c:v>
                </c:pt>
                <c:pt idx="10923">
                  <c:v>2</c:v>
                </c:pt>
                <c:pt idx="10924">
                  <c:v>3</c:v>
                </c:pt>
                <c:pt idx="10925">
                  <c:v>0</c:v>
                </c:pt>
                <c:pt idx="10926">
                  <c:v>1</c:v>
                </c:pt>
                <c:pt idx="10927">
                  <c:v>0</c:v>
                </c:pt>
                <c:pt idx="10928">
                  <c:v>0</c:v>
                </c:pt>
                <c:pt idx="10929">
                  <c:v>1</c:v>
                </c:pt>
                <c:pt idx="10930">
                  <c:v>7</c:v>
                </c:pt>
                <c:pt idx="10931">
                  <c:v>3</c:v>
                </c:pt>
                <c:pt idx="10932">
                  <c:v>0</c:v>
                </c:pt>
                <c:pt idx="10933">
                  <c:v>2</c:v>
                </c:pt>
                <c:pt idx="10934">
                  <c:v>1</c:v>
                </c:pt>
                <c:pt idx="10935">
                  <c:v>0</c:v>
                </c:pt>
                <c:pt idx="10936">
                  <c:v>0</c:v>
                </c:pt>
                <c:pt idx="10937">
                  <c:v>0</c:v>
                </c:pt>
                <c:pt idx="10938">
                  <c:v>0</c:v>
                </c:pt>
                <c:pt idx="10939">
                  <c:v>0</c:v>
                </c:pt>
                <c:pt idx="10940">
                  <c:v>0</c:v>
                </c:pt>
                <c:pt idx="10941">
                  <c:v>0</c:v>
                </c:pt>
                <c:pt idx="10942">
                  <c:v>0</c:v>
                </c:pt>
                <c:pt idx="10943">
                  <c:v>0</c:v>
                </c:pt>
                <c:pt idx="10944">
                  <c:v>0</c:v>
                </c:pt>
                <c:pt idx="10945">
                  <c:v>0</c:v>
                </c:pt>
                <c:pt idx="10946">
                  <c:v>0</c:v>
                </c:pt>
                <c:pt idx="10947">
                  <c:v>0</c:v>
                </c:pt>
                <c:pt idx="10948">
                  <c:v>0</c:v>
                </c:pt>
                <c:pt idx="10949">
                  <c:v>0</c:v>
                </c:pt>
                <c:pt idx="10950">
                  <c:v>0</c:v>
                </c:pt>
                <c:pt idx="10951">
                  <c:v>0</c:v>
                </c:pt>
                <c:pt idx="10952">
                  <c:v>0</c:v>
                </c:pt>
                <c:pt idx="10953">
                  <c:v>0</c:v>
                </c:pt>
                <c:pt idx="10954">
                  <c:v>0</c:v>
                </c:pt>
                <c:pt idx="10955">
                  <c:v>0</c:v>
                </c:pt>
                <c:pt idx="10956">
                  <c:v>0</c:v>
                </c:pt>
                <c:pt idx="10957">
                  <c:v>0</c:v>
                </c:pt>
                <c:pt idx="10958">
                  <c:v>0</c:v>
                </c:pt>
                <c:pt idx="10959">
                  <c:v>0</c:v>
                </c:pt>
                <c:pt idx="10960">
                  <c:v>0</c:v>
                </c:pt>
                <c:pt idx="10961">
                  <c:v>0</c:v>
                </c:pt>
                <c:pt idx="10962">
                  <c:v>0</c:v>
                </c:pt>
                <c:pt idx="10963">
                  <c:v>0</c:v>
                </c:pt>
                <c:pt idx="10964">
                  <c:v>5</c:v>
                </c:pt>
                <c:pt idx="10965">
                  <c:v>6</c:v>
                </c:pt>
                <c:pt idx="10966">
                  <c:v>0</c:v>
                </c:pt>
                <c:pt idx="10967">
                  <c:v>0</c:v>
                </c:pt>
                <c:pt idx="10968">
                  <c:v>0</c:v>
                </c:pt>
                <c:pt idx="10969">
                  <c:v>0</c:v>
                </c:pt>
                <c:pt idx="10970">
                  <c:v>0</c:v>
                </c:pt>
                <c:pt idx="10971">
                  <c:v>0</c:v>
                </c:pt>
                <c:pt idx="10972">
                  <c:v>0</c:v>
                </c:pt>
                <c:pt idx="10973">
                  <c:v>0</c:v>
                </c:pt>
                <c:pt idx="10974">
                  <c:v>0</c:v>
                </c:pt>
                <c:pt idx="10975">
                  <c:v>0</c:v>
                </c:pt>
                <c:pt idx="10976">
                  <c:v>0</c:v>
                </c:pt>
                <c:pt idx="10977">
                  <c:v>0</c:v>
                </c:pt>
                <c:pt idx="10978">
                  <c:v>0</c:v>
                </c:pt>
                <c:pt idx="10979">
                  <c:v>0</c:v>
                </c:pt>
                <c:pt idx="10980">
                  <c:v>0</c:v>
                </c:pt>
                <c:pt idx="10981">
                  <c:v>0</c:v>
                </c:pt>
                <c:pt idx="10982">
                  <c:v>0</c:v>
                </c:pt>
                <c:pt idx="10983">
                  <c:v>0</c:v>
                </c:pt>
                <c:pt idx="10984">
                  <c:v>0</c:v>
                </c:pt>
                <c:pt idx="10985">
                  <c:v>0</c:v>
                </c:pt>
                <c:pt idx="10986">
                  <c:v>0</c:v>
                </c:pt>
                <c:pt idx="10987">
                  <c:v>0</c:v>
                </c:pt>
                <c:pt idx="10988">
                  <c:v>0</c:v>
                </c:pt>
                <c:pt idx="10989">
                  <c:v>0</c:v>
                </c:pt>
                <c:pt idx="10990">
                  <c:v>0</c:v>
                </c:pt>
                <c:pt idx="10991">
                  <c:v>0</c:v>
                </c:pt>
                <c:pt idx="10992">
                  <c:v>0</c:v>
                </c:pt>
                <c:pt idx="10993">
                  <c:v>0</c:v>
                </c:pt>
                <c:pt idx="10994">
                  <c:v>0</c:v>
                </c:pt>
                <c:pt idx="10995">
                  <c:v>0</c:v>
                </c:pt>
                <c:pt idx="10996">
                  <c:v>0</c:v>
                </c:pt>
                <c:pt idx="10997">
                  <c:v>0</c:v>
                </c:pt>
                <c:pt idx="10998">
                  <c:v>0</c:v>
                </c:pt>
                <c:pt idx="10999">
                  <c:v>0</c:v>
                </c:pt>
                <c:pt idx="11000">
                  <c:v>0</c:v>
                </c:pt>
                <c:pt idx="11001">
                  <c:v>0</c:v>
                </c:pt>
                <c:pt idx="11002">
                  <c:v>0</c:v>
                </c:pt>
                <c:pt idx="11003">
                  <c:v>0</c:v>
                </c:pt>
                <c:pt idx="11004">
                  <c:v>0</c:v>
                </c:pt>
                <c:pt idx="11005">
                  <c:v>0</c:v>
                </c:pt>
                <c:pt idx="11006">
                  <c:v>0</c:v>
                </c:pt>
                <c:pt idx="11007">
                  <c:v>0</c:v>
                </c:pt>
                <c:pt idx="11008">
                  <c:v>0</c:v>
                </c:pt>
                <c:pt idx="11009">
                  <c:v>0</c:v>
                </c:pt>
                <c:pt idx="11010">
                  <c:v>0</c:v>
                </c:pt>
                <c:pt idx="11011">
                  <c:v>0</c:v>
                </c:pt>
                <c:pt idx="11012">
                  <c:v>0</c:v>
                </c:pt>
                <c:pt idx="11013">
                  <c:v>0</c:v>
                </c:pt>
                <c:pt idx="11014">
                  <c:v>0</c:v>
                </c:pt>
                <c:pt idx="11015">
                  <c:v>0</c:v>
                </c:pt>
                <c:pt idx="11016">
                  <c:v>0</c:v>
                </c:pt>
                <c:pt idx="11017">
                  <c:v>0</c:v>
                </c:pt>
                <c:pt idx="11018">
                  <c:v>6</c:v>
                </c:pt>
                <c:pt idx="11019">
                  <c:v>0</c:v>
                </c:pt>
                <c:pt idx="11020">
                  <c:v>0</c:v>
                </c:pt>
                <c:pt idx="11021">
                  <c:v>0</c:v>
                </c:pt>
                <c:pt idx="11022">
                  <c:v>0</c:v>
                </c:pt>
                <c:pt idx="11023">
                  <c:v>0</c:v>
                </c:pt>
                <c:pt idx="11024">
                  <c:v>0</c:v>
                </c:pt>
                <c:pt idx="11025">
                  <c:v>0</c:v>
                </c:pt>
                <c:pt idx="11026">
                  <c:v>0</c:v>
                </c:pt>
                <c:pt idx="11027">
                  <c:v>0</c:v>
                </c:pt>
                <c:pt idx="11028">
                  <c:v>0</c:v>
                </c:pt>
                <c:pt idx="11029">
                  <c:v>0</c:v>
                </c:pt>
                <c:pt idx="11030">
                  <c:v>0</c:v>
                </c:pt>
                <c:pt idx="11031">
                  <c:v>0</c:v>
                </c:pt>
                <c:pt idx="11032">
                  <c:v>0</c:v>
                </c:pt>
                <c:pt idx="11033">
                  <c:v>0</c:v>
                </c:pt>
                <c:pt idx="11034">
                  <c:v>0</c:v>
                </c:pt>
                <c:pt idx="11035">
                  <c:v>0</c:v>
                </c:pt>
                <c:pt idx="11036">
                  <c:v>0</c:v>
                </c:pt>
                <c:pt idx="11037">
                  <c:v>0</c:v>
                </c:pt>
                <c:pt idx="11038">
                  <c:v>0</c:v>
                </c:pt>
                <c:pt idx="11039">
                  <c:v>0</c:v>
                </c:pt>
                <c:pt idx="11040">
                  <c:v>0</c:v>
                </c:pt>
                <c:pt idx="11041">
                  <c:v>0</c:v>
                </c:pt>
                <c:pt idx="11042">
                  <c:v>0</c:v>
                </c:pt>
                <c:pt idx="11043">
                  <c:v>0</c:v>
                </c:pt>
                <c:pt idx="11044">
                  <c:v>0</c:v>
                </c:pt>
                <c:pt idx="11045">
                  <c:v>0</c:v>
                </c:pt>
                <c:pt idx="11046">
                  <c:v>0</c:v>
                </c:pt>
                <c:pt idx="11047">
                  <c:v>0</c:v>
                </c:pt>
                <c:pt idx="11048">
                  <c:v>0</c:v>
                </c:pt>
                <c:pt idx="11049">
                  <c:v>3</c:v>
                </c:pt>
                <c:pt idx="11050">
                  <c:v>4</c:v>
                </c:pt>
                <c:pt idx="11051">
                  <c:v>0</c:v>
                </c:pt>
                <c:pt idx="11052">
                  <c:v>0</c:v>
                </c:pt>
                <c:pt idx="11053">
                  <c:v>0</c:v>
                </c:pt>
                <c:pt idx="11054">
                  <c:v>0</c:v>
                </c:pt>
                <c:pt idx="11055">
                  <c:v>0</c:v>
                </c:pt>
                <c:pt idx="11056">
                  <c:v>0</c:v>
                </c:pt>
                <c:pt idx="11057">
                  <c:v>0</c:v>
                </c:pt>
                <c:pt idx="11058">
                  <c:v>0</c:v>
                </c:pt>
                <c:pt idx="11059">
                  <c:v>0</c:v>
                </c:pt>
                <c:pt idx="11060">
                  <c:v>0</c:v>
                </c:pt>
                <c:pt idx="11061">
                  <c:v>0</c:v>
                </c:pt>
                <c:pt idx="11062">
                  <c:v>0</c:v>
                </c:pt>
                <c:pt idx="11063">
                  <c:v>0</c:v>
                </c:pt>
                <c:pt idx="11064">
                  <c:v>0</c:v>
                </c:pt>
                <c:pt idx="11065">
                  <c:v>0</c:v>
                </c:pt>
                <c:pt idx="11066">
                  <c:v>0</c:v>
                </c:pt>
                <c:pt idx="11067">
                  <c:v>0</c:v>
                </c:pt>
                <c:pt idx="11068">
                  <c:v>0</c:v>
                </c:pt>
                <c:pt idx="11069">
                  <c:v>0</c:v>
                </c:pt>
                <c:pt idx="11070">
                  <c:v>0</c:v>
                </c:pt>
                <c:pt idx="11071">
                  <c:v>0</c:v>
                </c:pt>
                <c:pt idx="11072">
                  <c:v>0</c:v>
                </c:pt>
                <c:pt idx="11073">
                  <c:v>0</c:v>
                </c:pt>
                <c:pt idx="11074">
                  <c:v>2</c:v>
                </c:pt>
                <c:pt idx="11075">
                  <c:v>0</c:v>
                </c:pt>
                <c:pt idx="11076">
                  <c:v>0</c:v>
                </c:pt>
                <c:pt idx="11077">
                  <c:v>0</c:v>
                </c:pt>
                <c:pt idx="11078">
                  <c:v>0</c:v>
                </c:pt>
                <c:pt idx="11079">
                  <c:v>0</c:v>
                </c:pt>
                <c:pt idx="11080">
                  <c:v>0</c:v>
                </c:pt>
                <c:pt idx="11081">
                  <c:v>0</c:v>
                </c:pt>
                <c:pt idx="11082">
                  <c:v>0</c:v>
                </c:pt>
                <c:pt idx="11083">
                  <c:v>0</c:v>
                </c:pt>
                <c:pt idx="11084">
                  <c:v>0</c:v>
                </c:pt>
                <c:pt idx="11085">
                  <c:v>0</c:v>
                </c:pt>
                <c:pt idx="11086">
                  <c:v>0</c:v>
                </c:pt>
                <c:pt idx="11087">
                  <c:v>0</c:v>
                </c:pt>
                <c:pt idx="11088">
                  <c:v>0</c:v>
                </c:pt>
                <c:pt idx="11089">
                  <c:v>0</c:v>
                </c:pt>
                <c:pt idx="11090">
                  <c:v>0</c:v>
                </c:pt>
                <c:pt idx="11091">
                  <c:v>0</c:v>
                </c:pt>
                <c:pt idx="11092">
                  <c:v>0</c:v>
                </c:pt>
                <c:pt idx="11093">
                  <c:v>0</c:v>
                </c:pt>
                <c:pt idx="11094">
                  <c:v>0</c:v>
                </c:pt>
                <c:pt idx="11095">
                  <c:v>0</c:v>
                </c:pt>
                <c:pt idx="11096">
                  <c:v>0</c:v>
                </c:pt>
                <c:pt idx="11097">
                  <c:v>0</c:v>
                </c:pt>
                <c:pt idx="11098">
                  <c:v>0</c:v>
                </c:pt>
                <c:pt idx="11099">
                  <c:v>0</c:v>
                </c:pt>
                <c:pt idx="11100">
                  <c:v>0</c:v>
                </c:pt>
                <c:pt idx="11101">
                  <c:v>0</c:v>
                </c:pt>
                <c:pt idx="11102">
                  <c:v>0</c:v>
                </c:pt>
                <c:pt idx="11103">
                  <c:v>0</c:v>
                </c:pt>
                <c:pt idx="11104">
                  <c:v>0</c:v>
                </c:pt>
                <c:pt idx="11105">
                  <c:v>1</c:v>
                </c:pt>
                <c:pt idx="11106">
                  <c:v>0</c:v>
                </c:pt>
                <c:pt idx="11107">
                  <c:v>0</c:v>
                </c:pt>
                <c:pt idx="11108">
                  <c:v>0</c:v>
                </c:pt>
                <c:pt idx="11109">
                  <c:v>0</c:v>
                </c:pt>
                <c:pt idx="11110">
                  <c:v>0</c:v>
                </c:pt>
                <c:pt idx="11111">
                  <c:v>0</c:v>
                </c:pt>
                <c:pt idx="11112">
                  <c:v>0</c:v>
                </c:pt>
                <c:pt idx="11113">
                  <c:v>0</c:v>
                </c:pt>
                <c:pt idx="11114">
                  <c:v>0</c:v>
                </c:pt>
                <c:pt idx="11115">
                  <c:v>0</c:v>
                </c:pt>
                <c:pt idx="11116">
                  <c:v>0</c:v>
                </c:pt>
                <c:pt idx="11117">
                  <c:v>1</c:v>
                </c:pt>
                <c:pt idx="11118">
                  <c:v>0</c:v>
                </c:pt>
                <c:pt idx="11119">
                  <c:v>2</c:v>
                </c:pt>
                <c:pt idx="11120">
                  <c:v>6</c:v>
                </c:pt>
                <c:pt idx="11121">
                  <c:v>0</c:v>
                </c:pt>
                <c:pt idx="11122">
                  <c:v>0</c:v>
                </c:pt>
                <c:pt idx="11123">
                  <c:v>0</c:v>
                </c:pt>
                <c:pt idx="11124">
                  <c:v>0</c:v>
                </c:pt>
                <c:pt idx="11125">
                  <c:v>1</c:v>
                </c:pt>
                <c:pt idx="11126">
                  <c:v>0</c:v>
                </c:pt>
                <c:pt idx="11127">
                  <c:v>0</c:v>
                </c:pt>
                <c:pt idx="11128">
                  <c:v>0</c:v>
                </c:pt>
                <c:pt idx="11129">
                  <c:v>0</c:v>
                </c:pt>
                <c:pt idx="11130">
                  <c:v>3</c:v>
                </c:pt>
                <c:pt idx="11131">
                  <c:v>1</c:v>
                </c:pt>
                <c:pt idx="11132">
                  <c:v>0</c:v>
                </c:pt>
                <c:pt idx="11133">
                  <c:v>0</c:v>
                </c:pt>
                <c:pt idx="11134">
                  <c:v>0</c:v>
                </c:pt>
                <c:pt idx="11135">
                  <c:v>0</c:v>
                </c:pt>
                <c:pt idx="11136">
                  <c:v>0</c:v>
                </c:pt>
                <c:pt idx="11137">
                  <c:v>0</c:v>
                </c:pt>
                <c:pt idx="11138">
                  <c:v>0</c:v>
                </c:pt>
                <c:pt idx="11139">
                  <c:v>0</c:v>
                </c:pt>
                <c:pt idx="11140">
                  <c:v>0</c:v>
                </c:pt>
                <c:pt idx="11141">
                  <c:v>0</c:v>
                </c:pt>
                <c:pt idx="11142">
                  <c:v>0</c:v>
                </c:pt>
                <c:pt idx="11143">
                  <c:v>0</c:v>
                </c:pt>
                <c:pt idx="11144">
                  <c:v>0</c:v>
                </c:pt>
                <c:pt idx="11145">
                  <c:v>0</c:v>
                </c:pt>
                <c:pt idx="11146">
                  <c:v>0</c:v>
                </c:pt>
                <c:pt idx="11147">
                  <c:v>0</c:v>
                </c:pt>
                <c:pt idx="11148">
                  <c:v>0</c:v>
                </c:pt>
                <c:pt idx="11149">
                  <c:v>0</c:v>
                </c:pt>
                <c:pt idx="11150">
                  <c:v>0</c:v>
                </c:pt>
                <c:pt idx="11151">
                  <c:v>0</c:v>
                </c:pt>
                <c:pt idx="11152">
                  <c:v>0</c:v>
                </c:pt>
                <c:pt idx="11153">
                  <c:v>0</c:v>
                </c:pt>
                <c:pt idx="11154">
                  <c:v>0</c:v>
                </c:pt>
                <c:pt idx="11155">
                  <c:v>0</c:v>
                </c:pt>
                <c:pt idx="11156">
                  <c:v>0</c:v>
                </c:pt>
                <c:pt idx="11157">
                  <c:v>0</c:v>
                </c:pt>
                <c:pt idx="11158">
                  <c:v>0</c:v>
                </c:pt>
                <c:pt idx="11159">
                  <c:v>0</c:v>
                </c:pt>
                <c:pt idx="11160">
                  <c:v>0</c:v>
                </c:pt>
                <c:pt idx="11161">
                  <c:v>0</c:v>
                </c:pt>
                <c:pt idx="11162">
                  <c:v>0</c:v>
                </c:pt>
                <c:pt idx="11163">
                  <c:v>1</c:v>
                </c:pt>
                <c:pt idx="11164">
                  <c:v>2</c:v>
                </c:pt>
                <c:pt idx="11165">
                  <c:v>0</c:v>
                </c:pt>
                <c:pt idx="11166">
                  <c:v>0</c:v>
                </c:pt>
                <c:pt idx="11167">
                  <c:v>0</c:v>
                </c:pt>
                <c:pt idx="11168">
                  <c:v>0</c:v>
                </c:pt>
                <c:pt idx="11169">
                  <c:v>0</c:v>
                </c:pt>
                <c:pt idx="11170">
                  <c:v>0</c:v>
                </c:pt>
                <c:pt idx="11171">
                  <c:v>0</c:v>
                </c:pt>
                <c:pt idx="11172">
                  <c:v>0</c:v>
                </c:pt>
                <c:pt idx="11173">
                  <c:v>0</c:v>
                </c:pt>
                <c:pt idx="11174">
                  <c:v>0</c:v>
                </c:pt>
                <c:pt idx="11175">
                  <c:v>0</c:v>
                </c:pt>
                <c:pt idx="11176">
                  <c:v>0</c:v>
                </c:pt>
                <c:pt idx="11177">
                  <c:v>0</c:v>
                </c:pt>
                <c:pt idx="11178">
                  <c:v>0</c:v>
                </c:pt>
                <c:pt idx="11179">
                  <c:v>0</c:v>
                </c:pt>
                <c:pt idx="11180">
                  <c:v>0</c:v>
                </c:pt>
                <c:pt idx="11181">
                  <c:v>0</c:v>
                </c:pt>
                <c:pt idx="11182">
                  <c:v>0</c:v>
                </c:pt>
                <c:pt idx="11183">
                  <c:v>0</c:v>
                </c:pt>
                <c:pt idx="11184">
                  <c:v>0</c:v>
                </c:pt>
                <c:pt idx="11185">
                  <c:v>0</c:v>
                </c:pt>
                <c:pt idx="11186">
                  <c:v>0</c:v>
                </c:pt>
                <c:pt idx="11187">
                  <c:v>0</c:v>
                </c:pt>
                <c:pt idx="11188">
                  <c:v>0</c:v>
                </c:pt>
                <c:pt idx="11189">
                  <c:v>0</c:v>
                </c:pt>
                <c:pt idx="11190">
                  <c:v>0</c:v>
                </c:pt>
                <c:pt idx="11191">
                  <c:v>0</c:v>
                </c:pt>
                <c:pt idx="11192">
                  <c:v>0</c:v>
                </c:pt>
                <c:pt idx="11193">
                  <c:v>1</c:v>
                </c:pt>
                <c:pt idx="11194">
                  <c:v>0</c:v>
                </c:pt>
                <c:pt idx="11195">
                  <c:v>0</c:v>
                </c:pt>
                <c:pt idx="11196">
                  <c:v>0</c:v>
                </c:pt>
                <c:pt idx="11197">
                  <c:v>0</c:v>
                </c:pt>
                <c:pt idx="11198">
                  <c:v>0</c:v>
                </c:pt>
                <c:pt idx="11199">
                  <c:v>0</c:v>
                </c:pt>
                <c:pt idx="11200">
                  <c:v>0</c:v>
                </c:pt>
                <c:pt idx="11201">
                  <c:v>0</c:v>
                </c:pt>
                <c:pt idx="11202">
                  <c:v>0</c:v>
                </c:pt>
                <c:pt idx="11203">
                  <c:v>0</c:v>
                </c:pt>
                <c:pt idx="11204">
                  <c:v>0</c:v>
                </c:pt>
                <c:pt idx="11205">
                  <c:v>0</c:v>
                </c:pt>
                <c:pt idx="11206">
                  <c:v>0</c:v>
                </c:pt>
                <c:pt idx="11207">
                  <c:v>0</c:v>
                </c:pt>
                <c:pt idx="11208">
                  <c:v>0</c:v>
                </c:pt>
                <c:pt idx="11209">
                  <c:v>0</c:v>
                </c:pt>
                <c:pt idx="11210">
                  <c:v>0</c:v>
                </c:pt>
                <c:pt idx="11211">
                  <c:v>0</c:v>
                </c:pt>
                <c:pt idx="11212">
                  <c:v>0</c:v>
                </c:pt>
                <c:pt idx="11213">
                  <c:v>0</c:v>
                </c:pt>
                <c:pt idx="11214">
                  <c:v>0</c:v>
                </c:pt>
                <c:pt idx="11215">
                  <c:v>0</c:v>
                </c:pt>
                <c:pt idx="11216">
                  <c:v>0</c:v>
                </c:pt>
                <c:pt idx="11217">
                  <c:v>0</c:v>
                </c:pt>
                <c:pt idx="11218">
                  <c:v>0</c:v>
                </c:pt>
                <c:pt idx="11219">
                  <c:v>0</c:v>
                </c:pt>
                <c:pt idx="11220">
                  <c:v>0</c:v>
                </c:pt>
                <c:pt idx="11221">
                  <c:v>0</c:v>
                </c:pt>
                <c:pt idx="11222">
                  <c:v>0</c:v>
                </c:pt>
                <c:pt idx="11223">
                  <c:v>0</c:v>
                </c:pt>
                <c:pt idx="11224">
                  <c:v>0</c:v>
                </c:pt>
                <c:pt idx="11225">
                  <c:v>0</c:v>
                </c:pt>
                <c:pt idx="11226">
                  <c:v>0</c:v>
                </c:pt>
                <c:pt idx="11227">
                  <c:v>0</c:v>
                </c:pt>
                <c:pt idx="11228">
                  <c:v>0</c:v>
                </c:pt>
                <c:pt idx="11229">
                  <c:v>0</c:v>
                </c:pt>
                <c:pt idx="11230">
                  <c:v>0</c:v>
                </c:pt>
                <c:pt idx="11231">
                  <c:v>0</c:v>
                </c:pt>
                <c:pt idx="11232">
                  <c:v>0</c:v>
                </c:pt>
                <c:pt idx="11233">
                  <c:v>0</c:v>
                </c:pt>
                <c:pt idx="11234">
                  <c:v>0</c:v>
                </c:pt>
                <c:pt idx="11235">
                  <c:v>0</c:v>
                </c:pt>
                <c:pt idx="11236">
                  <c:v>0</c:v>
                </c:pt>
                <c:pt idx="11237">
                  <c:v>0</c:v>
                </c:pt>
                <c:pt idx="11238">
                  <c:v>0</c:v>
                </c:pt>
                <c:pt idx="11239">
                  <c:v>0</c:v>
                </c:pt>
                <c:pt idx="11240">
                  <c:v>1</c:v>
                </c:pt>
                <c:pt idx="11241">
                  <c:v>0</c:v>
                </c:pt>
                <c:pt idx="11242">
                  <c:v>0</c:v>
                </c:pt>
                <c:pt idx="11243">
                  <c:v>0</c:v>
                </c:pt>
                <c:pt idx="11244">
                  <c:v>0</c:v>
                </c:pt>
                <c:pt idx="11245">
                  <c:v>0</c:v>
                </c:pt>
                <c:pt idx="11246">
                  <c:v>0</c:v>
                </c:pt>
                <c:pt idx="11247">
                  <c:v>0</c:v>
                </c:pt>
                <c:pt idx="11248">
                  <c:v>0</c:v>
                </c:pt>
                <c:pt idx="11249">
                  <c:v>0</c:v>
                </c:pt>
                <c:pt idx="11250">
                  <c:v>0</c:v>
                </c:pt>
                <c:pt idx="11251">
                  <c:v>0</c:v>
                </c:pt>
                <c:pt idx="11252">
                  <c:v>0</c:v>
                </c:pt>
                <c:pt idx="11253">
                  <c:v>0</c:v>
                </c:pt>
                <c:pt idx="11254">
                  <c:v>0</c:v>
                </c:pt>
                <c:pt idx="11255">
                  <c:v>0</c:v>
                </c:pt>
                <c:pt idx="11256">
                  <c:v>0</c:v>
                </c:pt>
                <c:pt idx="11257">
                  <c:v>0</c:v>
                </c:pt>
                <c:pt idx="11258">
                  <c:v>0</c:v>
                </c:pt>
                <c:pt idx="11259">
                  <c:v>0</c:v>
                </c:pt>
                <c:pt idx="11260">
                  <c:v>0</c:v>
                </c:pt>
                <c:pt idx="11261">
                  <c:v>0</c:v>
                </c:pt>
                <c:pt idx="11262">
                  <c:v>2</c:v>
                </c:pt>
                <c:pt idx="11263">
                  <c:v>0</c:v>
                </c:pt>
                <c:pt idx="11264">
                  <c:v>0</c:v>
                </c:pt>
                <c:pt idx="11265">
                  <c:v>0</c:v>
                </c:pt>
                <c:pt idx="11266">
                  <c:v>0</c:v>
                </c:pt>
                <c:pt idx="11267">
                  <c:v>0</c:v>
                </c:pt>
                <c:pt idx="11268">
                  <c:v>0</c:v>
                </c:pt>
                <c:pt idx="11269">
                  <c:v>0</c:v>
                </c:pt>
                <c:pt idx="11270">
                  <c:v>0</c:v>
                </c:pt>
                <c:pt idx="11271">
                  <c:v>0</c:v>
                </c:pt>
                <c:pt idx="11272">
                  <c:v>0</c:v>
                </c:pt>
                <c:pt idx="11273">
                  <c:v>0</c:v>
                </c:pt>
                <c:pt idx="11274">
                  <c:v>0</c:v>
                </c:pt>
                <c:pt idx="11275">
                  <c:v>0</c:v>
                </c:pt>
                <c:pt idx="11276">
                  <c:v>0</c:v>
                </c:pt>
                <c:pt idx="11277">
                  <c:v>0</c:v>
                </c:pt>
                <c:pt idx="11278">
                  <c:v>2</c:v>
                </c:pt>
                <c:pt idx="11279">
                  <c:v>0</c:v>
                </c:pt>
                <c:pt idx="11280">
                  <c:v>0</c:v>
                </c:pt>
                <c:pt idx="11281">
                  <c:v>0</c:v>
                </c:pt>
                <c:pt idx="11282">
                  <c:v>0</c:v>
                </c:pt>
                <c:pt idx="11283">
                  <c:v>0</c:v>
                </c:pt>
                <c:pt idx="11284">
                  <c:v>0</c:v>
                </c:pt>
                <c:pt idx="11285">
                  <c:v>0</c:v>
                </c:pt>
                <c:pt idx="11286">
                  <c:v>0</c:v>
                </c:pt>
                <c:pt idx="11287">
                  <c:v>0</c:v>
                </c:pt>
                <c:pt idx="11288">
                  <c:v>0</c:v>
                </c:pt>
                <c:pt idx="11289">
                  <c:v>1</c:v>
                </c:pt>
                <c:pt idx="11290">
                  <c:v>0</c:v>
                </c:pt>
                <c:pt idx="11291">
                  <c:v>0</c:v>
                </c:pt>
                <c:pt idx="11292">
                  <c:v>0</c:v>
                </c:pt>
                <c:pt idx="11293">
                  <c:v>0</c:v>
                </c:pt>
                <c:pt idx="11294">
                  <c:v>0</c:v>
                </c:pt>
                <c:pt idx="11295">
                  <c:v>0</c:v>
                </c:pt>
                <c:pt idx="11296">
                  <c:v>0</c:v>
                </c:pt>
                <c:pt idx="11297">
                  <c:v>0</c:v>
                </c:pt>
                <c:pt idx="11298">
                  <c:v>0</c:v>
                </c:pt>
                <c:pt idx="11299">
                  <c:v>1</c:v>
                </c:pt>
                <c:pt idx="11300">
                  <c:v>0</c:v>
                </c:pt>
                <c:pt idx="11301">
                  <c:v>1</c:v>
                </c:pt>
                <c:pt idx="11302">
                  <c:v>0</c:v>
                </c:pt>
                <c:pt idx="11303">
                  <c:v>0</c:v>
                </c:pt>
                <c:pt idx="11304">
                  <c:v>0</c:v>
                </c:pt>
                <c:pt idx="11305">
                  <c:v>0</c:v>
                </c:pt>
                <c:pt idx="11306">
                  <c:v>2</c:v>
                </c:pt>
                <c:pt idx="11307">
                  <c:v>0</c:v>
                </c:pt>
                <c:pt idx="11308">
                  <c:v>0</c:v>
                </c:pt>
                <c:pt idx="11309">
                  <c:v>0</c:v>
                </c:pt>
                <c:pt idx="11310">
                  <c:v>0</c:v>
                </c:pt>
                <c:pt idx="11311">
                  <c:v>0</c:v>
                </c:pt>
                <c:pt idx="11312">
                  <c:v>0</c:v>
                </c:pt>
                <c:pt idx="11313">
                  <c:v>0</c:v>
                </c:pt>
                <c:pt idx="11314">
                  <c:v>0</c:v>
                </c:pt>
                <c:pt idx="11315">
                  <c:v>0</c:v>
                </c:pt>
                <c:pt idx="11316">
                  <c:v>0</c:v>
                </c:pt>
                <c:pt idx="11317">
                  <c:v>0</c:v>
                </c:pt>
                <c:pt idx="11318">
                  <c:v>0</c:v>
                </c:pt>
                <c:pt idx="11319">
                  <c:v>0</c:v>
                </c:pt>
                <c:pt idx="11320">
                  <c:v>0</c:v>
                </c:pt>
                <c:pt idx="11321">
                  <c:v>0</c:v>
                </c:pt>
                <c:pt idx="11322">
                  <c:v>0</c:v>
                </c:pt>
                <c:pt idx="11323">
                  <c:v>0</c:v>
                </c:pt>
                <c:pt idx="11324">
                  <c:v>0</c:v>
                </c:pt>
                <c:pt idx="11325">
                  <c:v>0</c:v>
                </c:pt>
                <c:pt idx="11326">
                  <c:v>0</c:v>
                </c:pt>
                <c:pt idx="11327">
                  <c:v>0</c:v>
                </c:pt>
                <c:pt idx="11328">
                  <c:v>0</c:v>
                </c:pt>
                <c:pt idx="11329">
                  <c:v>0</c:v>
                </c:pt>
                <c:pt idx="11330">
                  <c:v>0</c:v>
                </c:pt>
                <c:pt idx="11331">
                  <c:v>0</c:v>
                </c:pt>
                <c:pt idx="11332">
                  <c:v>0</c:v>
                </c:pt>
                <c:pt idx="11333">
                  <c:v>0</c:v>
                </c:pt>
                <c:pt idx="11334">
                  <c:v>0</c:v>
                </c:pt>
                <c:pt idx="11335">
                  <c:v>0</c:v>
                </c:pt>
                <c:pt idx="11336">
                  <c:v>0</c:v>
                </c:pt>
                <c:pt idx="11337">
                  <c:v>0</c:v>
                </c:pt>
                <c:pt idx="11338">
                  <c:v>0</c:v>
                </c:pt>
                <c:pt idx="11339">
                  <c:v>0</c:v>
                </c:pt>
                <c:pt idx="11340">
                  <c:v>0</c:v>
                </c:pt>
                <c:pt idx="11341">
                  <c:v>3</c:v>
                </c:pt>
                <c:pt idx="11342">
                  <c:v>4</c:v>
                </c:pt>
                <c:pt idx="11343">
                  <c:v>0</c:v>
                </c:pt>
                <c:pt idx="11344">
                  <c:v>0</c:v>
                </c:pt>
                <c:pt idx="11345">
                  <c:v>0</c:v>
                </c:pt>
                <c:pt idx="11346">
                  <c:v>0</c:v>
                </c:pt>
                <c:pt idx="11347">
                  <c:v>0</c:v>
                </c:pt>
                <c:pt idx="11348">
                  <c:v>0</c:v>
                </c:pt>
                <c:pt idx="11349">
                  <c:v>0</c:v>
                </c:pt>
                <c:pt idx="11350">
                  <c:v>0</c:v>
                </c:pt>
                <c:pt idx="11351">
                  <c:v>0</c:v>
                </c:pt>
                <c:pt idx="11352">
                  <c:v>0</c:v>
                </c:pt>
                <c:pt idx="11353">
                  <c:v>0</c:v>
                </c:pt>
                <c:pt idx="11354">
                  <c:v>0</c:v>
                </c:pt>
                <c:pt idx="11355">
                  <c:v>0</c:v>
                </c:pt>
                <c:pt idx="11356">
                  <c:v>0</c:v>
                </c:pt>
                <c:pt idx="11357">
                  <c:v>0</c:v>
                </c:pt>
                <c:pt idx="11358">
                  <c:v>0</c:v>
                </c:pt>
                <c:pt idx="11359">
                  <c:v>0</c:v>
                </c:pt>
                <c:pt idx="11360">
                  <c:v>0</c:v>
                </c:pt>
                <c:pt idx="11361">
                  <c:v>0</c:v>
                </c:pt>
                <c:pt idx="11362">
                  <c:v>0</c:v>
                </c:pt>
                <c:pt idx="11363">
                  <c:v>0</c:v>
                </c:pt>
                <c:pt idx="11364">
                  <c:v>0</c:v>
                </c:pt>
                <c:pt idx="11365">
                  <c:v>0</c:v>
                </c:pt>
                <c:pt idx="11366">
                  <c:v>0</c:v>
                </c:pt>
                <c:pt idx="11367">
                  <c:v>0</c:v>
                </c:pt>
                <c:pt idx="11368">
                  <c:v>0</c:v>
                </c:pt>
                <c:pt idx="11369">
                  <c:v>0</c:v>
                </c:pt>
                <c:pt idx="11370">
                  <c:v>0</c:v>
                </c:pt>
                <c:pt idx="11371">
                  <c:v>0</c:v>
                </c:pt>
                <c:pt idx="11372">
                  <c:v>0</c:v>
                </c:pt>
                <c:pt idx="11373">
                  <c:v>0</c:v>
                </c:pt>
                <c:pt idx="11374">
                  <c:v>0</c:v>
                </c:pt>
                <c:pt idx="11375">
                  <c:v>0</c:v>
                </c:pt>
                <c:pt idx="11376">
                  <c:v>0</c:v>
                </c:pt>
                <c:pt idx="11377">
                  <c:v>0</c:v>
                </c:pt>
                <c:pt idx="11378">
                  <c:v>1</c:v>
                </c:pt>
                <c:pt idx="11379">
                  <c:v>0</c:v>
                </c:pt>
                <c:pt idx="11380">
                  <c:v>0</c:v>
                </c:pt>
                <c:pt idx="11381">
                  <c:v>0</c:v>
                </c:pt>
                <c:pt idx="11382">
                  <c:v>2</c:v>
                </c:pt>
                <c:pt idx="11383">
                  <c:v>1</c:v>
                </c:pt>
                <c:pt idx="11384">
                  <c:v>0</c:v>
                </c:pt>
                <c:pt idx="11385">
                  <c:v>2</c:v>
                </c:pt>
                <c:pt idx="11386">
                  <c:v>0</c:v>
                </c:pt>
                <c:pt idx="11387">
                  <c:v>0</c:v>
                </c:pt>
                <c:pt idx="11388">
                  <c:v>0</c:v>
                </c:pt>
                <c:pt idx="11389">
                  <c:v>0</c:v>
                </c:pt>
                <c:pt idx="11390">
                  <c:v>0</c:v>
                </c:pt>
                <c:pt idx="11391">
                  <c:v>0</c:v>
                </c:pt>
                <c:pt idx="11392">
                  <c:v>1</c:v>
                </c:pt>
                <c:pt idx="11393">
                  <c:v>0</c:v>
                </c:pt>
                <c:pt idx="11394">
                  <c:v>0</c:v>
                </c:pt>
                <c:pt idx="11395">
                  <c:v>0</c:v>
                </c:pt>
                <c:pt idx="11396">
                  <c:v>0</c:v>
                </c:pt>
                <c:pt idx="11397">
                  <c:v>0</c:v>
                </c:pt>
                <c:pt idx="11398">
                  <c:v>0</c:v>
                </c:pt>
                <c:pt idx="11399">
                  <c:v>0</c:v>
                </c:pt>
                <c:pt idx="11400">
                  <c:v>0</c:v>
                </c:pt>
                <c:pt idx="11401">
                  <c:v>0</c:v>
                </c:pt>
                <c:pt idx="11402">
                  <c:v>0</c:v>
                </c:pt>
                <c:pt idx="11403">
                  <c:v>0</c:v>
                </c:pt>
                <c:pt idx="11404">
                  <c:v>0</c:v>
                </c:pt>
                <c:pt idx="11405">
                  <c:v>0</c:v>
                </c:pt>
                <c:pt idx="11406">
                  <c:v>0</c:v>
                </c:pt>
                <c:pt idx="11407">
                  <c:v>0</c:v>
                </c:pt>
                <c:pt idx="11408">
                  <c:v>0</c:v>
                </c:pt>
                <c:pt idx="11409">
                  <c:v>0</c:v>
                </c:pt>
                <c:pt idx="11410">
                  <c:v>0</c:v>
                </c:pt>
                <c:pt idx="11411">
                  <c:v>0</c:v>
                </c:pt>
                <c:pt idx="11412">
                  <c:v>0</c:v>
                </c:pt>
                <c:pt idx="11413">
                  <c:v>0</c:v>
                </c:pt>
                <c:pt idx="11414">
                  <c:v>0</c:v>
                </c:pt>
                <c:pt idx="11415">
                  <c:v>0</c:v>
                </c:pt>
                <c:pt idx="11416">
                  <c:v>0</c:v>
                </c:pt>
                <c:pt idx="11417">
                  <c:v>0</c:v>
                </c:pt>
                <c:pt idx="11418">
                  <c:v>0</c:v>
                </c:pt>
                <c:pt idx="11419">
                  <c:v>0</c:v>
                </c:pt>
                <c:pt idx="11420">
                  <c:v>0</c:v>
                </c:pt>
                <c:pt idx="11421">
                  <c:v>0</c:v>
                </c:pt>
                <c:pt idx="11422">
                  <c:v>0</c:v>
                </c:pt>
                <c:pt idx="11423">
                  <c:v>0</c:v>
                </c:pt>
                <c:pt idx="11424">
                  <c:v>0</c:v>
                </c:pt>
                <c:pt idx="11425">
                  <c:v>0</c:v>
                </c:pt>
                <c:pt idx="11426">
                  <c:v>0</c:v>
                </c:pt>
                <c:pt idx="11427">
                  <c:v>0</c:v>
                </c:pt>
                <c:pt idx="11428">
                  <c:v>0</c:v>
                </c:pt>
                <c:pt idx="11429">
                  <c:v>0</c:v>
                </c:pt>
                <c:pt idx="11430">
                  <c:v>0</c:v>
                </c:pt>
                <c:pt idx="11431">
                  <c:v>0</c:v>
                </c:pt>
                <c:pt idx="11432">
                  <c:v>0</c:v>
                </c:pt>
                <c:pt idx="11433">
                  <c:v>0</c:v>
                </c:pt>
                <c:pt idx="11434">
                  <c:v>0</c:v>
                </c:pt>
                <c:pt idx="11435">
                  <c:v>0</c:v>
                </c:pt>
                <c:pt idx="11436">
                  <c:v>0</c:v>
                </c:pt>
                <c:pt idx="11437">
                  <c:v>0</c:v>
                </c:pt>
                <c:pt idx="11438">
                  <c:v>0</c:v>
                </c:pt>
                <c:pt idx="11439">
                  <c:v>0</c:v>
                </c:pt>
                <c:pt idx="11440">
                  <c:v>0</c:v>
                </c:pt>
                <c:pt idx="11441">
                  <c:v>0</c:v>
                </c:pt>
                <c:pt idx="11442">
                  <c:v>0</c:v>
                </c:pt>
                <c:pt idx="11443">
                  <c:v>0</c:v>
                </c:pt>
                <c:pt idx="11444">
                  <c:v>0</c:v>
                </c:pt>
                <c:pt idx="11445">
                  <c:v>3</c:v>
                </c:pt>
                <c:pt idx="11446">
                  <c:v>0</c:v>
                </c:pt>
                <c:pt idx="11447">
                  <c:v>0</c:v>
                </c:pt>
                <c:pt idx="11448">
                  <c:v>0</c:v>
                </c:pt>
                <c:pt idx="11449">
                  <c:v>0</c:v>
                </c:pt>
                <c:pt idx="11450">
                  <c:v>0</c:v>
                </c:pt>
                <c:pt idx="11451">
                  <c:v>0</c:v>
                </c:pt>
                <c:pt idx="11452">
                  <c:v>0</c:v>
                </c:pt>
                <c:pt idx="11453">
                  <c:v>0</c:v>
                </c:pt>
                <c:pt idx="11454">
                  <c:v>0</c:v>
                </c:pt>
                <c:pt idx="11455">
                  <c:v>0</c:v>
                </c:pt>
                <c:pt idx="11456">
                  <c:v>0</c:v>
                </c:pt>
                <c:pt idx="11457">
                  <c:v>0</c:v>
                </c:pt>
                <c:pt idx="11458">
                  <c:v>0</c:v>
                </c:pt>
                <c:pt idx="11459">
                  <c:v>0</c:v>
                </c:pt>
                <c:pt idx="11460">
                  <c:v>0</c:v>
                </c:pt>
                <c:pt idx="11461">
                  <c:v>0</c:v>
                </c:pt>
                <c:pt idx="11462">
                  <c:v>0</c:v>
                </c:pt>
                <c:pt idx="11463">
                  <c:v>0</c:v>
                </c:pt>
                <c:pt idx="11464">
                  <c:v>0</c:v>
                </c:pt>
                <c:pt idx="11465">
                  <c:v>0</c:v>
                </c:pt>
                <c:pt idx="11466">
                  <c:v>0</c:v>
                </c:pt>
                <c:pt idx="11467">
                  <c:v>0</c:v>
                </c:pt>
                <c:pt idx="11468">
                  <c:v>0</c:v>
                </c:pt>
                <c:pt idx="11469">
                  <c:v>0</c:v>
                </c:pt>
                <c:pt idx="11470">
                  <c:v>0</c:v>
                </c:pt>
                <c:pt idx="11471">
                  <c:v>0</c:v>
                </c:pt>
                <c:pt idx="11472">
                  <c:v>0</c:v>
                </c:pt>
                <c:pt idx="11473">
                  <c:v>0</c:v>
                </c:pt>
                <c:pt idx="11474">
                  <c:v>0</c:v>
                </c:pt>
                <c:pt idx="11475">
                  <c:v>0</c:v>
                </c:pt>
                <c:pt idx="11476">
                  <c:v>0</c:v>
                </c:pt>
                <c:pt idx="11477">
                  <c:v>0</c:v>
                </c:pt>
                <c:pt idx="11478">
                  <c:v>0</c:v>
                </c:pt>
                <c:pt idx="11479">
                  <c:v>0</c:v>
                </c:pt>
                <c:pt idx="11480">
                  <c:v>0</c:v>
                </c:pt>
                <c:pt idx="11481">
                  <c:v>0</c:v>
                </c:pt>
                <c:pt idx="11482">
                  <c:v>1</c:v>
                </c:pt>
                <c:pt idx="11483">
                  <c:v>0</c:v>
                </c:pt>
                <c:pt idx="11484">
                  <c:v>0</c:v>
                </c:pt>
                <c:pt idx="11485">
                  <c:v>0</c:v>
                </c:pt>
                <c:pt idx="11486">
                  <c:v>0</c:v>
                </c:pt>
                <c:pt idx="11487">
                  <c:v>0</c:v>
                </c:pt>
                <c:pt idx="11488">
                  <c:v>0</c:v>
                </c:pt>
                <c:pt idx="11489">
                  <c:v>1</c:v>
                </c:pt>
                <c:pt idx="11490">
                  <c:v>0</c:v>
                </c:pt>
                <c:pt idx="11491">
                  <c:v>0</c:v>
                </c:pt>
                <c:pt idx="11492">
                  <c:v>0</c:v>
                </c:pt>
                <c:pt idx="11493">
                  <c:v>0</c:v>
                </c:pt>
                <c:pt idx="11494">
                  <c:v>0</c:v>
                </c:pt>
                <c:pt idx="11495">
                  <c:v>1</c:v>
                </c:pt>
                <c:pt idx="11496">
                  <c:v>0</c:v>
                </c:pt>
                <c:pt idx="11497">
                  <c:v>0</c:v>
                </c:pt>
                <c:pt idx="11498">
                  <c:v>0</c:v>
                </c:pt>
                <c:pt idx="11499">
                  <c:v>0</c:v>
                </c:pt>
                <c:pt idx="11500">
                  <c:v>0</c:v>
                </c:pt>
                <c:pt idx="11501">
                  <c:v>0</c:v>
                </c:pt>
                <c:pt idx="11502">
                  <c:v>0</c:v>
                </c:pt>
                <c:pt idx="11503">
                  <c:v>0</c:v>
                </c:pt>
                <c:pt idx="11504">
                  <c:v>0</c:v>
                </c:pt>
                <c:pt idx="11505">
                  <c:v>0</c:v>
                </c:pt>
                <c:pt idx="11506">
                  <c:v>0</c:v>
                </c:pt>
                <c:pt idx="11507">
                  <c:v>0</c:v>
                </c:pt>
                <c:pt idx="11508">
                  <c:v>1</c:v>
                </c:pt>
                <c:pt idx="11509">
                  <c:v>0</c:v>
                </c:pt>
                <c:pt idx="11510">
                  <c:v>1</c:v>
                </c:pt>
                <c:pt idx="11511">
                  <c:v>0</c:v>
                </c:pt>
                <c:pt idx="11512">
                  <c:v>0</c:v>
                </c:pt>
                <c:pt idx="11513">
                  <c:v>0</c:v>
                </c:pt>
                <c:pt idx="11514">
                  <c:v>0</c:v>
                </c:pt>
                <c:pt idx="11515">
                  <c:v>0</c:v>
                </c:pt>
                <c:pt idx="11516">
                  <c:v>0</c:v>
                </c:pt>
                <c:pt idx="11517">
                  <c:v>0</c:v>
                </c:pt>
                <c:pt idx="11518">
                  <c:v>0</c:v>
                </c:pt>
                <c:pt idx="11519">
                  <c:v>0</c:v>
                </c:pt>
                <c:pt idx="11520">
                  <c:v>0</c:v>
                </c:pt>
                <c:pt idx="11521">
                  <c:v>0</c:v>
                </c:pt>
                <c:pt idx="11522">
                  <c:v>0</c:v>
                </c:pt>
                <c:pt idx="11523">
                  <c:v>0</c:v>
                </c:pt>
                <c:pt idx="11524">
                  <c:v>0</c:v>
                </c:pt>
                <c:pt idx="11525">
                  <c:v>0</c:v>
                </c:pt>
                <c:pt idx="11526">
                  <c:v>0</c:v>
                </c:pt>
                <c:pt idx="11527">
                  <c:v>0</c:v>
                </c:pt>
                <c:pt idx="11528">
                  <c:v>0</c:v>
                </c:pt>
                <c:pt idx="11529">
                  <c:v>0</c:v>
                </c:pt>
                <c:pt idx="11530">
                  <c:v>0</c:v>
                </c:pt>
                <c:pt idx="11531">
                  <c:v>0</c:v>
                </c:pt>
                <c:pt idx="11532">
                  <c:v>0</c:v>
                </c:pt>
                <c:pt idx="11533">
                  <c:v>0</c:v>
                </c:pt>
                <c:pt idx="11534">
                  <c:v>0</c:v>
                </c:pt>
                <c:pt idx="11535">
                  <c:v>0</c:v>
                </c:pt>
                <c:pt idx="11536">
                  <c:v>0</c:v>
                </c:pt>
                <c:pt idx="11537">
                  <c:v>0</c:v>
                </c:pt>
                <c:pt idx="11538">
                  <c:v>0</c:v>
                </c:pt>
                <c:pt idx="11539">
                  <c:v>0</c:v>
                </c:pt>
                <c:pt idx="11540">
                  <c:v>0</c:v>
                </c:pt>
                <c:pt idx="11541">
                  <c:v>0</c:v>
                </c:pt>
                <c:pt idx="11542">
                  <c:v>1</c:v>
                </c:pt>
                <c:pt idx="11543">
                  <c:v>0</c:v>
                </c:pt>
                <c:pt idx="11544">
                  <c:v>0</c:v>
                </c:pt>
                <c:pt idx="11545">
                  <c:v>0</c:v>
                </c:pt>
                <c:pt idx="11546">
                  <c:v>0</c:v>
                </c:pt>
                <c:pt idx="11547">
                  <c:v>7</c:v>
                </c:pt>
                <c:pt idx="11548">
                  <c:v>7</c:v>
                </c:pt>
                <c:pt idx="11549">
                  <c:v>1</c:v>
                </c:pt>
                <c:pt idx="11550">
                  <c:v>0</c:v>
                </c:pt>
                <c:pt idx="11551">
                  <c:v>0</c:v>
                </c:pt>
                <c:pt idx="11552">
                  <c:v>5</c:v>
                </c:pt>
                <c:pt idx="11553">
                  <c:v>2</c:v>
                </c:pt>
                <c:pt idx="11554">
                  <c:v>2</c:v>
                </c:pt>
                <c:pt idx="11555">
                  <c:v>0</c:v>
                </c:pt>
                <c:pt idx="11556">
                  <c:v>0</c:v>
                </c:pt>
                <c:pt idx="11557">
                  <c:v>0</c:v>
                </c:pt>
                <c:pt idx="11558">
                  <c:v>2</c:v>
                </c:pt>
                <c:pt idx="11559">
                  <c:v>0</c:v>
                </c:pt>
                <c:pt idx="11560">
                  <c:v>0</c:v>
                </c:pt>
                <c:pt idx="11561">
                  <c:v>1</c:v>
                </c:pt>
                <c:pt idx="11562">
                  <c:v>0</c:v>
                </c:pt>
                <c:pt idx="11563">
                  <c:v>2</c:v>
                </c:pt>
                <c:pt idx="11564">
                  <c:v>1</c:v>
                </c:pt>
                <c:pt idx="11565">
                  <c:v>4</c:v>
                </c:pt>
                <c:pt idx="11566">
                  <c:v>4</c:v>
                </c:pt>
                <c:pt idx="11567">
                  <c:v>6</c:v>
                </c:pt>
                <c:pt idx="11568">
                  <c:v>0</c:v>
                </c:pt>
                <c:pt idx="11569">
                  <c:v>0</c:v>
                </c:pt>
                <c:pt idx="11570">
                  <c:v>4</c:v>
                </c:pt>
                <c:pt idx="11571">
                  <c:v>0</c:v>
                </c:pt>
                <c:pt idx="11572">
                  <c:v>6</c:v>
                </c:pt>
                <c:pt idx="11573">
                  <c:v>0</c:v>
                </c:pt>
                <c:pt idx="11574">
                  <c:v>0</c:v>
                </c:pt>
                <c:pt idx="11575">
                  <c:v>0</c:v>
                </c:pt>
                <c:pt idx="11576">
                  <c:v>0</c:v>
                </c:pt>
                <c:pt idx="11577">
                  <c:v>2</c:v>
                </c:pt>
                <c:pt idx="11578">
                  <c:v>0</c:v>
                </c:pt>
                <c:pt idx="11579">
                  <c:v>0</c:v>
                </c:pt>
                <c:pt idx="11580">
                  <c:v>0</c:v>
                </c:pt>
                <c:pt idx="11581">
                  <c:v>0</c:v>
                </c:pt>
                <c:pt idx="11582">
                  <c:v>0</c:v>
                </c:pt>
                <c:pt idx="11583">
                  <c:v>0</c:v>
                </c:pt>
                <c:pt idx="11584">
                  <c:v>4</c:v>
                </c:pt>
                <c:pt idx="11585">
                  <c:v>0</c:v>
                </c:pt>
                <c:pt idx="11586">
                  <c:v>0</c:v>
                </c:pt>
                <c:pt idx="11587">
                  <c:v>0</c:v>
                </c:pt>
                <c:pt idx="11588">
                  <c:v>0</c:v>
                </c:pt>
                <c:pt idx="11589">
                  <c:v>0</c:v>
                </c:pt>
                <c:pt idx="11590">
                  <c:v>0</c:v>
                </c:pt>
                <c:pt idx="11591">
                  <c:v>0</c:v>
                </c:pt>
                <c:pt idx="11592">
                  <c:v>0</c:v>
                </c:pt>
                <c:pt idx="11593">
                  <c:v>0</c:v>
                </c:pt>
                <c:pt idx="11594">
                  <c:v>3</c:v>
                </c:pt>
                <c:pt idx="11595">
                  <c:v>0</c:v>
                </c:pt>
                <c:pt idx="11596">
                  <c:v>1</c:v>
                </c:pt>
                <c:pt idx="11597">
                  <c:v>0</c:v>
                </c:pt>
                <c:pt idx="11598">
                  <c:v>0</c:v>
                </c:pt>
                <c:pt idx="11599">
                  <c:v>0</c:v>
                </c:pt>
                <c:pt idx="11600">
                  <c:v>0</c:v>
                </c:pt>
                <c:pt idx="11601">
                  <c:v>0</c:v>
                </c:pt>
                <c:pt idx="11602">
                  <c:v>0</c:v>
                </c:pt>
                <c:pt idx="11603">
                  <c:v>0</c:v>
                </c:pt>
                <c:pt idx="11604">
                  <c:v>0</c:v>
                </c:pt>
                <c:pt idx="11605">
                  <c:v>0</c:v>
                </c:pt>
                <c:pt idx="11606">
                  <c:v>0</c:v>
                </c:pt>
                <c:pt idx="11607">
                  <c:v>2</c:v>
                </c:pt>
                <c:pt idx="11608">
                  <c:v>0</c:v>
                </c:pt>
                <c:pt idx="11609">
                  <c:v>0</c:v>
                </c:pt>
                <c:pt idx="11610">
                  <c:v>0</c:v>
                </c:pt>
                <c:pt idx="11611">
                  <c:v>2</c:v>
                </c:pt>
                <c:pt idx="11612">
                  <c:v>0</c:v>
                </c:pt>
                <c:pt idx="11613">
                  <c:v>0</c:v>
                </c:pt>
                <c:pt idx="11614">
                  <c:v>0</c:v>
                </c:pt>
                <c:pt idx="11615">
                  <c:v>0</c:v>
                </c:pt>
                <c:pt idx="11616">
                  <c:v>1</c:v>
                </c:pt>
                <c:pt idx="11617">
                  <c:v>0</c:v>
                </c:pt>
                <c:pt idx="11618">
                  <c:v>0</c:v>
                </c:pt>
                <c:pt idx="11619">
                  <c:v>0</c:v>
                </c:pt>
                <c:pt idx="11620">
                  <c:v>0</c:v>
                </c:pt>
                <c:pt idx="11621">
                  <c:v>0</c:v>
                </c:pt>
                <c:pt idx="11622">
                  <c:v>0</c:v>
                </c:pt>
                <c:pt idx="11623">
                  <c:v>0</c:v>
                </c:pt>
                <c:pt idx="11624">
                  <c:v>0</c:v>
                </c:pt>
                <c:pt idx="11625">
                  <c:v>0</c:v>
                </c:pt>
                <c:pt idx="11626">
                  <c:v>0</c:v>
                </c:pt>
                <c:pt idx="11627">
                  <c:v>0</c:v>
                </c:pt>
                <c:pt idx="11628">
                  <c:v>0</c:v>
                </c:pt>
                <c:pt idx="11629">
                  <c:v>4</c:v>
                </c:pt>
                <c:pt idx="11630">
                  <c:v>0</c:v>
                </c:pt>
                <c:pt idx="11631">
                  <c:v>0</c:v>
                </c:pt>
                <c:pt idx="11632">
                  <c:v>0</c:v>
                </c:pt>
                <c:pt idx="11633">
                  <c:v>0</c:v>
                </c:pt>
                <c:pt idx="11634">
                  <c:v>3</c:v>
                </c:pt>
                <c:pt idx="11635">
                  <c:v>4</c:v>
                </c:pt>
                <c:pt idx="11636">
                  <c:v>1</c:v>
                </c:pt>
                <c:pt idx="11637">
                  <c:v>0</c:v>
                </c:pt>
                <c:pt idx="11638">
                  <c:v>3</c:v>
                </c:pt>
                <c:pt idx="11639">
                  <c:v>6</c:v>
                </c:pt>
                <c:pt idx="11640">
                  <c:v>3</c:v>
                </c:pt>
                <c:pt idx="11641">
                  <c:v>0</c:v>
                </c:pt>
                <c:pt idx="11642">
                  <c:v>0</c:v>
                </c:pt>
                <c:pt idx="11643">
                  <c:v>0</c:v>
                </c:pt>
                <c:pt idx="11644">
                  <c:v>1</c:v>
                </c:pt>
                <c:pt idx="11645">
                  <c:v>0</c:v>
                </c:pt>
                <c:pt idx="11646">
                  <c:v>0</c:v>
                </c:pt>
                <c:pt idx="11647">
                  <c:v>2</c:v>
                </c:pt>
                <c:pt idx="11648">
                  <c:v>3</c:v>
                </c:pt>
                <c:pt idx="11649">
                  <c:v>0</c:v>
                </c:pt>
                <c:pt idx="11650">
                  <c:v>0</c:v>
                </c:pt>
                <c:pt idx="11651">
                  <c:v>0</c:v>
                </c:pt>
                <c:pt idx="11652">
                  <c:v>0</c:v>
                </c:pt>
                <c:pt idx="11653">
                  <c:v>0</c:v>
                </c:pt>
                <c:pt idx="11654">
                  <c:v>1</c:v>
                </c:pt>
                <c:pt idx="11655">
                  <c:v>1</c:v>
                </c:pt>
                <c:pt idx="11656">
                  <c:v>0</c:v>
                </c:pt>
                <c:pt idx="11657">
                  <c:v>0</c:v>
                </c:pt>
                <c:pt idx="11658">
                  <c:v>0</c:v>
                </c:pt>
                <c:pt idx="11659">
                  <c:v>0</c:v>
                </c:pt>
                <c:pt idx="11660">
                  <c:v>0</c:v>
                </c:pt>
                <c:pt idx="11661">
                  <c:v>0</c:v>
                </c:pt>
                <c:pt idx="11662">
                  <c:v>0</c:v>
                </c:pt>
                <c:pt idx="11663">
                  <c:v>0</c:v>
                </c:pt>
                <c:pt idx="11664">
                  <c:v>0</c:v>
                </c:pt>
                <c:pt idx="11665">
                  <c:v>0</c:v>
                </c:pt>
                <c:pt idx="11666">
                  <c:v>0</c:v>
                </c:pt>
                <c:pt idx="11667">
                  <c:v>0</c:v>
                </c:pt>
                <c:pt idx="11668">
                  <c:v>0</c:v>
                </c:pt>
                <c:pt idx="11669">
                  <c:v>0</c:v>
                </c:pt>
                <c:pt idx="11670">
                  <c:v>0</c:v>
                </c:pt>
                <c:pt idx="11671">
                  <c:v>0</c:v>
                </c:pt>
                <c:pt idx="11672">
                  <c:v>0</c:v>
                </c:pt>
                <c:pt idx="11673">
                  <c:v>0</c:v>
                </c:pt>
                <c:pt idx="11674">
                  <c:v>0</c:v>
                </c:pt>
                <c:pt idx="11675">
                  <c:v>0</c:v>
                </c:pt>
                <c:pt idx="11676">
                  <c:v>0</c:v>
                </c:pt>
                <c:pt idx="11677">
                  <c:v>0</c:v>
                </c:pt>
                <c:pt idx="11678">
                  <c:v>0</c:v>
                </c:pt>
                <c:pt idx="11679">
                  <c:v>0</c:v>
                </c:pt>
                <c:pt idx="11680">
                  <c:v>0</c:v>
                </c:pt>
                <c:pt idx="11681">
                  <c:v>0</c:v>
                </c:pt>
                <c:pt idx="11682">
                  <c:v>0</c:v>
                </c:pt>
                <c:pt idx="11683">
                  <c:v>0</c:v>
                </c:pt>
                <c:pt idx="11684">
                  <c:v>0</c:v>
                </c:pt>
                <c:pt idx="11685">
                  <c:v>0</c:v>
                </c:pt>
                <c:pt idx="11686">
                  <c:v>0</c:v>
                </c:pt>
                <c:pt idx="11687">
                  <c:v>0</c:v>
                </c:pt>
                <c:pt idx="11688">
                  <c:v>0</c:v>
                </c:pt>
                <c:pt idx="11689">
                  <c:v>0</c:v>
                </c:pt>
                <c:pt idx="11690">
                  <c:v>1</c:v>
                </c:pt>
                <c:pt idx="11691">
                  <c:v>0</c:v>
                </c:pt>
                <c:pt idx="11692">
                  <c:v>0</c:v>
                </c:pt>
                <c:pt idx="11693">
                  <c:v>0</c:v>
                </c:pt>
                <c:pt idx="11694">
                  <c:v>0</c:v>
                </c:pt>
                <c:pt idx="11695">
                  <c:v>0</c:v>
                </c:pt>
                <c:pt idx="11696">
                  <c:v>0</c:v>
                </c:pt>
                <c:pt idx="11697">
                  <c:v>0</c:v>
                </c:pt>
                <c:pt idx="11698">
                  <c:v>0</c:v>
                </c:pt>
                <c:pt idx="11699">
                  <c:v>1</c:v>
                </c:pt>
                <c:pt idx="11700">
                  <c:v>0</c:v>
                </c:pt>
                <c:pt idx="11701">
                  <c:v>0</c:v>
                </c:pt>
                <c:pt idx="11702">
                  <c:v>0</c:v>
                </c:pt>
                <c:pt idx="11703">
                  <c:v>0</c:v>
                </c:pt>
                <c:pt idx="11704">
                  <c:v>0</c:v>
                </c:pt>
                <c:pt idx="11705">
                  <c:v>0</c:v>
                </c:pt>
                <c:pt idx="11706">
                  <c:v>0</c:v>
                </c:pt>
                <c:pt idx="11707">
                  <c:v>0</c:v>
                </c:pt>
                <c:pt idx="11708">
                  <c:v>2</c:v>
                </c:pt>
                <c:pt idx="11709">
                  <c:v>2</c:v>
                </c:pt>
                <c:pt idx="11710">
                  <c:v>0</c:v>
                </c:pt>
                <c:pt idx="11711">
                  <c:v>0</c:v>
                </c:pt>
                <c:pt idx="11712">
                  <c:v>0</c:v>
                </c:pt>
                <c:pt idx="11713">
                  <c:v>0</c:v>
                </c:pt>
                <c:pt idx="11714">
                  <c:v>1</c:v>
                </c:pt>
                <c:pt idx="11715">
                  <c:v>0</c:v>
                </c:pt>
                <c:pt idx="11716">
                  <c:v>0</c:v>
                </c:pt>
                <c:pt idx="11717">
                  <c:v>0</c:v>
                </c:pt>
                <c:pt idx="11718">
                  <c:v>6</c:v>
                </c:pt>
                <c:pt idx="11719">
                  <c:v>0</c:v>
                </c:pt>
                <c:pt idx="11720">
                  <c:v>0</c:v>
                </c:pt>
                <c:pt idx="11721">
                  <c:v>0</c:v>
                </c:pt>
                <c:pt idx="11722">
                  <c:v>0</c:v>
                </c:pt>
                <c:pt idx="11723">
                  <c:v>1</c:v>
                </c:pt>
                <c:pt idx="11724">
                  <c:v>0</c:v>
                </c:pt>
                <c:pt idx="11725">
                  <c:v>1</c:v>
                </c:pt>
                <c:pt idx="11726">
                  <c:v>0</c:v>
                </c:pt>
                <c:pt idx="11727">
                  <c:v>0</c:v>
                </c:pt>
                <c:pt idx="11728">
                  <c:v>0</c:v>
                </c:pt>
                <c:pt idx="11729">
                  <c:v>0</c:v>
                </c:pt>
                <c:pt idx="11730">
                  <c:v>0</c:v>
                </c:pt>
                <c:pt idx="11731">
                  <c:v>3</c:v>
                </c:pt>
                <c:pt idx="11732">
                  <c:v>0</c:v>
                </c:pt>
                <c:pt idx="11733">
                  <c:v>0</c:v>
                </c:pt>
                <c:pt idx="11734">
                  <c:v>1</c:v>
                </c:pt>
                <c:pt idx="11735">
                  <c:v>3</c:v>
                </c:pt>
                <c:pt idx="11736">
                  <c:v>0</c:v>
                </c:pt>
                <c:pt idx="11737">
                  <c:v>0</c:v>
                </c:pt>
                <c:pt idx="11738">
                  <c:v>0</c:v>
                </c:pt>
                <c:pt idx="11739">
                  <c:v>0</c:v>
                </c:pt>
                <c:pt idx="11740">
                  <c:v>0</c:v>
                </c:pt>
                <c:pt idx="11741">
                  <c:v>0</c:v>
                </c:pt>
                <c:pt idx="11742">
                  <c:v>0</c:v>
                </c:pt>
                <c:pt idx="11743">
                  <c:v>1</c:v>
                </c:pt>
                <c:pt idx="11744">
                  <c:v>0</c:v>
                </c:pt>
                <c:pt idx="11745">
                  <c:v>1</c:v>
                </c:pt>
                <c:pt idx="11746">
                  <c:v>0</c:v>
                </c:pt>
                <c:pt idx="11747">
                  <c:v>1</c:v>
                </c:pt>
                <c:pt idx="11748">
                  <c:v>0</c:v>
                </c:pt>
                <c:pt idx="11749">
                  <c:v>0</c:v>
                </c:pt>
                <c:pt idx="11750">
                  <c:v>0</c:v>
                </c:pt>
                <c:pt idx="11751">
                  <c:v>0</c:v>
                </c:pt>
                <c:pt idx="11752">
                  <c:v>0</c:v>
                </c:pt>
                <c:pt idx="11753">
                  <c:v>0</c:v>
                </c:pt>
                <c:pt idx="11754">
                  <c:v>0</c:v>
                </c:pt>
                <c:pt idx="11755">
                  <c:v>0</c:v>
                </c:pt>
                <c:pt idx="11756">
                  <c:v>0</c:v>
                </c:pt>
                <c:pt idx="11757">
                  <c:v>0</c:v>
                </c:pt>
                <c:pt idx="11758">
                  <c:v>0</c:v>
                </c:pt>
                <c:pt idx="11759">
                  <c:v>0</c:v>
                </c:pt>
                <c:pt idx="11760">
                  <c:v>0</c:v>
                </c:pt>
                <c:pt idx="11761">
                  <c:v>0</c:v>
                </c:pt>
                <c:pt idx="11762">
                  <c:v>0</c:v>
                </c:pt>
                <c:pt idx="11763">
                  <c:v>0</c:v>
                </c:pt>
                <c:pt idx="11764">
                  <c:v>0</c:v>
                </c:pt>
                <c:pt idx="11765">
                  <c:v>0</c:v>
                </c:pt>
                <c:pt idx="11766">
                  <c:v>0</c:v>
                </c:pt>
                <c:pt idx="11767">
                  <c:v>0</c:v>
                </c:pt>
                <c:pt idx="11768">
                  <c:v>0</c:v>
                </c:pt>
                <c:pt idx="11769">
                  <c:v>0</c:v>
                </c:pt>
                <c:pt idx="11770">
                  <c:v>0</c:v>
                </c:pt>
                <c:pt idx="11771">
                  <c:v>0</c:v>
                </c:pt>
                <c:pt idx="11772">
                  <c:v>0</c:v>
                </c:pt>
                <c:pt idx="11773">
                  <c:v>0</c:v>
                </c:pt>
                <c:pt idx="11774">
                  <c:v>0</c:v>
                </c:pt>
                <c:pt idx="11775">
                  <c:v>0</c:v>
                </c:pt>
                <c:pt idx="11776">
                  <c:v>0</c:v>
                </c:pt>
                <c:pt idx="11777">
                  <c:v>0</c:v>
                </c:pt>
                <c:pt idx="11778">
                  <c:v>0</c:v>
                </c:pt>
                <c:pt idx="11779">
                  <c:v>0</c:v>
                </c:pt>
                <c:pt idx="11780">
                  <c:v>0</c:v>
                </c:pt>
                <c:pt idx="11781">
                  <c:v>0</c:v>
                </c:pt>
                <c:pt idx="11782">
                  <c:v>0</c:v>
                </c:pt>
                <c:pt idx="11783">
                  <c:v>0</c:v>
                </c:pt>
                <c:pt idx="11784">
                  <c:v>0</c:v>
                </c:pt>
                <c:pt idx="11785">
                  <c:v>0</c:v>
                </c:pt>
                <c:pt idx="11786">
                  <c:v>0</c:v>
                </c:pt>
                <c:pt idx="11787">
                  <c:v>0</c:v>
                </c:pt>
                <c:pt idx="11788">
                  <c:v>0</c:v>
                </c:pt>
                <c:pt idx="11789">
                  <c:v>0</c:v>
                </c:pt>
                <c:pt idx="11790">
                  <c:v>0</c:v>
                </c:pt>
                <c:pt idx="11791">
                  <c:v>0</c:v>
                </c:pt>
                <c:pt idx="11792">
                  <c:v>0</c:v>
                </c:pt>
                <c:pt idx="11793">
                  <c:v>0</c:v>
                </c:pt>
                <c:pt idx="11794">
                  <c:v>0</c:v>
                </c:pt>
                <c:pt idx="11795">
                  <c:v>0</c:v>
                </c:pt>
                <c:pt idx="11796">
                  <c:v>0</c:v>
                </c:pt>
                <c:pt idx="11797">
                  <c:v>0</c:v>
                </c:pt>
                <c:pt idx="11798">
                  <c:v>0</c:v>
                </c:pt>
                <c:pt idx="11799">
                  <c:v>0</c:v>
                </c:pt>
                <c:pt idx="11800">
                  <c:v>0</c:v>
                </c:pt>
                <c:pt idx="11801">
                  <c:v>0</c:v>
                </c:pt>
                <c:pt idx="11802">
                  <c:v>0</c:v>
                </c:pt>
                <c:pt idx="11803">
                  <c:v>0</c:v>
                </c:pt>
                <c:pt idx="11804">
                  <c:v>0</c:v>
                </c:pt>
                <c:pt idx="11805">
                  <c:v>0</c:v>
                </c:pt>
                <c:pt idx="11806">
                  <c:v>2</c:v>
                </c:pt>
                <c:pt idx="11807">
                  <c:v>0</c:v>
                </c:pt>
                <c:pt idx="11808">
                  <c:v>0</c:v>
                </c:pt>
                <c:pt idx="11809">
                  <c:v>0</c:v>
                </c:pt>
                <c:pt idx="11810">
                  <c:v>0</c:v>
                </c:pt>
                <c:pt idx="11811">
                  <c:v>0</c:v>
                </c:pt>
                <c:pt idx="11812">
                  <c:v>0</c:v>
                </c:pt>
                <c:pt idx="11813">
                  <c:v>0</c:v>
                </c:pt>
                <c:pt idx="11814">
                  <c:v>0</c:v>
                </c:pt>
                <c:pt idx="11815">
                  <c:v>0</c:v>
                </c:pt>
                <c:pt idx="11816">
                  <c:v>0</c:v>
                </c:pt>
                <c:pt idx="11817">
                  <c:v>0</c:v>
                </c:pt>
                <c:pt idx="11818">
                  <c:v>0</c:v>
                </c:pt>
                <c:pt idx="11819">
                  <c:v>0</c:v>
                </c:pt>
                <c:pt idx="11820">
                  <c:v>0</c:v>
                </c:pt>
                <c:pt idx="11821">
                  <c:v>0</c:v>
                </c:pt>
                <c:pt idx="11822">
                  <c:v>0</c:v>
                </c:pt>
                <c:pt idx="11823">
                  <c:v>0</c:v>
                </c:pt>
                <c:pt idx="11824">
                  <c:v>0</c:v>
                </c:pt>
                <c:pt idx="11825">
                  <c:v>0</c:v>
                </c:pt>
                <c:pt idx="11826">
                  <c:v>0</c:v>
                </c:pt>
                <c:pt idx="11827">
                  <c:v>0</c:v>
                </c:pt>
                <c:pt idx="11828">
                  <c:v>0</c:v>
                </c:pt>
                <c:pt idx="11829">
                  <c:v>0</c:v>
                </c:pt>
                <c:pt idx="11830">
                  <c:v>0</c:v>
                </c:pt>
                <c:pt idx="11831">
                  <c:v>0</c:v>
                </c:pt>
                <c:pt idx="11832">
                  <c:v>0</c:v>
                </c:pt>
                <c:pt idx="11833">
                  <c:v>0</c:v>
                </c:pt>
                <c:pt idx="11834">
                  <c:v>0</c:v>
                </c:pt>
                <c:pt idx="11835">
                  <c:v>0</c:v>
                </c:pt>
                <c:pt idx="11836">
                  <c:v>0</c:v>
                </c:pt>
                <c:pt idx="11837">
                  <c:v>0</c:v>
                </c:pt>
                <c:pt idx="11838">
                  <c:v>0</c:v>
                </c:pt>
                <c:pt idx="11839">
                  <c:v>0</c:v>
                </c:pt>
                <c:pt idx="11840">
                  <c:v>0</c:v>
                </c:pt>
                <c:pt idx="11841">
                  <c:v>0</c:v>
                </c:pt>
                <c:pt idx="11842">
                  <c:v>1</c:v>
                </c:pt>
                <c:pt idx="11843">
                  <c:v>0</c:v>
                </c:pt>
                <c:pt idx="11844">
                  <c:v>0</c:v>
                </c:pt>
                <c:pt idx="11845">
                  <c:v>0</c:v>
                </c:pt>
                <c:pt idx="11846">
                  <c:v>2</c:v>
                </c:pt>
                <c:pt idx="11847">
                  <c:v>0</c:v>
                </c:pt>
                <c:pt idx="11848">
                  <c:v>0</c:v>
                </c:pt>
                <c:pt idx="11849">
                  <c:v>0</c:v>
                </c:pt>
                <c:pt idx="11850">
                  <c:v>0</c:v>
                </c:pt>
                <c:pt idx="11851">
                  <c:v>0</c:v>
                </c:pt>
                <c:pt idx="11852">
                  <c:v>0</c:v>
                </c:pt>
                <c:pt idx="11853">
                  <c:v>0</c:v>
                </c:pt>
                <c:pt idx="11854">
                  <c:v>0</c:v>
                </c:pt>
                <c:pt idx="11855">
                  <c:v>0</c:v>
                </c:pt>
                <c:pt idx="11856">
                  <c:v>0</c:v>
                </c:pt>
                <c:pt idx="11857">
                  <c:v>0</c:v>
                </c:pt>
                <c:pt idx="11858">
                  <c:v>0</c:v>
                </c:pt>
                <c:pt idx="11859">
                  <c:v>0</c:v>
                </c:pt>
                <c:pt idx="11860">
                  <c:v>0</c:v>
                </c:pt>
                <c:pt idx="11861">
                  <c:v>0</c:v>
                </c:pt>
                <c:pt idx="11862">
                  <c:v>0</c:v>
                </c:pt>
                <c:pt idx="11863">
                  <c:v>0</c:v>
                </c:pt>
                <c:pt idx="11864">
                  <c:v>0</c:v>
                </c:pt>
                <c:pt idx="11865">
                  <c:v>0</c:v>
                </c:pt>
                <c:pt idx="11866">
                  <c:v>0</c:v>
                </c:pt>
                <c:pt idx="11867">
                  <c:v>0</c:v>
                </c:pt>
                <c:pt idx="11868">
                  <c:v>0</c:v>
                </c:pt>
                <c:pt idx="11869">
                  <c:v>0</c:v>
                </c:pt>
                <c:pt idx="11870">
                  <c:v>0</c:v>
                </c:pt>
                <c:pt idx="11871">
                  <c:v>0</c:v>
                </c:pt>
                <c:pt idx="11872">
                  <c:v>0</c:v>
                </c:pt>
                <c:pt idx="11873">
                  <c:v>0</c:v>
                </c:pt>
                <c:pt idx="11874">
                  <c:v>0</c:v>
                </c:pt>
                <c:pt idx="11875">
                  <c:v>0</c:v>
                </c:pt>
                <c:pt idx="11876">
                  <c:v>0</c:v>
                </c:pt>
                <c:pt idx="11877">
                  <c:v>0</c:v>
                </c:pt>
                <c:pt idx="11878">
                  <c:v>0</c:v>
                </c:pt>
                <c:pt idx="11879">
                  <c:v>0</c:v>
                </c:pt>
                <c:pt idx="11880">
                  <c:v>2</c:v>
                </c:pt>
                <c:pt idx="11881">
                  <c:v>0</c:v>
                </c:pt>
                <c:pt idx="11882">
                  <c:v>0</c:v>
                </c:pt>
                <c:pt idx="11883">
                  <c:v>0</c:v>
                </c:pt>
                <c:pt idx="11884">
                  <c:v>0</c:v>
                </c:pt>
                <c:pt idx="11885">
                  <c:v>0</c:v>
                </c:pt>
                <c:pt idx="11886">
                  <c:v>0</c:v>
                </c:pt>
                <c:pt idx="11887">
                  <c:v>0</c:v>
                </c:pt>
                <c:pt idx="11888">
                  <c:v>0</c:v>
                </c:pt>
                <c:pt idx="11889">
                  <c:v>0</c:v>
                </c:pt>
                <c:pt idx="11890">
                  <c:v>0</c:v>
                </c:pt>
                <c:pt idx="11891">
                  <c:v>0</c:v>
                </c:pt>
                <c:pt idx="11892">
                  <c:v>0</c:v>
                </c:pt>
                <c:pt idx="11893">
                  <c:v>0</c:v>
                </c:pt>
                <c:pt idx="11894">
                  <c:v>0</c:v>
                </c:pt>
                <c:pt idx="11895">
                  <c:v>0</c:v>
                </c:pt>
                <c:pt idx="11896">
                  <c:v>0</c:v>
                </c:pt>
                <c:pt idx="11897">
                  <c:v>0</c:v>
                </c:pt>
                <c:pt idx="11898">
                  <c:v>0</c:v>
                </c:pt>
                <c:pt idx="11899">
                  <c:v>0</c:v>
                </c:pt>
                <c:pt idx="11900">
                  <c:v>0</c:v>
                </c:pt>
                <c:pt idx="11901">
                  <c:v>0</c:v>
                </c:pt>
                <c:pt idx="11902">
                  <c:v>0</c:v>
                </c:pt>
                <c:pt idx="11903">
                  <c:v>0</c:v>
                </c:pt>
                <c:pt idx="11904">
                  <c:v>0</c:v>
                </c:pt>
                <c:pt idx="11905">
                  <c:v>0</c:v>
                </c:pt>
                <c:pt idx="11906">
                  <c:v>0</c:v>
                </c:pt>
                <c:pt idx="11907">
                  <c:v>0</c:v>
                </c:pt>
                <c:pt idx="11908">
                  <c:v>0</c:v>
                </c:pt>
                <c:pt idx="11909">
                  <c:v>0</c:v>
                </c:pt>
                <c:pt idx="11910">
                  <c:v>0</c:v>
                </c:pt>
                <c:pt idx="11911">
                  <c:v>0</c:v>
                </c:pt>
                <c:pt idx="11912">
                  <c:v>2</c:v>
                </c:pt>
                <c:pt idx="11913">
                  <c:v>0</c:v>
                </c:pt>
                <c:pt idx="11914">
                  <c:v>0</c:v>
                </c:pt>
                <c:pt idx="11915">
                  <c:v>0</c:v>
                </c:pt>
                <c:pt idx="11916">
                  <c:v>0</c:v>
                </c:pt>
                <c:pt idx="11917">
                  <c:v>0</c:v>
                </c:pt>
                <c:pt idx="11918">
                  <c:v>0</c:v>
                </c:pt>
                <c:pt idx="11919">
                  <c:v>0</c:v>
                </c:pt>
                <c:pt idx="11920">
                  <c:v>0</c:v>
                </c:pt>
                <c:pt idx="11921">
                  <c:v>0</c:v>
                </c:pt>
                <c:pt idx="11922">
                  <c:v>11</c:v>
                </c:pt>
                <c:pt idx="11923">
                  <c:v>2</c:v>
                </c:pt>
                <c:pt idx="11924">
                  <c:v>0</c:v>
                </c:pt>
                <c:pt idx="11925">
                  <c:v>0</c:v>
                </c:pt>
                <c:pt idx="11926">
                  <c:v>0</c:v>
                </c:pt>
                <c:pt idx="11927">
                  <c:v>0</c:v>
                </c:pt>
                <c:pt idx="11928">
                  <c:v>0</c:v>
                </c:pt>
                <c:pt idx="11929">
                  <c:v>0</c:v>
                </c:pt>
                <c:pt idx="11930">
                  <c:v>0</c:v>
                </c:pt>
                <c:pt idx="11931">
                  <c:v>0</c:v>
                </c:pt>
                <c:pt idx="11932">
                  <c:v>0</c:v>
                </c:pt>
                <c:pt idx="11933">
                  <c:v>0</c:v>
                </c:pt>
                <c:pt idx="11934">
                  <c:v>0</c:v>
                </c:pt>
                <c:pt idx="11935">
                  <c:v>0</c:v>
                </c:pt>
                <c:pt idx="11936">
                  <c:v>0</c:v>
                </c:pt>
                <c:pt idx="11937">
                  <c:v>0</c:v>
                </c:pt>
                <c:pt idx="11938">
                  <c:v>0</c:v>
                </c:pt>
                <c:pt idx="11939">
                  <c:v>0</c:v>
                </c:pt>
                <c:pt idx="11940">
                  <c:v>0</c:v>
                </c:pt>
                <c:pt idx="11941">
                  <c:v>0</c:v>
                </c:pt>
                <c:pt idx="11942">
                  <c:v>0</c:v>
                </c:pt>
                <c:pt idx="11943">
                  <c:v>0</c:v>
                </c:pt>
                <c:pt idx="11944">
                  <c:v>0</c:v>
                </c:pt>
                <c:pt idx="11945">
                  <c:v>0</c:v>
                </c:pt>
                <c:pt idx="11946">
                  <c:v>0</c:v>
                </c:pt>
                <c:pt idx="11947">
                  <c:v>0</c:v>
                </c:pt>
                <c:pt idx="11948">
                  <c:v>0</c:v>
                </c:pt>
                <c:pt idx="11949">
                  <c:v>0</c:v>
                </c:pt>
                <c:pt idx="11950">
                  <c:v>0</c:v>
                </c:pt>
                <c:pt idx="11951">
                  <c:v>0</c:v>
                </c:pt>
                <c:pt idx="11952">
                  <c:v>0</c:v>
                </c:pt>
                <c:pt idx="11953">
                  <c:v>0</c:v>
                </c:pt>
                <c:pt idx="11954">
                  <c:v>0</c:v>
                </c:pt>
                <c:pt idx="11955">
                  <c:v>0</c:v>
                </c:pt>
                <c:pt idx="11956">
                  <c:v>0</c:v>
                </c:pt>
                <c:pt idx="11957">
                  <c:v>0</c:v>
                </c:pt>
                <c:pt idx="11958">
                  <c:v>1</c:v>
                </c:pt>
                <c:pt idx="11959">
                  <c:v>0</c:v>
                </c:pt>
                <c:pt idx="11960">
                  <c:v>0</c:v>
                </c:pt>
                <c:pt idx="11961">
                  <c:v>0</c:v>
                </c:pt>
                <c:pt idx="11962">
                  <c:v>1</c:v>
                </c:pt>
                <c:pt idx="11963">
                  <c:v>0</c:v>
                </c:pt>
                <c:pt idx="11964">
                  <c:v>0</c:v>
                </c:pt>
                <c:pt idx="11965">
                  <c:v>0</c:v>
                </c:pt>
                <c:pt idx="11966">
                  <c:v>0</c:v>
                </c:pt>
                <c:pt idx="11967">
                  <c:v>0</c:v>
                </c:pt>
                <c:pt idx="11968">
                  <c:v>0</c:v>
                </c:pt>
                <c:pt idx="11969">
                  <c:v>2</c:v>
                </c:pt>
                <c:pt idx="11970">
                  <c:v>3</c:v>
                </c:pt>
                <c:pt idx="11971">
                  <c:v>0</c:v>
                </c:pt>
                <c:pt idx="11972">
                  <c:v>0</c:v>
                </c:pt>
                <c:pt idx="11973">
                  <c:v>0</c:v>
                </c:pt>
                <c:pt idx="11974">
                  <c:v>0</c:v>
                </c:pt>
                <c:pt idx="11975">
                  <c:v>0</c:v>
                </c:pt>
                <c:pt idx="11976">
                  <c:v>0</c:v>
                </c:pt>
                <c:pt idx="11977">
                  <c:v>0</c:v>
                </c:pt>
                <c:pt idx="11978">
                  <c:v>0</c:v>
                </c:pt>
                <c:pt idx="11979">
                  <c:v>0</c:v>
                </c:pt>
                <c:pt idx="11980">
                  <c:v>0</c:v>
                </c:pt>
                <c:pt idx="11981">
                  <c:v>0</c:v>
                </c:pt>
                <c:pt idx="11982">
                  <c:v>0</c:v>
                </c:pt>
                <c:pt idx="11983">
                  <c:v>0</c:v>
                </c:pt>
                <c:pt idx="11984">
                  <c:v>0</c:v>
                </c:pt>
                <c:pt idx="11985">
                  <c:v>0</c:v>
                </c:pt>
                <c:pt idx="11986">
                  <c:v>0</c:v>
                </c:pt>
                <c:pt idx="11987">
                  <c:v>0</c:v>
                </c:pt>
                <c:pt idx="11988">
                  <c:v>0</c:v>
                </c:pt>
                <c:pt idx="11989">
                  <c:v>0</c:v>
                </c:pt>
                <c:pt idx="11990">
                  <c:v>0</c:v>
                </c:pt>
                <c:pt idx="11991">
                  <c:v>0</c:v>
                </c:pt>
                <c:pt idx="11992">
                  <c:v>0</c:v>
                </c:pt>
                <c:pt idx="11993">
                  <c:v>0</c:v>
                </c:pt>
                <c:pt idx="11994">
                  <c:v>0</c:v>
                </c:pt>
                <c:pt idx="11995">
                  <c:v>0</c:v>
                </c:pt>
                <c:pt idx="11996">
                  <c:v>0</c:v>
                </c:pt>
                <c:pt idx="11997">
                  <c:v>0</c:v>
                </c:pt>
                <c:pt idx="11998">
                  <c:v>0</c:v>
                </c:pt>
                <c:pt idx="11999">
                  <c:v>0</c:v>
                </c:pt>
                <c:pt idx="12000">
                  <c:v>0</c:v>
                </c:pt>
                <c:pt idx="12001">
                  <c:v>0</c:v>
                </c:pt>
                <c:pt idx="12002">
                  <c:v>0</c:v>
                </c:pt>
                <c:pt idx="12003">
                  <c:v>0</c:v>
                </c:pt>
                <c:pt idx="12004">
                  <c:v>0</c:v>
                </c:pt>
                <c:pt idx="12005">
                  <c:v>0</c:v>
                </c:pt>
                <c:pt idx="12006">
                  <c:v>0</c:v>
                </c:pt>
                <c:pt idx="12007">
                  <c:v>0</c:v>
                </c:pt>
                <c:pt idx="12008">
                  <c:v>1</c:v>
                </c:pt>
                <c:pt idx="12009">
                  <c:v>0</c:v>
                </c:pt>
                <c:pt idx="12010">
                  <c:v>0</c:v>
                </c:pt>
                <c:pt idx="12011">
                  <c:v>0</c:v>
                </c:pt>
                <c:pt idx="12012">
                  <c:v>0</c:v>
                </c:pt>
                <c:pt idx="12013">
                  <c:v>0</c:v>
                </c:pt>
                <c:pt idx="12014">
                  <c:v>0</c:v>
                </c:pt>
                <c:pt idx="12015">
                  <c:v>0</c:v>
                </c:pt>
                <c:pt idx="12016">
                  <c:v>0</c:v>
                </c:pt>
                <c:pt idx="12017">
                  <c:v>0</c:v>
                </c:pt>
                <c:pt idx="12018">
                  <c:v>0</c:v>
                </c:pt>
                <c:pt idx="12019">
                  <c:v>0</c:v>
                </c:pt>
                <c:pt idx="12020">
                  <c:v>0</c:v>
                </c:pt>
                <c:pt idx="12021">
                  <c:v>0</c:v>
                </c:pt>
                <c:pt idx="12022">
                  <c:v>0</c:v>
                </c:pt>
                <c:pt idx="12023">
                  <c:v>0</c:v>
                </c:pt>
                <c:pt idx="12024">
                  <c:v>0</c:v>
                </c:pt>
                <c:pt idx="12025">
                  <c:v>0</c:v>
                </c:pt>
                <c:pt idx="12026">
                  <c:v>0</c:v>
                </c:pt>
                <c:pt idx="12027">
                  <c:v>0</c:v>
                </c:pt>
                <c:pt idx="12028">
                  <c:v>0</c:v>
                </c:pt>
                <c:pt idx="12029">
                  <c:v>0</c:v>
                </c:pt>
                <c:pt idx="12030">
                  <c:v>0</c:v>
                </c:pt>
                <c:pt idx="12031">
                  <c:v>0</c:v>
                </c:pt>
                <c:pt idx="12032">
                  <c:v>0</c:v>
                </c:pt>
                <c:pt idx="12033">
                  <c:v>0</c:v>
                </c:pt>
                <c:pt idx="12034">
                  <c:v>0</c:v>
                </c:pt>
                <c:pt idx="12035">
                  <c:v>0</c:v>
                </c:pt>
                <c:pt idx="12036">
                  <c:v>0</c:v>
                </c:pt>
                <c:pt idx="12037">
                  <c:v>0</c:v>
                </c:pt>
                <c:pt idx="12038">
                  <c:v>0</c:v>
                </c:pt>
                <c:pt idx="12039">
                  <c:v>0</c:v>
                </c:pt>
                <c:pt idx="12040">
                  <c:v>0</c:v>
                </c:pt>
                <c:pt idx="12041">
                  <c:v>0</c:v>
                </c:pt>
                <c:pt idx="12042">
                  <c:v>0</c:v>
                </c:pt>
                <c:pt idx="12043">
                  <c:v>0</c:v>
                </c:pt>
                <c:pt idx="12044">
                  <c:v>0</c:v>
                </c:pt>
                <c:pt idx="12045">
                  <c:v>0</c:v>
                </c:pt>
                <c:pt idx="12046">
                  <c:v>0</c:v>
                </c:pt>
                <c:pt idx="12047">
                  <c:v>4</c:v>
                </c:pt>
                <c:pt idx="12048">
                  <c:v>0</c:v>
                </c:pt>
                <c:pt idx="12049">
                  <c:v>0</c:v>
                </c:pt>
                <c:pt idx="12050">
                  <c:v>0</c:v>
                </c:pt>
                <c:pt idx="12051">
                  <c:v>0</c:v>
                </c:pt>
                <c:pt idx="12052">
                  <c:v>0</c:v>
                </c:pt>
                <c:pt idx="12053">
                  <c:v>0</c:v>
                </c:pt>
                <c:pt idx="12054">
                  <c:v>0</c:v>
                </c:pt>
                <c:pt idx="12055">
                  <c:v>0</c:v>
                </c:pt>
                <c:pt idx="12056">
                  <c:v>0</c:v>
                </c:pt>
                <c:pt idx="12057">
                  <c:v>0</c:v>
                </c:pt>
                <c:pt idx="12058">
                  <c:v>0</c:v>
                </c:pt>
                <c:pt idx="12059">
                  <c:v>0</c:v>
                </c:pt>
                <c:pt idx="12060">
                  <c:v>0</c:v>
                </c:pt>
                <c:pt idx="12061">
                  <c:v>1</c:v>
                </c:pt>
                <c:pt idx="12062">
                  <c:v>0</c:v>
                </c:pt>
                <c:pt idx="12063">
                  <c:v>0</c:v>
                </c:pt>
                <c:pt idx="12064">
                  <c:v>0</c:v>
                </c:pt>
                <c:pt idx="12065">
                  <c:v>0</c:v>
                </c:pt>
                <c:pt idx="12066">
                  <c:v>0</c:v>
                </c:pt>
                <c:pt idx="12067">
                  <c:v>0</c:v>
                </c:pt>
                <c:pt idx="12068">
                  <c:v>0</c:v>
                </c:pt>
                <c:pt idx="12069">
                  <c:v>0</c:v>
                </c:pt>
                <c:pt idx="12070">
                  <c:v>0</c:v>
                </c:pt>
                <c:pt idx="12071">
                  <c:v>0</c:v>
                </c:pt>
                <c:pt idx="12072">
                  <c:v>0</c:v>
                </c:pt>
                <c:pt idx="12073">
                  <c:v>0</c:v>
                </c:pt>
                <c:pt idx="12074">
                  <c:v>0</c:v>
                </c:pt>
                <c:pt idx="12075">
                  <c:v>0</c:v>
                </c:pt>
                <c:pt idx="12076">
                  <c:v>0</c:v>
                </c:pt>
                <c:pt idx="12077">
                  <c:v>0</c:v>
                </c:pt>
                <c:pt idx="12078">
                  <c:v>1</c:v>
                </c:pt>
                <c:pt idx="12079">
                  <c:v>0</c:v>
                </c:pt>
                <c:pt idx="12080">
                  <c:v>0</c:v>
                </c:pt>
                <c:pt idx="12081">
                  <c:v>0</c:v>
                </c:pt>
                <c:pt idx="12082">
                  <c:v>0</c:v>
                </c:pt>
                <c:pt idx="12083">
                  <c:v>0</c:v>
                </c:pt>
                <c:pt idx="12084">
                  <c:v>0</c:v>
                </c:pt>
                <c:pt idx="12085">
                  <c:v>0</c:v>
                </c:pt>
                <c:pt idx="12086">
                  <c:v>0</c:v>
                </c:pt>
                <c:pt idx="12087">
                  <c:v>2</c:v>
                </c:pt>
                <c:pt idx="12088">
                  <c:v>7</c:v>
                </c:pt>
                <c:pt idx="12089">
                  <c:v>6</c:v>
                </c:pt>
                <c:pt idx="12090">
                  <c:v>0</c:v>
                </c:pt>
                <c:pt idx="12091">
                  <c:v>1</c:v>
                </c:pt>
                <c:pt idx="12092">
                  <c:v>0</c:v>
                </c:pt>
                <c:pt idx="12093">
                  <c:v>0</c:v>
                </c:pt>
                <c:pt idx="12094">
                  <c:v>1</c:v>
                </c:pt>
                <c:pt idx="12095">
                  <c:v>3</c:v>
                </c:pt>
                <c:pt idx="12096">
                  <c:v>0</c:v>
                </c:pt>
                <c:pt idx="12097">
                  <c:v>0</c:v>
                </c:pt>
                <c:pt idx="12098">
                  <c:v>0</c:v>
                </c:pt>
                <c:pt idx="12099">
                  <c:v>0</c:v>
                </c:pt>
                <c:pt idx="12100">
                  <c:v>3</c:v>
                </c:pt>
                <c:pt idx="12101">
                  <c:v>0</c:v>
                </c:pt>
                <c:pt idx="12102">
                  <c:v>2</c:v>
                </c:pt>
                <c:pt idx="12103">
                  <c:v>0</c:v>
                </c:pt>
                <c:pt idx="12104">
                  <c:v>0</c:v>
                </c:pt>
                <c:pt idx="12105">
                  <c:v>0</c:v>
                </c:pt>
                <c:pt idx="12106">
                  <c:v>2</c:v>
                </c:pt>
                <c:pt idx="12107">
                  <c:v>3</c:v>
                </c:pt>
                <c:pt idx="12108">
                  <c:v>2</c:v>
                </c:pt>
                <c:pt idx="12109">
                  <c:v>1</c:v>
                </c:pt>
                <c:pt idx="12110">
                  <c:v>0</c:v>
                </c:pt>
                <c:pt idx="12111">
                  <c:v>0</c:v>
                </c:pt>
                <c:pt idx="12112">
                  <c:v>1</c:v>
                </c:pt>
                <c:pt idx="12113">
                  <c:v>0</c:v>
                </c:pt>
                <c:pt idx="12114">
                  <c:v>3</c:v>
                </c:pt>
                <c:pt idx="12115">
                  <c:v>0</c:v>
                </c:pt>
                <c:pt idx="12116">
                  <c:v>0</c:v>
                </c:pt>
                <c:pt idx="12117">
                  <c:v>9</c:v>
                </c:pt>
                <c:pt idx="12118">
                  <c:v>0</c:v>
                </c:pt>
                <c:pt idx="12119">
                  <c:v>0</c:v>
                </c:pt>
                <c:pt idx="12120">
                  <c:v>3</c:v>
                </c:pt>
                <c:pt idx="12121">
                  <c:v>0</c:v>
                </c:pt>
                <c:pt idx="12122">
                  <c:v>0</c:v>
                </c:pt>
                <c:pt idx="12123">
                  <c:v>0</c:v>
                </c:pt>
                <c:pt idx="12124">
                  <c:v>1</c:v>
                </c:pt>
                <c:pt idx="12125">
                  <c:v>4</c:v>
                </c:pt>
                <c:pt idx="12126">
                  <c:v>3</c:v>
                </c:pt>
                <c:pt idx="12127">
                  <c:v>0</c:v>
                </c:pt>
                <c:pt idx="12128">
                  <c:v>2</c:v>
                </c:pt>
                <c:pt idx="12129">
                  <c:v>0</c:v>
                </c:pt>
                <c:pt idx="12130">
                  <c:v>0</c:v>
                </c:pt>
                <c:pt idx="12131">
                  <c:v>0</c:v>
                </c:pt>
                <c:pt idx="12132">
                  <c:v>0</c:v>
                </c:pt>
                <c:pt idx="12133">
                  <c:v>0</c:v>
                </c:pt>
                <c:pt idx="12134">
                  <c:v>0</c:v>
                </c:pt>
                <c:pt idx="12135">
                  <c:v>0</c:v>
                </c:pt>
                <c:pt idx="12136">
                  <c:v>1</c:v>
                </c:pt>
                <c:pt idx="12137">
                  <c:v>0</c:v>
                </c:pt>
                <c:pt idx="12138">
                  <c:v>2</c:v>
                </c:pt>
                <c:pt idx="12139">
                  <c:v>0</c:v>
                </c:pt>
                <c:pt idx="12140">
                  <c:v>0</c:v>
                </c:pt>
                <c:pt idx="12141">
                  <c:v>2</c:v>
                </c:pt>
                <c:pt idx="12142">
                  <c:v>7</c:v>
                </c:pt>
                <c:pt idx="12143">
                  <c:v>1</c:v>
                </c:pt>
                <c:pt idx="12144">
                  <c:v>0</c:v>
                </c:pt>
                <c:pt idx="12145">
                  <c:v>0</c:v>
                </c:pt>
                <c:pt idx="12146">
                  <c:v>1</c:v>
                </c:pt>
                <c:pt idx="12147">
                  <c:v>4</c:v>
                </c:pt>
                <c:pt idx="12148">
                  <c:v>0</c:v>
                </c:pt>
                <c:pt idx="12149">
                  <c:v>0</c:v>
                </c:pt>
                <c:pt idx="12150">
                  <c:v>0</c:v>
                </c:pt>
                <c:pt idx="12151">
                  <c:v>1</c:v>
                </c:pt>
                <c:pt idx="12152">
                  <c:v>0</c:v>
                </c:pt>
                <c:pt idx="12153">
                  <c:v>0</c:v>
                </c:pt>
                <c:pt idx="12154">
                  <c:v>0</c:v>
                </c:pt>
                <c:pt idx="12155">
                  <c:v>0</c:v>
                </c:pt>
                <c:pt idx="12156">
                  <c:v>0</c:v>
                </c:pt>
                <c:pt idx="12157">
                  <c:v>0</c:v>
                </c:pt>
                <c:pt idx="12158">
                  <c:v>2</c:v>
                </c:pt>
                <c:pt idx="12159">
                  <c:v>0</c:v>
                </c:pt>
                <c:pt idx="12160">
                  <c:v>0</c:v>
                </c:pt>
                <c:pt idx="12161">
                  <c:v>0</c:v>
                </c:pt>
                <c:pt idx="12162">
                  <c:v>0</c:v>
                </c:pt>
                <c:pt idx="12163">
                  <c:v>0</c:v>
                </c:pt>
                <c:pt idx="12164">
                  <c:v>0</c:v>
                </c:pt>
                <c:pt idx="12165">
                  <c:v>0</c:v>
                </c:pt>
                <c:pt idx="12166">
                  <c:v>0</c:v>
                </c:pt>
                <c:pt idx="12167">
                  <c:v>0</c:v>
                </c:pt>
                <c:pt idx="12168">
                  <c:v>0</c:v>
                </c:pt>
                <c:pt idx="12169">
                  <c:v>1</c:v>
                </c:pt>
                <c:pt idx="12170">
                  <c:v>0</c:v>
                </c:pt>
                <c:pt idx="12171">
                  <c:v>0</c:v>
                </c:pt>
                <c:pt idx="12172">
                  <c:v>4</c:v>
                </c:pt>
                <c:pt idx="12173">
                  <c:v>1</c:v>
                </c:pt>
                <c:pt idx="12174">
                  <c:v>0</c:v>
                </c:pt>
                <c:pt idx="12175">
                  <c:v>0</c:v>
                </c:pt>
                <c:pt idx="12176">
                  <c:v>0</c:v>
                </c:pt>
                <c:pt idx="12177">
                  <c:v>0</c:v>
                </c:pt>
                <c:pt idx="12178">
                  <c:v>0</c:v>
                </c:pt>
                <c:pt idx="12179">
                  <c:v>2</c:v>
                </c:pt>
                <c:pt idx="12180">
                  <c:v>0</c:v>
                </c:pt>
                <c:pt idx="12181">
                  <c:v>6</c:v>
                </c:pt>
                <c:pt idx="12182">
                  <c:v>1</c:v>
                </c:pt>
                <c:pt idx="12183">
                  <c:v>4</c:v>
                </c:pt>
                <c:pt idx="12184">
                  <c:v>8</c:v>
                </c:pt>
                <c:pt idx="12185">
                  <c:v>0</c:v>
                </c:pt>
                <c:pt idx="12186">
                  <c:v>0</c:v>
                </c:pt>
                <c:pt idx="12187">
                  <c:v>1</c:v>
                </c:pt>
                <c:pt idx="12188">
                  <c:v>2</c:v>
                </c:pt>
                <c:pt idx="12189">
                  <c:v>0</c:v>
                </c:pt>
                <c:pt idx="12190">
                  <c:v>0</c:v>
                </c:pt>
                <c:pt idx="12191">
                  <c:v>1</c:v>
                </c:pt>
                <c:pt idx="12192">
                  <c:v>0</c:v>
                </c:pt>
                <c:pt idx="12193">
                  <c:v>4</c:v>
                </c:pt>
                <c:pt idx="12194">
                  <c:v>0</c:v>
                </c:pt>
                <c:pt idx="12195">
                  <c:v>4</c:v>
                </c:pt>
                <c:pt idx="12196">
                  <c:v>0</c:v>
                </c:pt>
                <c:pt idx="12197">
                  <c:v>1</c:v>
                </c:pt>
                <c:pt idx="12198">
                  <c:v>3</c:v>
                </c:pt>
                <c:pt idx="12199">
                  <c:v>7</c:v>
                </c:pt>
                <c:pt idx="12200">
                  <c:v>2</c:v>
                </c:pt>
                <c:pt idx="12201">
                  <c:v>0</c:v>
                </c:pt>
                <c:pt idx="12202">
                  <c:v>0</c:v>
                </c:pt>
                <c:pt idx="12203">
                  <c:v>0</c:v>
                </c:pt>
                <c:pt idx="12204">
                  <c:v>0</c:v>
                </c:pt>
                <c:pt idx="12205">
                  <c:v>0</c:v>
                </c:pt>
                <c:pt idx="12206">
                  <c:v>0</c:v>
                </c:pt>
                <c:pt idx="12207">
                  <c:v>0</c:v>
                </c:pt>
                <c:pt idx="12208">
                  <c:v>0</c:v>
                </c:pt>
                <c:pt idx="12209">
                  <c:v>0</c:v>
                </c:pt>
                <c:pt idx="12210">
                  <c:v>0</c:v>
                </c:pt>
                <c:pt idx="12211">
                  <c:v>0</c:v>
                </c:pt>
                <c:pt idx="12212">
                  <c:v>0</c:v>
                </c:pt>
                <c:pt idx="12213">
                  <c:v>0</c:v>
                </c:pt>
                <c:pt idx="12214">
                  <c:v>0</c:v>
                </c:pt>
                <c:pt idx="12215">
                  <c:v>0</c:v>
                </c:pt>
                <c:pt idx="12216">
                  <c:v>0</c:v>
                </c:pt>
                <c:pt idx="12217">
                  <c:v>0</c:v>
                </c:pt>
                <c:pt idx="12218">
                  <c:v>0</c:v>
                </c:pt>
                <c:pt idx="12219">
                  <c:v>0</c:v>
                </c:pt>
                <c:pt idx="12220">
                  <c:v>0</c:v>
                </c:pt>
                <c:pt idx="12221">
                  <c:v>0</c:v>
                </c:pt>
                <c:pt idx="12222">
                  <c:v>0</c:v>
                </c:pt>
                <c:pt idx="12223">
                  <c:v>0</c:v>
                </c:pt>
                <c:pt idx="12224">
                  <c:v>0</c:v>
                </c:pt>
                <c:pt idx="12225">
                  <c:v>0</c:v>
                </c:pt>
                <c:pt idx="12226">
                  <c:v>0</c:v>
                </c:pt>
                <c:pt idx="12227">
                  <c:v>0</c:v>
                </c:pt>
                <c:pt idx="12228">
                  <c:v>0</c:v>
                </c:pt>
                <c:pt idx="12229">
                  <c:v>0</c:v>
                </c:pt>
                <c:pt idx="12230">
                  <c:v>0</c:v>
                </c:pt>
                <c:pt idx="12231">
                  <c:v>0</c:v>
                </c:pt>
                <c:pt idx="12232">
                  <c:v>0</c:v>
                </c:pt>
                <c:pt idx="12233">
                  <c:v>0</c:v>
                </c:pt>
                <c:pt idx="12234">
                  <c:v>0</c:v>
                </c:pt>
                <c:pt idx="12235">
                  <c:v>0</c:v>
                </c:pt>
                <c:pt idx="12236">
                  <c:v>0</c:v>
                </c:pt>
                <c:pt idx="12237">
                  <c:v>4</c:v>
                </c:pt>
                <c:pt idx="12238">
                  <c:v>0</c:v>
                </c:pt>
                <c:pt idx="12239">
                  <c:v>0</c:v>
                </c:pt>
                <c:pt idx="12240">
                  <c:v>0</c:v>
                </c:pt>
                <c:pt idx="12241">
                  <c:v>0</c:v>
                </c:pt>
                <c:pt idx="12242">
                  <c:v>0</c:v>
                </c:pt>
                <c:pt idx="12243">
                  <c:v>0</c:v>
                </c:pt>
                <c:pt idx="12244">
                  <c:v>0</c:v>
                </c:pt>
                <c:pt idx="12245">
                  <c:v>2</c:v>
                </c:pt>
                <c:pt idx="12246">
                  <c:v>0</c:v>
                </c:pt>
                <c:pt idx="12247">
                  <c:v>0</c:v>
                </c:pt>
                <c:pt idx="12248">
                  <c:v>0</c:v>
                </c:pt>
                <c:pt idx="12249">
                  <c:v>0</c:v>
                </c:pt>
                <c:pt idx="12250">
                  <c:v>0</c:v>
                </c:pt>
                <c:pt idx="12251">
                  <c:v>0</c:v>
                </c:pt>
                <c:pt idx="12252">
                  <c:v>0</c:v>
                </c:pt>
                <c:pt idx="12253">
                  <c:v>0</c:v>
                </c:pt>
                <c:pt idx="12254">
                  <c:v>0</c:v>
                </c:pt>
                <c:pt idx="12255">
                  <c:v>0</c:v>
                </c:pt>
                <c:pt idx="12256">
                  <c:v>0</c:v>
                </c:pt>
                <c:pt idx="12257">
                  <c:v>0</c:v>
                </c:pt>
                <c:pt idx="12258">
                  <c:v>0</c:v>
                </c:pt>
                <c:pt idx="12259">
                  <c:v>0</c:v>
                </c:pt>
                <c:pt idx="12260">
                  <c:v>0</c:v>
                </c:pt>
                <c:pt idx="12261">
                  <c:v>0</c:v>
                </c:pt>
                <c:pt idx="12262">
                  <c:v>0</c:v>
                </c:pt>
                <c:pt idx="12263">
                  <c:v>0</c:v>
                </c:pt>
                <c:pt idx="12264">
                  <c:v>0</c:v>
                </c:pt>
                <c:pt idx="12265">
                  <c:v>0</c:v>
                </c:pt>
                <c:pt idx="12266">
                  <c:v>0</c:v>
                </c:pt>
                <c:pt idx="12267">
                  <c:v>0</c:v>
                </c:pt>
                <c:pt idx="12268">
                  <c:v>0</c:v>
                </c:pt>
                <c:pt idx="12269">
                  <c:v>5</c:v>
                </c:pt>
                <c:pt idx="12270">
                  <c:v>0</c:v>
                </c:pt>
                <c:pt idx="12271">
                  <c:v>0</c:v>
                </c:pt>
                <c:pt idx="12272">
                  <c:v>0</c:v>
                </c:pt>
                <c:pt idx="12273">
                  <c:v>0</c:v>
                </c:pt>
                <c:pt idx="12274">
                  <c:v>0</c:v>
                </c:pt>
                <c:pt idx="12275">
                  <c:v>0</c:v>
                </c:pt>
                <c:pt idx="12276">
                  <c:v>0</c:v>
                </c:pt>
                <c:pt idx="12277">
                  <c:v>0</c:v>
                </c:pt>
                <c:pt idx="12278">
                  <c:v>0</c:v>
                </c:pt>
                <c:pt idx="12279">
                  <c:v>0</c:v>
                </c:pt>
                <c:pt idx="12280">
                  <c:v>0</c:v>
                </c:pt>
                <c:pt idx="12281">
                  <c:v>0</c:v>
                </c:pt>
                <c:pt idx="12282">
                  <c:v>0</c:v>
                </c:pt>
                <c:pt idx="12283">
                  <c:v>0</c:v>
                </c:pt>
                <c:pt idx="12284">
                  <c:v>0</c:v>
                </c:pt>
                <c:pt idx="12285">
                  <c:v>0</c:v>
                </c:pt>
                <c:pt idx="12286">
                  <c:v>0</c:v>
                </c:pt>
                <c:pt idx="12287">
                  <c:v>0</c:v>
                </c:pt>
                <c:pt idx="12288">
                  <c:v>0</c:v>
                </c:pt>
                <c:pt idx="12289">
                  <c:v>0</c:v>
                </c:pt>
                <c:pt idx="12290">
                  <c:v>0</c:v>
                </c:pt>
                <c:pt idx="12291">
                  <c:v>0</c:v>
                </c:pt>
                <c:pt idx="12292">
                  <c:v>0</c:v>
                </c:pt>
                <c:pt idx="12293">
                  <c:v>0</c:v>
                </c:pt>
                <c:pt idx="12294">
                  <c:v>0</c:v>
                </c:pt>
                <c:pt idx="12295">
                  <c:v>0</c:v>
                </c:pt>
                <c:pt idx="12296">
                  <c:v>0</c:v>
                </c:pt>
                <c:pt idx="12297">
                  <c:v>0</c:v>
                </c:pt>
                <c:pt idx="12298">
                  <c:v>0</c:v>
                </c:pt>
                <c:pt idx="12299">
                  <c:v>0</c:v>
                </c:pt>
                <c:pt idx="12300">
                  <c:v>2</c:v>
                </c:pt>
                <c:pt idx="12301">
                  <c:v>0</c:v>
                </c:pt>
                <c:pt idx="12302">
                  <c:v>0</c:v>
                </c:pt>
                <c:pt idx="12303">
                  <c:v>0</c:v>
                </c:pt>
                <c:pt idx="12304">
                  <c:v>0</c:v>
                </c:pt>
                <c:pt idx="12305">
                  <c:v>0</c:v>
                </c:pt>
                <c:pt idx="12306">
                  <c:v>0</c:v>
                </c:pt>
                <c:pt idx="12307">
                  <c:v>0</c:v>
                </c:pt>
                <c:pt idx="12308">
                  <c:v>0</c:v>
                </c:pt>
                <c:pt idx="12309">
                  <c:v>3</c:v>
                </c:pt>
                <c:pt idx="12310">
                  <c:v>0</c:v>
                </c:pt>
                <c:pt idx="12311">
                  <c:v>0</c:v>
                </c:pt>
                <c:pt idx="12312">
                  <c:v>0</c:v>
                </c:pt>
                <c:pt idx="12313">
                  <c:v>0</c:v>
                </c:pt>
                <c:pt idx="12314">
                  <c:v>0</c:v>
                </c:pt>
                <c:pt idx="12315">
                  <c:v>3</c:v>
                </c:pt>
                <c:pt idx="12316">
                  <c:v>0</c:v>
                </c:pt>
                <c:pt idx="12317">
                  <c:v>1</c:v>
                </c:pt>
                <c:pt idx="12318">
                  <c:v>0</c:v>
                </c:pt>
                <c:pt idx="12319">
                  <c:v>0</c:v>
                </c:pt>
                <c:pt idx="12320">
                  <c:v>2</c:v>
                </c:pt>
                <c:pt idx="12321">
                  <c:v>0</c:v>
                </c:pt>
                <c:pt idx="12322">
                  <c:v>2</c:v>
                </c:pt>
                <c:pt idx="12323">
                  <c:v>2</c:v>
                </c:pt>
                <c:pt idx="12324">
                  <c:v>5</c:v>
                </c:pt>
                <c:pt idx="12325">
                  <c:v>4</c:v>
                </c:pt>
                <c:pt idx="12326">
                  <c:v>0</c:v>
                </c:pt>
                <c:pt idx="12327">
                  <c:v>0</c:v>
                </c:pt>
                <c:pt idx="12328">
                  <c:v>0</c:v>
                </c:pt>
                <c:pt idx="12329">
                  <c:v>0</c:v>
                </c:pt>
                <c:pt idx="12330">
                  <c:v>1</c:v>
                </c:pt>
                <c:pt idx="12331">
                  <c:v>1</c:v>
                </c:pt>
                <c:pt idx="12332">
                  <c:v>0</c:v>
                </c:pt>
                <c:pt idx="12333">
                  <c:v>1</c:v>
                </c:pt>
                <c:pt idx="12334">
                  <c:v>1</c:v>
                </c:pt>
                <c:pt idx="12335">
                  <c:v>1</c:v>
                </c:pt>
                <c:pt idx="12336">
                  <c:v>0</c:v>
                </c:pt>
                <c:pt idx="12337">
                  <c:v>0</c:v>
                </c:pt>
                <c:pt idx="12338">
                  <c:v>3</c:v>
                </c:pt>
                <c:pt idx="12339">
                  <c:v>2</c:v>
                </c:pt>
                <c:pt idx="12340">
                  <c:v>0</c:v>
                </c:pt>
                <c:pt idx="12341">
                  <c:v>0</c:v>
                </c:pt>
                <c:pt idx="12342">
                  <c:v>0</c:v>
                </c:pt>
                <c:pt idx="12343">
                  <c:v>0</c:v>
                </c:pt>
                <c:pt idx="12344">
                  <c:v>0</c:v>
                </c:pt>
                <c:pt idx="12345">
                  <c:v>0</c:v>
                </c:pt>
                <c:pt idx="12346">
                  <c:v>0</c:v>
                </c:pt>
                <c:pt idx="12347">
                  <c:v>0</c:v>
                </c:pt>
                <c:pt idx="12348">
                  <c:v>0</c:v>
                </c:pt>
                <c:pt idx="12349">
                  <c:v>2</c:v>
                </c:pt>
                <c:pt idx="12350">
                  <c:v>0</c:v>
                </c:pt>
                <c:pt idx="12351">
                  <c:v>0</c:v>
                </c:pt>
                <c:pt idx="12352">
                  <c:v>0</c:v>
                </c:pt>
                <c:pt idx="12353">
                  <c:v>0</c:v>
                </c:pt>
                <c:pt idx="12354">
                  <c:v>0</c:v>
                </c:pt>
                <c:pt idx="12355">
                  <c:v>0</c:v>
                </c:pt>
                <c:pt idx="12356">
                  <c:v>0</c:v>
                </c:pt>
                <c:pt idx="12357">
                  <c:v>0</c:v>
                </c:pt>
                <c:pt idx="12358">
                  <c:v>0</c:v>
                </c:pt>
                <c:pt idx="12359">
                  <c:v>0</c:v>
                </c:pt>
                <c:pt idx="12360">
                  <c:v>0</c:v>
                </c:pt>
                <c:pt idx="12361">
                  <c:v>0</c:v>
                </c:pt>
                <c:pt idx="12362">
                  <c:v>0</c:v>
                </c:pt>
                <c:pt idx="12363">
                  <c:v>0</c:v>
                </c:pt>
                <c:pt idx="12364">
                  <c:v>0</c:v>
                </c:pt>
                <c:pt idx="12365">
                  <c:v>0</c:v>
                </c:pt>
                <c:pt idx="12366">
                  <c:v>0</c:v>
                </c:pt>
                <c:pt idx="12367">
                  <c:v>0</c:v>
                </c:pt>
                <c:pt idx="12368">
                  <c:v>0</c:v>
                </c:pt>
                <c:pt idx="12369">
                  <c:v>0</c:v>
                </c:pt>
                <c:pt idx="12370">
                  <c:v>0</c:v>
                </c:pt>
                <c:pt idx="12371">
                  <c:v>0</c:v>
                </c:pt>
                <c:pt idx="12372">
                  <c:v>0</c:v>
                </c:pt>
                <c:pt idx="12373">
                  <c:v>0</c:v>
                </c:pt>
                <c:pt idx="12374">
                  <c:v>0</c:v>
                </c:pt>
                <c:pt idx="12375">
                  <c:v>0</c:v>
                </c:pt>
                <c:pt idx="12376">
                  <c:v>0</c:v>
                </c:pt>
                <c:pt idx="12377">
                  <c:v>0</c:v>
                </c:pt>
                <c:pt idx="12378">
                  <c:v>0</c:v>
                </c:pt>
                <c:pt idx="12379">
                  <c:v>0</c:v>
                </c:pt>
                <c:pt idx="12380">
                  <c:v>0</c:v>
                </c:pt>
                <c:pt idx="12381">
                  <c:v>0</c:v>
                </c:pt>
                <c:pt idx="12382">
                  <c:v>0</c:v>
                </c:pt>
                <c:pt idx="12383">
                  <c:v>0</c:v>
                </c:pt>
                <c:pt idx="12384">
                  <c:v>0</c:v>
                </c:pt>
                <c:pt idx="12385">
                  <c:v>0</c:v>
                </c:pt>
                <c:pt idx="12386">
                  <c:v>0</c:v>
                </c:pt>
                <c:pt idx="12387">
                  <c:v>0</c:v>
                </c:pt>
                <c:pt idx="12388">
                  <c:v>0</c:v>
                </c:pt>
                <c:pt idx="12389">
                  <c:v>0</c:v>
                </c:pt>
                <c:pt idx="12390">
                  <c:v>0</c:v>
                </c:pt>
                <c:pt idx="12391">
                  <c:v>0</c:v>
                </c:pt>
                <c:pt idx="12392">
                  <c:v>0</c:v>
                </c:pt>
                <c:pt idx="12393">
                  <c:v>0</c:v>
                </c:pt>
                <c:pt idx="12394">
                  <c:v>0</c:v>
                </c:pt>
                <c:pt idx="12395">
                  <c:v>0</c:v>
                </c:pt>
                <c:pt idx="12396">
                  <c:v>0</c:v>
                </c:pt>
                <c:pt idx="12397">
                  <c:v>0</c:v>
                </c:pt>
                <c:pt idx="12398">
                  <c:v>0</c:v>
                </c:pt>
                <c:pt idx="12399">
                  <c:v>0</c:v>
                </c:pt>
                <c:pt idx="12400">
                  <c:v>0</c:v>
                </c:pt>
                <c:pt idx="12401">
                  <c:v>0</c:v>
                </c:pt>
                <c:pt idx="12402">
                  <c:v>0</c:v>
                </c:pt>
                <c:pt idx="12403">
                  <c:v>0</c:v>
                </c:pt>
                <c:pt idx="12404">
                  <c:v>0</c:v>
                </c:pt>
                <c:pt idx="12405">
                  <c:v>0</c:v>
                </c:pt>
                <c:pt idx="12406">
                  <c:v>0</c:v>
                </c:pt>
                <c:pt idx="12407">
                  <c:v>0</c:v>
                </c:pt>
                <c:pt idx="12408">
                  <c:v>0</c:v>
                </c:pt>
                <c:pt idx="12409">
                  <c:v>0</c:v>
                </c:pt>
                <c:pt idx="12410">
                  <c:v>0</c:v>
                </c:pt>
                <c:pt idx="12411">
                  <c:v>0</c:v>
                </c:pt>
                <c:pt idx="12412">
                  <c:v>0</c:v>
                </c:pt>
                <c:pt idx="12413">
                  <c:v>0</c:v>
                </c:pt>
                <c:pt idx="12414">
                  <c:v>0</c:v>
                </c:pt>
                <c:pt idx="12415">
                  <c:v>0</c:v>
                </c:pt>
                <c:pt idx="12416">
                  <c:v>0</c:v>
                </c:pt>
                <c:pt idx="12417">
                  <c:v>0</c:v>
                </c:pt>
                <c:pt idx="12418">
                  <c:v>0</c:v>
                </c:pt>
                <c:pt idx="12419">
                  <c:v>0</c:v>
                </c:pt>
                <c:pt idx="12420">
                  <c:v>0</c:v>
                </c:pt>
                <c:pt idx="12421">
                  <c:v>0</c:v>
                </c:pt>
                <c:pt idx="12422">
                  <c:v>0</c:v>
                </c:pt>
                <c:pt idx="12423">
                  <c:v>0</c:v>
                </c:pt>
                <c:pt idx="12424">
                  <c:v>0</c:v>
                </c:pt>
                <c:pt idx="12425">
                  <c:v>0</c:v>
                </c:pt>
                <c:pt idx="12426">
                  <c:v>0</c:v>
                </c:pt>
                <c:pt idx="12427">
                  <c:v>2</c:v>
                </c:pt>
                <c:pt idx="12428">
                  <c:v>1</c:v>
                </c:pt>
                <c:pt idx="12429">
                  <c:v>0</c:v>
                </c:pt>
                <c:pt idx="12430">
                  <c:v>0</c:v>
                </c:pt>
                <c:pt idx="12431">
                  <c:v>0</c:v>
                </c:pt>
                <c:pt idx="12432">
                  <c:v>0</c:v>
                </c:pt>
                <c:pt idx="12433">
                  <c:v>0</c:v>
                </c:pt>
                <c:pt idx="12434">
                  <c:v>0</c:v>
                </c:pt>
                <c:pt idx="12435">
                  <c:v>0</c:v>
                </c:pt>
                <c:pt idx="12436">
                  <c:v>0</c:v>
                </c:pt>
                <c:pt idx="12437">
                  <c:v>0</c:v>
                </c:pt>
                <c:pt idx="12438">
                  <c:v>0</c:v>
                </c:pt>
                <c:pt idx="12439">
                  <c:v>0</c:v>
                </c:pt>
                <c:pt idx="12440">
                  <c:v>0</c:v>
                </c:pt>
                <c:pt idx="12441">
                  <c:v>0</c:v>
                </c:pt>
                <c:pt idx="12442">
                  <c:v>0</c:v>
                </c:pt>
                <c:pt idx="12443">
                  <c:v>5</c:v>
                </c:pt>
                <c:pt idx="12444">
                  <c:v>0</c:v>
                </c:pt>
                <c:pt idx="12445">
                  <c:v>0</c:v>
                </c:pt>
                <c:pt idx="12446">
                  <c:v>0</c:v>
                </c:pt>
                <c:pt idx="12447">
                  <c:v>0</c:v>
                </c:pt>
                <c:pt idx="12448">
                  <c:v>3</c:v>
                </c:pt>
                <c:pt idx="12449">
                  <c:v>1</c:v>
                </c:pt>
                <c:pt idx="12450">
                  <c:v>1</c:v>
                </c:pt>
                <c:pt idx="12451">
                  <c:v>0</c:v>
                </c:pt>
                <c:pt idx="12452">
                  <c:v>1</c:v>
                </c:pt>
                <c:pt idx="12453">
                  <c:v>0</c:v>
                </c:pt>
                <c:pt idx="12454">
                  <c:v>0</c:v>
                </c:pt>
                <c:pt idx="12455">
                  <c:v>0</c:v>
                </c:pt>
                <c:pt idx="12456">
                  <c:v>0</c:v>
                </c:pt>
                <c:pt idx="12457">
                  <c:v>0</c:v>
                </c:pt>
                <c:pt idx="12458">
                  <c:v>0</c:v>
                </c:pt>
                <c:pt idx="12459">
                  <c:v>0</c:v>
                </c:pt>
                <c:pt idx="12460">
                  <c:v>0</c:v>
                </c:pt>
                <c:pt idx="12461">
                  <c:v>2</c:v>
                </c:pt>
                <c:pt idx="12462">
                  <c:v>0</c:v>
                </c:pt>
                <c:pt idx="12463">
                  <c:v>0</c:v>
                </c:pt>
                <c:pt idx="12464">
                  <c:v>0</c:v>
                </c:pt>
                <c:pt idx="12465">
                  <c:v>0</c:v>
                </c:pt>
                <c:pt idx="12466">
                  <c:v>0</c:v>
                </c:pt>
                <c:pt idx="12467">
                  <c:v>0</c:v>
                </c:pt>
                <c:pt idx="12468">
                  <c:v>0</c:v>
                </c:pt>
                <c:pt idx="12469">
                  <c:v>0</c:v>
                </c:pt>
                <c:pt idx="12470">
                  <c:v>0</c:v>
                </c:pt>
                <c:pt idx="12471">
                  <c:v>2</c:v>
                </c:pt>
                <c:pt idx="12472">
                  <c:v>0</c:v>
                </c:pt>
                <c:pt idx="12473">
                  <c:v>0</c:v>
                </c:pt>
                <c:pt idx="12474">
                  <c:v>2</c:v>
                </c:pt>
                <c:pt idx="12475">
                  <c:v>0</c:v>
                </c:pt>
                <c:pt idx="12476">
                  <c:v>6</c:v>
                </c:pt>
                <c:pt idx="12477">
                  <c:v>0</c:v>
                </c:pt>
                <c:pt idx="12478">
                  <c:v>0</c:v>
                </c:pt>
                <c:pt idx="12479">
                  <c:v>0</c:v>
                </c:pt>
                <c:pt idx="12480">
                  <c:v>2</c:v>
                </c:pt>
                <c:pt idx="12481">
                  <c:v>4</c:v>
                </c:pt>
                <c:pt idx="12482">
                  <c:v>0</c:v>
                </c:pt>
                <c:pt idx="12483">
                  <c:v>0</c:v>
                </c:pt>
                <c:pt idx="12484">
                  <c:v>0</c:v>
                </c:pt>
                <c:pt idx="12485">
                  <c:v>3</c:v>
                </c:pt>
                <c:pt idx="12486">
                  <c:v>0</c:v>
                </c:pt>
                <c:pt idx="12487">
                  <c:v>0</c:v>
                </c:pt>
                <c:pt idx="12488">
                  <c:v>0</c:v>
                </c:pt>
                <c:pt idx="12489">
                  <c:v>0</c:v>
                </c:pt>
                <c:pt idx="12490">
                  <c:v>0</c:v>
                </c:pt>
                <c:pt idx="12491">
                  <c:v>1</c:v>
                </c:pt>
                <c:pt idx="12492">
                  <c:v>0</c:v>
                </c:pt>
                <c:pt idx="12493">
                  <c:v>0</c:v>
                </c:pt>
                <c:pt idx="12494">
                  <c:v>0</c:v>
                </c:pt>
                <c:pt idx="12495">
                  <c:v>0</c:v>
                </c:pt>
                <c:pt idx="12496">
                  <c:v>5</c:v>
                </c:pt>
                <c:pt idx="12497">
                  <c:v>0</c:v>
                </c:pt>
                <c:pt idx="12498">
                  <c:v>0</c:v>
                </c:pt>
                <c:pt idx="12499">
                  <c:v>0</c:v>
                </c:pt>
                <c:pt idx="12500">
                  <c:v>0</c:v>
                </c:pt>
                <c:pt idx="12501">
                  <c:v>0</c:v>
                </c:pt>
                <c:pt idx="12502">
                  <c:v>0</c:v>
                </c:pt>
                <c:pt idx="12503">
                  <c:v>7</c:v>
                </c:pt>
                <c:pt idx="12504">
                  <c:v>1</c:v>
                </c:pt>
                <c:pt idx="12505">
                  <c:v>0</c:v>
                </c:pt>
                <c:pt idx="12506">
                  <c:v>2</c:v>
                </c:pt>
                <c:pt idx="12507">
                  <c:v>0</c:v>
                </c:pt>
                <c:pt idx="12508">
                  <c:v>1</c:v>
                </c:pt>
                <c:pt idx="12509">
                  <c:v>2</c:v>
                </c:pt>
                <c:pt idx="12510">
                  <c:v>2</c:v>
                </c:pt>
                <c:pt idx="12511">
                  <c:v>0</c:v>
                </c:pt>
                <c:pt idx="12512">
                  <c:v>4</c:v>
                </c:pt>
                <c:pt idx="12513">
                  <c:v>0</c:v>
                </c:pt>
                <c:pt idx="12514">
                  <c:v>2</c:v>
                </c:pt>
                <c:pt idx="12515">
                  <c:v>0</c:v>
                </c:pt>
                <c:pt idx="12516">
                  <c:v>0</c:v>
                </c:pt>
                <c:pt idx="12517">
                  <c:v>0</c:v>
                </c:pt>
                <c:pt idx="12518">
                  <c:v>2</c:v>
                </c:pt>
                <c:pt idx="12519">
                  <c:v>0</c:v>
                </c:pt>
                <c:pt idx="12520">
                  <c:v>4</c:v>
                </c:pt>
                <c:pt idx="12521">
                  <c:v>2</c:v>
                </c:pt>
                <c:pt idx="12522">
                  <c:v>1</c:v>
                </c:pt>
                <c:pt idx="12523">
                  <c:v>0</c:v>
                </c:pt>
                <c:pt idx="12524">
                  <c:v>0</c:v>
                </c:pt>
                <c:pt idx="12525">
                  <c:v>2</c:v>
                </c:pt>
                <c:pt idx="12526">
                  <c:v>1</c:v>
                </c:pt>
                <c:pt idx="12527">
                  <c:v>1</c:v>
                </c:pt>
                <c:pt idx="12528">
                  <c:v>0</c:v>
                </c:pt>
                <c:pt idx="12529">
                  <c:v>0</c:v>
                </c:pt>
                <c:pt idx="12530">
                  <c:v>2</c:v>
                </c:pt>
                <c:pt idx="12531">
                  <c:v>6</c:v>
                </c:pt>
                <c:pt idx="12532">
                  <c:v>4</c:v>
                </c:pt>
                <c:pt idx="12533">
                  <c:v>0</c:v>
                </c:pt>
                <c:pt idx="12534">
                  <c:v>0</c:v>
                </c:pt>
                <c:pt idx="12535">
                  <c:v>2</c:v>
                </c:pt>
                <c:pt idx="12536">
                  <c:v>0</c:v>
                </c:pt>
                <c:pt idx="12537">
                  <c:v>2</c:v>
                </c:pt>
                <c:pt idx="12538">
                  <c:v>6</c:v>
                </c:pt>
                <c:pt idx="12539">
                  <c:v>0</c:v>
                </c:pt>
                <c:pt idx="12540">
                  <c:v>3</c:v>
                </c:pt>
                <c:pt idx="12541">
                  <c:v>5</c:v>
                </c:pt>
                <c:pt idx="12542">
                  <c:v>0</c:v>
                </c:pt>
                <c:pt idx="12543">
                  <c:v>6</c:v>
                </c:pt>
                <c:pt idx="12544">
                  <c:v>4</c:v>
                </c:pt>
                <c:pt idx="12545">
                  <c:v>0</c:v>
                </c:pt>
                <c:pt idx="12546">
                  <c:v>1</c:v>
                </c:pt>
                <c:pt idx="12547">
                  <c:v>0</c:v>
                </c:pt>
                <c:pt idx="12548">
                  <c:v>1</c:v>
                </c:pt>
                <c:pt idx="12549">
                  <c:v>0</c:v>
                </c:pt>
                <c:pt idx="12550">
                  <c:v>0</c:v>
                </c:pt>
                <c:pt idx="12551">
                  <c:v>0</c:v>
                </c:pt>
                <c:pt idx="12552">
                  <c:v>0</c:v>
                </c:pt>
                <c:pt idx="12553">
                  <c:v>2</c:v>
                </c:pt>
                <c:pt idx="12554">
                  <c:v>2</c:v>
                </c:pt>
                <c:pt idx="12555">
                  <c:v>3</c:v>
                </c:pt>
                <c:pt idx="12556">
                  <c:v>0</c:v>
                </c:pt>
                <c:pt idx="12557">
                  <c:v>0</c:v>
                </c:pt>
                <c:pt idx="12558">
                  <c:v>0</c:v>
                </c:pt>
                <c:pt idx="12559">
                  <c:v>0</c:v>
                </c:pt>
                <c:pt idx="12560">
                  <c:v>0</c:v>
                </c:pt>
                <c:pt idx="12561">
                  <c:v>1</c:v>
                </c:pt>
                <c:pt idx="12562">
                  <c:v>8</c:v>
                </c:pt>
                <c:pt idx="12563">
                  <c:v>2</c:v>
                </c:pt>
                <c:pt idx="12564">
                  <c:v>0</c:v>
                </c:pt>
                <c:pt idx="12565">
                  <c:v>0</c:v>
                </c:pt>
                <c:pt idx="12566">
                  <c:v>0</c:v>
                </c:pt>
                <c:pt idx="12567">
                  <c:v>0</c:v>
                </c:pt>
                <c:pt idx="12568">
                  <c:v>0</c:v>
                </c:pt>
                <c:pt idx="12569">
                  <c:v>3</c:v>
                </c:pt>
                <c:pt idx="12570">
                  <c:v>0</c:v>
                </c:pt>
                <c:pt idx="12571">
                  <c:v>0</c:v>
                </c:pt>
                <c:pt idx="12572">
                  <c:v>0</c:v>
                </c:pt>
                <c:pt idx="12573">
                  <c:v>1</c:v>
                </c:pt>
                <c:pt idx="12574">
                  <c:v>0</c:v>
                </c:pt>
                <c:pt idx="12575">
                  <c:v>0</c:v>
                </c:pt>
                <c:pt idx="12576">
                  <c:v>1</c:v>
                </c:pt>
                <c:pt idx="12577">
                  <c:v>0</c:v>
                </c:pt>
                <c:pt idx="12578">
                  <c:v>0</c:v>
                </c:pt>
                <c:pt idx="12579">
                  <c:v>2</c:v>
                </c:pt>
                <c:pt idx="12580">
                  <c:v>0</c:v>
                </c:pt>
                <c:pt idx="12581">
                  <c:v>2</c:v>
                </c:pt>
                <c:pt idx="12582">
                  <c:v>0</c:v>
                </c:pt>
                <c:pt idx="12583">
                  <c:v>0</c:v>
                </c:pt>
                <c:pt idx="12584">
                  <c:v>0</c:v>
                </c:pt>
                <c:pt idx="12585">
                  <c:v>0</c:v>
                </c:pt>
                <c:pt idx="12586">
                  <c:v>0</c:v>
                </c:pt>
                <c:pt idx="12587">
                  <c:v>0</c:v>
                </c:pt>
                <c:pt idx="12588">
                  <c:v>0</c:v>
                </c:pt>
                <c:pt idx="12589">
                  <c:v>4</c:v>
                </c:pt>
                <c:pt idx="12590">
                  <c:v>2</c:v>
                </c:pt>
                <c:pt idx="12591">
                  <c:v>0</c:v>
                </c:pt>
                <c:pt idx="12592">
                  <c:v>0</c:v>
                </c:pt>
                <c:pt idx="12593">
                  <c:v>2</c:v>
                </c:pt>
                <c:pt idx="12594">
                  <c:v>1</c:v>
                </c:pt>
                <c:pt idx="12595">
                  <c:v>1</c:v>
                </c:pt>
                <c:pt idx="12596">
                  <c:v>0</c:v>
                </c:pt>
                <c:pt idx="12597">
                  <c:v>1</c:v>
                </c:pt>
                <c:pt idx="12598">
                  <c:v>0</c:v>
                </c:pt>
                <c:pt idx="12599">
                  <c:v>2</c:v>
                </c:pt>
                <c:pt idx="12600">
                  <c:v>0</c:v>
                </c:pt>
                <c:pt idx="12601">
                  <c:v>0</c:v>
                </c:pt>
                <c:pt idx="12602">
                  <c:v>3</c:v>
                </c:pt>
                <c:pt idx="12603">
                  <c:v>0</c:v>
                </c:pt>
                <c:pt idx="12604">
                  <c:v>0</c:v>
                </c:pt>
                <c:pt idx="12605">
                  <c:v>0</c:v>
                </c:pt>
                <c:pt idx="12606">
                  <c:v>0</c:v>
                </c:pt>
                <c:pt idx="12607">
                  <c:v>0</c:v>
                </c:pt>
                <c:pt idx="12608">
                  <c:v>1</c:v>
                </c:pt>
                <c:pt idx="12609">
                  <c:v>0</c:v>
                </c:pt>
                <c:pt idx="12610">
                  <c:v>0</c:v>
                </c:pt>
                <c:pt idx="12611">
                  <c:v>0</c:v>
                </c:pt>
                <c:pt idx="12612">
                  <c:v>0</c:v>
                </c:pt>
                <c:pt idx="12613">
                  <c:v>0</c:v>
                </c:pt>
                <c:pt idx="12614">
                  <c:v>0</c:v>
                </c:pt>
                <c:pt idx="12615">
                  <c:v>0</c:v>
                </c:pt>
                <c:pt idx="12616">
                  <c:v>2</c:v>
                </c:pt>
                <c:pt idx="12617">
                  <c:v>0</c:v>
                </c:pt>
                <c:pt idx="12618">
                  <c:v>0</c:v>
                </c:pt>
                <c:pt idx="12619">
                  <c:v>0</c:v>
                </c:pt>
                <c:pt idx="12620">
                  <c:v>0</c:v>
                </c:pt>
                <c:pt idx="12621">
                  <c:v>0</c:v>
                </c:pt>
                <c:pt idx="12622">
                  <c:v>0</c:v>
                </c:pt>
                <c:pt idx="12623">
                  <c:v>0</c:v>
                </c:pt>
                <c:pt idx="12624">
                  <c:v>0</c:v>
                </c:pt>
                <c:pt idx="12625">
                  <c:v>0</c:v>
                </c:pt>
                <c:pt idx="12626">
                  <c:v>0</c:v>
                </c:pt>
                <c:pt idx="12627">
                  <c:v>0</c:v>
                </c:pt>
                <c:pt idx="12628">
                  <c:v>0</c:v>
                </c:pt>
                <c:pt idx="12629">
                  <c:v>0</c:v>
                </c:pt>
                <c:pt idx="12630">
                  <c:v>0</c:v>
                </c:pt>
                <c:pt idx="12631">
                  <c:v>0</c:v>
                </c:pt>
                <c:pt idx="12632">
                  <c:v>0</c:v>
                </c:pt>
                <c:pt idx="12633">
                  <c:v>0</c:v>
                </c:pt>
                <c:pt idx="12634">
                  <c:v>0</c:v>
                </c:pt>
                <c:pt idx="12635">
                  <c:v>3</c:v>
                </c:pt>
                <c:pt idx="12636">
                  <c:v>0</c:v>
                </c:pt>
                <c:pt idx="12637">
                  <c:v>0</c:v>
                </c:pt>
                <c:pt idx="12638">
                  <c:v>0</c:v>
                </c:pt>
                <c:pt idx="12639">
                  <c:v>0</c:v>
                </c:pt>
                <c:pt idx="12640">
                  <c:v>0</c:v>
                </c:pt>
                <c:pt idx="12641">
                  <c:v>0</c:v>
                </c:pt>
                <c:pt idx="12642">
                  <c:v>0</c:v>
                </c:pt>
                <c:pt idx="12643">
                  <c:v>0</c:v>
                </c:pt>
                <c:pt idx="12644">
                  <c:v>0</c:v>
                </c:pt>
                <c:pt idx="12645">
                  <c:v>0</c:v>
                </c:pt>
                <c:pt idx="12646">
                  <c:v>0</c:v>
                </c:pt>
                <c:pt idx="12647">
                  <c:v>1</c:v>
                </c:pt>
                <c:pt idx="12648">
                  <c:v>3</c:v>
                </c:pt>
                <c:pt idx="12649">
                  <c:v>0</c:v>
                </c:pt>
                <c:pt idx="12650">
                  <c:v>0</c:v>
                </c:pt>
                <c:pt idx="12651">
                  <c:v>0</c:v>
                </c:pt>
                <c:pt idx="12652">
                  <c:v>0</c:v>
                </c:pt>
                <c:pt idx="12653">
                  <c:v>0</c:v>
                </c:pt>
                <c:pt idx="12654">
                  <c:v>0</c:v>
                </c:pt>
                <c:pt idx="12655">
                  <c:v>0</c:v>
                </c:pt>
                <c:pt idx="12656">
                  <c:v>0</c:v>
                </c:pt>
                <c:pt idx="12657">
                  <c:v>0</c:v>
                </c:pt>
                <c:pt idx="12658">
                  <c:v>0</c:v>
                </c:pt>
                <c:pt idx="12659">
                  <c:v>0</c:v>
                </c:pt>
                <c:pt idx="12660">
                  <c:v>3</c:v>
                </c:pt>
                <c:pt idx="12661">
                  <c:v>3</c:v>
                </c:pt>
                <c:pt idx="12662">
                  <c:v>1</c:v>
                </c:pt>
                <c:pt idx="12663">
                  <c:v>1</c:v>
                </c:pt>
                <c:pt idx="12664">
                  <c:v>0</c:v>
                </c:pt>
                <c:pt idx="12665">
                  <c:v>0</c:v>
                </c:pt>
                <c:pt idx="12666">
                  <c:v>0</c:v>
                </c:pt>
                <c:pt idx="12667">
                  <c:v>0</c:v>
                </c:pt>
                <c:pt idx="12668">
                  <c:v>0</c:v>
                </c:pt>
                <c:pt idx="12669">
                  <c:v>0</c:v>
                </c:pt>
                <c:pt idx="12670">
                  <c:v>0</c:v>
                </c:pt>
                <c:pt idx="12671">
                  <c:v>0</c:v>
                </c:pt>
                <c:pt idx="12672">
                  <c:v>0</c:v>
                </c:pt>
                <c:pt idx="12673">
                  <c:v>0</c:v>
                </c:pt>
                <c:pt idx="12674">
                  <c:v>0</c:v>
                </c:pt>
                <c:pt idx="12675">
                  <c:v>0</c:v>
                </c:pt>
                <c:pt idx="12676">
                  <c:v>1</c:v>
                </c:pt>
                <c:pt idx="12677">
                  <c:v>0</c:v>
                </c:pt>
                <c:pt idx="12678">
                  <c:v>0</c:v>
                </c:pt>
                <c:pt idx="12679">
                  <c:v>0</c:v>
                </c:pt>
                <c:pt idx="12680">
                  <c:v>0</c:v>
                </c:pt>
                <c:pt idx="12681">
                  <c:v>0</c:v>
                </c:pt>
                <c:pt idx="12682">
                  <c:v>0</c:v>
                </c:pt>
                <c:pt idx="12683">
                  <c:v>2</c:v>
                </c:pt>
                <c:pt idx="12684">
                  <c:v>0</c:v>
                </c:pt>
                <c:pt idx="12685">
                  <c:v>0</c:v>
                </c:pt>
                <c:pt idx="12686">
                  <c:v>0</c:v>
                </c:pt>
                <c:pt idx="12687">
                  <c:v>0</c:v>
                </c:pt>
                <c:pt idx="12688">
                  <c:v>0</c:v>
                </c:pt>
                <c:pt idx="12689">
                  <c:v>0</c:v>
                </c:pt>
                <c:pt idx="12690">
                  <c:v>0</c:v>
                </c:pt>
                <c:pt idx="12691">
                  <c:v>0</c:v>
                </c:pt>
                <c:pt idx="12692">
                  <c:v>0</c:v>
                </c:pt>
                <c:pt idx="12693">
                  <c:v>0</c:v>
                </c:pt>
                <c:pt idx="12694">
                  <c:v>1</c:v>
                </c:pt>
                <c:pt idx="12695">
                  <c:v>1</c:v>
                </c:pt>
                <c:pt idx="12696">
                  <c:v>0</c:v>
                </c:pt>
                <c:pt idx="12697">
                  <c:v>0</c:v>
                </c:pt>
                <c:pt idx="12698">
                  <c:v>0</c:v>
                </c:pt>
                <c:pt idx="12699">
                  <c:v>0</c:v>
                </c:pt>
                <c:pt idx="12700">
                  <c:v>0</c:v>
                </c:pt>
                <c:pt idx="12701">
                  <c:v>0</c:v>
                </c:pt>
                <c:pt idx="12702">
                  <c:v>0</c:v>
                </c:pt>
                <c:pt idx="12703">
                  <c:v>0</c:v>
                </c:pt>
                <c:pt idx="12704">
                  <c:v>0</c:v>
                </c:pt>
                <c:pt idx="12705">
                  <c:v>1</c:v>
                </c:pt>
                <c:pt idx="12706">
                  <c:v>0</c:v>
                </c:pt>
                <c:pt idx="12707">
                  <c:v>0</c:v>
                </c:pt>
                <c:pt idx="12708">
                  <c:v>0</c:v>
                </c:pt>
                <c:pt idx="12709">
                  <c:v>0</c:v>
                </c:pt>
                <c:pt idx="12710">
                  <c:v>0</c:v>
                </c:pt>
                <c:pt idx="12711">
                  <c:v>0</c:v>
                </c:pt>
                <c:pt idx="12712">
                  <c:v>0</c:v>
                </c:pt>
                <c:pt idx="12713">
                  <c:v>0</c:v>
                </c:pt>
                <c:pt idx="12714">
                  <c:v>0</c:v>
                </c:pt>
                <c:pt idx="12715">
                  <c:v>0</c:v>
                </c:pt>
                <c:pt idx="12716">
                  <c:v>0</c:v>
                </c:pt>
                <c:pt idx="12717">
                  <c:v>0</c:v>
                </c:pt>
                <c:pt idx="12718">
                  <c:v>2</c:v>
                </c:pt>
                <c:pt idx="12719">
                  <c:v>0</c:v>
                </c:pt>
                <c:pt idx="12720">
                  <c:v>0</c:v>
                </c:pt>
                <c:pt idx="12721">
                  <c:v>0</c:v>
                </c:pt>
                <c:pt idx="12722">
                  <c:v>1</c:v>
                </c:pt>
                <c:pt idx="12723">
                  <c:v>0</c:v>
                </c:pt>
                <c:pt idx="12724">
                  <c:v>0</c:v>
                </c:pt>
                <c:pt idx="12725">
                  <c:v>0</c:v>
                </c:pt>
                <c:pt idx="12726">
                  <c:v>0</c:v>
                </c:pt>
                <c:pt idx="12727">
                  <c:v>0</c:v>
                </c:pt>
                <c:pt idx="12728">
                  <c:v>0</c:v>
                </c:pt>
                <c:pt idx="12729">
                  <c:v>0</c:v>
                </c:pt>
                <c:pt idx="12730">
                  <c:v>0</c:v>
                </c:pt>
                <c:pt idx="12731">
                  <c:v>0</c:v>
                </c:pt>
                <c:pt idx="12732">
                  <c:v>1</c:v>
                </c:pt>
                <c:pt idx="12733">
                  <c:v>0</c:v>
                </c:pt>
                <c:pt idx="12734">
                  <c:v>0</c:v>
                </c:pt>
                <c:pt idx="12735">
                  <c:v>4</c:v>
                </c:pt>
                <c:pt idx="12736">
                  <c:v>7</c:v>
                </c:pt>
                <c:pt idx="12737">
                  <c:v>0</c:v>
                </c:pt>
                <c:pt idx="12738">
                  <c:v>0</c:v>
                </c:pt>
                <c:pt idx="12739">
                  <c:v>0</c:v>
                </c:pt>
                <c:pt idx="12740">
                  <c:v>0</c:v>
                </c:pt>
                <c:pt idx="12741">
                  <c:v>1</c:v>
                </c:pt>
                <c:pt idx="12742">
                  <c:v>0</c:v>
                </c:pt>
                <c:pt idx="12743">
                  <c:v>0</c:v>
                </c:pt>
                <c:pt idx="12744">
                  <c:v>0</c:v>
                </c:pt>
                <c:pt idx="12745">
                  <c:v>0</c:v>
                </c:pt>
                <c:pt idx="12746">
                  <c:v>0</c:v>
                </c:pt>
                <c:pt idx="12747">
                  <c:v>0</c:v>
                </c:pt>
                <c:pt idx="12748">
                  <c:v>0</c:v>
                </c:pt>
                <c:pt idx="12749">
                  <c:v>0</c:v>
                </c:pt>
                <c:pt idx="12750">
                  <c:v>0</c:v>
                </c:pt>
                <c:pt idx="12751">
                  <c:v>0</c:v>
                </c:pt>
                <c:pt idx="12752">
                  <c:v>0</c:v>
                </c:pt>
                <c:pt idx="12753">
                  <c:v>0</c:v>
                </c:pt>
                <c:pt idx="12754">
                  <c:v>0</c:v>
                </c:pt>
                <c:pt idx="12755">
                  <c:v>0</c:v>
                </c:pt>
                <c:pt idx="12756">
                  <c:v>0</c:v>
                </c:pt>
                <c:pt idx="12757">
                  <c:v>0</c:v>
                </c:pt>
                <c:pt idx="12758">
                  <c:v>0</c:v>
                </c:pt>
                <c:pt idx="12759">
                  <c:v>0</c:v>
                </c:pt>
                <c:pt idx="12760">
                  <c:v>0</c:v>
                </c:pt>
                <c:pt idx="12761">
                  <c:v>0</c:v>
                </c:pt>
                <c:pt idx="12762">
                  <c:v>0</c:v>
                </c:pt>
                <c:pt idx="12763">
                  <c:v>0</c:v>
                </c:pt>
                <c:pt idx="12764">
                  <c:v>0</c:v>
                </c:pt>
                <c:pt idx="12765">
                  <c:v>0</c:v>
                </c:pt>
                <c:pt idx="12766">
                  <c:v>0</c:v>
                </c:pt>
                <c:pt idx="12767">
                  <c:v>0</c:v>
                </c:pt>
                <c:pt idx="12768">
                  <c:v>0</c:v>
                </c:pt>
                <c:pt idx="12769">
                  <c:v>0</c:v>
                </c:pt>
                <c:pt idx="12770">
                  <c:v>0</c:v>
                </c:pt>
                <c:pt idx="12771">
                  <c:v>0</c:v>
                </c:pt>
                <c:pt idx="12772">
                  <c:v>0</c:v>
                </c:pt>
                <c:pt idx="12773">
                  <c:v>0</c:v>
                </c:pt>
                <c:pt idx="12774">
                  <c:v>0</c:v>
                </c:pt>
                <c:pt idx="12775">
                  <c:v>0</c:v>
                </c:pt>
                <c:pt idx="12776">
                  <c:v>0</c:v>
                </c:pt>
                <c:pt idx="12777">
                  <c:v>0</c:v>
                </c:pt>
                <c:pt idx="12778">
                  <c:v>0</c:v>
                </c:pt>
                <c:pt idx="12779">
                  <c:v>0</c:v>
                </c:pt>
                <c:pt idx="12780">
                  <c:v>3</c:v>
                </c:pt>
                <c:pt idx="12781">
                  <c:v>0</c:v>
                </c:pt>
                <c:pt idx="12782">
                  <c:v>0</c:v>
                </c:pt>
                <c:pt idx="12783">
                  <c:v>0</c:v>
                </c:pt>
                <c:pt idx="12784">
                  <c:v>0</c:v>
                </c:pt>
                <c:pt idx="12785">
                  <c:v>0</c:v>
                </c:pt>
                <c:pt idx="12786">
                  <c:v>0</c:v>
                </c:pt>
                <c:pt idx="12787">
                  <c:v>0</c:v>
                </c:pt>
                <c:pt idx="12788">
                  <c:v>0</c:v>
                </c:pt>
                <c:pt idx="12789">
                  <c:v>0</c:v>
                </c:pt>
                <c:pt idx="12790">
                  <c:v>0</c:v>
                </c:pt>
                <c:pt idx="12791">
                  <c:v>0</c:v>
                </c:pt>
                <c:pt idx="12792">
                  <c:v>0</c:v>
                </c:pt>
                <c:pt idx="12793">
                  <c:v>3</c:v>
                </c:pt>
                <c:pt idx="12794">
                  <c:v>0</c:v>
                </c:pt>
                <c:pt idx="12795">
                  <c:v>1</c:v>
                </c:pt>
                <c:pt idx="12796">
                  <c:v>1</c:v>
                </c:pt>
                <c:pt idx="12797">
                  <c:v>1</c:v>
                </c:pt>
                <c:pt idx="12798">
                  <c:v>0</c:v>
                </c:pt>
                <c:pt idx="12799">
                  <c:v>1</c:v>
                </c:pt>
                <c:pt idx="12800">
                  <c:v>0</c:v>
                </c:pt>
                <c:pt idx="12801">
                  <c:v>3</c:v>
                </c:pt>
                <c:pt idx="12802">
                  <c:v>2</c:v>
                </c:pt>
                <c:pt idx="12803">
                  <c:v>2</c:v>
                </c:pt>
                <c:pt idx="12804">
                  <c:v>2</c:v>
                </c:pt>
                <c:pt idx="12805">
                  <c:v>0</c:v>
                </c:pt>
                <c:pt idx="12806">
                  <c:v>1</c:v>
                </c:pt>
                <c:pt idx="12807">
                  <c:v>0</c:v>
                </c:pt>
                <c:pt idx="12808">
                  <c:v>0</c:v>
                </c:pt>
                <c:pt idx="12809">
                  <c:v>0</c:v>
                </c:pt>
                <c:pt idx="12810">
                  <c:v>3</c:v>
                </c:pt>
                <c:pt idx="12811">
                  <c:v>3</c:v>
                </c:pt>
                <c:pt idx="12812">
                  <c:v>8</c:v>
                </c:pt>
                <c:pt idx="12813">
                  <c:v>0</c:v>
                </c:pt>
                <c:pt idx="12814">
                  <c:v>0</c:v>
                </c:pt>
                <c:pt idx="12815">
                  <c:v>0</c:v>
                </c:pt>
                <c:pt idx="12816">
                  <c:v>0</c:v>
                </c:pt>
                <c:pt idx="12817">
                  <c:v>0</c:v>
                </c:pt>
                <c:pt idx="12818">
                  <c:v>0</c:v>
                </c:pt>
                <c:pt idx="12819">
                  <c:v>5</c:v>
                </c:pt>
                <c:pt idx="12820">
                  <c:v>0</c:v>
                </c:pt>
                <c:pt idx="12821">
                  <c:v>0</c:v>
                </c:pt>
                <c:pt idx="12822">
                  <c:v>2</c:v>
                </c:pt>
                <c:pt idx="12823">
                  <c:v>1</c:v>
                </c:pt>
                <c:pt idx="12824">
                  <c:v>0</c:v>
                </c:pt>
                <c:pt idx="12825">
                  <c:v>0</c:v>
                </c:pt>
                <c:pt idx="12826">
                  <c:v>8</c:v>
                </c:pt>
                <c:pt idx="12827">
                  <c:v>0</c:v>
                </c:pt>
                <c:pt idx="12828">
                  <c:v>0</c:v>
                </c:pt>
                <c:pt idx="12829">
                  <c:v>1</c:v>
                </c:pt>
                <c:pt idx="12830">
                  <c:v>0</c:v>
                </c:pt>
                <c:pt idx="12831">
                  <c:v>0</c:v>
                </c:pt>
                <c:pt idx="12832">
                  <c:v>0</c:v>
                </c:pt>
                <c:pt idx="12833">
                  <c:v>0</c:v>
                </c:pt>
                <c:pt idx="12834">
                  <c:v>0</c:v>
                </c:pt>
                <c:pt idx="12835">
                  <c:v>0</c:v>
                </c:pt>
                <c:pt idx="12836">
                  <c:v>0</c:v>
                </c:pt>
                <c:pt idx="12837">
                  <c:v>0</c:v>
                </c:pt>
                <c:pt idx="12838">
                  <c:v>0</c:v>
                </c:pt>
                <c:pt idx="12839">
                  <c:v>0</c:v>
                </c:pt>
                <c:pt idx="12840">
                  <c:v>0</c:v>
                </c:pt>
                <c:pt idx="12841">
                  <c:v>0</c:v>
                </c:pt>
                <c:pt idx="12842">
                  <c:v>0</c:v>
                </c:pt>
                <c:pt idx="12843">
                  <c:v>0</c:v>
                </c:pt>
                <c:pt idx="12844">
                  <c:v>0</c:v>
                </c:pt>
                <c:pt idx="12845">
                  <c:v>2</c:v>
                </c:pt>
                <c:pt idx="12846">
                  <c:v>0</c:v>
                </c:pt>
                <c:pt idx="12847">
                  <c:v>0</c:v>
                </c:pt>
                <c:pt idx="12848">
                  <c:v>0</c:v>
                </c:pt>
                <c:pt idx="12849">
                  <c:v>0</c:v>
                </c:pt>
                <c:pt idx="12850">
                  <c:v>3</c:v>
                </c:pt>
                <c:pt idx="12851">
                  <c:v>0</c:v>
                </c:pt>
                <c:pt idx="12852">
                  <c:v>0</c:v>
                </c:pt>
                <c:pt idx="12853">
                  <c:v>1</c:v>
                </c:pt>
                <c:pt idx="12854">
                  <c:v>0</c:v>
                </c:pt>
                <c:pt idx="12855">
                  <c:v>0</c:v>
                </c:pt>
                <c:pt idx="12856">
                  <c:v>0</c:v>
                </c:pt>
                <c:pt idx="12857">
                  <c:v>0</c:v>
                </c:pt>
                <c:pt idx="12858">
                  <c:v>0</c:v>
                </c:pt>
                <c:pt idx="12859">
                  <c:v>0</c:v>
                </c:pt>
                <c:pt idx="12860">
                  <c:v>0</c:v>
                </c:pt>
                <c:pt idx="12861">
                  <c:v>0</c:v>
                </c:pt>
                <c:pt idx="12862">
                  <c:v>0</c:v>
                </c:pt>
                <c:pt idx="12863">
                  <c:v>0</c:v>
                </c:pt>
                <c:pt idx="12864">
                  <c:v>0</c:v>
                </c:pt>
                <c:pt idx="12865">
                  <c:v>0</c:v>
                </c:pt>
                <c:pt idx="12866">
                  <c:v>0</c:v>
                </c:pt>
                <c:pt idx="12867">
                  <c:v>0</c:v>
                </c:pt>
                <c:pt idx="12868">
                  <c:v>1</c:v>
                </c:pt>
                <c:pt idx="12869">
                  <c:v>6</c:v>
                </c:pt>
                <c:pt idx="12870">
                  <c:v>0</c:v>
                </c:pt>
                <c:pt idx="12871">
                  <c:v>0</c:v>
                </c:pt>
                <c:pt idx="12872">
                  <c:v>0</c:v>
                </c:pt>
                <c:pt idx="12873">
                  <c:v>0</c:v>
                </c:pt>
                <c:pt idx="12874">
                  <c:v>1</c:v>
                </c:pt>
                <c:pt idx="12875">
                  <c:v>3</c:v>
                </c:pt>
                <c:pt idx="12876">
                  <c:v>7</c:v>
                </c:pt>
                <c:pt idx="12877">
                  <c:v>2</c:v>
                </c:pt>
                <c:pt idx="12878">
                  <c:v>0</c:v>
                </c:pt>
                <c:pt idx="12879">
                  <c:v>0</c:v>
                </c:pt>
                <c:pt idx="12880">
                  <c:v>0</c:v>
                </c:pt>
                <c:pt idx="12881">
                  <c:v>0</c:v>
                </c:pt>
                <c:pt idx="12882">
                  <c:v>0</c:v>
                </c:pt>
                <c:pt idx="12883">
                  <c:v>0</c:v>
                </c:pt>
                <c:pt idx="12884">
                  <c:v>0</c:v>
                </c:pt>
                <c:pt idx="12885">
                  <c:v>9</c:v>
                </c:pt>
                <c:pt idx="12886">
                  <c:v>0</c:v>
                </c:pt>
                <c:pt idx="12887">
                  <c:v>0</c:v>
                </c:pt>
                <c:pt idx="12888">
                  <c:v>0</c:v>
                </c:pt>
                <c:pt idx="12889">
                  <c:v>0</c:v>
                </c:pt>
                <c:pt idx="12890">
                  <c:v>2</c:v>
                </c:pt>
                <c:pt idx="12891">
                  <c:v>1</c:v>
                </c:pt>
                <c:pt idx="12892">
                  <c:v>0</c:v>
                </c:pt>
                <c:pt idx="12893">
                  <c:v>0</c:v>
                </c:pt>
                <c:pt idx="12894">
                  <c:v>1</c:v>
                </c:pt>
                <c:pt idx="12895">
                  <c:v>0</c:v>
                </c:pt>
                <c:pt idx="12896">
                  <c:v>0</c:v>
                </c:pt>
                <c:pt idx="12897">
                  <c:v>6</c:v>
                </c:pt>
                <c:pt idx="12898">
                  <c:v>0</c:v>
                </c:pt>
                <c:pt idx="12899">
                  <c:v>2</c:v>
                </c:pt>
                <c:pt idx="12900">
                  <c:v>0</c:v>
                </c:pt>
                <c:pt idx="12901">
                  <c:v>1</c:v>
                </c:pt>
                <c:pt idx="12902">
                  <c:v>2</c:v>
                </c:pt>
                <c:pt idx="12903">
                  <c:v>1</c:v>
                </c:pt>
                <c:pt idx="12904">
                  <c:v>4</c:v>
                </c:pt>
                <c:pt idx="12905">
                  <c:v>0</c:v>
                </c:pt>
                <c:pt idx="12906">
                  <c:v>2</c:v>
                </c:pt>
                <c:pt idx="12907">
                  <c:v>2</c:v>
                </c:pt>
                <c:pt idx="12908">
                  <c:v>2</c:v>
                </c:pt>
                <c:pt idx="12909">
                  <c:v>3</c:v>
                </c:pt>
                <c:pt idx="12910">
                  <c:v>2</c:v>
                </c:pt>
                <c:pt idx="12911">
                  <c:v>2</c:v>
                </c:pt>
                <c:pt idx="12912">
                  <c:v>0</c:v>
                </c:pt>
                <c:pt idx="12913">
                  <c:v>4</c:v>
                </c:pt>
                <c:pt idx="12914">
                  <c:v>0</c:v>
                </c:pt>
                <c:pt idx="12915">
                  <c:v>0</c:v>
                </c:pt>
                <c:pt idx="12916">
                  <c:v>0</c:v>
                </c:pt>
                <c:pt idx="12917">
                  <c:v>0</c:v>
                </c:pt>
                <c:pt idx="12918">
                  <c:v>1</c:v>
                </c:pt>
                <c:pt idx="12919">
                  <c:v>0</c:v>
                </c:pt>
                <c:pt idx="12920">
                  <c:v>0</c:v>
                </c:pt>
                <c:pt idx="12921">
                  <c:v>0</c:v>
                </c:pt>
                <c:pt idx="12922">
                  <c:v>0</c:v>
                </c:pt>
                <c:pt idx="12923">
                  <c:v>0</c:v>
                </c:pt>
                <c:pt idx="12924">
                  <c:v>0</c:v>
                </c:pt>
                <c:pt idx="12925">
                  <c:v>0</c:v>
                </c:pt>
                <c:pt idx="12926">
                  <c:v>0</c:v>
                </c:pt>
                <c:pt idx="12927">
                  <c:v>1</c:v>
                </c:pt>
                <c:pt idx="12928">
                  <c:v>0</c:v>
                </c:pt>
                <c:pt idx="12929">
                  <c:v>0</c:v>
                </c:pt>
                <c:pt idx="12930">
                  <c:v>0</c:v>
                </c:pt>
                <c:pt idx="12931">
                  <c:v>0</c:v>
                </c:pt>
                <c:pt idx="12932">
                  <c:v>0</c:v>
                </c:pt>
                <c:pt idx="12933">
                  <c:v>0</c:v>
                </c:pt>
                <c:pt idx="12934">
                  <c:v>0</c:v>
                </c:pt>
                <c:pt idx="12935">
                  <c:v>0</c:v>
                </c:pt>
                <c:pt idx="12936">
                  <c:v>3</c:v>
                </c:pt>
                <c:pt idx="12937">
                  <c:v>0</c:v>
                </c:pt>
                <c:pt idx="12938">
                  <c:v>0</c:v>
                </c:pt>
                <c:pt idx="12939">
                  <c:v>0</c:v>
                </c:pt>
                <c:pt idx="12940">
                  <c:v>0</c:v>
                </c:pt>
                <c:pt idx="12941">
                  <c:v>0</c:v>
                </c:pt>
                <c:pt idx="12942">
                  <c:v>0</c:v>
                </c:pt>
                <c:pt idx="12943">
                  <c:v>0</c:v>
                </c:pt>
                <c:pt idx="12944">
                  <c:v>0</c:v>
                </c:pt>
                <c:pt idx="12945">
                  <c:v>0</c:v>
                </c:pt>
                <c:pt idx="12946">
                  <c:v>0</c:v>
                </c:pt>
                <c:pt idx="12947">
                  <c:v>0</c:v>
                </c:pt>
                <c:pt idx="12948">
                  <c:v>0</c:v>
                </c:pt>
                <c:pt idx="12949">
                  <c:v>0</c:v>
                </c:pt>
                <c:pt idx="12950">
                  <c:v>0</c:v>
                </c:pt>
                <c:pt idx="12951">
                  <c:v>0</c:v>
                </c:pt>
                <c:pt idx="12952">
                  <c:v>0</c:v>
                </c:pt>
                <c:pt idx="12953">
                  <c:v>3</c:v>
                </c:pt>
                <c:pt idx="12954">
                  <c:v>0</c:v>
                </c:pt>
                <c:pt idx="12955">
                  <c:v>0</c:v>
                </c:pt>
                <c:pt idx="12956">
                  <c:v>0</c:v>
                </c:pt>
                <c:pt idx="12957">
                  <c:v>0</c:v>
                </c:pt>
                <c:pt idx="12958">
                  <c:v>0</c:v>
                </c:pt>
                <c:pt idx="12959">
                  <c:v>0</c:v>
                </c:pt>
                <c:pt idx="12960">
                  <c:v>0</c:v>
                </c:pt>
                <c:pt idx="12961">
                  <c:v>0</c:v>
                </c:pt>
                <c:pt idx="12962">
                  <c:v>0</c:v>
                </c:pt>
                <c:pt idx="12963">
                  <c:v>1</c:v>
                </c:pt>
                <c:pt idx="12964">
                  <c:v>0</c:v>
                </c:pt>
                <c:pt idx="12965">
                  <c:v>0</c:v>
                </c:pt>
                <c:pt idx="12966">
                  <c:v>0</c:v>
                </c:pt>
                <c:pt idx="12967">
                  <c:v>0</c:v>
                </c:pt>
                <c:pt idx="12968">
                  <c:v>0</c:v>
                </c:pt>
                <c:pt idx="12969">
                  <c:v>0</c:v>
                </c:pt>
                <c:pt idx="12970">
                  <c:v>1</c:v>
                </c:pt>
                <c:pt idx="12971">
                  <c:v>0</c:v>
                </c:pt>
                <c:pt idx="12972">
                  <c:v>0</c:v>
                </c:pt>
                <c:pt idx="12973">
                  <c:v>0</c:v>
                </c:pt>
                <c:pt idx="12974">
                  <c:v>6</c:v>
                </c:pt>
                <c:pt idx="12975">
                  <c:v>0</c:v>
                </c:pt>
                <c:pt idx="12976">
                  <c:v>2</c:v>
                </c:pt>
                <c:pt idx="12977">
                  <c:v>6</c:v>
                </c:pt>
                <c:pt idx="12978">
                  <c:v>0</c:v>
                </c:pt>
                <c:pt idx="12979">
                  <c:v>0</c:v>
                </c:pt>
                <c:pt idx="12980">
                  <c:v>0</c:v>
                </c:pt>
                <c:pt idx="12981">
                  <c:v>0</c:v>
                </c:pt>
                <c:pt idx="12982">
                  <c:v>0</c:v>
                </c:pt>
                <c:pt idx="12983">
                  <c:v>0</c:v>
                </c:pt>
                <c:pt idx="12984">
                  <c:v>0</c:v>
                </c:pt>
                <c:pt idx="12985">
                  <c:v>0</c:v>
                </c:pt>
                <c:pt idx="12986">
                  <c:v>0</c:v>
                </c:pt>
                <c:pt idx="12987">
                  <c:v>0</c:v>
                </c:pt>
                <c:pt idx="12988">
                  <c:v>0</c:v>
                </c:pt>
                <c:pt idx="12989">
                  <c:v>2</c:v>
                </c:pt>
                <c:pt idx="12990">
                  <c:v>0</c:v>
                </c:pt>
                <c:pt idx="12991">
                  <c:v>0</c:v>
                </c:pt>
                <c:pt idx="12992">
                  <c:v>0</c:v>
                </c:pt>
                <c:pt idx="12993">
                  <c:v>0</c:v>
                </c:pt>
                <c:pt idx="12994">
                  <c:v>0</c:v>
                </c:pt>
                <c:pt idx="12995">
                  <c:v>0</c:v>
                </c:pt>
                <c:pt idx="12996">
                  <c:v>0</c:v>
                </c:pt>
                <c:pt idx="12997">
                  <c:v>0</c:v>
                </c:pt>
                <c:pt idx="12998">
                  <c:v>0</c:v>
                </c:pt>
                <c:pt idx="12999">
                  <c:v>0</c:v>
                </c:pt>
                <c:pt idx="13000">
                  <c:v>1</c:v>
                </c:pt>
                <c:pt idx="13001">
                  <c:v>1</c:v>
                </c:pt>
                <c:pt idx="13002">
                  <c:v>3</c:v>
                </c:pt>
                <c:pt idx="13003">
                  <c:v>0</c:v>
                </c:pt>
                <c:pt idx="13004">
                  <c:v>3</c:v>
                </c:pt>
                <c:pt idx="13005">
                  <c:v>0</c:v>
                </c:pt>
                <c:pt idx="13006">
                  <c:v>7</c:v>
                </c:pt>
                <c:pt idx="13007">
                  <c:v>0</c:v>
                </c:pt>
                <c:pt idx="13008">
                  <c:v>1</c:v>
                </c:pt>
                <c:pt idx="13009">
                  <c:v>0</c:v>
                </c:pt>
                <c:pt idx="13010">
                  <c:v>3</c:v>
                </c:pt>
                <c:pt idx="13011">
                  <c:v>1</c:v>
                </c:pt>
                <c:pt idx="13012">
                  <c:v>2</c:v>
                </c:pt>
                <c:pt idx="13013">
                  <c:v>1</c:v>
                </c:pt>
                <c:pt idx="13014">
                  <c:v>2</c:v>
                </c:pt>
                <c:pt idx="13015">
                  <c:v>1</c:v>
                </c:pt>
                <c:pt idx="13016">
                  <c:v>1</c:v>
                </c:pt>
                <c:pt idx="13017">
                  <c:v>0</c:v>
                </c:pt>
                <c:pt idx="13018">
                  <c:v>0</c:v>
                </c:pt>
                <c:pt idx="13019">
                  <c:v>2</c:v>
                </c:pt>
                <c:pt idx="13020">
                  <c:v>0</c:v>
                </c:pt>
                <c:pt idx="13021">
                  <c:v>0</c:v>
                </c:pt>
                <c:pt idx="13022">
                  <c:v>0</c:v>
                </c:pt>
                <c:pt idx="13023">
                  <c:v>0</c:v>
                </c:pt>
                <c:pt idx="13024">
                  <c:v>0</c:v>
                </c:pt>
                <c:pt idx="13025">
                  <c:v>0</c:v>
                </c:pt>
                <c:pt idx="13026">
                  <c:v>0</c:v>
                </c:pt>
                <c:pt idx="13027">
                  <c:v>0</c:v>
                </c:pt>
                <c:pt idx="13028">
                  <c:v>0</c:v>
                </c:pt>
                <c:pt idx="13029">
                  <c:v>0</c:v>
                </c:pt>
                <c:pt idx="13030">
                  <c:v>0</c:v>
                </c:pt>
                <c:pt idx="13031">
                  <c:v>0</c:v>
                </c:pt>
                <c:pt idx="13032">
                  <c:v>0</c:v>
                </c:pt>
                <c:pt idx="13033">
                  <c:v>0</c:v>
                </c:pt>
                <c:pt idx="13034">
                  <c:v>0</c:v>
                </c:pt>
                <c:pt idx="13035">
                  <c:v>0</c:v>
                </c:pt>
                <c:pt idx="13036">
                  <c:v>0</c:v>
                </c:pt>
                <c:pt idx="13037">
                  <c:v>0</c:v>
                </c:pt>
                <c:pt idx="13038">
                  <c:v>0</c:v>
                </c:pt>
                <c:pt idx="13039">
                  <c:v>0</c:v>
                </c:pt>
                <c:pt idx="13040">
                  <c:v>0</c:v>
                </c:pt>
                <c:pt idx="13041">
                  <c:v>0</c:v>
                </c:pt>
                <c:pt idx="13042">
                  <c:v>0</c:v>
                </c:pt>
                <c:pt idx="13043">
                  <c:v>0</c:v>
                </c:pt>
                <c:pt idx="13044">
                  <c:v>0</c:v>
                </c:pt>
                <c:pt idx="13045">
                  <c:v>0</c:v>
                </c:pt>
                <c:pt idx="13046">
                  <c:v>0</c:v>
                </c:pt>
                <c:pt idx="13047">
                  <c:v>0</c:v>
                </c:pt>
                <c:pt idx="13048">
                  <c:v>0</c:v>
                </c:pt>
                <c:pt idx="13049">
                  <c:v>0</c:v>
                </c:pt>
                <c:pt idx="13050">
                  <c:v>0</c:v>
                </c:pt>
                <c:pt idx="13051">
                  <c:v>0</c:v>
                </c:pt>
                <c:pt idx="13052">
                  <c:v>0</c:v>
                </c:pt>
                <c:pt idx="13053">
                  <c:v>0</c:v>
                </c:pt>
                <c:pt idx="13054">
                  <c:v>0</c:v>
                </c:pt>
                <c:pt idx="13055">
                  <c:v>0</c:v>
                </c:pt>
                <c:pt idx="13056">
                  <c:v>0</c:v>
                </c:pt>
                <c:pt idx="13057">
                  <c:v>0</c:v>
                </c:pt>
                <c:pt idx="13058">
                  <c:v>0</c:v>
                </c:pt>
                <c:pt idx="13059">
                  <c:v>0</c:v>
                </c:pt>
                <c:pt idx="13060">
                  <c:v>0</c:v>
                </c:pt>
                <c:pt idx="13061">
                  <c:v>0</c:v>
                </c:pt>
                <c:pt idx="13062">
                  <c:v>0</c:v>
                </c:pt>
                <c:pt idx="13063">
                  <c:v>0</c:v>
                </c:pt>
                <c:pt idx="13064">
                  <c:v>1</c:v>
                </c:pt>
                <c:pt idx="13065">
                  <c:v>0</c:v>
                </c:pt>
                <c:pt idx="13066">
                  <c:v>0</c:v>
                </c:pt>
                <c:pt idx="13067">
                  <c:v>0</c:v>
                </c:pt>
                <c:pt idx="13068">
                  <c:v>0</c:v>
                </c:pt>
                <c:pt idx="13069">
                  <c:v>0</c:v>
                </c:pt>
                <c:pt idx="13070">
                  <c:v>0</c:v>
                </c:pt>
                <c:pt idx="13071">
                  <c:v>0</c:v>
                </c:pt>
                <c:pt idx="13072">
                  <c:v>2</c:v>
                </c:pt>
                <c:pt idx="13073">
                  <c:v>0</c:v>
                </c:pt>
                <c:pt idx="13074">
                  <c:v>0</c:v>
                </c:pt>
                <c:pt idx="13075">
                  <c:v>0</c:v>
                </c:pt>
                <c:pt idx="13076">
                  <c:v>0</c:v>
                </c:pt>
                <c:pt idx="13077">
                  <c:v>0</c:v>
                </c:pt>
                <c:pt idx="13078">
                  <c:v>0</c:v>
                </c:pt>
                <c:pt idx="13079">
                  <c:v>0</c:v>
                </c:pt>
                <c:pt idx="13080">
                  <c:v>0</c:v>
                </c:pt>
                <c:pt idx="13081">
                  <c:v>0</c:v>
                </c:pt>
                <c:pt idx="13082">
                  <c:v>0</c:v>
                </c:pt>
                <c:pt idx="13083">
                  <c:v>0</c:v>
                </c:pt>
                <c:pt idx="13084">
                  <c:v>0</c:v>
                </c:pt>
                <c:pt idx="13085">
                  <c:v>0</c:v>
                </c:pt>
                <c:pt idx="13086">
                  <c:v>0</c:v>
                </c:pt>
                <c:pt idx="13087">
                  <c:v>0</c:v>
                </c:pt>
                <c:pt idx="13088">
                  <c:v>0</c:v>
                </c:pt>
                <c:pt idx="13089">
                  <c:v>0</c:v>
                </c:pt>
                <c:pt idx="13090">
                  <c:v>1</c:v>
                </c:pt>
                <c:pt idx="13091">
                  <c:v>0</c:v>
                </c:pt>
                <c:pt idx="13092">
                  <c:v>0</c:v>
                </c:pt>
                <c:pt idx="13093">
                  <c:v>0</c:v>
                </c:pt>
                <c:pt idx="13094">
                  <c:v>0</c:v>
                </c:pt>
                <c:pt idx="13095">
                  <c:v>0</c:v>
                </c:pt>
                <c:pt idx="13096">
                  <c:v>0</c:v>
                </c:pt>
                <c:pt idx="13097">
                  <c:v>0</c:v>
                </c:pt>
                <c:pt idx="13098">
                  <c:v>0</c:v>
                </c:pt>
                <c:pt idx="13099">
                  <c:v>0</c:v>
                </c:pt>
                <c:pt idx="13100">
                  <c:v>0</c:v>
                </c:pt>
                <c:pt idx="13101">
                  <c:v>0</c:v>
                </c:pt>
                <c:pt idx="13102">
                  <c:v>0</c:v>
                </c:pt>
                <c:pt idx="13103">
                  <c:v>0</c:v>
                </c:pt>
                <c:pt idx="13104">
                  <c:v>0</c:v>
                </c:pt>
                <c:pt idx="13105">
                  <c:v>0</c:v>
                </c:pt>
                <c:pt idx="13106">
                  <c:v>0</c:v>
                </c:pt>
                <c:pt idx="13107">
                  <c:v>0</c:v>
                </c:pt>
                <c:pt idx="13108">
                  <c:v>0</c:v>
                </c:pt>
                <c:pt idx="13109">
                  <c:v>0</c:v>
                </c:pt>
                <c:pt idx="13110">
                  <c:v>0</c:v>
                </c:pt>
                <c:pt idx="13111">
                  <c:v>1</c:v>
                </c:pt>
                <c:pt idx="13112">
                  <c:v>1</c:v>
                </c:pt>
                <c:pt idx="13113">
                  <c:v>0</c:v>
                </c:pt>
                <c:pt idx="13114">
                  <c:v>0</c:v>
                </c:pt>
                <c:pt idx="13115">
                  <c:v>0</c:v>
                </c:pt>
                <c:pt idx="13116">
                  <c:v>0</c:v>
                </c:pt>
                <c:pt idx="13117">
                  <c:v>0</c:v>
                </c:pt>
                <c:pt idx="13118">
                  <c:v>0</c:v>
                </c:pt>
                <c:pt idx="13119">
                  <c:v>0</c:v>
                </c:pt>
                <c:pt idx="13120">
                  <c:v>0</c:v>
                </c:pt>
                <c:pt idx="13121">
                  <c:v>0</c:v>
                </c:pt>
                <c:pt idx="13122">
                  <c:v>0</c:v>
                </c:pt>
                <c:pt idx="13123">
                  <c:v>0</c:v>
                </c:pt>
                <c:pt idx="13124">
                  <c:v>0</c:v>
                </c:pt>
                <c:pt idx="13125">
                  <c:v>0</c:v>
                </c:pt>
                <c:pt idx="13126">
                  <c:v>0</c:v>
                </c:pt>
                <c:pt idx="13127">
                  <c:v>0</c:v>
                </c:pt>
                <c:pt idx="13128">
                  <c:v>0</c:v>
                </c:pt>
                <c:pt idx="13129">
                  <c:v>0</c:v>
                </c:pt>
                <c:pt idx="13130">
                  <c:v>0</c:v>
                </c:pt>
                <c:pt idx="13131">
                  <c:v>0</c:v>
                </c:pt>
                <c:pt idx="13132">
                  <c:v>0</c:v>
                </c:pt>
                <c:pt idx="13133">
                  <c:v>0</c:v>
                </c:pt>
                <c:pt idx="13134">
                  <c:v>0</c:v>
                </c:pt>
                <c:pt idx="13135">
                  <c:v>0</c:v>
                </c:pt>
                <c:pt idx="13136">
                  <c:v>0</c:v>
                </c:pt>
                <c:pt idx="13137">
                  <c:v>0</c:v>
                </c:pt>
                <c:pt idx="13138">
                  <c:v>2</c:v>
                </c:pt>
                <c:pt idx="13139">
                  <c:v>0</c:v>
                </c:pt>
                <c:pt idx="13140">
                  <c:v>0</c:v>
                </c:pt>
                <c:pt idx="13141">
                  <c:v>0</c:v>
                </c:pt>
                <c:pt idx="13142">
                  <c:v>0</c:v>
                </c:pt>
                <c:pt idx="13143">
                  <c:v>0</c:v>
                </c:pt>
                <c:pt idx="13144">
                  <c:v>0</c:v>
                </c:pt>
                <c:pt idx="13145">
                  <c:v>0</c:v>
                </c:pt>
                <c:pt idx="13146">
                  <c:v>0</c:v>
                </c:pt>
                <c:pt idx="13147">
                  <c:v>0</c:v>
                </c:pt>
                <c:pt idx="13148">
                  <c:v>0</c:v>
                </c:pt>
                <c:pt idx="13149">
                  <c:v>0</c:v>
                </c:pt>
                <c:pt idx="13150">
                  <c:v>0</c:v>
                </c:pt>
                <c:pt idx="13151">
                  <c:v>0</c:v>
                </c:pt>
                <c:pt idx="13152">
                  <c:v>0</c:v>
                </c:pt>
                <c:pt idx="13153">
                  <c:v>0</c:v>
                </c:pt>
                <c:pt idx="13154">
                  <c:v>0</c:v>
                </c:pt>
                <c:pt idx="13155">
                  <c:v>0</c:v>
                </c:pt>
                <c:pt idx="13156">
                  <c:v>0</c:v>
                </c:pt>
                <c:pt idx="13157">
                  <c:v>0</c:v>
                </c:pt>
                <c:pt idx="13158">
                  <c:v>0</c:v>
                </c:pt>
                <c:pt idx="13159">
                  <c:v>0</c:v>
                </c:pt>
                <c:pt idx="13160">
                  <c:v>0</c:v>
                </c:pt>
                <c:pt idx="13161">
                  <c:v>0</c:v>
                </c:pt>
                <c:pt idx="13162">
                  <c:v>0</c:v>
                </c:pt>
                <c:pt idx="13163">
                  <c:v>0</c:v>
                </c:pt>
                <c:pt idx="13164">
                  <c:v>0</c:v>
                </c:pt>
                <c:pt idx="13165">
                  <c:v>0</c:v>
                </c:pt>
                <c:pt idx="13166">
                  <c:v>0</c:v>
                </c:pt>
                <c:pt idx="13167">
                  <c:v>0</c:v>
                </c:pt>
                <c:pt idx="13168">
                  <c:v>0</c:v>
                </c:pt>
                <c:pt idx="13169">
                  <c:v>0</c:v>
                </c:pt>
                <c:pt idx="13170">
                  <c:v>0</c:v>
                </c:pt>
                <c:pt idx="13171">
                  <c:v>0</c:v>
                </c:pt>
                <c:pt idx="13172">
                  <c:v>0</c:v>
                </c:pt>
                <c:pt idx="13173">
                  <c:v>0</c:v>
                </c:pt>
                <c:pt idx="13174">
                  <c:v>0</c:v>
                </c:pt>
                <c:pt idx="13175">
                  <c:v>0</c:v>
                </c:pt>
                <c:pt idx="13176">
                  <c:v>0</c:v>
                </c:pt>
                <c:pt idx="13177">
                  <c:v>1</c:v>
                </c:pt>
                <c:pt idx="13178">
                  <c:v>0</c:v>
                </c:pt>
                <c:pt idx="13179">
                  <c:v>0</c:v>
                </c:pt>
                <c:pt idx="13180">
                  <c:v>0</c:v>
                </c:pt>
                <c:pt idx="13181">
                  <c:v>0</c:v>
                </c:pt>
                <c:pt idx="13182">
                  <c:v>0</c:v>
                </c:pt>
                <c:pt idx="13183">
                  <c:v>0</c:v>
                </c:pt>
                <c:pt idx="13184">
                  <c:v>0</c:v>
                </c:pt>
                <c:pt idx="13185">
                  <c:v>0</c:v>
                </c:pt>
                <c:pt idx="13186">
                  <c:v>0</c:v>
                </c:pt>
                <c:pt idx="13187">
                  <c:v>0</c:v>
                </c:pt>
                <c:pt idx="13188">
                  <c:v>0</c:v>
                </c:pt>
                <c:pt idx="13189">
                  <c:v>0</c:v>
                </c:pt>
                <c:pt idx="13190">
                  <c:v>0</c:v>
                </c:pt>
                <c:pt idx="13191">
                  <c:v>0</c:v>
                </c:pt>
                <c:pt idx="13192">
                  <c:v>1</c:v>
                </c:pt>
                <c:pt idx="13193">
                  <c:v>1</c:v>
                </c:pt>
                <c:pt idx="13194">
                  <c:v>0</c:v>
                </c:pt>
                <c:pt idx="13195">
                  <c:v>0</c:v>
                </c:pt>
                <c:pt idx="13196">
                  <c:v>0</c:v>
                </c:pt>
                <c:pt idx="13197">
                  <c:v>0</c:v>
                </c:pt>
                <c:pt idx="13198">
                  <c:v>0</c:v>
                </c:pt>
                <c:pt idx="13199">
                  <c:v>6</c:v>
                </c:pt>
                <c:pt idx="13200">
                  <c:v>2</c:v>
                </c:pt>
                <c:pt idx="13201">
                  <c:v>0</c:v>
                </c:pt>
                <c:pt idx="13202">
                  <c:v>0</c:v>
                </c:pt>
                <c:pt idx="13203">
                  <c:v>0</c:v>
                </c:pt>
                <c:pt idx="13204">
                  <c:v>4</c:v>
                </c:pt>
                <c:pt idx="13205">
                  <c:v>4</c:v>
                </c:pt>
                <c:pt idx="13206">
                  <c:v>0</c:v>
                </c:pt>
                <c:pt idx="13207">
                  <c:v>0</c:v>
                </c:pt>
                <c:pt idx="13208">
                  <c:v>0</c:v>
                </c:pt>
                <c:pt idx="13209">
                  <c:v>0</c:v>
                </c:pt>
                <c:pt idx="13210">
                  <c:v>0</c:v>
                </c:pt>
                <c:pt idx="13211">
                  <c:v>0</c:v>
                </c:pt>
                <c:pt idx="13212">
                  <c:v>0</c:v>
                </c:pt>
                <c:pt idx="13213">
                  <c:v>0</c:v>
                </c:pt>
                <c:pt idx="13214">
                  <c:v>1</c:v>
                </c:pt>
                <c:pt idx="13215">
                  <c:v>1</c:v>
                </c:pt>
                <c:pt idx="13216">
                  <c:v>0</c:v>
                </c:pt>
                <c:pt idx="13217">
                  <c:v>0</c:v>
                </c:pt>
                <c:pt idx="13218">
                  <c:v>0</c:v>
                </c:pt>
                <c:pt idx="13219">
                  <c:v>2</c:v>
                </c:pt>
                <c:pt idx="13220">
                  <c:v>2</c:v>
                </c:pt>
                <c:pt idx="13221">
                  <c:v>0</c:v>
                </c:pt>
                <c:pt idx="13222">
                  <c:v>0</c:v>
                </c:pt>
                <c:pt idx="13223">
                  <c:v>0</c:v>
                </c:pt>
                <c:pt idx="13224">
                  <c:v>0</c:v>
                </c:pt>
                <c:pt idx="13225">
                  <c:v>0</c:v>
                </c:pt>
                <c:pt idx="13226">
                  <c:v>0</c:v>
                </c:pt>
                <c:pt idx="13227">
                  <c:v>0</c:v>
                </c:pt>
                <c:pt idx="13228">
                  <c:v>5</c:v>
                </c:pt>
                <c:pt idx="13229">
                  <c:v>0</c:v>
                </c:pt>
                <c:pt idx="13230">
                  <c:v>0</c:v>
                </c:pt>
                <c:pt idx="13231">
                  <c:v>2</c:v>
                </c:pt>
                <c:pt idx="13232">
                  <c:v>0</c:v>
                </c:pt>
                <c:pt idx="13233">
                  <c:v>0</c:v>
                </c:pt>
                <c:pt idx="13234">
                  <c:v>0</c:v>
                </c:pt>
                <c:pt idx="13235">
                  <c:v>0</c:v>
                </c:pt>
                <c:pt idx="13236">
                  <c:v>0</c:v>
                </c:pt>
                <c:pt idx="13237">
                  <c:v>0</c:v>
                </c:pt>
                <c:pt idx="13238">
                  <c:v>0</c:v>
                </c:pt>
                <c:pt idx="13239">
                  <c:v>0</c:v>
                </c:pt>
                <c:pt idx="13240">
                  <c:v>2</c:v>
                </c:pt>
                <c:pt idx="13241">
                  <c:v>1</c:v>
                </c:pt>
                <c:pt idx="13242">
                  <c:v>0</c:v>
                </c:pt>
                <c:pt idx="13243">
                  <c:v>0</c:v>
                </c:pt>
                <c:pt idx="13244">
                  <c:v>0</c:v>
                </c:pt>
                <c:pt idx="13245">
                  <c:v>0</c:v>
                </c:pt>
                <c:pt idx="13246">
                  <c:v>0</c:v>
                </c:pt>
                <c:pt idx="13247">
                  <c:v>1</c:v>
                </c:pt>
                <c:pt idx="13248">
                  <c:v>2</c:v>
                </c:pt>
                <c:pt idx="13249">
                  <c:v>1</c:v>
                </c:pt>
                <c:pt idx="13250">
                  <c:v>0</c:v>
                </c:pt>
                <c:pt idx="13251">
                  <c:v>0</c:v>
                </c:pt>
                <c:pt idx="13252">
                  <c:v>0</c:v>
                </c:pt>
                <c:pt idx="13253">
                  <c:v>0</c:v>
                </c:pt>
                <c:pt idx="13254">
                  <c:v>5</c:v>
                </c:pt>
                <c:pt idx="13255">
                  <c:v>0</c:v>
                </c:pt>
                <c:pt idx="13256">
                  <c:v>2</c:v>
                </c:pt>
                <c:pt idx="13257">
                  <c:v>1</c:v>
                </c:pt>
                <c:pt idx="13258">
                  <c:v>5</c:v>
                </c:pt>
                <c:pt idx="13259">
                  <c:v>11</c:v>
                </c:pt>
                <c:pt idx="13260">
                  <c:v>0</c:v>
                </c:pt>
                <c:pt idx="13261">
                  <c:v>0</c:v>
                </c:pt>
                <c:pt idx="13262">
                  <c:v>0</c:v>
                </c:pt>
                <c:pt idx="13263">
                  <c:v>0</c:v>
                </c:pt>
                <c:pt idx="13264">
                  <c:v>0</c:v>
                </c:pt>
                <c:pt idx="13265">
                  <c:v>1</c:v>
                </c:pt>
                <c:pt idx="13266">
                  <c:v>0</c:v>
                </c:pt>
                <c:pt idx="13267">
                  <c:v>0</c:v>
                </c:pt>
                <c:pt idx="13268">
                  <c:v>1</c:v>
                </c:pt>
                <c:pt idx="13269">
                  <c:v>0</c:v>
                </c:pt>
                <c:pt idx="13270">
                  <c:v>0</c:v>
                </c:pt>
                <c:pt idx="13271">
                  <c:v>0</c:v>
                </c:pt>
                <c:pt idx="13272">
                  <c:v>0</c:v>
                </c:pt>
                <c:pt idx="13273">
                  <c:v>0</c:v>
                </c:pt>
                <c:pt idx="13274">
                  <c:v>0</c:v>
                </c:pt>
                <c:pt idx="13275">
                  <c:v>0</c:v>
                </c:pt>
                <c:pt idx="13276">
                  <c:v>2</c:v>
                </c:pt>
                <c:pt idx="13277">
                  <c:v>0</c:v>
                </c:pt>
                <c:pt idx="13278">
                  <c:v>0</c:v>
                </c:pt>
                <c:pt idx="13279">
                  <c:v>0</c:v>
                </c:pt>
                <c:pt idx="13280">
                  <c:v>0</c:v>
                </c:pt>
                <c:pt idx="13281">
                  <c:v>1</c:v>
                </c:pt>
                <c:pt idx="13282">
                  <c:v>0</c:v>
                </c:pt>
                <c:pt idx="13283">
                  <c:v>0</c:v>
                </c:pt>
                <c:pt idx="13284">
                  <c:v>0</c:v>
                </c:pt>
                <c:pt idx="13285">
                  <c:v>0</c:v>
                </c:pt>
                <c:pt idx="13286">
                  <c:v>0</c:v>
                </c:pt>
                <c:pt idx="13287">
                  <c:v>0</c:v>
                </c:pt>
                <c:pt idx="13288">
                  <c:v>17</c:v>
                </c:pt>
                <c:pt idx="13289">
                  <c:v>0</c:v>
                </c:pt>
                <c:pt idx="13290">
                  <c:v>14</c:v>
                </c:pt>
                <c:pt idx="13291">
                  <c:v>0</c:v>
                </c:pt>
                <c:pt idx="13292">
                  <c:v>1</c:v>
                </c:pt>
                <c:pt idx="13293">
                  <c:v>2</c:v>
                </c:pt>
                <c:pt idx="13294">
                  <c:v>0</c:v>
                </c:pt>
                <c:pt idx="13295">
                  <c:v>1</c:v>
                </c:pt>
                <c:pt idx="13296">
                  <c:v>0</c:v>
                </c:pt>
                <c:pt idx="13297">
                  <c:v>2</c:v>
                </c:pt>
                <c:pt idx="13298">
                  <c:v>4</c:v>
                </c:pt>
                <c:pt idx="13299">
                  <c:v>0</c:v>
                </c:pt>
                <c:pt idx="13300">
                  <c:v>2</c:v>
                </c:pt>
                <c:pt idx="13301">
                  <c:v>2</c:v>
                </c:pt>
                <c:pt idx="13302">
                  <c:v>0</c:v>
                </c:pt>
                <c:pt idx="13303">
                  <c:v>1</c:v>
                </c:pt>
                <c:pt idx="13304">
                  <c:v>2</c:v>
                </c:pt>
                <c:pt idx="13305">
                  <c:v>1</c:v>
                </c:pt>
                <c:pt idx="13306">
                  <c:v>1</c:v>
                </c:pt>
                <c:pt idx="13307">
                  <c:v>6</c:v>
                </c:pt>
                <c:pt idx="13308">
                  <c:v>0</c:v>
                </c:pt>
                <c:pt idx="13309">
                  <c:v>2</c:v>
                </c:pt>
                <c:pt idx="13310">
                  <c:v>2</c:v>
                </c:pt>
                <c:pt idx="13311">
                  <c:v>4</c:v>
                </c:pt>
                <c:pt idx="13312">
                  <c:v>0</c:v>
                </c:pt>
                <c:pt idx="13313">
                  <c:v>4</c:v>
                </c:pt>
                <c:pt idx="13314">
                  <c:v>6</c:v>
                </c:pt>
                <c:pt idx="13315">
                  <c:v>6</c:v>
                </c:pt>
                <c:pt idx="13316">
                  <c:v>3</c:v>
                </c:pt>
                <c:pt idx="13317">
                  <c:v>3</c:v>
                </c:pt>
                <c:pt idx="13318">
                  <c:v>1</c:v>
                </c:pt>
                <c:pt idx="13319">
                  <c:v>4</c:v>
                </c:pt>
                <c:pt idx="13320">
                  <c:v>3</c:v>
                </c:pt>
                <c:pt idx="13321">
                  <c:v>1</c:v>
                </c:pt>
                <c:pt idx="13322">
                  <c:v>0</c:v>
                </c:pt>
                <c:pt idx="13323">
                  <c:v>0</c:v>
                </c:pt>
                <c:pt idx="13324">
                  <c:v>0</c:v>
                </c:pt>
                <c:pt idx="13325">
                  <c:v>1</c:v>
                </c:pt>
                <c:pt idx="13326">
                  <c:v>5</c:v>
                </c:pt>
                <c:pt idx="13327">
                  <c:v>0</c:v>
                </c:pt>
                <c:pt idx="13328">
                  <c:v>1</c:v>
                </c:pt>
                <c:pt idx="13329">
                  <c:v>0</c:v>
                </c:pt>
                <c:pt idx="13330">
                  <c:v>0</c:v>
                </c:pt>
                <c:pt idx="13331">
                  <c:v>0</c:v>
                </c:pt>
                <c:pt idx="13332">
                  <c:v>2</c:v>
                </c:pt>
                <c:pt idx="13333">
                  <c:v>0</c:v>
                </c:pt>
                <c:pt idx="13334">
                  <c:v>0</c:v>
                </c:pt>
                <c:pt idx="13335">
                  <c:v>1</c:v>
                </c:pt>
                <c:pt idx="13336">
                  <c:v>0</c:v>
                </c:pt>
                <c:pt idx="13337">
                  <c:v>0</c:v>
                </c:pt>
                <c:pt idx="13338">
                  <c:v>0</c:v>
                </c:pt>
                <c:pt idx="13339">
                  <c:v>0</c:v>
                </c:pt>
                <c:pt idx="13340">
                  <c:v>0</c:v>
                </c:pt>
                <c:pt idx="13341">
                  <c:v>0</c:v>
                </c:pt>
                <c:pt idx="13342">
                  <c:v>0</c:v>
                </c:pt>
                <c:pt idx="13343">
                  <c:v>0</c:v>
                </c:pt>
                <c:pt idx="13344">
                  <c:v>0</c:v>
                </c:pt>
                <c:pt idx="13345">
                  <c:v>2</c:v>
                </c:pt>
                <c:pt idx="13346">
                  <c:v>0</c:v>
                </c:pt>
                <c:pt idx="13347">
                  <c:v>2</c:v>
                </c:pt>
                <c:pt idx="13348">
                  <c:v>0</c:v>
                </c:pt>
                <c:pt idx="13349">
                  <c:v>0</c:v>
                </c:pt>
                <c:pt idx="13350">
                  <c:v>2</c:v>
                </c:pt>
                <c:pt idx="13351">
                  <c:v>2</c:v>
                </c:pt>
                <c:pt idx="13352">
                  <c:v>2</c:v>
                </c:pt>
                <c:pt idx="13353">
                  <c:v>0</c:v>
                </c:pt>
                <c:pt idx="13354">
                  <c:v>0</c:v>
                </c:pt>
                <c:pt idx="13355">
                  <c:v>0</c:v>
                </c:pt>
                <c:pt idx="13356">
                  <c:v>0</c:v>
                </c:pt>
                <c:pt idx="13357">
                  <c:v>0</c:v>
                </c:pt>
                <c:pt idx="13358">
                  <c:v>0</c:v>
                </c:pt>
                <c:pt idx="13359">
                  <c:v>5</c:v>
                </c:pt>
                <c:pt idx="13360">
                  <c:v>4</c:v>
                </c:pt>
                <c:pt idx="13361">
                  <c:v>0</c:v>
                </c:pt>
                <c:pt idx="13362">
                  <c:v>0</c:v>
                </c:pt>
                <c:pt idx="13363">
                  <c:v>0</c:v>
                </c:pt>
                <c:pt idx="13364">
                  <c:v>0</c:v>
                </c:pt>
                <c:pt idx="13365">
                  <c:v>0</c:v>
                </c:pt>
                <c:pt idx="13366">
                  <c:v>0</c:v>
                </c:pt>
                <c:pt idx="13367">
                  <c:v>0</c:v>
                </c:pt>
                <c:pt idx="13368">
                  <c:v>0</c:v>
                </c:pt>
                <c:pt idx="13369">
                  <c:v>0</c:v>
                </c:pt>
                <c:pt idx="13370">
                  <c:v>0</c:v>
                </c:pt>
                <c:pt idx="13371">
                  <c:v>0</c:v>
                </c:pt>
                <c:pt idx="13372">
                  <c:v>0</c:v>
                </c:pt>
                <c:pt idx="13373">
                  <c:v>3</c:v>
                </c:pt>
                <c:pt idx="13374">
                  <c:v>0</c:v>
                </c:pt>
                <c:pt idx="13375">
                  <c:v>0</c:v>
                </c:pt>
                <c:pt idx="13376">
                  <c:v>0</c:v>
                </c:pt>
                <c:pt idx="13377">
                  <c:v>0</c:v>
                </c:pt>
                <c:pt idx="13378">
                  <c:v>0</c:v>
                </c:pt>
                <c:pt idx="13379">
                  <c:v>0</c:v>
                </c:pt>
                <c:pt idx="13380">
                  <c:v>0</c:v>
                </c:pt>
                <c:pt idx="13381">
                  <c:v>6</c:v>
                </c:pt>
                <c:pt idx="13382">
                  <c:v>2</c:v>
                </c:pt>
                <c:pt idx="13383">
                  <c:v>0</c:v>
                </c:pt>
                <c:pt idx="13384">
                  <c:v>0</c:v>
                </c:pt>
                <c:pt idx="13385">
                  <c:v>4</c:v>
                </c:pt>
                <c:pt idx="13386">
                  <c:v>4</c:v>
                </c:pt>
                <c:pt idx="13387">
                  <c:v>4</c:v>
                </c:pt>
                <c:pt idx="13388">
                  <c:v>0</c:v>
                </c:pt>
                <c:pt idx="13389">
                  <c:v>0</c:v>
                </c:pt>
                <c:pt idx="13390">
                  <c:v>0</c:v>
                </c:pt>
                <c:pt idx="13391">
                  <c:v>0</c:v>
                </c:pt>
                <c:pt idx="13392">
                  <c:v>0</c:v>
                </c:pt>
                <c:pt idx="13393">
                  <c:v>0</c:v>
                </c:pt>
                <c:pt idx="13394">
                  <c:v>0</c:v>
                </c:pt>
                <c:pt idx="13395">
                  <c:v>0</c:v>
                </c:pt>
                <c:pt idx="13396">
                  <c:v>0</c:v>
                </c:pt>
                <c:pt idx="13397">
                  <c:v>0</c:v>
                </c:pt>
                <c:pt idx="13398">
                  <c:v>2</c:v>
                </c:pt>
                <c:pt idx="13399">
                  <c:v>2</c:v>
                </c:pt>
                <c:pt idx="13400">
                  <c:v>1</c:v>
                </c:pt>
                <c:pt idx="13401">
                  <c:v>0</c:v>
                </c:pt>
                <c:pt idx="13402">
                  <c:v>0</c:v>
                </c:pt>
                <c:pt idx="13403">
                  <c:v>0</c:v>
                </c:pt>
                <c:pt idx="13404">
                  <c:v>0</c:v>
                </c:pt>
                <c:pt idx="13405">
                  <c:v>2</c:v>
                </c:pt>
                <c:pt idx="13406">
                  <c:v>0</c:v>
                </c:pt>
                <c:pt idx="13407">
                  <c:v>1</c:v>
                </c:pt>
                <c:pt idx="13408">
                  <c:v>0</c:v>
                </c:pt>
                <c:pt idx="13409">
                  <c:v>0</c:v>
                </c:pt>
                <c:pt idx="13410">
                  <c:v>0</c:v>
                </c:pt>
                <c:pt idx="13411">
                  <c:v>0</c:v>
                </c:pt>
                <c:pt idx="13412">
                  <c:v>0</c:v>
                </c:pt>
                <c:pt idx="13413">
                  <c:v>0</c:v>
                </c:pt>
                <c:pt idx="13414">
                  <c:v>3</c:v>
                </c:pt>
                <c:pt idx="13415">
                  <c:v>3</c:v>
                </c:pt>
                <c:pt idx="13416">
                  <c:v>0</c:v>
                </c:pt>
                <c:pt idx="13417">
                  <c:v>2</c:v>
                </c:pt>
                <c:pt idx="13418">
                  <c:v>0</c:v>
                </c:pt>
                <c:pt idx="13419">
                  <c:v>3</c:v>
                </c:pt>
                <c:pt idx="13420">
                  <c:v>0</c:v>
                </c:pt>
                <c:pt idx="13421">
                  <c:v>0</c:v>
                </c:pt>
                <c:pt idx="13422">
                  <c:v>4</c:v>
                </c:pt>
                <c:pt idx="13423">
                  <c:v>1</c:v>
                </c:pt>
                <c:pt idx="13424">
                  <c:v>0</c:v>
                </c:pt>
                <c:pt idx="13425">
                  <c:v>1</c:v>
                </c:pt>
                <c:pt idx="13426">
                  <c:v>1</c:v>
                </c:pt>
                <c:pt idx="13427">
                  <c:v>0</c:v>
                </c:pt>
                <c:pt idx="13428">
                  <c:v>0</c:v>
                </c:pt>
                <c:pt idx="13429">
                  <c:v>1</c:v>
                </c:pt>
                <c:pt idx="13430">
                  <c:v>0</c:v>
                </c:pt>
                <c:pt idx="13431">
                  <c:v>1</c:v>
                </c:pt>
                <c:pt idx="13432">
                  <c:v>0</c:v>
                </c:pt>
                <c:pt idx="13433">
                  <c:v>0</c:v>
                </c:pt>
                <c:pt idx="13434">
                  <c:v>0</c:v>
                </c:pt>
                <c:pt idx="13435">
                  <c:v>0</c:v>
                </c:pt>
                <c:pt idx="13436">
                  <c:v>0</c:v>
                </c:pt>
                <c:pt idx="13437">
                  <c:v>1</c:v>
                </c:pt>
                <c:pt idx="13438">
                  <c:v>0</c:v>
                </c:pt>
                <c:pt idx="13439">
                  <c:v>0</c:v>
                </c:pt>
                <c:pt idx="13440">
                  <c:v>0</c:v>
                </c:pt>
                <c:pt idx="13441">
                  <c:v>0</c:v>
                </c:pt>
                <c:pt idx="13442">
                  <c:v>0</c:v>
                </c:pt>
                <c:pt idx="13443">
                  <c:v>0</c:v>
                </c:pt>
                <c:pt idx="13444">
                  <c:v>0</c:v>
                </c:pt>
                <c:pt idx="13445">
                  <c:v>0</c:v>
                </c:pt>
                <c:pt idx="13446">
                  <c:v>0</c:v>
                </c:pt>
                <c:pt idx="13447">
                  <c:v>0</c:v>
                </c:pt>
                <c:pt idx="13448">
                  <c:v>0</c:v>
                </c:pt>
                <c:pt idx="13449">
                  <c:v>4</c:v>
                </c:pt>
                <c:pt idx="13450">
                  <c:v>0</c:v>
                </c:pt>
                <c:pt idx="13451">
                  <c:v>0</c:v>
                </c:pt>
                <c:pt idx="13452">
                  <c:v>1</c:v>
                </c:pt>
                <c:pt idx="13453">
                  <c:v>0</c:v>
                </c:pt>
                <c:pt idx="13454">
                  <c:v>0</c:v>
                </c:pt>
                <c:pt idx="13455">
                  <c:v>0</c:v>
                </c:pt>
                <c:pt idx="13456">
                  <c:v>0</c:v>
                </c:pt>
                <c:pt idx="13457">
                  <c:v>0</c:v>
                </c:pt>
                <c:pt idx="13458">
                  <c:v>0</c:v>
                </c:pt>
                <c:pt idx="13459">
                  <c:v>0</c:v>
                </c:pt>
                <c:pt idx="13460">
                  <c:v>0</c:v>
                </c:pt>
                <c:pt idx="13461">
                  <c:v>0</c:v>
                </c:pt>
                <c:pt idx="13462">
                  <c:v>0</c:v>
                </c:pt>
                <c:pt idx="13463">
                  <c:v>0</c:v>
                </c:pt>
                <c:pt idx="13464">
                  <c:v>2</c:v>
                </c:pt>
                <c:pt idx="13465">
                  <c:v>0</c:v>
                </c:pt>
                <c:pt idx="13466">
                  <c:v>0</c:v>
                </c:pt>
                <c:pt idx="13467">
                  <c:v>0</c:v>
                </c:pt>
                <c:pt idx="13468">
                  <c:v>0</c:v>
                </c:pt>
                <c:pt idx="13469">
                  <c:v>0</c:v>
                </c:pt>
                <c:pt idx="13470">
                  <c:v>0</c:v>
                </c:pt>
                <c:pt idx="13471">
                  <c:v>0</c:v>
                </c:pt>
                <c:pt idx="13472">
                  <c:v>0</c:v>
                </c:pt>
                <c:pt idx="13473">
                  <c:v>0</c:v>
                </c:pt>
                <c:pt idx="13474">
                  <c:v>0</c:v>
                </c:pt>
                <c:pt idx="13475">
                  <c:v>0</c:v>
                </c:pt>
                <c:pt idx="13476">
                  <c:v>0</c:v>
                </c:pt>
                <c:pt idx="13477">
                  <c:v>0</c:v>
                </c:pt>
                <c:pt idx="13478">
                  <c:v>0</c:v>
                </c:pt>
                <c:pt idx="13479">
                  <c:v>0</c:v>
                </c:pt>
                <c:pt idx="13480">
                  <c:v>0</c:v>
                </c:pt>
                <c:pt idx="13481">
                  <c:v>0</c:v>
                </c:pt>
                <c:pt idx="13482">
                  <c:v>1</c:v>
                </c:pt>
                <c:pt idx="13483">
                  <c:v>0</c:v>
                </c:pt>
                <c:pt idx="13484">
                  <c:v>4</c:v>
                </c:pt>
                <c:pt idx="13485">
                  <c:v>2</c:v>
                </c:pt>
                <c:pt idx="13486">
                  <c:v>0</c:v>
                </c:pt>
                <c:pt idx="13487">
                  <c:v>0</c:v>
                </c:pt>
                <c:pt idx="13488">
                  <c:v>0</c:v>
                </c:pt>
                <c:pt idx="13489">
                  <c:v>0</c:v>
                </c:pt>
                <c:pt idx="13490">
                  <c:v>0</c:v>
                </c:pt>
                <c:pt idx="13491">
                  <c:v>2</c:v>
                </c:pt>
                <c:pt idx="13492">
                  <c:v>0</c:v>
                </c:pt>
                <c:pt idx="13493">
                  <c:v>1</c:v>
                </c:pt>
                <c:pt idx="13494">
                  <c:v>0</c:v>
                </c:pt>
                <c:pt idx="13495">
                  <c:v>2</c:v>
                </c:pt>
                <c:pt idx="13496">
                  <c:v>4</c:v>
                </c:pt>
                <c:pt idx="13497">
                  <c:v>2</c:v>
                </c:pt>
                <c:pt idx="13498">
                  <c:v>2</c:v>
                </c:pt>
                <c:pt idx="13499">
                  <c:v>2</c:v>
                </c:pt>
                <c:pt idx="13500">
                  <c:v>0</c:v>
                </c:pt>
                <c:pt idx="13501">
                  <c:v>0</c:v>
                </c:pt>
                <c:pt idx="13502">
                  <c:v>0</c:v>
                </c:pt>
                <c:pt idx="13503">
                  <c:v>0</c:v>
                </c:pt>
                <c:pt idx="13504">
                  <c:v>0</c:v>
                </c:pt>
                <c:pt idx="13505">
                  <c:v>0</c:v>
                </c:pt>
                <c:pt idx="13506">
                  <c:v>0</c:v>
                </c:pt>
                <c:pt idx="13507">
                  <c:v>0</c:v>
                </c:pt>
                <c:pt idx="13508">
                  <c:v>0</c:v>
                </c:pt>
                <c:pt idx="13509">
                  <c:v>0</c:v>
                </c:pt>
                <c:pt idx="13510">
                  <c:v>0</c:v>
                </c:pt>
                <c:pt idx="13511">
                  <c:v>0</c:v>
                </c:pt>
                <c:pt idx="13512">
                  <c:v>0</c:v>
                </c:pt>
                <c:pt idx="13513">
                  <c:v>0</c:v>
                </c:pt>
                <c:pt idx="13514">
                  <c:v>0</c:v>
                </c:pt>
                <c:pt idx="13515">
                  <c:v>1</c:v>
                </c:pt>
                <c:pt idx="13516">
                  <c:v>0</c:v>
                </c:pt>
                <c:pt idx="13517">
                  <c:v>0</c:v>
                </c:pt>
                <c:pt idx="13518">
                  <c:v>0</c:v>
                </c:pt>
                <c:pt idx="13519">
                  <c:v>0</c:v>
                </c:pt>
                <c:pt idx="13520">
                  <c:v>0</c:v>
                </c:pt>
                <c:pt idx="13521">
                  <c:v>0</c:v>
                </c:pt>
                <c:pt idx="13522">
                  <c:v>1</c:v>
                </c:pt>
                <c:pt idx="13523">
                  <c:v>0</c:v>
                </c:pt>
                <c:pt idx="13524">
                  <c:v>0</c:v>
                </c:pt>
                <c:pt idx="13525">
                  <c:v>1</c:v>
                </c:pt>
                <c:pt idx="13526">
                  <c:v>1</c:v>
                </c:pt>
                <c:pt idx="13527">
                  <c:v>0</c:v>
                </c:pt>
                <c:pt idx="13528">
                  <c:v>0</c:v>
                </c:pt>
                <c:pt idx="13529">
                  <c:v>0</c:v>
                </c:pt>
                <c:pt idx="13530">
                  <c:v>0</c:v>
                </c:pt>
                <c:pt idx="13531">
                  <c:v>0</c:v>
                </c:pt>
                <c:pt idx="13532">
                  <c:v>0</c:v>
                </c:pt>
                <c:pt idx="13533">
                  <c:v>0</c:v>
                </c:pt>
                <c:pt idx="13534">
                  <c:v>1</c:v>
                </c:pt>
                <c:pt idx="13535">
                  <c:v>0</c:v>
                </c:pt>
                <c:pt idx="13536">
                  <c:v>0</c:v>
                </c:pt>
                <c:pt idx="13537">
                  <c:v>0</c:v>
                </c:pt>
                <c:pt idx="13538">
                  <c:v>0</c:v>
                </c:pt>
                <c:pt idx="13539">
                  <c:v>0</c:v>
                </c:pt>
                <c:pt idx="13540">
                  <c:v>0</c:v>
                </c:pt>
                <c:pt idx="13541">
                  <c:v>0</c:v>
                </c:pt>
                <c:pt idx="13542">
                  <c:v>0</c:v>
                </c:pt>
                <c:pt idx="13543">
                  <c:v>0</c:v>
                </c:pt>
                <c:pt idx="13544">
                  <c:v>0</c:v>
                </c:pt>
                <c:pt idx="13545">
                  <c:v>0</c:v>
                </c:pt>
                <c:pt idx="13546">
                  <c:v>0</c:v>
                </c:pt>
                <c:pt idx="13547">
                  <c:v>0</c:v>
                </c:pt>
                <c:pt idx="13548">
                  <c:v>0</c:v>
                </c:pt>
                <c:pt idx="13549">
                  <c:v>0</c:v>
                </c:pt>
                <c:pt idx="13550">
                  <c:v>0</c:v>
                </c:pt>
                <c:pt idx="13551">
                  <c:v>0</c:v>
                </c:pt>
                <c:pt idx="13552">
                  <c:v>0</c:v>
                </c:pt>
                <c:pt idx="13553">
                  <c:v>0</c:v>
                </c:pt>
                <c:pt idx="13554">
                  <c:v>0</c:v>
                </c:pt>
                <c:pt idx="13555">
                  <c:v>0</c:v>
                </c:pt>
                <c:pt idx="13556">
                  <c:v>0</c:v>
                </c:pt>
                <c:pt idx="13557">
                  <c:v>0</c:v>
                </c:pt>
                <c:pt idx="13558">
                  <c:v>0</c:v>
                </c:pt>
                <c:pt idx="13559">
                  <c:v>0</c:v>
                </c:pt>
                <c:pt idx="13560">
                  <c:v>0</c:v>
                </c:pt>
                <c:pt idx="13561">
                  <c:v>0</c:v>
                </c:pt>
                <c:pt idx="13562">
                  <c:v>0</c:v>
                </c:pt>
                <c:pt idx="13563">
                  <c:v>0</c:v>
                </c:pt>
                <c:pt idx="13564">
                  <c:v>0</c:v>
                </c:pt>
                <c:pt idx="13565">
                  <c:v>0</c:v>
                </c:pt>
                <c:pt idx="13566">
                  <c:v>0</c:v>
                </c:pt>
                <c:pt idx="13567">
                  <c:v>0</c:v>
                </c:pt>
                <c:pt idx="13568">
                  <c:v>0</c:v>
                </c:pt>
                <c:pt idx="13569">
                  <c:v>0</c:v>
                </c:pt>
                <c:pt idx="13570">
                  <c:v>0</c:v>
                </c:pt>
                <c:pt idx="13571">
                  <c:v>0</c:v>
                </c:pt>
                <c:pt idx="13572">
                  <c:v>0</c:v>
                </c:pt>
                <c:pt idx="13573">
                  <c:v>0</c:v>
                </c:pt>
                <c:pt idx="13574">
                  <c:v>0</c:v>
                </c:pt>
                <c:pt idx="13575">
                  <c:v>0</c:v>
                </c:pt>
                <c:pt idx="13576">
                  <c:v>0</c:v>
                </c:pt>
                <c:pt idx="13577">
                  <c:v>0</c:v>
                </c:pt>
                <c:pt idx="13578">
                  <c:v>0</c:v>
                </c:pt>
                <c:pt idx="13579">
                  <c:v>0</c:v>
                </c:pt>
                <c:pt idx="13580">
                  <c:v>0</c:v>
                </c:pt>
                <c:pt idx="13581">
                  <c:v>0</c:v>
                </c:pt>
                <c:pt idx="13582">
                  <c:v>0</c:v>
                </c:pt>
                <c:pt idx="13583">
                  <c:v>0</c:v>
                </c:pt>
                <c:pt idx="13584">
                  <c:v>0</c:v>
                </c:pt>
                <c:pt idx="13585">
                  <c:v>0</c:v>
                </c:pt>
                <c:pt idx="13586">
                  <c:v>0</c:v>
                </c:pt>
                <c:pt idx="13587">
                  <c:v>0</c:v>
                </c:pt>
                <c:pt idx="13588">
                  <c:v>0</c:v>
                </c:pt>
                <c:pt idx="13589">
                  <c:v>0</c:v>
                </c:pt>
                <c:pt idx="13590">
                  <c:v>0</c:v>
                </c:pt>
                <c:pt idx="13591">
                  <c:v>0</c:v>
                </c:pt>
                <c:pt idx="13592">
                  <c:v>2</c:v>
                </c:pt>
                <c:pt idx="13593">
                  <c:v>1</c:v>
                </c:pt>
                <c:pt idx="13594">
                  <c:v>0</c:v>
                </c:pt>
                <c:pt idx="13595">
                  <c:v>0</c:v>
                </c:pt>
                <c:pt idx="13596">
                  <c:v>0</c:v>
                </c:pt>
                <c:pt idx="13597">
                  <c:v>0</c:v>
                </c:pt>
                <c:pt idx="13598">
                  <c:v>0</c:v>
                </c:pt>
                <c:pt idx="13599">
                  <c:v>0</c:v>
                </c:pt>
                <c:pt idx="13600">
                  <c:v>0</c:v>
                </c:pt>
                <c:pt idx="13601">
                  <c:v>0</c:v>
                </c:pt>
                <c:pt idx="13602">
                  <c:v>0</c:v>
                </c:pt>
                <c:pt idx="13603">
                  <c:v>0</c:v>
                </c:pt>
                <c:pt idx="13604">
                  <c:v>2</c:v>
                </c:pt>
                <c:pt idx="13605">
                  <c:v>0</c:v>
                </c:pt>
                <c:pt idx="13606">
                  <c:v>0</c:v>
                </c:pt>
                <c:pt idx="13607">
                  <c:v>0</c:v>
                </c:pt>
                <c:pt idx="13608">
                  <c:v>0</c:v>
                </c:pt>
                <c:pt idx="13609">
                  <c:v>0</c:v>
                </c:pt>
                <c:pt idx="13610">
                  <c:v>0</c:v>
                </c:pt>
                <c:pt idx="13611">
                  <c:v>0</c:v>
                </c:pt>
                <c:pt idx="13612">
                  <c:v>0</c:v>
                </c:pt>
                <c:pt idx="13613">
                  <c:v>0</c:v>
                </c:pt>
                <c:pt idx="13614">
                  <c:v>0</c:v>
                </c:pt>
                <c:pt idx="13615">
                  <c:v>0</c:v>
                </c:pt>
                <c:pt idx="13616">
                  <c:v>4</c:v>
                </c:pt>
                <c:pt idx="13617">
                  <c:v>3</c:v>
                </c:pt>
                <c:pt idx="13618">
                  <c:v>0</c:v>
                </c:pt>
                <c:pt idx="13619">
                  <c:v>0</c:v>
                </c:pt>
                <c:pt idx="13620">
                  <c:v>0</c:v>
                </c:pt>
                <c:pt idx="13621">
                  <c:v>0</c:v>
                </c:pt>
                <c:pt idx="13622">
                  <c:v>0</c:v>
                </c:pt>
                <c:pt idx="13623">
                  <c:v>0</c:v>
                </c:pt>
                <c:pt idx="13624">
                  <c:v>0</c:v>
                </c:pt>
                <c:pt idx="13625">
                  <c:v>0</c:v>
                </c:pt>
                <c:pt idx="13626">
                  <c:v>0</c:v>
                </c:pt>
                <c:pt idx="13627">
                  <c:v>0</c:v>
                </c:pt>
                <c:pt idx="13628">
                  <c:v>1</c:v>
                </c:pt>
                <c:pt idx="13629">
                  <c:v>0</c:v>
                </c:pt>
                <c:pt idx="13630">
                  <c:v>0</c:v>
                </c:pt>
                <c:pt idx="13631">
                  <c:v>0</c:v>
                </c:pt>
                <c:pt idx="13632">
                  <c:v>0</c:v>
                </c:pt>
                <c:pt idx="13633">
                  <c:v>0</c:v>
                </c:pt>
                <c:pt idx="13634">
                  <c:v>0</c:v>
                </c:pt>
                <c:pt idx="13635">
                  <c:v>0</c:v>
                </c:pt>
                <c:pt idx="13636">
                  <c:v>0</c:v>
                </c:pt>
                <c:pt idx="13637">
                  <c:v>0</c:v>
                </c:pt>
                <c:pt idx="13638">
                  <c:v>0</c:v>
                </c:pt>
                <c:pt idx="13639">
                  <c:v>0</c:v>
                </c:pt>
                <c:pt idx="13640">
                  <c:v>1</c:v>
                </c:pt>
                <c:pt idx="13641">
                  <c:v>0</c:v>
                </c:pt>
                <c:pt idx="13642">
                  <c:v>0</c:v>
                </c:pt>
                <c:pt idx="13643">
                  <c:v>0</c:v>
                </c:pt>
                <c:pt idx="13644">
                  <c:v>0</c:v>
                </c:pt>
                <c:pt idx="13645">
                  <c:v>0</c:v>
                </c:pt>
                <c:pt idx="13646">
                  <c:v>2</c:v>
                </c:pt>
                <c:pt idx="13647">
                  <c:v>2</c:v>
                </c:pt>
                <c:pt idx="13648">
                  <c:v>0</c:v>
                </c:pt>
                <c:pt idx="13649">
                  <c:v>0</c:v>
                </c:pt>
                <c:pt idx="13650">
                  <c:v>0</c:v>
                </c:pt>
                <c:pt idx="13651">
                  <c:v>0</c:v>
                </c:pt>
                <c:pt idx="13652">
                  <c:v>0</c:v>
                </c:pt>
                <c:pt idx="13653">
                  <c:v>0</c:v>
                </c:pt>
                <c:pt idx="13654">
                  <c:v>0</c:v>
                </c:pt>
                <c:pt idx="13655">
                  <c:v>0</c:v>
                </c:pt>
                <c:pt idx="13656">
                  <c:v>1</c:v>
                </c:pt>
                <c:pt idx="13657">
                  <c:v>0</c:v>
                </c:pt>
                <c:pt idx="13658">
                  <c:v>0</c:v>
                </c:pt>
                <c:pt idx="13659">
                  <c:v>0</c:v>
                </c:pt>
                <c:pt idx="13660">
                  <c:v>0</c:v>
                </c:pt>
                <c:pt idx="13661">
                  <c:v>0</c:v>
                </c:pt>
                <c:pt idx="13662">
                  <c:v>0</c:v>
                </c:pt>
                <c:pt idx="13663">
                  <c:v>0</c:v>
                </c:pt>
                <c:pt idx="13664">
                  <c:v>0</c:v>
                </c:pt>
                <c:pt idx="13665">
                  <c:v>0</c:v>
                </c:pt>
                <c:pt idx="13666">
                  <c:v>0</c:v>
                </c:pt>
                <c:pt idx="13667">
                  <c:v>0</c:v>
                </c:pt>
                <c:pt idx="13668">
                  <c:v>0</c:v>
                </c:pt>
                <c:pt idx="13669">
                  <c:v>0</c:v>
                </c:pt>
                <c:pt idx="13670">
                  <c:v>0</c:v>
                </c:pt>
                <c:pt idx="13671">
                  <c:v>0</c:v>
                </c:pt>
                <c:pt idx="13672">
                  <c:v>0</c:v>
                </c:pt>
                <c:pt idx="13673">
                  <c:v>0</c:v>
                </c:pt>
                <c:pt idx="13674">
                  <c:v>0</c:v>
                </c:pt>
                <c:pt idx="13675">
                  <c:v>0</c:v>
                </c:pt>
                <c:pt idx="13676">
                  <c:v>0</c:v>
                </c:pt>
                <c:pt idx="13677">
                  <c:v>0</c:v>
                </c:pt>
                <c:pt idx="13678">
                  <c:v>0</c:v>
                </c:pt>
                <c:pt idx="13679">
                  <c:v>0</c:v>
                </c:pt>
                <c:pt idx="13680">
                  <c:v>0</c:v>
                </c:pt>
                <c:pt idx="13681">
                  <c:v>0</c:v>
                </c:pt>
                <c:pt idx="13682">
                  <c:v>0</c:v>
                </c:pt>
                <c:pt idx="13683">
                  <c:v>0</c:v>
                </c:pt>
                <c:pt idx="13684">
                  <c:v>0</c:v>
                </c:pt>
                <c:pt idx="13685">
                  <c:v>0</c:v>
                </c:pt>
                <c:pt idx="13686">
                  <c:v>1</c:v>
                </c:pt>
                <c:pt idx="13687">
                  <c:v>0</c:v>
                </c:pt>
                <c:pt idx="13688">
                  <c:v>0</c:v>
                </c:pt>
                <c:pt idx="13689">
                  <c:v>0</c:v>
                </c:pt>
                <c:pt idx="13690">
                  <c:v>0</c:v>
                </c:pt>
                <c:pt idx="13691">
                  <c:v>0</c:v>
                </c:pt>
                <c:pt idx="13692">
                  <c:v>0</c:v>
                </c:pt>
                <c:pt idx="13693">
                  <c:v>0</c:v>
                </c:pt>
                <c:pt idx="13694">
                  <c:v>0</c:v>
                </c:pt>
                <c:pt idx="13695">
                  <c:v>0</c:v>
                </c:pt>
                <c:pt idx="13696">
                  <c:v>0</c:v>
                </c:pt>
                <c:pt idx="13697">
                  <c:v>0</c:v>
                </c:pt>
                <c:pt idx="13698">
                  <c:v>0</c:v>
                </c:pt>
                <c:pt idx="13699">
                  <c:v>0</c:v>
                </c:pt>
                <c:pt idx="13700">
                  <c:v>0</c:v>
                </c:pt>
                <c:pt idx="13701">
                  <c:v>0</c:v>
                </c:pt>
                <c:pt idx="13702">
                  <c:v>2</c:v>
                </c:pt>
                <c:pt idx="13703">
                  <c:v>0</c:v>
                </c:pt>
                <c:pt idx="13704">
                  <c:v>1</c:v>
                </c:pt>
                <c:pt idx="13705">
                  <c:v>0</c:v>
                </c:pt>
                <c:pt idx="13706">
                  <c:v>0</c:v>
                </c:pt>
                <c:pt idx="13707">
                  <c:v>0</c:v>
                </c:pt>
                <c:pt idx="13708">
                  <c:v>0</c:v>
                </c:pt>
                <c:pt idx="13709">
                  <c:v>0</c:v>
                </c:pt>
                <c:pt idx="13710">
                  <c:v>0</c:v>
                </c:pt>
                <c:pt idx="13711">
                  <c:v>0</c:v>
                </c:pt>
                <c:pt idx="13712">
                  <c:v>0</c:v>
                </c:pt>
                <c:pt idx="13713">
                  <c:v>0</c:v>
                </c:pt>
                <c:pt idx="13714">
                  <c:v>0</c:v>
                </c:pt>
                <c:pt idx="13715">
                  <c:v>0</c:v>
                </c:pt>
                <c:pt idx="13716">
                  <c:v>0</c:v>
                </c:pt>
                <c:pt idx="13717">
                  <c:v>0</c:v>
                </c:pt>
                <c:pt idx="13718">
                  <c:v>0</c:v>
                </c:pt>
                <c:pt idx="13719">
                  <c:v>0</c:v>
                </c:pt>
                <c:pt idx="13720">
                  <c:v>0</c:v>
                </c:pt>
                <c:pt idx="13721">
                  <c:v>0</c:v>
                </c:pt>
                <c:pt idx="13722">
                  <c:v>0</c:v>
                </c:pt>
                <c:pt idx="13723">
                  <c:v>0</c:v>
                </c:pt>
                <c:pt idx="13724">
                  <c:v>0</c:v>
                </c:pt>
                <c:pt idx="13725">
                  <c:v>0</c:v>
                </c:pt>
                <c:pt idx="13726">
                  <c:v>0</c:v>
                </c:pt>
                <c:pt idx="13727">
                  <c:v>0</c:v>
                </c:pt>
                <c:pt idx="13728">
                  <c:v>0</c:v>
                </c:pt>
                <c:pt idx="13729">
                  <c:v>0</c:v>
                </c:pt>
                <c:pt idx="13730">
                  <c:v>0</c:v>
                </c:pt>
                <c:pt idx="13731">
                  <c:v>0</c:v>
                </c:pt>
                <c:pt idx="13732">
                  <c:v>0</c:v>
                </c:pt>
                <c:pt idx="13733">
                  <c:v>0</c:v>
                </c:pt>
                <c:pt idx="13734">
                  <c:v>0</c:v>
                </c:pt>
                <c:pt idx="13735">
                  <c:v>0</c:v>
                </c:pt>
                <c:pt idx="13736">
                  <c:v>0</c:v>
                </c:pt>
                <c:pt idx="13737">
                  <c:v>0</c:v>
                </c:pt>
                <c:pt idx="13738">
                  <c:v>0</c:v>
                </c:pt>
                <c:pt idx="13739">
                  <c:v>0</c:v>
                </c:pt>
                <c:pt idx="13740">
                  <c:v>0</c:v>
                </c:pt>
                <c:pt idx="13741">
                  <c:v>0</c:v>
                </c:pt>
                <c:pt idx="13742">
                  <c:v>0</c:v>
                </c:pt>
                <c:pt idx="13743">
                  <c:v>0</c:v>
                </c:pt>
                <c:pt idx="13744">
                  <c:v>0</c:v>
                </c:pt>
                <c:pt idx="13745">
                  <c:v>0</c:v>
                </c:pt>
                <c:pt idx="13746">
                  <c:v>0</c:v>
                </c:pt>
                <c:pt idx="13747">
                  <c:v>0</c:v>
                </c:pt>
                <c:pt idx="13748">
                  <c:v>0</c:v>
                </c:pt>
                <c:pt idx="13749">
                  <c:v>0</c:v>
                </c:pt>
                <c:pt idx="13750">
                  <c:v>0</c:v>
                </c:pt>
                <c:pt idx="13751">
                  <c:v>0</c:v>
                </c:pt>
                <c:pt idx="13752">
                  <c:v>0</c:v>
                </c:pt>
                <c:pt idx="13753">
                  <c:v>0</c:v>
                </c:pt>
                <c:pt idx="13754">
                  <c:v>0</c:v>
                </c:pt>
                <c:pt idx="13755">
                  <c:v>0</c:v>
                </c:pt>
                <c:pt idx="13756">
                  <c:v>0</c:v>
                </c:pt>
                <c:pt idx="13757">
                  <c:v>0</c:v>
                </c:pt>
                <c:pt idx="13758">
                  <c:v>0</c:v>
                </c:pt>
                <c:pt idx="13759">
                  <c:v>0</c:v>
                </c:pt>
                <c:pt idx="13760">
                  <c:v>0</c:v>
                </c:pt>
                <c:pt idx="13761">
                  <c:v>0</c:v>
                </c:pt>
                <c:pt idx="13762">
                  <c:v>0</c:v>
                </c:pt>
                <c:pt idx="13763">
                  <c:v>0</c:v>
                </c:pt>
                <c:pt idx="13764">
                  <c:v>0</c:v>
                </c:pt>
                <c:pt idx="13765">
                  <c:v>0</c:v>
                </c:pt>
                <c:pt idx="13766">
                  <c:v>0</c:v>
                </c:pt>
                <c:pt idx="13767">
                  <c:v>0</c:v>
                </c:pt>
                <c:pt idx="13768">
                  <c:v>0</c:v>
                </c:pt>
                <c:pt idx="13769">
                  <c:v>0</c:v>
                </c:pt>
                <c:pt idx="13770">
                  <c:v>0</c:v>
                </c:pt>
                <c:pt idx="13771">
                  <c:v>0</c:v>
                </c:pt>
                <c:pt idx="13772">
                  <c:v>0</c:v>
                </c:pt>
                <c:pt idx="13773">
                  <c:v>0</c:v>
                </c:pt>
                <c:pt idx="13774">
                  <c:v>0</c:v>
                </c:pt>
                <c:pt idx="13775">
                  <c:v>0</c:v>
                </c:pt>
                <c:pt idx="13776">
                  <c:v>0</c:v>
                </c:pt>
                <c:pt idx="13777">
                  <c:v>0</c:v>
                </c:pt>
                <c:pt idx="13778">
                  <c:v>0</c:v>
                </c:pt>
                <c:pt idx="13779">
                  <c:v>0</c:v>
                </c:pt>
                <c:pt idx="13780">
                  <c:v>0</c:v>
                </c:pt>
                <c:pt idx="13781">
                  <c:v>0</c:v>
                </c:pt>
                <c:pt idx="13782">
                  <c:v>0</c:v>
                </c:pt>
                <c:pt idx="13783">
                  <c:v>0</c:v>
                </c:pt>
                <c:pt idx="13784">
                  <c:v>0</c:v>
                </c:pt>
                <c:pt idx="13785">
                  <c:v>0</c:v>
                </c:pt>
                <c:pt idx="13786">
                  <c:v>0</c:v>
                </c:pt>
                <c:pt idx="13787">
                  <c:v>0</c:v>
                </c:pt>
                <c:pt idx="13788">
                  <c:v>1</c:v>
                </c:pt>
                <c:pt idx="13789">
                  <c:v>0</c:v>
                </c:pt>
                <c:pt idx="13790">
                  <c:v>0</c:v>
                </c:pt>
                <c:pt idx="13791">
                  <c:v>0</c:v>
                </c:pt>
                <c:pt idx="13792">
                  <c:v>0</c:v>
                </c:pt>
                <c:pt idx="13793">
                  <c:v>0</c:v>
                </c:pt>
                <c:pt idx="13794">
                  <c:v>0</c:v>
                </c:pt>
                <c:pt idx="13795">
                  <c:v>0</c:v>
                </c:pt>
                <c:pt idx="13796">
                  <c:v>0</c:v>
                </c:pt>
                <c:pt idx="13797">
                  <c:v>0</c:v>
                </c:pt>
                <c:pt idx="13798">
                  <c:v>0</c:v>
                </c:pt>
                <c:pt idx="13799">
                  <c:v>0</c:v>
                </c:pt>
                <c:pt idx="13800">
                  <c:v>0</c:v>
                </c:pt>
                <c:pt idx="13801">
                  <c:v>0</c:v>
                </c:pt>
                <c:pt idx="13802">
                  <c:v>0</c:v>
                </c:pt>
                <c:pt idx="13803">
                  <c:v>2</c:v>
                </c:pt>
                <c:pt idx="13804">
                  <c:v>3</c:v>
                </c:pt>
                <c:pt idx="13805">
                  <c:v>3</c:v>
                </c:pt>
                <c:pt idx="13806">
                  <c:v>3</c:v>
                </c:pt>
                <c:pt idx="13807">
                  <c:v>0</c:v>
                </c:pt>
                <c:pt idx="13808">
                  <c:v>0</c:v>
                </c:pt>
                <c:pt idx="13809">
                  <c:v>4</c:v>
                </c:pt>
                <c:pt idx="13810">
                  <c:v>0</c:v>
                </c:pt>
                <c:pt idx="13811">
                  <c:v>0</c:v>
                </c:pt>
                <c:pt idx="13812">
                  <c:v>2</c:v>
                </c:pt>
                <c:pt idx="13813">
                  <c:v>2</c:v>
                </c:pt>
                <c:pt idx="13814">
                  <c:v>0</c:v>
                </c:pt>
                <c:pt idx="13815">
                  <c:v>0</c:v>
                </c:pt>
                <c:pt idx="13816">
                  <c:v>1</c:v>
                </c:pt>
                <c:pt idx="13817">
                  <c:v>0</c:v>
                </c:pt>
                <c:pt idx="13818">
                  <c:v>0</c:v>
                </c:pt>
                <c:pt idx="13819">
                  <c:v>0</c:v>
                </c:pt>
                <c:pt idx="13820">
                  <c:v>0</c:v>
                </c:pt>
                <c:pt idx="13821">
                  <c:v>0</c:v>
                </c:pt>
                <c:pt idx="13822">
                  <c:v>0</c:v>
                </c:pt>
                <c:pt idx="13823">
                  <c:v>0</c:v>
                </c:pt>
                <c:pt idx="13824">
                  <c:v>0</c:v>
                </c:pt>
                <c:pt idx="13825">
                  <c:v>0</c:v>
                </c:pt>
                <c:pt idx="13826">
                  <c:v>0</c:v>
                </c:pt>
                <c:pt idx="13827">
                  <c:v>0</c:v>
                </c:pt>
                <c:pt idx="13828">
                  <c:v>0</c:v>
                </c:pt>
                <c:pt idx="13829">
                  <c:v>0</c:v>
                </c:pt>
                <c:pt idx="13830">
                  <c:v>0</c:v>
                </c:pt>
                <c:pt idx="13831">
                  <c:v>0</c:v>
                </c:pt>
                <c:pt idx="13832">
                  <c:v>0</c:v>
                </c:pt>
                <c:pt idx="13833">
                  <c:v>0</c:v>
                </c:pt>
                <c:pt idx="13834">
                  <c:v>0</c:v>
                </c:pt>
                <c:pt idx="13835">
                  <c:v>0</c:v>
                </c:pt>
                <c:pt idx="13836">
                  <c:v>0</c:v>
                </c:pt>
                <c:pt idx="13837">
                  <c:v>0</c:v>
                </c:pt>
                <c:pt idx="13838">
                  <c:v>0</c:v>
                </c:pt>
                <c:pt idx="13839">
                  <c:v>0</c:v>
                </c:pt>
                <c:pt idx="13840">
                  <c:v>0</c:v>
                </c:pt>
                <c:pt idx="13841">
                  <c:v>0</c:v>
                </c:pt>
                <c:pt idx="13842">
                  <c:v>0</c:v>
                </c:pt>
                <c:pt idx="13843">
                  <c:v>0</c:v>
                </c:pt>
                <c:pt idx="13844">
                  <c:v>0</c:v>
                </c:pt>
                <c:pt idx="13845">
                  <c:v>0</c:v>
                </c:pt>
                <c:pt idx="13846">
                  <c:v>0</c:v>
                </c:pt>
                <c:pt idx="13847">
                  <c:v>0</c:v>
                </c:pt>
                <c:pt idx="13848">
                  <c:v>1</c:v>
                </c:pt>
                <c:pt idx="13849">
                  <c:v>0</c:v>
                </c:pt>
                <c:pt idx="13850">
                  <c:v>0</c:v>
                </c:pt>
                <c:pt idx="13851">
                  <c:v>4</c:v>
                </c:pt>
                <c:pt idx="13852">
                  <c:v>9</c:v>
                </c:pt>
                <c:pt idx="13853">
                  <c:v>2</c:v>
                </c:pt>
                <c:pt idx="13854">
                  <c:v>0</c:v>
                </c:pt>
                <c:pt idx="13855">
                  <c:v>0</c:v>
                </c:pt>
                <c:pt idx="13856">
                  <c:v>0</c:v>
                </c:pt>
                <c:pt idx="13857">
                  <c:v>0</c:v>
                </c:pt>
                <c:pt idx="13858">
                  <c:v>0</c:v>
                </c:pt>
                <c:pt idx="13859">
                  <c:v>0</c:v>
                </c:pt>
                <c:pt idx="13860">
                  <c:v>0</c:v>
                </c:pt>
                <c:pt idx="13861">
                  <c:v>0</c:v>
                </c:pt>
                <c:pt idx="13862">
                  <c:v>0</c:v>
                </c:pt>
                <c:pt idx="13863">
                  <c:v>0</c:v>
                </c:pt>
                <c:pt idx="13864">
                  <c:v>0</c:v>
                </c:pt>
                <c:pt idx="13865">
                  <c:v>1</c:v>
                </c:pt>
                <c:pt idx="13866">
                  <c:v>0</c:v>
                </c:pt>
                <c:pt idx="13867">
                  <c:v>0</c:v>
                </c:pt>
                <c:pt idx="13868">
                  <c:v>0</c:v>
                </c:pt>
                <c:pt idx="13869">
                  <c:v>0</c:v>
                </c:pt>
                <c:pt idx="13870">
                  <c:v>0</c:v>
                </c:pt>
                <c:pt idx="13871">
                  <c:v>0</c:v>
                </c:pt>
                <c:pt idx="13872">
                  <c:v>0</c:v>
                </c:pt>
                <c:pt idx="13873">
                  <c:v>0</c:v>
                </c:pt>
                <c:pt idx="13874">
                  <c:v>0</c:v>
                </c:pt>
                <c:pt idx="13875">
                  <c:v>0</c:v>
                </c:pt>
                <c:pt idx="13876">
                  <c:v>0</c:v>
                </c:pt>
                <c:pt idx="13877">
                  <c:v>0</c:v>
                </c:pt>
                <c:pt idx="13878">
                  <c:v>0</c:v>
                </c:pt>
                <c:pt idx="13879">
                  <c:v>0</c:v>
                </c:pt>
                <c:pt idx="13880">
                  <c:v>0</c:v>
                </c:pt>
                <c:pt idx="13881">
                  <c:v>0</c:v>
                </c:pt>
                <c:pt idx="13882">
                  <c:v>0</c:v>
                </c:pt>
                <c:pt idx="13883">
                  <c:v>1</c:v>
                </c:pt>
                <c:pt idx="13884">
                  <c:v>0</c:v>
                </c:pt>
                <c:pt idx="13885">
                  <c:v>0</c:v>
                </c:pt>
                <c:pt idx="13886">
                  <c:v>0</c:v>
                </c:pt>
                <c:pt idx="13887">
                  <c:v>0</c:v>
                </c:pt>
                <c:pt idx="13888">
                  <c:v>0</c:v>
                </c:pt>
                <c:pt idx="13889">
                  <c:v>0</c:v>
                </c:pt>
                <c:pt idx="13890">
                  <c:v>0</c:v>
                </c:pt>
                <c:pt idx="13891">
                  <c:v>0</c:v>
                </c:pt>
                <c:pt idx="13892">
                  <c:v>0</c:v>
                </c:pt>
                <c:pt idx="13893">
                  <c:v>0</c:v>
                </c:pt>
                <c:pt idx="13894">
                  <c:v>0</c:v>
                </c:pt>
                <c:pt idx="13895">
                  <c:v>0</c:v>
                </c:pt>
                <c:pt idx="13896">
                  <c:v>0</c:v>
                </c:pt>
                <c:pt idx="13897">
                  <c:v>0</c:v>
                </c:pt>
                <c:pt idx="13898">
                  <c:v>0</c:v>
                </c:pt>
                <c:pt idx="13899">
                  <c:v>0</c:v>
                </c:pt>
                <c:pt idx="13900">
                  <c:v>0</c:v>
                </c:pt>
                <c:pt idx="13901">
                  <c:v>0</c:v>
                </c:pt>
                <c:pt idx="13902">
                  <c:v>0</c:v>
                </c:pt>
                <c:pt idx="13903">
                  <c:v>0</c:v>
                </c:pt>
                <c:pt idx="13904">
                  <c:v>0</c:v>
                </c:pt>
                <c:pt idx="13905">
                  <c:v>0</c:v>
                </c:pt>
                <c:pt idx="13906">
                  <c:v>0</c:v>
                </c:pt>
                <c:pt idx="13907">
                  <c:v>0</c:v>
                </c:pt>
                <c:pt idx="13908">
                  <c:v>0</c:v>
                </c:pt>
                <c:pt idx="13909">
                  <c:v>0</c:v>
                </c:pt>
                <c:pt idx="13910">
                  <c:v>0</c:v>
                </c:pt>
                <c:pt idx="13911">
                  <c:v>0</c:v>
                </c:pt>
                <c:pt idx="13912">
                  <c:v>0</c:v>
                </c:pt>
                <c:pt idx="13913">
                  <c:v>2</c:v>
                </c:pt>
                <c:pt idx="13914">
                  <c:v>0</c:v>
                </c:pt>
                <c:pt idx="13915">
                  <c:v>0</c:v>
                </c:pt>
                <c:pt idx="13916">
                  <c:v>0</c:v>
                </c:pt>
                <c:pt idx="13917">
                  <c:v>0</c:v>
                </c:pt>
                <c:pt idx="13918">
                  <c:v>0</c:v>
                </c:pt>
                <c:pt idx="13919">
                  <c:v>0</c:v>
                </c:pt>
                <c:pt idx="13920">
                  <c:v>1</c:v>
                </c:pt>
                <c:pt idx="13921">
                  <c:v>2</c:v>
                </c:pt>
                <c:pt idx="13922">
                  <c:v>0</c:v>
                </c:pt>
                <c:pt idx="13923">
                  <c:v>0</c:v>
                </c:pt>
                <c:pt idx="13924">
                  <c:v>0</c:v>
                </c:pt>
                <c:pt idx="13925">
                  <c:v>0</c:v>
                </c:pt>
                <c:pt idx="13926">
                  <c:v>2</c:v>
                </c:pt>
                <c:pt idx="13927">
                  <c:v>3</c:v>
                </c:pt>
                <c:pt idx="13928">
                  <c:v>2</c:v>
                </c:pt>
                <c:pt idx="13929">
                  <c:v>0</c:v>
                </c:pt>
                <c:pt idx="13930">
                  <c:v>1</c:v>
                </c:pt>
                <c:pt idx="13931">
                  <c:v>0</c:v>
                </c:pt>
                <c:pt idx="13932">
                  <c:v>1</c:v>
                </c:pt>
                <c:pt idx="13933">
                  <c:v>0</c:v>
                </c:pt>
                <c:pt idx="13934">
                  <c:v>0</c:v>
                </c:pt>
                <c:pt idx="13935">
                  <c:v>0</c:v>
                </c:pt>
                <c:pt idx="13936">
                  <c:v>4</c:v>
                </c:pt>
                <c:pt idx="13937">
                  <c:v>0</c:v>
                </c:pt>
                <c:pt idx="13938">
                  <c:v>0</c:v>
                </c:pt>
                <c:pt idx="13939">
                  <c:v>0</c:v>
                </c:pt>
                <c:pt idx="13940">
                  <c:v>0</c:v>
                </c:pt>
                <c:pt idx="13941">
                  <c:v>0</c:v>
                </c:pt>
                <c:pt idx="13942">
                  <c:v>2</c:v>
                </c:pt>
                <c:pt idx="13943">
                  <c:v>0</c:v>
                </c:pt>
                <c:pt idx="13944">
                  <c:v>0</c:v>
                </c:pt>
                <c:pt idx="13945">
                  <c:v>0</c:v>
                </c:pt>
                <c:pt idx="13946">
                  <c:v>0</c:v>
                </c:pt>
                <c:pt idx="13947">
                  <c:v>0</c:v>
                </c:pt>
                <c:pt idx="13948">
                  <c:v>0</c:v>
                </c:pt>
                <c:pt idx="13949">
                  <c:v>0</c:v>
                </c:pt>
                <c:pt idx="13950">
                  <c:v>1</c:v>
                </c:pt>
                <c:pt idx="13951">
                  <c:v>1</c:v>
                </c:pt>
                <c:pt idx="13952">
                  <c:v>0</c:v>
                </c:pt>
                <c:pt idx="13953">
                  <c:v>0</c:v>
                </c:pt>
                <c:pt idx="13954">
                  <c:v>4</c:v>
                </c:pt>
                <c:pt idx="13955">
                  <c:v>0</c:v>
                </c:pt>
                <c:pt idx="13956">
                  <c:v>3</c:v>
                </c:pt>
                <c:pt idx="13957">
                  <c:v>0</c:v>
                </c:pt>
                <c:pt idx="13958">
                  <c:v>0</c:v>
                </c:pt>
                <c:pt idx="13959">
                  <c:v>2</c:v>
                </c:pt>
                <c:pt idx="13960">
                  <c:v>0</c:v>
                </c:pt>
                <c:pt idx="13961">
                  <c:v>2</c:v>
                </c:pt>
                <c:pt idx="13962">
                  <c:v>0</c:v>
                </c:pt>
                <c:pt idx="13963">
                  <c:v>2</c:v>
                </c:pt>
                <c:pt idx="13964">
                  <c:v>6</c:v>
                </c:pt>
                <c:pt idx="13965">
                  <c:v>9</c:v>
                </c:pt>
                <c:pt idx="13966">
                  <c:v>3</c:v>
                </c:pt>
                <c:pt idx="13967">
                  <c:v>2</c:v>
                </c:pt>
                <c:pt idx="13968">
                  <c:v>1</c:v>
                </c:pt>
                <c:pt idx="13969">
                  <c:v>0</c:v>
                </c:pt>
                <c:pt idx="13970">
                  <c:v>2</c:v>
                </c:pt>
                <c:pt idx="13971">
                  <c:v>0</c:v>
                </c:pt>
                <c:pt idx="13972">
                  <c:v>2</c:v>
                </c:pt>
                <c:pt idx="13973">
                  <c:v>0</c:v>
                </c:pt>
                <c:pt idx="13974">
                  <c:v>0</c:v>
                </c:pt>
                <c:pt idx="13975">
                  <c:v>0</c:v>
                </c:pt>
                <c:pt idx="13976">
                  <c:v>1</c:v>
                </c:pt>
                <c:pt idx="13977">
                  <c:v>3</c:v>
                </c:pt>
                <c:pt idx="13978">
                  <c:v>6</c:v>
                </c:pt>
                <c:pt idx="13979">
                  <c:v>3</c:v>
                </c:pt>
                <c:pt idx="13980">
                  <c:v>1</c:v>
                </c:pt>
                <c:pt idx="13981">
                  <c:v>4</c:v>
                </c:pt>
                <c:pt idx="13982">
                  <c:v>1</c:v>
                </c:pt>
                <c:pt idx="13983">
                  <c:v>3</c:v>
                </c:pt>
                <c:pt idx="13984">
                  <c:v>5</c:v>
                </c:pt>
                <c:pt idx="13985">
                  <c:v>0</c:v>
                </c:pt>
                <c:pt idx="13986">
                  <c:v>0</c:v>
                </c:pt>
                <c:pt idx="13987">
                  <c:v>0</c:v>
                </c:pt>
                <c:pt idx="13988">
                  <c:v>0</c:v>
                </c:pt>
                <c:pt idx="13989">
                  <c:v>1</c:v>
                </c:pt>
                <c:pt idx="13990">
                  <c:v>0</c:v>
                </c:pt>
                <c:pt idx="13991">
                  <c:v>1</c:v>
                </c:pt>
                <c:pt idx="13992">
                  <c:v>4</c:v>
                </c:pt>
                <c:pt idx="13993">
                  <c:v>0</c:v>
                </c:pt>
                <c:pt idx="13994">
                  <c:v>2</c:v>
                </c:pt>
                <c:pt idx="13995">
                  <c:v>0</c:v>
                </c:pt>
                <c:pt idx="13996">
                  <c:v>0</c:v>
                </c:pt>
                <c:pt idx="13997">
                  <c:v>0</c:v>
                </c:pt>
                <c:pt idx="13998">
                  <c:v>0</c:v>
                </c:pt>
                <c:pt idx="13999">
                  <c:v>0</c:v>
                </c:pt>
                <c:pt idx="14000">
                  <c:v>1</c:v>
                </c:pt>
                <c:pt idx="14001">
                  <c:v>0</c:v>
                </c:pt>
                <c:pt idx="14002">
                  <c:v>0</c:v>
                </c:pt>
                <c:pt idx="14003">
                  <c:v>0</c:v>
                </c:pt>
                <c:pt idx="14004">
                  <c:v>1</c:v>
                </c:pt>
                <c:pt idx="14005">
                  <c:v>0</c:v>
                </c:pt>
                <c:pt idx="14006">
                  <c:v>2</c:v>
                </c:pt>
                <c:pt idx="14007">
                  <c:v>1</c:v>
                </c:pt>
                <c:pt idx="14008">
                  <c:v>0</c:v>
                </c:pt>
                <c:pt idx="14009">
                  <c:v>1</c:v>
                </c:pt>
                <c:pt idx="14010">
                  <c:v>0</c:v>
                </c:pt>
                <c:pt idx="14011">
                  <c:v>0</c:v>
                </c:pt>
                <c:pt idx="14012">
                  <c:v>0</c:v>
                </c:pt>
                <c:pt idx="14013">
                  <c:v>0</c:v>
                </c:pt>
                <c:pt idx="14014">
                  <c:v>0</c:v>
                </c:pt>
                <c:pt idx="14015">
                  <c:v>2</c:v>
                </c:pt>
                <c:pt idx="14016">
                  <c:v>0</c:v>
                </c:pt>
                <c:pt idx="14017">
                  <c:v>1</c:v>
                </c:pt>
                <c:pt idx="14018">
                  <c:v>0</c:v>
                </c:pt>
                <c:pt idx="14019">
                  <c:v>2</c:v>
                </c:pt>
                <c:pt idx="14020">
                  <c:v>0</c:v>
                </c:pt>
                <c:pt idx="14021">
                  <c:v>1</c:v>
                </c:pt>
                <c:pt idx="14022">
                  <c:v>2</c:v>
                </c:pt>
                <c:pt idx="14023">
                  <c:v>1</c:v>
                </c:pt>
                <c:pt idx="14024">
                  <c:v>8</c:v>
                </c:pt>
                <c:pt idx="14025">
                  <c:v>0</c:v>
                </c:pt>
                <c:pt idx="14026">
                  <c:v>0</c:v>
                </c:pt>
                <c:pt idx="14027">
                  <c:v>0</c:v>
                </c:pt>
                <c:pt idx="14028">
                  <c:v>4</c:v>
                </c:pt>
                <c:pt idx="14029">
                  <c:v>0</c:v>
                </c:pt>
                <c:pt idx="14030">
                  <c:v>2</c:v>
                </c:pt>
                <c:pt idx="14031">
                  <c:v>0</c:v>
                </c:pt>
                <c:pt idx="14032">
                  <c:v>2</c:v>
                </c:pt>
                <c:pt idx="14033">
                  <c:v>0</c:v>
                </c:pt>
                <c:pt idx="14034">
                  <c:v>5</c:v>
                </c:pt>
                <c:pt idx="14035">
                  <c:v>3</c:v>
                </c:pt>
                <c:pt idx="14036">
                  <c:v>0</c:v>
                </c:pt>
                <c:pt idx="14037">
                  <c:v>0</c:v>
                </c:pt>
                <c:pt idx="14038">
                  <c:v>0</c:v>
                </c:pt>
                <c:pt idx="14039">
                  <c:v>0</c:v>
                </c:pt>
                <c:pt idx="14040">
                  <c:v>1</c:v>
                </c:pt>
                <c:pt idx="14041">
                  <c:v>0</c:v>
                </c:pt>
                <c:pt idx="14042">
                  <c:v>3</c:v>
                </c:pt>
                <c:pt idx="14043">
                  <c:v>2</c:v>
                </c:pt>
                <c:pt idx="14044">
                  <c:v>4</c:v>
                </c:pt>
                <c:pt idx="14045">
                  <c:v>0</c:v>
                </c:pt>
                <c:pt idx="14046">
                  <c:v>0</c:v>
                </c:pt>
                <c:pt idx="14047">
                  <c:v>0</c:v>
                </c:pt>
                <c:pt idx="14048">
                  <c:v>0</c:v>
                </c:pt>
                <c:pt idx="14049">
                  <c:v>0</c:v>
                </c:pt>
                <c:pt idx="14050">
                  <c:v>0</c:v>
                </c:pt>
                <c:pt idx="14051">
                  <c:v>0</c:v>
                </c:pt>
                <c:pt idx="14052">
                  <c:v>0</c:v>
                </c:pt>
                <c:pt idx="14053">
                  <c:v>0</c:v>
                </c:pt>
                <c:pt idx="14054">
                  <c:v>0</c:v>
                </c:pt>
                <c:pt idx="14055">
                  <c:v>0</c:v>
                </c:pt>
                <c:pt idx="14056">
                  <c:v>0</c:v>
                </c:pt>
                <c:pt idx="14057">
                  <c:v>0</c:v>
                </c:pt>
                <c:pt idx="14058">
                  <c:v>0</c:v>
                </c:pt>
                <c:pt idx="14059">
                  <c:v>0</c:v>
                </c:pt>
                <c:pt idx="14060">
                  <c:v>0</c:v>
                </c:pt>
                <c:pt idx="14061">
                  <c:v>0</c:v>
                </c:pt>
                <c:pt idx="14062">
                  <c:v>0</c:v>
                </c:pt>
                <c:pt idx="14063">
                  <c:v>1</c:v>
                </c:pt>
                <c:pt idx="14064">
                  <c:v>0</c:v>
                </c:pt>
                <c:pt idx="14065">
                  <c:v>0</c:v>
                </c:pt>
                <c:pt idx="14066">
                  <c:v>1</c:v>
                </c:pt>
                <c:pt idx="14067">
                  <c:v>0</c:v>
                </c:pt>
                <c:pt idx="14068">
                  <c:v>9</c:v>
                </c:pt>
                <c:pt idx="14069">
                  <c:v>0</c:v>
                </c:pt>
                <c:pt idx="14070">
                  <c:v>0</c:v>
                </c:pt>
                <c:pt idx="14071">
                  <c:v>0</c:v>
                </c:pt>
                <c:pt idx="14072">
                  <c:v>2</c:v>
                </c:pt>
                <c:pt idx="14073">
                  <c:v>0</c:v>
                </c:pt>
                <c:pt idx="14074">
                  <c:v>0</c:v>
                </c:pt>
                <c:pt idx="14075">
                  <c:v>1</c:v>
                </c:pt>
                <c:pt idx="14076">
                  <c:v>1</c:v>
                </c:pt>
                <c:pt idx="14077">
                  <c:v>0</c:v>
                </c:pt>
                <c:pt idx="14078">
                  <c:v>3</c:v>
                </c:pt>
                <c:pt idx="14079">
                  <c:v>0</c:v>
                </c:pt>
                <c:pt idx="14080">
                  <c:v>2</c:v>
                </c:pt>
                <c:pt idx="14081">
                  <c:v>3</c:v>
                </c:pt>
                <c:pt idx="14082">
                  <c:v>1</c:v>
                </c:pt>
                <c:pt idx="14083">
                  <c:v>2</c:v>
                </c:pt>
                <c:pt idx="14084">
                  <c:v>3</c:v>
                </c:pt>
                <c:pt idx="14085">
                  <c:v>2</c:v>
                </c:pt>
                <c:pt idx="14086">
                  <c:v>2</c:v>
                </c:pt>
                <c:pt idx="14087">
                  <c:v>2</c:v>
                </c:pt>
                <c:pt idx="14088">
                  <c:v>1</c:v>
                </c:pt>
                <c:pt idx="14089">
                  <c:v>0</c:v>
                </c:pt>
                <c:pt idx="14090">
                  <c:v>3</c:v>
                </c:pt>
                <c:pt idx="14091">
                  <c:v>2</c:v>
                </c:pt>
                <c:pt idx="14092">
                  <c:v>1</c:v>
                </c:pt>
                <c:pt idx="14093">
                  <c:v>0</c:v>
                </c:pt>
                <c:pt idx="14094">
                  <c:v>2</c:v>
                </c:pt>
                <c:pt idx="14095">
                  <c:v>1</c:v>
                </c:pt>
                <c:pt idx="14096">
                  <c:v>0</c:v>
                </c:pt>
                <c:pt idx="14097">
                  <c:v>1</c:v>
                </c:pt>
                <c:pt idx="14098">
                  <c:v>1</c:v>
                </c:pt>
                <c:pt idx="14099">
                  <c:v>0</c:v>
                </c:pt>
                <c:pt idx="14100">
                  <c:v>0</c:v>
                </c:pt>
                <c:pt idx="14101">
                  <c:v>1</c:v>
                </c:pt>
                <c:pt idx="14102">
                  <c:v>3</c:v>
                </c:pt>
                <c:pt idx="14103">
                  <c:v>1</c:v>
                </c:pt>
                <c:pt idx="14104">
                  <c:v>3</c:v>
                </c:pt>
                <c:pt idx="14105">
                  <c:v>0</c:v>
                </c:pt>
                <c:pt idx="14106">
                  <c:v>1</c:v>
                </c:pt>
                <c:pt idx="14107">
                  <c:v>0</c:v>
                </c:pt>
                <c:pt idx="14108">
                  <c:v>2</c:v>
                </c:pt>
                <c:pt idx="14109">
                  <c:v>1</c:v>
                </c:pt>
                <c:pt idx="14110">
                  <c:v>0</c:v>
                </c:pt>
                <c:pt idx="14111">
                  <c:v>0</c:v>
                </c:pt>
                <c:pt idx="14112">
                  <c:v>0</c:v>
                </c:pt>
                <c:pt idx="14113">
                  <c:v>0</c:v>
                </c:pt>
                <c:pt idx="14114">
                  <c:v>3</c:v>
                </c:pt>
                <c:pt idx="14115">
                  <c:v>0</c:v>
                </c:pt>
                <c:pt idx="14116">
                  <c:v>1</c:v>
                </c:pt>
                <c:pt idx="14117">
                  <c:v>0</c:v>
                </c:pt>
                <c:pt idx="14118">
                  <c:v>0</c:v>
                </c:pt>
                <c:pt idx="14119">
                  <c:v>0</c:v>
                </c:pt>
                <c:pt idx="14120">
                  <c:v>0</c:v>
                </c:pt>
                <c:pt idx="14121">
                  <c:v>2</c:v>
                </c:pt>
                <c:pt idx="14122">
                  <c:v>0</c:v>
                </c:pt>
                <c:pt idx="14123">
                  <c:v>7</c:v>
                </c:pt>
                <c:pt idx="14124">
                  <c:v>1</c:v>
                </c:pt>
                <c:pt idx="14125">
                  <c:v>3</c:v>
                </c:pt>
                <c:pt idx="14126">
                  <c:v>0</c:v>
                </c:pt>
                <c:pt idx="14127">
                  <c:v>2</c:v>
                </c:pt>
                <c:pt idx="14128">
                  <c:v>1</c:v>
                </c:pt>
                <c:pt idx="14129">
                  <c:v>1</c:v>
                </c:pt>
                <c:pt idx="14130">
                  <c:v>1</c:v>
                </c:pt>
                <c:pt idx="14131">
                  <c:v>0</c:v>
                </c:pt>
                <c:pt idx="14132">
                  <c:v>0</c:v>
                </c:pt>
                <c:pt idx="14133">
                  <c:v>0</c:v>
                </c:pt>
                <c:pt idx="14134">
                  <c:v>0</c:v>
                </c:pt>
                <c:pt idx="14135">
                  <c:v>0</c:v>
                </c:pt>
                <c:pt idx="14136">
                  <c:v>1</c:v>
                </c:pt>
                <c:pt idx="14137">
                  <c:v>0</c:v>
                </c:pt>
                <c:pt idx="14138">
                  <c:v>0</c:v>
                </c:pt>
                <c:pt idx="14139">
                  <c:v>0</c:v>
                </c:pt>
                <c:pt idx="14140">
                  <c:v>0</c:v>
                </c:pt>
                <c:pt idx="14141">
                  <c:v>0</c:v>
                </c:pt>
                <c:pt idx="14142">
                  <c:v>0</c:v>
                </c:pt>
                <c:pt idx="14143">
                  <c:v>0</c:v>
                </c:pt>
                <c:pt idx="14144">
                  <c:v>1</c:v>
                </c:pt>
                <c:pt idx="14145">
                  <c:v>0</c:v>
                </c:pt>
                <c:pt idx="14146">
                  <c:v>0</c:v>
                </c:pt>
                <c:pt idx="14147">
                  <c:v>0</c:v>
                </c:pt>
                <c:pt idx="14148">
                  <c:v>0</c:v>
                </c:pt>
                <c:pt idx="14149">
                  <c:v>4</c:v>
                </c:pt>
                <c:pt idx="14150">
                  <c:v>0</c:v>
                </c:pt>
                <c:pt idx="14151">
                  <c:v>0</c:v>
                </c:pt>
                <c:pt idx="14152">
                  <c:v>0</c:v>
                </c:pt>
                <c:pt idx="14153">
                  <c:v>0</c:v>
                </c:pt>
                <c:pt idx="14154">
                  <c:v>0</c:v>
                </c:pt>
                <c:pt idx="14155">
                  <c:v>0</c:v>
                </c:pt>
                <c:pt idx="14156">
                  <c:v>0</c:v>
                </c:pt>
                <c:pt idx="14157">
                  <c:v>3</c:v>
                </c:pt>
                <c:pt idx="14158">
                  <c:v>0</c:v>
                </c:pt>
                <c:pt idx="14159">
                  <c:v>0</c:v>
                </c:pt>
                <c:pt idx="14160">
                  <c:v>0</c:v>
                </c:pt>
                <c:pt idx="14161">
                  <c:v>0</c:v>
                </c:pt>
                <c:pt idx="14162">
                  <c:v>1</c:v>
                </c:pt>
                <c:pt idx="14163">
                  <c:v>0</c:v>
                </c:pt>
                <c:pt idx="14164">
                  <c:v>0</c:v>
                </c:pt>
                <c:pt idx="14165">
                  <c:v>0</c:v>
                </c:pt>
                <c:pt idx="14166">
                  <c:v>0</c:v>
                </c:pt>
                <c:pt idx="14167">
                  <c:v>0</c:v>
                </c:pt>
                <c:pt idx="14168">
                  <c:v>0</c:v>
                </c:pt>
                <c:pt idx="14169">
                  <c:v>0</c:v>
                </c:pt>
                <c:pt idx="14170">
                  <c:v>0</c:v>
                </c:pt>
                <c:pt idx="14171">
                  <c:v>0</c:v>
                </c:pt>
                <c:pt idx="14172">
                  <c:v>0</c:v>
                </c:pt>
                <c:pt idx="14173">
                  <c:v>0</c:v>
                </c:pt>
                <c:pt idx="14174">
                  <c:v>0</c:v>
                </c:pt>
                <c:pt idx="14175">
                  <c:v>0</c:v>
                </c:pt>
                <c:pt idx="14176">
                  <c:v>0</c:v>
                </c:pt>
                <c:pt idx="14177">
                  <c:v>0</c:v>
                </c:pt>
                <c:pt idx="14178">
                  <c:v>0</c:v>
                </c:pt>
                <c:pt idx="14179">
                  <c:v>0</c:v>
                </c:pt>
                <c:pt idx="14180">
                  <c:v>0</c:v>
                </c:pt>
                <c:pt idx="14181">
                  <c:v>0</c:v>
                </c:pt>
                <c:pt idx="14182">
                  <c:v>0</c:v>
                </c:pt>
                <c:pt idx="14183">
                  <c:v>0</c:v>
                </c:pt>
                <c:pt idx="14184">
                  <c:v>0</c:v>
                </c:pt>
                <c:pt idx="14185">
                  <c:v>0</c:v>
                </c:pt>
                <c:pt idx="14186">
                  <c:v>0</c:v>
                </c:pt>
                <c:pt idx="14187">
                  <c:v>0</c:v>
                </c:pt>
                <c:pt idx="14188">
                  <c:v>0</c:v>
                </c:pt>
                <c:pt idx="14189">
                  <c:v>0</c:v>
                </c:pt>
                <c:pt idx="14190">
                  <c:v>0</c:v>
                </c:pt>
                <c:pt idx="14191">
                  <c:v>0</c:v>
                </c:pt>
                <c:pt idx="14192">
                  <c:v>2</c:v>
                </c:pt>
                <c:pt idx="14193">
                  <c:v>1</c:v>
                </c:pt>
                <c:pt idx="14194">
                  <c:v>0</c:v>
                </c:pt>
                <c:pt idx="14195">
                  <c:v>0</c:v>
                </c:pt>
                <c:pt idx="14196">
                  <c:v>0</c:v>
                </c:pt>
                <c:pt idx="14197">
                  <c:v>0</c:v>
                </c:pt>
                <c:pt idx="14198">
                  <c:v>0</c:v>
                </c:pt>
                <c:pt idx="14199">
                  <c:v>1</c:v>
                </c:pt>
                <c:pt idx="14200">
                  <c:v>3</c:v>
                </c:pt>
                <c:pt idx="14201">
                  <c:v>0</c:v>
                </c:pt>
                <c:pt idx="14202">
                  <c:v>0</c:v>
                </c:pt>
                <c:pt idx="14203">
                  <c:v>0</c:v>
                </c:pt>
                <c:pt idx="14204">
                  <c:v>0</c:v>
                </c:pt>
                <c:pt idx="14205">
                  <c:v>0</c:v>
                </c:pt>
                <c:pt idx="14206">
                  <c:v>0</c:v>
                </c:pt>
                <c:pt idx="14207">
                  <c:v>0</c:v>
                </c:pt>
                <c:pt idx="14208">
                  <c:v>0</c:v>
                </c:pt>
                <c:pt idx="14209">
                  <c:v>0</c:v>
                </c:pt>
                <c:pt idx="14210">
                  <c:v>0</c:v>
                </c:pt>
                <c:pt idx="14211">
                  <c:v>0</c:v>
                </c:pt>
                <c:pt idx="14212">
                  <c:v>0</c:v>
                </c:pt>
                <c:pt idx="14213">
                  <c:v>0</c:v>
                </c:pt>
                <c:pt idx="14214">
                  <c:v>0</c:v>
                </c:pt>
                <c:pt idx="14215">
                  <c:v>0</c:v>
                </c:pt>
                <c:pt idx="14216">
                  <c:v>0</c:v>
                </c:pt>
                <c:pt idx="14217">
                  <c:v>0</c:v>
                </c:pt>
                <c:pt idx="14218">
                  <c:v>0</c:v>
                </c:pt>
                <c:pt idx="14219">
                  <c:v>0</c:v>
                </c:pt>
                <c:pt idx="14220">
                  <c:v>0</c:v>
                </c:pt>
                <c:pt idx="14221">
                  <c:v>0</c:v>
                </c:pt>
                <c:pt idx="14222">
                  <c:v>0</c:v>
                </c:pt>
                <c:pt idx="14223">
                  <c:v>0</c:v>
                </c:pt>
                <c:pt idx="14224">
                  <c:v>0</c:v>
                </c:pt>
                <c:pt idx="14225">
                  <c:v>0</c:v>
                </c:pt>
                <c:pt idx="14226">
                  <c:v>0</c:v>
                </c:pt>
                <c:pt idx="14227">
                  <c:v>1</c:v>
                </c:pt>
                <c:pt idx="14228">
                  <c:v>0</c:v>
                </c:pt>
                <c:pt idx="14229">
                  <c:v>1</c:v>
                </c:pt>
                <c:pt idx="14230">
                  <c:v>0</c:v>
                </c:pt>
                <c:pt idx="14231">
                  <c:v>0</c:v>
                </c:pt>
                <c:pt idx="14232">
                  <c:v>0</c:v>
                </c:pt>
                <c:pt idx="14233">
                  <c:v>0</c:v>
                </c:pt>
                <c:pt idx="14234">
                  <c:v>0</c:v>
                </c:pt>
                <c:pt idx="14235">
                  <c:v>0</c:v>
                </c:pt>
                <c:pt idx="14236">
                  <c:v>0</c:v>
                </c:pt>
                <c:pt idx="14237">
                  <c:v>0</c:v>
                </c:pt>
                <c:pt idx="14238">
                  <c:v>0</c:v>
                </c:pt>
                <c:pt idx="14239">
                  <c:v>0</c:v>
                </c:pt>
                <c:pt idx="14240">
                  <c:v>0</c:v>
                </c:pt>
                <c:pt idx="14241">
                  <c:v>0</c:v>
                </c:pt>
                <c:pt idx="14242">
                  <c:v>0</c:v>
                </c:pt>
                <c:pt idx="14243">
                  <c:v>0</c:v>
                </c:pt>
                <c:pt idx="14244">
                  <c:v>0</c:v>
                </c:pt>
                <c:pt idx="14245">
                  <c:v>0</c:v>
                </c:pt>
                <c:pt idx="14246">
                  <c:v>0</c:v>
                </c:pt>
                <c:pt idx="14247">
                  <c:v>1</c:v>
                </c:pt>
                <c:pt idx="14248">
                  <c:v>0</c:v>
                </c:pt>
                <c:pt idx="14249">
                  <c:v>0</c:v>
                </c:pt>
                <c:pt idx="14250">
                  <c:v>0</c:v>
                </c:pt>
                <c:pt idx="14251">
                  <c:v>0</c:v>
                </c:pt>
                <c:pt idx="14252">
                  <c:v>0</c:v>
                </c:pt>
                <c:pt idx="14253">
                  <c:v>0</c:v>
                </c:pt>
                <c:pt idx="14254">
                  <c:v>0</c:v>
                </c:pt>
                <c:pt idx="14255">
                  <c:v>0</c:v>
                </c:pt>
                <c:pt idx="14256">
                  <c:v>0</c:v>
                </c:pt>
                <c:pt idx="14257">
                  <c:v>0</c:v>
                </c:pt>
                <c:pt idx="14258">
                  <c:v>0</c:v>
                </c:pt>
                <c:pt idx="14259">
                  <c:v>0</c:v>
                </c:pt>
                <c:pt idx="14260">
                  <c:v>0</c:v>
                </c:pt>
                <c:pt idx="14261">
                  <c:v>0</c:v>
                </c:pt>
                <c:pt idx="14262">
                  <c:v>0</c:v>
                </c:pt>
                <c:pt idx="14263">
                  <c:v>0</c:v>
                </c:pt>
                <c:pt idx="14264">
                  <c:v>0</c:v>
                </c:pt>
                <c:pt idx="14265">
                  <c:v>0</c:v>
                </c:pt>
                <c:pt idx="14266">
                  <c:v>0</c:v>
                </c:pt>
                <c:pt idx="14267">
                  <c:v>0</c:v>
                </c:pt>
                <c:pt idx="14268">
                  <c:v>0</c:v>
                </c:pt>
                <c:pt idx="14269">
                  <c:v>0</c:v>
                </c:pt>
                <c:pt idx="14270">
                  <c:v>0</c:v>
                </c:pt>
                <c:pt idx="14271">
                  <c:v>0</c:v>
                </c:pt>
                <c:pt idx="14272">
                  <c:v>0</c:v>
                </c:pt>
                <c:pt idx="14273">
                  <c:v>0</c:v>
                </c:pt>
                <c:pt idx="14274">
                  <c:v>0</c:v>
                </c:pt>
                <c:pt idx="14275">
                  <c:v>0</c:v>
                </c:pt>
                <c:pt idx="14276">
                  <c:v>0</c:v>
                </c:pt>
                <c:pt idx="14277">
                  <c:v>0</c:v>
                </c:pt>
                <c:pt idx="14278">
                  <c:v>0</c:v>
                </c:pt>
                <c:pt idx="14279">
                  <c:v>0</c:v>
                </c:pt>
                <c:pt idx="14280">
                  <c:v>0</c:v>
                </c:pt>
                <c:pt idx="14281">
                  <c:v>0</c:v>
                </c:pt>
                <c:pt idx="14282">
                  <c:v>0</c:v>
                </c:pt>
                <c:pt idx="14283">
                  <c:v>0</c:v>
                </c:pt>
                <c:pt idx="14284">
                  <c:v>0</c:v>
                </c:pt>
                <c:pt idx="14285">
                  <c:v>0</c:v>
                </c:pt>
                <c:pt idx="14286">
                  <c:v>0</c:v>
                </c:pt>
                <c:pt idx="14287">
                  <c:v>0</c:v>
                </c:pt>
                <c:pt idx="14288">
                  <c:v>0</c:v>
                </c:pt>
                <c:pt idx="14289">
                  <c:v>0</c:v>
                </c:pt>
                <c:pt idx="14290">
                  <c:v>0</c:v>
                </c:pt>
                <c:pt idx="14291">
                  <c:v>0</c:v>
                </c:pt>
                <c:pt idx="14292">
                  <c:v>1</c:v>
                </c:pt>
                <c:pt idx="14293">
                  <c:v>0</c:v>
                </c:pt>
                <c:pt idx="14294">
                  <c:v>0</c:v>
                </c:pt>
                <c:pt idx="14295">
                  <c:v>0</c:v>
                </c:pt>
                <c:pt idx="14296">
                  <c:v>0</c:v>
                </c:pt>
                <c:pt idx="14297">
                  <c:v>0</c:v>
                </c:pt>
                <c:pt idx="14298">
                  <c:v>0</c:v>
                </c:pt>
                <c:pt idx="14299">
                  <c:v>0</c:v>
                </c:pt>
                <c:pt idx="14300">
                  <c:v>0</c:v>
                </c:pt>
                <c:pt idx="14301">
                  <c:v>0</c:v>
                </c:pt>
                <c:pt idx="14302">
                  <c:v>0</c:v>
                </c:pt>
                <c:pt idx="14303">
                  <c:v>0</c:v>
                </c:pt>
                <c:pt idx="14304">
                  <c:v>0</c:v>
                </c:pt>
                <c:pt idx="14305">
                  <c:v>0</c:v>
                </c:pt>
                <c:pt idx="14306">
                  <c:v>5</c:v>
                </c:pt>
                <c:pt idx="14307">
                  <c:v>0</c:v>
                </c:pt>
                <c:pt idx="14308">
                  <c:v>0</c:v>
                </c:pt>
                <c:pt idx="14309">
                  <c:v>0</c:v>
                </c:pt>
                <c:pt idx="14310">
                  <c:v>0</c:v>
                </c:pt>
                <c:pt idx="14311">
                  <c:v>0</c:v>
                </c:pt>
                <c:pt idx="14312">
                  <c:v>0</c:v>
                </c:pt>
                <c:pt idx="14313">
                  <c:v>0</c:v>
                </c:pt>
                <c:pt idx="14314">
                  <c:v>0</c:v>
                </c:pt>
                <c:pt idx="14315">
                  <c:v>0</c:v>
                </c:pt>
                <c:pt idx="14316">
                  <c:v>0</c:v>
                </c:pt>
                <c:pt idx="14317">
                  <c:v>0</c:v>
                </c:pt>
                <c:pt idx="14318">
                  <c:v>0</c:v>
                </c:pt>
                <c:pt idx="14319">
                  <c:v>0</c:v>
                </c:pt>
                <c:pt idx="14320">
                  <c:v>0</c:v>
                </c:pt>
                <c:pt idx="14321">
                  <c:v>0</c:v>
                </c:pt>
                <c:pt idx="14322">
                  <c:v>1</c:v>
                </c:pt>
                <c:pt idx="14323">
                  <c:v>0</c:v>
                </c:pt>
                <c:pt idx="14324">
                  <c:v>0</c:v>
                </c:pt>
                <c:pt idx="14325">
                  <c:v>0</c:v>
                </c:pt>
                <c:pt idx="14326">
                  <c:v>0</c:v>
                </c:pt>
                <c:pt idx="14327">
                  <c:v>0</c:v>
                </c:pt>
                <c:pt idx="14328">
                  <c:v>0</c:v>
                </c:pt>
                <c:pt idx="14329">
                  <c:v>0</c:v>
                </c:pt>
                <c:pt idx="14330">
                  <c:v>0</c:v>
                </c:pt>
                <c:pt idx="14331">
                  <c:v>0</c:v>
                </c:pt>
                <c:pt idx="14332">
                  <c:v>0</c:v>
                </c:pt>
                <c:pt idx="14333">
                  <c:v>0</c:v>
                </c:pt>
                <c:pt idx="14334">
                  <c:v>0</c:v>
                </c:pt>
                <c:pt idx="14335">
                  <c:v>0</c:v>
                </c:pt>
                <c:pt idx="14336">
                  <c:v>0</c:v>
                </c:pt>
                <c:pt idx="14337">
                  <c:v>4</c:v>
                </c:pt>
                <c:pt idx="14338">
                  <c:v>0</c:v>
                </c:pt>
                <c:pt idx="14339">
                  <c:v>0</c:v>
                </c:pt>
                <c:pt idx="14340">
                  <c:v>2</c:v>
                </c:pt>
                <c:pt idx="14341">
                  <c:v>0</c:v>
                </c:pt>
                <c:pt idx="14342">
                  <c:v>0</c:v>
                </c:pt>
                <c:pt idx="14343">
                  <c:v>0</c:v>
                </c:pt>
                <c:pt idx="14344">
                  <c:v>0</c:v>
                </c:pt>
                <c:pt idx="14345">
                  <c:v>0</c:v>
                </c:pt>
                <c:pt idx="14346">
                  <c:v>0</c:v>
                </c:pt>
                <c:pt idx="14347">
                  <c:v>0</c:v>
                </c:pt>
                <c:pt idx="14348">
                  <c:v>0</c:v>
                </c:pt>
                <c:pt idx="14349">
                  <c:v>0</c:v>
                </c:pt>
                <c:pt idx="14350">
                  <c:v>0</c:v>
                </c:pt>
                <c:pt idx="14351">
                  <c:v>0</c:v>
                </c:pt>
                <c:pt idx="14352">
                  <c:v>0</c:v>
                </c:pt>
                <c:pt idx="14353">
                  <c:v>0</c:v>
                </c:pt>
                <c:pt idx="14354">
                  <c:v>0</c:v>
                </c:pt>
                <c:pt idx="14355">
                  <c:v>0</c:v>
                </c:pt>
                <c:pt idx="14356">
                  <c:v>2</c:v>
                </c:pt>
                <c:pt idx="14357">
                  <c:v>0</c:v>
                </c:pt>
                <c:pt idx="14358">
                  <c:v>0</c:v>
                </c:pt>
                <c:pt idx="14359">
                  <c:v>0</c:v>
                </c:pt>
                <c:pt idx="14360">
                  <c:v>0</c:v>
                </c:pt>
                <c:pt idx="14361">
                  <c:v>0</c:v>
                </c:pt>
                <c:pt idx="14362">
                  <c:v>0</c:v>
                </c:pt>
                <c:pt idx="14363">
                  <c:v>0</c:v>
                </c:pt>
                <c:pt idx="14364">
                  <c:v>0</c:v>
                </c:pt>
                <c:pt idx="14365">
                  <c:v>0</c:v>
                </c:pt>
                <c:pt idx="14366">
                  <c:v>0</c:v>
                </c:pt>
                <c:pt idx="14367">
                  <c:v>1</c:v>
                </c:pt>
                <c:pt idx="14368">
                  <c:v>0</c:v>
                </c:pt>
                <c:pt idx="14369">
                  <c:v>0</c:v>
                </c:pt>
                <c:pt idx="14370">
                  <c:v>0</c:v>
                </c:pt>
                <c:pt idx="14371">
                  <c:v>0</c:v>
                </c:pt>
                <c:pt idx="14372">
                  <c:v>1</c:v>
                </c:pt>
                <c:pt idx="14373">
                  <c:v>1</c:v>
                </c:pt>
                <c:pt idx="14374">
                  <c:v>0</c:v>
                </c:pt>
                <c:pt idx="14375">
                  <c:v>3</c:v>
                </c:pt>
                <c:pt idx="14376">
                  <c:v>0</c:v>
                </c:pt>
                <c:pt idx="14377">
                  <c:v>0</c:v>
                </c:pt>
                <c:pt idx="14378">
                  <c:v>2</c:v>
                </c:pt>
                <c:pt idx="14379">
                  <c:v>1</c:v>
                </c:pt>
                <c:pt idx="14380">
                  <c:v>2</c:v>
                </c:pt>
                <c:pt idx="14381">
                  <c:v>1</c:v>
                </c:pt>
                <c:pt idx="14382">
                  <c:v>1</c:v>
                </c:pt>
                <c:pt idx="14383">
                  <c:v>6</c:v>
                </c:pt>
                <c:pt idx="14384">
                  <c:v>0</c:v>
                </c:pt>
                <c:pt idx="14385">
                  <c:v>0</c:v>
                </c:pt>
                <c:pt idx="14386">
                  <c:v>0</c:v>
                </c:pt>
                <c:pt idx="14387">
                  <c:v>0</c:v>
                </c:pt>
                <c:pt idx="14388">
                  <c:v>0</c:v>
                </c:pt>
                <c:pt idx="14389">
                  <c:v>1</c:v>
                </c:pt>
                <c:pt idx="14390">
                  <c:v>0</c:v>
                </c:pt>
                <c:pt idx="14391">
                  <c:v>0</c:v>
                </c:pt>
                <c:pt idx="14392">
                  <c:v>0</c:v>
                </c:pt>
                <c:pt idx="14393">
                  <c:v>2</c:v>
                </c:pt>
                <c:pt idx="14394">
                  <c:v>0</c:v>
                </c:pt>
                <c:pt idx="14395">
                  <c:v>0</c:v>
                </c:pt>
                <c:pt idx="14396">
                  <c:v>0</c:v>
                </c:pt>
                <c:pt idx="14397">
                  <c:v>0</c:v>
                </c:pt>
                <c:pt idx="14398">
                  <c:v>0</c:v>
                </c:pt>
                <c:pt idx="14399">
                  <c:v>0</c:v>
                </c:pt>
                <c:pt idx="14400">
                  <c:v>0</c:v>
                </c:pt>
                <c:pt idx="14401">
                  <c:v>0</c:v>
                </c:pt>
                <c:pt idx="14402">
                  <c:v>0</c:v>
                </c:pt>
                <c:pt idx="14403">
                  <c:v>0</c:v>
                </c:pt>
                <c:pt idx="14404">
                  <c:v>0</c:v>
                </c:pt>
                <c:pt idx="14405">
                  <c:v>0</c:v>
                </c:pt>
                <c:pt idx="14406">
                  <c:v>0</c:v>
                </c:pt>
                <c:pt idx="14407">
                  <c:v>0</c:v>
                </c:pt>
                <c:pt idx="14408">
                  <c:v>0</c:v>
                </c:pt>
                <c:pt idx="14409">
                  <c:v>0</c:v>
                </c:pt>
                <c:pt idx="14410">
                  <c:v>0</c:v>
                </c:pt>
                <c:pt idx="14411">
                  <c:v>0</c:v>
                </c:pt>
                <c:pt idx="14412">
                  <c:v>0</c:v>
                </c:pt>
                <c:pt idx="14413">
                  <c:v>0</c:v>
                </c:pt>
                <c:pt idx="14414">
                  <c:v>0</c:v>
                </c:pt>
                <c:pt idx="14415">
                  <c:v>0</c:v>
                </c:pt>
                <c:pt idx="14416">
                  <c:v>0</c:v>
                </c:pt>
                <c:pt idx="14417">
                  <c:v>0</c:v>
                </c:pt>
                <c:pt idx="14418">
                  <c:v>0</c:v>
                </c:pt>
                <c:pt idx="14419">
                  <c:v>0</c:v>
                </c:pt>
                <c:pt idx="14420">
                  <c:v>1</c:v>
                </c:pt>
                <c:pt idx="14421">
                  <c:v>0</c:v>
                </c:pt>
                <c:pt idx="14422">
                  <c:v>0</c:v>
                </c:pt>
                <c:pt idx="14423">
                  <c:v>0</c:v>
                </c:pt>
                <c:pt idx="14424">
                  <c:v>0</c:v>
                </c:pt>
                <c:pt idx="14425">
                  <c:v>0</c:v>
                </c:pt>
                <c:pt idx="14426">
                  <c:v>1</c:v>
                </c:pt>
                <c:pt idx="14427">
                  <c:v>0</c:v>
                </c:pt>
                <c:pt idx="14428">
                  <c:v>0</c:v>
                </c:pt>
                <c:pt idx="14429">
                  <c:v>0</c:v>
                </c:pt>
                <c:pt idx="14430">
                  <c:v>0</c:v>
                </c:pt>
                <c:pt idx="14431">
                  <c:v>0</c:v>
                </c:pt>
                <c:pt idx="14432">
                  <c:v>0</c:v>
                </c:pt>
                <c:pt idx="14433">
                  <c:v>1</c:v>
                </c:pt>
                <c:pt idx="14434">
                  <c:v>1</c:v>
                </c:pt>
                <c:pt idx="14435">
                  <c:v>1</c:v>
                </c:pt>
                <c:pt idx="14436">
                  <c:v>0</c:v>
                </c:pt>
                <c:pt idx="14437">
                  <c:v>0</c:v>
                </c:pt>
                <c:pt idx="14438">
                  <c:v>1</c:v>
                </c:pt>
                <c:pt idx="14439">
                  <c:v>0</c:v>
                </c:pt>
                <c:pt idx="14440">
                  <c:v>0</c:v>
                </c:pt>
                <c:pt idx="14441">
                  <c:v>0</c:v>
                </c:pt>
                <c:pt idx="14442">
                  <c:v>0</c:v>
                </c:pt>
                <c:pt idx="14443">
                  <c:v>0</c:v>
                </c:pt>
                <c:pt idx="14444">
                  <c:v>0</c:v>
                </c:pt>
                <c:pt idx="14445">
                  <c:v>1</c:v>
                </c:pt>
                <c:pt idx="14446">
                  <c:v>0</c:v>
                </c:pt>
                <c:pt idx="14447">
                  <c:v>0</c:v>
                </c:pt>
                <c:pt idx="14448">
                  <c:v>0</c:v>
                </c:pt>
                <c:pt idx="14449">
                  <c:v>0</c:v>
                </c:pt>
                <c:pt idx="14450">
                  <c:v>0</c:v>
                </c:pt>
                <c:pt idx="14451">
                  <c:v>0</c:v>
                </c:pt>
                <c:pt idx="14452">
                  <c:v>0</c:v>
                </c:pt>
                <c:pt idx="14453">
                  <c:v>0</c:v>
                </c:pt>
                <c:pt idx="14454">
                  <c:v>0</c:v>
                </c:pt>
                <c:pt idx="14455">
                  <c:v>0</c:v>
                </c:pt>
                <c:pt idx="14456">
                  <c:v>0</c:v>
                </c:pt>
                <c:pt idx="14457">
                  <c:v>0</c:v>
                </c:pt>
                <c:pt idx="14458">
                  <c:v>0</c:v>
                </c:pt>
                <c:pt idx="14459">
                  <c:v>0</c:v>
                </c:pt>
                <c:pt idx="14460">
                  <c:v>1</c:v>
                </c:pt>
                <c:pt idx="14461">
                  <c:v>0</c:v>
                </c:pt>
                <c:pt idx="14462">
                  <c:v>1</c:v>
                </c:pt>
                <c:pt idx="14463">
                  <c:v>0</c:v>
                </c:pt>
                <c:pt idx="14464">
                  <c:v>0</c:v>
                </c:pt>
                <c:pt idx="14465">
                  <c:v>1</c:v>
                </c:pt>
                <c:pt idx="14466">
                  <c:v>0</c:v>
                </c:pt>
                <c:pt idx="14467">
                  <c:v>0</c:v>
                </c:pt>
                <c:pt idx="14468">
                  <c:v>0</c:v>
                </c:pt>
                <c:pt idx="14469">
                  <c:v>2</c:v>
                </c:pt>
                <c:pt idx="14470">
                  <c:v>1</c:v>
                </c:pt>
                <c:pt idx="14471">
                  <c:v>0</c:v>
                </c:pt>
                <c:pt idx="14472">
                  <c:v>0</c:v>
                </c:pt>
                <c:pt idx="14473">
                  <c:v>1</c:v>
                </c:pt>
                <c:pt idx="14474">
                  <c:v>0</c:v>
                </c:pt>
                <c:pt idx="14475">
                  <c:v>0</c:v>
                </c:pt>
                <c:pt idx="14476">
                  <c:v>0</c:v>
                </c:pt>
                <c:pt idx="14477">
                  <c:v>0</c:v>
                </c:pt>
                <c:pt idx="14478">
                  <c:v>0</c:v>
                </c:pt>
                <c:pt idx="14479">
                  <c:v>0</c:v>
                </c:pt>
                <c:pt idx="14480">
                  <c:v>0</c:v>
                </c:pt>
                <c:pt idx="14481">
                  <c:v>0</c:v>
                </c:pt>
                <c:pt idx="14482">
                  <c:v>0</c:v>
                </c:pt>
                <c:pt idx="14483">
                  <c:v>0</c:v>
                </c:pt>
                <c:pt idx="14484">
                  <c:v>0</c:v>
                </c:pt>
                <c:pt idx="14485">
                  <c:v>0</c:v>
                </c:pt>
                <c:pt idx="14486">
                  <c:v>0</c:v>
                </c:pt>
                <c:pt idx="14487">
                  <c:v>0</c:v>
                </c:pt>
                <c:pt idx="14488">
                  <c:v>0</c:v>
                </c:pt>
                <c:pt idx="14489">
                  <c:v>0</c:v>
                </c:pt>
                <c:pt idx="14490">
                  <c:v>0</c:v>
                </c:pt>
                <c:pt idx="14491">
                  <c:v>0</c:v>
                </c:pt>
                <c:pt idx="14492">
                  <c:v>0</c:v>
                </c:pt>
                <c:pt idx="14493">
                  <c:v>0</c:v>
                </c:pt>
                <c:pt idx="14494">
                  <c:v>0</c:v>
                </c:pt>
                <c:pt idx="14495">
                  <c:v>0</c:v>
                </c:pt>
                <c:pt idx="14496">
                  <c:v>0</c:v>
                </c:pt>
                <c:pt idx="14497">
                  <c:v>0</c:v>
                </c:pt>
                <c:pt idx="14498">
                  <c:v>0</c:v>
                </c:pt>
                <c:pt idx="14499">
                  <c:v>0</c:v>
                </c:pt>
                <c:pt idx="14500">
                  <c:v>0</c:v>
                </c:pt>
                <c:pt idx="14501">
                  <c:v>0</c:v>
                </c:pt>
                <c:pt idx="14502">
                  <c:v>0</c:v>
                </c:pt>
                <c:pt idx="14503">
                  <c:v>0</c:v>
                </c:pt>
                <c:pt idx="14504">
                  <c:v>0</c:v>
                </c:pt>
                <c:pt idx="14505">
                  <c:v>0</c:v>
                </c:pt>
                <c:pt idx="14506">
                  <c:v>0</c:v>
                </c:pt>
                <c:pt idx="14507">
                  <c:v>0</c:v>
                </c:pt>
                <c:pt idx="14508">
                  <c:v>0</c:v>
                </c:pt>
                <c:pt idx="14509">
                  <c:v>0</c:v>
                </c:pt>
                <c:pt idx="14510">
                  <c:v>0</c:v>
                </c:pt>
                <c:pt idx="14511">
                  <c:v>0</c:v>
                </c:pt>
                <c:pt idx="14512">
                  <c:v>0</c:v>
                </c:pt>
                <c:pt idx="14513">
                  <c:v>0</c:v>
                </c:pt>
                <c:pt idx="14514">
                  <c:v>0</c:v>
                </c:pt>
                <c:pt idx="14515">
                  <c:v>0</c:v>
                </c:pt>
                <c:pt idx="14516">
                  <c:v>0</c:v>
                </c:pt>
                <c:pt idx="14517">
                  <c:v>0</c:v>
                </c:pt>
                <c:pt idx="14518">
                  <c:v>0</c:v>
                </c:pt>
                <c:pt idx="14519">
                  <c:v>0</c:v>
                </c:pt>
                <c:pt idx="14520">
                  <c:v>1</c:v>
                </c:pt>
                <c:pt idx="14521">
                  <c:v>0</c:v>
                </c:pt>
                <c:pt idx="14522">
                  <c:v>0</c:v>
                </c:pt>
                <c:pt idx="14523">
                  <c:v>1</c:v>
                </c:pt>
                <c:pt idx="14524">
                  <c:v>0</c:v>
                </c:pt>
                <c:pt idx="14525">
                  <c:v>0</c:v>
                </c:pt>
                <c:pt idx="14526">
                  <c:v>0</c:v>
                </c:pt>
                <c:pt idx="14527">
                  <c:v>0</c:v>
                </c:pt>
                <c:pt idx="14528">
                  <c:v>1</c:v>
                </c:pt>
                <c:pt idx="14529">
                  <c:v>2</c:v>
                </c:pt>
                <c:pt idx="14530">
                  <c:v>0</c:v>
                </c:pt>
                <c:pt idx="14531">
                  <c:v>0</c:v>
                </c:pt>
                <c:pt idx="14532">
                  <c:v>0</c:v>
                </c:pt>
                <c:pt idx="14533">
                  <c:v>3</c:v>
                </c:pt>
                <c:pt idx="14534">
                  <c:v>1</c:v>
                </c:pt>
                <c:pt idx="14535">
                  <c:v>0</c:v>
                </c:pt>
                <c:pt idx="14536">
                  <c:v>0</c:v>
                </c:pt>
                <c:pt idx="14537">
                  <c:v>0</c:v>
                </c:pt>
                <c:pt idx="14538">
                  <c:v>0</c:v>
                </c:pt>
                <c:pt idx="14539">
                  <c:v>0</c:v>
                </c:pt>
                <c:pt idx="14540">
                  <c:v>0</c:v>
                </c:pt>
                <c:pt idx="14541">
                  <c:v>0</c:v>
                </c:pt>
                <c:pt idx="14542">
                  <c:v>0</c:v>
                </c:pt>
                <c:pt idx="14543">
                  <c:v>0</c:v>
                </c:pt>
                <c:pt idx="14544">
                  <c:v>0</c:v>
                </c:pt>
                <c:pt idx="14545">
                  <c:v>0</c:v>
                </c:pt>
                <c:pt idx="14546">
                  <c:v>0</c:v>
                </c:pt>
                <c:pt idx="14547">
                  <c:v>0</c:v>
                </c:pt>
                <c:pt idx="14548">
                  <c:v>0</c:v>
                </c:pt>
                <c:pt idx="14549">
                  <c:v>0</c:v>
                </c:pt>
                <c:pt idx="14550">
                  <c:v>0</c:v>
                </c:pt>
                <c:pt idx="14551">
                  <c:v>0</c:v>
                </c:pt>
                <c:pt idx="14552">
                  <c:v>0</c:v>
                </c:pt>
                <c:pt idx="14553">
                  <c:v>0</c:v>
                </c:pt>
                <c:pt idx="14554">
                  <c:v>0</c:v>
                </c:pt>
                <c:pt idx="14555">
                  <c:v>1</c:v>
                </c:pt>
                <c:pt idx="14556">
                  <c:v>0</c:v>
                </c:pt>
                <c:pt idx="14557">
                  <c:v>0</c:v>
                </c:pt>
                <c:pt idx="14558">
                  <c:v>0</c:v>
                </c:pt>
                <c:pt idx="14559">
                  <c:v>1</c:v>
                </c:pt>
                <c:pt idx="14560">
                  <c:v>0</c:v>
                </c:pt>
                <c:pt idx="14561">
                  <c:v>0</c:v>
                </c:pt>
                <c:pt idx="14562">
                  <c:v>0</c:v>
                </c:pt>
                <c:pt idx="14563">
                  <c:v>0</c:v>
                </c:pt>
                <c:pt idx="14564">
                  <c:v>1</c:v>
                </c:pt>
                <c:pt idx="14565">
                  <c:v>0</c:v>
                </c:pt>
                <c:pt idx="14566">
                  <c:v>0</c:v>
                </c:pt>
                <c:pt idx="14567">
                  <c:v>0</c:v>
                </c:pt>
                <c:pt idx="14568">
                  <c:v>0</c:v>
                </c:pt>
                <c:pt idx="14569">
                  <c:v>0</c:v>
                </c:pt>
                <c:pt idx="14570">
                  <c:v>0</c:v>
                </c:pt>
                <c:pt idx="14571">
                  <c:v>0</c:v>
                </c:pt>
                <c:pt idx="14572">
                  <c:v>0</c:v>
                </c:pt>
                <c:pt idx="14573">
                  <c:v>1</c:v>
                </c:pt>
                <c:pt idx="14574">
                  <c:v>0</c:v>
                </c:pt>
                <c:pt idx="14575">
                  <c:v>0</c:v>
                </c:pt>
                <c:pt idx="14576">
                  <c:v>5</c:v>
                </c:pt>
                <c:pt idx="14577">
                  <c:v>0</c:v>
                </c:pt>
                <c:pt idx="14578">
                  <c:v>0</c:v>
                </c:pt>
                <c:pt idx="14579">
                  <c:v>0</c:v>
                </c:pt>
                <c:pt idx="14580">
                  <c:v>4</c:v>
                </c:pt>
                <c:pt idx="14581">
                  <c:v>5</c:v>
                </c:pt>
                <c:pt idx="14582">
                  <c:v>0</c:v>
                </c:pt>
                <c:pt idx="14583">
                  <c:v>2</c:v>
                </c:pt>
                <c:pt idx="14584">
                  <c:v>0</c:v>
                </c:pt>
                <c:pt idx="14585">
                  <c:v>1</c:v>
                </c:pt>
                <c:pt idx="14586">
                  <c:v>0</c:v>
                </c:pt>
                <c:pt idx="14587">
                  <c:v>0</c:v>
                </c:pt>
                <c:pt idx="14588">
                  <c:v>0</c:v>
                </c:pt>
                <c:pt idx="14589">
                  <c:v>0</c:v>
                </c:pt>
                <c:pt idx="14590">
                  <c:v>0</c:v>
                </c:pt>
                <c:pt idx="14591">
                  <c:v>0</c:v>
                </c:pt>
                <c:pt idx="14592">
                  <c:v>2</c:v>
                </c:pt>
                <c:pt idx="14593">
                  <c:v>0</c:v>
                </c:pt>
                <c:pt idx="14594">
                  <c:v>0</c:v>
                </c:pt>
                <c:pt idx="14595">
                  <c:v>0</c:v>
                </c:pt>
                <c:pt idx="14596">
                  <c:v>0</c:v>
                </c:pt>
                <c:pt idx="14597">
                  <c:v>0</c:v>
                </c:pt>
                <c:pt idx="14598">
                  <c:v>0</c:v>
                </c:pt>
                <c:pt idx="14599">
                  <c:v>0</c:v>
                </c:pt>
                <c:pt idx="14600">
                  <c:v>0</c:v>
                </c:pt>
                <c:pt idx="14601">
                  <c:v>0</c:v>
                </c:pt>
                <c:pt idx="14602">
                  <c:v>0</c:v>
                </c:pt>
                <c:pt idx="14603">
                  <c:v>0</c:v>
                </c:pt>
                <c:pt idx="14604">
                  <c:v>0</c:v>
                </c:pt>
                <c:pt idx="14605">
                  <c:v>0</c:v>
                </c:pt>
                <c:pt idx="14606">
                  <c:v>0</c:v>
                </c:pt>
                <c:pt idx="14607">
                  <c:v>0</c:v>
                </c:pt>
                <c:pt idx="14608">
                  <c:v>0</c:v>
                </c:pt>
                <c:pt idx="14609">
                  <c:v>1</c:v>
                </c:pt>
                <c:pt idx="14610">
                  <c:v>8</c:v>
                </c:pt>
                <c:pt idx="14611">
                  <c:v>3</c:v>
                </c:pt>
                <c:pt idx="14612">
                  <c:v>0</c:v>
                </c:pt>
                <c:pt idx="14613">
                  <c:v>4</c:v>
                </c:pt>
                <c:pt idx="14614">
                  <c:v>0</c:v>
                </c:pt>
                <c:pt idx="14615">
                  <c:v>1</c:v>
                </c:pt>
                <c:pt idx="14616">
                  <c:v>1</c:v>
                </c:pt>
                <c:pt idx="14617">
                  <c:v>6</c:v>
                </c:pt>
                <c:pt idx="14618">
                  <c:v>1</c:v>
                </c:pt>
                <c:pt idx="14619">
                  <c:v>5</c:v>
                </c:pt>
                <c:pt idx="14620">
                  <c:v>2</c:v>
                </c:pt>
                <c:pt idx="14621">
                  <c:v>2</c:v>
                </c:pt>
                <c:pt idx="14622">
                  <c:v>7</c:v>
                </c:pt>
                <c:pt idx="14623">
                  <c:v>1</c:v>
                </c:pt>
                <c:pt idx="14624">
                  <c:v>1</c:v>
                </c:pt>
                <c:pt idx="14625">
                  <c:v>0</c:v>
                </c:pt>
                <c:pt idx="14626">
                  <c:v>0</c:v>
                </c:pt>
                <c:pt idx="14627">
                  <c:v>0</c:v>
                </c:pt>
                <c:pt idx="14628">
                  <c:v>0</c:v>
                </c:pt>
                <c:pt idx="14629">
                  <c:v>0</c:v>
                </c:pt>
                <c:pt idx="14630">
                  <c:v>0</c:v>
                </c:pt>
                <c:pt idx="14631">
                  <c:v>0</c:v>
                </c:pt>
                <c:pt idx="14632">
                  <c:v>0</c:v>
                </c:pt>
                <c:pt idx="14633">
                  <c:v>0</c:v>
                </c:pt>
                <c:pt idx="14634">
                  <c:v>0</c:v>
                </c:pt>
                <c:pt idx="14635">
                  <c:v>0</c:v>
                </c:pt>
                <c:pt idx="14636">
                  <c:v>0</c:v>
                </c:pt>
                <c:pt idx="14637">
                  <c:v>0</c:v>
                </c:pt>
                <c:pt idx="14638">
                  <c:v>0</c:v>
                </c:pt>
                <c:pt idx="14639">
                  <c:v>0</c:v>
                </c:pt>
                <c:pt idx="14640">
                  <c:v>0</c:v>
                </c:pt>
                <c:pt idx="14641">
                  <c:v>0</c:v>
                </c:pt>
                <c:pt idx="14642">
                  <c:v>0</c:v>
                </c:pt>
                <c:pt idx="14643">
                  <c:v>0</c:v>
                </c:pt>
                <c:pt idx="14644">
                  <c:v>0</c:v>
                </c:pt>
                <c:pt idx="14645">
                  <c:v>0</c:v>
                </c:pt>
                <c:pt idx="14646">
                  <c:v>0</c:v>
                </c:pt>
                <c:pt idx="14647">
                  <c:v>0</c:v>
                </c:pt>
                <c:pt idx="14648">
                  <c:v>0</c:v>
                </c:pt>
                <c:pt idx="14649">
                  <c:v>0</c:v>
                </c:pt>
                <c:pt idx="14650">
                  <c:v>0</c:v>
                </c:pt>
                <c:pt idx="14651">
                  <c:v>0</c:v>
                </c:pt>
                <c:pt idx="14652">
                  <c:v>0</c:v>
                </c:pt>
                <c:pt idx="14653">
                  <c:v>0</c:v>
                </c:pt>
                <c:pt idx="14654">
                  <c:v>0</c:v>
                </c:pt>
                <c:pt idx="14655">
                  <c:v>0</c:v>
                </c:pt>
                <c:pt idx="14656">
                  <c:v>0</c:v>
                </c:pt>
                <c:pt idx="14657">
                  <c:v>0</c:v>
                </c:pt>
                <c:pt idx="14658">
                  <c:v>0</c:v>
                </c:pt>
                <c:pt idx="14659">
                  <c:v>0</c:v>
                </c:pt>
                <c:pt idx="14660">
                  <c:v>0</c:v>
                </c:pt>
                <c:pt idx="14661">
                  <c:v>0</c:v>
                </c:pt>
                <c:pt idx="14662">
                  <c:v>0</c:v>
                </c:pt>
                <c:pt idx="14663">
                  <c:v>0</c:v>
                </c:pt>
                <c:pt idx="14664">
                  <c:v>0</c:v>
                </c:pt>
                <c:pt idx="14665">
                  <c:v>0</c:v>
                </c:pt>
                <c:pt idx="14666">
                  <c:v>0</c:v>
                </c:pt>
                <c:pt idx="14667">
                  <c:v>0</c:v>
                </c:pt>
                <c:pt idx="14668">
                  <c:v>0</c:v>
                </c:pt>
                <c:pt idx="14669">
                  <c:v>0</c:v>
                </c:pt>
                <c:pt idx="14670">
                  <c:v>0</c:v>
                </c:pt>
                <c:pt idx="14671">
                  <c:v>0</c:v>
                </c:pt>
                <c:pt idx="14672">
                  <c:v>0</c:v>
                </c:pt>
                <c:pt idx="14673">
                  <c:v>0</c:v>
                </c:pt>
                <c:pt idx="14674">
                  <c:v>0</c:v>
                </c:pt>
                <c:pt idx="14675">
                  <c:v>0</c:v>
                </c:pt>
                <c:pt idx="14676">
                  <c:v>0</c:v>
                </c:pt>
                <c:pt idx="14677">
                  <c:v>0</c:v>
                </c:pt>
                <c:pt idx="14678">
                  <c:v>0</c:v>
                </c:pt>
                <c:pt idx="14679">
                  <c:v>0</c:v>
                </c:pt>
                <c:pt idx="14680">
                  <c:v>0</c:v>
                </c:pt>
                <c:pt idx="14681">
                  <c:v>0</c:v>
                </c:pt>
                <c:pt idx="14682">
                  <c:v>0</c:v>
                </c:pt>
                <c:pt idx="14683">
                  <c:v>0</c:v>
                </c:pt>
                <c:pt idx="14684">
                  <c:v>0</c:v>
                </c:pt>
                <c:pt idx="14685">
                  <c:v>2</c:v>
                </c:pt>
                <c:pt idx="14686">
                  <c:v>0</c:v>
                </c:pt>
                <c:pt idx="14687">
                  <c:v>0</c:v>
                </c:pt>
                <c:pt idx="14688">
                  <c:v>0</c:v>
                </c:pt>
                <c:pt idx="14689">
                  <c:v>0</c:v>
                </c:pt>
                <c:pt idx="14690">
                  <c:v>0</c:v>
                </c:pt>
                <c:pt idx="14691">
                  <c:v>3</c:v>
                </c:pt>
                <c:pt idx="14692">
                  <c:v>0</c:v>
                </c:pt>
                <c:pt idx="14693">
                  <c:v>0</c:v>
                </c:pt>
                <c:pt idx="14694">
                  <c:v>0</c:v>
                </c:pt>
                <c:pt idx="14695">
                  <c:v>0</c:v>
                </c:pt>
                <c:pt idx="14696">
                  <c:v>0</c:v>
                </c:pt>
                <c:pt idx="14697">
                  <c:v>1</c:v>
                </c:pt>
                <c:pt idx="14698">
                  <c:v>0</c:v>
                </c:pt>
                <c:pt idx="14699">
                  <c:v>0</c:v>
                </c:pt>
                <c:pt idx="14700">
                  <c:v>0</c:v>
                </c:pt>
                <c:pt idx="14701">
                  <c:v>0</c:v>
                </c:pt>
                <c:pt idx="14702">
                  <c:v>0</c:v>
                </c:pt>
                <c:pt idx="14703">
                  <c:v>0</c:v>
                </c:pt>
                <c:pt idx="14704">
                  <c:v>0</c:v>
                </c:pt>
                <c:pt idx="14705">
                  <c:v>0</c:v>
                </c:pt>
                <c:pt idx="14706">
                  <c:v>0</c:v>
                </c:pt>
                <c:pt idx="14707">
                  <c:v>0</c:v>
                </c:pt>
                <c:pt idx="14708">
                  <c:v>0</c:v>
                </c:pt>
                <c:pt idx="14709">
                  <c:v>0</c:v>
                </c:pt>
                <c:pt idx="14710">
                  <c:v>0</c:v>
                </c:pt>
                <c:pt idx="14711">
                  <c:v>0</c:v>
                </c:pt>
                <c:pt idx="14712">
                  <c:v>0</c:v>
                </c:pt>
                <c:pt idx="14713">
                  <c:v>2</c:v>
                </c:pt>
                <c:pt idx="14714">
                  <c:v>0</c:v>
                </c:pt>
                <c:pt idx="14715">
                  <c:v>1</c:v>
                </c:pt>
                <c:pt idx="14716">
                  <c:v>0</c:v>
                </c:pt>
                <c:pt idx="14717">
                  <c:v>0</c:v>
                </c:pt>
                <c:pt idx="14718">
                  <c:v>0</c:v>
                </c:pt>
                <c:pt idx="14719">
                  <c:v>0</c:v>
                </c:pt>
                <c:pt idx="14720">
                  <c:v>0</c:v>
                </c:pt>
                <c:pt idx="14721">
                  <c:v>0</c:v>
                </c:pt>
                <c:pt idx="14722">
                  <c:v>0</c:v>
                </c:pt>
                <c:pt idx="14723">
                  <c:v>0</c:v>
                </c:pt>
                <c:pt idx="14724">
                  <c:v>0</c:v>
                </c:pt>
                <c:pt idx="14725">
                  <c:v>0</c:v>
                </c:pt>
                <c:pt idx="14726">
                  <c:v>0</c:v>
                </c:pt>
                <c:pt idx="14727">
                  <c:v>0</c:v>
                </c:pt>
                <c:pt idx="14728">
                  <c:v>0</c:v>
                </c:pt>
                <c:pt idx="14729">
                  <c:v>3</c:v>
                </c:pt>
                <c:pt idx="14730">
                  <c:v>0</c:v>
                </c:pt>
                <c:pt idx="14731">
                  <c:v>0</c:v>
                </c:pt>
                <c:pt idx="14732">
                  <c:v>0</c:v>
                </c:pt>
                <c:pt idx="14733">
                  <c:v>0</c:v>
                </c:pt>
                <c:pt idx="14734">
                  <c:v>0</c:v>
                </c:pt>
                <c:pt idx="14735">
                  <c:v>0</c:v>
                </c:pt>
                <c:pt idx="14736">
                  <c:v>0</c:v>
                </c:pt>
                <c:pt idx="14737">
                  <c:v>2</c:v>
                </c:pt>
                <c:pt idx="14738">
                  <c:v>0</c:v>
                </c:pt>
                <c:pt idx="14739">
                  <c:v>0</c:v>
                </c:pt>
                <c:pt idx="14740">
                  <c:v>0</c:v>
                </c:pt>
                <c:pt idx="14741">
                  <c:v>0</c:v>
                </c:pt>
                <c:pt idx="14742">
                  <c:v>0</c:v>
                </c:pt>
                <c:pt idx="14743">
                  <c:v>0</c:v>
                </c:pt>
                <c:pt idx="14744">
                  <c:v>0</c:v>
                </c:pt>
                <c:pt idx="14745">
                  <c:v>1</c:v>
                </c:pt>
                <c:pt idx="14746">
                  <c:v>0</c:v>
                </c:pt>
                <c:pt idx="14747">
                  <c:v>0</c:v>
                </c:pt>
                <c:pt idx="14748">
                  <c:v>0</c:v>
                </c:pt>
                <c:pt idx="14749">
                  <c:v>0</c:v>
                </c:pt>
                <c:pt idx="14750">
                  <c:v>0</c:v>
                </c:pt>
                <c:pt idx="14751">
                  <c:v>0</c:v>
                </c:pt>
                <c:pt idx="14752">
                  <c:v>0</c:v>
                </c:pt>
                <c:pt idx="14753">
                  <c:v>0</c:v>
                </c:pt>
                <c:pt idx="14754">
                  <c:v>0</c:v>
                </c:pt>
                <c:pt idx="14755">
                  <c:v>0</c:v>
                </c:pt>
                <c:pt idx="14756">
                  <c:v>0</c:v>
                </c:pt>
                <c:pt idx="14757">
                  <c:v>0</c:v>
                </c:pt>
                <c:pt idx="14758">
                  <c:v>0</c:v>
                </c:pt>
                <c:pt idx="14759">
                  <c:v>0</c:v>
                </c:pt>
                <c:pt idx="14760">
                  <c:v>0</c:v>
                </c:pt>
                <c:pt idx="14761">
                  <c:v>0</c:v>
                </c:pt>
                <c:pt idx="14762">
                  <c:v>0</c:v>
                </c:pt>
                <c:pt idx="14763">
                  <c:v>0</c:v>
                </c:pt>
                <c:pt idx="14764">
                  <c:v>0</c:v>
                </c:pt>
                <c:pt idx="14765">
                  <c:v>2</c:v>
                </c:pt>
                <c:pt idx="14766">
                  <c:v>0</c:v>
                </c:pt>
                <c:pt idx="14767">
                  <c:v>0</c:v>
                </c:pt>
                <c:pt idx="14768">
                  <c:v>0</c:v>
                </c:pt>
                <c:pt idx="14769">
                  <c:v>0</c:v>
                </c:pt>
                <c:pt idx="14770">
                  <c:v>0</c:v>
                </c:pt>
                <c:pt idx="14771">
                  <c:v>0</c:v>
                </c:pt>
                <c:pt idx="14772">
                  <c:v>0</c:v>
                </c:pt>
                <c:pt idx="14773">
                  <c:v>0</c:v>
                </c:pt>
                <c:pt idx="14774">
                  <c:v>0</c:v>
                </c:pt>
                <c:pt idx="14775">
                  <c:v>0</c:v>
                </c:pt>
                <c:pt idx="14776">
                  <c:v>0</c:v>
                </c:pt>
                <c:pt idx="14777">
                  <c:v>0</c:v>
                </c:pt>
                <c:pt idx="14778">
                  <c:v>0</c:v>
                </c:pt>
                <c:pt idx="14779">
                  <c:v>6</c:v>
                </c:pt>
                <c:pt idx="14780">
                  <c:v>0</c:v>
                </c:pt>
                <c:pt idx="14781">
                  <c:v>0</c:v>
                </c:pt>
                <c:pt idx="14782">
                  <c:v>0</c:v>
                </c:pt>
                <c:pt idx="14783">
                  <c:v>0</c:v>
                </c:pt>
                <c:pt idx="14784">
                  <c:v>0</c:v>
                </c:pt>
                <c:pt idx="14785">
                  <c:v>0</c:v>
                </c:pt>
                <c:pt idx="14786">
                  <c:v>0</c:v>
                </c:pt>
                <c:pt idx="14787">
                  <c:v>0</c:v>
                </c:pt>
                <c:pt idx="14788">
                  <c:v>0</c:v>
                </c:pt>
                <c:pt idx="14789">
                  <c:v>0</c:v>
                </c:pt>
                <c:pt idx="14790">
                  <c:v>0</c:v>
                </c:pt>
                <c:pt idx="14791">
                  <c:v>0</c:v>
                </c:pt>
                <c:pt idx="14792">
                  <c:v>0</c:v>
                </c:pt>
                <c:pt idx="14793">
                  <c:v>0</c:v>
                </c:pt>
                <c:pt idx="14794">
                  <c:v>0</c:v>
                </c:pt>
                <c:pt idx="14795">
                  <c:v>0</c:v>
                </c:pt>
                <c:pt idx="14796">
                  <c:v>0</c:v>
                </c:pt>
                <c:pt idx="14797">
                  <c:v>0</c:v>
                </c:pt>
                <c:pt idx="14798">
                  <c:v>0</c:v>
                </c:pt>
                <c:pt idx="14799">
                  <c:v>0</c:v>
                </c:pt>
                <c:pt idx="14800">
                  <c:v>0</c:v>
                </c:pt>
                <c:pt idx="14801">
                  <c:v>0</c:v>
                </c:pt>
                <c:pt idx="14802">
                  <c:v>0</c:v>
                </c:pt>
                <c:pt idx="14803">
                  <c:v>0</c:v>
                </c:pt>
                <c:pt idx="14804">
                  <c:v>0</c:v>
                </c:pt>
                <c:pt idx="14805">
                  <c:v>0</c:v>
                </c:pt>
                <c:pt idx="14806">
                  <c:v>0</c:v>
                </c:pt>
                <c:pt idx="14807">
                  <c:v>0</c:v>
                </c:pt>
                <c:pt idx="14808">
                  <c:v>0</c:v>
                </c:pt>
                <c:pt idx="14809">
                  <c:v>0</c:v>
                </c:pt>
                <c:pt idx="14810">
                  <c:v>0</c:v>
                </c:pt>
                <c:pt idx="14811">
                  <c:v>0</c:v>
                </c:pt>
                <c:pt idx="14812">
                  <c:v>0</c:v>
                </c:pt>
                <c:pt idx="14813">
                  <c:v>0</c:v>
                </c:pt>
                <c:pt idx="14814">
                  <c:v>0</c:v>
                </c:pt>
                <c:pt idx="14815">
                  <c:v>0</c:v>
                </c:pt>
                <c:pt idx="14816">
                  <c:v>0</c:v>
                </c:pt>
                <c:pt idx="14817">
                  <c:v>0</c:v>
                </c:pt>
                <c:pt idx="14818">
                  <c:v>0</c:v>
                </c:pt>
                <c:pt idx="14819">
                  <c:v>0</c:v>
                </c:pt>
                <c:pt idx="14820">
                  <c:v>0</c:v>
                </c:pt>
                <c:pt idx="14821">
                  <c:v>0</c:v>
                </c:pt>
                <c:pt idx="14822">
                  <c:v>0</c:v>
                </c:pt>
                <c:pt idx="14823">
                  <c:v>0</c:v>
                </c:pt>
                <c:pt idx="14824">
                  <c:v>0</c:v>
                </c:pt>
                <c:pt idx="14825">
                  <c:v>0</c:v>
                </c:pt>
                <c:pt idx="14826">
                  <c:v>0</c:v>
                </c:pt>
                <c:pt idx="14827">
                  <c:v>0</c:v>
                </c:pt>
                <c:pt idx="14828">
                  <c:v>0</c:v>
                </c:pt>
                <c:pt idx="14829">
                  <c:v>0</c:v>
                </c:pt>
                <c:pt idx="14830">
                  <c:v>0</c:v>
                </c:pt>
                <c:pt idx="14831">
                  <c:v>0</c:v>
                </c:pt>
                <c:pt idx="14832">
                  <c:v>0</c:v>
                </c:pt>
                <c:pt idx="14833">
                  <c:v>0</c:v>
                </c:pt>
                <c:pt idx="14834">
                  <c:v>0</c:v>
                </c:pt>
                <c:pt idx="14835">
                  <c:v>0</c:v>
                </c:pt>
                <c:pt idx="14836">
                  <c:v>0</c:v>
                </c:pt>
                <c:pt idx="14837">
                  <c:v>0</c:v>
                </c:pt>
                <c:pt idx="14838">
                  <c:v>0</c:v>
                </c:pt>
                <c:pt idx="14839">
                  <c:v>0</c:v>
                </c:pt>
                <c:pt idx="14840">
                  <c:v>0</c:v>
                </c:pt>
                <c:pt idx="14841">
                  <c:v>0</c:v>
                </c:pt>
                <c:pt idx="14842">
                  <c:v>0</c:v>
                </c:pt>
                <c:pt idx="14843">
                  <c:v>0</c:v>
                </c:pt>
                <c:pt idx="14844">
                  <c:v>0</c:v>
                </c:pt>
                <c:pt idx="14845">
                  <c:v>0</c:v>
                </c:pt>
                <c:pt idx="14846">
                  <c:v>0</c:v>
                </c:pt>
                <c:pt idx="14847">
                  <c:v>0</c:v>
                </c:pt>
                <c:pt idx="14848">
                  <c:v>0</c:v>
                </c:pt>
                <c:pt idx="14849">
                  <c:v>0</c:v>
                </c:pt>
                <c:pt idx="14850">
                  <c:v>0</c:v>
                </c:pt>
                <c:pt idx="14851">
                  <c:v>0</c:v>
                </c:pt>
                <c:pt idx="14852">
                  <c:v>0</c:v>
                </c:pt>
                <c:pt idx="14853">
                  <c:v>0</c:v>
                </c:pt>
                <c:pt idx="14854">
                  <c:v>0</c:v>
                </c:pt>
                <c:pt idx="14855">
                  <c:v>0</c:v>
                </c:pt>
                <c:pt idx="14856">
                  <c:v>4</c:v>
                </c:pt>
                <c:pt idx="14857">
                  <c:v>6</c:v>
                </c:pt>
                <c:pt idx="14858">
                  <c:v>3</c:v>
                </c:pt>
                <c:pt idx="14859">
                  <c:v>0</c:v>
                </c:pt>
                <c:pt idx="14860">
                  <c:v>4</c:v>
                </c:pt>
                <c:pt idx="14861">
                  <c:v>0</c:v>
                </c:pt>
                <c:pt idx="14862">
                  <c:v>4</c:v>
                </c:pt>
                <c:pt idx="14863">
                  <c:v>0</c:v>
                </c:pt>
                <c:pt idx="14864">
                  <c:v>0</c:v>
                </c:pt>
                <c:pt idx="14865">
                  <c:v>0</c:v>
                </c:pt>
                <c:pt idx="14866">
                  <c:v>0</c:v>
                </c:pt>
                <c:pt idx="14867">
                  <c:v>0</c:v>
                </c:pt>
                <c:pt idx="14868">
                  <c:v>0</c:v>
                </c:pt>
                <c:pt idx="14869">
                  <c:v>0</c:v>
                </c:pt>
                <c:pt idx="14870">
                  <c:v>0</c:v>
                </c:pt>
                <c:pt idx="14871">
                  <c:v>0</c:v>
                </c:pt>
                <c:pt idx="14872">
                  <c:v>0</c:v>
                </c:pt>
                <c:pt idx="14873">
                  <c:v>0</c:v>
                </c:pt>
                <c:pt idx="14874">
                  <c:v>0</c:v>
                </c:pt>
                <c:pt idx="14875">
                  <c:v>0</c:v>
                </c:pt>
                <c:pt idx="14876">
                  <c:v>0</c:v>
                </c:pt>
                <c:pt idx="14877">
                  <c:v>0</c:v>
                </c:pt>
                <c:pt idx="14878">
                  <c:v>0</c:v>
                </c:pt>
                <c:pt idx="14879">
                  <c:v>0</c:v>
                </c:pt>
                <c:pt idx="14880">
                  <c:v>0</c:v>
                </c:pt>
                <c:pt idx="14881">
                  <c:v>0</c:v>
                </c:pt>
                <c:pt idx="14882">
                  <c:v>0</c:v>
                </c:pt>
                <c:pt idx="14883">
                  <c:v>0</c:v>
                </c:pt>
                <c:pt idx="14884">
                  <c:v>0</c:v>
                </c:pt>
                <c:pt idx="14885">
                  <c:v>0</c:v>
                </c:pt>
                <c:pt idx="14886">
                  <c:v>0</c:v>
                </c:pt>
                <c:pt idx="14887">
                  <c:v>0</c:v>
                </c:pt>
                <c:pt idx="14888">
                  <c:v>0</c:v>
                </c:pt>
                <c:pt idx="14889">
                  <c:v>0</c:v>
                </c:pt>
                <c:pt idx="14890">
                  <c:v>0</c:v>
                </c:pt>
                <c:pt idx="14891">
                  <c:v>0</c:v>
                </c:pt>
                <c:pt idx="14892">
                  <c:v>0</c:v>
                </c:pt>
                <c:pt idx="14893">
                  <c:v>0</c:v>
                </c:pt>
                <c:pt idx="14894">
                  <c:v>0</c:v>
                </c:pt>
                <c:pt idx="14895">
                  <c:v>0</c:v>
                </c:pt>
                <c:pt idx="14896">
                  <c:v>0</c:v>
                </c:pt>
                <c:pt idx="14897">
                  <c:v>0</c:v>
                </c:pt>
                <c:pt idx="14898">
                  <c:v>0</c:v>
                </c:pt>
                <c:pt idx="14899">
                  <c:v>0</c:v>
                </c:pt>
                <c:pt idx="14900">
                  <c:v>0</c:v>
                </c:pt>
                <c:pt idx="14901">
                  <c:v>0</c:v>
                </c:pt>
                <c:pt idx="14902">
                  <c:v>0</c:v>
                </c:pt>
                <c:pt idx="14903">
                  <c:v>0</c:v>
                </c:pt>
                <c:pt idx="14904">
                  <c:v>0</c:v>
                </c:pt>
                <c:pt idx="14905">
                  <c:v>0</c:v>
                </c:pt>
                <c:pt idx="14906">
                  <c:v>0</c:v>
                </c:pt>
                <c:pt idx="14907">
                  <c:v>0</c:v>
                </c:pt>
                <c:pt idx="14908">
                  <c:v>0</c:v>
                </c:pt>
                <c:pt idx="14909">
                  <c:v>0</c:v>
                </c:pt>
                <c:pt idx="14910">
                  <c:v>0</c:v>
                </c:pt>
                <c:pt idx="14911">
                  <c:v>0</c:v>
                </c:pt>
                <c:pt idx="14912">
                  <c:v>0</c:v>
                </c:pt>
                <c:pt idx="14913">
                  <c:v>0</c:v>
                </c:pt>
                <c:pt idx="14914">
                  <c:v>0</c:v>
                </c:pt>
                <c:pt idx="14915">
                  <c:v>0</c:v>
                </c:pt>
                <c:pt idx="14916">
                  <c:v>0</c:v>
                </c:pt>
                <c:pt idx="14917">
                  <c:v>0</c:v>
                </c:pt>
                <c:pt idx="14918">
                  <c:v>0</c:v>
                </c:pt>
                <c:pt idx="14919">
                  <c:v>0</c:v>
                </c:pt>
                <c:pt idx="14920">
                  <c:v>0</c:v>
                </c:pt>
                <c:pt idx="14921">
                  <c:v>1</c:v>
                </c:pt>
                <c:pt idx="14922">
                  <c:v>0</c:v>
                </c:pt>
                <c:pt idx="14923">
                  <c:v>0</c:v>
                </c:pt>
                <c:pt idx="14924">
                  <c:v>0</c:v>
                </c:pt>
                <c:pt idx="14925">
                  <c:v>0</c:v>
                </c:pt>
                <c:pt idx="14926">
                  <c:v>1</c:v>
                </c:pt>
                <c:pt idx="14927">
                  <c:v>0</c:v>
                </c:pt>
                <c:pt idx="14928">
                  <c:v>0</c:v>
                </c:pt>
                <c:pt idx="14929">
                  <c:v>0</c:v>
                </c:pt>
                <c:pt idx="14930">
                  <c:v>0</c:v>
                </c:pt>
                <c:pt idx="14931">
                  <c:v>0</c:v>
                </c:pt>
                <c:pt idx="14932">
                  <c:v>0</c:v>
                </c:pt>
                <c:pt idx="14933">
                  <c:v>0</c:v>
                </c:pt>
                <c:pt idx="14934">
                  <c:v>0</c:v>
                </c:pt>
                <c:pt idx="14935">
                  <c:v>0</c:v>
                </c:pt>
                <c:pt idx="14936">
                  <c:v>0</c:v>
                </c:pt>
                <c:pt idx="14937">
                  <c:v>0</c:v>
                </c:pt>
                <c:pt idx="14938">
                  <c:v>0</c:v>
                </c:pt>
                <c:pt idx="14939">
                  <c:v>0</c:v>
                </c:pt>
                <c:pt idx="14940">
                  <c:v>0</c:v>
                </c:pt>
                <c:pt idx="14941">
                  <c:v>0</c:v>
                </c:pt>
                <c:pt idx="14942">
                  <c:v>0</c:v>
                </c:pt>
                <c:pt idx="14943">
                  <c:v>0</c:v>
                </c:pt>
                <c:pt idx="14944">
                  <c:v>0</c:v>
                </c:pt>
                <c:pt idx="14945">
                  <c:v>0</c:v>
                </c:pt>
                <c:pt idx="14946">
                  <c:v>0</c:v>
                </c:pt>
                <c:pt idx="14947">
                  <c:v>0</c:v>
                </c:pt>
                <c:pt idx="14948">
                  <c:v>0</c:v>
                </c:pt>
                <c:pt idx="14949">
                  <c:v>0</c:v>
                </c:pt>
                <c:pt idx="14950">
                  <c:v>0</c:v>
                </c:pt>
                <c:pt idx="14951">
                  <c:v>1</c:v>
                </c:pt>
                <c:pt idx="14952">
                  <c:v>0</c:v>
                </c:pt>
                <c:pt idx="14953">
                  <c:v>0</c:v>
                </c:pt>
                <c:pt idx="14954">
                  <c:v>0</c:v>
                </c:pt>
                <c:pt idx="14955">
                  <c:v>0</c:v>
                </c:pt>
                <c:pt idx="14956">
                  <c:v>0</c:v>
                </c:pt>
                <c:pt idx="14957">
                  <c:v>0</c:v>
                </c:pt>
                <c:pt idx="14958">
                  <c:v>0</c:v>
                </c:pt>
                <c:pt idx="14959">
                  <c:v>0</c:v>
                </c:pt>
                <c:pt idx="14960">
                  <c:v>0</c:v>
                </c:pt>
                <c:pt idx="14961">
                  <c:v>0</c:v>
                </c:pt>
                <c:pt idx="14962">
                  <c:v>0</c:v>
                </c:pt>
                <c:pt idx="14963">
                  <c:v>0</c:v>
                </c:pt>
                <c:pt idx="14964">
                  <c:v>0</c:v>
                </c:pt>
                <c:pt idx="14965">
                  <c:v>0</c:v>
                </c:pt>
                <c:pt idx="14966">
                  <c:v>0</c:v>
                </c:pt>
                <c:pt idx="14967">
                  <c:v>0</c:v>
                </c:pt>
                <c:pt idx="14968">
                  <c:v>0</c:v>
                </c:pt>
                <c:pt idx="14969">
                  <c:v>1</c:v>
                </c:pt>
                <c:pt idx="14970">
                  <c:v>0</c:v>
                </c:pt>
                <c:pt idx="14971">
                  <c:v>0</c:v>
                </c:pt>
                <c:pt idx="14972">
                  <c:v>0</c:v>
                </c:pt>
                <c:pt idx="14973">
                  <c:v>0</c:v>
                </c:pt>
                <c:pt idx="14974">
                  <c:v>0</c:v>
                </c:pt>
                <c:pt idx="14975">
                  <c:v>0</c:v>
                </c:pt>
                <c:pt idx="14976">
                  <c:v>0</c:v>
                </c:pt>
                <c:pt idx="14977">
                  <c:v>0</c:v>
                </c:pt>
                <c:pt idx="14978">
                  <c:v>0</c:v>
                </c:pt>
                <c:pt idx="14979">
                  <c:v>0</c:v>
                </c:pt>
                <c:pt idx="14980">
                  <c:v>0</c:v>
                </c:pt>
                <c:pt idx="14981">
                  <c:v>0</c:v>
                </c:pt>
                <c:pt idx="14982">
                  <c:v>0</c:v>
                </c:pt>
                <c:pt idx="14983">
                  <c:v>0</c:v>
                </c:pt>
                <c:pt idx="14984">
                  <c:v>0</c:v>
                </c:pt>
                <c:pt idx="14985">
                  <c:v>0</c:v>
                </c:pt>
                <c:pt idx="14986">
                  <c:v>0</c:v>
                </c:pt>
                <c:pt idx="14987">
                  <c:v>0</c:v>
                </c:pt>
                <c:pt idx="14988">
                  <c:v>0</c:v>
                </c:pt>
                <c:pt idx="14989">
                  <c:v>0</c:v>
                </c:pt>
                <c:pt idx="14990">
                  <c:v>0</c:v>
                </c:pt>
                <c:pt idx="14991">
                  <c:v>0</c:v>
                </c:pt>
                <c:pt idx="14992">
                  <c:v>0</c:v>
                </c:pt>
                <c:pt idx="14993">
                  <c:v>0</c:v>
                </c:pt>
                <c:pt idx="14994">
                  <c:v>0</c:v>
                </c:pt>
                <c:pt idx="14995">
                  <c:v>0</c:v>
                </c:pt>
                <c:pt idx="14996">
                  <c:v>0</c:v>
                </c:pt>
                <c:pt idx="14997">
                  <c:v>0</c:v>
                </c:pt>
                <c:pt idx="14998">
                  <c:v>0</c:v>
                </c:pt>
                <c:pt idx="14999">
                  <c:v>0</c:v>
                </c:pt>
                <c:pt idx="15000">
                  <c:v>0</c:v>
                </c:pt>
                <c:pt idx="15001">
                  <c:v>0</c:v>
                </c:pt>
                <c:pt idx="15002">
                  <c:v>0</c:v>
                </c:pt>
                <c:pt idx="15003">
                  <c:v>0</c:v>
                </c:pt>
                <c:pt idx="15004">
                  <c:v>0</c:v>
                </c:pt>
                <c:pt idx="15005">
                  <c:v>0</c:v>
                </c:pt>
                <c:pt idx="15006">
                  <c:v>0</c:v>
                </c:pt>
                <c:pt idx="15007">
                  <c:v>0</c:v>
                </c:pt>
                <c:pt idx="15008">
                  <c:v>0</c:v>
                </c:pt>
                <c:pt idx="15009">
                  <c:v>0</c:v>
                </c:pt>
                <c:pt idx="15010">
                  <c:v>0</c:v>
                </c:pt>
                <c:pt idx="15011">
                  <c:v>0</c:v>
                </c:pt>
                <c:pt idx="15012">
                  <c:v>0</c:v>
                </c:pt>
                <c:pt idx="15013">
                  <c:v>0</c:v>
                </c:pt>
                <c:pt idx="15014">
                  <c:v>1</c:v>
                </c:pt>
                <c:pt idx="15015">
                  <c:v>3</c:v>
                </c:pt>
                <c:pt idx="15016">
                  <c:v>7</c:v>
                </c:pt>
                <c:pt idx="15017">
                  <c:v>0</c:v>
                </c:pt>
                <c:pt idx="15018">
                  <c:v>0</c:v>
                </c:pt>
                <c:pt idx="15019">
                  <c:v>0</c:v>
                </c:pt>
                <c:pt idx="15020">
                  <c:v>0</c:v>
                </c:pt>
                <c:pt idx="15021">
                  <c:v>0</c:v>
                </c:pt>
                <c:pt idx="15022">
                  <c:v>0</c:v>
                </c:pt>
                <c:pt idx="15023">
                  <c:v>0</c:v>
                </c:pt>
                <c:pt idx="15024">
                  <c:v>0</c:v>
                </c:pt>
                <c:pt idx="15025">
                  <c:v>0</c:v>
                </c:pt>
                <c:pt idx="15026">
                  <c:v>0</c:v>
                </c:pt>
                <c:pt idx="15027">
                  <c:v>2</c:v>
                </c:pt>
                <c:pt idx="15028">
                  <c:v>3</c:v>
                </c:pt>
                <c:pt idx="15029">
                  <c:v>1</c:v>
                </c:pt>
                <c:pt idx="15030">
                  <c:v>0</c:v>
                </c:pt>
                <c:pt idx="15031">
                  <c:v>0</c:v>
                </c:pt>
                <c:pt idx="15032">
                  <c:v>1</c:v>
                </c:pt>
                <c:pt idx="15033">
                  <c:v>4</c:v>
                </c:pt>
                <c:pt idx="15034">
                  <c:v>0</c:v>
                </c:pt>
                <c:pt idx="15035">
                  <c:v>0</c:v>
                </c:pt>
                <c:pt idx="15036">
                  <c:v>3</c:v>
                </c:pt>
                <c:pt idx="15037">
                  <c:v>1</c:v>
                </c:pt>
                <c:pt idx="15038">
                  <c:v>2</c:v>
                </c:pt>
                <c:pt idx="15039">
                  <c:v>0</c:v>
                </c:pt>
                <c:pt idx="15040">
                  <c:v>2</c:v>
                </c:pt>
                <c:pt idx="15041">
                  <c:v>4</c:v>
                </c:pt>
                <c:pt idx="15042">
                  <c:v>0</c:v>
                </c:pt>
                <c:pt idx="15043">
                  <c:v>3</c:v>
                </c:pt>
                <c:pt idx="15044">
                  <c:v>0</c:v>
                </c:pt>
                <c:pt idx="15045">
                  <c:v>0</c:v>
                </c:pt>
                <c:pt idx="15046">
                  <c:v>0</c:v>
                </c:pt>
                <c:pt idx="15047">
                  <c:v>0</c:v>
                </c:pt>
                <c:pt idx="15048">
                  <c:v>0</c:v>
                </c:pt>
                <c:pt idx="15049">
                  <c:v>0</c:v>
                </c:pt>
                <c:pt idx="15050">
                  <c:v>0</c:v>
                </c:pt>
                <c:pt idx="15051">
                  <c:v>0</c:v>
                </c:pt>
                <c:pt idx="15052">
                  <c:v>0</c:v>
                </c:pt>
                <c:pt idx="15053">
                  <c:v>0</c:v>
                </c:pt>
                <c:pt idx="15054">
                  <c:v>0</c:v>
                </c:pt>
                <c:pt idx="15055">
                  <c:v>0</c:v>
                </c:pt>
                <c:pt idx="15056">
                  <c:v>0</c:v>
                </c:pt>
                <c:pt idx="15057">
                  <c:v>0</c:v>
                </c:pt>
                <c:pt idx="15058">
                  <c:v>0</c:v>
                </c:pt>
                <c:pt idx="15059">
                  <c:v>0</c:v>
                </c:pt>
                <c:pt idx="15060">
                  <c:v>0</c:v>
                </c:pt>
                <c:pt idx="15061">
                  <c:v>0</c:v>
                </c:pt>
                <c:pt idx="15062">
                  <c:v>0</c:v>
                </c:pt>
                <c:pt idx="15063">
                  <c:v>0</c:v>
                </c:pt>
                <c:pt idx="15064">
                  <c:v>0</c:v>
                </c:pt>
                <c:pt idx="15065">
                  <c:v>0</c:v>
                </c:pt>
                <c:pt idx="15066">
                  <c:v>0</c:v>
                </c:pt>
                <c:pt idx="15067">
                  <c:v>0</c:v>
                </c:pt>
                <c:pt idx="15068">
                  <c:v>0</c:v>
                </c:pt>
                <c:pt idx="15069">
                  <c:v>0</c:v>
                </c:pt>
                <c:pt idx="15070">
                  <c:v>0</c:v>
                </c:pt>
                <c:pt idx="15071">
                  <c:v>0</c:v>
                </c:pt>
                <c:pt idx="15072">
                  <c:v>0</c:v>
                </c:pt>
                <c:pt idx="15073">
                  <c:v>0</c:v>
                </c:pt>
                <c:pt idx="15074">
                  <c:v>0</c:v>
                </c:pt>
                <c:pt idx="15075">
                  <c:v>0</c:v>
                </c:pt>
                <c:pt idx="15076">
                  <c:v>0</c:v>
                </c:pt>
                <c:pt idx="15077">
                  <c:v>0</c:v>
                </c:pt>
                <c:pt idx="15078">
                  <c:v>0</c:v>
                </c:pt>
                <c:pt idx="15079">
                  <c:v>0</c:v>
                </c:pt>
                <c:pt idx="15080">
                  <c:v>0</c:v>
                </c:pt>
                <c:pt idx="15081">
                  <c:v>0</c:v>
                </c:pt>
                <c:pt idx="15082">
                  <c:v>0</c:v>
                </c:pt>
                <c:pt idx="15083">
                  <c:v>0</c:v>
                </c:pt>
                <c:pt idx="15084">
                  <c:v>0</c:v>
                </c:pt>
                <c:pt idx="15085">
                  <c:v>0</c:v>
                </c:pt>
                <c:pt idx="15086">
                  <c:v>0</c:v>
                </c:pt>
                <c:pt idx="15087">
                  <c:v>0</c:v>
                </c:pt>
                <c:pt idx="15088">
                  <c:v>0</c:v>
                </c:pt>
                <c:pt idx="15089">
                  <c:v>0</c:v>
                </c:pt>
                <c:pt idx="15090">
                  <c:v>0</c:v>
                </c:pt>
                <c:pt idx="15091">
                  <c:v>0</c:v>
                </c:pt>
                <c:pt idx="15092">
                  <c:v>0</c:v>
                </c:pt>
                <c:pt idx="15093">
                  <c:v>0</c:v>
                </c:pt>
                <c:pt idx="15094">
                  <c:v>0</c:v>
                </c:pt>
                <c:pt idx="15095">
                  <c:v>2</c:v>
                </c:pt>
                <c:pt idx="15096">
                  <c:v>0</c:v>
                </c:pt>
                <c:pt idx="15097">
                  <c:v>0</c:v>
                </c:pt>
                <c:pt idx="15098">
                  <c:v>0</c:v>
                </c:pt>
                <c:pt idx="15099">
                  <c:v>0</c:v>
                </c:pt>
                <c:pt idx="15100">
                  <c:v>0</c:v>
                </c:pt>
                <c:pt idx="15101">
                  <c:v>0</c:v>
                </c:pt>
                <c:pt idx="15102">
                  <c:v>0</c:v>
                </c:pt>
                <c:pt idx="15103">
                  <c:v>0</c:v>
                </c:pt>
                <c:pt idx="15104">
                  <c:v>0</c:v>
                </c:pt>
                <c:pt idx="15105">
                  <c:v>0</c:v>
                </c:pt>
                <c:pt idx="15106">
                  <c:v>0</c:v>
                </c:pt>
                <c:pt idx="15107">
                  <c:v>0</c:v>
                </c:pt>
                <c:pt idx="15108">
                  <c:v>0</c:v>
                </c:pt>
                <c:pt idx="15109">
                  <c:v>0</c:v>
                </c:pt>
                <c:pt idx="15110">
                  <c:v>0</c:v>
                </c:pt>
                <c:pt idx="15111">
                  <c:v>0</c:v>
                </c:pt>
                <c:pt idx="15112">
                  <c:v>0</c:v>
                </c:pt>
                <c:pt idx="15113">
                  <c:v>0</c:v>
                </c:pt>
                <c:pt idx="15114">
                  <c:v>0</c:v>
                </c:pt>
                <c:pt idx="15115">
                  <c:v>0</c:v>
                </c:pt>
                <c:pt idx="15116">
                  <c:v>0</c:v>
                </c:pt>
                <c:pt idx="15117">
                  <c:v>0</c:v>
                </c:pt>
                <c:pt idx="15118">
                  <c:v>0</c:v>
                </c:pt>
                <c:pt idx="15119">
                  <c:v>0</c:v>
                </c:pt>
                <c:pt idx="15120">
                  <c:v>0</c:v>
                </c:pt>
                <c:pt idx="15121">
                  <c:v>0</c:v>
                </c:pt>
                <c:pt idx="15122">
                  <c:v>0</c:v>
                </c:pt>
                <c:pt idx="15123">
                  <c:v>0</c:v>
                </c:pt>
                <c:pt idx="15124">
                  <c:v>0</c:v>
                </c:pt>
                <c:pt idx="15125">
                  <c:v>0</c:v>
                </c:pt>
                <c:pt idx="15126">
                  <c:v>0</c:v>
                </c:pt>
                <c:pt idx="15127">
                  <c:v>0</c:v>
                </c:pt>
                <c:pt idx="15128">
                  <c:v>0</c:v>
                </c:pt>
                <c:pt idx="15129">
                  <c:v>0</c:v>
                </c:pt>
                <c:pt idx="15130">
                  <c:v>0</c:v>
                </c:pt>
                <c:pt idx="15131">
                  <c:v>0</c:v>
                </c:pt>
                <c:pt idx="15132">
                  <c:v>0</c:v>
                </c:pt>
                <c:pt idx="15133">
                  <c:v>0</c:v>
                </c:pt>
                <c:pt idx="15134">
                  <c:v>0</c:v>
                </c:pt>
                <c:pt idx="15135">
                  <c:v>0</c:v>
                </c:pt>
                <c:pt idx="15136">
                  <c:v>0</c:v>
                </c:pt>
                <c:pt idx="15137">
                  <c:v>0</c:v>
                </c:pt>
                <c:pt idx="15138">
                  <c:v>0</c:v>
                </c:pt>
                <c:pt idx="15139">
                  <c:v>0</c:v>
                </c:pt>
                <c:pt idx="15140">
                  <c:v>0</c:v>
                </c:pt>
                <c:pt idx="15141">
                  <c:v>0</c:v>
                </c:pt>
                <c:pt idx="15142">
                  <c:v>0</c:v>
                </c:pt>
                <c:pt idx="15143">
                  <c:v>0</c:v>
                </c:pt>
                <c:pt idx="15144">
                  <c:v>0</c:v>
                </c:pt>
                <c:pt idx="15145">
                  <c:v>0</c:v>
                </c:pt>
                <c:pt idx="15146">
                  <c:v>0</c:v>
                </c:pt>
                <c:pt idx="15147">
                  <c:v>0</c:v>
                </c:pt>
                <c:pt idx="15148">
                  <c:v>0</c:v>
                </c:pt>
                <c:pt idx="15149">
                  <c:v>0</c:v>
                </c:pt>
                <c:pt idx="15150">
                  <c:v>0</c:v>
                </c:pt>
                <c:pt idx="15151">
                  <c:v>0</c:v>
                </c:pt>
                <c:pt idx="15152">
                  <c:v>0</c:v>
                </c:pt>
                <c:pt idx="15153">
                  <c:v>0</c:v>
                </c:pt>
                <c:pt idx="15154">
                  <c:v>0</c:v>
                </c:pt>
                <c:pt idx="15155">
                  <c:v>0</c:v>
                </c:pt>
                <c:pt idx="15156">
                  <c:v>0</c:v>
                </c:pt>
                <c:pt idx="15157">
                  <c:v>0</c:v>
                </c:pt>
                <c:pt idx="15158">
                  <c:v>0</c:v>
                </c:pt>
                <c:pt idx="15159">
                  <c:v>0</c:v>
                </c:pt>
                <c:pt idx="15160">
                  <c:v>0</c:v>
                </c:pt>
                <c:pt idx="15161">
                  <c:v>0</c:v>
                </c:pt>
                <c:pt idx="15162">
                  <c:v>0</c:v>
                </c:pt>
                <c:pt idx="15163">
                  <c:v>0</c:v>
                </c:pt>
                <c:pt idx="15164">
                  <c:v>0</c:v>
                </c:pt>
                <c:pt idx="15165">
                  <c:v>0</c:v>
                </c:pt>
                <c:pt idx="15166">
                  <c:v>0</c:v>
                </c:pt>
                <c:pt idx="15167">
                  <c:v>0</c:v>
                </c:pt>
                <c:pt idx="15168">
                  <c:v>0</c:v>
                </c:pt>
                <c:pt idx="15169">
                  <c:v>0</c:v>
                </c:pt>
                <c:pt idx="15170">
                  <c:v>0</c:v>
                </c:pt>
                <c:pt idx="15171">
                  <c:v>0</c:v>
                </c:pt>
                <c:pt idx="15172">
                  <c:v>0</c:v>
                </c:pt>
                <c:pt idx="15173">
                  <c:v>3</c:v>
                </c:pt>
                <c:pt idx="15174">
                  <c:v>0</c:v>
                </c:pt>
                <c:pt idx="15175">
                  <c:v>0</c:v>
                </c:pt>
                <c:pt idx="15176">
                  <c:v>0</c:v>
                </c:pt>
                <c:pt idx="15177">
                  <c:v>0</c:v>
                </c:pt>
                <c:pt idx="15178">
                  <c:v>0</c:v>
                </c:pt>
                <c:pt idx="15179">
                  <c:v>0</c:v>
                </c:pt>
                <c:pt idx="15180">
                  <c:v>0</c:v>
                </c:pt>
                <c:pt idx="15181">
                  <c:v>0</c:v>
                </c:pt>
                <c:pt idx="15182">
                  <c:v>0</c:v>
                </c:pt>
                <c:pt idx="15183">
                  <c:v>0</c:v>
                </c:pt>
                <c:pt idx="15184">
                  <c:v>0</c:v>
                </c:pt>
                <c:pt idx="15185">
                  <c:v>0</c:v>
                </c:pt>
                <c:pt idx="15186">
                  <c:v>0</c:v>
                </c:pt>
                <c:pt idx="15187">
                  <c:v>0</c:v>
                </c:pt>
                <c:pt idx="15188">
                  <c:v>0</c:v>
                </c:pt>
                <c:pt idx="15189">
                  <c:v>0</c:v>
                </c:pt>
                <c:pt idx="15190">
                  <c:v>0</c:v>
                </c:pt>
                <c:pt idx="15191">
                  <c:v>0</c:v>
                </c:pt>
                <c:pt idx="15192">
                  <c:v>0</c:v>
                </c:pt>
                <c:pt idx="15193">
                  <c:v>0</c:v>
                </c:pt>
                <c:pt idx="15194">
                  <c:v>0</c:v>
                </c:pt>
                <c:pt idx="15195">
                  <c:v>0</c:v>
                </c:pt>
                <c:pt idx="15196">
                  <c:v>0</c:v>
                </c:pt>
                <c:pt idx="15197">
                  <c:v>0</c:v>
                </c:pt>
                <c:pt idx="15198">
                  <c:v>0</c:v>
                </c:pt>
                <c:pt idx="15199">
                  <c:v>0</c:v>
                </c:pt>
                <c:pt idx="15200">
                  <c:v>0</c:v>
                </c:pt>
                <c:pt idx="15201">
                  <c:v>0</c:v>
                </c:pt>
                <c:pt idx="15202">
                  <c:v>0</c:v>
                </c:pt>
                <c:pt idx="15203">
                  <c:v>0</c:v>
                </c:pt>
                <c:pt idx="15204">
                  <c:v>0</c:v>
                </c:pt>
                <c:pt idx="15205">
                  <c:v>0</c:v>
                </c:pt>
                <c:pt idx="15206">
                  <c:v>0</c:v>
                </c:pt>
                <c:pt idx="15207">
                  <c:v>0</c:v>
                </c:pt>
                <c:pt idx="15208">
                  <c:v>0</c:v>
                </c:pt>
                <c:pt idx="15209">
                  <c:v>0</c:v>
                </c:pt>
                <c:pt idx="15210">
                  <c:v>0</c:v>
                </c:pt>
                <c:pt idx="15211">
                  <c:v>0</c:v>
                </c:pt>
                <c:pt idx="15212">
                  <c:v>0</c:v>
                </c:pt>
                <c:pt idx="15213">
                  <c:v>0</c:v>
                </c:pt>
                <c:pt idx="15214">
                  <c:v>0</c:v>
                </c:pt>
                <c:pt idx="15215">
                  <c:v>0</c:v>
                </c:pt>
                <c:pt idx="15216">
                  <c:v>0</c:v>
                </c:pt>
                <c:pt idx="15217">
                  <c:v>0</c:v>
                </c:pt>
                <c:pt idx="15218">
                  <c:v>0</c:v>
                </c:pt>
                <c:pt idx="15219">
                  <c:v>0</c:v>
                </c:pt>
                <c:pt idx="15220">
                  <c:v>0</c:v>
                </c:pt>
                <c:pt idx="15221">
                  <c:v>0</c:v>
                </c:pt>
                <c:pt idx="15222">
                  <c:v>0</c:v>
                </c:pt>
                <c:pt idx="15223">
                  <c:v>0</c:v>
                </c:pt>
                <c:pt idx="15224">
                  <c:v>0</c:v>
                </c:pt>
                <c:pt idx="15225">
                  <c:v>0</c:v>
                </c:pt>
                <c:pt idx="15226">
                  <c:v>3</c:v>
                </c:pt>
                <c:pt idx="15227">
                  <c:v>3</c:v>
                </c:pt>
                <c:pt idx="15228">
                  <c:v>0</c:v>
                </c:pt>
                <c:pt idx="15229">
                  <c:v>0</c:v>
                </c:pt>
                <c:pt idx="15230">
                  <c:v>1</c:v>
                </c:pt>
                <c:pt idx="15231">
                  <c:v>0</c:v>
                </c:pt>
                <c:pt idx="15232">
                  <c:v>0</c:v>
                </c:pt>
                <c:pt idx="15233">
                  <c:v>0</c:v>
                </c:pt>
                <c:pt idx="15234">
                  <c:v>0</c:v>
                </c:pt>
                <c:pt idx="15235">
                  <c:v>0</c:v>
                </c:pt>
                <c:pt idx="15236">
                  <c:v>0</c:v>
                </c:pt>
                <c:pt idx="15237">
                  <c:v>0</c:v>
                </c:pt>
                <c:pt idx="15238">
                  <c:v>0</c:v>
                </c:pt>
                <c:pt idx="15239">
                  <c:v>0</c:v>
                </c:pt>
                <c:pt idx="15240">
                  <c:v>0</c:v>
                </c:pt>
                <c:pt idx="15241">
                  <c:v>0</c:v>
                </c:pt>
                <c:pt idx="15242">
                  <c:v>0</c:v>
                </c:pt>
                <c:pt idx="15243">
                  <c:v>0</c:v>
                </c:pt>
                <c:pt idx="15244">
                  <c:v>0</c:v>
                </c:pt>
                <c:pt idx="15245">
                  <c:v>0</c:v>
                </c:pt>
                <c:pt idx="15246">
                  <c:v>0</c:v>
                </c:pt>
                <c:pt idx="15247">
                  <c:v>0</c:v>
                </c:pt>
                <c:pt idx="15248">
                  <c:v>0</c:v>
                </c:pt>
                <c:pt idx="15249">
                  <c:v>0</c:v>
                </c:pt>
                <c:pt idx="15250">
                  <c:v>0</c:v>
                </c:pt>
                <c:pt idx="15251">
                  <c:v>0</c:v>
                </c:pt>
                <c:pt idx="15252">
                  <c:v>0</c:v>
                </c:pt>
                <c:pt idx="15253">
                  <c:v>0</c:v>
                </c:pt>
                <c:pt idx="15254">
                  <c:v>0</c:v>
                </c:pt>
                <c:pt idx="15255">
                  <c:v>0</c:v>
                </c:pt>
                <c:pt idx="15256">
                  <c:v>0</c:v>
                </c:pt>
                <c:pt idx="15257">
                  <c:v>0</c:v>
                </c:pt>
                <c:pt idx="15258">
                  <c:v>0</c:v>
                </c:pt>
                <c:pt idx="15259">
                  <c:v>0</c:v>
                </c:pt>
                <c:pt idx="15260">
                  <c:v>0</c:v>
                </c:pt>
                <c:pt idx="15261">
                  <c:v>0</c:v>
                </c:pt>
                <c:pt idx="15262">
                  <c:v>0</c:v>
                </c:pt>
                <c:pt idx="15263">
                  <c:v>0</c:v>
                </c:pt>
                <c:pt idx="15264">
                  <c:v>0</c:v>
                </c:pt>
                <c:pt idx="15265">
                  <c:v>0</c:v>
                </c:pt>
                <c:pt idx="15266">
                  <c:v>0</c:v>
                </c:pt>
                <c:pt idx="15267">
                  <c:v>0</c:v>
                </c:pt>
                <c:pt idx="15268">
                  <c:v>0</c:v>
                </c:pt>
                <c:pt idx="15269">
                  <c:v>0</c:v>
                </c:pt>
                <c:pt idx="15270">
                  <c:v>0</c:v>
                </c:pt>
                <c:pt idx="15271">
                  <c:v>0</c:v>
                </c:pt>
                <c:pt idx="15272">
                  <c:v>0</c:v>
                </c:pt>
                <c:pt idx="15273">
                  <c:v>0</c:v>
                </c:pt>
                <c:pt idx="15274">
                  <c:v>0</c:v>
                </c:pt>
                <c:pt idx="15275">
                  <c:v>0</c:v>
                </c:pt>
                <c:pt idx="15276">
                  <c:v>0</c:v>
                </c:pt>
                <c:pt idx="15277">
                  <c:v>0</c:v>
                </c:pt>
                <c:pt idx="15278">
                  <c:v>0</c:v>
                </c:pt>
                <c:pt idx="15279">
                  <c:v>0</c:v>
                </c:pt>
                <c:pt idx="15280">
                  <c:v>0</c:v>
                </c:pt>
                <c:pt idx="15281">
                  <c:v>0</c:v>
                </c:pt>
                <c:pt idx="15282">
                  <c:v>0</c:v>
                </c:pt>
                <c:pt idx="15283">
                  <c:v>0</c:v>
                </c:pt>
                <c:pt idx="15284">
                  <c:v>0</c:v>
                </c:pt>
                <c:pt idx="15285">
                  <c:v>0</c:v>
                </c:pt>
                <c:pt idx="15286">
                  <c:v>0</c:v>
                </c:pt>
                <c:pt idx="15287">
                  <c:v>0</c:v>
                </c:pt>
                <c:pt idx="15288">
                  <c:v>0</c:v>
                </c:pt>
                <c:pt idx="15289">
                  <c:v>0</c:v>
                </c:pt>
                <c:pt idx="15290">
                  <c:v>0</c:v>
                </c:pt>
                <c:pt idx="15291">
                  <c:v>0</c:v>
                </c:pt>
                <c:pt idx="15292">
                  <c:v>0</c:v>
                </c:pt>
                <c:pt idx="15293">
                  <c:v>0</c:v>
                </c:pt>
                <c:pt idx="15294">
                  <c:v>0</c:v>
                </c:pt>
                <c:pt idx="15295">
                  <c:v>0</c:v>
                </c:pt>
                <c:pt idx="15296">
                  <c:v>0</c:v>
                </c:pt>
                <c:pt idx="15297">
                  <c:v>0</c:v>
                </c:pt>
                <c:pt idx="15298">
                  <c:v>0</c:v>
                </c:pt>
                <c:pt idx="15299">
                  <c:v>0</c:v>
                </c:pt>
                <c:pt idx="15300">
                  <c:v>0</c:v>
                </c:pt>
                <c:pt idx="15301">
                  <c:v>0</c:v>
                </c:pt>
                <c:pt idx="15302">
                  <c:v>0</c:v>
                </c:pt>
                <c:pt idx="15303">
                  <c:v>0</c:v>
                </c:pt>
                <c:pt idx="15304">
                  <c:v>0</c:v>
                </c:pt>
                <c:pt idx="15305">
                  <c:v>2</c:v>
                </c:pt>
                <c:pt idx="15306">
                  <c:v>1</c:v>
                </c:pt>
                <c:pt idx="15307">
                  <c:v>1</c:v>
                </c:pt>
                <c:pt idx="15308">
                  <c:v>3</c:v>
                </c:pt>
                <c:pt idx="15309">
                  <c:v>0</c:v>
                </c:pt>
                <c:pt idx="15310">
                  <c:v>0</c:v>
                </c:pt>
                <c:pt idx="15311">
                  <c:v>0</c:v>
                </c:pt>
                <c:pt idx="15312">
                  <c:v>0</c:v>
                </c:pt>
                <c:pt idx="15313">
                  <c:v>0</c:v>
                </c:pt>
                <c:pt idx="15314">
                  <c:v>0</c:v>
                </c:pt>
                <c:pt idx="15315">
                  <c:v>0</c:v>
                </c:pt>
                <c:pt idx="15316">
                  <c:v>0</c:v>
                </c:pt>
                <c:pt idx="15317">
                  <c:v>0</c:v>
                </c:pt>
                <c:pt idx="15318">
                  <c:v>0</c:v>
                </c:pt>
                <c:pt idx="15319">
                  <c:v>0</c:v>
                </c:pt>
                <c:pt idx="15320">
                  <c:v>0</c:v>
                </c:pt>
                <c:pt idx="15321">
                  <c:v>0</c:v>
                </c:pt>
                <c:pt idx="15322">
                  <c:v>0</c:v>
                </c:pt>
                <c:pt idx="15323">
                  <c:v>0</c:v>
                </c:pt>
                <c:pt idx="15324">
                  <c:v>0</c:v>
                </c:pt>
                <c:pt idx="15325">
                  <c:v>0</c:v>
                </c:pt>
                <c:pt idx="15326">
                  <c:v>0</c:v>
                </c:pt>
                <c:pt idx="15327">
                  <c:v>0</c:v>
                </c:pt>
                <c:pt idx="15328">
                  <c:v>0</c:v>
                </c:pt>
                <c:pt idx="15329">
                  <c:v>0</c:v>
                </c:pt>
                <c:pt idx="15330">
                  <c:v>0</c:v>
                </c:pt>
                <c:pt idx="15331">
                  <c:v>0</c:v>
                </c:pt>
                <c:pt idx="15332">
                  <c:v>0</c:v>
                </c:pt>
                <c:pt idx="15333">
                  <c:v>0</c:v>
                </c:pt>
                <c:pt idx="15334">
                  <c:v>0</c:v>
                </c:pt>
                <c:pt idx="15335">
                  <c:v>0</c:v>
                </c:pt>
                <c:pt idx="15336">
                  <c:v>0</c:v>
                </c:pt>
                <c:pt idx="15337">
                  <c:v>0</c:v>
                </c:pt>
                <c:pt idx="15338">
                  <c:v>0</c:v>
                </c:pt>
                <c:pt idx="15339">
                  <c:v>0</c:v>
                </c:pt>
                <c:pt idx="15340">
                  <c:v>0</c:v>
                </c:pt>
                <c:pt idx="15341">
                  <c:v>0</c:v>
                </c:pt>
                <c:pt idx="15342">
                  <c:v>0</c:v>
                </c:pt>
                <c:pt idx="15343">
                  <c:v>0</c:v>
                </c:pt>
                <c:pt idx="15344">
                  <c:v>0</c:v>
                </c:pt>
                <c:pt idx="15345">
                  <c:v>0</c:v>
                </c:pt>
                <c:pt idx="15346">
                  <c:v>0</c:v>
                </c:pt>
                <c:pt idx="15347">
                  <c:v>0</c:v>
                </c:pt>
                <c:pt idx="15348">
                  <c:v>0</c:v>
                </c:pt>
                <c:pt idx="15349">
                  <c:v>1</c:v>
                </c:pt>
                <c:pt idx="15350">
                  <c:v>0</c:v>
                </c:pt>
                <c:pt idx="15351">
                  <c:v>0</c:v>
                </c:pt>
                <c:pt idx="15352">
                  <c:v>0</c:v>
                </c:pt>
                <c:pt idx="15353">
                  <c:v>0</c:v>
                </c:pt>
                <c:pt idx="15354">
                  <c:v>1</c:v>
                </c:pt>
                <c:pt idx="15355">
                  <c:v>0</c:v>
                </c:pt>
                <c:pt idx="15356">
                  <c:v>0</c:v>
                </c:pt>
                <c:pt idx="15357">
                  <c:v>0</c:v>
                </c:pt>
                <c:pt idx="15358">
                  <c:v>0</c:v>
                </c:pt>
                <c:pt idx="15359">
                  <c:v>0</c:v>
                </c:pt>
                <c:pt idx="15360">
                  <c:v>0</c:v>
                </c:pt>
                <c:pt idx="15361">
                  <c:v>0</c:v>
                </c:pt>
                <c:pt idx="15362">
                  <c:v>0</c:v>
                </c:pt>
                <c:pt idx="15363">
                  <c:v>0</c:v>
                </c:pt>
                <c:pt idx="15364">
                  <c:v>0</c:v>
                </c:pt>
                <c:pt idx="15365">
                  <c:v>0</c:v>
                </c:pt>
                <c:pt idx="15366">
                  <c:v>0</c:v>
                </c:pt>
                <c:pt idx="15367">
                  <c:v>0</c:v>
                </c:pt>
                <c:pt idx="15368">
                  <c:v>0</c:v>
                </c:pt>
                <c:pt idx="15369">
                  <c:v>0</c:v>
                </c:pt>
                <c:pt idx="15370">
                  <c:v>0</c:v>
                </c:pt>
                <c:pt idx="15371">
                  <c:v>0</c:v>
                </c:pt>
                <c:pt idx="15372">
                  <c:v>0</c:v>
                </c:pt>
                <c:pt idx="15373">
                  <c:v>0</c:v>
                </c:pt>
                <c:pt idx="15374">
                  <c:v>0</c:v>
                </c:pt>
                <c:pt idx="15375">
                  <c:v>0</c:v>
                </c:pt>
                <c:pt idx="15376">
                  <c:v>0</c:v>
                </c:pt>
                <c:pt idx="15377">
                  <c:v>0</c:v>
                </c:pt>
                <c:pt idx="15378">
                  <c:v>0</c:v>
                </c:pt>
                <c:pt idx="15379">
                  <c:v>0</c:v>
                </c:pt>
                <c:pt idx="15380">
                  <c:v>0</c:v>
                </c:pt>
                <c:pt idx="15381">
                  <c:v>0</c:v>
                </c:pt>
                <c:pt idx="15382">
                  <c:v>0</c:v>
                </c:pt>
                <c:pt idx="15383">
                  <c:v>0</c:v>
                </c:pt>
                <c:pt idx="15384">
                  <c:v>0</c:v>
                </c:pt>
                <c:pt idx="15385">
                  <c:v>3</c:v>
                </c:pt>
                <c:pt idx="15386">
                  <c:v>4</c:v>
                </c:pt>
                <c:pt idx="15387">
                  <c:v>0</c:v>
                </c:pt>
                <c:pt idx="15388">
                  <c:v>0</c:v>
                </c:pt>
                <c:pt idx="15389">
                  <c:v>0</c:v>
                </c:pt>
                <c:pt idx="15390">
                  <c:v>0</c:v>
                </c:pt>
                <c:pt idx="15391">
                  <c:v>0</c:v>
                </c:pt>
                <c:pt idx="15392">
                  <c:v>0</c:v>
                </c:pt>
                <c:pt idx="15393">
                  <c:v>0</c:v>
                </c:pt>
                <c:pt idx="15394">
                  <c:v>0</c:v>
                </c:pt>
                <c:pt idx="15395">
                  <c:v>0</c:v>
                </c:pt>
                <c:pt idx="15396">
                  <c:v>0</c:v>
                </c:pt>
                <c:pt idx="15397">
                  <c:v>0</c:v>
                </c:pt>
                <c:pt idx="15398">
                  <c:v>0</c:v>
                </c:pt>
                <c:pt idx="15399">
                  <c:v>0</c:v>
                </c:pt>
                <c:pt idx="15400">
                  <c:v>0</c:v>
                </c:pt>
                <c:pt idx="15401">
                  <c:v>0</c:v>
                </c:pt>
                <c:pt idx="15402">
                  <c:v>0</c:v>
                </c:pt>
                <c:pt idx="15403">
                  <c:v>0</c:v>
                </c:pt>
                <c:pt idx="15404">
                  <c:v>0</c:v>
                </c:pt>
                <c:pt idx="15405">
                  <c:v>0</c:v>
                </c:pt>
                <c:pt idx="15406">
                  <c:v>0</c:v>
                </c:pt>
                <c:pt idx="15407">
                  <c:v>0</c:v>
                </c:pt>
                <c:pt idx="15408">
                  <c:v>0</c:v>
                </c:pt>
                <c:pt idx="15409">
                  <c:v>0</c:v>
                </c:pt>
                <c:pt idx="15410">
                  <c:v>0</c:v>
                </c:pt>
                <c:pt idx="15411">
                  <c:v>0</c:v>
                </c:pt>
                <c:pt idx="15412">
                  <c:v>0</c:v>
                </c:pt>
                <c:pt idx="15413">
                  <c:v>0</c:v>
                </c:pt>
                <c:pt idx="15414">
                  <c:v>0</c:v>
                </c:pt>
                <c:pt idx="15415">
                  <c:v>0</c:v>
                </c:pt>
                <c:pt idx="15416">
                  <c:v>0</c:v>
                </c:pt>
                <c:pt idx="15417">
                  <c:v>0</c:v>
                </c:pt>
                <c:pt idx="15418">
                  <c:v>0</c:v>
                </c:pt>
                <c:pt idx="15419">
                  <c:v>0</c:v>
                </c:pt>
                <c:pt idx="15420">
                  <c:v>0</c:v>
                </c:pt>
                <c:pt idx="15421">
                  <c:v>0</c:v>
                </c:pt>
                <c:pt idx="15422">
                  <c:v>0</c:v>
                </c:pt>
                <c:pt idx="15423">
                  <c:v>0</c:v>
                </c:pt>
                <c:pt idx="15424">
                  <c:v>0</c:v>
                </c:pt>
                <c:pt idx="15425">
                  <c:v>0</c:v>
                </c:pt>
                <c:pt idx="15426">
                  <c:v>0</c:v>
                </c:pt>
                <c:pt idx="15427">
                  <c:v>0</c:v>
                </c:pt>
                <c:pt idx="15428">
                  <c:v>0</c:v>
                </c:pt>
                <c:pt idx="15429">
                  <c:v>0</c:v>
                </c:pt>
                <c:pt idx="15430">
                  <c:v>0</c:v>
                </c:pt>
                <c:pt idx="15431">
                  <c:v>0</c:v>
                </c:pt>
                <c:pt idx="15432">
                  <c:v>0</c:v>
                </c:pt>
                <c:pt idx="15433">
                  <c:v>0</c:v>
                </c:pt>
                <c:pt idx="15434">
                  <c:v>0</c:v>
                </c:pt>
                <c:pt idx="15435">
                  <c:v>0</c:v>
                </c:pt>
                <c:pt idx="15436">
                  <c:v>0</c:v>
                </c:pt>
                <c:pt idx="15437">
                  <c:v>0</c:v>
                </c:pt>
                <c:pt idx="15438">
                  <c:v>0</c:v>
                </c:pt>
                <c:pt idx="15439">
                  <c:v>0</c:v>
                </c:pt>
                <c:pt idx="15440">
                  <c:v>0</c:v>
                </c:pt>
                <c:pt idx="15441">
                  <c:v>0</c:v>
                </c:pt>
                <c:pt idx="15442">
                  <c:v>0</c:v>
                </c:pt>
                <c:pt idx="15443">
                  <c:v>0</c:v>
                </c:pt>
                <c:pt idx="15444">
                  <c:v>0</c:v>
                </c:pt>
                <c:pt idx="15445">
                  <c:v>0</c:v>
                </c:pt>
                <c:pt idx="15446">
                  <c:v>0</c:v>
                </c:pt>
                <c:pt idx="15447">
                  <c:v>0</c:v>
                </c:pt>
                <c:pt idx="15448">
                  <c:v>0</c:v>
                </c:pt>
                <c:pt idx="15449">
                  <c:v>0</c:v>
                </c:pt>
                <c:pt idx="15450">
                  <c:v>0</c:v>
                </c:pt>
                <c:pt idx="15451">
                  <c:v>0</c:v>
                </c:pt>
                <c:pt idx="15452">
                  <c:v>0</c:v>
                </c:pt>
                <c:pt idx="15453">
                  <c:v>0</c:v>
                </c:pt>
                <c:pt idx="15454">
                  <c:v>0</c:v>
                </c:pt>
                <c:pt idx="15455">
                  <c:v>1</c:v>
                </c:pt>
                <c:pt idx="15456">
                  <c:v>2</c:v>
                </c:pt>
                <c:pt idx="15457">
                  <c:v>0</c:v>
                </c:pt>
                <c:pt idx="15458">
                  <c:v>0</c:v>
                </c:pt>
                <c:pt idx="15459">
                  <c:v>0</c:v>
                </c:pt>
                <c:pt idx="15460">
                  <c:v>0</c:v>
                </c:pt>
                <c:pt idx="15461">
                  <c:v>0</c:v>
                </c:pt>
                <c:pt idx="15462">
                  <c:v>0</c:v>
                </c:pt>
                <c:pt idx="15463">
                  <c:v>0</c:v>
                </c:pt>
                <c:pt idx="15464">
                  <c:v>0</c:v>
                </c:pt>
                <c:pt idx="15465">
                  <c:v>0</c:v>
                </c:pt>
                <c:pt idx="15466">
                  <c:v>0</c:v>
                </c:pt>
                <c:pt idx="15467">
                  <c:v>0</c:v>
                </c:pt>
                <c:pt idx="15468">
                  <c:v>0</c:v>
                </c:pt>
                <c:pt idx="15469">
                  <c:v>0</c:v>
                </c:pt>
                <c:pt idx="15470">
                  <c:v>0</c:v>
                </c:pt>
                <c:pt idx="15471">
                  <c:v>0</c:v>
                </c:pt>
                <c:pt idx="15472">
                  <c:v>0</c:v>
                </c:pt>
                <c:pt idx="15473">
                  <c:v>0</c:v>
                </c:pt>
                <c:pt idx="15474">
                  <c:v>0</c:v>
                </c:pt>
                <c:pt idx="15475">
                  <c:v>0</c:v>
                </c:pt>
                <c:pt idx="15476">
                  <c:v>0</c:v>
                </c:pt>
                <c:pt idx="15477">
                  <c:v>0</c:v>
                </c:pt>
                <c:pt idx="15478">
                  <c:v>0</c:v>
                </c:pt>
                <c:pt idx="15479">
                  <c:v>0</c:v>
                </c:pt>
                <c:pt idx="15480">
                  <c:v>0</c:v>
                </c:pt>
                <c:pt idx="15481">
                  <c:v>0</c:v>
                </c:pt>
                <c:pt idx="15482">
                  <c:v>0</c:v>
                </c:pt>
                <c:pt idx="15483">
                  <c:v>0</c:v>
                </c:pt>
                <c:pt idx="15484">
                  <c:v>0</c:v>
                </c:pt>
                <c:pt idx="15485">
                  <c:v>0</c:v>
                </c:pt>
                <c:pt idx="15486">
                  <c:v>0</c:v>
                </c:pt>
                <c:pt idx="15487">
                  <c:v>0</c:v>
                </c:pt>
                <c:pt idx="15488">
                  <c:v>0</c:v>
                </c:pt>
                <c:pt idx="15489">
                  <c:v>0</c:v>
                </c:pt>
                <c:pt idx="15490">
                  <c:v>0</c:v>
                </c:pt>
                <c:pt idx="15491">
                  <c:v>0</c:v>
                </c:pt>
                <c:pt idx="15492">
                  <c:v>0</c:v>
                </c:pt>
                <c:pt idx="15493">
                  <c:v>0</c:v>
                </c:pt>
                <c:pt idx="15494">
                  <c:v>0</c:v>
                </c:pt>
                <c:pt idx="15495">
                  <c:v>0</c:v>
                </c:pt>
                <c:pt idx="15496">
                  <c:v>0</c:v>
                </c:pt>
                <c:pt idx="15497">
                  <c:v>0</c:v>
                </c:pt>
                <c:pt idx="15498">
                  <c:v>1</c:v>
                </c:pt>
                <c:pt idx="15499">
                  <c:v>0</c:v>
                </c:pt>
                <c:pt idx="15500">
                  <c:v>0</c:v>
                </c:pt>
                <c:pt idx="15501">
                  <c:v>0</c:v>
                </c:pt>
                <c:pt idx="15502">
                  <c:v>0</c:v>
                </c:pt>
                <c:pt idx="15503">
                  <c:v>0</c:v>
                </c:pt>
                <c:pt idx="15504">
                  <c:v>0</c:v>
                </c:pt>
                <c:pt idx="15505">
                  <c:v>0</c:v>
                </c:pt>
                <c:pt idx="15506">
                  <c:v>0</c:v>
                </c:pt>
                <c:pt idx="15507">
                  <c:v>0</c:v>
                </c:pt>
                <c:pt idx="15508">
                  <c:v>0</c:v>
                </c:pt>
                <c:pt idx="15509">
                  <c:v>0</c:v>
                </c:pt>
                <c:pt idx="15510">
                  <c:v>0</c:v>
                </c:pt>
                <c:pt idx="15511">
                  <c:v>0</c:v>
                </c:pt>
                <c:pt idx="15512">
                  <c:v>0</c:v>
                </c:pt>
                <c:pt idx="15513">
                  <c:v>0</c:v>
                </c:pt>
                <c:pt idx="15514">
                  <c:v>0</c:v>
                </c:pt>
                <c:pt idx="15515">
                  <c:v>0</c:v>
                </c:pt>
                <c:pt idx="15516">
                  <c:v>0</c:v>
                </c:pt>
                <c:pt idx="15517">
                  <c:v>0</c:v>
                </c:pt>
                <c:pt idx="15518">
                  <c:v>0</c:v>
                </c:pt>
                <c:pt idx="15519">
                  <c:v>0</c:v>
                </c:pt>
                <c:pt idx="15520">
                  <c:v>0</c:v>
                </c:pt>
                <c:pt idx="15521">
                  <c:v>0</c:v>
                </c:pt>
                <c:pt idx="15522">
                  <c:v>0</c:v>
                </c:pt>
                <c:pt idx="15523">
                  <c:v>0</c:v>
                </c:pt>
                <c:pt idx="15524">
                  <c:v>0</c:v>
                </c:pt>
                <c:pt idx="15525">
                  <c:v>0</c:v>
                </c:pt>
                <c:pt idx="15526">
                  <c:v>0</c:v>
                </c:pt>
                <c:pt idx="15527">
                  <c:v>0</c:v>
                </c:pt>
                <c:pt idx="15528">
                  <c:v>0</c:v>
                </c:pt>
                <c:pt idx="15529">
                  <c:v>0</c:v>
                </c:pt>
                <c:pt idx="15530">
                  <c:v>0</c:v>
                </c:pt>
                <c:pt idx="15531">
                  <c:v>0</c:v>
                </c:pt>
                <c:pt idx="15532">
                  <c:v>0</c:v>
                </c:pt>
                <c:pt idx="15533">
                  <c:v>0</c:v>
                </c:pt>
                <c:pt idx="15534">
                  <c:v>0</c:v>
                </c:pt>
                <c:pt idx="15535">
                  <c:v>0</c:v>
                </c:pt>
                <c:pt idx="15536">
                  <c:v>0</c:v>
                </c:pt>
                <c:pt idx="15537">
                  <c:v>0</c:v>
                </c:pt>
                <c:pt idx="15538">
                  <c:v>0</c:v>
                </c:pt>
                <c:pt idx="15539">
                  <c:v>0</c:v>
                </c:pt>
                <c:pt idx="15540">
                  <c:v>0</c:v>
                </c:pt>
                <c:pt idx="15541">
                  <c:v>0</c:v>
                </c:pt>
                <c:pt idx="15542">
                  <c:v>0</c:v>
                </c:pt>
                <c:pt idx="15543">
                  <c:v>0</c:v>
                </c:pt>
                <c:pt idx="15544">
                  <c:v>0</c:v>
                </c:pt>
                <c:pt idx="15545">
                  <c:v>0</c:v>
                </c:pt>
                <c:pt idx="15546">
                  <c:v>0</c:v>
                </c:pt>
                <c:pt idx="15547">
                  <c:v>0</c:v>
                </c:pt>
                <c:pt idx="15548">
                  <c:v>0</c:v>
                </c:pt>
                <c:pt idx="15549">
                  <c:v>0</c:v>
                </c:pt>
                <c:pt idx="15550">
                  <c:v>0</c:v>
                </c:pt>
                <c:pt idx="15551">
                  <c:v>0</c:v>
                </c:pt>
                <c:pt idx="15552">
                  <c:v>0</c:v>
                </c:pt>
                <c:pt idx="15553">
                  <c:v>0</c:v>
                </c:pt>
                <c:pt idx="15554">
                  <c:v>0</c:v>
                </c:pt>
                <c:pt idx="15555">
                  <c:v>0</c:v>
                </c:pt>
                <c:pt idx="15556">
                  <c:v>0</c:v>
                </c:pt>
                <c:pt idx="15557">
                  <c:v>1</c:v>
                </c:pt>
                <c:pt idx="15558">
                  <c:v>0</c:v>
                </c:pt>
                <c:pt idx="15559">
                  <c:v>0</c:v>
                </c:pt>
                <c:pt idx="15560">
                  <c:v>0</c:v>
                </c:pt>
                <c:pt idx="15561">
                  <c:v>8</c:v>
                </c:pt>
                <c:pt idx="15562">
                  <c:v>4</c:v>
                </c:pt>
                <c:pt idx="15563">
                  <c:v>2</c:v>
                </c:pt>
                <c:pt idx="15564">
                  <c:v>2</c:v>
                </c:pt>
                <c:pt idx="15565">
                  <c:v>0</c:v>
                </c:pt>
                <c:pt idx="15566">
                  <c:v>0</c:v>
                </c:pt>
                <c:pt idx="15567">
                  <c:v>0</c:v>
                </c:pt>
                <c:pt idx="15568">
                  <c:v>0</c:v>
                </c:pt>
                <c:pt idx="15569">
                  <c:v>0</c:v>
                </c:pt>
                <c:pt idx="15570">
                  <c:v>0</c:v>
                </c:pt>
                <c:pt idx="15571">
                  <c:v>0</c:v>
                </c:pt>
                <c:pt idx="15572">
                  <c:v>0</c:v>
                </c:pt>
                <c:pt idx="15573">
                  <c:v>4</c:v>
                </c:pt>
                <c:pt idx="15574">
                  <c:v>0</c:v>
                </c:pt>
                <c:pt idx="15575">
                  <c:v>0</c:v>
                </c:pt>
                <c:pt idx="15576">
                  <c:v>0</c:v>
                </c:pt>
                <c:pt idx="15577">
                  <c:v>0</c:v>
                </c:pt>
                <c:pt idx="15578">
                  <c:v>0</c:v>
                </c:pt>
                <c:pt idx="15579">
                  <c:v>0</c:v>
                </c:pt>
                <c:pt idx="15580">
                  <c:v>0</c:v>
                </c:pt>
                <c:pt idx="15581">
                  <c:v>0</c:v>
                </c:pt>
                <c:pt idx="15582">
                  <c:v>0</c:v>
                </c:pt>
                <c:pt idx="15583">
                  <c:v>0</c:v>
                </c:pt>
                <c:pt idx="15584">
                  <c:v>1</c:v>
                </c:pt>
                <c:pt idx="15585">
                  <c:v>0</c:v>
                </c:pt>
                <c:pt idx="15586">
                  <c:v>0</c:v>
                </c:pt>
                <c:pt idx="15587">
                  <c:v>0</c:v>
                </c:pt>
                <c:pt idx="15588">
                  <c:v>0</c:v>
                </c:pt>
                <c:pt idx="15589">
                  <c:v>0</c:v>
                </c:pt>
                <c:pt idx="15590">
                  <c:v>0</c:v>
                </c:pt>
                <c:pt idx="15591">
                  <c:v>0</c:v>
                </c:pt>
                <c:pt idx="15592">
                  <c:v>0</c:v>
                </c:pt>
                <c:pt idx="15593">
                  <c:v>0</c:v>
                </c:pt>
                <c:pt idx="15594">
                  <c:v>0</c:v>
                </c:pt>
                <c:pt idx="15595">
                  <c:v>0</c:v>
                </c:pt>
                <c:pt idx="15596">
                  <c:v>0</c:v>
                </c:pt>
                <c:pt idx="15597">
                  <c:v>0</c:v>
                </c:pt>
                <c:pt idx="15598">
                  <c:v>0</c:v>
                </c:pt>
                <c:pt idx="15599">
                  <c:v>0</c:v>
                </c:pt>
                <c:pt idx="15600">
                  <c:v>0</c:v>
                </c:pt>
                <c:pt idx="15601">
                  <c:v>0</c:v>
                </c:pt>
                <c:pt idx="15602">
                  <c:v>0</c:v>
                </c:pt>
                <c:pt idx="15603">
                  <c:v>0</c:v>
                </c:pt>
                <c:pt idx="15604">
                  <c:v>0</c:v>
                </c:pt>
                <c:pt idx="15605">
                  <c:v>0</c:v>
                </c:pt>
                <c:pt idx="15606">
                  <c:v>0</c:v>
                </c:pt>
                <c:pt idx="15607">
                  <c:v>0</c:v>
                </c:pt>
                <c:pt idx="15608">
                  <c:v>0</c:v>
                </c:pt>
                <c:pt idx="15609">
                  <c:v>0</c:v>
                </c:pt>
                <c:pt idx="15610">
                  <c:v>0</c:v>
                </c:pt>
                <c:pt idx="15611">
                  <c:v>0</c:v>
                </c:pt>
                <c:pt idx="15612">
                  <c:v>0</c:v>
                </c:pt>
                <c:pt idx="15613">
                  <c:v>0</c:v>
                </c:pt>
                <c:pt idx="15614">
                  <c:v>0</c:v>
                </c:pt>
                <c:pt idx="15615">
                  <c:v>0</c:v>
                </c:pt>
                <c:pt idx="15616">
                  <c:v>0</c:v>
                </c:pt>
                <c:pt idx="15617">
                  <c:v>0</c:v>
                </c:pt>
                <c:pt idx="15618">
                  <c:v>0</c:v>
                </c:pt>
                <c:pt idx="15619">
                  <c:v>0</c:v>
                </c:pt>
                <c:pt idx="15620">
                  <c:v>0</c:v>
                </c:pt>
                <c:pt idx="15621">
                  <c:v>0</c:v>
                </c:pt>
                <c:pt idx="15622">
                  <c:v>0</c:v>
                </c:pt>
                <c:pt idx="15623">
                  <c:v>4</c:v>
                </c:pt>
                <c:pt idx="15624">
                  <c:v>1</c:v>
                </c:pt>
                <c:pt idx="15625">
                  <c:v>4</c:v>
                </c:pt>
                <c:pt idx="15626">
                  <c:v>0</c:v>
                </c:pt>
                <c:pt idx="15627">
                  <c:v>1</c:v>
                </c:pt>
                <c:pt idx="15628">
                  <c:v>2</c:v>
                </c:pt>
                <c:pt idx="15629">
                  <c:v>0</c:v>
                </c:pt>
                <c:pt idx="15630">
                  <c:v>0</c:v>
                </c:pt>
                <c:pt idx="15631">
                  <c:v>0</c:v>
                </c:pt>
                <c:pt idx="15632">
                  <c:v>0</c:v>
                </c:pt>
                <c:pt idx="15633">
                  <c:v>0</c:v>
                </c:pt>
                <c:pt idx="15634">
                  <c:v>0</c:v>
                </c:pt>
                <c:pt idx="15635">
                  <c:v>0</c:v>
                </c:pt>
                <c:pt idx="15636">
                  <c:v>0</c:v>
                </c:pt>
                <c:pt idx="15637">
                  <c:v>0</c:v>
                </c:pt>
                <c:pt idx="15638">
                  <c:v>0</c:v>
                </c:pt>
                <c:pt idx="15639">
                  <c:v>1</c:v>
                </c:pt>
                <c:pt idx="15640">
                  <c:v>0</c:v>
                </c:pt>
                <c:pt idx="15641">
                  <c:v>0</c:v>
                </c:pt>
                <c:pt idx="15642">
                  <c:v>0</c:v>
                </c:pt>
                <c:pt idx="15643">
                  <c:v>0</c:v>
                </c:pt>
                <c:pt idx="15644">
                  <c:v>0</c:v>
                </c:pt>
                <c:pt idx="15645">
                  <c:v>0</c:v>
                </c:pt>
                <c:pt idx="15646">
                  <c:v>0</c:v>
                </c:pt>
                <c:pt idx="15647">
                  <c:v>0</c:v>
                </c:pt>
                <c:pt idx="15648">
                  <c:v>1</c:v>
                </c:pt>
                <c:pt idx="15649">
                  <c:v>0</c:v>
                </c:pt>
                <c:pt idx="15650">
                  <c:v>0</c:v>
                </c:pt>
                <c:pt idx="15651">
                  <c:v>0</c:v>
                </c:pt>
                <c:pt idx="15652">
                  <c:v>0</c:v>
                </c:pt>
                <c:pt idx="15653">
                  <c:v>0</c:v>
                </c:pt>
                <c:pt idx="15654">
                  <c:v>0</c:v>
                </c:pt>
                <c:pt idx="15655">
                  <c:v>0</c:v>
                </c:pt>
                <c:pt idx="15656">
                  <c:v>0</c:v>
                </c:pt>
                <c:pt idx="15657">
                  <c:v>0</c:v>
                </c:pt>
                <c:pt idx="15658">
                  <c:v>0</c:v>
                </c:pt>
                <c:pt idx="15659">
                  <c:v>0</c:v>
                </c:pt>
                <c:pt idx="15660">
                  <c:v>0</c:v>
                </c:pt>
                <c:pt idx="15661">
                  <c:v>0</c:v>
                </c:pt>
                <c:pt idx="15662">
                  <c:v>0</c:v>
                </c:pt>
                <c:pt idx="15663">
                  <c:v>0</c:v>
                </c:pt>
                <c:pt idx="15664">
                  <c:v>0</c:v>
                </c:pt>
                <c:pt idx="15665">
                  <c:v>0</c:v>
                </c:pt>
                <c:pt idx="15666">
                  <c:v>0</c:v>
                </c:pt>
                <c:pt idx="15667">
                  <c:v>0</c:v>
                </c:pt>
                <c:pt idx="15668">
                  <c:v>0</c:v>
                </c:pt>
                <c:pt idx="15669">
                  <c:v>0</c:v>
                </c:pt>
                <c:pt idx="15670">
                  <c:v>0</c:v>
                </c:pt>
                <c:pt idx="15671">
                  <c:v>0</c:v>
                </c:pt>
                <c:pt idx="15672">
                  <c:v>0</c:v>
                </c:pt>
                <c:pt idx="15673">
                  <c:v>0</c:v>
                </c:pt>
                <c:pt idx="15674">
                  <c:v>0</c:v>
                </c:pt>
                <c:pt idx="15675">
                  <c:v>2</c:v>
                </c:pt>
                <c:pt idx="15676">
                  <c:v>0</c:v>
                </c:pt>
                <c:pt idx="15677">
                  <c:v>0</c:v>
                </c:pt>
                <c:pt idx="15678">
                  <c:v>0</c:v>
                </c:pt>
                <c:pt idx="15679">
                  <c:v>0</c:v>
                </c:pt>
                <c:pt idx="15680">
                  <c:v>0</c:v>
                </c:pt>
                <c:pt idx="15681">
                  <c:v>0</c:v>
                </c:pt>
                <c:pt idx="15682">
                  <c:v>0</c:v>
                </c:pt>
                <c:pt idx="15683">
                  <c:v>1</c:v>
                </c:pt>
                <c:pt idx="15684">
                  <c:v>0</c:v>
                </c:pt>
                <c:pt idx="15685">
                  <c:v>0</c:v>
                </c:pt>
                <c:pt idx="15686">
                  <c:v>0</c:v>
                </c:pt>
                <c:pt idx="15687">
                  <c:v>0</c:v>
                </c:pt>
                <c:pt idx="15688">
                  <c:v>0</c:v>
                </c:pt>
                <c:pt idx="15689">
                  <c:v>0</c:v>
                </c:pt>
                <c:pt idx="15690">
                  <c:v>0</c:v>
                </c:pt>
                <c:pt idx="15691">
                  <c:v>0</c:v>
                </c:pt>
                <c:pt idx="15692">
                  <c:v>0</c:v>
                </c:pt>
                <c:pt idx="15693">
                  <c:v>0</c:v>
                </c:pt>
                <c:pt idx="15694">
                  <c:v>0</c:v>
                </c:pt>
                <c:pt idx="15695">
                  <c:v>0</c:v>
                </c:pt>
                <c:pt idx="15696">
                  <c:v>0</c:v>
                </c:pt>
                <c:pt idx="15697">
                  <c:v>0</c:v>
                </c:pt>
                <c:pt idx="15698">
                  <c:v>0</c:v>
                </c:pt>
                <c:pt idx="15699">
                  <c:v>0</c:v>
                </c:pt>
                <c:pt idx="15700">
                  <c:v>0</c:v>
                </c:pt>
                <c:pt idx="15701">
                  <c:v>0</c:v>
                </c:pt>
                <c:pt idx="15702">
                  <c:v>0</c:v>
                </c:pt>
                <c:pt idx="15703">
                  <c:v>0</c:v>
                </c:pt>
                <c:pt idx="15704">
                  <c:v>0</c:v>
                </c:pt>
                <c:pt idx="15705">
                  <c:v>0</c:v>
                </c:pt>
                <c:pt idx="15706">
                  <c:v>0</c:v>
                </c:pt>
                <c:pt idx="15707">
                  <c:v>0</c:v>
                </c:pt>
                <c:pt idx="15708">
                  <c:v>0</c:v>
                </c:pt>
                <c:pt idx="15709">
                  <c:v>0</c:v>
                </c:pt>
                <c:pt idx="15710">
                  <c:v>0</c:v>
                </c:pt>
                <c:pt idx="15711">
                  <c:v>3</c:v>
                </c:pt>
                <c:pt idx="15712">
                  <c:v>0</c:v>
                </c:pt>
                <c:pt idx="15713">
                  <c:v>0</c:v>
                </c:pt>
                <c:pt idx="15714">
                  <c:v>0</c:v>
                </c:pt>
                <c:pt idx="15715">
                  <c:v>0</c:v>
                </c:pt>
                <c:pt idx="15716">
                  <c:v>0</c:v>
                </c:pt>
                <c:pt idx="15717">
                  <c:v>0</c:v>
                </c:pt>
                <c:pt idx="15718">
                  <c:v>0</c:v>
                </c:pt>
                <c:pt idx="15719">
                  <c:v>1</c:v>
                </c:pt>
                <c:pt idx="15720">
                  <c:v>0</c:v>
                </c:pt>
                <c:pt idx="15721">
                  <c:v>0</c:v>
                </c:pt>
                <c:pt idx="15722">
                  <c:v>0</c:v>
                </c:pt>
                <c:pt idx="15723">
                  <c:v>0</c:v>
                </c:pt>
                <c:pt idx="15724">
                  <c:v>0</c:v>
                </c:pt>
                <c:pt idx="15725">
                  <c:v>0</c:v>
                </c:pt>
                <c:pt idx="15726">
                  <c:v>0</c:v>
                </c:pt>
                <c:pt idx="15727">
                  <c:v>0</c:v>
                </c:pt>
                <c:pt idx="15728">
                  <c:v>0</c:v>
                </c:pt>
                <c:pt idx="15729">
                  <c:v>0</c:v>
                </c:pt>
                <c:pt idx="15730">
                  <c:v>0</c:v>
                </c:pt>
                <c:pt idx="15731">
                  <c:v>0</c:v>
                </c:pt>
                <c:pt idx="15732">
                  <c:v>0</c:v>
                </c:pt>
                <c:pt idx="15733">
                  <c:v>0</c:v>
                </c:pt>
                <c:pt idx="15734">
                  <c:v>0</c:v>
                </c:pt>
                <c:pt idx="15735">
                  <c:v>0</c:v>
                </c:pt>
                <c:pt idx="15736">
                  <c:v>0</c:v>
                </c:pt>
                <c:pt idx="15737">
                  <c:v>0</c:v>
                </c:pt>
                <c:pt idx="15738">
                  <c:v>0</c:v>
                </c:pt>
                <c:pt idx="15739">
                  <c:v>2</c:v>
                </c:pt>
                <c:pt idx="15740">
                  <c:v>0</c:v>
                </c:pt>
                <c:pt idx="15741">
                  <c:v>0</c:v>
                </c:pt>
                <c:pt idx="15742">
                  <c:v>0</c:v>
                </c:pt>
                <c:pt idx="15743">
                  <c:v>0</c:v>
                </c:pt>
                <c:pt idx="15744">
                  <c:v>0</c:v>
                </c:pt>
                <c:pt idx="15745">
                  <c:v>0</c:v>
                </c:pt>
                <c:pt idx="15746">
                  <c:v>0</c:v>
                </c:pt>
                <c:pt idx="15747">
                  <c:v>0</c:v>
                </c:pt>
                <c:pt idx="15748">
                  <c:v>0</c:v>
                </c:pt>
                <c:pt idx="15749">
                  <c:v>0</c:v>
                </c:pt>
                <c:pt idx="15750">
                  <c:v>0</c:v>
                </c:pt>
                <c:pt idx="15751">
                  <c:v>1</c:v>
                </c:pt>
                <c:pt idx="15752">
                  <c:v>0</c:v>
                </c:pt>
                <c:pt idx="15753">
                  <c:v>0</c:v>
                </c:pt>
                <c:pt idx="15754">
                  <c:v>3</c:v>
                </c:pt>
                <c:pt idx="15755">
                  <c:v>0</c:v>
                </c:pt>
                <c:pt idx="15756">
                  <c:v>0</c:v>
                </c:pt>
                <c:pt idx="15757">
                  <c:v>0</c:v>
                </c:pt>
                <c:pt idx="15758">
                  <c:v>0</c:v>
                </c:pt>
                <c:pt idx="15759">
                  <c:v>1</c:v>
                </c:pt>
                <c:pt idx="15760">
                  <c:v>0</c:v>
                </c:pt>
                <c:pt idx="15761">
                  <c:v>0</c:v>
                </c:pt>
                <c:pt idx="15762">
                  <c:v>0</c:v>
                </c:pt>
                <c:pt idx="15763">
                  <c:v>0</c:v>
                </c:pt>
                <c:pt idx="15764">
                  <c:v>1</c:v>
                </c:pt>
                <c:pt idx="15765">
                  <c:v>0</c:v>
                </c:pt>
                <c:pt idx="15766">
                  <c:v>0</c:v>
                </c:pt>
                <c:pt idx="15767">
                  <c:v>0</c:v>
                </c:pt>
                <c:pt idx="15768">
                  <c:v>0</c:v>
                </c:pt>
                <c:pt idx="15769">
                  <c:v>0</c:v>
                </c:pt>
                <c:pt idx="15770">
                  <c:v>2</c:v>
                </c:pt>
                <c:pt idx="15771">
                  <c:v>0</c:v>
                </c:pt>
                <c:pt idx="15772">
                  <c:v>0</c:v>
                </c:pt>
                <c:pt idx="15773">
                  <c:v>0</c:v>
                </c:pt>
                <c:pt idx="15774">
                  <c:v>3</c:v>
                </c:pt>
                <c:pt idx="15775">
                  <c:v>0</c:v>
                </c:pt>
                <c:pt idx="15776">
                  <c:v>3</c:v>
                </c:pt>
                <c:pt idx="15777">
                  <c:v>0</c:v>
                </c:pt>
                <c:pt idx="15778">
                  <c:v>0</c:v>
                </c:pt>
                <c:pt idx="15779">
                  <c:v>0</c:v>
                </c:pt>
                <c:pt idx="15780">
                  <c:v>0</c:v>
                </c:pt>
                <c:pt idx="15781">
                  <c:v>0</c:v>
                </c:pt>
                <c:pt idx="15782">
                  <c:v>0</c:v>
                </c:pt>
                <c:pt idx="15783">
                  <c:v>0</c:v>
                </c:pt>
                <c:pt idx="15784">
                  <c:v>0</c:v>
                </c:pt>
                <c:pt idx="15785">
                  <c:v>1</c:v>
                </c:pt>
                <c:pt idx="15786">
                  <c:v>0</c:v>
                </c:pt>
                <c:pt idx="15787">
                  <c:v>0</c:v>
                </c:pt>
                <c:pt idx="15788">
                  <c:v>0</c:v>
                </c:pt>
                <c:pt idx="15789">
                  <c:v>0</c:v>
                </c:pt>
                <c:pt idx="15790">
                  <c:v>2</c:v>
                </c:pt>
                <c:pt idx="15791">
                  <c:v>0</c:v>
                </c:pt>
                <c:pt idx="15792">
                  <c:v>0</c:v>
                </c:pt>
                <c:pt idx="15793">
                  <c:v>0</c:v>
                </c:pt>
                <c:pt idx="15794">
                  <c:v>0</c:v>
                </c:pt>
                <c:pt idx="15795">
                  <c:v>0</c:v>
                </c:pt>
                <c:pt idx="15796">
                  <c:v>3</c:v>
                </c:pt>
                <c:pt idx="15797">
                  <c:v>0</c:v>
                </c:pt>
                <c:pt idx="15798">
                  <c:v>0</c:v>
                </c:pt>
                <c:pt idx="15799">
                  <c:v>0</c:v>
                </c:pt>
                <c:pt idx="15800">
                  <c:v>0</c:v>
                </c:pt>
                <c:pt idx="15801">
                  <c:v>0</c:v>
                </c:pt>
                <c:pt idx="15802">
                  <c:v>0</c:v>
                </c:pt>
                <c:pt idx="15803">
                  <c:v>1</c:v>
                </c:pt>
                <c:pt idx="15804">
                  <c:v>0</c:v>
                </c:pt>
                <c:pt idx="15805">
                  <c:v>0</c:v>
                </c:pt>
                <c:pt idx="15806">
                  <c:v>4</c:v>
                </c:pt>
                <c:pt idx="15807">
                  <c:v>0</c:v>
                </c:pt>
                <c:pt idx="15808">
                  <c:v>0</c:v>
                </c:pt>
                <c:pt idx="15809">
                  <c:v>0</c:v>
                </c:pt>
                <c:pt idx="15810">
                  <c:v>0</c:v>
                </c:pt>
                <c:pt idx="15811">
                  <c:v>0</c:v>
                </c:pt>
                <c:pt idx="15812">
                  <c:v>0</c:v>
                </c:pt>
                <c:pt idx="15813">
                  <c:v>0</c:v>
                </c:pt>
                <c:pt idx="15814">
                  <c:v>2</c:v>
                </c:pt>
                <c:pt idx="15815">
                  <c:v>0</c:v>
                </c:pt>
                <c:pt idx="15816">
                  <c:v>1</c:v>
                </c:pt>
                <c:pt idx="15817">
                  <c:v>0</c:v>
                </c:pt>
                <c:pt idx="15818">
                  <c:v>0</c:v>
                </c:pt>
                <c:pt idx="15819">
                  <c:v>2</c:v>
                </c:pt>
                <c:pt idx="15820">
                  <c:v>2</c:v>
                </c:pt>
                <c:pt idx="15821">
                  <c:v>1</c:v>
                </c:pt>
                <c:pt idx="15822">
                  <c:v>0</c:v>
                </c:pt>
                <c:pt idx="15823">
                  <c:v>1</c:v>
                </c:pt>
                <c:pt idx="15824">
                  <c:v>3</c:v>
                </c:pt>
                <c:pt idx="15825">
                  <c:v>0</c:v>
                </c:pt>
                <c:pt idx="15826">
                  <c:v>0</c:v>
                </c:pt>
                <c:pt idx="15827">
                  <c:v>0</c:v>
                </c:pt>
                <c:pt idx="15828">
                  <c:v>0</c:v>
                </c:pt>
                <c:pt idx="15829">
                  <c:v>1</c:v>
                </c:pt>
                <c:pt idx="15830">
                  <c:v>0</c:v>
                </c:pt>
                <c:pt idx="15831">
                  <c:v>0</c:v>
                </c:pt>
                <c:pt idx="15832">
                  <c:v>0</c:v>
                </c:pt>
                <c:pt idx="15833">
                  <c:v>1</c:v>
                </c:pt>
                <c:pt idx="15834">
                  <c:v>0</c:v>
                </c:pt>
                <c:pt idx="15835">
                  <c:v>0</c:v>
                </c:pt>
                <c:pt idx="15836">
                  <c:v>0</c:v>
                </c:pt>
                <c:pt idx="15837">
                  <c:v>0</c:v>
                </c:pt>
                <c:pt idx="15838">
                  <c:v>0</c:v>
                </c:pt>
                <c:pt idx="15839">
                  <c:v>0</c:v>
                </c:pt>
                <c:pt idx="15840">
                  <c:v>0</c:v>
                </c:pt>
                <c:pt idx="15841">
                  <c:v>0</c:v>
                </c:pt>
                <c:pt idx="15842">
                  <c:v>1</c:v>
                </c:pt>
                <c:pt idx="15843">
                  <c:v>1</c:v>
                </c:pt>
                <c:pt idx="15844">
                  <c:v>1</c:v>
                </c:pt>
                <c:pt idx="15845">
                  <c:v>0</c:v>
                </c:pt>
                <c:pt idx="15846">
                  <c:v>0</c:v>
                </c:pt>
                <c:pt idx="15847">
                  <c:v>2</c:v>
                </c:pt>
                <c:pt idx="15848">
                  <c:v>4</c:v>
                </c:pt>
                <c:pt idx="15849">
                  <c:v>0</c:v>
                </c:pt>
                <c:pt idx="15850">
                  <c:v>3</c:v>
                </c:pt>
                <c:pt idx="15851">
                  <c:v>0</c:v>
                </c:pt>
                <c:pt idx="15852">
                  <c:v>3</c:v>
                </c:pt>
                <c:pt idx="15853">
                  <c:v>2</c:v>
                </c:pt>
                <c:pt idx="15854">
                  <c:v>1</c:v>
                </c:pt>
                <c:pt idx="15855">
                  <c:v>2</c:v>
                </c:pt>
                <c:pt idx="15856">
                  <c:v>0</c:v>
                </c:pt>
                <c:pt idx="15857">
                  <c:v>5</c:v>
                </c:pt>
                <c:pt idx="15858">
                  <c:v>0</c:v>
                </c:pt>
                <c:pt idx="15859">
                  <c:v>2</c:v>
                </c:pt>
                <c:pt idx="15860">
                  <c:v>0</c:v>
                </c:pt>
                <c:pt idx="15861">
                  <c:v>0</c:v>
                </c:pt>
                <c:pt idx="15862">
                  <c:v>0</c:v>
                </c:pt>
                <c:pt idx="15863">
                  <c:v>0</c:v>
                </c:pt>
                <c:pt idx="15864">
                  <c:v>2</c:v>
                </c:pt>
                <c:pt idx="15865">
                  <c:v>0</c:v>
                </c:pt>
                <c:pt idx="15866">
                  <c:v>0</c:v>
                </c:pt>
                <c:pt idx="15867">
                  <c:v>0</c:v>
                </c:pt>
                <c:pt idx="15868">
                  <c:v>0</c:v>
                </c:pt>
                <c:pt idx="15869">
                  <c:v>0</c:v>
                </c:pt>
                <c:pt idx="15870">
                  <c:v>0</c:v>
                </c:pt>
                <c:pt idx="15871">
                  <c:v>0</c:v>
                </c:pt>
                <c:pt idx="15872">
                  <c:v>5</c:v>
                </c:pt>
                <c:pt idx="15873">
                  <c:v>3</c:v>
                </c:pt>
                <c:pt idx="15874">
                  <c:v>1</c:v>
                </c:pt>
                <c:pt idx="15875">
                  <c:v>0</c:v>
                </c:pt>
                <c:pt idx="15876">
                  <c:v>0</c:v>
                </c:pt>
                <c:pt idx="15877">
                  <c:v>0</c:v>
                </c:pt>
                <c:pt idx="15878">
                  <c:v>6</c:v>
                </c:pt>
                <c:pt idx="15879">
                  <c:v>2</c:v>
                </c:pt>
                <c:pt idx="15880">
                  <c:v>0</c:v>
                </c:pt>
                <c:pt idx="15881">
                  <c:v>0</c:v>
                </c:pt>
                <c:pt idx="15882">
                  <c:v>0</c:v>
                </c:pt>
                <c:pt idx="15883">
                  <c:v>11</c:v>
                </c:pt>
                <c:pt idx="15884">
                  <c:v>0</c:v>
                </c:pt>
                <c:pt idx="15885">
                  <c:v>0</c:v>
                </c:pt>
                <c:pt idx="15886">
                  <c:v>0</c:v>
                </c:pt>
                <c:pt idx="15887">
                  <c:v>2</c:v>
                </c:pt>
                <c:pt idx="15888">
                  <c:v>0</c:v>
                </c:pt>
                <c:pt idx="15889">
                  <c:v>2</c:v>
                </c:pt>
                <c:pt idx="15890">
                  <c:v>1</c:v>
                </c:pt>
                <c:pt idx="15891">
                  <c:v>2</c:v>
                </c:pt>
                <c:pt idx="15892">
                  <c:v>1</c:v>
                </c:pt>
                <c:pt idx="15893">
                  <c:v>2</c:v>
                </c:pt>
                <c:pt idx="15894">
                  <c:v>0</c:v>
                </c:pt>
                <c:pt idx="15895">
                  <c:v>0</c:v>
                </c:pt>
                <c:pt idx="15896">
                  <c:v>3</c:v>
                </c:pt>
                <c:pt idx="15897">
                  <c:v>2</c:v>
                </c:pt>
                <c:pt idx="15898">
                  <c:v>1</c:v>
                </c:pt>
                <c:pt idx="15899">
                  <c:v>1</c:v>
                </c:pt>
                <c:pt idx="15900">
                  <c:v>0</c:v>
                </c:pt>
                <c:pt idx="15901">
                  <c:v>0</c:v>
                </c:pt>
                <c:pt idx="15902">
                  <c:v>2</c:v>
                </c:pt>
                <c:pt idx="15903">
                  <c:v>3</c:v>
                </c:pt>
                <c:pt idx="15904">
                  <c:v>0</c:v>
                </c:pt>
                <c:pt idx="15905">
                  <c:v>1</c:v>
                </c:pt>
                <c:pt idx="15906">
                  <c:v>0</c:v>
                </c:pt>
                <c:pt idx="15907">
                  <c:v>1</c:v>
                </c:pt>
                <c:pt idx="15908">
                  <c:v>1</c:v>
                </c:pt>
                <c:pt idx="15909">
                  <c:v>0</c:v>
                </c:pt>
                <c:pt idx="15910">
                  <c:v>1</c:v>
                </c:pt>
                <c:pt idx="15911">
                  <c:v>2</c:v>
                </c:pt>
                <c:pt idx="15912">
                  <c:v>0</c:v>
                </c:pt>
                <c:pt idx="15913">
                  <c:v>0</c:v>
                </c:pt>
                <c:pt idx="15914">
                  <c:v>0</c:v>
                </c:pt>
                <c:pt idx="15915">
                  <c:v>0</c:v>
                </c:pt>
                <c:pt idx="15916">
                  <c:v>0</c:v>
                </c:pt>
                <c:pt idx="15917">
                  <c:v>0</c:v>
                </c:pt>
                <c:pt idx="15918">
                  <c:v>0</c:v>
                </c:pt>
                <c:pt idx="15919">
                  <c:v>0</c:v>
                </c:pt>
                <c:pt idx="15920">
                  <c:v>1</c:v>
                </c:pt>
                <c:pt idx="15921">
                  <c:v>0</c:v>
                </c:pt>
                <c:pt idx="15922">
                  <c:v>0</c:v>
                </c:pt>
                <c:pt idx="15923">
                  <c:v>0</c:v>
                </c:pt>
                <c:pt idx="15924">
                  <c:v>0</c:v>
                </c:pt>
                <c:pt idx="15925">
                  <c:v>0</c:v>
                </c:pt>
                <c:pt idx="15926">
                  <c:v>0</c:v>
                </c:pt>
                <c:pt idx="15927">
                  <c:v>0</c:v>
                </c:pt>
                <c:pt idx="15928">
                  <c:v>0</c:v>
                </c:pt>
                <c:pt idx="15929">
                  <c:v>0</c:v>
                </c:pt>
                <c:pt idx="15930">
                  <c:v>0</c:v>
                </c:pt>
                <c:pt idx="15931">
                  <c:v>0</c:v>
                </c:pt>
                <c:pt idx="15932">
                  <c:v>0</c:v>
                </c:pt>
                <c:pt idx="15933">
                  <c:v>0</c:v>
                </c:pt>
                <c:pt idx="15934">
                  <c:v>0</c:v>
                </c:pt>
                <c:pt idx="15935">
                  <c:v>0</c:v>
                </c:pt>
                <c:pt idx="15936">
                  <c:v>0</c:v>
                </c:pt>
                <c:pt idx="15937">
                  <c:v>0</c:v>
                </c:pt>
                <c:pt idx="15938">
                  <c:v>0</c:v>
                </c:pt>
                <c:pt idx="15939">
                  <c:v>0</c:v>
                </c:pt>
                <c:pt idx="15940">
                  <c:v>0</c:v>
                </c:pt>
                <c:pt idx="15941">
                  <c:v>0</c:v>
                </c:pt>
                <c:pt idx="15942">
                  <c:v>0</c:v>
                </c:pt>
                <c:pt idx="15943">
                  <c:v>0</c:v>
                </c:pt>
                <c:pt idx="15944">
                  <c:v>0</c:v>
                </c:pt>
                <c:pt idx="15945">
                  <c:v>1</c:v>
                </c:pt>
                <c:pt idx="15946">
                  <c:v>1</c:v>
                </c:pt>
                <c:pt idx="15947">
                  <c:v>0</c:v>
                </c:pt>
                <c:pt idx="15948">
                  <c:v>0</c:v>
                </c:pt>
                <c:pt idx="15949">
                  <c:v>0</c:v>
                </c:pt>
                <c:pt idx="15950">
                  <c:v>0</c:v>
                </c:pt>
                <c:pt idx="15951">
                  <c:v>0</c:v>
                </c:pt>
                <c:pt idx="15952">
                  <c:v>0</c:v>
                </c:pt>
                <c:pt idx="15953">
                  <c:v>0</c:v>
                </c:pt>
                <c:pt idx="15954">
                  <c:v>0</c:v>
                </c:pt>
                <c:pt idx="15955">
                  <c:v>0</c:v>
                </c:pt>
                <c:pt idx="15956">
                  <c:v>0</c:v>
                </c:pt>
                <c:pt idx="15957">
                  <c:v>0</c:v>
                </c:pt>
                <c:pt idx="15958">
                  <c:v>0</c:v>
                </c:pt>
                <c:pt idx="15959">
                  <c:v>0</c:v>
                </c:pt>
                <c:pt idx="15960">
                  <c:v>0</c:v>
                </c:pt>
                <c:pt idx="15961">
                  <c:v>2</c:v>
                </c:pt>
                <c:pt idx="15962">
                  <c:v>0</c:v>
                </c:pt>
                <c:pt idx="15963">
                  <c:v>0</c:v>
                </c:pt>
                <c:pt idx="15964">
                  <c:v>0</c:v>
                </c:pt>
                <c:pt idx="15965">
                  <c:v>0</c:v>
                </c:pt>
                <c:pt idx="15966">
                  <c:v>0</c:v>
                </c:pt>
                <c:pt idx="15967">
                  <c:v>0</c:v>
                </c:pt>
                <c:pt idx="15968">
                  <c:v>0</c:v>
                </c:pt>
                <c:pt idx="15969">
                  <c:v>0</c:v>
                </c:pt>
                <c:pt idx="15970">
                  <c:v>0</c:v>
                </c:pt>
                <c:pt idx="15971">
                  <c:v>0</c:v>
                </c:pt>
                <c:pt idx="15972">
                  <c:v>0</c:v>
                </c:pt>
                <c:pt idx="15973">
                  <c:v>0</c:v>
                </c:pt>
                <c:pt idx="15974">
                  <c:v>0</c:v>
                </c:pt>
                <c:pt idx="15975">
                  <c:v>0</c:v>
                </c:pt>
                <c:pt idx="15976">
                  <c:v>0</c:v>
                </c:pt>
                <c:pt idx="15977">
                  <c:v>0</c:v>
                </c:pt>
                <c:pt idx="15978">
                  <c:v>0</c:v>
                </c:pt>
                <c:pt idx="15979">
                  <c:v>0</c:v>
                </c:pt>
                <c:pt idx="15980">
                  <c:v>0</c:v>
                </c:pt>
                <c:pt idx="15981">
                  <c:v>0</c:v>
                </c:pt>
                <c:pt idx="15982">
                  <c:v>0</c:v>
                </c:pt>
                <c:pt idx="15983">
                  <c:v>0</c:v>
                </c:pt>
                <c:pt idx="15984">
                  <c:v>2</c:v>
                </c:pt>
                <c:pt idx="15985">
                  <c:v>0</c:v>
                </c:pt>
                <c:pt idx="15986">
                  <c:v>0</c:v>
                </c:pt>
                <c:pt idx="15987">
                  <c:v>0</c:v>
                </c:pt>
                <c:pt idx="15988">
                  <c:v>0</c:v>
                </c:pt>
                <c:pt idx="15989">
                  <c:v>2</c:v>
                </c:pt>
                <c:pt idx="15990">
                  <c:v>2</c:v>
                </c:pt>
                <c:pt idx="15991">
                  <c:v>2</c:v>
                </c:pt>
                <c:pt idx="15992">
                  <c:v>3</c:v>
                </c:pt>
                <c:pt idx="15993">
                  <c:v>2</c:v>
                </c:pt>
                <c:pt idx="15994">
                  <c:v>0</c:v>
                </c:pt>
                <c:pt idx="15995">
                  <c:v>1</c:v>
                </c:pt>
                <c:pt idx="15996">
                  <c:v>1</c:v>
                </c:pt>
                <c:pt idx="15997">
                  <c:v>1</c:v>
                </c:pt>
                <c:pt idx="15998">
                  <c:v>1</c:v>
                </c:pt>
                <c:pt idx="15999">
                  <c:v>1</c:v>
                </c:pt>
                <c:pt idx="16000">
                  <c:v>0</c:v>
                </c:pt>
                <c:pt idx="16001">
                  <c:v>0</c:v>
                </c:pt>
                <c:pt idx="16002">
                  <c:v>0</c:v>
                </c:pt>
                <c:pt idx="16003">
                  <c:v>0</c:v>
                </c:pt>
                <c:pt idx="16004">
                  <c:v>0</c:v>
                </c:pt>
                <c:pt idx="16005">
                  <c:v>0</c:v>
                </c:pt>
                <c:pt idx="16006">
                  <c:v>0</c:v>
                </c:pt>
                <c:pt idx="16007">
                  <c:v>0</c:v>
                </c:pt>
                <c:pt idx="16008">
                  <c:v>0</c:v>
                </c:pt>
                <c:pt idx="16009">
                  <c:v>0</c:v>
                </c:pt>
                <c:pt idx="16010">
                  <c:v>0</c:v>
                </c:pt>
                <c:pt idx="16011">
                  <c:v>0</c:v>
                </c:pt>
                <c:pt idx="16012">
                  <c:v>0</c:v>
                </c:pt>
                <c:pt idx="16013">
                  <c:v>0</c:v>
                </c:pt>
                <c:pt idx="16014">
                  <c:v>0</c:v>
                </c:pt>
                <c:pt idx="16015">
                  <c:v>0</c:v>
                </c:pt>
                <c:pt idx="16016">
                  <c:v>0</c:v>
                </c:pt>
                <c:pt idx="16017">
                  <c:v>0</c:v>
                </c:pt>
                <c:pt idx="16018">
                  <c:v>0</c:v>
                </c:pt>
                <c:pt idx="16019">
                  <c:v>0</c:v>
                </c:pt>
                <c:pt idx="16020">
                  <c:v>0</c:v>
                </c:pt>
                <c:pt idx="16021">
                  <c:v>0</c:v>
                </c:pt>
                <c:pt idx="16022">
                  <c:v>0</c:v>
                </c:pt>
                <c:pt idx="16023">
                  <c:v>0</c:v>
                </c:pt>
                <c:pt idx="16024">
                  <c:v>0</c:v>
                </c:pt>
                <c:pt idx="16025">
                  <c:v>1</c:v>
                </c:pt>
                <c:pt idx="16026">
                  <c:v>0</c:v>
                </c:pt>
                <c:pt idx="16027">
                  <c:v>0</c:v>
                </c:pt>
                <c:pt idx="16028">
                  <c:v>0</c:v>
                </c:pt>
                <c:pt idx="16029">
                  <c:v>0</c:v>
                </c:pt>
                <c:pt idx="16030">
                  <c:v>0</c:v>
                </c:pt>
                <c:pt idx="16031">
                  <c:v>0</c:v>
                </c:pt>
                <c:pt idx="16032">
                  <c:v>0</c:v>
                </c:pt>
                <c:pt idx="16033">
                  <c:v>0</c:v>
                </c:pt>
                <c:pt idx="16034">
                  <c:v>0</c:v>
                </c:pt>
                <c:pt idx="16035">
                  <c:v>0</c:v>
                </c:pt>
                <c:pt idx="16036">
                  <c:v>0</c:v>
                </c:pt>
                <c:pt idx="16037">
                  <c:v>0</c:v>
                </c:pt>
                <c:pt idx="16038">
                  <c:v>0</c:v>
                </c:pt>
                <c:pt idx="16039">
                  <c:v>0</c:v>
                </c:pt>
                <c:pt idx="16040">
                  <c:v>0</c:v>
                </c:pt>
                <c:pt idx="16041">
                  <c:v>0</c:v>
                </c:pt>
                <c:pt idx="16042">
                  <c:v>0</c:v>
                </c:pt>
                <c:pt idx="16043">
                  <c:v>0</c:v>
                </c:pt>
                <c:pt idx="16044">
                  <c:v>0</c:v>
                </c:pt>
                <c:pt idx="16045">
                  <c:v>0</c:v>
                </c:pt>
                <c:pt idx="16046">
                  <c:v>0</c:v>
                </c:pt>
                <c:pt idx="16047">
                  <c:v>0</c:v>
                </c:pt>
                <c:pt idx="16048">
                  <c:v>0</c:v>
                </c:pt>
                <c:pt idx="16049">
                  <c:v>0</c:v>
                </c:pt>
                <c:pt idx="16050">
                  <c:v>0</c:v>
                </c:pt>
                <c:pt idx="16051">
                  <c:v>0</c:v>
                </c:pt>
                <c:pt idx="16052">
                  <c:v>0</c:v>
                </c:pt>
                <c:pt idx="16053">
                  <c:v>0</c:v>
                </c:pt>
                <c:pt idx="16054">
                  <c:v>0</c:v>
                </c:pt>
                <c:pt idx="16055">
                  <c:v>0</c:v>
                </c:pt>
                <c:pt idx="16056">
                  <c:v>0</c:v>
                </c:pt>
                <c:pt idx="16057">
                  <c:v>0</c:v>
                </c:pt>
                <c:pt idx="16058">
                  <c:v>0</c:v>
                </c:pt>
                <c:pt idx="16059">
                  <c:v>0</c:v>
                </c:pt>
                <c:pt idx="16060">
                  <c:v>0</c:v>
                </c:pt>
                <c:pt idx="16061">
                  <c:v>0</c:v>
                </c:pt>
                <c:pt idx="16062">
                  <c:v>0</c:v>
                </c:pt>
                <c:pt idx="16063">
                  <c:v>0</c:v>
                </c:pt>
                <c:pt idx="16064">
                  <c:v>0</c:v>
                </c:pt>
                <c:pt idx="16065">
                  <c:v>2</c:v>
                </c:pt>
                <c:pt idx="16066">
                  <c:v>0</c:v>
                </c:pt>
                <c:pt idx="16067">
                  <c:v>0</c:v>
                </c:pt>
                <c:pt idx="16068">
                  <c:v>0</c:v>
                </c:pt>
                <c:pt idx="16069">
                  <c:v>0</c:v>
                </c:pt>
                <c:pt idx="16070">
                  <c:v>0</c:v>
                </c:pt>
                <c:pt idx="16071">
                  <c:v>0</c:v>
                </c:pt>
                <c:pt idx="16072">
                  <c:v>0</c:v>
                </c:pt>
                <c:pt idx="16073">
                  <c:v>0</c:v>
                </c:pt>
                <c:pt idx="16074">
                  <c:v>0</c:v>
                </c:pt>
                <c:pt idx="16075">
                  <c:v>0</c:v>
                </c:pt>
                <c:pt idx="16076">
                  <c:v>0</c:v>
                </c:pt>
                <c:pt idx="16077">
                  <c:v>0</c:v>
                </c:pt>
                <c:pt idx="16078">
                  <c:v>0</c:v>
                </c:pt>
                <c:pt idx="16079">
                  <c:v>0</c:v>
                </c:pt>
                <c:pt idx="16080">
                  <c:v>2</c:v>
                </c:pt>
                <c:pt idx="16081">
                  <c:v>0</c:v>
                </c:pt>
                <c:pt idx="16082">
                  <c:v>0</c:v>
                </c:pt>
                <c:pt idx="16083">
                  <c:v>0</c:v>
                </c:pt>
                <c:pt idx="16084">
                  <c:v>0</c:v>
                </c:pt>
                <c:pt idx="16085">
                  <c:v>0</c:v>
                </c:pt>
                <c:pt idx="16086">
                  <c:v>0</c:v>
                </c:pt>
                <c:pt idx="16087">
                  <c:v>0</c:v>
                </c:pt>
                <c:pt idx="16088">
                  <c:v>0</c:v>
                </c:pt>
                <c:pt idx="16089">
                  <c:v>0</c:v>
                </c:pt>
                <c:pt idx="16090">
                  <c:v>0</c:v>
                </c:pt>
                <c:pt idx="16091">
                  <c:v>0</c:v>
                </c:pt>
                <c:pt idx="16092">
                  <c:v>0</c:v>
                </c:pt>
                <c:pt idx="16093">
                  <c:v>0</c:v>
                </c:pt>
                <c:pt idx="16094">
                  <c:v>0</c:v>
                </c:pt>
                <c:pt idx="16095">
                  <c:v>0</c:v>
                </c:pt>
                <c:pt idx="16096">
                  <c:v>0</c:v>
                </c:pt>
                <c:pt idx="16097">
                  <c:v>0</c:v>
                </c:pt>
                <c:pt idx="16098">
                  <c:v>0</c:v>
                </c:pt>
                <c:pt idx="16099">
                  <c:v>0</c:v>
                </c:pt>
                <c:pt idx="16100">
                  <c:v>0</c:v>
                </c:pt>
                <c:pt idx="16101">
                  <c:v>0</c:v>
                </c:pt>
                <c:pt idx="16102">
                  <c:v>0</c:v>
                </c:pt>
                <c:pt idx="16103">
                  <c:v>3</c:v>
                </c:pt>
                <c:pt idx="16104">
                  <c:v>0</c:v>
                </c:pt>
                <c:pt idx="16105">
                  <c:v>0</c:v>
                </c:pt>
                <c:pt idx="16106">
                  <c:v>0</c:v>
                </c:pt>
                <c:pt idx="16107">
                  <c:v>0</c:v>
                </c:pt>
                <c:pt idx="16108">
                  <c:v>0</c:v>
                </c:pt>
                <c:pt idx="16109">
                  <c:v>0</c:v>
                </c:pt>
                <c:pt idx="16110">
                  <c:v>0</c:v>
                </c:pt>
                <c:pt idx="16111">
                  <c:v>0</c:v>
                </c:pt>
                <c:pt idx="16112">
                  <c:v>0</c:v>
                </c:pt>
                <c:pt idx="16113">
                  <c:v>0</c:v>
                </c:pt>
                <c:pt idx="16114">
                  <c:v>0</c:v>
                </c:pt>
                <c:pt idx="16115">
                  <c:v>0</c:v>
                </c:pt>
                <c:pt idx="16116">
                  <c:v>0</c:v>
                </c:pt>
                <c:pt idx="16117">
                  <c:v>0</c:v>
                </c:pt>
                <c:pt idx="16118">
                  <c:v>0</c:v>
                </c:pt>
                <c:pt idx="16119">
                  <c:v>0</c:v>
                </c:pt>
                <c:pt idx="16120">
                  <c:v>0</c:v>
                </c:pt>
                <c:pt idx="16121">
                  <c:v>0</c:v>
                </c:pt>
                <c:pt idx="16122">
                  <c:v>1</c:v>
                </c:pt>
                <c:pt idx="16123">
                  <c:v>0</c:v>
                </c:pt>
                <c:pt idx="16124">
                  <c:v>0</c:v>
                </c:pt>
                <c:pt idx="16125">
                  <c:v>0</c:v>
                </c:pt>
                <c:pt idx="16126">
                  <c:v>0</c:v>
                </c:pt>
                <c:pt idx="16127">
                  <c:v>0</c:v>
                </c:pt>
                <c:pt idx="16128">
                  <c:v>0</c:v>
                </c:pt>
                <c:pt idx="16129">
                  <c:v>0</c:v>
                </c:pt>
                <c:pt idx="16130">
                  <c:v>0</c:v>
                </c:pt>
                <c:pt idx="16131">
                  <c:v>0</c:v>
                </c:pt>
                <c:pt idx="16132">
                  <c:v>0</c:v>
                </c:pt>
                <c:pt idx="16133">
                  <c:v>0</c:v>
                </c:pt>
                <c:pt idx="16134">
                  <c:v>0</c:v>
                </c:pt>
                <c:pt idx="16135">
                  <c:v>0</c:v>
                </c:pt>
                <c:pt idx="16136">
                  <c:v>0</c:v>
                </c:pt>
                <c:pt idx="16137">
                  <c:v>0</c:v>
                </c:pt>
                <c:pt idx="16138">
                  <c:v>0</c:v>
                </c:pt>
                <c:pt idx="16139">
                  <c:v>0</c:v>
                </c:pt>
                <c:pt idx="16140">
                  <c:v>0</c:v>
                </c:pt>
                <c:pt idx="16141">
                  <c:v>0</c:v>
                </c:pt>
                <c:pt idx="16142">
                  <c:v>0</c:v>
                </c:pt>
                <c:pt idx="16143">
                  <c:v>0</c:v>
                </c:pt>
                <c:pt idx="16144">
                  <c:v>0</c:v>
                </c:pt>
                <c:pt idx="16145">
                  <c:v>0</c:v>
                </c:pt>
                <c:pt idx="16146">
                  <c:v>0</c:v>
                </c:pt>
                <c:pt idx="16147">
                  <c:v>0</c:v>
                </c:pt>
                <c:pt idx="16148">
                  <c:v>0</c:v>
                </c:pt>
                <c:pt idx="16149">
                  <c:v>0</c:v>
                </c:pt>
                <c:pt idx="16150">
                  <c:v>0</c:v>
                </c:pt>
                <c:pt idx="16151">
                  <c:v>0</c:v>
                </c:pt>
                <c:pt idx="16152">
                  <c:v>0</c:v>
                </c:pt>
                <c:pt idx="16153">
                  <c:v>0</c:v>
                </c:pt>
                <c:pt idx="16154">
                  <c:v>0</c:v>
                </c:pt>
                <c:pt idx="16155">
                  <c:v>0</c:v>
                </c:pt>
                <c:pt idx="16156">
                  <c:v>0</c:v>
                </c:pt>
                <c:pt idx="16157">
                  <c:v>0</c:v>
                </c:pt>
                <c:pt idx="16158">
                  <c:v>0</c:v>
                </c:pt>
                <c:pt idx="16159">
                  <c:v>0</c:v>
                </c:pt>
                <c:pt idx="16160">
                  <c:v>0</c:v>
                </c:pt>
                <c:pt idx="16161">
                  <c:v>1</c:v>
                </c:pt>
                <c:pt idx="16162">
                  <c:v>0</c:v>
                </c:pt>
                <c:pt idx="16163">
                  <c:v>0</c:v>
                </c:pt>
                <c:pt idx="16164">
                  <c:v>0</c:v>
                </c:pt>
                <c:pt idx="16165">
                  <c:v>0</c:v>
                </c:pt>
                <c:pt idx="16166">
                  <c:v>0</c:v>
                </c:pt>
                <c:pt idx="16167">
                  <c:v>0</c:v>
                </c:pt>
                <c:pt idx="16168">
                  <c:v>1</c:v>
                </c:pt>
                <c:pt idx="16169">
                  <c:v>0</c:v>
                </c:pt>
                <c:pt idx="16170">
                  <c:v>0</c:v>
                </c:pt>
                <c:pt idx="16171">
                  <c:v>0</c:v>
                </c:pt>
                <c:pt idx="16172">
                  <c:v>0</c:v>
                </c:pt>
                <c:pt idx="16173">
                  <c:v>0</c:v>
                </c:pt>
                <c:pt idx="16174">
                  <c:v>1</c:v>
                </c:pt>
                <c:pt idx="16175">
                  <c:v>3</c:v>
                </c:pt>
                <c:pt idx="16176">
                  <c:v>2</c:v>
                </c:pt>
                <c:pt idx="16177">
                  <c:v>1</c:v>
                </c:pt>
                <c:pt idx="16178">
                  <c:v>3</c:v>
                </c:pt>
                <c:pt idx="16179">
                  <c:v>4</c:v>
                </c:pt>
                <c:pt idx="16180">
                  <c:v>0</c:v>
                </c:pt>
                <c:pt idx="16181">
                  <c:v>0</c:v>
                </c:pt>
                <c:pt idx="16182">
                  <c:v>0</c:v>
                </c:pt>
                <c:pt idx="16183">
                  <c:v>0</c:v>
                </c:pt>
                <c:pt idx="16184">
                  <c:v>0</c:v>
                </c:pt>
                <c:pt idx="16185">
                  <c:v>0</c:v>
                </c:pt>
                <c:pt idx="16186">
                  <c:v>0</c:v>
                </c:pt>
                <c:pt idx="16187">
                  <c:v>0</c:v>
                </c:pt>
                <c:pt idx="16188">
                  <c:v>0</c:v>
                </c:pt>
                <c:pt idx="16189">
                  <c:v>0</c:v>
                </c:pt>
                <c:pt idx="16190">
                  <c:v>0</c:v>
                </c:pt>
                <c:pt idx="16191">
                  <c:v>0</c:v>
                </c:pt>
                <c:pt idx="16192">
                  <c:v>0</c:v>
                </c:pt>
                <c:pt idx="16193">
                  <c:v>0</c:v>
                </c:pt>
                <c:pt idx="16194">
                  <c:v>0</c:v>
                </c:pt>
                <c:pt idx="16195">
                  <c:v>0</c:v>
                </c:pt>
                <c:pt idx="16196">
                  <c:v>0</c:v>
                </c:pt>
                <c:pt idx="16197">
                  <c:v>0</c:v>
                </c:pt>
                <c:pt idx="16198">
                  <c:v>0</c:v>
                </c:pt>
                <c:pt idx="16199">
                  <c:v>0</c:v>
                </c:pt>
                <c:pt idx="16200">
                  <c:v>0</c:v>
                </c:pt>
                <c:pt idx="16201">
                  <c:v>0</c:v>
                </c:pt>
                <c:pt idx="16202">
                  <c:v>0</c:v>
                </c:pt>
                <c:pt idx="16203">
                  <c:v>0</c:v>
                </c:pt>
                <c:pt idx="16204">
                  <c:v>0</c:v>
                </c:pt>
                <c:pt idx="16205">
                  <c:v>0</c:v>
                </c:pt>
                <c:pt idx="16206">
                  <c:v>0</c:v>
                </c:pt>
                <c:pt idx="16207">
                  <c:v>0</c:v>
                </c:pt>
                <c:pt idx="16208">
                  <c:v>0</c:v>
                </c:pt>
                <c:pt idx="16209">
                  <c:v>0</c:v>
                </c:pt>
                <c:pt idx="16210">
                  <c:v>0</c:v>
                </c:pt>
                <c:pt idx="16211">
                  <c:v>0</c:v>
                </c:pt>
                <c:pt idx="16212">
                  <c:v>0</c:v>
                </c:pt>
                <c:pt idx="16213">
                  <c:v>0</c:v>
                </c:pt>
                <c:pt idx="16214">
                  <c:v>0</c:v>
                </c:pt>
                <c:pt idx="16215">
                  <c:v>0</c:v>
                </c:pt>
                <c:pt idx="16216">
                  <c:v>1</c:v>
                </c:pt>
                <c:pt idx="16217">
                  <c:v>0</c:v>
                </c:pt>
                <c:pt idx="16218">
                  <c:v>0</c:v>
                </c:pt>
                <c:pt idx="16219">
                  <c:v>0</c:v>
                </c:pt>
                <c:pt idx="16220">
                  <c:v>0</c:v>
                </c:pt>
                <c:pt idx="16221">
                  <c:v>0</c:v>
                </c:pt>
                <c:pt idx="16222">
                  <c:v>0</c:v>
                </c:pt>
                <c:pt idx="16223">
                  <c:v>0</c:v>
                </c:pt>
                <c:pt idx="16224">
                  <c:v>0</c:v>
                </c:pt>
                <c:pt idx="16225">
                  <c:v>0</c:v>
                </c:pt>
                <c:pt idx="16226">
                  <c:v>0</c:v>
                </c:pt>
                <c:pt idx="16227">
                  <c:v>0</c:v>
                </c:pt>
                <c:pt idx="16228">
                  <c:v>0</c:v>
                </c:pt>
                <c:pt idx="16229">
                  <c:v>0</c:v>
                </c:pt>
                <c:pt idx="16230">
                  <c:v>0</c:v>
                </c:pt>
                <c:pt idx="16231">
                  <c:v>0</c:v>
                </c:pt>
                <c:pt idx="16232">
                  <c:v>0</c:v>
                </c:pt>
                <c:pt idx="16233">
                  <c:v>0</c:v>
                </c:pt>
                <c:pt idx="16234">
                  <c:v>0</c:v>
                </c:pt>
                <c:pt idx="16235">
                  <c:v>0</c:v>
                </c:pt>
                <c:pt idx="16236">
                  <c:v>0</c:v>
                </c:pt>
                <c:pt idx="16237">
                  <c:v>0</c:v>
                </c:pt>
                <c:pt idx="16238">
                  <c:v>2</c:v>
                </c:pt>
                <c:pt idx="16239">
                  <c:v>0</c:v>
                </c:pt>
                <c:pt idx="16240">
                  <c:v>0</c:v>
                </c:pt>
                <c:pt idx="16241">
                  <c:v>2</c:v>
                </c:pt>
                <c:pt idx="16242">
                  <c:v>3</c:v>
                </c:pt>
                <c:pt idx="16243">
                  <c:v>0</c:v>
                </c:pt>
                <c:pt idx="16244">
                  <c:v>0</c:v>
                </c:pt>
                <c:pt idx="16245">
                  <c:v>0</c:v>
                </c:pt>
                <c:pt idx="16246">
                  <c:v>0</c:v>
                </c:pt>
                <c:pt idx="16247">
                  <c:v>0</c:v>
                </c:pt>
                <c:pt idx="16248">
                  <c:v>0</c:v>
                </c:pt>
                <c:pt idx="16249">
                  <c:v>0</c:v>
                </c:pt>
                <c:pt idx="16250">
                  <c:v>0</c:v>
                </c:pt>
                <c:pt idx="16251">
                  <c:v>0</c:v>
                </c:pt>
                <c:pt idx="16252">
                  <c:v>0</c:v>
                </c:pt>
                <c:pt idx="16253">
                  <c:v>0</c:v>
                </c:pt>
                <c:pt idx="16254">
                  <c:v>0</c:v>
                </c:pt>
                <c:pt idx="16255">
                  <c:v>0</c:v>
                </c:pt>
                <c:pt idx="16256">
                  <c:v>0</c:v>
                </c:pt>
                <c:pt idx="16257">
                  <c:v>0</c:v>
                </c:pt>
                <c:pt idx="16258">
                  <c:v>0</c:v>
                </c:pt>
                <c:pt idx="16259">
                  <c:v>0</c:v>
                </c:pt>
                <c:pt idx="16260">
                  <c:v>0</c:v>
                </c:pt>
                <c:pt idx="16261">
                  <c:v>0</c:v>
                </c:pt>
                <c:pt idx="16262">
                  <c:v>0</c:v>
                </c:pt>
                <c:pt idx="16263">
                  <c:v>0</c:v>
                </c:pt>
                <c:pt idx="16264">
                  <c:v>0</c:v>
                </c:pt>
                <c:pt idx="16265">
                  <c:v>0</c:v>
                </c:pt>
                <c:pt idx="16266">
                  <c:v>0</c:v>
                </c:pt>
                <c:pt idx="16267">
                  <c:v>0</c:v>
                </c:pt>
                <c:pt idx="16268">
                  <c:v>0</c:v>
                </c:pt>
                <c:pt idx="16269">
                  <c:v>0</c:v>
                </c:pt>
                <c:pt idx="16270">
                  <c:v>0</c:v>
                </c:pt>
                <c:pt idx="16271">
                  <c:v>0</c:v>
                </c:pt>
                <c:pt idx="16272">
                  <c:v>0</c:v>
                </c:pt>
                <c:pt idx="16273">
                  <c:v>0</c:v>
                </c:pt>
                <c:pt idx="16274">
                  <c:v>0</c:v>
                </c:pt>
                <c:pt idx="16275">
                  <c:v>0</c:v>
                </c:pt>
                <c:pt idx="16276">
                  <c:v>0</c:v>
                </c:pt>
                <c:pt idx="16277">
                  <c:v>0</c:v>
                </c:pt>
                <c:pt idx="16278">
                  <c:v>0</c:v>
                </c:pt>
                <c:pt idx="16279">
                  <c:v>0</c:v>
                </c:pt>
                <c:pt idx="16280">
                  <c:v>0</c:v>
                </c:pt>
                <c:pt idx="16281">
                  <c:v>0</c:v>
                </c:pt>
                <c:pt idx="16282">
                  <c:v>0</c:v>
                </c:pt>
                <c:pt idx="16283">
                  <c:v>0</c:v>
                </c:pt>
                <c:pt idx="16284">
                  <c:v>0</c:v>
                </c:pt>
                <c:pt idx="16285">
                  <c:v>0</c:v>
                </c:pt>
                <c:pt idx="16286">
                  <c:v>0</c:v>
                </c:pt>
                <c:pt idx="16287">
                  <c:v>0</c:v>
                </c:pt>
                <c:pt idx="16288">
                  <c:v>0</c:v>
                </c:pt>
                <c:pt idx="16289">
                  <c:v>0</c:v>
                </c:pt>
                <c:pt idx="16290">
                  <c:v>0</c:v>
                </c:pt>
                <c:pt idx="16291">
                  <c:v>0</c:v>
                </c:pt>
                <c:pt idx="16292">
                  <c:v>0</c:v>
                </c:pt>
                <c:pt idx="16293">
                  <c:v>0</c:v>
                </c:pt>
                <c:pt idx="16294">
                  <c:v>0</c:v>
                </c:pt>
                <c:pt idx="16295">
                  <c:v>0</c:v>
                </c:pt>
                <c:pt idx="16296">
                  <c:v>0</c:v>
                </c:pt>
                <c:pt idx="16297">
                  <c:v>0</c:v>
                </c:pt>
                <c:pt idx="16298">
                  <c:v>0</c:v>
                </c:pt>
                <c:pt idx="16299">
                  <c:v>0</c:v>
                </c:pt>
                <c:pt idx="16300">
                  <c:v>0</c:v>
                </c:pt>
                <c:pt idx="16301">
                  <c:v>1</c:v>
                </c:pt>
                <c:pt idx="16302">
                  <c:v>0</c:v>
                </c:pt>
                <c:pt idx="16303">
                  <c:v>0</c:v>
                </c:pt>
                <c:pt idx="16304">
                  <c:v>0</c:v>
                </c:pt>
                <c:pt idx="16305">
                  <c:v>0</c:v>
                </c:pt>
                <c:pt idx="16306">
                  <c:v>0</c:v>
                </c:pt>
                <c:pt idx="16307">
                  <c:v>0</c:v>
                </c:pt>
                <c:pt idx="16308">
                  <c:v>0</c:v>
                </c:pt>
                <c:pt idx="16309">
                  <c:v>0</c:v>
                </c:pt>
                <c:pt idx="16310">
                  <c:v>0</c:v>
                </c:pt>
                <c:pt idx="16311">
                  <c:v>0</c:v>
                </c:pt>
                <c:pt idx="16312">
                  <c:v>0</c:v>
                </c:pt>
                <c:pt idx="16313">
                  <c:v>0</c:v>
                </c:pt>
                <c:pt idx="16314">
                  <c:v>0</c:v>
                </c:pt>
                <c:pt idx="16315">
                  <c:v>0</c:v>
                </c:pt>
                <c:pt idx="16316">
                  <c:v>0</c:v>
                </c:pt>
                <c:pt idx="16317">
                  <c:v>0</c:v>
                </c:pt>
                <c:pt idx="16318">
                  <c:v>0</c:v>
                </c:pt>
                <c:pt idx="16319">
                  <c:v>0</c:v>
                </c:pt>
                <c:pt idx="16320">
                  <c:v>0</c:v>
                </c:pt>
                <c:pt idx="16321">
                  <c:v>0</c:v>
                </c:pt>
                <c:pt idx="16322">
                  <c:v>0</c:v>
                </c:pt>
                <c:pt idx="16323">
                  <c:v>0</c:v>
                </c:pt>
                <c:pt idx="16324">
                  <c:v>0</c:v>
                </c:pt>
                <c:pt idx="16325">
                  <c:v>0</c:v>
                </c:pt>
                <c:pt idx="16326">
                  <c:v>0</c:v>
                </c:pt>
                <c:pt idx="16327">
                  <c:v>0</c:v>
                </c:pt>
                <c:pt idx="16328">
                  <c:v>0</c:v>
                </c:pt>
                <c:pt idx="16329">
                  <c:v>0</c:v>
                </c:pt>
                <c:pt idx="16330">
                  <c:v>0</c:v>
                </c:pt>
                <c:pt idx="16331">
                  <c:v>0</c:v>
                </c:pt>
                <c:pt idx="16332">
                  <c:v>0</c:v>
                </c:pt>
                <c:pt idx="16333">
                  <c:v>0</c:v>
                </c:pt>
                <c:pt idx="16334">
                  <c:v>2</c:v>
                </c:pt>
                <c:pt idx="16335">
                  <c:v>0</c:v>
                </c:pt>
                <c:pt idx="16336">
                  <c:v>0</c:v>
                </c:pt>
                <c:pt idx="16337">
                  <c:v>0</c:v>
                </c:pt>
                <c:pt idx="16338">
                  <c:v>0</c:v>
                </c:pt>
                <c:pt idx="16339">
                  <c:v>0</c:v>
                </c:pt>
                <c:pt idx="16340">
                  <c:v>0</c:v>
                </c:pt>
                <c:pt idx="16341">
                  <c:v>0</c:v>
                </c:pt>
                <c:pt idx="16342">
                  <c:v>0</c:v>
                </c:pt>
                <c:pt idx="16343">
                  <c:v>0</c:v>
                </c:pt>
                <c:pt idx="16344">
                  <c:v>1</c:v>
                </c:pt>
                <c:pt idx="16345">
                  <c:v>0</c:v>
                </c:pt>
                <c:pt idx="16346">
                  <c:v>0</c:v>
                </c:pt>
                <c:pt idx="16347">
                  <c:v>0</c:v>
                </c:pt>
                <c:pt idx="16348">
                  <c:v>0</c:v>
                </c:pt>
                <c:pt idx="16349">
                  <c:v>0</c:v>
                </c:pt>
                <c:pt idx="16350">
                  <c:v>0</c:v>
                </c:pt>
                <c:pt idx="16351">
                  <c:v>0</c:v>
                </c:pt>
                <c:pt idx="16352">
                  <c:v>4</c:v>
                </c:pt>
                <c:pt idx="16353">
                  <c:v>3</c:v>
                </c:pt>
                <c:pt idx="16354">
                  <c:v>0</c:v>
                </c:pt>
                <c:pt idx="16355">
                  <c:v>0</c:v>
                </c:pt>
                <c:pt idx="16356">
                  <c:v>0</c:v>
                </c:pt>
                <c:pt idx="16357">
                  <c:v>0</c:v>
                </c:pt>
                <c:pt idx="16358">
                  <c:v>0</c:v>
                </c:pt>
                <c:pt idx="16359">
                  <c:v>0</c:v>
                </c:pt>
                <c:pt idx="16360">
                  <c:v>0</c:v>
                </c:pt>
                <c:pt idx="16361">
                  <c:v>0</c:v>
                </c:pt>
                <c:pt idx="16362">
                  <c:v>0</c:v>
                </c:pt>
                <c:pt idx="16363">
                  <c:v>0</c:v>
                </c:pt>
                <c:pt idx="16364">
                  <c:v>0</c:v>
                </c:pt>
                <c:pt idx="16365">
                  <c:v>0</c:v>
                </c:pt>
                <c:pt idx="16366">
                  <c:v>0</c:v>
                </c:pt>
                <c:pt idx="16367">
                  <c:v>0</c:v>
                </c:pt>
                <c:pt idx="16368">
                  <c:v>0</c:v>
                </c:pt>
                <c:pt idx="16369">
                  <c:v>0</c:v>
                </c:pt>
                <c:pt idx="16370">
                  <c:v>0</c:v>
                </c:pt>
                <c:pt idx="16371">
                  <c:v>0</c:v>
                </c:pt>
                <c:pt idx="16372">
                  <c:v>0</c:v>
                </c:pt>
                <c:pt idx="16373">
                  <c:v>0</c:v>
                </c:pt>
                <c:pt idx="16374">
                  <c:v>0</c:v>
                </c:pt>
                <c:pt idx="16375">
                  <c:v>0</c:v>
                </c:pt>
                <c:pt idx="16376">
                  <c:v>0</c:v>
                </c:pt>
                <c:pt idx="16377">
                  <c:v>0</c:v>
                </c:pt>
                <c:pt idx="16378">
                  <c:v>0</c:v>
                </c:pt>
                <c:pt idx="16379">
                  <c:v>0</c:v>
                </c:pt>
                <c:pt idx="16380">
                  <c:v>0</c:v>
                </c:pt>
                <c:pt idx="16381">
                  <c:v>0</c:v>
                </c:pt>
                <c:pt idx="16382">
                  <c:v>1</c:v>
                </c:pt>
                <c:pt idx="16383">
                  <c:v>0</c:v>
                </c:pt>
                <c:pt idx="16384">
                  <c:v>0</c:v>
                </c:pt>
                <c:pt idx="16385">
                  <c:v>0</c:v>
                </c:pt>
                <c:pt idx="16386">
                  <c:v>0</c:v>
                </c:pt>
                <c:pt idx="16387">
                  <c:v>0</c:v>
                </c:pt>
                <c:pt idx="16388">
                  <c:v>0</c:v>
                </c:pt>
                <c:pt idx="16389">
                  <c:v>0</c:v>
                </c:pt>
                <c:pt idx="16390">
                  <c:v>0</c:v>
                </c:pt>
                <c:pt idx="16391">
                  <c:v>0</c:v>
                </c:pt>
                <c:pt idx="16392">
                  <c:v>0</c:v>
                </c:pt>
                <c:pt idx="16393">
                  <c:v>0</c:v>
                </c:pt>
                <c:pt idx="16394">
                  <c:v>0</c:v>
                </c:pt>
                <c:pt idx="16395">
                  <c:v>0</c:v>
                </c:pt>
                <c:pt idx="16396">
                  <c:v>0</c:v>
                </c:pt>
                <c:pt idx="16397">
                  <c:v>0</c:v>
                </c:pt>
                <c:pt idx="16398">
                  <c:v>0</c:v>
                </c:pt>
                <c:pt idx="16399">
                  <c:v>0</c:v>
                </c:pt>
                <c:pt idx="16400">
                  <c:v>0</c:v>
                </c:pt>
                <c:pt idx="16401">
                  <c:v>0</c:v>
                </c:pt>
                <c:pt idx="16402">
                  <c:v>0</c:v>
                </c:pt>
                <c:pt idx="16403">
                  <c:v>0</c:v>
                </c:pt>
                <c:pt idx="16404">
                  <c:v>0</c:v>
                </c:pt>
                <c:pt idx="16405">
                  <c:v>0</c:v>
                </c:pt>
                <c:pt idx="16406">
                  <c:v>0</c:v>
                </c:pt>
                <c:pt idx="16407">
                  <c:v>0</c:v>
                </c:pt>
                <c:pt idx="16408">
                  <c:v>0</c:v>
                </c:pt>
                <c:pt idx="16409">
                  <c:v>0</c:v>
                </c:pt>
                <c:pt idx="16410">
                  <c:v>0</c:v>
                </c:pt>
                <c:pt idx="16411">
                  <c:v>0</c:v>
                </c:pt>
                <c:pt idx="16412">
                  <c:v>0</c:v>
                </c:pt>
                <c:pt idx="16413">
                  <c:v>0</c:v>
                </c:pt>
                <c:pt idx="16414">
                  <c:v>0</c:v>
                </c:pt>
                <c:pt idx="16415">
                  <c:v>0</c:v>
                </c:pt>
                <c:pt idx="16416">
                  <c:v>0</c:v>
                </c:pt>
                <c:pt idx="16417">
                  <c:v>0</c:v>
                </c:pt>
                <c:pt idx="16418">
                  <c:v>0</c:v>
                </c:pt>
                <c:pt idx="16419">
                  <c:v>0</c:v>
                </c:pt>
                <c:pt idx="16420">
                  <c:v>0</c:v>
                </c:pt>
                <c:pt idx="16421">
                  <c:v>0</c:v>
                </c:pt>
                <c:pt idx="16422">
                  <c:v>0</c:v>
                </c:pt>
                <c:pt idx="16423">
                  <c:v>0</c:v>
                </c:pt>
                <c:pt idx="16424">
                  <c:v>0</c:v>
                </c:pt>
                <c:pt idx="16425">
                  <c:v>0</c:v>
                </c:pt>
                <c:pt idx="16426">
                  <c:v>0</c:v>
                </c:pt>
                <c:pt idx="16427">
                  <c:v>0</c:v>
                </c:pt>
                <c:pt idx="16428">
                  <c:v>0</c:v>
                </c:pt>
                <c:pt idx="16429">
                  <c:v>0</c:v>
                </c:pt>
                <c:pt idx="16430">
                  <c:v>0</c:v>
                </c:pt>
                <c:pt idx="16431">
                  <c:v>0</c:v>
                </c:pt>
                <c:pt idx="16432">
                  <c:v>0</c:v>
                </c:pt>
                <c:pt idx="16433">
                  <c:v>0</c:v>
                </c:pt>
                <c:pt idx="16434">
                  <c:v>0</c:v>
                </c:pt>
                <c:pt idx="16435">
                  <c:v>0</c:v>
                </c:pt>
                <c:pt idx="16436">
                  <c:v>0</c:v>
                </c:pt>
                <c:pt idx="16437">
                  <c:v>0</c:v>
                </c:pt>
                <c:pt idx="16438">
                  <c:v>0</c:v>
                </c:pt>
                <c:pt idx="16439">
                  <c:v>0</c:v>
                </c:pt>
                <c:pt idx="16440">
                  <c:v>0</c:v>
                </c:pt>
                <c:pt idx="16441">
                  <c:v>0</c:v>
                </c:pt>
                <c:pt idx="16442">
                  <c:v>0</c:v>
                </c:pt>
                <c:pt idx="16443">
                  <c:v>0</c:v>
                </c:pt>
                <c:pt idx="16444">
                  <c:v>0</c:v>
                </c:pt>
                <c:pt idx="16445">
                  <c:v>0</c:v>
                </c:pt>
                <c:pt idx="16446">
                  <c:v>0</c:v>
                </c:pt>
                <c:pt idx="16447">
                  <c:v>0</c:v>
                </c:pt>
                <c:pt idx="16448">
                  <c:v>0</c:v>
                </c:pt>
                <c:pt idx="16449">
                  <c:v>0</c:v>
                </c:pt>
                <c:pt idx="16450">
                  <c:v>0</c:v>
                </c:pt>
                <c:pt idx="16451">
                  <c:v>0</c:v>
                </c:pt>
                <c:pt idx="16452">
                  <c:v>0</c:v>
                </c:pt>
                <c:pt idx="16453">
                  <c:v>0</c:v>
                </c:pt>
                <c:pt idx="16454">
                  <c:v>0</c:v>
                </c:pt>
                <c:pt idx="16455">
                  <c:v>0</c:v>
                </c:pt>
                <c:pt idx="16456">
                  <c:v>0</c:v>
                </c:pt>
                <c:pt idx="16457">
                  <c:v>0</c:v>
                </c:pt>
                <c:pt idx="16458">
                  <c:v>0</c:v>
                </c:pt>
                <c:pt idx="16459">
                  <c:v>0</c:v>
                </c:pt>
                <c:pt idx="16460">
                  <c:v>0</c:v>
                </c:pt>
                <c:pt idx="16461">
                  <c:v>1</c:v>
                </c:pt>
                <c:pt idx="16462">
                  <c:v>0</c:v>
                </c:pt>
                <c:pt idx="16463">
                  <c:v>3</c:v>
                </c:pt>
                <c:pt idx="16464">
                  <c:v>0</c:v>
                </c:pt>
                <c:pt idx="16465">
                  <c:v>0</c:v>
                </c:pt>
                <c:pt idx="16466">
                  <c:v>2</c:v>
                </c:pt>
                <c:pt idx="16467">
                  <c:v>2</c:v>
                </c:pt>
                <c:pt idx="16468">
                  <c:v>3</c:v>
                </c:pt>
                <c:pt idx="16469">
                  <c:v>0</c:v>
                </c:pt>
                <c:pt idx="16470">
                  <c:v>0</c:v>
                </c:pt>
                <c:pt idx="16471">
                  <c:v>0</c:v>
                </c:pt>
                <c:pt idx="16472">
                  <c:v>0</c:v>
                </c:pt>
                <c:pt idx="16473">
                  <c:v>0</c:v>
                </c:pt>
                <c:pt idx="16474">
                  <c:v>0</c:v>
                </c:pt>
                <c:pt idx="16475">
                  <c:v>0</c:v>
                </c:pt>
                <c:pt idx="16476">
                  <c:v>0</c:v>
                </c:pt>
                <c:pt idx="16477">
                  <c:v>0</c:v>
                </c:pt>
                <c:pt idx="16478">
                  <c:v>0</c:v>
                </c:pt>
                <c:pt idx="16479">
                  <c:v>1</c:v>
                </c:pt>
                <c:pt idx="16480">
                  <c:v>3</c:v>
                </c:pt>
                <c:pt idx="16481">
                  <c:v>0</c:v>
                </c:pt>
                <c:pt idx="16482">
                  <c:v>0</c:v>
                </c:pt>
                <c:pt idx="16483">
                  <c:v>0</c:v>
                </c:pt>
                <c:pt idx="16484">
                  <c:v>0</c:v>
                </c:pt>
                <c:pt idx="16485">
                  <c:v>0</c:v>
                </c:pt>
                <c:pt idx="16486">
                  <c:v>0</c:v>
                </c:pt>
                <c:pt idx="16487">
                  <c:v>0</c:v>
                </c:pt>
                <c:pt idx="16488">
                  <c:v>0</c:v>
                </c:pt>
                <c:pt idx="16489">
                  <c:v>0</c:v>
                </c:pt>
                <c:pt idx="16490">
                  <c:v>0</c:v>
                </c:pt>
                <c:pt idx="16491">
                  <c:v>0</c:v>
                </c:pt>
                <c:pt idx="16492">
                  <c:v>1</c:v>
                </c:pt>
                <c:pt idx="16493">
                  <c:v>0</c:v>
                </c:pt>
                <c:pt idx="16494">
                  <c:v>0</c:v>
                </c:pt>
                <c:pt idx="16495">
                  <c:v>0</c:v>
                </c:pt>
                <c:pt idx="16496">
                  <c:v>0</c:v>
                </c:pt>
                <c:pt idx="16497">
                  <c:v>0</c:v>
                </c:pt>
                <c:pt idx="16498">
                  <c:v>0</c:v>
                </c:pt>
                <c:pt idx="16499">
                  <c:v>0</c:v>
                </c:pt>
                <c:pt idx="16500">
                  <c:v>0</c:v>
                </c:pt>
                <c:pt idx="16501">
                  <c:v>0</c:v>
                </c:pt>
                <c:pt idx="16502">
                  <c:v>0</c:v>
                </c:pt>
                <c:pt idx="16503">
                  <c:v>0</c:v>
                </c:pt>
                <c:pt idx="16504">
                  <c:v>0</c:v>
                </c:pt>
                <c:pt idx="16505">
                  <c:v>0</c:v>
                </c:pt>
                <c:pt idx="16506">
                  <c:v>0</c:v>
                </c:pt>
                <c:pt idx="16507">
                  <c:v>0</c:v>
                </c:pt>
                <c:pt idx="16508">
                  <c:v>0</c:v>
                </c:pt>
                <c:pt idx="16509">
                  <c:v>0</c:v>
                </c:pt>
                <c:pt idx="16510">
                  <c:v>0</c:v>
                </c:pt>
                <c:pt idx="16511">
                  <c:v>0</c:v>
                </c:pt>
                <c:pt idx="16512">
                  <c:v>0</c:v>
                </c:pt>
                <c:pt idx="16513">
                  <c:v>0</c:v>
                </c:pt>
                <c:pt idx="16514">
                  <c:v>0</c:v>
                </c:pt>
                <c:pt idx="16515">
                  <c:v>0</c:v>
                </c:pt>
                <c:pt idx="16516">
                  <c:v>0</c:v>
                </c:pt>
                <c:pt idx="16517">
                  <c:v>0</c:v>
                </c:pt>
                <c:pt idx="16518">
                  <c:v>0</c:v>
                </c:pt>
                <c:pt idx="16519">
                  <c:v>1</c:v>
                </c:pt>
                <c:pt idx="16520">
                  <c:v>0</c:v>
                </c:pt>
                <c:pt idx="16521">
                  <c:v>0</c:v>
                </c:pt>
                <c:pt idx="16522">
                  <c:v>0</c:v>
                </c:pt>
                <c:pt idx="16523">
                  <c:v>0</c:v>
                </c:pt>
                <c:pt idx="16524">
                  <c:v>1</c:v>
                </c:pt>
                <c:pt idx="16525">
                  <c:v>3</c:v>
                </c:pt>
                <c:pt idx="16526">
                  <c:v>0</c:v>
                </c:pt>
                <c:pt idx="16527">
                  <c:v>0</c:v>
                </c:pt>
                <c:pt idx="16528">
                  <c:v>0</c:v>
                </c:pt>
                <c:pt idx="16529">
                  <c:v>0</c:v>
                </c:pt>
                <c:pt idx="16530">
                  <c:v>0</c:v>
                </c:pt>
                <c:pt idx="16531">
                  <c:v>0</c:v>
                </c:pt>
                <c:pt idx="16532">
                  <c:v>3</c:v>
                </c:pt>
                <c:pt idx="16533">
                  <c:v>0</c:v>
                </c:pt>
                <c:pt idx="16534">
                  <c:v>0</c:v>
                </c:pt>
                <c:pt idx="16535">
                  <c:v>0</c:v>
                </c:pt>
                <c:pt idx="16536">
                  <c:v>0</c:v>
                </c:pt>
                <c:pt idx="16537">
                  <c:v>0</c:v>
                </c:pt>
                <c:pt idx="16538">
                  <c:v>0</c:v>
                </c:pt>
                <c:pt idx="16539">
                  <c:v>0</c:v>
                </c:pt>
                <c:pt idx="16540">
                  <c:v>0</c:v>
                </c:pt>
                <c:pt idx="16541">
                  <c:v>0</c:v>
                </c:pt>
                <c:pt idx="16542">
                  <c:v>0</c:v>
                </c:pt>
                <c:pt idx="16543">
                  <c:v>0</c:v>
                </c:pt>
                <c:pt idx="16544">
                  <c:v>0</c:v>
                </c:pt>
                <c:pt idx="16545">
                  <c:v>2</c:v>
                </c:pt>
                <c:pt idx="16546">
                  <c:v>0</c:v>
                </c:pt>
                <c:pt idx="16547">
                  <c:v>2</c:v>
                </c:pt>
                <c:pt idx="16548">
                  <c:v>0</c:v>
                </c:pt>
                <c:pt idx="16549">
                  <c:v>0</c:v>
                </c:pt>
                <c:pt idx="16550">
                  <c:v>0</c:v>
                </c:pt>
                <c:pt idx="16551">
                  <c:v>0</c:v>
                </c:pt>
                <c:pt idx="16552">
                  <c:v>0</c:v>
                </c:pt>
                <c:pt idx="16553">
                  <c:v>0</c:v>
                </c:pt>
                <c:pt idx="16554">
                  <c:v>0</c:v>
                </c:pt>
                <c:pt idx="16555">
                  <c:v>0</c:v>
                </c:pt>
                <c:pt idx="16556">
                  <c:v>0</c:v>
                </c:pt>
                <c:pt idx="16557">
                  <c:v>0</c:v>
                </c:pt>
                <c:pt idx="16558">
                  <c:v>2</c:v>
                </c:pt>
                <c:pt idx="16559">
                  <c:v>3</c:v>
                </c:pt>
                <c:pt idx="16560">
                  <c:v>0</c:v>
                </c:pt>
                <c:pt idx="16561">
                  <c:v>0</c:v>
                </c:pt>
                <c:pt idx="16562">
                  <c:v>1</c:v>
                </c:pt>
                <c:pt idx="16563">
                  <c:v>1</c:v>
                </c:pt>
                <c:pt idx="16564">
                  <c:v>0</c:v>
                </c:pt>
                <c:pt idx="16565">
                  <c:v>0</c:v>
                </c:pt>
                <c:pt idx="16566">
                  <c:v>0</c:v>
                </c:pt>
                <c:pt idx="16567">
                  <c:v>0</c:v>
                </c:pt>
                <c:pt idx="16568">
                  <c:v>0</c:v>
                </c:pt>
                <c:pt idx="16569">
                  <c:v>0</c:v>
                </c:pt>
                <c:pt idx="16570">
                  <c:v>0</c:v>
                </c:pt>
                <c:pt idx="16571">
                  <c:v>0</c:v>
                </c:pt>
                <c:pt idx="16572">
                  <c:v>1</c:v>
                </c:pt>
                <c:pt idx="16573">
                  <c:v>0</c:v>
                </c:pt>
                <c:pt idx="16574">
                  <c:v>0</c:v>
                </c:pt>
                <c:pt idx="16575">
                  <c:v>3</c:v>
                </c:pt>
                <c:pt idx="16576">
                  <c:v>0</c:v>
                </c:pt>
                <c:pt idx="16577">
                  <c:v>0</c:v>
                </c:pt>
                <c:pt idx="16578">
                  <c:v>0</c:v>
                </c:pt>
                <c:pt idx="16579">
                  <c:v>0</c:v>
                </c:pt>
                <c:pt idx="16580">
                  <c:v>0</c:v>
                </c:pt>
                <c:pt idx="16581">
                  <c:v>0</c:v>
                </c:pt>
                <c:pt idx="16582">
                  <c:v>0</c:v>
                </c:pt>
                <c:pt idx="16583">
                  <c:v>0</c:v>
                </c:pt>
                <c:pt idx="16584">
                  <c:v>0</c:v>
                </c:pt>
                <c:pt idx="16585">
                  <c:v>0</c:v>
                </c:pt>
                <c:pt idx="16586">
                  <c:v>6</c:v>
                </c:pt>
                <c:pt idx="16587">
                  <c:v>2</c:v>
                </c:pt>
                <c:pt idx="16588">
                  <c:v>1</c:v>
                </c:pt>
                <c:pt idx="16589">
                  <c:v>1</c:v>
                </c:pt>
                <c:pt idx="16590">
                  <c:v>0</c:v>
                </c:pt>
                <c:pt idx="16591">
                  <c:v>5</c:v>
                </c:pt>
                <c:pt idx="16592">
                  <c:v>2</c:v>
                </c:pt>
                <c:pt idx="16593">
                  <c:v>0</c:v>
                </c:pt>
                <c:pt idx="16594">
                  <c:v>4</c:v>
                </c:pt>
                <c:pt idx="16595">
                  <c:v>0</c:v>
                </c:pt>
                <c:pt idx="16596">
                  <c:v>0</c:v>
                </c:pt>
                <c:pt idx="16597">
                  <c:v>2</c:v>
                </c:pt>
                <c:pt idx="16598">
                  <c:v>0</c:v>
                </c:pt>
                <c:pt idx="16599">
                  <c:v>3</c:v>
                </c:pt>
                <c:pt idx="16600">
                  <c:v>1</c:v>
                </c:pt>
                <c:pt idx="16601">
                  <c:v>0</c:v>
                </c:pt>
                <c:pt idx="16602">
                  <c:v>2</c:v>
                </c:pt>
                <c:pt idx="16603">
                  <c:v>5</c:v>
                </c:pt>
                <c:pt idx="16604">
                  <c:v>0</c:v>
                </c:pt>
                <c:pt idx="16605">
                  <c:v>3</c:v>
                </c:pt>
                <c:pt idx="16606">
                  <c:v>5</c:v>
                </c:pt>
                <c:pt idx="16607">
                  <c:v>2</c:v>
                </c:pt>
                <c:pt idx="16608">
                  <c:v>2</c:v>
                </c:pt>
                <c:pt idx="16609">
                  <c:v>4</c:v>
                </c:pt>
                <c:pt idx="16610">
                  <c:v>2</c:v>
                </c:pt>
                <c:pt idx="16611">
                  <c:v>0</c:v>
                </c:pt>
                <c:pt idx="16612">
                  <c:v>0</c:v>
                </c:pt>
                <c:pt idx="16613">
                  <c:v>1</c:v>
                </c:pt>
                <c:pt idx="16614">
                  <c:v>0</c:v>
                </c:pt>
                <c:pt idx="16615">
                  <c:v>0</c:v>
                </c:pt>
                <c:pt idx="16616">
                  <c:v>1</c:v>
                </c:pt>
                <c:pt idx="16617">
                  <c:v>3</c:v>
                </c:pt>
                <c:pt idx="16618">
                  <c:v>3</c:v>
                </c:pt>
                <c:pt idx="16619">
                  <c:v>0</c:v>
                </c:pt>
                <c:pt idx="16620">
                  <c:v>0</c:v>
                </c:pt>
                <c:pt idx="16621">
                  <c:v>0</c:v>
                </c:pt>
                <c:pt idx="16622">
                  <c:v>0</c:v>
                </c:pt>
                <c:pt idx="16623">
                  <c:v>3</c:v>
                </c:pt>
                <c:pt idx="16624">
                  <c:v>0</c:v>
                </c:pt>
                <c:pt idx="16625">
                  <c:v>1</c:v>
                </c:pt>
                <c:pt idx="16626">
                  <c:v>0</c:v>
                </c:pt>
                <c:pt idx="16627">
                  <c:v>0</c:v>
                </c:pt>
                <c:pt idx="16628">
                  <c:v>2</c:v>
                </c:pt>
                <c:pt idx="16629">
                  <c:v>2</c:v>
                </c:pt>
                <c:pt idx="16630">
                  <c:v>2</c:v>
                </c:pt>
                <c:pt idx="16631">
                  <c:v>0</c:v>
                </c:pt>
                <c:pt idx="16632">
                  <c:v>0</c:v>
                </c:pt>
                <c:pt idx="16633">
                  <c:v>0</c:v>
                </c:pt>
                <c:pt idx="16634">
                  <c:v>0</c:v>
                </c:pt>
                <c:pt idx="16635">
                  <c:v>0</c:v>
                </c:pt>
                <c:pt idx="16636">
                  <c:v>0</c:v>
                </c:pt>
                <c:pt idx="16637">
                  <c:v>0</c:v>
                </c:pt>
                <c:pt idx="16638">
                  <c:v>0</c:v>
                </c:pt>
                <c:pt idx="16639">
                  <c:v>0</c:v>
                </c:pt>
                <c:pt idx="16640">
                  <c:v>2</c:v>
                </c:pt>
                <c:pt idx="16641">
                  <c:v>1</c:v>
                </c:pt>
                <c:pt idx="16642">
                  <c:v>0</c:v>
                </c:pt>
                <c:pt idx="16643">
                  <c:v>0</c:v>
                </c:pt>
                <c:pt idx="16644">
                  <c:v>0</c:v>
                </c:pt>
                <c:pt idx="16645">
                  <c:v>0</c:v>
                </c:pt>
                <c:pt idx="16646">
                  <c:v>0</c:v>
                </c:pt>
                <c:pt idx="16647">
                  <c:v>2</c:v>
                </c:pt>
                <c:pt idx="16648">
                  <c:v>2</c:v>
                </c:pt>
                <c:pt idx="16649">
                  <c:v>0</c:v>
                </c:pt>
                <c:pt idx="16650">
                  <c:v>0</c:v>
                </c:pt>
                <c:pt idx="16651">
                  <c:v>2</c:v>
                </c:pt>
                <c:pt idx="16652">
                  <c:v>3</c:v>
                </c:pt>
                <c:pt idx="16653">
                  <c:v>1</c:v>
                </c:pt>
                <c:pt idx="16654">
                  <c:v>0</c:v>
                </c:pt>
                <c:pt idx="16655">
                  <c:v>0</c:v>
                </c:pt>
                <c:pt idx="16656">
                  <c:v>0</c:v>
                </c:pt>
                <c:pt idx="16657">
                  <c:v>1</c:v>
                </c:pt>
                <c:pt idx="16658">
                  <c:v>0</c:v>
                </c:pt>
                <c:pt idx="16659">
                  <c:v>0</c:v>
                </c:pt>
                <c:pt idx="16660">
                  <c:v>0</c:v>
                </c:pt>
                <c:pt idx="16661">
                  <c:v>0</c:v>
                </c:pt>
                <c:pt idx="16662">
                  <c:v>0</c:v>
                </c:pt>
                <c:pt idx="16663">
                  <c:v>0</c:v>
                </c:pt>
                <c:pt idx="16664">
                  <c:v>0</c:v>
                </c:pt>
                <c:pt idx="16665">
                  <c:v>0</c:v>
                </c:pt>
                <c:pt idx="16666">
                  <c:v>0</c:v>
                </c:pt>
                <c:pt idx="16667">
                  <c:v>1</c:v>
                </c:pt>
                <c:pt idx="16668">
                  <c:v>0</c:v>
                </c:pt>
                <c:pt idx="16669">
                  <c:v>0</c:v>
                </c:pt>
                <c:pt idx="16670">
                  <c:v>0</c:v>
                </c:pt>
                <c:pt idx="16671">
                  <c:v>0</c:v>
                </c:pt>
                <c:pt idx="16672">
                  <c:v>0</c:v>
                </c:pt>
                <c:pt idx="16673">
                  <c:v>3</c:v>
                </c:pt>
                <c:pt idx="16674">
                  <c:v>0</c:v>
                </c:pt>
                <c:pt idx="16675">
                  <c:v>0</c:v>
                </c:pt>
                <c:pt idx="16676">
                  <c:v>0</c:v>
                </c:pt>
                <c:pt idx="16677">
                  <c:v>0</c:v>
                </c:pt>
                <c:pt idx="16678">
                  <c:v>2</c:v>
                </c:pt>
                <c:pt idx="16679">
                  <c:v>0</c:v>
                </c:pt>
                <c:pt idx="16680">
                  <c:v>1</c:v>
                </c:pt>
                <c:pt idx="16681">
                  <c:v>4</c:v>
                </c:pt>
                <c:pt idx="16682">
                  <c:v>3</c:v>
                </c:pt>
                <c:pt idx="16683">
                  <c:v>0</c:v>
                </c:pt>
                <c:pt idx="16684">
                  <c:v>0</c:v>
                </c:pt>
                <c:pt idx="16685">
                  <c:v>0</c:v>
                </c:pt>
                <c:pt idx="16686">
                  <c:v>0</c:v>
                </c:pt>
                <c:pt idx="16687">
                  <c:v>0</c:v>
                </c:pt>
                <c:pt idx="16688">
                  <c:v>2</c:v>
                </c:pt>
                <c:pt idx="16689">
                  <c:v>0</c:v>
                </c:pt>
                <c:pt idx="16690">
                  <c:v>0</c:v>
                </c:pt>
                <c:pt idx="16691">
                  <c:v>0</c:v>
                </c:pt>
                <c:pt idx="16692">
                  <c:v>1</c:v>
                </c:pt>
                <c:pt idx="16693">
                  <c:v>0</c:v>
                </c:pt>
                <c:pt idx="16694">
                  <c:v>0</c:v>
                </c:pt>
                <c:pt idx="16695">
                  <c:v>0</c:v>
                </c:pt>
                <c:pt idx="16696">
                  <c:v>0</c:v>
                </c:pt>
                <c:pt idx="16697">
                  <c:v>4</c:v>
                </c:pt>
                <c:pt idx="16698">
                  <c:v>3</c:v>
                </c:pt>
                <c:pt idx="16699">
                  <c:v>0</c:v>
                </c:pt>
                <c:pt idx="16700">
                  <c:v>1</c:v>
                </c:pt>
                <c:pt idx="16701">
                  <c:v>2</c:v>
                </c:pt>
                <c:pt idx="16702">
                  <c:v>0</c:v>
                </c:pt>
                <c:pt idx="16703">
                  <c:v>2</c:v>
                </c:pt>
                <c:pt idx="16704">
                  <c:v>0</c:v>
                </c:pt>
                <c:pt idx="16705">
                  <c:v>1</c:v>
                </c:pt>
                <c:pt idx="16706">
                  <c:v>0</c:v>
                </c:pt>
                <c:pt idx="16707">
                  <c:v>0</c:v>
                </c:pt>
                <c:pt idx="16708">
                  <c:v>1</c:v>
                </c:pt>
                <c:pt idx="16709">
                  <c:v>6</c:v>
                </c:pt>
                <c:pt idx="16710">
                  <c:v>2</c:v>
                </c:pt>
                <c:pt idx="16711">
                  <c:v>3</c:v>
                </c:pt>
                <c:pt idx="16712">
                  <c:v>1</c:v>
                </c:pt>
                <c:pt idx="16713">
                  <c:v>1</c:v>
                </c:pt>
                <c:pt idx="16714">
                  <c:v>1</c:v>
                </c:pt>
                <c:pt idx="16715">
                  <c:v>1</c:v>
                </c:pt>
                <c:pt idx="16716">
                  <c:v>3</c:v>
                </c:pt>
                <c:pt idx="16717">
                  <c:v>2</c:v>
                </c:pt>
                <c:pt idx="16718">
                  <c:v>1</c:v>
                </c:pt>
                <c:pt idx="16719">
                  <c:v>3</c:v>
                </c:pt>
                <c:pt idx="16720">
                  <c:v>5</c:v>
                </c:pt>
                <c:pt idx="16721">
                  <c:v>0</c:v>
                </c:pt>
                <c:pt idx="16722">
                  <c:v>0</c:v>
                </c:pt>
                <c:pt idx="16723">
                  <c:v>3</c:v>
                </c:pt>
                <c:pt idx="16724">
                  <c:v>2</c:v>
                </c:pt>
                <c:pt idx="16725">
                  <c:v>1</c:v>
                </c:pt>
                <c:pt idx="16726">
                  <c:v>1</c:v>
                </c:pt>
                <c:pt idx="16727">
                  <c:v>1</c:v>
                </c:pt>
                <c:pt idx="16728">
                  <c:v>0</c:v>
                </c:pt>
                <c:pt idx="16729">
                  <c:v>2</c:v>
                </c:pt>
                <c:pt idx="16730">
                  <c:v>4</c:v>
                </c:pt>
                <c:pt idx="16731">
                  <c:v>2</c:v>
                </c:pt>
                <c:pt idx="16732">
                  <c:v>0</c:v>
                </c:pt>
                <c:pt idx="16733">
                  <c:v>3</c:v>
                </c:pt>
                <c:pt idx="16734">
                  <c:v>0</c:v>
                </c:pt>
                <c:pt idx="16735">
                  <c:v>3</c:v>
                </c:pt>
                <c:pt idx="16736">
                  <c:v>0</c:v>
                </c:pt>
                <c:pt idx="16737">
                  <c:v>2</c:v>
                </c:pt>
                <c:pt idx="16738">
                  <c:v>0</c:v>
                </c:pt>
                <c:pt idx="16739">
                  <c:v>5</c:v>
                </c:pt>
                <c:pt idx="16740">
                  <c:v>1</c:v>
                </c:pt>
                <c:pt idx="16741">
                  <c:v>2</c:v>
                </c:pt>
                <c:pt idx="16742">
                  <c:v>0</c:v>
                </c:pt>
                <c:pt idx="16743">
                  <c:v>2</c:v>
                </c:pt>
                <c:pt idx="16744">
                  <c:v>3</c:v>
                </c:pt>
                <c:pt idx="16745">
                  <c:v>0</c:v>
                </c:pt>
                <c:pt idx="16746">
                  <c:v>0</c:v>
                </c:pt>
                <c:pt idx="16747">
                  <c:v>0</c:v>
                </c:pt>
                <c:pt idx="16748">
                  <c:v>0</c:v>
                </c:pt>
                <c:pt idx="16749">
                  <c:v>0</c:v>
                </c:pt>
                <c:pt idx="16750">
                  <c:v>0</c:v>
                </c:pt>
                <c:pt idx="16751">
                  <c:v>0</c:v>
                </c:pt>
                <c:pt idx="16752">
                  <c:v>0</c:v>
                </c:pt>
                <c:pt idx="16753">
                  <c:v>0</c:v>
                </c:pt>
                <c:pt idx="16754">
                  <c:v>0</c:v>
                </c:pt>
                <c:pt idx="16755">
                  <c:v>0</c:v>
                </c:pt>
                <c:pt idx="16756">
                  <c:v>0</c:v>
                </c:pt>
                <c:pt idx="16757">
                  <c:v>0</c:v>
                </c:pt>
                <c:pt idx="16758">
                  <c:v>0</c:v>
                </c:pt>
                <c:pt idx="16759">
                  <c:v>0</c:v>
                </c:pt>
                <c:pt idx="16760">
                  <c:v>0</c:v>
                </c:pt>
                <c:pt idx="16761">
                  <c:v>0</c:v>
                </c:pt>
                <c:pt idx="16762">
                  <c:v>0</c:v>
                </c:pt>
                <c:pt idx="16763">
                  <c:v>0</c:v>
                </c:pt>
                <c:pt idx="16764">
                  <c:v>0</c:v>
                </c:pt>
                <c:pt idx="16765">
                  <c:v>0</c:v>
                </c:pt>
                <c:pt idx="16766">
                  <c:v>0</c:v>
                </c:pt>
                <c:pt idx="16767">
                  <c:v>0</c:v>
                </c:pt>
                <c:pt idx="16768">
                  <c:v>0</c:v>
                </c:pt>
                <c:pt idx="16769">
                  <c:v>0</c:v>
                </c:pt>
                <c:pt idx="16770">
                  <c:v>0</c:v>
                </c:pt>
                <c:pt idx="16771">
                  <c:v>0</c:v>
                </c:pt>
                <c:pt idx="16772">
                  <c:v>0</c:v>
                </c:pt>
                <c:pt idx="16773">
                  <c:v>0</c:v>
                </c:pt>
                <c:pt idx="16774">
                  <c:v>0</c:v>
                </c:pt>
                <c:pt idx="16775">
                  <c:v>0</c:v>
                </c:pt>
                <c:pt idx="16776">
                  <c:v>0</c:v>
                </c:pt>
                <c:pt idx="16777">
                  <c:v>0</c:v>
                </c:pt>
                <c:pt idx="16778">
                  <c:v>0</c:v>
                </c:pt>
                <c:pt idx="16779">
                  <c:v>0</c:v>
                </c:pt>
                <c:pt idx="16780">
                  <c:v>0</c:v>
                </c:pt>
                <c:pt idx="16781">
                  <c:v>0</c:v>
                </c:pt>
                <c:pt idx="16782">
                  <c:v>0</c:v>
                </c:pt>
                <c:pt idx="16783">
                  <c:v>0</c:v>
                </c:pt>
                <c:pt idx="16784">
                  <c:v>0</c:v>
                </c:pt>
                <c:pt idx="16785">
                  <c:v>0</c:v>
                </c:pt>
                <c:pt idx="16786">
                  <c:v>0</c:v>
                </c:pt>
                <c:pt idx="16787">
                  <c:v>0</c:v>
                </c:pt>
                <c:pt idx="16788">
                  <c:v>0</c:v>
                </c:pt>
                <c:pt idx="16789">
                  <c:v>1</c:v>
                </c:pt>
                <c:pt idx="16790">
                  <c:v>0</c:v>
                </c:pt>
                <c:pt idx="16791">
                  <c:v>0</c:v>
                </c:pt>
                <c:pt idx="16792">
                  <c:v>0</c:v>
                </c:pt>
                <c:pt idx="16793">
                  <c:v>0</c:v>
                </c:pt>
                <c:pt idx="16794">
                  <c:v>0</c:v>
                </c:pt>
                <c:pt idx="16795">
                  <c:v>0</c:v>
                </c:pt>
                <c:pt idx="16796">
                  <c:v>0</c:v>
                </c:pt>
                <c:pt idx="16797">
                  <c:v>0</c:v>
                </c:pt>
                <c:pt idx="16798">
                  <c:v>0</c:v>
                </c:pt>
                <c:pt idx="16799">
                  <c:v>0</c:v>
                </c:pt>
                <c:pt idx="16800">
                  <c:v>0</c:v>
                </c:pt>
                <c:pt idx="16801">
                  <c:v>0</c:v>
                </c:pt>
                <c:pt idx="16802">
                  <c:v>0</c:v>
                </c:pt>
                <c:pt idx="16803">
                  <c:v>0</c:v>
                </c:pt>
                <c:pt idx="16804">
                  <c:v>0</c:v>
                </c:pt>
                <c:pt idx="16805">
                  <c:v>0</c:v>
                </c:pt>
                <c:pt idx="16806">
                  <c:v>0</c:v>
                </c:pt>
                <c:pt idx="16807">
                  <c:v>0</c:v>
                </c:pt>
                <c:pt idx="16808">
                  <c:v>0</c:v>
                </c:pt>
                <c:pt idx="16809">
                  <c:v>0</c:v>
                </c:pt>
                <c:pt idx="16810">
                  <c:v>0</c:v>
                </c:pt>
                <c:pt idx="16811">
                  <c:v>0</c:v>
                </c:pt>
                <c:pt idx="16812">
                  <c:v>0</c:v>
                </c:pt>
                <c:pt idx="16813">
                  <c:v>0</c:v>
                </c:pt>
                <c:pt idx="16814">
                  <c:v>0</c:v>
                </c:pt>
                <c:pt idx="16815">
                  <c:v>0</c:v>
                </c:pt>
                <c:pt idx="16816">
                  <c:v>0</c:v>
                </c:pt>
                <c:pt idx="16817">
                  <c:v>0</c:v>
                </c:pt>
                <c:pt idx="16818">
                  <c:v>0</c:v>
                </c:pt>
                <c:pt idx="16819">
                  <c:v>0</c:v>
                </c:pt>
                <c:pt idx="16820">
                  <c:v>0</c:v>
                </c:pt>
                <c:pt idx="16821">
                  <c:v>0</c:v>
                </c:pt>
                <c:pt idx="16822">
                  <c:v>0</c:v>
                </c:pt>
                <c:pt idx="16823">
                  <c:v>0</c:v>
                </c:pt>
                <c:pt idx="16824">
                  <c:v>0</c:v>
                </c:pt>
                <c:pt idx="16825">
                  <c:v>0</c:v>
                </c:pt>
                <c:pt idx="16826">
                  <c:v>0</c:v>
                </c:pt>
                <c:pt idx="16827">
                  <c:v>0</c:v>
                </c:pt>
                <c:pt idx="16828">
                  <c:v>0</c:v>
                </c:pt>
                <c:pt idx="16829">
                  <c:v>0</c:v>
                </c:pt>
                <c:pt idx="16830">
                  <c:v>0</c:v>
                </c:pt>
                <c:pt idx="16831">
                  <c:v>0</c:v>
                </c:pt>
                <c:pt idx="16832">
                  <c:v>0</c:v>
                </c:pt>
                <c:pt idx="16833">
                  <c:v>2</c:v>
                </c:pt>
                <c:pt idx="16834">
                  <c:v>1</c:v>
                </c:pt>
                <c:pt idx="16835">
                  <c:v>3</c:v>
                </c:pt>
                <c:pt idx="16836">
                  <c:v>4</c:v>
                </c:pt>
                <c:pt idx="16837">
                  <c:v>2</c:v>
                </c:pt>
                <c:pt idx="16838">
                  <c:v>0</c:v>
                </c:pt>
                <c:pt idx="16839">
                  <c:v>0</c:v>
                </c:pt>
                <c:pt idx="16840">
                  <c:v>0</c:v>
                </c:pt>
                <c:pt idx="16841">
                  <c:v>0</c:v>
                </c:pt>
                <c:pt idx="16842">
                  <c:v>0</c:v>
                </c:pt>
                <c:pt idx="16843">
                  <c:v>0</c:v>
                </c:pt>
                <c:pt idx="16844">
                  <c:v>0</c:v>
                </c:pt>
                <c:pt idx="16845">
                  <c:v>0</c:v>
                </c:pt>
                <c:pt idx="16846">
                  <c:v>0</c:v>
                </c:pt>
                <c:pt idx="16847">
                  <c:v>0</c:v>
                </c:pt>
                <c:pt idx="16848">
                  <c:v>0</c:v>
                </c:pt>
                <c:pt idx="16849">
                  <c:v>0</c:v>
                </c:pt>
                <c:pt idx="16850">
                  <c:v>0</c:v>
                </c:pt>
                <c:pt idx="16851">
                  <c:v>0</c:v>
                </c:pt>
                <c:pt idx="16852">
                  <c:v>0</c:v>
                </c:pt>
                <c:pt idx="16853">
                  <c:v>0</c:v>
                </c:pt>
                <c:pt idx="16854">
                  <c:v>0</c:v>
                </c:pt>
                <c:pt idx="16855">
                  <c:v>0</c:v>
                </c:pt>
                <c:pt idx="16856">
                  <c:v>0</c:v>
                </c:pt>
                <c:pt idx="16857">
                  <c:v>0</c:v>
                </c:pt>
                <c:pt idx="16858">
                  <c:v>0</c:v>
                </c:pt>
                <c:pt idx="16859">
                  <c:v>0</c:v>
                </c:pt>
                <c:pt idx="16860">
                  <c:v>0</c:v>
                </c:pt>
                <c:pt idx="16861">
                  <c:v>0</c:v>
                </c:pt>
                <c:pt idx="16862">
                  <c:v>0</c:v>
                </c:pt>
                <c:pt idx="16863">
                  <c:v>0</c:v>
                </c:pt>
                <c:pt idx="16864">
                  <c:v>0</c:v>
                </c:pt>
                <c:pt idx="16865">
                  <c:v>0</c:v>
                </c:pt>
                <c:pt idx="16866">
                  <c:v>0</c:v>
                </c:pt>
                <c:pt idx="16867">
                  <c:v>0</c:v>
                </c:pt>
                <c:pt idx="16868">
                  <c:v>0</c:v>
                </c:pt>
                <c:pt idx="16869">
                  <c:v>0</c:v>
                </c:pt>
                <c:pt idx="16870">
                  <c:v>0</c:v>
                </c:pt>
                <c:pt idx="16871">
                  <c:v>0</c:v>
                </c:pt>
                <c:pt idx="16872">
                  <c:v>0</c:v>
                </c:pt>
                <c:pt idx="16873">
                  <c:v>0</c:v>
                </c:pt>
                <c:pt idx="16874">
                  <c:v>0</c:v>
                </c:pt>
                <c:pt idx="16875">
                  <c:v>0</c:v>
                </c:pt>
                <c:pt idx="16876">
                  <c:v>0</c:v>
                </c:pt>
                <c:pt idx="16877">
                  <c:v>0</c:v>
                </c:pt>
                <c:pt idx="16878">
                  <c:v>0</c:v>
                </c:pt>
                <c:pt idx="16879">
                  <c:v>0</c:v>
                </c:pt>
                <c:pt idx="16880">
                  <c:v>0</c:v>
                </c:pt>
                <c:pt idx="16881">
                  <c:v>0</c:v>
                </c:pt>
                <c:pt idx="16882">
                  <c:v>0</c:v>
                </c:pt>
                <c:pt idx="16883">
                  <c:v>0</c:v>
                </c:pt>
                <c:pt idx="16884">
                  <c:v>0</c:v>
                </c:pt>
                <c:pt idx="16885">
                  <c:v>0</c:v>
                </c:pt>
                <c:pt idx="16886">
                  <c:v>0</c:v>
                </c:pt>
                <c:pt idx="16887">
                  <c:v>0</c:v>
                </c:pt>
                <c:pt idx="16888">
                  <c:v>0</c:v>
                </c:pt>
                <c:pt idx="16889">
                  <c:v>0</c:v>
                </c:pt>
                <c:pt idx="16890">
                  <c:v>0</c:v>
                </c:pt>
                <c:pt idx="16891">
                  <c:v>0</c:v>
                </c:pt>
                <c:pt idx="16892">
                  <c:v>0</c:v>
                </c:pt>
                <c:pt idx="16893">
                  <c:v>0</c:v>
                </c:pt>
                <c:pt idx="16894">
                  <c:v>0</c:v>
                </c:pt>
                <c:pt idx="16895">
                  <c:v>0</c:v>
                </c:pt>
                <c:pt idx="16896">
                  <c:v>0</c:v>
                </c:pt>
                <c:pt idx="16897">
                  <c:v>0</c:v>
                </c:pt>
                <c:pt idx="16898">
                  <c:v>0</c:v>
                </c:pt>
                <c:pt idx="16899">
                  <c:v>0</c:v>
                </c:pt>
                <c:pt idx="16900">
                  <c:v>1</c:v>
                </c:pt>
                <c:pt idx="16901">
                  <c:v>0</c:v>
                </c:pt>
                <c:pt idx="16902">
                  <c:v>0</c:v>
                </c:pt>
                <c:pt idx="16903">
                  <c:v>0</c:v>
                </c:pt>
                <c:pt idx="16904">
                  <c:v>3</c:v>
                </c:pt>
                <c:pt idx="16905">
                  <c:v>0</c:v>
                </c:pt>
                <c:pt idx="16906">
                  <c:v>0</c:v>
                </c:pt>
                <c:pt idx="16907">
                  <c:v>0</c:v>
                </c:pt>
                <c:pt idx="16908">
                  <c:v>0</c:v>
                </c:pt>
                <c:pt idx="16909">
                  <c:v>0</c:v>
                </c:pt>
                <c:pt idx="16910">
                  <c:v>0</c:v>
                </c:pt>
                <c:pt idx="16911">
                  <c:v>0</c:v>
                </c:pt>
                <c:pt idx="16912">
                  <c:v>0</c:v>
                </c:pt>
                <c:pt idx="16913">
                  <c:v>0</c:v>
                </c:pt>
                <c:pt idx="16914">
                  <c:v>0</c:v>
                </c:pt>
                <c:pt idx="16915">
                  <c:v>0</c:v>
                </c:pt>
                <c:pt idx="16916">
                  <c:v>0</c:v>
                </c:pt>
                <c:pt idx="16917">
                  <c:v>0</c:v>
                </c:pt>
                <c:pt idx="16918">
                  <c:v>0</c:v>
                </c:pt>
                <c:pt idx="16919">
                  <c:v>0</c:v>
                </c:pt>
                <c:pt idx="16920">
                  <c:v>0</c:v>
                </c:pt>
                <c:pt idx="16921">
                  <c:v>0</c:v>
                </c:pt>
                <c:pt idx="16922">
                  <c:v>0</c:v>
                </c:pt>
                <c:pt idx="16923">
                  <c:v>0</c:v>
                </c:pt>
                <c:pt idx="16924">
                  <c:v>0</c:v>
                </c:pt>
                <c:pt idx="16925">
                  <c:v>0</c:v>
                </c:pt>
                <c:pt idx="16926">
                  <c:v>0</c:v>
                </c:pt>
                <c:pt idx="16927">
                  <c:v>0</c:v>
                </c:pt>
                <c:pt idx="16928">
                  <c:v>0</c:v>
                </c:pt>
                <c:pt idx="16929">
                  <c:v>0</c:v>
                </c:pt>
                <c:pt idx="16930">
                  <c:v>0</c:v>
                </c:pt>
                <c:pt idx="16931">
                  <c:v>0</c:v>
                </c:pt>
                <c:pt idx="16932">
                  <c:v>0</c:v>
                </c:pt>
                <c:pt idx="16933">
                  <c:v>0</c:v>
                </c:pt>
                <c:pt idx="16934">
                  <c:v>0</c:v>
                </c:pt>
                <c:pt idx="16935">
                  <c:v>0</c:v>
                </c:pt>
                <c:pt idx="16936">
                  <c:v>0</c:v>
                </c:pt>
                <c:pt idx="16937">
                  <c:v>0</c:v>
                </c:pt>
                <c:pt idx="16938">
                  <c:v>0</c:v>
                </c:pt>
                <c:pt idx="16939">
                  <c:v>0</c:v>
                </c:pt>
                <c:pt idx="16940">
                  <c:v>0</c:v>
                </c:pt>
                <c:pt idx="16941">
                  <c:v>0</c:v>
                </c:pt>
                <c:pt idx="16942">
                  <c:v>0</c:v>
                </c:pt>
                <c:pt idx="16943">
                  <c:v>0</c:v>
                </c:pt>
                <c:pt idx="16944">
                  <c:v>0</c:v>
                </c:pt>
                <c:pt idx="16945">
                  <c:v>0</c:v>
                </c:pt>
                <c:pt idx="16946">
                  <c:v>0</c:v>
                </c:pt>
                <c:pt idx="16947">
                  <c:v>0</c:v>
                </c:pt>
                <c:pt idx="16948">
                  <c:v>0</c:v>
                </c:pt>
                <c:pt idx="16949">
                  <c:v>0</c:v>
                </c:pt>
                <c:pt idx="16950">
                  <c:v>0</c:v>
                </c:pt>
                <c:pt idx="16951">
                  <c:v>0</c:v>
                </c:pt>
                <c:pt idx="16952">
                  <c:v>0</c:v>
                </c:pt>
                <c:pt idx="16953">
                  <c:v>0</c:v>
                </c:pt>
                <c:pt idx="16954">
                  <c:v>0</c:v>
                </c:pt>
                <c:pt idx="16955">
                  <c:v>0</c:v>
                </c:pt>
                <c:pt idx="16956">
                  <c:v>0</c:v>
                </c:pt>
                <c:pt idx="16957">
                  <c:v>0</c:v>
                </c:pt>
                <c:pt idx="16958">
                  <c:v>0</c:v>
                </c:pt>
                <c:pt idx="16959">
                  <c:v>0</c:v>
                </c:pt>
                <c:pt idx="16960">
                  <c:v>0</c:v>
                </c:pt>
                <c:pt idx="16961">
                  <c:v>1</c:v>
                </c:pt>
                <c:pt idx="16962">
                  <c:v>0</c:v>
                </c:pt>
                <c:pt idx="16963">
                  <c:v>0</c:v>
                </c:pt>
                <c:pt idx="16964">
                  <c:v>0</c:v>
                </c:pt>
                <c:pt idx="16965">
                  <c:v>0</c:v>
                </c:pt>
                <c:pt idx="16966">
                  <c:v>0</c:v>
                </c:pt>
                <c:pt idx="16967">
                  <c:v>0</c:v>
                </c:pt>
                <c:pt idx="16968">
                  <c:v>0</c:v>
                </c:pt>
                <c:pt idx="16969">
                  <c:v>0</c:v>
                </c:pt>
                <c:pt idx="16970">
                  <c:v>0</c:v>
                </c:pt>
                <c:pt idx="16971">
                  <c:v>0</c:v>
                </c:pt>
                <c:pt idx="16972">
                  <c:v>0</c:v>
                </c:pt>
                <c:pt idx="16973">
                  <c:v>0</c:v>
                </c:pt>
                <c:pt idx="16974">
                  <c:v>0</c:v>
                </c:pt>
                <c:pt idx="16975">
                  <c:v>0</c:v>
                </c:pt>
                <c:pt idx="16976">
                  <c:v>0</c:v>
                </c:pt>
                <c:pt idx="16977">
                  <c:v>0</c:v>
                </c:pt>
                <c:pt idx="16978">
                  <c:v>0</c:v>
                </c:pt>
                <c:pt idx="16979">
                  <c:v>0</c:v>
                </c:pt>
                <c:pt idx="16980">
                  <c:v>0</c:v>
                </c:pt>
                <c:pt idx="16981">
                  <c:v>0</c:v>
                </c:pt>
                <c:pt idx="16982">
                  <c:v>0</c:v>
                </c:pt>
                <c:pt idx="16983">
                  <c:v>0</c:v>
                </c:pt>
                <c:pt idx="16984">
                  <c:v>0</c:v>
                </c:pt>
                <c:pt idx="16985">
                  <c:v>0</c:v>
                </c:pt>
                <c:pt idx="16986">
                  <c:v>0</c:v>
                </c:pt>
                <c:pt idx="16987">
                  <c:v>0</c:v>
                </c:pt>
                <c:pt idx="16988">
                  <c:v>0</c:v>
                </c:pt>
                <c:pt idx="16989">
                  <c:v>0</c:v>
                </c:pt>
                <c:pt idx="16990">
                  <c:v>0</c:v>
                </c:pt>
                <c:pt idx="16991">
                  <c:v>0</c:v>
                </c:pt>
                <c:pt idx="16992">
                  <c:v>0</c:v>
                </c:pt>
                <c:pt idx="16993">
                  <c:v>0</c:v>
                </c:pt>
                <c:pt idx="16994">
                  <c:v>0</c:v>
                </c:pt>
                <c:pt idx="16995">
                  <c:v>0</c:v>
                </c:pt>
                <c:pt idx="16996">
                  <c:v>0</c:v>
                </c:pt>
                <c:pt idx="16997">
                  <c:v>0</c:v>
                </c:pt>
                <c:pt idx="16998">
                  <c:v>0</c:v>
                </c:pt>
                <c:pt idx="16999">
                  <c:v>0</c:v>
                </c:pt>
                <c:pt idx="17000">
                  <c:v>0</c:v>
                </c:pt>
                <c:pt idx="17001">
                  <c:v>0</c:v>
                </c:pt>
                <c:pt idx="17002">
                  <c:v>0</c:v>
                </c:pt>
                <c:pt idx="17003">
                  <c:v>0</c:v>
                </c:pt>
                <c:pt idx="17004">
                  <c:v>0</c:v>
                </c:pt>
                <c:pt idx="17005">
                  <c:v>0</c:v>
                </c:pt>
                <c:pt idx="17006">
                  <c:v>0</c:v>
                </c:pt>
                <c:pt idx="17007">
                  <c:v>0</c:v>
                </c:pt>
                <c:pt idx="17008">
                  <c:v>0</c:v>
                </c:pt>
                <c:pt idx="17009">
                  <c:v>0</c:v>
                </c:pt>
                <c:pt idx="17010">
                  <c:v>0</c:v>
                </c:pt>
                <c:pt idx="17011">
                  <c:v>0</c:v>
                </c:pt>
                <c:pt idx="17012">
                  <c:v>0</c:v>
                </c:pt>
                <c:pt idx="17013">
                  <c:v>0</c:v>
                </c:pt>
                <c:pt idx="17014">
                  <c:v>0</c:v>
                </c:pt>
                <c:pt idx="17015">
                  <c:v>0</c:v>
                </c:pt>
                <c:pt idx="17016">
                  <c:v>0</c:v>
                </c:pt>
                <c:pt idx="17017">
                  <c:v>0</c:v>
                </c:pt>
                <c:pt idx="17018">
                  <c:v>0</c:v>
                </c:pt>
                <c:pt idx="17019">
                  <c:v>0</c:v>
                </c:pt>
                <c:pt idx="17020">
                  <c:v>0</c:v>
                </c:pt>
                <c:pt idx="17021">
                  <c:v>0</c:v>
                </c:pt>
                <c:pt idx="17022">
                  <c:v>0</c:v>
                </c:pt>
                <c:pt idx="17023">
                  <c:v>0</c:v>
                </c:pt>
                <c:pt idx="17024">
                  <c:v>0</c:v>
                </c:pt>
                <c:pt idx="17025">
                  <c:v>0</c:v>
                </c:pt>
                <c:pt idx="17026">
                  <c:v>0</c:v>
                </c:pt>
                <c:pt idx="17027">
                  <c:v>0</c:v>
                </c:pt>
                <c:pt idx="17028">
                  <c:v>0</c:v>
                </c:pt>
                <c:pt idx="17029">
                  <c:v>0</c:v>
                </c:pt>
                <c:pt idx="17030">
                  <c:v>0</c:v>
                </c:pt>
                <c:pt idx="17031">
                  <c:v>0</c:v>
                </c:pt>
                <c:pt idx="17032">
                  <c:v>0</c:v>
                </c:pt>
                <c:pt idx="17033">
                  <c:v>0</c:v>
                </c:pt>
                <c:pt idx="17034">
                  <c:v>0</c:v>
                </c:pt>
                <c:pt idx="17035">
                  <c:v>0</c:v>
                </c:pt>
                <c:pt idx="17036">
                  <c:v>1</c:v>
                </c:pt>
                <c:pt idx="17037">
                  <c:v>2</c:v>
                </c:pt>
                <c:pt idx="17038">
                  <c:v>0</c:v>
                </c:pt>
                <c:pt idx="17039">
                  <c:v>0</c:v>
                </c:pt>
                <c:pt idx="17040">
                  <c:v>0</c:v>
                </c:pt>
                <c:pt idx="17041">
                  <c:v>0</c:v>
                </c:pt>
                <c:pt idx="17042">
                  <c:v>0</c:v>
                </c:pt>
                <c:pt idx="17043">
                  <c:v>0</c:v>
                </c:pt>
                <c:pt idx="17044">
                  <c:v>0</c:v>
                </c:pt>
                <c:pt idx="17045">
                  <c:v>0</c:v>
                </c:pt>
                <c:pt idx="17046">
                  <c:v>0</c:v>
                </c:pt>
                <c:pt idx="17047">
                  <c:v>0</c:v>
                </c:pt>
                <c:pt idx="17048">
                  <c:v>0</c:v>
                </c:pt>
                <c:pt idx="17049">
                  <c:v>0</c:v>
                </c:pt>
                <c:pt idx="17050">
                  <c:v>0</c:v>
                </c:pt>
                <c:pt idx="17051">
                  <c:v>0</c:v>
                </c:pt>
                <c:pt idx="17052">
                  <c:v>0</c:v>
                </c:pt>
                <c:pt idx="17053">
                  <c:v>0</c:v>
                </c:pt>
                <c:pt idx="17054">
                  <c:v>0</c:v>
                </c:pt>
                <c:pt idx="17055">
                  <c:v>0</c:v>
                </c:pt>
                <c:pt idx="17056">
                  <c:v>0</c:v>
                </c:pt>
                <c:pt idx="17057">
                  <c:v>0</c:v>
                </c:pt>
                <c:pt idx="17058">
                  <c:v>0</c:v>
                </c:pt>
                <c:pt idx="17059">
                  <c:v>0</c:v>
                </c:pt>
                <c:pt idx="17060">
                  <c:v>0</c:v>
                </c:pt>
                <c:pt idx="17061">
                  <c:v>0</c:v>
                </c:pt>
                <c:pt idx="17062">
                  <c:v>0</c:v>
                </c:pt>
                <c:pt idx="17063">
                  <c:v>0</c:v>
                </c:pt>
                <c:pt idx="17064">
                  <c:v>0</c:v>
                </c:pt>
                <c:pt idx="17065">
                  <c:v>0</c:v>
                </c:pt>
                <c:pt idx="17066">
                  <c:v>0</c:v>
                </c:pt>
                <c:pt idx="17067">
                  <c:v>0</c:v>
                </c:pt>
                <c:pt idx="17068">
                  <c:v>0</c:v>
                </c:pt>
                <c:pt idx="17069">
                  <c:v>0</c:v>
                </c:pt>
                <c:pt idx="17070">
                  <c:v>0</c:v>
                </c:pt>
                <c:pt idx="17071">
                  <c:v>0</c:v>
                </c:pt>
                <c:pt idx="17072">
                  <c:v>0</c:v>
                </c:pt>
                <c:pt idx="17073">
                  <c:v>0</c:v>
                </c:pt>
                <c:pt idx="17074">
                  <c:v>0</c:v>
                </c:pt>
                <c:pt idx="17075">
                  <c:v>0</c:v>
                </c:pt>
                <c:pt idx="17076">
                  <c:v>0</c:v>
                </c:pt>
                <c:pt idx="17077">
                  <c:v>0</c:v>
                </c:pt>
                <c:pt idx="17078">
                  <c:v>1</c:v>
                </c:pt>
                <c:pt idx="17079">
                  <c:v>0</c:v>
                </c:pt>
                <c:pt idx="17080">
                  <c:v>0</c:v>
                </c:pt>
                <c:pt idx="17081">
                  <c:v>0</c:v>
                </c:pt>
                <c:pt idx="17082">
                  <c:v>0</c:v>
                </c:pt>
                <c:pt idx="17083">
                  <c:v>0</c:v>
                </c:pt>
                <c:pt idx="17084">
                  <c:v>0</c:v>
                </c:pt>
                <c:pt idx="17085">
                  <c:v>0</c:v>
                </c:pt>
                <c:pt idx="17086">
                  <c:v>0</c:v>
                </c:pt>
                <c:pt idx="17087">
                  <c:v>0</c:v>
                </c:pt>
                <c:pt idx="17088">
                  <c:v>0</c:v>
                </c:pt>
                <c:pt idx="17089">
                  <c:v>0</c:v>
                </c:pt>
                <c:pt idx="17090">
                  <c:v>0</c:v>
                </c:pt>
                <c:pt idx="17091">
                  <c:v>0</c:v>
                </c:pt>
                <c:pt idx="17092">
                  <c:v>0</c:v>
                </c:pt>
                <c:pt idx="17093">
                  <c:v>0</c:v>
                </c:pt>
                <c:pt idx="17094">
                  <c:v>0</c:v>
                </c:pt>
                <c:pt idx="17095">
                  <c:v>0</c:v>
                </c:pt>
                <c:pt idx="17096">
                  <c:v>0</c:v>
                </c:pt>
                <c:pt idx="17097">
                  <c:v>0</c:v>
                </c:pt>
                <c:pt idx="17098">
                  <c:v>0</c:v>
                </c:pt>
                <c:pt idx="17099">
                  <c:v>0</c:v>
                </c:pt>
                <c:pt idx="17100">
                  <c:v>0</c:v>
                </c:pt>
                <c:pt idx="17101">
                  <c:v>0</c:v>
                </c:pt>
                <c:pt idx="17102">
                  <c:v>0</c:v>
                </c:pt>
                <c:pt idx="17103">
                  <c:v>0</c:v>
                </c:pt>
                <c:pt idx="17104">
                  <c:v>0</c:v>
                </c:pt>
                <c:pt idx="17105">
                  <c:v>0</c:v>
                </c:pt>
                <c:pt idx="17106">
                  <c:v>0</c:v>
                </c:pt>
                <c:pt idx="17107">
                  <c:v>0</c:v>
                </c:pt>
                <c:pt idx="17108">
                  <c:v>2</c:v>
                </c:pt>
                <c:pt idx="17109">
                  <c:v>4</c:v>
                </c:pt>
                <c:pt idx="17110">
                  <c:v>0</c:v>
                </c:pt>
                <c:pt idx="17111">
                  <c:v>0</c:v>
                </c:pt>
                <c:pt idx="17112">
                  <c:v>2</c:v>
                </c:pt>
                <c:pt idx="17113">
                  <c:v>0</c:v>
                </c:pt>
                <c:pt idx="17114">
                  <c:v>0</c:v>
                </c:pt>
                <c:pt idx="17115">
                  <c:v>0</c:v>
                </c:pt>
                <c:pt idx="17116">
                  <c:v>0</c:v>
                </c:pt>
                <c:pt idx="17117">
                  <c:v>0</c:v>
                </c:pt>
                <c:pt idx="17118">
                  <c:v>0</c:v>
                </c:pt>
                <c:pt idx="17119">
                  <c:v>0</c:v>
                </c:pt>
                <c:pt idx="17120">
                  <c:v>0</c:v>
                </c:pt>
                <c:pt idx="17121">
                  <c:v>0</c:v>
                </c:pt>
                <c:pt idx="17122">
                  <c:v>0</c:v>
                </c:pt>
                <c:pt idx="17123">
                  <c:v>0</c:v>
                </c:pt>
                <c:pt idx="17124">
                  <c:v>0</c:v>
                </c:pt>
                <c:pt idx="17125">
                  <c:v>0</c:v>
                </c:pt>
                <c:pt idx="17126">
                  <c:v>0</c:v>
                </c:pt>
                <c:pt idx="17127">
                  <c:v>0</c:v>
                </c:pt>
                <c:pt idx="17128">
                  <c:v>0</c:v>
                </c:pt>
                <c:pt idx="17129">
                  <c:v>0</c:v>
                </c:pt>
                <c:pt idx="17130">
                  <c:v>0</c:v>
                </c:pt>
                <c:pt idx="17131">
                  <c:v>0</c:v>
                </c:pt>
                <c:pt idx="17132">
                  <c:v>0</c:v>
                </c:pt>
                <c:pt idx="17133">
                  <c:v>0</c:v>
                </c:pt>
                <c:pt idx="17134">
                  <c:v>0</c:v>
                </c:pt>
                <c:pt idx="17135">
                  <c:v>0</c:v>
                </c:pt>
                <c:pt idx="17136">
                  <c:v>0</c:v>
                </c:pt>
                <c:pt idx="17137">
                  <c:v>0</c:v>
                </c:pt>
                <c:pt idx="17138">
                  <c:v>0</c:v>
                </c:pt>
                <c:pt idx="17139">
                  <c:v>0</c:v>
                </c:pt>
                <c:pt idx="17140">
                  <c:v>0</c:v>
                </c:pt>
                <c:pt idx="17141">
                  <c:v>0</c:v>
                </c:pt>
                <c:pt idx="17142">
                  <c:v>0</c:v>
                </c:pt>
                <c:pt idx="17143">
                  <c:v>0</c:v>
                </c:pt>
                <c:pt idx="17144">
                  <c:v>0</c:v>
                </c:pt>
                <c:pt idx="17145">
                  <c:v>0</c:v>
                </c:pt>
                <c:pt idx="17146">
                  <c:v>0</c:v>
                </c:pt>
                <c:pt idx="17147">
                  <c:v>0</c:v>
                </c:pt>
                <c:pt idx="17148">
                  <c:v>0</c:v>
                </c:pt>
                <c:pt idx="17149">
                  <c:v>0</c:v>
                </c:pt>
                <c:pt idx="17150">
                  <c:v>0</c:v>
                </c:pt>
                <c:pt idx="17151">
                  <c:v>0</c:v>
                </c:pt>
                <c:pt idx="17152">
                  <c:v>0</c:v>
                </c:pt>
                <c:pt idx="17153">
                  <c:v>0</c:v>
                </c:pt>
                <c:pt idx="17154">
                  <c:v>0</c:v>
                </c:pt>
                <c:pt idx="17155">
                  <c:v>0</c:v>
                </c:pt>
                <c:pt idx="17156">
                  <c:v>0</c:v>
                </c:pt>
                <c:pt idx="17157">
                  <c:v>0</c:v>
                </c:pt>
                <c:pt idx="17158">
                  <c:v>0</c:v>
                </c:pt>
                <c:pt idx="17159">
                  <c:v>0</c:v>
                </c:pt>
                <c:pt idx="17160">
                  <c:v>0</c:v>
                </c:pt>
                <c:pt idx="17161">
                  <c:v>0</c:v>
                </c:pt>
                <c:pt idx="17162">
                  <c:v>0</c:v>
                </c:pt>
                <c:pt idx="17163">
                  <c:v>0</c:v>
                </c:pt>
                <c:pt idx="17164">
                  <c:v>0</c:v>
                </c:pt>
                <c:pt idx="17165">
                  <c:v>0</c:v>
                </c:pt>
                <c:pt idx="17166">
                  <c:v>0</c:v>
                </c:pt>
                <c:pt idx="17167">
                  <c:v>0</c:v>
                </c:pt>
                <c:pt idx="17168">
                  <c:v>0</c:v>
                </c:pt>
                <c:pt idx="17169">
                  <c:v>0</c:v>
                </c:pt>
                <c:pt idx="17170">
                  <c:v>0</c:v>
                </c:pt>
                <c:pt idx="17171">
                  <c:v>0</c:v>
                </c:pt>
                <c:pt idx="17172">
                  <c:v>0</c:v>
                </c:pt>
                <c:pt idx="17173">
                  <c:v>0</c:v>
                </c:pt>
                <c:pt idx="17174">
                  <c:v>0</c:v>
                </c:pt>
                <c:pt idx="17175">
                  <c:v>2</c:v>
                </c:pt>
                <c:pt idx="17176">
                  <c:v>0</c:v>
                </c:pt>
                <c:pt idx="17177">
                  <c:v>3</c:v>
                </c:pt>
                <c:pt idx="17178">
                  <c:v>0</c:v>
                </c:pt>
                <c:pt idx="17179">
                  <c:v>0</c:v>
                </c:pt>
                <c:pt idx="17180">
                  <c:v>0</c:v>
                </c:pt>
                <c:pt idx="17181">
                  <c:v>0</c:v>
                </c:pt>
                <c:pt idx="17182">
                  <c:v>0</c:v>
                </c:pt>
                <c:pt idx="17183">
                  <c:v>0</c:v>
                </c:pt>
                <c:pt idx="17184">
                  <c:v>0</c:v>
                </c:pt>
                <c:pt idx="17185">
                  <c:v>0</c:v>
                </c:pt>
                <c:pt idx="17186">
                  <c:v>0</c:v>
                </c:pt>
                <c:pt idx="17187">
                  <c:v>0</c:v>
                </c:pt>
                <c:pt idx="17188">
                  <c:v>0</c:v>
                </c:pt>
                <c:pt idx="17189">
                  <c:v>0</c:v>
                </c:pt>
                <c:pt idx="17190">
                  <c:v>0</c:v>
                </c:pt>
                <c:pt idx="17191">
                  <c:v>0</c:v>
                </c:pt>
                <c:pt idx="17192">
                  <c:v>0</c:v>
                </c:pt>
                <c:pt idx="17193">
                  <c:v>0</c:v>
                </c:pt>
                <c:pt idx="17194">
                  <c:v>0</c:v>
                </c:pt>
                <c:pt idx="17195">
                  <c:v>0</c:v>
                </c:pt>
                <c:pt idx="17196">
                  <c:v>0</c:v>
                </c:pt>
                <c:pt idx="17197">
                  <c:v>0</c:v>
                </c:pt>
                <c:pt idx="17198">
                  <c:v>0</c:v>
                </c:pt>
                <c:pt idx="17199">
                  <c:v>0</c:v>
                </c:pt>
                <c:pt idx="17200">
                  <c:v>0</c:v>
                </c:pt>
                <c:pt idx="17201">
                  <c:v>0</c:v>
                </c:pt>
                <c:pt idx="17202">
                  <c:v>0</c:v>
                </c:pt>
                <c:pt idx="17203">
                  <c:v>0</c:v>
                </c:pt>
                <c:pt idx="17204">
                  <c:v>0</c:v>
                </c:pt>
                <c:pt idx="17205">
                  <c:v>0</c:v>
                </c:pt>
                <c:pt idx="17206">
                  <c:v>0</c:v>
                </c:pt>
                <c:pt idx="17207">
                  <c:v>0</c:v>
                </c:pt>
                <c:pt idx="17208">
                  <c:v>0</c:v>
                </c:pt>
                <c:pt idx="17209">
                  <c:v>0</c:v>
                </c:pt>
                <c:pt idx="17210">
                  <c:v>0</c:v>
                </c:pt>
                <c:pt idx="17211">
                  <c:v>0</c:v>
                </c:pt>
                <c:pt idx="17212">
                  <c:v>0</c:v>
                </c:pt>
                <c:pt idx="17213">
                  <c:v>0</c:v>
                </c:pt>
                <c:pt idx="17214">
                  <c:v>0</c:v>
                </c:pt>
                <c:pt idx="17215">
                  <c:v>0</c:v>
                </c:pt>
                <c:pt idx="17216">
                  <c:v>0</c:v>
                </c:pt>
                <c:pt idx="17217">
                  <c:v>0</c:v>
                </c:pt>
                <c:pt idx="17218">
                  <c:v>0</c:v>
                </c:pt>
                <c:pt idx="17219">
                  <c:v>0</c:v>
                </c:pt>
                <c:pt idx="17220">
                  <c:v>0</c:v>
                </c:pt>
                <c:pt idx="17221">
                  <c:v>0</c:v>
                </c:pt>
                <c:pt idx="17222">
                  <c:v>0</c:v>
                </c:pt>
                <c:pt idx="17223">
                  <c:v>0</c:v>
                </c:pt>
                <c:pt idx="17224">
                  <c:v>0</c:v>
                </c:pt>
                <c:pt idx="17225">
                  <c:v>0</c:v>
                </c:pt>
                <c:pt idx="17226">
                  <c:v>0</c:v>
                </c:pt>
                <c:pt idx="17227">
                  <c:v>0</c:v>
                </c:pt>
                <c:pt idx="17228">
                  <c:v>0</c:v>
                </c:pt>
                <c:pt idx="17229">
                  <c:v>0</c:v>
                </c:pt>
                <c:pt idx="17230">
                  <c:v>0</c:v>
                </c:pt>
                <c:pt idx="17231">
                  <c:v>0</c:v>
                </c:pt>
                <c:pt idx="17232">
                  <c:v>0</c:v>
                </c:pt>
                <c:pt idx="17233">
                  <c:v>0</c:v>
                </c:pt>
                <c:pt idx="17234">
                  <c:v>0</c:v>
                </c:pt>
                <c:pt idx="17235">
                  <c:v>0</c:v>
                </c:pt>
                <c:pt idx="17236">
                  <c:v>0</c:v>
                </c:pt>
                <c:pt idx="17237">
                  <c:v>0</c:v>
                </c:pt>
                <c:pt idx="17238">
                  <c:v>0</c:v>
                </c:pt>
                <c:pt idx="17239">
                  <c:v>0</c:v>
                </c:pt>
                <c:pt idx="17240">
                  <c:v>0</c:v>
                </c:pt>
                <c:pt idx="17241">
                  <c:v>0</c:v>
                </c:pt>
                <c:pt idx="17242">
                  <c:v>0</c:v>
                </c:pt>
                <c:pt idx="17243">
                  <c:v>0</c:v>
                </c:pt>
                <c:pt idx="17244">
                  <c:v>0</c:v>
                </c:pt>
                <c:pt idx="17245">
                  <c:v>0</c:v>
                </c:pt>
                <c:pt idx="17246">
                  <c:v>0</c:v>
                </c:pt>
                <c:pt idx="17247">
                  <c:v>0</c:v>
                </c:pt>
                <c:pt idx="17248">
                  <c:v>0</c:v>
                </c:pt>
                <c:pt idx="17249">
                  <c:v>0</c:v>
                </c:pt>
                <c:pt idx="17250">
                  <c:v>0</c:v>
                </c:pt>
                <c:pt idx="17251">
                  <c:v>0</c:v>
                </c:pt>
                <c:pt idx="17252">
                  <c:v>0</c:v>
                </c:pt>
                <c:pt idx="17253">
                  <c:v>0</c:v>
                </c:pt>
                <c:pt idx="17254">
                  <c:v>0</c:v>
                </c:pt>
                <c:pt idx="17255">
                  <c:v>0</c:v>
                </c:pt>
                <c:pt idx="17256">
                  <c:v>2</c:v>
                </c:pt>
                <c:pt idx="17257">
                  <c:v>0</c:v>
                </c:pt>
                <c:pt idx="17258">
                  <c:v>0</c:v>
                </c:pt>
                <c:pt idx="17259">
                  <c:v>0</c:v>
                </c:pt>
                <c:pt idx="17260">
                  <c:v>0</c:v>
                </c:pt>
                <c:pt idx="17261">
                  <c:v>0</c:v>
                </c:pt>
                <c:pt idx="17262">
                  <c:v>0</c:v>
                </c:pt>
                <c:pt idx="17263">
                  <c:v>0</c:v>
                </c:pt>
                <c:pt idx="17264">
                  <c:v>0</c:v>
                </c:pt>
                <c:pt idx="17265">
                  <c:v>0</c:v>
                </c:pt>
                <c:pt idx="17266">
                  <c:v>0</c:v>
                </c:pt>
                <c:pt idx="17267">
                  <c:v>0</c:v>
                </c:pt>
                <c:pt idx="17268">
                  <c:v>0</c:v>
                </c:pt>
                <c:pt idx="17269">
                  <c:v>0</c:v>
                </c:pt>
                <c:pt idx="17270">
                  <c:v>0</c:v>
                </c:pt>
                <c:pt idx="17271">
                  <c:v>0</c:v>
                </c:pt>
                <c:pt idx="17272">
                  <c:v>0</c:v>
                </c:pt>
                <c:pt idx="17273">
                  <c:v>0</c:v>
                </c:pt>
                <c:pt idx="17274">
                  <c:v>0</c:v>
                </c:pt>
                <c:pt idx="17275">
                  <c:v>0</c:v>
                </c:pt>
                <c:pt idx="17276">
                  <c:v>0</c:v>
                </c:pt>
                <c:pt idx="17277">
                  <c:v>0</c:v>
                </c:pt>
                <c:pt idx="17278">
                  <c:v>0</c:v>
                </c:pt>
                <c:pt idx="17279">
                  <c:v>0</c:v>
                </c:pt>
                <c:pt idx="17280">
                  <c:v>0</c:v>
                </c:pt>
                <c:pt idx="17281">
                  <c:v>0</c:v>
                </c:pt>
                <c:pt idx="17282">
                  <c:v>0</c:v>
                </c:pt>
                <c:pt idx="17283">
                  <c:v>2</c:v>
                </c:pt>
                <c:pt idx="17284">
                  <c:v>0</c:v>
                </c:pt>
                <c:pt idx="17285">
                  <c:v>0</c:v>
                </c:pt>
                <c:pt idx="17286">
                  <c:v>0</c:v>
                </c:pt>
                <c:pt idx="17287">
                  <c:v>0</c:v>
                </c:pt>
                <c:pt idx="17288">
                  <c:v>0</c:v>
                </c:pt>
                <c:pt idx="17289">
                  <c:v>0</c:v>
                </c:pt>
                <c:pt idx="17290">
                  <c:v>0</c:v>
                </c:pt>
                <c:pt idx="17291">
                  <c:v>0</c:v>
                </c:pt>
                <c:pt idx="17292">
                  <c:v>0</c:v>
                </c:pt>
                <c:pt idx="17293">
                  <c:v>0</c:v>
                </c:pt>
                <c:pt idx="17294">
                  <c:v>0</c:v>
                </c:pt>
                <c:pt idx="17295">
                  <c:v>0</c:v>
                </c:pt>
                <c:pt idx="17296">
                  <c:v>0</c:v>
                </c:pt>
                <c:pt idx="17297">
                  <c:v>0</c:v>
                </c:pt>
                <c:pt idx="17298">
                  <c:v>0</c:v>
                </c:pt>
                <c:pt idx="17299">
                  <c:v>0</c:v>
                </c:pt>
                <c:pt idx="17300">
                  <c:v>0</c:v>
                </c:pt>
                <c:pt idx="17301">
                  <c:v>0</c:v>
                </c:pt>
                <c:pt idx="17302">
                  <c:v>0</c:v>
                </c:pt>
                <c:pt idx="17303">
                  <c:v>0</c:v>
                </c:pt>
                <c:pt idx="17304">
                  <c:v>0</c:v>
                </c:pt>
                <c:pt idx="17305">
                  <c:v>0</c:v>
                </c:pt>
                <c:pt idx="17306">
                  <c:v>0</c:v>
                </c:pt>
                <c:pt idx="17307">
                  <c:v>0</c:v>
                </c:pt>
                <c:pt idx="17308">
                  <c:v>0</c:v>
                </c:pt>
                <c:pt idx="17309">
                  <c:v>0</c:v>
                </c:pt>
                <c:pt idx="17310">
                  <c:v>0</c:v>
                </c:pt>
                <c:pt idx="17311">
                  <c:v>0</c:v>
                </c:pt>
                <c:pt idx="17312">
                  <c:v>0</c:v>
                </c:pt>
                <c:pt idx="17313">
                  <c:v>0</c:v>
                </c:pt>
                <c:pt idx="17314">
                  <c:v>0</c:v>
                </c:pt>
                <c:pt idx="17315">
                  <c:v>0</c:v>
                </c:pt>
                <c:pt idx="17316">
                  <c:v>0</c:v>
                </c:pt>
                <c:pt idx="17317">
                  <c:v>0</c:v>
                </c:pt>
                <c:pt idx="17318">
                  <c:v>0</c:v>
                </c:pt>
                <c:pt idx="17319">
                  <c:v>0</c:v>
                </c:pt>
                <c:pt idx="17320">
                  <c:v>0</c:v>
                </c:pt>
                <c:pt idx="17321">
                  <c:v>0</c:v>
                </c:pt>
                <c:pt idx="17322">
                  <c:v>0</c:v>
                </c:pt>
                <c:pt idx="17323">
                  <c:v>0</c:v>
                </c:pt>
                <c:pt idx="17324">
                  <c:v>0</c:v>
                </c:pt>
                <c:pt idx="17325">
                  <c:v>0</c:v>
                </c:pt>
                <c:pt idx="17326">
                  <c:v>0</c:v>
                </c:pt>
                <c:pt idx="17327">
                  <c:v>0</c:v>
                </c:pt>
                <c:pt idx="17328">
                  <c:v>0</c:v>
                </c:pt>
                <c:pt idx="17329">
                  <c:v>0</c:v>
                </c:pt>
                <c:pt idx="17330">
                  <c:v>0</c:v>
                </c:pt>
                <c:pt idx="17331">
                  <c:v>0</c:v>
                </c:pt>
                <c:pt idx="17332">
                  <c:v>0</c:v>
                </c:pt>
                <c:pt idx="17333">
                  <c:v>0</c:v>
                </c:pt>
                <c:pt idx="17334">
                  <c:v>0</c:v>
                </c:pt>
                <c:pt idx="17335">
                  <c:v>0</c:v>
                </c:pt>
                <c:pt idx="17336">
                  <c:v>0</c:v>
                </c:pt>
                <c:pt idx="17337">
                  <c:v>0</c:v>
                </c:pt>
                <c:pt idx="17338">
                  <c:v>0</c:v>
                </c:pt>
                <c:pt idx="17339">
                  <c:v>0</c:v>
                </c:pt>
                <c:pt idx="17340">
                  <c:v>0</c:v>
                </c:pt>
                <c:pt idx="17341">
                  <c:v>0</c:v>
                </c:pt>
                <c:pt idx="17342">
                  <c:v>0</c:v>
                </c:pt>
                <c:pt idx="17343">
                  <c:v>0</c:v>
                </c:pt>
                <c:pt idx="17344">
                  <c:v>0</c:v>
                </c:pt>
                <c:pt idx="17345">
                  <c:v>0</c:v>
                </c:pt>
                <c:pt idx="17346">
                  <c:v>0</c:v>
                </c:pt>
                <c:pt idx="17347">
                  <c:v>0</c:v>
                </c:pt>
                <c:pt idx="17348">
                  <c:v>0</c:v>
                </c:pt>
                <c:pt idx="17349">
                  <c:v>0</c:v>
                </c:pt>
                <c:pt idx="17350">
                  <c:v>0</c:v>
                </c:pt>
                <c:pt idx="17351">
                  <c:v>0</c:v>
                </c:pt>
                <c:pt idx="17352">
                  <c:v>0</c:v>
                </c:pt>
                <c:pt idx="17353">
                  <c:v>0</c:v>
                </c:pt>
                <c:pt idx="17354">
                  <c:v>0</c:v>
                </c:pt>
                <c:pt idx="17355">
                  <c:v>0</c:v>
                </c:pt>
                <c:pt idx="17356">
                  <c:v>0</c:v>
                </c:pt>
                <c:pt idx="17357">
                  <c:v>0</c:v>
                </c:pt>
                <c:pt idx="17358">
                  <c:v>0</c:v>
                </c:pt>
                <c:pt idx="17359">
                  <c:v>0</c:v>
                </c:pt>
                <c:pt idx="17360">
                  <c:v>0</c:v>
                </c:pt>
                <c:pt idx="17361">
                  <c:v>0</c:v>
                </c:pt>
                <c:pt idx="17362">
                  <c:v>0</c:v>
                </c:pt>
                <c:pt idx="17363">
                  <c:v>0</c:v>
                </c:pt>
                <c:pt idx="17364">
                  <c:v>0</c:v>
                </c:pt>
                <c:pt idx="17365">
                  <c:v>0</c:v>
                </c:pt>
                <c:pt idx="17366">
                  <c:v>0</c:v>
                </c:pt>
                <c:pt idx="17367">
                  <c:v>0</c:v>
                </c:pt>
                <c:pt idx="17368">
                  <c:v>0</c:v>
                </c:pt>
                <c:pt idx="17369">
                  <c:v>0</c:v>
                </c:pt>
                <c:pt idx="17370">
                  <c:v>0</c:v>
                </c:pt>
                <c:pt idx="17371">
                  <c:v>0</c:v>
                </c:pt>
                <c:pt idx="17372">
                  <c:v>0</c:v>
                </c:pt>
                <c:pt idx="17373">
                  <c:v>3</c:v>
                </c:pt>
                <c:pt idx="17374">
                  <c:v>0</c:v>
                </c:pt>
                <c:pt idx="17375">
                  <c:v>0</c:v>
                </c:pt>
                <c:pt idx="17376">
                  <c:v>0</c:v>
                </c:pt>
                <c:pt idx="17377">
                  <c:v>0</c:v>
                </c:pt>
                <c:pt idx="17378">
                  <c:v>0</c:v>
                </c:pt>
                <c:pt idx="17379">
                  <c:v>0</c:v>
                </c:pt>
                <c:pt idx="17380">
                  <c:v>0</c:v>
                </c:pt>
                <c:pt idx="17381">
                  <c:v>0</c:v>
                </c:pt>
                <c:pt idx="17382">
                  <c:v>0</c:v>
                </c:pt>
                <c:pt idx="17383">
                  <c:v>0</c:v>
                </c:pt>
                <c:pt idx="17384">
                  <c:v>0</c:v>
                </c:pt>
                <c:pt idx="17385">
                  <c:v>0</c:v>
                </c:pt>
                <c:pt idx="17386">
                  <c:v>0</c:v>
                </c:pt>
                <c:pt idx="17387">
                  <c:v>0</c:v>
                </c:pt>
                <c:pt idx="17388">
                  <c:v>0</c:v>
                </c:pt>
                <c:pt idx="17389">
                  <c:v>0</c:v>
                </c:pt>
                <c:pt idx="17390">
                  <c:v>0</c:v>
                </c:pt>
                <c:pt idx="17391">
                  <c:v>0</c:v>
                </c:pt>
                <c:pt idx="17392">
                  <c:v>0</c:v>
                </c:pt>
                <c:pt idx="17393">
                  <c:v>0</c:v>
                </c:pt>
                <c:pt idx="17394">
                  <c:v>0</c:v>
                </c:pt>
                <c:pt idx="17395">
                  <c:v>0</c:v>
                </c:pt>
                <c:pt idx="17396">
                  <c:v>0</c:v>
                </c:pt>
                <c:pt idx="17397">
                  <c:v>0</c:v>
                </c:pt>
                <c:pt idx="17398">
                  <c:v>0</c:v>
                </c:pt>
                <c:pt idx="17399">
                  <c:v>0</c:v>
                </c:pt>
                <c:pt idx="17400">
                  <c:v>0</c:v>
                </c:pt>
                <c:pt idx="17401">
                  <c:v>0</c:v>
                </c:pt>
                <c:pt idx="17402">
                  <c:v>0</c:v>
                </c:pt>
                <c:pt idx="17403">
                  <c:v>0</c:v>
                </c:pt>
                <c:pt idx="17404">
                  <c:v>0</c:v>
                </c:pt>
                <c:pt idx="17405">
                  <c:v>0</c:v>
                </c:pt>
                <c:pt idx="17406">
                  <c:v>0</c:v>
                </c:pt>
                <c:pt idx="17407">
                  <c:v>0</c:v>
                </c:pt>
                <c:pt idx="17408">
                  <c:v>0</c:v>
                </c:pt>
                <c:pt idx="17409">
                  <c:v>0</c:v>
                </c:pt>
                <c:pt idx="17410">
                  <c:v>0</c:v>
                </c:pt>
                <c:pt idx="17411">
                  <c:v>0</c:v>
                </c:pt>
                <c:pt idx="17412">
                  <c:v>0</c:v>
                </c:pt>
                <c:pt idx="17413">
                  <c:v>0</c:v>
                </c:pt>
                <c:pt idx="17414">
                  <c:v>0</c:v>
                </c:pt>
                <c:pt idx="17415">
                  <c:v>0</c:v>
                </c:pt>
                <c:pt idx="17416">
                  <c:v>0</c:v>
                </c:pt>
                <c:pt idx="17417">
                  <c:v>0</c:v>
                </c:pt>
                <c:pt idx="17418">
                  <c:v>0</c:v>
                </c:pt>
                <c:pt idx="17419">
                  <c:v>0</c:v>
                </c:pt>
                <c:pt idx="17420">
                  <c:v>0</c:v>
                </c:pt>
                <c:pt idx="17421">
                  <c:v>0</c:v>
                </c:pt>
                <c:pt idx="17422">
                  <c:v>0</c:v>
                </c:pt>
                <c:pt idx="17423">
                  <c:v>1</c:v>
                </c:pt>
                <c:pt idx="17424">
                  <c:v>0</c:v>
                </c:pt>
                <c:pt idx="17425">
                  <c:v>0</c:v>
                </c:pt>
                <c:pt idx="17426">
                  <c:v>0</c:v>
                </c:pt>
                <c:pt idx="17427">
                  <c:v>0</c:v>
                </c:pt>
                <c:pt idx="17428">
                  <c:v>0</c:v>
                </c:pt>
                <c:pt idx="17429">
                  <c:v>0</c:v>
                </c:pt>
                <c:pt idx="17430">
                  <c:v>0</c:v>
                </c:pt>
                <c:pt idx="17431">
                  <c:v>1</c:v>
                </c:pt>
                <c:pt idx="17432">
                  <c:v>3</c:v>
                </c:pt>
                <c:pt idx="17433">
                  <c:v>0</c:v>
                </c:pt>
                <c:pt idx="17434">
                  <c:v>3</c:v>
                </c:pt>
                <c:pt idx="17435">
                  <c:v>1</c:v>
                </c:pt>
                <c:pt idx="17436">
                  <c:v>0</c:v>
                </c:pt>
                <c:pt idx="17437">
                  <c:v>2</c:v>
                </c:pt>
                <c:pt idx="17438">
                  <c:v>4</c:v>
                </c:pt>
                <c:pt idx="17439">
                  <c:v>1</c:v>
                </c:pt>
                <c:pt idx="17440">
                  <c:v>0</c:v>
                </c:pt>
                <c:pt idx="17441">
                  <c:v>0</c:v>
                </c:pt>
                <c:pt idx="17442">
                  <c:v>0</c:v>
                </c:pt>
                <c:pt idx="17443">
                  <c:v>0</c:v>
                </c:pt>
                <c:pt idx="17444">
                  <c:v>0</c:v>
                </c:pt>
                <c:pt idx="17445">
                  <c:v>0</c:v>
                </c:pt>
                <c:pt idx="17446">
                  <c:v>0</c:v>
                </c:pt>
                <c:pt idx="17447">
                  <c:v>0</c:v>
                </c:pt>
                <c:pt idx="17448">
                  <c:v>0</c:v>
                </c:pt>
                <c:pt idx="17449">
                  <c:v>0</c:v>
                </c:pt>
                <c:pt idx="17450">
                  <c:v>0</c:v>
                </c:pt>
                <c:pt idx="17451">
                  <c:v>0</c:v>
                </c:pt>
                <c:pt idx="17452">
                  <c:v>0</c:v>
                </c:pt>
                <c:pt idx="17453">
                  <c:v>0</c:v>
                </c:pt>
                <c:pt idx="17454">
                  <c:v>0</c:v>
                </c:pt>
                <c:pt idx="17455">
                  <c:v>0</c:v>
                </c:pt>
                <c:pt idx="17456">
                  <c:v>0</c:v>
                </c:pt>
                <c:pt idx="17457">
                  <c:v>0</c:v>
                </c:pt>
                <c:pt idx="17458">
                  <c:v>0</c:v>
                </c:pt>
                <c:pt idx="17459">
                  <c:v>0</c:v>
                </c:pt>
                <c:pt idx="17460">
                  <c:v>0</c:v>
                </c:pt>
                <c:pt idx="17461">
                  <c:v>0</c:v>
                </c:pt>
                <c:pt idx="17462">
                  <c:v>0</c:v>
                </c:pt>
                <c:pt idx="17463">
                  <c:v>0</c:v>
                </c:pt>
                <c:pt idx="17464">
                  <c:v>0</c:v>
                </c:pt>
                <c:pt idx="17465">
                  <c:v>0</c:v>
                </c:pt>
                <c:pt idx="17466">
                  <c:v>0</c:v>
                </c:pt>
                <c:pt idx="17467">
                  <c:v>0</c:v>
                </c:pt>
                <c:pt idx="17468">
                  <c:v>0</c:v>
                </c:pt>
                <c:pt idx="17469">
                  <c:v>0</c:v>
                </c:pt>
                <c:pt idx="17470">
                  <c:v>0</c:v>
                </c:pt>
                <c:pt idx="17471">
                  <c:v>0</c:v>
                </c:pt>
                <c:pt idx="17472">
                  <c:v>0</c:v>
                </c:pt>
                <c:pt idx="17473">
                  <c:v>0</c:v>
                </c:pt>
                <c:pt idx="17474">
                  <c:v>0</c:v>
                </c:pt>
                <c:pt idx="17475">
                  <c:v>0</c:v>
                </c:pt>
                <c:pt idx="17476">
                  <c:v>0</c:v>
                </c:pt>
                <c:pt idx="17477">
                  <c:v>0</c:v>
                </c:pt>
                <c:pt idx="17478">
                  <c:v>0</c:v>
                </c:pt>
                <c:pt idx="17479">
                  <c:v>0</c:v>
                </c:pt>
                <c:pt idx="17480">
                  <c:v>0</c:v>
                </c:pt>
                <c:pt idx="17481">
                  <c:v>0</c:v>
                </c:pt>
                <c:pt idx="17482">
                  <c:v>0</c:v>
                </c:pt>
                <c:pt idx="17483">
                  <c:v>0</c:v>
                </c:pt>
                <c:pt idx="17484">
                  <c:v>0</c:v>
                </c:pt>
                <c:pt idx="17485">
                  <c:v>0</c:v>
                </c:pt>
                <c:pt idx="17486">
                  <c:v>0</c:v>
                </c:pt>
                <c:pt idx="17487">
                  <c:v>0</c:v>
                </c:pt>
                <c:pt idx="17488">
                  <c:v>0</c:v>
                </c:pt>
                <c:pt idx="17489">
                  <c:v>0</c:v>
                </c:pt>
                <c:pt idx="17490">
                  <c:v>1</c:v>
                </c:pt>
                <c:pt idx="17491">
                  <c:v>0</c:v>
                </c:pt>
                <c:pt idx="17492">
                  <c:v>0</c:v>
                </c:pt>
                <c:pt idx="17493">
                  <c:v>0</c:v>
                </c:pt>
                <c:pt idx="17494">
                  <c:v>0</c:v>
                </c:pt>
                <c:pt idx="17495">
                  <c:v>0</c:v>
                </c:pt>
                <c:pt idx="17496">
                  <c:v>0</c:v>
                </c:pt>
                <c:pt idx="17497">
                  <c:v>0</c:v>
                </c:pt>
                <c:pt idx="17498">
                  <c:v>0</c:v>
                </c:pt>
                <c:pt idx="17499">
                  <c:v>0</c:v>
                </c:pt>
                <c:pt idx="17500">
                  <c:v>0</c:v>
                </c:pt>
                <c:pt idx="17501">
                  <c:v>0</c:v>
                </c:pt>
                <c:pt idx="17502">
                  <c:v>0</c:v>
                </c:pt>
                <c:pt idx="17503">
                  <c:v>0</c:v>
                </c:pt>
                <c:pt idx="17504">
                  <c:v>0</c:v>
                </c:pt>
                <c:pt idx="17505">
                  <c:v>0</c:v>
                </c:pt>
                <c:pt idx="17506">
                  <c:v>0</c:v>
                </c:pt>
                <c:pt idx="17507">
                  <c:v>0</c:v>
                </c:pt>
                <c:pt idx="17508">
                  <c:v>0</c:v>
                </c:pt>
                <c:pt idx="17509">
                  <c:v>0</c:v>
                </c:pt>
                <c:pt idx="17510">
                  <c:v>0</c:v>
                </c:pt>
                <c:pt idx="17511">
                  <c:v>0</c:v>
                </c:pt>
                <c:pt idx="17512">
                  <c:v>0</c:v>
                </c:pt>
                <c:pt idx="17513">
                  <c:v>0</c:v>
                </c:pt>
                <c:pt idx="17514">
                  <c:v>0</c:v>
                </c:pt>
                <c:pt idx="17515">
                  <c:v>0</c:v>
                </c:pt>
                <c:pt idx="17516">
                  <c:v>0</c:v>
                </c:pt>
                <c:pt idx="17517">
                  <c:v>0</c:v>
                </c:pt>
                <c:pt idx="17518">
                  <c:v>0</c:v>
                </c:pt>
                <c:pt idx="17519">
                  <c:v>0</c:v>
                </c:pt>
                <c:pt idx="17520">
                  <c:v>0</c:v>
                </c:pt>
                <c:pt idx="17521">
                  <c:v>0</c:v>
                </c:pt>
                <c:pt idx="17522">
                  <c:v>0</c:v>
                </c:pt>
                <c:pt idx="17523">
                  <c:v>0</c:v>
                </c:pt>
                <c:pt idx="17524">
                  <c:v>0</c:v>
                </c:pt>
                <c:pt idx="17525">
                  <c:v>0</c:v>
                </c:pt>
                <c:pt idx="17526">
                  <c:v>0</c:v>
                </c:pt>
                <c:pt idx="17527">
                  <c:v>0</c:v>
                </c:pt>
                <c:pt idx="17528">
                  <c:v>0</c:v>
                </c:pt>
                <c:pt idx="17529">
                  <c:v>0</c:v>
                </c:pt>
                <c:pt idx="17530">
                  <c:v>0</c:v>
                </c:pt>
                <c:pt idx="17531">
                  <c:v>0</c:v>
                </c:pt>
                <c:pt idx="17532">
                  <c:v>0</c:v>
                </c:pt>
                <c:pt idx="17533">
                  <c:v>0</c:v>
                </c:pt>
                <c:pt idx="17534">
                  <c:v>0</c:v>
                </c:pt>
                <c:pt idx="17535">
                  <c:v>0</c:v>
                </c:pt>
                <c:pt idx="17536">
                  <c:v>0</c:v>
                </c:pt>
                <c:pt idx="17537">
                  <c:v>0</c:v>
                </c:pt>
                <c:pt idx="17538">
                  <c:v>0</c:v>
                </c:pt>
                <c:pt idx="17539">
                  <c:v>0</c:v>
                </c:pt>
                <c:pt idx="17540">
                  <c:v>0</c:v>
                </c:pt>
                <c:pt idx="17541">
                  <c:v>0</c:v>
                </c:pt>
                <c:pt idx="17542">
                  <c:v>0</c:v>
                </c:pt>
                <c:pt idx="17543">
                  <c:v>0</c:v>
                </c:pt>
                <c:pt idx="17544">
                  <c:v>2</c:v>
                </c:pt>
                <c:pt idx="17545">
                  <c:v>0</c:v>
                </c:pt>
                <c:pt idx="17546">
                  <c:v>0</c:v>
                </c:pt>
                <c:pt idx="17547">
                  <c:v>0</c:v>
                </c:pt>
                <c:pt idx="17548">
                  <c:v>0</c:v>
                </c:pt>
                <c:pt idx="17549">
                  <c:v>0</c:v>
                </c:pt>
                <c:pt idx="17550">
                  <c:v>0</c:v>
                </c:pt>
                <c:pt idx="17551">
                  <c:v>0</c:v>
                </c:pt>
                <c:pt idx="17552">
                  <c:v>0</c:v>
                </c:pt>
                <c:pt idx="17553">
                  <c:v>0</c:v>
                </c:pt>
                <c:pt idx="17554">
                  <c:v>0</c:v>
                </c:pt>
                <c:pt idx="17555">
                  <c:v>0</c:v>
                </c:pt>
                <c:pt idx="17556">
                  <c:v>0</c:v>
                </c:pt>
                <c:pt idx="17557">
                  <c:v>0</c:v>
                </c:pt>
                <c:pt idx="17558">
                  <c:v>0</c:v>
                </c:pt>
                <c:pt idx="17559">
                  <c:v>0</c:v>
                </c:pt>
                <c:pt idx="17560">
                  <c:v>0</c:v>
                </c:pt>
                <c:pt idx="17561">
                  <c:v>0</c:v>
                </c:pt>
                <c:pt idx="17562">
                  <c:v>0</c:v>
                </c:pt>
                <c:pt idx="17563">
                  <c:v>0</c:v>
                </c:pt>
                <c:pt idx="17564">
                  <c:v>0</c:v>
                </c:pt>
                <c:pt idx="17565">
                  <c:v>0</c:v>
                </c:pt>
                <c:pt idx="17566">
                  <c:v>0</c:v>
                </c:pt>
                <c:pt idx="17567">
                  <c:v>0</c:v>
                </c:pt>
                <c:pt idx="17568">
                  <c:v>0</c:v>
                </c:pt>
                <c:pt idx="17569">
                  <c:v>0</c:v>
                </c:pt>
                <c:pt idx="17570">
                  <c:v>0</c:v>
                </c:pt>
                <c:pt idx="17571">
                  <c:v>0</c:v>
                </c:pt>
                <c:pt idx="17572">
                  <c:v>0</c:v>
                </c:pt>
                <c:pt idx="17573">
                  <c:v>0</c:v>
                </c:pt>
                <c:pt idx="17574">
                  <c:v>0</c:v>
                </c:pt>
                <c:pt idx="17575">
                  <c:v>0</c:v>
                </c:pt>
                <c:pt idx="17576">
                  <c:v>0</c:v>
                </c:pt>
                <c:pt idx="17577">
                  <c:v>0</c:v>
                </c:pt>
                <c:pt idx="17578">
                  <c:v>0</c:v>
                </c:pt>
                <c:pt idx="17579">
                  <c:v>0</c:v>
                </c:pt>
                <c:pt idx="17580">
                  <c:v>0</c:v>
                </c:pt>
                <c:pt idx="17581">
                  <c:v>0</c:v>
                </c:pt>
                <c:pt idx="17582">
                  <c:v>0</c:v>
                </c:pt>
                <c:pt idx="17583">
                  <c:v>0</c:v>
                </c:pt>
                <c:pt idx="17584">
                  <c:v>0</c:v>
                </c:pt>
                <c:pt idx="17585">
                  <c:v>0</c:v>
                </c:pt>
                <c:pt idx="17586">
                  <c:v>0</c:v>
                </c:pt>
                <c:pt idx="17587">
                  <c:v>0</c:v>
                </c:pt>
                <c:pt idx="17588">
                  <c:v>0</c:v>
                </c:pt>
                <c:pt idx="17589">
                  <c:v>0</c:v>
                </c:pt>
                <c:pt idx="17590">
                  <c:v>0</c:v>
                </c:pt>
                <c:pt idx="17591">
                  <c:v>0</c:v>
                </c:pt>
                <c:pt idx="17592">
                  <c:v>0</c:v>
                </c:pt>
                <c:pt idx="17593">
                  <c:v>0</c:v>
                </c:pt>
                <c:pt idx="17594">
                  <c:v>0</c:v>
                </c:pt>
                <c:pt idx="17595">
                  <c:v>0</c:v>
                </c:pt>
                <c:pt idx="17596">
                  <c:v>0</c:v>
                </c:pt>
                <c:pt idx="17597">
                  <c:v>0</c:v>
                </c:pt>
                <c:pt idx="17598">
                  <c:v>0</c:v>
                </c:pt>
                <c:pt idx="17599">
                  <c:v>0</c:v>
                </c:pt>
                <c:pt idx="17600">
                  <c:v>0</c:v>
                </c:pt>
                <c:pt idx="17601">
                  <c:v>0</c:v>
                </c:pt>
                <c:pt idx="17602">
                  <c:v>0</c:v>
                </c:pt>
                <c:pt idx="17603">
                  <c:v>0</c:v>
                </c:pt>
                <c:pt idx="17604">
                  <c:v>0</c:v>
                </c:pt>
                <c:pt idx="17605">
                  <c:v>0</c:v>
                </c:pt>
                <c:pt idx="17606">
                  <c:v>0</c:v>
                </c:pt>
                <c:pt idx="17607">
                  <c:v>0</c:v>
                </c:pt>
                <c:pt idx="17608">
                  <c:v>0</c:v>
                </c:pt>
                <c:pt idx="17609">
                  <c:v>0</c:v>
                </c:pt>
                <c:pt idx="17610">
                  <c:v>0</c:v>
                </c:pt>
                <c:pt idx="17611">
                  <c:v>0</c:v>
                </c:pt>
                <c:pt idx="17612">
                  <c:v>0</c:v>
                </c:pt>
                <c:pt idx="17613">
                  <c:v>0</c:v>
                </c:pt>
                <c:pt idx="17614">
                  <c:v>0</c:v>
                </c:pt>
                <c:pt idx="17615">
                  <c:v>0</c:v>
                </c:pt>
                <c:pt idx="17616">
                  <c:v>0</c:v>
                </c:pt>
                <c:pt idx="17617">
                  <c:v>0</c:v>
                </c:pt>
                <c:pt idx="17618">
                  <c:v>0</c:v>
                </c:pt>
                <c:pt idx="17619">
                  <c:v>0</c:v>
                </c:pt>
                <c:pt idx="17620">
                  <c:v>0</c:v>
                </c:pt>
                <c:pt idx="17621">
                  <c:v>0</c:v>
                </c:pt>
                <c:pt idx="17622">
                  <c:v>0</c:v>
                </c:pt>
                <c:pt idx="17623">
                  <c:v>0</c:v>
                </c:pt>
                <c:pt idx="17624">
                  <c:v>0</c:v>
                </c:pt>
                <c:pt idx="17625">
                  <c:v>0</c:v>
                </c:pt>
                <c:pt idx="17626">
                  <c:v>0</c:v>
                </c:pt>
                <c:pt idx="17627">
                  <c:v>0</c:v>
                </c:pt>
                <c:pt idx="17628">
                  <c:v>0</c:v>
                </c:pt>
                <c:pt idx="17629">
                  <c:v>0</c:v>
                </c:pt>
                <c:pt idx="17630">
                  <c:v>0</c:v>
                </c:pt>
                <c:pt idx="17631">
                  <c:v>0</c:v>
                </c:pt>
                <c:pt idx="17632">
                  <c:v>8</c:v>
                </c:pt>
                <c:pt idx="17633">
                  <c:v>5</c:v>
                </c:pt>
                <c:pt idx="17634">
                  <c:v>0</c:v>
                </c:pt>
                <c:pt idx="17635">
                  <c:v>0</c:v>
                </c:pt>
                <c:pt idx="17636">
                  <c:v>0</c:v>
                </c:pt>
                <c:pt idx="17637">
                  <c:v>0</c:v>
                </c:pt>
                <c:pt idx="17638">
                  <c:v>0</c:v>
                </c:pt>
                <c:pt idx="17639">
                  <c:v>0</c:v>
                </c:pt>
                <c:pt idx="17640">
                  <c:v>0</c:v>
                </c:pt>
                <c:pt idx="17641">
                  <c:v>0</c:v>
                </c:pt>
                <c:pt idx="17642">
                  <c:v>0</c:v>
                </c:pt>
                <c:pt idx="17643">
                  <c:v>0</c:v>
                </c:pt>
                <c:pt idx="17644">
                  <c:v>0</c:v>
                </c:pt>
                <c:pt idx="17645">
                  <c:v>0</c:v>
                </c:pt>
                <c:pt idx="17646">
                  <c:v>0</c:v>
                </c:pt>
                <c:pt idx="17647">
                  <c:v>0</c:v>
                </c:pt>
                <c:pt idx="17648">
                  <c:v>0</c:v>
                </c:pt>
                <c:pt idx="17649">
                  <c:v>0</c:v>
                </c:pt>
                <c:pt idx="17650">
                  <c:v>0</c:v>
                </c:pt>
                <c:pt idx="17651">
                  <c:v>0</c:v>
                </c:pt>
                <c:pt idx="17652">
                  <c:v>0</c:v>
                </c:pt>
                <c:pt idx="17653">
                  <c:v>0</c:v>
                </c:pt>
                <c:pt idx="17654">
                  <c:v>0</c:v>
                </c:pt>
                <c:pt idx="17655">
                  <c:v>0</c:v>
                </c:pt>
                <c:pt idx="17656">
                  <c:v>0</c:v>
                </c:pt>
                <c:pt idx="17657">
                  <c:v>0</c:v>
                </c:pt>
                <c:pt idx="17658">
                  <c:v>0</c:v>
                </c:pt>
                <c:pt idx="17659">
                  <c:v>1</c:v>
                </c:pt>
                <c:pt idx="17660">
                  <c:v>0</c:v>
                </c:pt>
                <c:pt idx="17661">
                  <c:v>0</c:v>
                </c:pt>
                <c:pt idx="17662">
                  <c:v>0</c:v>
                </c:pt>
                <c:pt idx="17663">
                  <c:v>0</c:v>
                </c:pt>
                <c:pt idx="17664">
                  <c:v>0</c:v>
                </c:pt>
                <c:pt idx="17665">
                  <c:v>0</c:v>
                </c:pt>
                <c:pt idx="17666">
                  <c:v>0</c:v>
                </c:pt>
                <c:pt idx="17667">
                  <c:v>0</c:v>
                </c:pt>
                <c:pt idx="17668">
                  <c:v>0</c:v>
                </c:pt>
                <c:pt idx="17669">
                  <c:v>0</c:v>
                </c:pt>
                <c:pt idx="17670">
                  <c:v>0</c:v>
                </c:pt>
                <c:pt idx="17671">
                  <c:v>0</c:v>
                </c:pt>
                <c:pt idx="17672">
                  <c:v>0</c:v>
                </c:pt>
                <c:pt idx="17673">
                  <c:v>0</c:v>
                </c:pt>
                <c:pt idx="17674">
                  <c:v>0</c:v>
                </c:pt>
                <c:pt idx="17675">
                  <c:v>0</c:v>
                </c:pt>
                <c:pt idx="17676">
                  <c:v>0</c:v>
                </c:pt>
                <c:pt idx="17677">
                  <c:v>0</c:v>
                </c:pt>
                <c:pt idx="17678">
                  <c:v>0</c:v>
                </c:pt>
                <c:pt idx="17679">
                  <c:v>0</c:v>
                </c:pt>
                <c:pt idx="17680">
                  <c:v>0</c:v>
                </c:pt>
                <c:pt idx="17681">
                  <c:v>0</c:v>
                </c:pt>
                <c:pt idx="17682">
                  <c:v>0</c:v>
                </c:pt>
                <c:pt idx="17683">
                  <c:v>0</c:v>
                </c:pt>
                <c:pt idx="17684">
                  <c:v>0</c:v>
                </c:pt>
                <c:pt idx="17685">
                  <c:v>0</c:v>
                </c:pt>
                <c:pt idx="17686">
                  <c:v>0</c:v>
                </c:pt>
                <c:pt idx="17687">
                  <c:v>0</c:v>
                </c:pt>
                <c:pt idx="17688">
                  <c:v>0</c:v>
                </c:pt>
                <c:pt idx="17689">
                  <c:v>0</c:v>
                </c:pt>
                <c:pt idx="17690">
                  <c:v>0</c:v>
                </c:pt>
                <c:pt idx="17691">
                  <c:v>0</c:v>
                </c:pt>
                <c:pt idx="17692">
                  <c:v>0</c:v>
                </c:pt>
                <c:pt idx="17693">
                  <c:v>0</c:v>
                </c:pt>
                <c:pt idx="17694">
                  <c:v>0</c:v>
                </c:pt>
                <c:pt idx="17695">
                  <c:v>0</c:v>
                </c:pt>
                <c:pt idx="17696">
                  <c:v>0</c:v>
                </c:pt>
                <c:pt idx="17697">
                  <c:v>0</c:v>
                </c:pt>
                <c:pt idx="17698">
                  <c:v>0</c:v>
                </c:pt>
                <c:pt idx="17699">
                  <c:v>0</c:v>
                </c:pt>
                <c:pt idx="17700">
                  <c:v>0</c:v>
                </c:pt>
                <c:pt idx="17701">
                  <c:v>0</c:v>
                </c:pt>
                <c:pt idx="17702">
                  <c:v>0</c:v>
                </c:pt>
                <c:pt idx="17703">
                  <c:v>0</c:v>
                </c:pt>
                <c:pt idx="17704">
                  <c:v>0</c:v>
                </c:pt>
                <c:pt idx="17705">
                  <c:v>0</c:v>
                </c:pt>
                <c:pt idx="17706">
                  <c:v>0</c:v>
                </c:pt>
                <c:pt idx="17707">
                  <c:v>0</c:v>
                </c:pt>
                <c:pt idx="17708">
                  <c:v>0</c:v>
                </c:pt>
                <c:pt idx="17709">
                  <c:v>0</c:v>
                </c:pt>
                <c:pt idx="17710">
                  <c:v>0</c:v>
                </c:pt>
                <c:pt idx="17711">
                  <c:v>0</c:v>
                </c:pt>
                <c:pt idx="17712">
                  <c:v>1</c:v>
                </c:pt>
                <c:pt idx="17713">
                  <c:v>0</c:v>
                </c:pt>
                <c:pt idx="17714">
                  <c:v>0</c:v>
                </c:pt>
                <c:pt idx="17715">
                  <c:v>0</c:v>
                </c:pt>
                <c:pt idx="17716">
                  <c:v>4</c:v>
                </c:pt>
                <c:pt idx="17717">
                  <c:v>2</c:v>
                </c:pt>
                <c:pt idx="17718">
                  <c:v>3</c:v>
                </c:pt>
                <c:pt idx="17719">
                  <c:v>0</c:v>
                </c:pt>
                <c:pt idx="17720">
                  <c:v>0</c:v>
                </c:pt>
                <c:pt idx="17721">
                  <c:v>0</c:v>
                </c:pt>
                <c:pt idx="17722">
                  <c:v>0</c:v>
                </c:pt>
                <c:pt idx="17723">
                  <c:v>0</c:v>
                </c:pt>
                <c:pt idx="17724">
                  <c:v>0</c:v>
                </c:pt>
                <c:pt idx="17725">
                  <c:v>0</c:v>
                </c:pt>
                <c:pt idx="17726">
                  <c:v>0</c:v>
                </c:pt>
                <c:pt idx="17727">
                  <c:v>0</c:v>
                </c:pt>
                <c:pt idx="17728">
                  <c:v>0</c:v>
                </c:pt>
                <c:pt idx="17729">
                  <c:v>0</c:v>
                </c:pt>
                <c:pt idx="17730">
                  <c:v>0</c:v>
                </c:pt>
                <c:pt idx="17731">
                  <c:v>0</c:v>
                </c:pt>
                <c:pt idx="17732">
                  <c:v>0</c:v>
                </c:pt>
                <c:pt idx="17733">
                  <c:v>0</c:v>
                </c:pt>
                <c:pt idx="17734">
                  <c:v>0</c:v>
                </c:pt>
                <c:pt idx="17735">
                  <c:v>0</c:v>
                </c:pt>
                <c:pt idx="17736">
                  <c:v>0</c:v>
                </c:pt>
                <c:pt idx="17737">
                  <c:v>0</c:v>
                </c:pt>
                <c:pt idx="17738">
                  <c:v>0</c:v>
                </c:pt>
                <c:pt idx="17739">
                  <c:v>0</c:v>
                </c:pt>
                <c:pt idx="17740">
                  <c:v>0</c:v>
                </c:pt>
                <c:pt idx="17741">
                  <c:v>0</c:v>
                </c:pt>
                <c:pt idx="17742">
                  <c:v>0</c:v>
                </c:pt>
                <c:pt idx="17743">
                  <c:v>0</c:v>
                </c:pt>
                <c:pt idx="17744">
                  <c:v>0</c:v>
                </c:pt>
                <c:pt idx="17745">
                  <c:v>0</c:v>
                </c:pt>
                <c:pt idx="17746">
                  <c:v>0</c:v>
                </c:pt>
                <c:pt idx="17747">
                  <c:v>0</c:v>
                </c:pt>
                <c:pt idx="17748">
                  <c:v>0</c:v>
                </c:pt>
                <c:pt idx="17749">
                  <c:v>0</c:v>
                </c:pt>
                <c:pt idx="17750">
                  <c:v>0</c:v>
                </c:pt>
                <c:pt idx="17751">
                  <c:v>0</c:v>
                </c:pt>
                <c:pt idx="17752">
                  <c:v>0</c:v>
                </c:pt>
                <c:pt idx="17753">
                  <c:v>0</c:v>
                </c:pt>
                <c:pt idx="17754">
                  <c:v>0</c:v>
                </c:pt>
                <c:pt idx="17755">
                  <c:v>0</c:v>
                </c:pt>
                <c:pt idx="17756">
                  <c:v>0</c:v>
                </c:pt>
                <c:pt idx="17757">
                  <c:v>0</c:v>
                </c:pt>
                <c:pt idx="17758">
                  <c:v>0</c:v>
                </c:pt>
                <c:pt idx="17759">
                  <c:v>0</c:v>
                </c:pt>
                <c:pt idx="17760">
                  <c:v>0</c:v>
                </c:pt>
                <c:pt idx="17761">
                  <c:v>0</c:v>
                </c:pt>
                <c:pt idx="17762">
                  <c:v>0</c:v>
                </c:pt>
                <c:pt idx="17763">
                  <c:v>0</c:v>
                </c:pt>
                <c:pt idx="17764">
                  <c:v>0</c:v>
                </c:pt>
                <c:pt idx="17765">
                  <c:v>0</c:v>
                </c:pt>
                <c:pt idx="17766">
                  <c:v>0</c:v>
                </c:pt>
                <c:pt idx="17767">
                  <c:v>0</c:v>
                </c:pt>
                <c:pt idx="17768">
                  <c:v>0</c:v>
                </c:pt>
                <c:pt idx="17769">
                  <c:v>0</c:v>
                </c:pt>
                <c:pt idx="17770">
                  <c:v>0</c:v>
                </c:pt>
                <c:pt idx="17771">
                  <c:v>0</c:v>
                </c:pt>
                <c:pt idx="17772">
                  <c:v>0</c:v>
                </c:pt>
                <c:pt idx="17773">
                  <c:v>0</c:v>
                </c:pt>
                <c:pt idx="17774">
                  <c:v>0</c:v>
                </c:pt>
                <c:pt idx="17775">
                  <c:v>0</c:v>
                </c:pt>
                <c:pt idx="17776">
                  <c:v>0</c:v>
                </c:pt>
                <c:pt idx="17777">
                  <c:v>0</c:v>
                </c:pt>
                <c:pt idx="17778">
                  <c:v>0</c:v>
                </c:pt>
                <c:pt idx="17779">
                  <c:v>0</c:v>
                </c:pt>
                <c:pt idx="17780">
                  <c:v>0</c:v>
                </c:pt>
                <c:pt idx="17781">
                  <c:v>0</c:v>
                </c:pt>
                <c:pt idx="17782">
                  <c:v>0</c:v>
                </c:pt>
                <c:pt idx="17783">
                  <c:v>0</c:v>
                </c:pt>
                <c:pt idx="17784">
                  <c:v>0</c:v>
                </c:pt>
                <c:pt idx="17785">
                  <c:v>0</c:v>
                </c:pt>
                <c:pt idx="17786">
                  <c:v>0</c:v>
                </c:pt>
                <c:pt idx="17787">
                  <c:v>0</c:v>
                </c:pt>
                <c:pt idx="17788">
                  <c:v>0</c:v>
                </c:pt>
                <c:pt idx="17789">
                  <c:v>0</c:v>
                </c:pt>
                <c:pt idx="17790">
                  <c:v>0</c:v>
                </c:pt>
                <c:pt idx="17791">
                  <c:v>0</c:v>
                </c:pt>
                <c:pt idx="17792">
                  <c:v>0</c:v>
                </c:pt>
                <c:pt idx="17793">
                  <c:v>0</c:v>
                </c:pt>
                <c:pt idx="17794">
                  <c:v>0</c:v>
                </c:pt>
                <c:pt idx="17795">
                  <c:v>0</c:v>
                </c:pt>
                <c:pt idx="17796">
                  <c:v>0</c:v>
                </c:pt>
                <c:pt idx="17797">
                  <c:v>0</c:v>
                </c:pt>
                <c:pt idx="17798">
                  <c:v>0</c:v>
                </c:pt>
                <c:pt idx="17799">
                  <c:v>0</c:v>
                </c:pt>
                <c:pt idx="17800">
                  <c:v>0</c:v>
                </c:pt>
                <c:pt idx="17801">
                  <c:v>0</c:v>
                </c:pt>
                <c:pt idx="17802">
                  <c:v>0</c:v>
                </c:pt>
                <c:pt idx="17803">
                  <c:v>0</c:v>
                </c:pt>
                <c:pt idx="17804">
                  <c:v>0</c:v>
                </c:pt>
                <c:pt idx="17805">
                  <c:v>0</c:v>
                </c:pt>
                <c:pt idx="17806">
                  <c:v>0</c:v>
                </c:pt>
                <c:pt idx="17807">
                  <c:v>0</c:v>
                </c:pt>
                <c:pt idx="17808">
                  <c:v>0</c:v>
                </c:pt>
                <c:pt idx="17809">
                  <c:v>0</c:v>
                </c:pt>
                <c:pt idx="17810">
                  <c:v>0</c:v>
                </c:pt>
                <c:pt idx="17811">
                  <c:v>0</c:v>
                </c:pt>
                <c:pt idx="17812">
                  <c:v>0</c:v>
                </c:pt>
                <c:pt idx="17813">
                  <c:v>0</c:v>
                </c:pt>
                <c:pt idx="17814">
                  <c:v>0</c:v>
                </c:pt>
                <c:pt idx="17815">
                  <c:v>0</c:v>
                </c:pt>
                <c:pt idx="17816">
                  <c:v>0</c:v>
                </c:pt>
                <c:pt idx="17817">
                  <c:v>0</c:v>
                </c:pt>
                <c:pt idx="17818">
                  <c:v>0</c:v>
                </c:pt>
                <c:pt idx="17819">
                  <c:v>0</c:v>
                </c:pt>
                <c:pt idx="17820">
                  <c:v>0</c:v>
                </c:pt>
                <c:pt idx="17821">
                  <c:v>0</c:v>
                </c:pt>
                <c:pt idx="17822">
                  <c:v>0</c:v>
                </c:pt>
                <c:pt idx="17823">
                  <c:v>0</c:v>
                </c:pt>
                <c:pt idx="17824">
                  <c:v>0</c:v>
                </c:pt>
                <c:pt idx="17825">
                  <c:v>0</c:v>
                </c:pt>
                <c:pt idx="17826">
                  <c:v>0</c:v>
                </c:pt>
                <c:pt idx="17827">
                  <c:v>0</c:v>
                </c:pt>
                <c:pt idx="17828">
                  <c:v>0</c:v>
                </c:pt>
                <c:pt idx="17829">
                  <c:v>0</c:v>
                </c:pt>
                <c:pt idx="17830">
                  <c:v>0</c:v>
                </c:pt>
                <c:pt idx="17831">
                  <c:v>0</c:v>
                </c:pt>
                <c:pt idx="17832">
                  <c:v>0</c:v>
                </c:pt>
                <c:pt idx="17833">
                  <c:v>0</c:v>
                </c:pt>
                <c:pt idx="17834">
                  <c:v>0</c:v>
                </c:pt>
                <c:pt idx="17835">
                  <c:v>0</c:v>
                </c:pt>
                <c:pt idx="17836">
                  <c:v>0</c:v>
                </c:pt>
                <c:pt idx="17837">
                  <c:v>0</c:v>
                </c:pt>
                <c:pt idx="17838">
                  <c:v>0</c:v>
                </c:pt>
                <c:pt idx="17839">
                  <c:v>0</c:v>
                </c:pt>
                <c:pt idx="17840">
                  <c:v>0</c:v>
                </c:pt>
                <c:pt idx="17841">
                  <c:v>0</c:v>
                </c:pt>
                <c:pt idx="17842">
                  <c:v>0</c:v>
                </c:pt>
                <c:pt idx="17843">
                  <c:v>0</c:v>
                </c:pt>
                <c:pt idx="17844">
                  <c:v>0</c:v>
                </c:pt>
                <c:pt idx="17845">
                  <c:v>0</c:v>
                </c:pt>
                <c:pt idx="17846">
                  <c:v>0</c:v>
                </c:pt>
                <c:pt idx="17847">
                  <c:v>0</c:v>
                </c:pt>
                <c:pt idx="17848">
                  <c:v>0</c:v>
                </c:pt>
                <c:pt idx="17849">
                  <c:v>0</c:v>
                </c:pt>
                <c:pt idx="17850">
                  <c:v>3</c:v>
                </c:pt>
                <c:pt idx="17851">
                  <c:v>0</c:v>
                </c:pt>
                <c:pt idx="17852">
                  <c:v>0</c:v>
                </c:pt>
                <c:pt idx="17853">
                  <c:v>0</c:v>
                </c:pt>
                <c:pt idx="17854">
                  <c:v>0</c:v>
                </c:pt>
                <c:pt idx="17855">
                  <c:v>0</c:v>
                </c:pt>
                <c:pt idx="17856">
                  <c:v>0</c:v>
                </c:pt>
                <c:pt idx="17857">
                  <c:v>0</c:v>
                </c:pt>
                <c:pt idx="17858">
                  <c:v>0</c:v>
                </c:pt>
                <c:pt idx="17859">
                  <c:v>0</c:v>
                </c:pt>
                <c:pt idx="17860">
                  <c:v>0</c:v>
                </c:pt>
                <c:pt idx="17861">
                  <c:v>0</c:v>
                </c:pt>
                <c:pt idx="17862">
                  <c:v>0</c:v>
                </c:pt>
                <c:pt idx="17863">
                  <c:v>0</c:v>
                </c:pt>
                <c:pt idx="17864">
                  <c:v>0</c:v>
                </c:pt>
                <c:pt idx="17865">
                  <c:v>0</c:v>
                </c:pt>
                <c:pt idx="17866">
                  <c:v>0</c:v>
                </c:pt>
                <c:pt idx="17867">
                  <c:v>0</c:v>
                </c:pt>
                <c:pt idx="17868">
                  <c:v>0</c:v>
                </c:pt>
                <c:pt idx="17869">
                  <c:v>0</c:v>
                </c:pt>
                <c:pt idx="17870">
                  <c:v>5</c:v>
                </c:pt>
                <c:pt idx="17871">
                  <c:v>0</c:v>
                </c:pt>
                <c:pt idx="17872">
                  <c:v>0</c:v>
                </c:pt>
                <c:pt idx="17873">
                  <c:v>0</c:v>
                </c:pt>
                <c:pt idx="17874">
                  <c:v>0</c:v>
                </c:pt>
                <c:pt idx="17875">
                  <c:v>0</c:v>
                </c:pt>
                <c:pt idx="17876">
                  <c:v>0</c:v>
                </c:pt>
                <c:pt idx="17877">
                  <c:v>0</c:v>
                </c:pt>
                <c:pt idx="17878">
                  <c:v>0</c:v>
                </c:pt>
                <c:pt idx="17879">
                  <c:v>0</c:v>
                </c:pt>
                <c:pt idx="17880">
                  <c:v>0</c:v>
                </c:pt>
                <c:pt idx="17881">
                  <c:v>0</c:v>
                </c:pt>
                <c:pt idx="17882">
                  <c:v>0</c:v>
                </c:pt>
                <c:pt idx="17883">
                  <c:v>0</c:v>
                </c:pt>
                <c:pt idx="17884">
                  <c:v>0</c:v>
                </c:pt>
                <c:pt idx="17885">
                  <c:v>0</c:v>
                </c:pt>
                <c:pt idx="17886">
                  <c:v>0</c:v>
                </c:pt>
                <c:pt idx="17887">
                  <c:v>0</c:v>
                </c:pt>
                <c:pt idx="17888">
                  <c:v>0</c:v>
                </c:pt>
                <c:pt idx="17889">
                  <c:v>1</c:v>
                </c:pt>
                <c:pt idx="17890">
                  <c:v>0</c:v>
                </c:pt>
                <c:pt idx="17891">
                  <c:v>0</c:v>
                </c:pt>
                <c:pt idx="17892">
                  <c:v>0</c:v>
                </c:pt>
                <c:pt idx="17893">
                  <c:v>0</c:v>
                </c:pt>
                <c:pt idx="17894">
                  <c:v>0</c:v>
                </c:pt>
                <c:pt idx="17895">
                  <c:v>0</c:v>
                </c:pt>
                <c:pt idx="17896">
                  <c:v>0</c:v>
                </c:pt>
                <c:pt idx="17897">
                  <c:v>0</c:v>
                </c:pt>
                <c:pt idx="17898">
                  <c:v>0</c:v>
                </c:pt>
                <c:pt idx="17899">
                  <c:v>0</c:v>
                </c:pt>
                <c:pt idx="17900">
                  <c:v>0</c:v>
                </c:pt>
                <c:pt idx="17901">
                  <c:v>0</c:v>
                </c:pt>
                <c:pt idx="17902">
                  <c:v>0</c:v>
                </c:pt>
                <c:pt idx="17903">
                  <c:v>0</c:v>
                </c:pt>
                <c:pt idx="17904">
                  <c:v>0</c:v>
                </c:pt>
                <c:pt idx="17905">
                  <c:v>0</c:v>
                </c:pt>
                <c:pt idx="17906">
                  <c:v>0</c:v>
                </c:pt>
                <c:pt idx="17907">
                  <c:v>0</c:v>
                </c:pt>
                <c:pt idx="17908">
                  <c:v>0</c:v>
                </c:pt>
                <c:pt idx="17909">
                  <c:v>0</c:v>
                </c:pt>
                <c:pt idx="17910">
                  <c:v>0</c:v>
                </c:pt>
                <c:pt idx="17911">
                  <c:v>0</c:v>
                </c:pt>
                <c:pt idx="17912">
                  <c:v>0</c:v>
                </c:pt>
                <c:pt idx="17913">
                  <c:v>0</c:v>
                </c:pt>
                <c:pt idx="17914">
                  <c:v>0</c:v>
                </c:pt>
                <c:pt idx="17915">
                  <c:v>0</c:v>
                </c:pt>
                <c:pt idx="17916">
                  <c:v>0</c:v>
                </c:pt>
                <c:pt idx="17917">
                  <c:v>2</c:v>
                </c:pt>
                <c:pt idx="17918">
                  <c:v>0</c:v>
                </c:pt>
                <c:pt idx="17919">
                  <c:v>0</c:v>
                </c:pt>
                <c:pt idx="17920">
                  <c:v>0</c:v>
                </c:pt>
                <c:pt idx="17921">
                  <c:v>0</c:v>
                </c:pt>
                <c:pt idx="17922">
                  <c:v>0</c:v>
                </c:pt>
                <c:pt idx="17923">
                  <c:v>0</c:v>
                </c:pt>
                <c:pt idx="17924">
                  <c:v>0</c:v>
                </c:pt>
                <c:pt idx="17925">
                  <c:v>0</c:v>
                </c:pt>
                <c:pt idx="17926">
                  <c:v>0</c:v>
                </c:pt>
                <c:pt idx="17927">
                  <c:v>0</c:v>
                </c:pt>
                <c:pt idx="17928">
                  <c:v>0</c:v>
                </c:pt>
                <c:pt idx="17929">
                  <c:v>0</c:v>
                </c:pt>
                <c:pt idx="17930">
                  <c:v>0</c:v>
                </c:pt>
                <c:pt idx="17931">
                  <c:v>0</c:v>
                </c:pt>
                <c:pt idx="17932">
                  <c:v>0</c:v>
                </c:pt>
                <c:pt idx="17933">
                  <c:v>0</c:v>
                </c:pt>
                <c:pt idx="17934">
                  <c:v>0</c:v>
                </c:pt>
                <c:pt idx="17935">
                  <c:v>0</c:v>
                </c:pt>
                <c:pt idx="17936">
                  <c:v>0</c:v>
                </c:pt>
                <c:pt idx="17937">
                  <c:v>0</c:v>
                </c:pt>
                <c:pt idx="17938">
                  <c:v>0</c:v>
                </c:pt>
                <c:pt idx="17939">
                  <c:v>0</c:v>
                </c:pt>
                <c:pt idx="17940">
                  <c:v>0</c:v>
                </c:pt>
                <c:pt idx="17941">
                  <c:v>0</c:v>
                </c:pt>
                <c:pt idx="17942">
                  <c:v>0</c:v>
                </c:pt>
                <c:pt idx="17943">
                  <c:v>0</c:v>
                </c:pt>
                <c:pt idx="17944">
                  <c:v>0</c:v>
                </c:pt>
                <c:pt idx="17945">
                  <c:v>0</c:v>
                </c:pt>
                <c:pt idx="17946">
                  <c:v>0</c:v>
                </c:pt>
                <c:pt idx="17947">
                  <c:v>0</c:v>
                </c:pt>
                <c:pt idx="17948">
                  <c:v>0</c:v>
                </c:pt>
                <c:pt idx="17949">
                  <c:v>0</c:v>
                </c:pt>
                <c:pt idx="17950">
                  <c:v>0</c:v>
                </c:pt>
                <c:pt idx="17951">
                  <c:v>0</c:v>
                </c:pt>
                <c:pt idx="17952">
                  <c:v>0</c:v>
                </c:pt>
                <c:pt idx="17953">
                  <c:v>0</c:v>
                </c:pt>
                <c:pt idx="17954">
                  <c:v>0</c:v>
                </c:pt>
                <c:pt idx="17955">
                  <c:v>0</c:v>
                </c:pt>
                <c:pt idx="17956">
                  <c:v>0</c:v>
                </c:pt>
                <c:pt idx="17957">
                  <c:v>0</c:v>
                </c:pt>
                <c:pt idx="17958">
                  <c:v>0</c:v>
                </c:pt>
                <c:pt idx="17959">
                  <c:v>0</c:v>
                </c:pt>
                <c:pt idx="17960">
                  <c:v>0</c:v>
                </c:pt>
                <c:pt idx="17961">
                  <c:v>0</c:v>
                </c:pt>
                <c:pt idx="17962">
                  <c:v>0</c:v>
                </c:pt>
                <c:pt idx="17963">
                  <c:v>0</c:v>
                </c:pt>
                <c:pt idx="17964">
                  <c:v>0</c:v>
                </c:pt>
                <c:pt idx="17965">
                  <c:v>0</c:v>
                </c:pt>
                <c:pt idx="17966">
                  <c:v>0</c:v>
                </c:pt>
                <c:pt idx="17967">
                  <c:v>0</c:v>
                </c:pt>
                <c:pt idx="17968">
                  <c:v>1</c:v>
                </c:pt>
                <c:pt idx="17969">
                  <c:v>0</c:v>
                </c:pt>
                <c:pt idx="17970">
                  <c:v>0</c:v>
                </c:pt>
                <c:pt idx="17971">
                  <c:v>0</c:v>
                </c:pt>
                <c:pt idx="17972">
                  <c:v>0</c:v>
                </c:pt>
                <c:pt idx="17973">
                  <c:v>0</c:v>
                </c:pt>
                <c:pt idx="17974">
                  <c:v>0</c:v>
                </c:pt>
                <c:pt idx="17975">
                  <c:v>0</c:v>
                </c:pt>
                <c:pt idx="17976">
                  <c:v>0</c:v>
                </c:pt>
                <c:pt idx="17977">
                  <c:v>0</c:v>
                </c:pt>
                <c:pt idx="17978">
                  <c:v>0</c:v>
                </c:pt>
                <c:pt idx="17979">
                  <c:v>0</c:v>
                </c:pt>
                <c:pt idx="17980">
                  <c:v>0</c:v>
                </c:pt>
                <c:pt idx="17981">
                  <c:v>0</c:v>
                </c:pt>
                <c:pt idx="17982">
                  <c:v>0</c:v>
                </c:pt>
                <c:pt idx="17983">
                  <c:v>0</c:v>
                </c:pt>
                <c:pt idx="17984">
                  <c:v>0</c:v>
                </c:pt>
                <c:pt idx="17985">
                  <c:v>0</c:v>
                </c:pt>
                <c:pt idx="17986">
                  <c:v>0</c:v>
                </c:pt>
                <c:pt idx="17987">
                  <c:v>0</c:v>
                </c:pt>
                <c:pt idx="17988">
                  <c:v>0</c:v>
                </c:pt>
                <c:pt idx="17989">
                  <c:v>0</c:v>
                </c:pt>
                <c:pt idx="17990">
                  <c:v>0</c:v>
                </c:pt>
                <c:pt idx="17991">
                  <c:v>0</c:v>
                </c:pt>
                <c:pt idx="17992">
                  <c:v>0</c:v>
                </c:pt>
                <c:pt idx="17993">
                  <c:v>0</c:v>
                </c:pt>
                <c:pt idx="17994">
                  <c:v>0</c:v>
                </c:pt>
                <c:pt idx="17995">
                  <c:v>0</c:v>
                </c:pt>
                <c:pt idx="17996">
                  <c:v>0</c:v>
                </c:pt>
                <c:pt idx="17997">
                  <c:v>0</c:v>
                </c:pt>
                <c:pt idx="17998">
                  <c:v>0</c:v>
                </c:pt>
                <c:pt idx="17999">
                  <c:v>0</c:v>
                </c:pt>
                <c:pt idx="18000">
                  <c:v>0</c:v>
                </c:pt>
                <c:pt idx="18001">
                  <c:v>0</c:v>
                </c:pt>
                <c:pt idx="18002">
                  <c:v>0</c:v>
                </c:pt>
                <c:pt idx="18003">
                  <c:v>0</c:v>
                </c:pt>
                <c:pt idx="18004">
                  <c:v>0</c:v>
                </c:pt>
                <c:pt idx="18005">
                  <c:v>0</c:v>
                </c:pt>
                <c:pt idx="18006">
                  <c:v>0</c:v>
                </c:pt>
                <c:pt idx="18007">
                  <c:v>0</c:v>
                </c:pt>
                <c:pt idx="18008">
                  <c:v>0</c:v>
                </c:pt>
                <c:pt idx="18009">
                  <c:v>0</c:v>
                </c:pt>
                <c:pt idx="18010">
                  <c:v>0</c:v>
                </c:pt>
                <c:pt idx="18011">
                  <c:v>0</c:v>
                </c:pt>
                <c:pt idx="18012">
                  <c:v>0</c:v>
                </c:pt>
                <c:pt idx="18013">
                  <c:v>0</c:v>
                </c:pt>
                <c:pt idx="18014">
                  <c:v>0</c:v>
                </c:pt>
                <c:pt idx="18015">
                  <c:v>0</c:v>
                </c:pt>
                <c:pt idx="18016">
                  <c:v>0</c:v>
                </c:pt>
                <c:pt idx="18017">
                  <c:v>0</c:v>
                </c:pt>
                <c:pt idx="18018">
                  <c:v>0</c:v>
                </c:pt>
                <c:pt idx="18019">
                  <c:v>0</c:v>
                </c:pt>
                <c:pt idx="18020">
                  <c:v>0</c:v>
                </c:pt>
                <c:pt idx="18021">
                  <c:v>0</c:v>
                </c:pt>
                <c:pt idx="18022">
                  <c:v>0</c:v>
                </c:pt>
                <c:pt idx="18023">
                  <c:v>0</c:v>
                </c:pt>
                <c:pt idx="18024">
                  <c:v>0</c:v>
                </c:pt>
                <c:pt idx="18025">
                  <c:v>0</c:v>
                </c:pt>
                <c:pt idx="18026">
                  <c:v>0</c:v>
                </c:pt>
                <c:pt idx="18027">
                  <c:v>0</c:v>
                </c:pt>
                <c:pt idx="18028">
                  <c:v>0</c:v>
                </c:pt>
                <c:pt idx="18029">
                  <c:v>0</c:v>
                </c:pt>
                <c:pt idx="18030">
                  <c:v>0</c:v>
                </c:pt>
                <c:pt idx="18031">
                  <c:v>0</c:v>
                </c:pt>
                <c:pt idx="18032">
                  <c:v>7</c:v>
                </c:pt>
                <c:pt idx="18033">
                  <c:v>5</c:v>
                </c:pt>
                <c:pt idx="18034">
                  <c:v>2</c:v>
                </c:pt>
                <c:pt idx="18035">
                  <c:v>2</c:v>
                </c:pt>
                <c:pt idx="18036">
                  <c:v>0</c:v>
                </c:pt>
                <c:pt idx="18037">
                  <c:v>0</c:v>
                </c:pt>
                <c:pt idx="18038">
                  <c:v>0</c:v>
                </c:pt>
                <c:pt idx="18039">
                  <c:v>0</c:v>
                </c:pt>
                <c:pt idx="18040">
                  <c:v>0</c:v>
                </c:pt>
                <c:pt idx="18041">
                  <c:v>0</c:v>
                </c:pt>
                <c:pt idx="18042">
                  <c:v>0</c:v>
                </c:pt>
                <c:pt idx="18043">
                  <c:v>0</c:v>
                </c:pt>
                <c:pt idx="18044">
                  <c:v>0</c:v>
                </c:pt>
                <c:pt idx="18045">
                  <c:v>0</c:v>
                </c:pt>
                <c:pt idx="18046">
                  <c:v>0</c:v>
                </c:pt>
                <c:pt idx="18047">
                  <c:v>0</c:v>
                </c:pt>
                <c:pt idx="18048">
                  <c:v>0</c:v>
                </c:pt>
                <c:pt idx="18049">
                  <c:v>0</c:v>
                </c:pt>
                <c:pt idx="18050">
                  <c:v>0</c:v>
                </c:pt>
                <c:pt idx="18051">
                  <c:v>0</c:v>
                </c:pt>
                <c:pt idx="18052">
                  <c:v>0</c:v>
                </c:pt>
                <c:pt idx="18053">
                  <c:v>0</c:v>
                </c:pt>
                <c:pt idx="18054">
                  <c:v>0</c:v>
                </c:pt>
                <c:pt idx="18055">
                  <c:v>0</c:v>
                </c:pt>
                <c:pt idx="18056">
                  <c:v>0</c:v>
                </c:pt>
                <c:pt idx="18057">
                  <c:v>0</c:v>
                </c:pt>
                <c:pt idx="18058">
                  <c:v>0</c:v>
                </c:pt>
                <c:pt idx="18059">
                  <c:v>0</c:v>
                </c:pt>
                <c:pt idx="18060">
                  <c:v>0</c:v>
                </c:pt>
                <c:pt idx="18061">
                  <c:v>0</c:v>
                </c:pt>
                <c:pt idx="18062">
                  <c:v>0</c:v>
                </c:pt>
                <c:pt idx="18063">
                  <c:v>0</c:v>
                </c:pt>
                <c:pt idx="18064">
                  <c:v>0</c:v>
                </c:pt>
                <c:pt idx="18065">
                  <c:v>0</c:v>
                </c:pt>
                <c:pt idx="18066">
                  <c:v>0</c:v>
                </c:pt>
                <c:pt idx="18067">
                  <c:v>0</c:v>
                </c:pt>
                <c:pt idx="18068">
                  <c:v>0</c:v>
                </c:pt>
                <c:pt idx="18069">
                  <c:v>0</c:v>
                </c:pt>
                <c:pt idx="18070">
                  <c:v>0</c:v>
                </c:pt>
                <c:pt idx="18071">
                  <c:v>0</c:v>
                </c:pt>
                <c:pt idx="18072">
                  <c:v>0</c:v>
                </c:pt>
                <c:pt idx="18073">
                  <c:v>0</c:v>
                </c:pt>
                <c:pt idx="18074">
                  <c:v>0</c:v>
                </c:pt>
                <c:pt idx="18075">
                  <c:v>0</c:v>
                </c:pt>
                <c:pt idx="18076">
                  <c:v>0</c:v>
                </c:pt>
                <c:pt idx="18077">
                  <c:v>0</c:v>
                </c:pt>
                <c:pt idx="18078">
                  <c:v>0</c:v>
                </c:pt>
                <c:pt idx="18079">
                  <c:v>0</c:v>
                </c:pt>
                <c:pt idx="18080">
                  <c:v>0</c:v>
                </c:pt>
                <c:pt idx="18081">
                  <c:v>0</c:v>
                </c:pt>
                <c:pt idx="18082">
                  <c:v>0</c:v>
                </c:pt>
                <c:pt idx="18083">
                  <c:v>3</c:v>
                </c:pt>
                <c:pt idx="18084">
                  <c:v>0</c:v>
                </c:pt>
                <c:pt idx="18085">
                  <c:v>0</c:v>
                </c:pt>
                <c:pt idx="18086">
                  <c:v>0</c:v>
                </c:pt>
                <c:pt idx="18087">
                  <c:v>0</c:v>
                </c:pt>
                <c:pt idx="18088">
                  <c:v>0</c:v>
                </c:pt>
                <c:pt idx="18089">
                  <c:v>0</c:v>
                </c:pt>
                <c:pt idx="18090">
                  <c:v>0</c:v>
                </c:pt>
                <c:pt idx="18091">
                  <c:v>0</c:v>
                </c:pt>
                <c:pt idx="18092">
                  <c:v>0</c:v>
                </c:pt>
                <c:pt idx="18093">
                  <c:v>0</c:v>
                </c:pt>
                <c:pt idx="18094">
                  <c:v>0</c:v>
                </c:pt>
                <c:pt idx="18095">
                  <c:v>0</c:v>
                </c:pt>
                <c:pt idx="18096">
                  <c:v>0</c:v>
                </c:pt>
                <c:pt idx="18097">
                  <c:v>0</c:v>
                </c:pt>
                <c:pt idx="18098">
                  <c:v>0</c:v>
                </c:pt>
                <c:pt idx="18099">
                  <c:v>0</c:v>
                </c:pt>
                <c:pt idx="18100">
                  <c:v>0</c:v>
                </c:pt>
                <c:pt idx="18101">
                  <c:v>0</c:v>
                </c:pt>
                <c:pt idx="18102">
                  <c:v>0</c:v>
                </c:pt>
                <c:pt idx="18103">
                  <c:v>0</c:v>
                </c:pt>
                <c:pt idx="18104">
                  <c:v>0</c:v>
                </c:pt>
                <c:pt idx="18105">
                  <c:v>0</c:v>
                </c:pt>
                <c:pt idx="18106">
                  <c:v>0</c:v>
                </c:pt>
                <c:pt idx="18107">
                  <c:v>0</c:v>
                </c:pt>
                <c:pt idx="18108">
                  <c:v>0</c:v>
                </c:pt>
                <c:pt idx="18109">
                  <c:v>0</c:v>
                </c:pt>
                <c:pt idx="18110">
                  <c:v>0</c:v>
                </c:pt>
                <c:pt idx="18111">
                  <c:v>0</c:v>
                </c:pt>
                <c:pt idx="18112">
                  <c:v>0</c:v>
                </c:pt>
                <c:pt idx="18113">
                  <c:v>0</c:v>
                </c:pt>
                <c:pt idx="18114">
                  <c:v>0</c:v>
                </c:pt>
                <c:pt idx="18115">
                  <c:v>0</c:v>
                </c:pt>
                <c:pt idx="18116">
                  <c:v>1</c:v>
                </c:pt>
                <c:pt idx="18117">
                  <c:v>0</c:v>
                </c:pt>
                <c:pt idx="18118">
                  <c:v>0</c:v>
                </c:pt>
                <c:pt idx="18119">
                  <c:v>0</c:v>
                </c:pt>
                <c:pt idx="18120">
                  <c:v>0</c:v>
                </c:pt>
                <c:pt idx="18121">
                  <c:v>0</c:v>
                </c:pt>
                <c:pt idx="18122">
                  <c:v>0</c:v>
                </c:pt>
                <c:pt idx="18123">
                  <c:v>0</c:v>
                </c:pt>
                <c:pt idx="18124">
                  <c:v>0</c:v>
                </c:pt>
                <c:pt idx="18125">
                  <c:v>0</c:v>
                </c:pt>
                <c:pt idx="18126">
                  <c:v>0</c:v>
                </c:pt>
                <c:pt idx="18127">
                  <c:v>0</c:v>
                </c:pt>
                <c:pt idx="18128">
                  <c:v>0</c:v>
                </c:pt>
                <c:pt idx="18129">
                  <c:v>0</c:v>
                </c:pt>
                <c:pt idx="18130">
                  <c:v>0</c:v>
                </c:pt>
                <c:pt idx="18131">
                  <c:v>0</c:v>
                </c:pt>
                <c:pt idx="18132">
                  <c:v>0</c:v>
                </c:pt>
                <c:pt idx="18133">
                  <c:v>0</c:v>
                </c:pt>
                <c:pt idx="18134">
                  <c:v>0</c:v>
                </c:pt>
                <c:pt idx="18135">
                  <c:v>0</c:v>
                </c:pt>
                <c:pt idx="18136">
                  <c:v>0</c:v>
                </c:pt>
                <c:pt idx="18137">
                  <c:v>0</c:v>
                </c:pt>
                <c:pt idx="18138">
                  <c:v>0</c:v>
                </c:pt>
                <c:pt idx="18139">
                  <c:v>0</c:v>
                </c:pt>
                <c:pt idx="18140">
                  <c:v>0</c:v>
                </c:pt>
                <c:pt idx="18141">
                  <c:v>0</c:v>
                </c:pt>
                <c:pt idx="18142">
                  <c:v>0</c:v>
                </c:pt>
                <c:pt idx="18143">
                  <c:v>0</c:v>
                </c:pt>
                <c:pt idx="18144">
                  <c:v>0</c:v>
                </c:pt>
                <c:pt idx="18145">
                  <c:v>0</c:v>
                </c:pt>
                <c:pt idx="18146">
                  <c:v>0</c:v>
                </c:pt>
                <c:pt idx="18147">
                  <c:v>0</c:v>
                </c:pt>
                <c:pt idx="18148">
                  <c:v>0</c:v>
                </c:pt>
                <c:pt idx="18149">
                  <c:v>0</c:v>
                </c:pt>
                <c:pt idx="18150">
                  <c:v>0</c:v>
                </c:pt>
                <c:pt idx="18151">
                  <c:v>0</c:v>
                </c:pt>
                <c:pt idx="18152">
                  <c:v>0</c:v>
                </c:pt>
                <c:pt idx="18153">
                  <c:v>3</c:v>
                </c:pt>
                <c:pt idx="18154">
                  <c:v>0</c:v>
                </c:pt>
                <c:pt idx="18155">
                  <c:v>0</c:v>
                </c:pt>
                <c:pt idx="18156">
                  <c:v>0</c:v>
                </c:pt>
                <c:pt idx="18157">
                  <c:v>0</c:v>
                </c:pt>
                <c:pt idx="18158">
                  <c:v>0</c:v>
                </c:pt>
                <c:pt idx="18159">
                  <c:v>0</c:v>
                </c:pt>
                <c:pt idx="18160">
                  <c:v>0</c:v>
                </c:pt>
                <c:pt idx="18161">
                  <c:v>0</c:v>
                </c:pt>
                <c:pt idx="18162">
                  <c:v>0</c:v>
                </c:pt>
                <c:pt idx="18163">
                  <c:v>0</c:v>
                </c:pt>
                <c:pt idx="18164">
                  <c:v>0</c:v>
                </c:pt>
                <c:pt idx="18165">
                  <c:v>0</c:v>
                </c:pt>
                <c:pt idx="18166">
                  <c:v>0</c:v>
                </c:pt>
                <c:pt idx="18167">
                  <c:v>2</c:v>
                </c:pt>
                <c:pt idx="18168">
                  <c:v>0</c:v>
                </c:pt>
                <c:pt idx="18169">
                  <c:v>0</c:v>
                </c:pt>
                <c:pt idx="18170">
                  <c:v>0</c:v>
                </c:pt>
                <c:pt idx="18171">
                  <c:v>5</c:v>
                </c:pt>
                <c:pt idx="18172">
                  <c:v>0</c:v>
                </c:pt>
                <c:pt idx="18173">
                  <c:v>5</c:v>
                </c:pt>
                <c:pt idx="18174">
                  <c:v>0</c:v>
                </c:pt>
                <c:pt idx="18175">
                  <c:v>0</c:v>
                </c:pt>
                <c:pt idx="18176">
                  <c:v>1</c:v>
                </c:pt>
                <c:pt idx="18177">
                  <c:v>0</c:v>
                </c:pt>
                <c:pt idx="18178">
                  <c:v>0</c:v>
                </c:pt>
                <c:pt idx="18179">
                  <c:v>0</c:v>
                </c:pt>
                <c:pt idx="18180">
                  <c:v>0</c:v>
                </c:pt>
                <c:pt idx="18181">
                  <c:v>0</c:v>
                </c:pt>
                <c:pt idx="18182">
                  <c:v>0</c:v>
                </c:pt>
                <c:pt idx="18183">
                  <c:v>0</c:v>
                </c:pt>
                <c:pt idx="18184">
                  <c:v>0</c:v>
                </c:pt>
                <c:pt idx="18185">
                  <c:v>0</c:v>
                </c:pt>
                <c:pt idx="18186">
                  <c:v>0</c:v>
                </c:pt>
                <c:pt idx="18187">
                  <c:v>0</c:v>
                </c:pt>
                <c:pt idx="18188">
                  <c:v>0</c:v>
                </c:pt>
                <c:pt idx="18189">
                  <c:v>0</c:v>
                </c:pt>
                <c:pt idx="18190">
                  <c:v>0</c:v>
                </c:pt>
                <c:pt idx="18191">
                  <c:v>0</c:v>
                </c:pt>
                <c:pt idx="18192">
                  <c:v>0</c:v>
                </c:pt>
                <c:pt idx="18193">
                  <c:v>0</c:v>
                </c:pt>
                <c:pt idx="18194">
                  <c:v>0</c:v>
                </c:pt>
                <c:pt idx="18195">
                  <c:v>0</c:v>
                </c:pt>
                <c:pt idx="18196">
                  <c:v>0</c:v>
                </c:pt>
                <c:pt idx="18197">
                  <c:v>0</c:v>
                </c:pt>
                <c:pt idx="18198">
                  <c:v>0</c:v>
                </c:pt>
                <c:pt idx="18199">
                  <c:v>0</c:v>
                </c:pt>
                <c:pt idx="18200">
                  <c:v>0</c:v>
                </c:pt>
                <c:pt idx="18201">
                  <c:v>0</c:v>
                </c:pt>
                <c:pt idx="18202">
                  <c:v>0</c:v>
                </c:pt>
                <c:pt idx="18203">
                  <c:v>0</c:v>
                </c:pt>
                <c:pt idx="18204">
                  <c:v>3</c:v>
                </c:pt>
                <c:pt idx="18205">
                  <c:v>0</c:v>
                </c:pt>
                <c:pt idx="18206">
                  <c:v>2</c:v>
                </c:pt>
                <c:pt idx="18207">
                  <c:v>0</c:v>
                </c:pt>
                <c:pt idx="18208">
                  <c:v>3</c:v>
                </c:pt>
                <c:pt idx="18209">
                  <c:v>0</c:v>
                </c:pt>
                <c:pt idx="18210">
                  <c:v>0</c:v>
                </c:pt>
                <c:pt idx="18211">
                  <c:v>0</c:v>
                </c:pt>
                <c:pt idx="18212">
                  <c:v>0</c:v>
                </c:pt>
                <c:pt idx="18213">
                  <c:v>0</c:v>
                </c:pt>
                <c:pt idx="18214">
                  <c:v>0</c:v>
                </c:pt>
                <c:pt idx="18215">
                  <c:v>0</c:v>
                </c:pt>
                <c:pt idx="18216">
                  <c:v>0</c:v>
                </c:pt>
                <c:pt idx="18217">
                  <c:v>0</c:v>
                </c:pt>
                <c:pt idx="18218">
                  <c:v>0</c:v>
                </c:pt>
                <c:pt idx="18219">
                  <c:v>0</c:v>
                </c:pt>
                <c:pt idx="18220">
                  <c:v>0</c:v>
                </c:pt>
                <c:pt idx="18221">
                  <c:v>0</c:v>
                </c:pt>
                <c:pt idx="18222">
                  <c:v>0</c:v>
                </c:pt>
                <c:pt idx="18223">
                  <c:v>1</c:v>
                </c:pt>
                <c:pt idx="18224">
                  <c:v>0</c:v>
                </c:pt>
                <c:pt idx="18225">
                  <c:v>0</c:v>
                </c:pt>
                <c:pt idx="18226">
                  <c:v>0</c:v>
                </c:pt>
                <c:pt idx="18227">
                  <c:v>0</c:v>
                </c:pt>
                <c:pt idx="18228">
                  <c:v>0</c:v>
                </c:pt>
                <c:pt idx="18229">
                  <c:v>0</c:v>
                </c:pt>
                <c:pt idx="18230">
                  <c:v>0</c:v>
                </c:pt>
                <c:pt idx="18231">
                  <c:v>0</c:v>
                </c:pt>
                <c:pt idx="18232">
                  <c:v>0</c:v>
                </c:pt>
                <c:pt idx="18233">
                  <c:v>0</c:v>
                </c:pt>
                <c:pt idx="18234">
                  <c:v>0</c:v>
                </c:pt>
                <c:pt idx="18235">
                  <c:v>1</c:v>
                </c:pt>
                <c:pt idx="18236">
                  <c:v>0</c:v>
                </c:pt>
                <c:pt idx="18237">
                  <c:v>0</c:v>
                </c:pt>
                <c:pt idx="18238">
                  <c:v>0</c:v>
                </c:pt>
                <c:pt idx="18239">
                  <c:v>0</c:v>
                </c:pt>
                <c:pt idx="18240">
                  <c:v>0</c:v>
                </c:pt>
                <c:pt idx="18241">
                  <c:v>0</c:v>
                </c:pt>
                <c:pt idx="18242">
                  <c:v>0</c:v>
                </c:pt>
                <c:pt idx="18243">
                  <c:v>0</c:v>
                </c:pt>
                <c:pt idx="18244">
                  <c:v>0</c:v>
                </c:pt>
                <c:pt idx="18245">
                  <c:v>0</c:v>
                </c:pt>
                <c:pt idx="18246">
                  <c:v>6</c:v>
                </c:pt>
                <c:pt idx="18247">
                  <c:v>0</c:v>
                </c:pt>
                <c:pt idx="18248">
                  <c:v>0</c:v>
                </c:pt>
                <c:pt idx="18249">
                  <c:v>0</c:v>
                </c:pt>
                <c:pt idx="18250">
                  <c:v>0</c:v>
                </c:pt>
                <c:pt idx="18251">
                  <c:v>0</c:v>
                </c:pt>
                <c:pt idx="18252">
                  <c:v>0</c:v>
                </c:pt>
                <c:pt idx="18253">
                  <c:v>0</c:v>
                </c:pt>
                <c:pt idx="18254">
                  <c:v>0</c:v>
                </c:pt>
                <c:pt idx="18255">
                  <c:v>0</c:v>
                </c:pt>
                <c:pt idx="18256">
                  <c:v>0</c:v>
                </c:pt>
                <c:pt idx="18257">
                  <c:v>0</c:v>
                </c:pt>
                <c:pt idx="18258">
                  <c:v>0</c:v>
                </c:pt>
                <c:pt idx="18259">
                  <c:v>0</c:v>
                </c:pt>
                <c:pt idx="18260">
                  <c:v>0</c:v>
                </c:pt>
                <c:pt idx="18261">
                  <c:v>0</c:v>
                </c:pt>
                <c:pt idx="18262">
                  <c:v>0</c:v>
                </c:pt>
                <c:pt idx="18263">
                  <c:v>0</c:v>
                </c:pt>
                <c:pt idx="18264">
                  <c:v>0</c:v>
                </c:pt>
                <c:pt idx="18265">
                  <c:v>2</c:v>
                </c:pt>
                <c:pt idx="18266">
                  <c:v>2</c:v>
                </c:pt>
                <c:pt idx="18267">
                  <c:v>4</c:v>
                </c:pt>
                <c:pt idx="18268">
                  <c:v>3</c:v>
                </c:pt>
                <c:pt idx="18269">
                  <c:v>4</c:v>
                </c:pt>
                <c:pt idx="18270">
                  <c:v>2</c:v>
                </c:pt>
                <c:pt idx="18271">
                  <c:v>9</c:v>
                </c:pt>
                <c:pt idx="18272">
                  <c:v>1</c:v>
                </c:pt>
                <c:pt idx="18273">
                  <c:v>1</c:v>
                </c:pt>
                <c:pt idx="18274">
                  <c:v>6</c:v>
                </c:pt>
                <c:pt idx="18275">
                  <c:v>1</c:v>
                </c:pt>
                <c:pt idx="18276">
                  <c:v>1</c:v>
                </c:pt>
                <c:pt idx="18277">
                  <c:v>45</c:v>
                </c:pt>
                <c:pt idx="18278">
                  <c:v>0</c:v>
                </c:pt>
                <c:pt idx="18279">
                  <c:v>1</c:v>
                </c:pt>
                <c:pt idx="18280">
                  <c:v>1</c:v>
                </c:pt>
                <c:pt idx="18281">
                  <c:v>5</c:v>
                </c:pt>
                <c:pt idx="18282">
                  <c:v>4</c:v>
                </c:pt>
                <c:pt idx="18283">
                  <c:v>0</c:v>
                </c:pt>
                <c:pt idx="18284">
                  <c:v>2</c:v>
                </c:pt>
                <c:pt idx="18285">
                  <c:v>8</c:v>
                </c:pt>
                <c:pt idx="18286">
                  <c:v>0</c:v>
                </c:pt>
                <c:pt idx="18287">
                  <c:v>0</c:v>
                </c:pt>
                <c:pt idx="18288">
                  <c:v>4</c:v>
                </c:pt>
                <c:pt idx="18289">
                  <c:v>0</c:v>
                </c:pt>
                <c:pt idx="18290">
                  <c:v>1</c:v>
                </c:pt>
                <c:pt idx="18291">
                  <c:v>0</c:v>
                </c:pt>
                <c:pt idx="18292">
                  <c:v>0</c:v>
                </c:pt>
                <c:pt idx="18293">
                  <c:v>2</c:v>
                </c:pt>
                <c:pt idx="18294">
                  <c:v>5</c:v>
                </c:pt>
                <c:pt idx="18295">
                  <c:v>2</c:v>
                </c:pt>
                <c:pt idx="18296">
                  <c:v>5</c:v>
                </c:pt>
                <c:pt idx="18297">
                  <c:v>4</c:v>
                </c:pt>
                <c:pt idx="18298">
                  <c:v>3</c:v>
                </c:pt>
                <c:pt idx="18299">
                  <c:v>4</c:v>
                </c:pt>
                <c:pt idx="18300">
                  <c:v>2</c:v>
                </c:pt>
                <c:pt idx="18301">
                  <c:v>2</c:v>
                </c:pt>
                <c:pt idx="18302">
                  <c:v>3</c:v>
                </c:pt>
                <c:pt idx="18303">
                  <c:v>2</c:v>
                </c:pt>
                <c:pt idx="18304">
                  <c:v>12</c:v>
                </c:pt>
                <c:pt idx="18305">
                  <c:v>0</c:v>
                </c:pt>
                <c:pt idx="18306">
                  <c:v>5</c:v>
                </c:pt>
                <c:pt idx="18307">
                  <c:v>2</c:v>
                </c:pt>
                <c:pt idx="18308">
                  <c:v>2</c:v>
                </c:pt>
                <c:pt idx="18309">
                  <c:v>0</c:v>
                </c:pt>
                <c:pt idx="18310">
                  <c:v>0</c:v>
                </c:pt>
                <c:pt idx="18311">
                  <c:v>0</c:v>
                </c:pt>
                <c:pt idx="18312">
                  <c:v>1</c:v>
                </c:pt>
                <c:pt idx="18313">
                  <c:v>3</c:v>
                </c:pt>
                <c:pt idx="18314">
                  <c:v>2</c:v>
                </c:pt>
                <c:pt idx="18315">
                  <c:v>1</c:v>
                </c:pt>
                <c:pt idx="18316">
                  <c:v>1</c:v>
                </c:pt>
                <c:pt idx="18317">
                  <c:v>0</c:v>
                </c:pt>
                <c:pt idx="18318">
                  <c:v>0</c:v>
                </c:pt>
                <c:pt idx="18319">
                  <c:v>2</c:v>
                </c:pt>
                <c:pt idx="18320">
                  <c:v>1</c:v>
                </c:pt>
                <c:pt idx="18321">
                  <c:v>4</c:v>
                </c:pt>
                <c:pt idx="18322">
                  <c:v>2</c:v>
                </c:pt>
                <c:pt idx="18323">
                  <c:v>2</c:v>
                </c:pt>
                <c:pt idx="18324">
                  <c:v>3</c:v>
                </c:pt>
                <c:pt idx="18325">
                  <c:v>0</c:v>
                </c:pt>
                <c:pt idx="18326">
                  <c:v>0</c:v>
                </c:pt>
                <c:pt idx="18327">
                  <c:v>2</c:v>
                </c:pt>
                <c:pt idx="18328">
                  <c:v>0</c:v>
                </c:pt>
                <c:pt idx="18329">
                  <c:v>2</c:v>
                </c:pt>
                <c:pt idx="18330">
                  <c:v>4</c:v>
                </c:pt>
                <c:pt idx="18331">
                  <c:v>1</c:v>
                </c:pt>
                <c:pt idx="18332">
                  <c:v>0</c:v>
                </c:pt>
                <c:pt idx="18333">
                  <c:v>1</c:v>
                </c:pt>
                <c:pt idx="18334">
                  <c:v>2</c:v>
                </c:pt>
                <c:pt idx="18335">
                  <c:v>4</c:v>
                </c:pt>
                <c:pt idx="18336">
                  <c:v>0</c:v>
                </c:pt>
                <c:pt idx="18337">
                  <c:v>2</c:v>
                </c:pt>
                <c:pt idx="18338">
                  <c:v>0</c:v>
                </c:pt>
                <c:pt idx="18339">
                  <c:v>0</c:v>
                </c:pt>
                <c:pt idx="18340">
                  <c:v>0</c:v>
                </c:pt>
                <c:pt idx="18341">
                  <c:v>7</c:v>
                </c:pt>
                <c:pt idx="18342">
                  <c:v>3</c:v>
                </c:pt>
                <c:pt idx="18343">
                  <c:v>1</c:v>
                </c:pt>
                <c:pt idx="18344">
                  <c:v>2</c:v>
                </c:pt>
                <c:pt idx="18345">
                  <c:v>2</c:v>
                </c:pt>
                <c:pt idx="18346">
                  <c:v>2</c:v>
                </c:pt>
                <c:pt idx="18347">
                  <c:v>4</c:v>
                </c:pt>
                <c:pt idx="18348">
                  <c:v>0</c:v>
                </c:pt>
                <c:pt idx="18349">
                  <c:v>0</c:v>
                </c:pt>
                <c:pt idx="18350">
                  <c:v>1</c:v>
                </c:pt>
                <c:pt idx="18351">
                  <c:v>1</c:v>
                </c:pt>
                <c:pt idx="18352">
                  <c:v>6</c:v>
                </c:pt>
                <c:pt idx="18353">
                  <c:v>0</c:v>
                </c:pt>
                <c:pt idx="18354">
                  <c:v>0</c:v>
                </c:pt>
                <c:pt idx="18355">
                  <c:v>4</c:v>
                </c:pt>
                <c:pt idx="18356">
                  <c:v>1</c:v>
                </c:pt>
                <c:pt idx="18357">
                  <c:v>0</c:v>
                </c:pt>
                <c:pt idx="18358">
                  <c:v>3</c:v>
                </c:pt>
                <c:pt idx="18359">
                  <c:v>2</c:v>
                </c:pt>
                <c:pt idx="18360">
                  <c:v>0</c:v>
                </c:pt>
                <c:pt idx="18361">
                  <c:v>0</c:v>
                </c:pt>
                <c:pt idx="18362">
                  <c:v>0</c:v>
                </c:pt>
                <c:pt idx="18363">
                  <c:v>2</c:v>
                </c:pt>
                <c:pt idx="18364">
                  <c:v>0</c:v>
                </c:pt>
                <c:pt idx="18365">
                  <c:v>1</c:v>
                </c:pt>
                <c:pt idx="18366">
                  <c:v>0</c:v>
                </c:pt>
                <c:pt idx="18367">
                  <c:v>0</c:v>
                </c:pt>
                <c:pt idx="18368">
                  <c:v>2</c:v>
                </c:pt>
                <c:pt idx="18369">
                  <c:v>2</c:v>
                </c:pt>
                <c:pt idx="18370">
                  <c:v>1</c:v>
                </c:pt>
                <c:pt idx="18371">
                  <c:v>0</c:v>
                </c:pt>
                <c:pt idx="18372">
                  <c:v>3</c:v>
                </c:pt>
                <c:pt idx="18373">
                  <c:v>1</c:v>
                </c:pt>
                <c:pt idx="18374">
                  <c:v>0</c:v>
                </c:pt>
                <c:pt idx="18375">
                  <c:v>0</c:v>
                </c:pt>
                <c:pt idx="18376">
                  <c:v>0</c:v>
                </c:pt>
                <c:pt idx="18377">
                  <c:v>5</c:v>
                </c:pt>
                <c:pt idx="18378">
                  <c:v>2</c:v>
                </c:pt>
                <c:pt idx="18379">
                  <c:v>1</c:v>
                </c:pt>
                <c:pt idx="18380">
                  <c:v>8</c:v>
                </c:pt>
                <c:pt idx="18381">
                  <c:v>4</c:v>
                </c:pt>
                <c:pt idx="18382">
                  <c:v>1</c:v>
                </c:pt>
                <c:pt idx="18383">
                  <c:v>1</c:v>
                </c:pt>
                <c:pt idx="18384">
                  <c:v>1</c:v>
                </c:pt>
                <c:pt idx="18385">
                  <c:v>4</c:v>
                </c:pt>
                <c:pt idx="18386">
                  <c:v>0</c:v>
                </c:pt>
                <c:pt idx="18387">
                  <c:v>2</c:v>
                </c:pt>
                <c:pt idx="18388">
                  <c:v>0</c:v>
                </c:pt>
                <c:pt idx="18389">
                  <c:v>2</c:v>
                </c:pt>
                <c:pt idx="18390">
                  <c:v>3</c:v>
                </c:pt>
                <c:pt idx="18391">
                  <c:v>2</c:v>
                </c:pt>
                <c:pt idx="18392">
                  <c:v>4</c:v>
                </c:pt>
                <c:pt idx="18393">
                  <c:v>0</c:v>
                </c:pt>
                <c:pt idx="18394">
                  <c:v>1</c:v>
                </c:pt>
                <c:pt idx="18395">
                  <c:v>3</c:v>
                </c:pt>
                <c:pt idx="18396">
                  <c:v>1</c:v>
                </c:pt>
                <c:pt idx="18397">
                  <c:v>0</c:v>
                </c:pt>
                <c:pt idx="18398">
                  <c:v>0</c:v>
                </c:pt>
                <c:pt idx="18399">
                  <c:v>4</c:v>
                </c:pt>
                <c:pt idx="18400">
                  <c:v>3</c:v>
                </c:pt>
                <c:pt idx="18401">
                  <c:v>0</c:v>
                </c:pt>
                <c:pt idx="18402">
                  <c:v>1</c:v>
                </c:pt>
                <c:pt idx="18403">
                  <c:v>3</c:v>
                </c:pt>
                <c:pt idx="18404">
                  <c:v>0</c:v>
                </c:pt>
                <c:pt idx="18405">
                  <c:v>1</c:v>
                </c:pt>
                <c:pt idx="18406">
                  <c:v>0</c:v>
                </c:pt>
                <c:pt idx="18407">
                  <c:v>1</c:v>
                </c:pt>
                <c:pt idx="18408">
                  <c:v>0</c:v>
                </c:pt>
                <c:pt idx="18409">
                  <c:v>1</c:v>
                </c:pt>
                <c:pt idx="18410">
                  <c:v>0</c:v>
                </c:pt>
                <c:pt idx="18411">
                  <c:v>0</c:v>
                </c:pt>
                <c:pt idx="18412">
                  <c:v>0</c:v>
                </c:pt>
                <c:pt idx="18413">
                  <c:v>1</c:v>
                </c:pt>
                <c:pt idx="18414">
                  <c:v>0</c:v>
                </c:pt>
                <c:pt idx="18415">
                  <c:v>0</c:v>
                </c:pt>
                <c:pt idx="18416">
                  <c:v>0</c:v>
                </c:pt>
                <c:pt idx="18417">
                  <c:v>0</c:v>
                </c:pt>
                <c:pt idx="18418">
                  <c:v>0</c:v>
                </c:pt>
                <c:pt idx="18419">
                  <c:v>1</c:v>
                </c:pt>
                <c:pt idx="18420">
                  <c:v>0</c:v>
                </c:pt>
                <c:pt idx="18421">
                  <c:v>0</c:v>
                </c:pt>
                <c:pt idx="18422">
                  <c:v>0</c:v>
                </c:pt>
                <c:pt idx="18423">
                  <c:v>0</c:v>
                </c:pt>
                <c:pt idx="18424">
                  <c:v>2</c:v>
                </c:pt>
                <c:pt idx="18425">
                  <c:v>0</c:v>
                </c:pt>
                <c:pt idx="18426">
                  <c:v>0</c:v>
                </c:pt>
                <c:pt idx="18427">
                  <c:v>0</c:v>
                </c:pt>
                <c:pt idx="18428">
                  <c:v>0</c:v>
                </c:pt>
                <c:pt idx="18429">
                  <c:v>0</c:v>
                </c:pt>
                <c:pt idx="18430">
                  <c:v>3</c:v>
                </c:pt>
                <c:pt idx="18431">
                  <c:v>3</c:v>
                </c:pt>
                <c:pt idx="18432">
                  <c:v>0</c:v>
                </c:pt>
                <c:pt idx="18433">
                  <c:v>0</c:v>
                </c:pt>
                <c:pt idx="18434">
                  <c:v>1</c:v>
                </c:pt>
                <c:pt idx="18435">
                  <c:v>0</c:v>
                </c:pt>
                <c:pt idx="18436">
                  <c:v>0</c:v>
                </c:pt>
                <c:pt idx="18437">
                  <c:v>0</c:v>
                </c:pt>
                <c:pt idx="18438">
                  <c:v>2</c:v>
                </c:pt>
                <c:pt idx="18439">
                  <c:v>1</c:v>
                </c:pt>
                <c:pt idx="18440">
                  <c:v>1</c:v>
                </c:pt>
                <c:pt idx="18441">
                  <c:v>0</c:v>
                </c:pt>
                <c:pt idx="18442">
                  <c:v>1</c:v>
                </c:pt>
                <c:pt idx="18443">
                  <c:v>0</c:v>
                </c:pt>
                <c:pt idx="18444">
                  <c:v>0</c:v>
                </c:pt>
                <c:pt idx="18445">
                  <c:v>1</c:v>
                </c:pt>
                <c:pt idx="18446">
                  <c:v>0</c:v>
                </c:pt>
                <c:pt idx="18447">
                  <c:v>3</c:v>
                </c:pt>
                <c:pt idx="18448">
                  <c:v>0</c:v>
                </c:pt>
                <c:pt idx="18449">
                  <c:v>2</c:v>
                </c:pt>
                <c:pt idx="18450">
                  <c:v>5</c:v>
                </c:pt>
                <c:pt idx="18451">
                  <c:v>1</c:v>
                </c:pt>
                <c:pt idx="18452">
                  <c:v>4</c:v>
                </c:pt>
                <c:pt idx="18453">
                  <c:v>1</c:v>
                </c:pt>
                <c:pt idx="18454">
                  <c:v>0</c:v>
                </c:pt>
                <c:pt idx="18455">
                  <c:v>0</c:v>
                </c:pt>
                <c:pt idx="18456">
                  <c:v>0</c:v>
                </c:pt>
                <c:pt idx="18457">
                  <c:v>0</c:v>
                </c:pt>
                <c:pt idx="18458">
                  <c:v>0</c:v>
                </c:pt>
                <c:pt idx="18459">
                  <c:v>0</c:v>
                </c:pt>
                <c:pt idx="18460">
                  <c:v>6</c:v>
                </c:pt>
                <c:pt idx="18461">
                  <c:v>1</c:v>
                </c:pt>
                <c:pt idx="18462">
                  <c:v>0</c:v>
                </c:pt>
                <c:pt idx="18463">
                  <c:v>0</c:v>
                </c:pt>
                <c:pt idx="18464">
                  <c:v>0</c:v>
                </c:pt>
                <c:pt idx="18465">
                  <c:v>3</c:v>
                </c:pt>
                <c:pt idx="18466">
                  <c:v>0</c:v>
                </c:pt>
                <c:pt idx="18467">
                  <c:v>0</c:v>
                </c:pt>
                <c:pt idx="18468">
                  <c:v>0</c:v>
                </c:pt>
                <c:pt idx="18469">
                  <c:v>0</c:v>
                </c:pt>
                <c:pt idx="18470">
                  <c:v>0</c:v>
                </c:pt>
                <c:pt idx="18471">
                  <c:v>3</c:v>
                </c:pt>
                <c:pt idx="18472">
                  <c:v>0</c:v>
                </c:pt>
                <c:pt idx="18473">
                  <c:v>0</c:v>
                </c:pt>
                <c:pt idx="18474">
                  <c:v>2</c:v>
                </c:pt>
                <c:pt idx="18475">
                  <c:v>3</c:v>
                </c:pt>
                <c:pt idx="18476">
                  <c:v>0</c:v>
                </c:pt>
                <c:pt idx="18477">
                  <c:v>0</c:v>
                </c:pt>
                <c:pt idx="18478">
                  <c:v>0</c:v>
                </c:pt>
                <c:pt idx="18479">
                  <c:v>0</c:v>
                </c:pt>
                <c:pt idx="18480">
                  <c:v>0</c:v>
                </c:pt>
                <c:pt idx="18481">
                  <c:v>0</c:v>
                </c:pt>
                <c:pt idx="18482">
                  <c:v>0</c:v>
                </c:pt>
                <c:pt idx="18483">
                  <c:v>1</c:v>
                </c:pt>
                <c:pt idx="18484">
                  <c:v>3</c:v>
                </c:pt>
                <c:pt idx="18485">
                  <c:v>0</c:v>
                </c:pt>
                <c:pt idx="18486">
                  <c:v>2</c:v>
                </c:pt>
                <c:pt idx="18487">
                  <c:v>0</c:v>
                </c:pt>
                <c:pt idx="18488">
                  <c:v>3</c:v>
                </c:pt>
                <c:pt idx="18489">
                  <c:v>0</c:v>
                </c:pt>
                <c:pt idx="18490">
                  <c:v>2</c:v>
                </c:pt>
                <c:pt idx="18491">
                  <c:v>3</c:v>
                </c:pt>
                <c:pt idx="18492">
                  <c:v>0</c:v>
                </c:pt>
                <c:pt idx="18493">
                  <c:v>0</c:v>
                </c:pt>
                <c:pt idx="18494">
                  <c:v>1</c:v>
                </c:pt>
                <c:pt idx="18495">
                  <c:v>2</c:v>
                </c:pt>
                <c:pt idx="18496">
                  <c:v>5</c:v>
                </c:pt>
                <c:pt idx="18497">
                  <c:v>3</c:v>
                </c:pt>
                <c:pt idx="18498">
                  <c:v>4</c:v>
                </c:pt>
                <c:pt idx="18499">
                  <c:v>0</c:v>
                </c:pt>
                <c:pt idx="18500">
                  <c:v>0</c:v>
                </c:pt>
                <c:pt idx="18501">
                  <c:v>2</c:v>
                </c:pt>
                <c:pt idx="18502">
                  <c:v>6</c:v>
                </c:pt>
                <c:pt idx="18503">
                  <c:v>6</c:v>
                </c:pt>
                <c:pt idx="18504">
                  <c:v>0</c:v>
                </c:pt>
                <c:pt idx="18505">
                  <c:v>4</c:v>
                </c:pt>
                <c:pt idx="18506">
                  <c:v>0</c:v>
                </c:pt>
                <c:pt idx="18507">
                  <c:v>0</c:v>
                </c:pt>
                <c:pt idx="18508">
                  <c:v>1</c:v>
                </c:pt>
                <c:pt idx="18509">
                  <c:v>1</c:v>
                </c:pt>
                <c:pt idx="18510">
                  <c:v>0</c:v>
                </c:pt>
                <c:pt idx="18511">
                  <c:v>0</c:v>
                </c:pt>
                <c:pt idx="18512">
                  <c:v>1</c:v>
                </c:pt>
                <c:pt idx="18513">
                  <c:v>6</c:v>
                </c:pt>
                <c:pt idx="18514">
                  <c:v>0</c:v>
                </c:pt>
                <c:pt idx="18515">
                  <c:v>1</c:v>
                </c:pt>
                <c:pt idx="18516">
                  <c:v>3</c:v>
                </c:pt>
                <c:pt idx="18517">
                  <c:v>3</c:v>
                </c:pt>
                <c:pt idx="18518">
                  <c:v>0</c:v>
                </c:pt>
                <c:pt idx="18519">
                  <c:v>1</c:v>
                </c:pt>
                <c:pt idx="18520">
                  <c:v>0</c:v>
                </c:pt>
                <c:pt idx="18521">
                  <c:v>0</c:v>
                </c:pt>
                <c:pt idx="18522">
                  <c:v>0</c:v>
                </c:pt>
                <c:pt idx="18523">
                  <c:v>0</c:v>
                </c:pt>
                <c:pt idx="18524">
                  <c:v>0</c:v>
                </c:pt>
                <c:pt idx="18525">
                  <c:v>0</c:v>
                </c:pt>
                <c:pt idx="18526">
                  <c:v>1</c:v>
                </c:pt>
                <c:pt idx="18527">
                  <c:v>1</c:v>
                </c:pt>
                <c:pt idx="18528">
                  <c:v>0</c:v>
                </c:pt>
                <c:pt idx="18529">
                  <c:v>4</c:v>
                </c:pt>
                <c:pt idx="18530">
                  <c:v>3</c:v>
                </c:pt>
                <c:pt idx="18531">
                  <c:v>2</c:v>
                </c:pt>
                <c:pt idx="18532">
                  <c:v>1</c:v>
                </c:pt>
                <c:pt idx="18533">
                  <c:v>5</c:v>
                </c:pt>
                <c:pt idx="18534">
                  <c:v>2</c:v>
                </c:pt>
                <c:pt idx="18535">
                  <c:v>2</c:v>
                </c:pt>
                <c:pt idx="18536">
                  <c:v>3</c:v>
                </c:pt>
                <c:pt idx="18537">
                  <c:v>2</c:v>
                </c:pt>
                <c:pt idx="18538">
                  <c:v>17</c:v>
                </c:pt>
                <c:pt idx="18539">
                  <c:v>6</c:v>
                </c:pt>
                <c:pt idx="18540">
                  <c:v>4</c:v>
                </c:pt>
                <c:pt idx="18541">
                  <c:v>2</c:v>
                </c:pt>
                <c:pt idx="18542">
                  <c:v>23</c:v>
                </c:pt>
                <c:pt idx="18543">
                  <c:v>22</c:v>
                </c:pt>
                <c:pt idx="18544">
                  <c:v>1</c:v>
                </c:pt>
                <c:pt idx="18545">
                  <c:v>0</c:v>
                </c:pt>
                <c:pt idx="18546">
                  <c:v>11</c:v>
                </c:pt>
                <c:pt idx="18547">
                  <c:v>28</c:v>
                </c:pt>
                <c:pt idx="18548">
                  <c:v>3</c:v>
                </c:pt>
                <c:pt idx="18549">
                  <c:v>6</c:v>
                </c:pt>
                <c:pt idx="18550">
                  <c:v>12</c:v>
                </c:pt>
                <c:pt idx="18551">
                  <c:v>5</c:v>
                </c:pt>
                <c:pt idx="18552">
                  <c:v>5</c:v>
                </c:pt>
                <c:pt idx="18553">
                  <c:v>0</c:v>
                </c:pt>
                <c:pt idx="18554">
                  <c:v>5</c:v>
                </c:pt>
                <c:pt idx="18555">
                  <c:v>1</c:v>
                </c:pt>
                <c:pt idx="18556">
                  <c:v>1</c:v>
                </c:pt>
                <c:pt idx="18557">
                  <c:v>1</c:v>
                </c:pt>
                <c:pt idx="18558">
                  <c:v>4</c:v>
                </c:pt>
                <c:pt idx="18559">
                  <c:v>0</c:v>
                </c:pt>
                <c:pt idx="18560">
                  <c:v>0</c:v>
                </c:pt>
                <c:pt idx="18561">
                  <c:v>3</c:v>
                </c:pt>
                <c:pt idx="18562">
                  <c:v>2</c:v>
                </c:pt>
                <c:pt idx="18563">
                  <c:v>0</c:v>
                </c:pt>
                <c:pt idx="18564">
                  <c:v>1</c:v>
                </c:pt>
                <c:pt idx="18565">
                  <c:v>4</c:v>
                </c:pt>
                <c:pt idx="18566">
                  <c:v>1</c:v>
                </c:pt>
                <c:pt idx="18567">
                  <c:v>2</c:v>
                </c:pt>
                <c:pt idx="18568">
                  <c:v>0</c:v>
                </c:pt>
                <c:pt idx="18569">
                  <c:v>4</c:v>
                </c:pt>
                <c:pt idx="18570">
                  <c:v>0</c:v>
                </c:pt>
                <c:pt idx="18571">
                  <c:v>5</c:v>
                </c:pt>
                <c:pt idx="18572">
                  <c:v>4</c:v>
                </c:pt>
                <c:pt idx="18573">
                  <c:v>2</c:v>
                </c:pt>
                <c:pt idx="18574">
                  <c:v>6</c:v>
                </c:pt>
                <c:pt idx="18575">
                  <c:v>2</c:v>
                </c:pt>
                <c:pt idx="18576">
                  <c:v>4</c:v>
                </c:pt>
                <c:pt idx="18577">
                  <c:v>3</c:v>
                </c:pt>
                <c:pt idx="18578">
                  <c:v>0</c:v>
                </c:pt>
                <c:pt idx="18579">
                  <c:v>0</c:v>
                </c:pt>
                <c:pt idx="18580">
                  <c:v>1</c:v>
                </c:pt>
                <c:pt idx="18581">
                  <c:v>4</c:v>
                </c:pt>
                <c:pt idx="18582">
                  <c:v>0</c:v>
                </c:pt>
                <c:pt idx="18583">
                  <c:v>2</c:v>
                </c:pt>
                <c:pt idx="18584">
                  <c:v>0</c:v>
                </c:pt>
                <c:pt idx="18585">
                  <c:v>1</c:v>
                </c:pt>
                <c:pt idx="18586">
                  <c:v>5</c:v>
                </c:pt>
                <c:pt idx="18587">
                  <c:v>4</c:v>
                </c:pt>
                <c:pt idx="18588">
                  <c:v>1</c:v>
                </c:pt>
                <c:pt idx="18589">
                  <c:v>12</c:v>
                </c:pt>
                <c:pt idx="18590">
                  <c:v>1</c:v>
                </c:pt>
                <c:pt idx="18591">
                  <c:v>4</c:v>
                </c:pt>
                <c:pt idx="18592">
                  <c:v>9</c:v>
                </c:pt>
                <c:pt idx="18593">
                  <c:v>3</c:v>
                </c:pt>
                <c:pt idx="18594">
                  <c:v>1</c:v>
                </c:pt>
                <c:pt idx="18595">
                  <c:v>3</c:v>
                </c:pt>
                <c:pt idx="18596">
                  <c:v>3</c:v>
                </c:pt>
                <c:pt idx="18597">
                  <c:v>2</c:v>
                </c:pt>
                <c:pt idx="18598">
                  <c:v>2</c:v>
                </c:pt>
                <c:pt idx="18599">
                  <c:v>3</c:v>
                </c:pt>
                <c:pt idx="18600">
                  <c:v>0</c:v>
                </c:pt>
                <c:pt idx="18601">
                  <c:v>6</c:v>
                </c:pt>
                <c:pt idx="18602">
                  <c:v>0</c:v>
                </c:pt>
                <c:pt idx="18603">
                  <c:v>0</c:v>
                </c:pt>
                <c:pt idx="18604">
                  <c:v>0</c:v>
                </c:pt>
                <c:pt idx="18605">
                  <c:v>0</c:v>
                </c:pt>
                <c:pt idx="18606">
                  <c:v>6</c:v>
                </c:pt>
                <c:pt idx="18607">
                  <c:v>3</c:v>
                </c:pt>
                <c:pt idx="18608">
                  <c:v>0</c:v>
                </c:pt>
                <c:pt idx="18609">
                  <c:v>0</c:v>
                </c:pt>
                <c:pt idx="18610">
                  <c:v>0</c:v>
                </c:pt>
                <c:pt idx="18611">
                  <c:v>0</c:v>
                </c:pt>
                <c:pt idx="18612">
                  <c:v>0</c:v>
                </c:pt>
                <c:pt idx="18613">
                  <c:v>0</c:v>
                </c:pt>
                <c:pt idx="18614">
                  <c:v>0</c:v>
                </c:pt>
                <c:pt idx="18615">
                  <c:v>0</c:v>
                </c:pt>
                <c:pt idx="18616">
                  <c:v>0</c:v>
                </c:pt>
                <c:pt idx="18617">
                  <c:v>0</c:v>
                </c:pt>
                <c:pt idx="18618">
                  <c:v>0</c:v>
                </c:pt>
                <c:pt idx="18619">
                  <c:v>0</c:v>
                </c:pt>
                <c:pt idx="18620">
                  <c:v>0</c:v>
                </c:pt>
                <c:pt idx="18621">
                  <c:v>0</c:v>
                </c:pt>
                <c:pt idx="18622">
                  <c:v>0</c:v>
                </c:pt>
                <c:pt idx="18623">
                  <c:v>0</c:v>
                </c:pt>
                <c:pt idx="18624">
                  <c:v>0</c:v>
                </c:pt>
                <c:pt idx="18625">
                  <c:v>0</c:v>
                </c:pt>
                <c:pt idx="18626">
                  <c:v>0</c:v>
                </c:pt>
                <c:pt idx="18627">
                  <c:v>0</c:v>
                </c:pt>
                <c:pt idx="18628">
                  <c:v>0</c:v>
                </c:pt>
                <c:pt idx="18629">
                  <c:v>0</c:v>
                </c:pt>
                <c:pt idx="18630">
                  <c:v>0</c:v>
                </c:pt>
                <c:pt idx="18631">
                  <c:v>0</c:v>
                </c:pt>
                <c:pt idx="18632">
                  <c:v>0</c:v>
                </c:pt>
                <c:pt idx="18633">
                  <c:v>0</c:v>
                </c:pt>
                <c:pt idx="18634">
                  <c:v>0</c:v>
                </c:pt>
                <c:pt idx="18635">
                  <c:v>0</c:v>
                </c:pt>
                <c:pt idx="18636">
                  <c:v>0</c:v>
                </c:pt>
                <c:pt idx="18637">
                  <c:v>0</c:v>
                </c:pt>
                <c:pt idx="18638">
                  <c:v>0</c:v>
                </c:pt>
                <c:pt idx="18639">
                  <c:v>0</c:v>
                </c:pt>
                <c:pt idx="18640">
                  <c:v>0</c:v>
                </c:pt>
                <c:pt idx="18641">
                  <c:v>0</c:v>
                </c:pt>
                <c:pt idx="18642">
                  <c:v>0</c:v>
                </c:pt>
                <c:pt idx="18643">
                  <c:v>0</c:v>
                </c:pt>
                <c:pt idx="18644">
                  <c:v>0</c:v>
                </c:pt>
                <c:pt idx="18645">
                  <c:v>0</c:v>
                </c:pt>
                <c:pt idx="18646">
                  <c:v>0</c:v>
                </c:pt>
                <c:pt idx="18647">
                  <c:v>0</c:v>
                </c:pt>
                <c:pt idx="18648">
                  <c:v>0</c:v>
                </c:pt>
                <c:pt idx="18649">
                  <c:v>0</c:v>
                </c:pt>
                <c:pt idx="18650">
                  <c:v>0</c:v>
                </c:pt>
                <c:pt idx="18651">
                  <c:v>0</c:v>
                </c:pt>
                <c:pt idx="18652">
                  <c:v>0</c:v>
                </c:pt>
                <c:pt idx="18653">
                  <c:v>0</c:v>
                </c:pt>
                <c:pt idx="18654">
                  <c:v>0</c:v>
                </c:pt>
                <c:pt idx="18655">
                  <c:v>0</c:v>
                </c:pt>
                <c:pt idx="18656">
                  <c:v>0</c:v>
                </c:pt>
                <c:pt idx="18657">
                  <c:v>3</c:v>
                </c:pt>
                <c:pt idx="18658">
                  <c:v>0</c:v>
                </c:pt>
                <c:pt idx="18659">
                  <c:v>0</c:v>
                </c:pt>
                <c:pt idx="18660">
                  <c:v>0</c:v>
                </c:pt>
                <c:pt idx="18661">
                  <c:v>0</c:v>
                </c:pt>
                <c:pt idx="18662">
                  <c:v>0</c:v>
                </c:pt>
                <c:pt idx="18663">
                  <c:v>0</c:v>
                </c:pt>
                <c:pt idx="18664">
                  <c:v>0</c:v>
                </c:pt>
                <c:pt idx="18665">
                  <c:v>0</c:v>
                </c:pt>
                <c:pt idx="18666">
                  <c:v>0</c:v>
                </c:pt>
                <c:pt idx="18667">
                  <c:v>0</c:v>
                </c:pt>
                <c:pt idx="18668">
                  <c:v>0</c:v>
                </c:pt>
                <c:pt idx="18669">
                  <c:v>0</c:v>
                </c:pt>
                <c:pt idx="18670">
                  <c:v>0</c:v>
                </c:pt>
                <c:pt idx="18671">
                  <c:v>0</c:v>
                </c:pt>
                <c:pt idx="18672">
                  <c:v>0</c:v>
                </c:pt>
                <c:pt idx="18673">
                  <c:v>0</c:v>
                </c:pt>
                <c:pt idx="18674">
                  <c:v>1</c:v>
                </c:pt>
                <c:pt idx="18675">
                  <c:v>0</c:v>
                </c:pt>
                <c:pt idx="18676">
                  <c:v>0</c:v>
                </c:pt>
                <c:pt idx="18677">
                  <c:v>0</c:v>
                </c:pt>
                <c:pt idx="18678">
                  <c:v>0</c:v>
                </c:pt>
                <c:pt idx="18679">
                  <c:v>0</c:v>
                </c:pt>
                <c:pt idx="18680">
                  <c:v>0</c:v>
                </c:pt>
                <c:pt idx="18681">
                  <c:v>0</c:v>
                </c:pt>
                <c:pt idx="18682">
                  <c:v>0</c:v>
                </c:pt>
                <c:pt idx="18683">
                  <c:v>0</c:v>
                </c:pt>
                <c:pt idx="18684">
                  <c:v>0</c:v>
                </c:pt>
                <c:pt idx="18685">
                  <c:v>0</c:v>
                </c:pt>
                <c:pt idx="18686">
                  <c:v>0</c:v>
                </c:pt>
                <c:pt idx="18687">
                  <c:v>0</c:v>
                </c:pt>
                <c:pt idx="18688">
                  <c:v>0</c:v>
                </c:pt>
                <c:pt idx="18689">
                  <c:v>0</c:v>
                </c:pt>
                <c:pt idx="18690">
                  <c:v>0</c:v>
                </c:pt>
                <c:pt idx="18691">
                  <c:v>0</c:v>
                </c:pt>
                <c:pt idx="18692">
                  <c:v>0</c:v>
                </c:pt>
                <c:pt idx="18693">
                  <c:v>0</c:v>
                </c:pt>
                <c:pt idx="18694">
                  <c:v>0</c:v>
                </c:pt>
                <c:pt idx="18695">
                  <c:v>0</c:v>
                </c:pt>
                <c:pt idx="18696">
                  <c:v>0</c:v>
                </c:pt>
                <c:pt idx="18697">
                  <c:v>0</c:v>
                </c:pt>
                <c:pt idx="18698">
                  <c:v>0</c:v>
                </c:pt>
                <c:pt idx="18699">
                  <c:v>0</c:v>
                </c:pt>
                <c:pt idx="18700">
                  <c:v>0</c:v>
                </c:pt>
                <c:pt idx="18701">
                  <c:v>0</c:v>
                </c:pt>
                <c:pt idx="18702">
                  <c:v>0</c:v>
                </c:pt>
                <c:pt idx="18703">
                  <c:v>0</c:v>
                </c:pt>
                <c:pt idx="18704">
                  <c:v>0</c:v>
                </c:pt>
                <c:pt idx="18705">
                  <c:v>0</c:v>
                </c:pt>
                <c:pt idx="18706">
                  <c:v>0</c:v>
                </c:pt>
                <c:pt idx="18707">
                  <c:v>1</c:v>
                </c:pt>
                <c:pt idx="18708">
                  <c:v>0</c:v>
                </c:pt>
                <c:pt idx="18709">
                  <c:v>0</c:v>
                </c:pt>
                <c:pt idx="18710">
                  <c:v>0</c:v>
                </c:pt>
                <c:pt idx="18711">
                  <c:v>0</c:v>
                </c:pt>
                <c:pt idx="18712">
                  <c:v>0</c:v>
                </c:pt>
                <c:pt idx="18713">
                  <c:v>0</c:v>
                </c:pt>
                <c:pt idx="18714">
                  <c:v>0</c:v>
                </c:pt>
                <c:pt idx="18715">
                  <c:v>0</c:v>
                </c:pt>
                <c:pt idx="18716">
                  <c:v>0</c:v>
                </c:pt>
                <c:pt idx="18717">
                  <c:v>4</c:v>
                </c:pt>
                <c:pt idx="18718">
                  <c:v>3</c:v>
                </c:pt>
                <c:pt idx="18719">
                  <c:v>1</c:v>
                </c:pt>
                <c:pt idx="18720">
                  <c:v>1</c:v>
                </c:pt>
                <c:pt idx="18721">
                  <c:v>0</c:v>
                </c:pt>
                <c:pt idx="18722">
                  <c:v>1</c:v>
                </c:pt>
                <c:pt idx="18723">
                  <c:v>2</c:v>
                </c:pt>
                <c:pt idx="18724">
                  <c:v>1</c:v>
                </c:pt>
                <c:pt idx="18725">
                  <c:v>0</c:v>
                </c:pt>
                <c:pt idx="18726">
                  <c:v>0</c:v>
                </c:pt>
                <c:pt idx="18727">
                  <c:v>0</c:v>
                </c:pt>
                <c:pt idx="18728">
                  <c:v>0</c:v>
                </c:pt>
                <c:pt idx="18729">
                  <c:v>0</c:v>
                </c:pt>
                <c:pt idx="18730">
                  <c:v>0</c:v>
                </c:pt>
                <c:pt idx="18731">
                  <c:v>0</c:v>
                </c:pt>
                <c:pt idx="18732">
                  <c:v>0</c:v>
                </c:pt>
                <c:pt idx="18733">
                  <c:v>0</c:v>
                </c:pt>
                <c:pt idx="18734">
                  <c:v>0</c:v>
                </c:pt>
                <c:pt idx="18735">
                  <c:v>0</c:v>
                </c:pt>
                <c:pt idx="18736">
                  <c:v>0</c:v>
                </c:pt>
                <c:pt idx="18737">
                  <c:v>0</c:v>
                </c:pt>
                <c:pt idx="18738">
                  <c:v>1</c:v>
                </c:pt>
                <c:pt idx="18739">
                  <c:v>0</c:v>
                </c:pt>
                <c:pt idx="18740">
                  <c:v>0</c:v>
                </c:pt>
                <c:pt idx="18741">
                  <c:v>0</c:v>
                </c:pt>
                <c:pt idx="18742">
                  <c:v>0</c:v>
                </c:pt>
                <c:pt idx="18743">
                  <c:v>0</c:v>
                </c:pt>
                <c:pt idx="18744">
                  <c:v>0</c:v>
                </c:pt>
                <c:pt idx="18745">
                  <c:v>0</c:v>
                </c:pt>
                <c:pt idx="18746">
                  <c:v>0</c:v>
                </c:pt>
                <c:pt idx="18747">
                  <c:v>0</c:v>
                </c:pt>
                <c:pt idx="18748">
                  <c:v>0</c:v>
                </c:pt>
                <c:pt idx="18749">
                  <c:v>0</c:v>
                </c:pt>
                <c:pt idx="18750">
                  <c:v>0</c:v>
                </c:pt>
                <c:pt idx="18751">
                  <c:v>1</c:v>
                </c:pt>
                <c:pt idx="18752">
                  <c:v>5</c:v>
                </c:pt>
                <c:pt idx="18753">
                  <c:v>0</c:v>
                </c:pt>
                <c:pt idx="18754">
                  <c:v>0</c:v>
                </c:pt>
                <c:pt idx="18755">
                  <c:v>0</c:v>
                </c:pt>
                <c:pt idx="18756">
                  <c:v>0</c:v>
                </c:pt>
                <c:pt idx="18757">
                  <c:v>0</c:v>
                </c:pt>
                <c:pt idx="18758">
                  <c:v>0</c:v>
                </c:pt>
                <c:pt idx="18759">
                  <c:v>0</c:v>
                </c:pt>
                <c:pt idx="18760">
                  <c:v>0</c:v>
                </c:pt>
                <c:pt idx="18761">
                  <c:v>0</c:v>
                </c:pt>
                <c:pt idx="18762">
                  <c:v>1</c:v>
                </c:pt>
                <c:pt idx="18763">
                  <c:v>0</c:v>
                </c:pt>
                <c:pt idx="18764">
                  <c:v>0</c:v>
                </c:pt>
                <c:pt idx="18765">
                  <c:v>0</c:v>
                </c:pt>
                <c:pt idx="18766">
                  <c:v>2</c:v>
                </c:pt>
                <c:pt idx="18767">
                  <c:v>0</c:v>
                </c:pt>
                <c:pt idx="18768">
                  <c:v>0</c:v>
                </c:pt>
                <c:pt idx="18769">
                  <c:v>0</c:v>
                </c:pt>
                <c:pt idx="18770">
                  <c:v>0</c:v>
                </c:pt>
                <c:pt idx="18771">
                  <c:v>0</c:v>
                </c:pt>
                <c:pt idx="18772">
                  <c:v>0</c:v>
                </c:pt>
                <c:pt idx="18773">
                  <c:v>0</c:v>
                </c:pt>
                <c:pt idx="18774">
                  <c:v>0</c:v>
                </c:pt>
                <c:pt idx="18775">
                  <c:v>0</c:v>
                </c:pt>
                <c:pt idx="18776">
                  <c:v>0</c:v>
                </c:pt>
                <c:pt idx="18777">
                  <c:v>0</c:v>
                </c:pt>
                <c:pt idx="18778">
                  <c:v>0</c:v>
                </c:pt>
                <c:pt idx="18779">
                  <c:v>0</c:v>
                </c:pt>
                <c:pt idx="18780">
                  <c:v>0</c:v>
                </c:pt>
                <c:pt idx="18781">
                  <c:v>0</c:v>
                </c:pt>
                <c:pt idx="18782">
                  <c:v>0</c:v>
                </c:pt>
                <c:pt idx="18783">
                  <c:v>0</c:v>
                </c:pt>
                <c:pt idx="18784">
                  <c:v>0</c:v>
                </c:pt>
                <c:pt idx="18785">
                  <c:v>0</c:v>
                </c:pt>
                <c:pt idx="18786">
                  <c:v>0</c:v>
                </c:pt>
                <c:pt idx="18787">
                  <c:v>0</c:v>
                </c:pt>
                <c:pt idx="18788">
                  <c:v>0</c:v>
                </c:pt>
                <c:pt idx="18789">
                  <c:v>0</c:v>
                </c:pt>
                <c:pt idx="18790">
                  <c:v>0</c:v>
                </c:pt>
                <c:pt idx="18791">
                  <c:v>0</c:v>
                </c:pt>
                <c:pt idx="18792">
                  <c:v>0</c:v>
                </c:pt>
                <c:pt idx="18793">
                  <c:v>0</c:v>
                </c:pt>
                <c:pt idx="18794">
                  <c:v>0</c:v>
                </c:pt>
                <c:pt idx="18795">
                  <c:v>0</c:v>
                </c:pt>
                <c:pt idx="18796">
                  <c:v>0</c:v>
                </c:pt>
                <c:pt idx="18797">
                  <c:v>0</c:v>
                </c:pt>
                <c:pt idx="18798">
                  <c:v>0</c:v>
                </c:pt>
                <c:pt idx="18799">
                  <c:v>0</c:v>
                </c:pt>
                <c:pt idx="18800">
                  <c:v>1</c:v>
                </c:pt>
                <c:pt idx="18801">
                  <c:v>0</c:v>
                </c:pt>
                <c:pt idx="18802">
                  <c:v>3</c:v>
                </c:pt>
                <c:pt idx="18803">
                  <c:v>0</c:v>
                </c:pt>
                <c:pt idx="18804">
                  <c:v>0</c:v>
                </c:pt>
                <c:pt idx="18805">
                  <c:v>0</c:v>
                </c:pt>
                <c:pt idx="18806">
                  <c:v>0</c:v>
                </c:pt>
                <c:pt idx="18807">
                  <c:v>0</c:v>
                </c:pt>
                <c:pt idx="18808">
                  <c:v>0</c:v>
                </c:pt>
                <c:pt idx="18809">
                  <c:v>0</c:v>
                </c:pt>
                <c:pt idx="18810">
                  <c:v>1</c:v>
                </c:pt>
                <c:pt idx="18811">
                  <c:v>0</c:v>
                </c:pt>
                <c:pt idx="18812">
                  <c:v>0</c:v>
                </c:pt>
                <c:pt idx="18813">
                  <c:v>0</c:v>
                </c:pt>
                <c:pt idx="18814">
                  <c:v>0</c:v>
                </c:pt>
                <c:pt idx="18815">
                  <c:v>0</c:v>
                </c:pt>
                <c:pt idx="18816">
                  <c:v>0</c:v>
                </c:pt>
                <c:pt idx="18817">
                  <c:v>0</c:v>
                </c:pt>
                <c:pt idx="18818">
                  <c:v>0</c:v>
                </c:pt>
                <c:pt idx="18819">
                  <c:v>0</c:v>
                </c:pt>
                <c:pt idx="18820">
                  <c:v>0</c:v>
                </c:pt>
                <c:pt idx="18821">
                  <c:v>0</c:v>
                </c:pt>
                <c:pt idx="18822">
                  <c:v>0</c:v>
                </c:pt>
                <c:pt idx="18823">
                  <c:v>3</c:v>
                </c:pt>
                <c:pt idx="18824">
                  <c:v>0</c:v>
                </c:pt>
                <c:pt idx="18825">
                  <c:v>0</c:v>
                </c:pt>
                <c:pt idx="18826">
                  <c:v>0</c:v>
                </c:pt>
                <c:pt idx="18827">
                  <c:v>0</c:v>
                </c:pt>
                <c:pt idx="18828">
                  <c:v>0</c:v>
                </c:pt>
                <c:pt idx="18829">
                  <c:v>0</c:v>
                </c:pt>
                <c:pt idx="18830">
                  <c:v>0</c:v>
                </c:pt>
                <c:pt idx="18831">
                  <c:v>0</c:v>
                </c:pt>
                <c:pt idx="18832">
                  <c:v>0</c:v>
                </c:pt>
                <c:pt idx="18833">
                  <c:v>0</c:v>
                </c:pt>
                <c:pt idx="18834">
                  <c:v>0</c:v>
                </c:pt>
                <c:pt idx="18835">
                  <c:v>0</c:v>
                </c:pt>
                <c:pt idx="18836">
                  <c:v>0</c:v>
                </c:pt>
                <c:pt idx="18837">
                  <c:v>0</c:v>
                </c:pt>
                <c:pt idx="18838">
                  <c:v>0</c:v>
                </c:pt>
                <c:pt idx="18839">
                  <c:v>0</c:v>
                </c:pt>
                <c:pt idx="18840">
                  <c:v>0</c:v>
                </c:pt>
                <c:pt idx="18841">
                  <c:v>0</c:v>
                </c:pt>
                <c:pt idx="18842">
                  <c:v>0</c:v>
                </c:pt>
                <c:pt idx="18843">
                  <c:v>0</c:v>
                </c:pt>
                <c:pt idx="18844">
                  <c:v>0</c:v>
                </c:pt>
                <c:pt idx="18845">
                  <c:v>0</c:v>
                </c:pt>
                <c:pt idx="18846">
                  <c:v>0</c:v>
                </c:pt>
                <c:pt idx="18847">
                  <c:v>0</c:v>
                </c:pt>
                <c:pt idx="18848">
                  <c:v>0</c:v>
                </c:pt>
                <c:pt idx="18849">
                  <c:v>0</c:v>
                </c:pt>
                <c:pt idx="18850">
                  <c:v>0</c:v>
                </c:pt>
                <c:pt idx="18851">
                  <c:v>0</c:v>
                </c:pt>
                <c:pt idx="18852">
                  <c:v>0</c:v>
                </c:pt>
                <c:pt idx="18853">
                  <c:v>0</c:v>
                </c:pt>
                <c:pt idx="18854">
                  <c:v>0</c:v>
                </c:pt>
                <c:pt idx="18855">
                  <c:v>0</c:v>
                </c:pt>
                <c:pt idx="18856">
                  <c:v>0</c:v>
                </c:pt>
                <c:pt idx="18857">
                  <c:v>0</c:v>
                </c:pt>
                <c:pt idx="18858">
                  <c:v>0</c:v>
                </c:pt>
                <c:pt idx="18859">
                  <c:v>0</c:v>
                </c:pt>
                <c:pt idx="18860">
                  <c:v>0</c:v>
                </c:pt>
                <c:pt idx="18861">
                  <c:v>0</c:v>
                </c:pt>
                <c:pt idx="18862">
                  <c:v>2</c:v>
                </c:pt>
                <c:pt idx="18863">
                  <c:v>0</c:v>
                </c:pt>
                <c:pt idx="18864">
                  <c:v>0</c:v>
                </c:pt>
                <c:pt idx="18865">
                  <c:v>0</c:v>
                </c:pt>
                <c:pt idx="18866">
                  <c:v>0</c:v>
                </c:pt>
                <c:pt idx="18867">
                  <c:v>0</c:v>
                </c:pt>
                <c:pt idx="18868">
                  <c:v>0</c:v>
                </c:pt>
                <c:pt idx="18869">
                  <c:v>0</c:v>
                </c:pt>
                <c:pt idx="18870">
                  <c:v>0</c:v>
                </c:pt>
                <c:pt idx="18871">
                  <c:v>0</c:v>
                </c:pt>
                <c:pt idx="18872">
                  <c:v>0</c:v>
                </c:pt>
                <c:pt idx="18873">
                  <c:v>0</c:v>
                </c:pt>
                <c:pt idx="18874">
                  <c:v>0</c:v>
                </c:pt>
                <c:pt idx="18875">
                  <c:v>0</c:v>
                </c:pt>
                <c:pt idx="18876">
                  <c:v>0</c:v>
                </c:pt>
                <c:pt idx="18877">
                  <c:v>0</c:v>
                </c:pt>
                <c:pt idx="18878">
                  <c:v>0</c:v>
                </c:pt>
                <c:pt idx="18879">
                  <c:v>0</c:v>
                </c:pt>
                <c:pt idx="18880">
                  <c:v>0</c:v>
                </c:pt>
                <c:pt idx="18881">
                  <c:v>0</c:v>
                </c:pt>
                <c:pt idx="18882">
                  <c:v>0</c:v>
                </c:pt>
                <c:pt idx="18883">
                  <c:v>0</c:v>
                </c:pt>
                <c:pt idx="18884">
                  <c:v>0</c:v>
                </c:pt>
                <c:pt idx="18885">
                  <c:v>0</c:v>
                </c:pt>
                <c:pt idx="18886">
                  <c:v>0</c:v>
                </c:pt>
                <c:pt idx="18887">
                  <c:v>0</c:v>
                </c:pt>
                <c:pt idx="18888">
                  <c:v>0</c:v>
                </c:pt>
                <c:pt idx="18889">
                  <c:v>0</c:v>
                </c:pt>
                <c:pt idx="18890">
                  <c:v>0</c:v>
                </c:pt>
                <c:pt idx="18891">
                  <c:v>0</c:v>
                </c:pt>
                <c:pt idx="18892">
                  <c:v>1</c:v>
                </c:pt>
                <c:pt idx="18893">
                  <c:v>0</c:v>
                </c:pt>
                <c:pt idx="18894">
                  <c:v>0</c:v>
                </c:pt>
                <c:pt idx="18895">
                  <c:v>0</c:v>
                </c:pt>
                <c:pt idx="18896">
                  <c:v>0</c:v>
                </c:pt>
                <c:pt idx="18897">
                  <c:v>1</c:v>
                </c:pt>
                <c:pt idx="18898">
                  <c:v>0</c:v>
                </c:pt>
                <c:pt idx="18899">
                  <c:v>0</c:v>
                </c:pt>
                <c:pt idx="18900">
                  <c:v>0</c:v>
                </c:pt>
                <c:pt idx="18901">
                  <c:v>0</c:v>
                </c:pt>
                <c:pt idx="18902">
                  <c:v>0</c:v>
                </c:pt>
                <c:pt idx="18903">
                  <c:v>0</c:v>
                </c:pt>
                <c:pt idx="18904">
                  <c:v>0</c:v>
                </c:pt>
                <c:pt idx="18905">
                  <c:v>0</c:v>
                </c:pt>
                <c:pt idx="18906">
                  <c:v>0</c:v>
                </c:pt>
                <c:pt idx="18907">
                  <c:v>0</c:v>
                </c:pt>
                <c:pt idx="18908">
                  <c:v>0</c:v>
                </c:pt>
                <c:pt idx="18909">
                  <c:v>0</c:v>
                </c:pt>
                <c:pt idx="18910">
                  <c:v>0</c:v>
                </c:pt>
                <c:pt idx="18911">
                  <c:v>0</c:v>
                </c:pt>
                <c:pt idx="18912">
                  <c:v>0</c:v>
                </c:pt>
                <c:pt idx="18913">
                  <c:v>0</c:v>
                </c:pt>
                <c:pt idx="18914">
                  <c:v>0</c:v>
                </c:pt>
                <c:pt idx="18915">
                  <c:v>0</c:v>
                </c:pt>
                <c:pt idx="18916">
                  <c:v>0</c:v>
                </c:pt>
                <c:pt idx="18917">
                  <c:v>1</c:v>
                </c:pt>
                <c:pt idx="18918">
                  <c:v>0</c:v>
                </c:pt>
                <c:pt idx="18919">
                  <c:v>0</c:v>
                </c:pt>
                <c:pt idx="18920">
                  <c:v>1</c:v>
                </c:pt>
                <c:pt idx="18921">
                  <c:v>0</c:v>
                </c:pt>
                <c:pt idx="18922">
                  <c:v>0</c:v>
                </c:pt>
                <c:pt idx="18923">
                  <c:v>0</c:v>
                </c:pt>
                <c:pt idx="18924">
                  <c:v>0</c:v>
                </c:pt>
                <c:pt idx="18925">
                  <c:v>0</c:v>
                </c:pt>
                <c:pt idx="18926">
                  <c:v>0</c:v>
                </c:pt>
                <c:pt idx="18927">
                  <c:v>0</c:v>
                </c:pt>
                <c:pt idx="18928">
                  <c:v>0</c:v>
                </c:pt>
                <c:pt idx="18929">
                  <c:v>0</c:v>
                </c:pt>
                <c:pt idx="18930">
                  <c:v>0</c:v>
                </c:pt>
                <c:pt idx="18931">
                  <c:v>0</c:v>
                </c:pt>
                <c:pt idx="18932">
                  <c:v>0</c:v>
                </c:pt>
                <c:pt idx="18933">
                  <c:v>0</c:v>
                </c:pt>
                <c:pt idx="18934">
                  <c:v>1</c:v>
                </c:pt>
                <c:pt idx="18935">
                  <c:v>1</c:v>
                </c:pt>
                <c:pt idx="18936">
                  <c:v>0</c:v>
                </c:pt>
                <c:pt idx="18937">
                  <c:v>1</c:v>
                </c:pt>
                <c:pt idx="18938">
                  <c:v>0</c:v>
                </c:pt>
                <c:pt idx="18939">
                  <c:v>0</c:v>
                </c:pt>
                <c:pt idx="18940">
                  <c:v>2</c:v>
                </c:pt>
                <c:pt idx="18941">
                  <c:v>3</c:v>
                </c:pt>
                <c:pt idx="18942">
                  <c:v>5</c:v>
                </c:pt>
                <c:pt idx="18943">
                  <c:v>0</c:v>
                </c:pt>
                <c:pt idx="18944">
                  <c:v>1</c:v>
                </c:pt>
                <c:pt idx="18945">
                  <c:v>8</c:v>
                </c:pt>
                <c:pt idx="18946">
                  <c:v>17</c:v>
                </c:pt>
                <c:pt idx="18947">
                  <c:v>0</c:v>
                </c:pt>
                <c:pt idx="18948">
                  <c:v>0</c:v>
                </c:pt>
                <c:pt idx="18949">
                  <c:v>0</c:v>
                </c:pt>
                <c:pt idx="18950">
                  <c:v>0</c:v>
                </c:pt>
                <c:pt idx="18951">
                  <c:v>0</c:v>
                </c:pt>
                <c:pt idx="18952">
                  <c:v>0</c:v>
                </c:pt>
                <c:pt idx="18953">
                  <c:v>0</c:v>
                </c:pt>
                <c:pt idx="18954">
                  <c:v>0</c:v>
                </c:pt>
                <c:pt idx="18955">
                  <c:v>0</c:v>
                </c:pt>
                <c:pt idx="18956">
                  <c:v>0</c:v>
                </c:pt>
                <c:pt idx="18957">
                  <c:v>0</c:v>
                </c:pt>
                <c:pt idx="18958">
                  <c:v>0</c:v>
                </c:pt>
                <c:pt idx="18959">
                  <c:v>0</c:v>
                </c:pt>
                <c:pt idx="18960">
                  <c:v>0</c:v>
                </c:pt>
                <c:pt idx="18961">
                  <c:v>0</c:v>
                </c:pt>
                <c:pt idx="18962">
                  <c:v>0</c:v>
                </c:pt>
                <c:pt idx="18963">
                  <c:v>0</c:v>
                </c:pt>
                <c:pt idx="18964">
                  <c:v>0</c:v>
                </c:pt>
                <c:pt idx="18965">
                  <c:v>0</c:v>
                </c:pt>
                <c:pt idx="18966">
                  <c:v>0</c:v>
                </c:pt>
                <c:pt idx="18967">
                  <c:v>0</c:v>
                </c:pt>
                <c:pt idx="18968">
                  <c:v>0</c:v>
                </c:pt>
                <c:pt idx="18969">
                  <c:v>0</c:v>
                </c:pt>
                <c:pt idx="18970">
                  <c:v>0</c:v>
                </c:pt>
                <c:pt idx="18971">
                  <c:v>0</c:v>
                </c:pt>
                <c:pt idx="18972">
                  <c:v>0</c:v>
                </c:pt>
                <c:pt idx="18973">
                  <c:v>0</c:v>
                </c:pt>
                <c:pt idx="18974">
                  <c:v>0</c:v>
                </c:pt>
                <c:pt idx="18975">
                  <c:v>0</c:v>
                </c:pt>
                <c:pt idx="18976">
                  <c:v>0</c:v>
                </c:pt>
                <c:pt idx="18977">
                  <c:v>0</c:v>
                </c:pt>
                <c:pt idx="18978">
                  <c:v>0</c:v>
                </c:pt>
                <c:pt idx="18979">
                  <c:v>0</c:v>
                </c:pt>
                <c:pt idx="18980">
                  <c:v>0</c:v>
                </c:pt>
                <c:pt idx="18981">
                  <c:v>0</c:v>
                </c:pt>
                <c:pt idx="18982">
                  <c:v>0</c:v>
                </c:pt>
                <c:pt idx="18983">
                  <c:v>15</c:v>
                </c:pt>
                <c:pt idx="18984">
                  <c:v>0</c:v>
                </c:pt>
                <c:pt idx="18985">
                  <c:v>0</c:v>
                </c:pt>
                <c:pt idx="18986">
                  <c:v>0</c:v>
                </c:pt>
                <c:pt idx="18987">
                  <c:v>0</c:v>
                </c:pt>
                <c:pt idx="18988">
                  <c:v>0</c:v>
                </c:pt>
                <c:pt idx="18989">
                  <c:v>0</c:v>
                </c:pt>
                <c:pt idx="18990">
                  <c:v>0</c:v>
                </c:pt>
                <c:pt idx="18991">
                  <c:v>0</c:v>
                </c:pt>
                <c:pt idx="18992">
                  <c:v>0</c:v>
                </c:pt>
                <c:pt idx="18993">
                  <c:v>0</c:v>
                </c:pt>
                <c:pt idx="18994">
                  <c:v>0</c:v>
                </c:pt>
                <c:pt idx="18995">
                  <c:v>8</c:v>
                </c:pt>
                <c:pt idx="18996">
                  <c:v>8</c:v>
                </c:pt>
                <c:pt idx="18997">
                  <c:v>0</c:v>
                </c:pt>
                <c:pt idx="18998">
                  <c:v>0</c:v>
                </c:pt>
                <c:pt idx="18999">
                  <c:v>0</c:v>
                </c:pt>
                <c:pt idx="19000">
                  <c:v>0</c:v>
                </c:pt>
                <c:pt idx="19001">
                  <c:v>0</c:v>
                </c:pt>
                <c:pt idx="19002">
                  <c:v>0</c:v>
                </c:pt>
                <c:pt idx="19003">
                  <c:v>0</c:v>
                </c:pt>
                <c:pt idx="19004">
                  <c:v>0</c:v>
                </c:pt>
                <c:pt idx="19005">
                  <c:v>0</c:v>
                </c:pt>
                <c:pt idx="19006">
                  <c:v>7</c:v>
                </c:pt>
                <c:pt idx="19007">
                  <c:v>2</c:v>
                </c:pt>
                <c:pt idx="19008">
                  <c:v>13</c:v>
                </c:pt>
                <c:pt idx="19009">
                  <c:v>0</c:v>
                </c:pt>
                <c:pt idx="19010">
                  <c:v>0</c:v>
                </c:pt>
                <c:pt idx="19011">
                  <c:v>0</c:v>
                </c:pt>
                <c:pt idx="19012">
                  <c:v>0</c:v>
                </c:pt>
                <c:pt idx="19013">
                  <c:v>1</c:v>
                </c:pt>
                <c:pt idx="19014">
                  <c:v>0</c:v>
                </c:pt>
                <c:pt idx="19015">
                  <c:v>0</c:v>
                </c:pt>
                <c:pt idx="19016">
                  <c:v>0</c:v>
                </c:pt>
                <c:pt idx="19017">
                  <c:v>0</c:v>
                </c:pt>
                <c:pt idx="19018">
                  <c:v>0</c:v>
                </c:pt>
                <c:pt idx="19019">
                  <c:v>0</c:v>
                </c:pt>
                <c:pt idx="19020">
                  <c:v>0</c:v>
                </c:pt>
                <c:pt idx="19021">
                  <c:v>0</c:v>
                </c:pt>
                <c:pt idx="19022">
                  <c:v>0</c:v>
                </c:pt>
                <c:pt idx="19023">
                  <c:v>0</c:v>
                </c:pt>
                <c:pt idx="19024">
                  <c:v>0</c:v>
                </c:pt>
                <c:pt idx="19025">
                  <c:v>0</c:v>
                </c:pt>
                <c:pt idx="19026">
                  <c:v>0</c:v>
                </c:pt>
                <c:pt idx="19027">
                  <c:v>0</c:v>
                </c:pt>
                <c:pt idx="19028">
                  <c:v>0</c:v>
                </c:pt>
                <c:pt idx="19029">
                  <c:v>0</c:v>
                </c:pt>
                <c:pt idx="19030">
                  <c:v>0</c:v>
                </c:pt>
                <c:pt idx="19031">
                  <c:v>0</c:v>
                </c:pt>
                <c:pt idx="19032">
                  <c:v>0</c:v>
                </c:pt>
                <c:pt idx="19033">
                  <c:v>0</c:v>
                </c:pt>
                <c:pt idx="19034">
                  <c:v>0</c:v>
                </c:pt>
                <c:pt idx="19035">
                  <c:v>0</c:v>
                </c:pt>
                <c:pt idx="19036">
                  <c:v>0</c:v>
                </c:pt>
                <c:pt idx="19037">
                  <c:v>0</c:v>
                </c:pt>
                <c:pt idx="19038">
                  <c:v>0</c:v>
                </c:pt>
                <c:pt idx="19039">
                  <c:v>0</c:v>
                </c:pt>
                <c:pt idx="19040">
                  <c:v>0</c:v>
                </c:pt>
                <c:pt idx="19041">
                  <c:v>0</c:v>
                </c:pt>
                <c:pt idx="19042">
                  <c:v>0</c:v>
                </c:pt>
                <c:pt idx="19043">
                  <c:v>0</c:v>
                </c:pt>
                <c:pt idx="19044">
                  <c:v>0</c:v>
                </c:pt>
                <c:pt idx="19045">
                  <c:v>0</c:v>
                </c:pt>
                <c:pt idx="19046">
                  <c:v>0</c:v>
                </c:pt>
                <c:pt idx="19047">
                  <c:v>0</c:v>
                </c:pt>
                <c:pt idx="19048">
                  <c:v>0</c:v>
                </c:pt>
                <c:pt idx="19049">
                  <c:v>0</c:v>
                </c:pt>
                <c:pt idx="19050">
                  <c:v>0</c:v>
                </c:pt>
                <c:pt idx="19051">
                  <c:v>0</c:v>
                </c:pt>
                <c:pt idx="19052">
                  <c:v>0</c:v>
                </c:pt>
                <c:pt idx="19053">
                  <c:v>0</c:v>
                </c:pt>
                <c:pt idx="19054">
                  <c:v>0</c:v>
                </c:pt>
                <c:pt idx="19055">
                  <c:v>0</c:v>
                </c:pt>
                <c:pt idx="19056">
                  <c:v>0</c:v>
                </c:pt>
                <c:pt idx="19057">
                  <c:v>0</c:v>
                </c:pt>
                <c:pt idx="19058">
                  <c:v>0</c:v>
                </c:pt>
                <c:pt idx="19059">
                  <c:v>0</c:v>
                </c:pt>
                <c:pt idx="19060">
                  <c:v>1</c:v>
                </c:pt>
                <c:pt idx="19061">
                  <c:v>0</c:v>
                </c:pt>
                <c:pt idx="19062">
                  <c:v>0</c:v>
                </c:pt>
                <c:pt idx="19063">
                  <c:v>0</c:v>
                </c:pt>
                <c:pt idx="19064">
                  <c:v>0</c:v>
                </c:pt>
                <c:pt idx="19065">
                  <c:v>0</c:v>
                </c:pt>
                <c:pt idx="19066">
                  <c:v>0</c:v>
                </c:pt>
                <c:pt idx="19067">
                  <c:v>0</c:v>
                </c:pt>
                <c:pt idx="19068">
                  <c:v>0</c:v>
                </c:pt>
                <c:pt idx="19069">
                  <c:v>0</c:v>
                </c:pt>
                <c:pt idx="19070">
                  <c:v>0</c:v>
                </c:pt>
                <c:pt idx="19071">
                  <c:v>1</c:v>
                </c:pt>
                <c:pt idx="19072">
                  <c:v>0</c:v>
                </c:pt>
                <c:pt idx="19073">
                  <c:v>0</c:v>
                </c:pt>
                <c:pt idx="19074">
                  <c:v>0</c:v>
                </c:pt>
                <c:pt idx="19075">
                  <c:v>0</c:v>
                </c:pt>
                <c:pt idx="19076">
                  <c:v>0</c:v>
                </c:pt>
                <c:pt idx="19077">
                  <c:v>0</c:v>
                </c:pt>
                <c:pt idx="19078">
                  <c:v>0</c:v>
                </c:pt>
                <c:pt idx="19079">
                  <c:v>0</c:v>
                </c:pt>
                <c:pt idx="19080">
                  <c:v>0</c:v>
                </c:pt>
                <c:pt idx="19081">
                  <c:v>0</c:v>
                </c:pt>
                <c:pt idx="19082">
                  <c:v>0</c:v>
                </c:pt>
                <c:pt idx="19083">
                  <c:v>0</c:v>
                </c:pt>
                <c:pt idx="19084">
                  <c:v>0</c:v>
                </c:pt>
                <c:pt idx="19085">
                  <c:v>0</c:v>
                </c:pt>
                <c:pt idx="19086">
                  <c:v>0</c:v>
                </c:pt>
                <c:pt idx="19087">
                  <c:v>0</c:v>
                </c:pt>
                <c:pt idx="19088">
                  <c:v>0</c:v>
                </c:pt>
                <c:pt idx="19089">
                  <c:v>0</c:v>
                </c:pt>
                <c:pt idx="19090">
                  <c:v>0</c:v>
                </c:pt>
                <c:pt idx="19091">
                  <c:v>0</c:v>
                </c:pt>
                <c:pt idx="19092">
                  <c:v>0</c:v>
                </c:pt>
                <c:pt idx="19093">
                  <c:v>0</c:v>
                </c:pt>
                <c:pt idx="19094">
                  <c:v>0</c:v>
                </c:pt>
                <c:pt idx="19095">
                  <c:v>0</c:v>
                </c:pt>
                <c:pt idx="19096">
                  <c:v>0</c:v>
                </c:pt>
                <c:pt idx="19097">
                  <c:v>0</c:v>
                </c:pt>
                <c:pt idx="19098">
                  <c:v>0</c:v>
                </c:pt>
                <c:pt idx="19099">
                  <c:v>5</c:v>
                </c:pt>
                <c:pt idx="19100">
                  <c:v>0</c:v>
                </c:pt>
                <c:pt idx="19101">
                  <c:v>0</c:v>
                </c:pt>
                <c:pt idx="19102">
                  <c:v>0</c:v>
                </c:pt>
                <c:pt idx="19103">
                  <c:v>0</c:v>
                </c:pt>
                <c:pt idx="19104">
                  <c:v>0</c:v>
                </c:pt>
                <c:pt idx="19105">
                  <c:v>0</c:v>
                </c:pt>
                <c:pt idx="19106">
                  <c:v>0</c:v>
                </c:pt>
                <c:pt idx="19107">
                  <c:v>0</c:v>
                </c:pt>
                <c:pt idx="19108">
                  <c:v>0</c:v>
                </c:pt>
                <c:pt idx="19109">
                  <c:v>0</c:v>
                </c:pt>
                <c:pt idx="19110">
                  <c:v>0</c:v>
                </c:pt>
                <c:pt idx="19111">
                  <c:v>0</c:v>
                </c:pt>
                <c:pt idx="19112">
                  <c:v>0</c:v>
                </c:pt>
                <c:pt idx="19113">
                  <c:v>0</c:v>
                </c:pt>
                <c:pt idx="19114">
                  <c:v>0</c:v>
                </c:pt>
                <c:pt idx="19115">
                  <c:v>0</c:v>
                </c:pt>
                <c:pt idx="19116">
                  <c:v>0</c:v>
                </c:pt>
                <c:pt idx="19117">
                  <c:v>0</c:v>
                </c:pt>
                <c:pt idx="19118">
                  <c:v>0</c:v>
                </c:pt>
                <c:pt idx="19119">
                  <c:v>0</c:v>
                </c:pt>
                <c:pt idx="19120">
                  <c:v>0</c:v>
                </c:pt>
                <c:pt idx="19121">
                  <c:v>0</c:v>
                </c:pt>
                <c:pt idx="19122">
                  <c:v>0</c:v>
                </c:pt>
                <c:pt idx="19123">
                  <c:v>0</c:v>
                </c:pt>
                <c:pt idx="19124">
                  <c:v>0</c:v>
                </c:pt>
                <c:pt idx="19125">
                  <c:v>0</c:v>
                </c:pt>
                <c:pt idx="19126">
                  <c:v>0</c:v>
                </c:pt>
                <c:pt idx="19127">
                  <c:v>0</c:v>
                </c:pt>
                <c:pt idx="19128">
                  <c:v>0</c:v>
                </c:pt>
                <c:pt idx="19129">
                  <c:v>0</c:v>
                </c:pt>
                <c:pt idx="19130">
                  <c:v>0</c:v>
                </c:pt>
                <c:pt idx="19131">
                  <c:v>0</c:v>
                </c:pt>
                <c:pt idx="19132">
                  <c:v>0</c:v>
                </c:pt>
                <c:pt idx="19133">
                  <c:v>0</c:v>
                </c:pt>
                <c:pt idx="19134">
                  <c:v>0</c:v>
                </c:pt>
                <c:pt idx="19135">
                  <c:v>0</c:v>
                </c:pt>
                <c:pt idx="19136">
                  <c:v>0</c:v>
                </c:pt>
                <c:pt idx="19137">
                  <c:v>0</c:v>
                </c:pt>
                <c:pt idx="19138">
                  <c:v>0</c:v>
                </c:pt>
                <c:pt idx="19139">
                  <c:v>0</c:v>
                </c:pt>
                <c:pt idx="19140">
                  <c:v>0</c:v>
                </c:pt>
                <c:pt idx="19141">
                  <c:v>0</c:v>
                </c:pt>
                <c:pt idx="19142">
                  <c:v>0</c:v>
                </c:pt>
                <c:pt idx="19143">
                  <c:v>0</c:v>
                </c:pt>
                <c:pt idx="19144">
                  <c:v>0</c:v>
                </c:pt>
                <c:pt idx="19145">
                  <c:v>0</c:v>
                </c:pt>
                <c:pt idx="19146">
                  <c:v>0</c:v>
                </c:pt>
                <c:pt idx="19147">
                  <c:v>0</c:v>
                </c:pt>
                <c:pt idx="19148">
                  <c:v>0</c:v>
                </c:pt>
                <c:pt idx="19149">
                  <c:v>0</c:v>
                </c:pt>
                <c:pt idx="19150">
                  <c:v>0</c:v>
                </c:pt>
                <c:pt idx="19151">
                  <c:v>0</c:v>
                </c:pt>
                <c:pt idx="19152">
                  <c:v>0</c:v>
                </c:pt>
                <c:pt idx="19153">
                  <c:v>0</c:v>
                </c:pt>
                <c:pt idx="19154">
                  <c:v>0</c:v>
                </c:pt>
                <c:pt idx="19155">
                  <c:v>0</c:v>
                </c:pt>
                <c:pt idx="19156">
                  <c:v>0</c:v>
                </c:pt>
                <c:pt idx="19157">
                  <c:v>0</c:v>
                </c:pt>
                <c:pt idx="19158">
                  <c:v>3</c:v>
                </c:pt>
                <c:pt idx="19159">
                  <c:v>0</c:v>
                </c:pt>
                <c:pt idx="19160">
                  <c:v>0</c:v>
                </c:pt>
                <c:pt idx="19161">
                  <c:v>0</c:v>
                </c:pt>
                <c:pt idx="19162">
                  <c:v>0</c:v>
                </c:pt>
                <c:pt idx="19163">
                  <c:v>0</c:v>
                </c:pt>
                <c:pt idx="19164">
                  <c:v>0</c:v>
                </c:pt>
                <c:pt idx="19165">
                  <c:v>0</c:v>
                </c:pt>
                <c:pt idx="19166">
                  <c:v>3</c:v>
                </c:pt>
                <c:pt idx="19167">
                  <c:v>1</c:v>
                </c:pt>
                <c:pt idx="19168">
                  <c:v>1</c:v>
                </c:pt>
                <c:pt idx="19169">
                  <c:v>0</c:v>
                </c:pt>
                <c:pt idx="19170">
                  <c:v>0</c:v>
                </c:pt>
                <c:pt idx="19171">
                  <c:v>0</c:v>
                </c:pt>
                <c:pt idx="19172">
                  <c:v>0</c:v>
                </c:pt>
                <c:pt idx="19173">
                  <c:v>1</c:v>
                </c:pt>
                <c:pt idx="19174">
                  <c:v>0</c:v>
                </c:pt>
                <c:pt idx="19175">
                  <c:v>0</c:v>
                </c:pt>
                <c:pt idx="19176">
                  <c:v>0</c:v>
                </c:pt>
                <c:pt idx="19177">
                  <c:v>0</c:v>
                </c:pt>
                <c:pt idx="19178">
                  <c:v>0</c:v>
                </c:pt>
                <c:pt idx="19179">
                  <c:v>0</c:v>
                </c:pt>
                <c:pt idx="19180">
                  <c:v>0</c:v>
                </c:pt>
                <c:pt idx="19181">
                  <c:v>0</c:v>
                </c:pt>
                <c:pt idx="19182">
                  <c:v>0</c:v>
                </c:pt>
                <c:pt idx="19183">
                  <c:v>0</c:v>
                </c:pt>
                <c:pt idx="19184">
                  <c:v>0</c:v>
                </c:pt>
                <c:pt idx="19185">
                  <c:v>0</c:v>
                </c:pt>
                <c:pt idx="19186">
                  <c:v>0</c:v>
                </c:pt>
                <c:pt idx="19187">
                  <c:v>0</c:v>
                </c:pt>
                <c:pt idx="19188">
                  <c:v>0</c:v>
                </c:pt>
                <c:pt idx="19189">
                  <c:v>0</c:v>
                </c:pt>
                <c:pt idx="19190">
                  <c:v>0</c:v>
                </c:pt>
                <c:pt idx="19191">
                  <c:v>0</c:v>
                </c:pt>
                <c:pt idx="19192">
                  <c:v>0</c:v>
                </c:pt>
                <c:pt idx="19193">
                  <c:v>0</c:v>
                </c:pt>
                <c:pt idx="19194">
                  <c:v>0</c:v>
                </c:pt>
                <c:pt idx="19195">
                  <c:v>0</c:v>
                </c:pt>
                <c:pt idx="19196">
                  <c:v>0</c:v>
                </c:pt>
                <c:pt idx="19197">
                  <c:v>0</c:v>
                </c:pt>
                <c:pt idx="19198">
                  <c:v>0</c:v>
                </c:pt>
                <c:pt idx="19199">
                  <c:v>0</c:v>
                </c:pt>
                <c:pt idx="19200">
                  <c:v>3</c:v>
                </c:pt>
                <c:pt idx="19201">
                  <c:v>0</c:v>
                </c:pt>
                <c:pt idx="19202">
                  <c:v>0</c:v>
                </c:pt>
                <c:pt idx="19203">
                  <c:v>0</c:v>
                </c:pt>
                <c:pt idx="19204">
                  <c:v>0</c:v>
                </c:pt>
                <c:pt idx="19205">
                  <c:v>0</c:v>
                </c:pt>
                <c:pt idx="19206">
                  <c:v>0</c:v>
                </c:pt>
                <c:pt idx="19207">
                  <c:v>0</c:v>
                </c:pt>
                <c:pt idx="19208">
                  <c:v>0</c:v>
                </c:pt>
                <c:pt idx="19209">
                  <c:v>0</c:v>
                </c:pt>
                <c:pt idx="19210">
                  <c:v>0</c:v>
                </c:pt>
                <c:pt idx="19211">
                  <c:v>0</c:v>
                </c:pt>
                <c:pt idx="19212">
                  <c:v>0</c:v>
                </c:pt>
                <c:pt idx="19213">
                  <c:v>0</c:v>
                </c:pt>
                <c:pt idx="19214">
                  <c:v>0</c:v>
                </c:pt>
                <c:pt idx="19215">
                  <c:v>0</c:v>
                </c:pt>
                <c:pt idx="19216">
                  <c:v>0</c:v>
                </c:pt>
                <c:pt idx="19217">
                  <c:v>0</c:v>
                </c:pt>
                <c:pt idx="19218">
                  <c:v>0</c:v>
                </c:pt>
                <c:pt idx="19219">
                  <c:v>0</c:v>
                </c:pt>
                <c:pt idx="19220">
                  <c:v>0</c:v>
                </c:pt>
                <c:pt idx="19221">
                  <c:v>3</c:v>
                </c:pt>
                <c:pt idx="19222">
                  <c:v>3</c:v>
                </c:pt>
                <c:pt idx="19223">
                  <c:v>0</c:v>
                </c:pt>
                <c:pt idx="19224">
                  <c:v>0</c:v>
                </c:pt>
                <c:pt idx="19225">
                  <c:v>0</c:v>
                </c:pt>
                <c:pt idx="19226">
                  <c:v>0</c:v>
                </c:pt>
                <c:pt idx="19227">
                  <c:v>0</c:v>
                </c:pt>
                <c:pt idx="19228">
                  <c:v>0</c:v>
                </c:pt>
                <c:pt idx="19229">
                  <c:v>0</c:v>
                </c:pt>
                <c:pt idx="19230">
                  <c:v>0</c:v>
                </c:pt>
                <c:pt idx="19231">
                  <c:v>0</c:v>
                </c:pt>
                <c:pt idx="19232">
                  <c:v>0</c:v>
                </c:pt>
                <c:pt idx="19233">
                  <c:v>0</c:v>
                </c:pt>
                <c:pt idx="19234">
                  <c:v>0</c:v>
                </c:pt>
                <c:pt idx="19235">
                  <c:v>0</c:v>
                </c:pt>
                <c:pt idx="19236">
                  <c:v>0</c:v>
                </c:pt>
                <c:pt idx="19237">
                  <c:v>0</c:v>
                </c:pt>
                <c:pt idx="19238">
                  <c:v>0</c:v>
                </c:pt>
                <c:pt idx="19239">
                  <c:v>0</c:v>
                </c:pt>
                <c:pt idx="19240">
                  <c:v>0</c:v>
                </c:pt>
                <c:pt idx="19241">
                  <c:v>0</c:v>
                </c:pt>
                <c:pt idx="19242">
                  <c:v>0</c:v>
                </c:pt>
                <c:pt idx="19243">
                  <c:v>0</c:v>
                </c:pt>
                <c:pt idx="19244">
                  <c:v>0</c:v>
                </c:pt>
                <c:pt idx="19245">
                  <c:v>0</c:v>
                </c:pt>
                <c:pt idx="19246">
                  <c:v>0</c:v>
                </c:pt>
                <c:pt idx="19247">
                  <c:v>0</c:v>
                </c:pt>
                <c:pt idx="19248">
                  <c:v>0</c:v>
                </c:pt>
                <c:pt idx="19249">
                  <c:v>0</c:v>
                </c:pt>
                <c:pt idx="19250">
                  <c:v>0</c:v>
                </c:pt>
                <c:pt idx="19251">
                  <c:v>0</c:v>
                </c:pt>
                <c:pt idx="19252">
                  <c:v>0</c:v>
                </c:pt>
                <c:pt idx="19253">
                  <c:v>0</c:v>
                </c:pt>
                <c:pt idx="19254">
                  <c:v>0</c:v>
                </c:pt>
                <c:pt idx="19255">
                  <c:v>0</c:v>
                </c:pt>
                <c:pt idx="19256">
                  <c:v>0</c:v>
                </c:pt>
                <c:pt idx="19257">
                  <c:v>0</c:v>
                </c:pt>
                <c:pt idx="19258">
                  <c:v>0</c:v>
                </c:pt>
                <c:pt idx="19259">
                  <c:v>0</c:v>
                </c:pt>
                <c:pt idx="19260">
                  <c:v>0</c:v>
                </c:pt>
                <c:pt idx="19261">
                  <c:v>0</c:v>
                </c:pt>
                <c:pt idx="19262">
                  <c:v>0</c:v>
                </c:pt>
                <c:pt idx="19263">
                  <c:v>0</c:v>
                </c:pt>
                <c:pt idx="19264">
                  <c:v>0</c:v>
                </c:pt>
                <c:pt idx="19265">
                  <c:v>0</c:v>
                </c:pt>
                <c:pt idx="19266">
                  <c:v>0</c:v>
                </c:pt>
                <c:pt idx="19267">
                  <c:v>0</c:v>
                </c:pt>
                <c:pt idx="19268">
                  <c:v>0</c:v>
                </c:pt>
                <c:pt idx="19269">
                  <c:v>0</c:v>
                </c:pt>
                <c:pt idx="19270">
                  <c:v>0</c:v>
                </c:pt>
                <c:pt idx="19271">
                  <c:v>0</c:v>
                </c:pt>
                <c:pt idx="19272">
                  <c:v>1</c:v>
                </c:pt>
                <c:pt idx="19273">
                  <c:v>0</c:v>
                </c:pt>
                <c:pt idx="19274">
                  <c:v>0</c:v>
                </c:pt>
                <c:pt idx="19275">
                  <c:v>0</c:v>
                </c:pt>
                <c:pt idx="19276">
                  <c:v>0</c:v>
                </c:pt>
                <c:pt idx="19277">
                  <c:v>0</c:v>
                </c:pt>
                <c:pt idx="19278">
                  <c:v>0</c:v>
                </c:pt>
                <c:pt idx="19279">
                  <c:v>0</c:v>
                </c:pt>
                <c:pt idx="19280">
                  <c:v>0</c:v>
                </c:pt>
                <c:pt idx="19281">
                  <c:v>0</c:v>
                </c:pt>
                <c:pt idx="19282">
                  <c:v>0</c:v>
                </c:pt>
                <c:pt idx="19283">
                  <c:v>0</c:v>
                </c:pt>
                <c:pt idx="19284">
                  <c:v>0</c:v>
                </c:pt>
                <c:pt idx="19285">
                  <c:v>0</c:v>
                </c:pt>
                <c:pt idx="19286">
                  <c:v>0</c:v>
                </c:pt>
                <c:pt idx="19287">
                  <c:v>0</c:v>
                </c:pt>
                <c:pt idx="19288">
                  <c:v>0</c:v>
                </c:pt>
                <c:pt idx="19289">
                  <c:v>0</c:v>
                </c:pt>
                <c:pt idx="19290">
                  <c:v>0</c:v>
                </c:pt>
                <c:pt idx="19291">
                  <c:v>0</c:v>
                </c:pt>
                <c:pt idx="19292">
                  <c:v>0</c:v>
                </c:pt>
                <c:pt idx="19293">
                  <c:v>0</c:v>
                </c:pt>
                <c:pt idx="19294">
                  <c:v>0</c:v>
                </c:pt>
                <c:pt idx="19295">
                  <c:v>0</c:v>
                </c:pt>
                <c:pt idx="19296">
                  <c:v>0</c:v>
                </c:pt>
                <c:pt idx="19297">
                  <c:v>0</c:v>
                </c:pt>
                <c:pt idx="19298">
                  <c:v>0</c:v>
                </c:pt>
                <c:pt idx="19299">
                  <c:v>0</c:v>
                </c:pt>
                <c:pt idx="19300">
                  <c:v>0</c:v>
                </c:pt>
                <c:pt idx="19301">
                  <c:v>0</c:v>
                </c:pt>
                <c:pt idx="19302">
                  <c:v>0</c:v>
                </c:pt>
                <c:pt idx="19303">
                  <c:v>0</c:v>
                </c:pt>
                <c:pt idx="19304">
                  <c:v>0</c:v>
                </c:pt>
                <c:pt idx="19305">
                  <c:v>0</c:v>
                </c:pt>
                <c:pt idx="19306">
                  <c:v>0</c:v>
                </c:pt>
                <c:pt idx="19307">
                  <c:v>0</c:v>
                </c:pt>
                <c:pt idx="19308">
                  <c:v>0</c:v>
                </c:pt>
                <c:pt idx="19309">
                  <c:v>0</c:v>
                </c:pt>
                <c:pt idx="19310">
                  <c:v>0</c:v>
                </c:pt>
                <c:pt idx="19311">
                  <c:v>0</c:v>
                </c:pt>
                <c:pt idx="19312">
                  <c:v>0</c:v>
                </c:pt>
                <c:pt idx="19313">
                  <c:v>0</c:v>
                </c:pt>
                <c:pt idx="19314">
                  <c:v>0</c:v>
                </c:pt>
                <c:pt idx="19315">
                  <c:v>0</c:v>
                </c:pt>
                <c:pt idx="19316">
                  <c:v>0</c:v>
                </c:pt>
                <c:pt idx="19317">
                  <c:v>0</c:v>
                </c:pt>
                <c:pt idx="19318">
                  <c:v>0</c:v>
                </c:pt>
                <c:pt idx="19319">
                  <c:v>0</c:v>
                </c:pt>
                <c:pt idx="19320">
                  <c:v>0</c:v>
                </c:pt>
                <c:pt idx="19321">
                  <c:v>0</c:v>
                </c:pt>
                <c:pt idx="19322">
                  <c:v>0</c:v>
                </c:pt>
                <c:pt idx="19323">
                  <c:v>0</c:v>
                </c:pt>
                <c:pt idx="19324">
                  <c:v>0</c:v>
                </c:pt>
                <c:pt idx="19325">
                  <c:v>0</c:v>
                </c:pt>
                <c:pt idx="19326">
                  <c:v>0</c:v>
                </c:pt>
                <c:pt idx="19327">
                  <c:v>0</c:v>
                </c:pt>
                <c:pt idx="19328">
                  <c:v>0</c:v>
                </c:pt>
                <c:pt idx="19329">
                  <c:v>0</c:v>
                </c:pt>
                <c:pt idx="19330">
                  <c:v>0</c:v>
                </c:pt>
                <c:pt idx="19331">
                  <c:v>0</c:v>
                </c:pt>
                <c:pt idx="19332">
                  <c:v>0</c:v>
                </c:pt>
                <c:pt idx="19333">
                  <c:v>0</c:v>
                </c:pt>
                <c:pt idx="19334">
                  <c:v>0</c:v>
                </c:pt>
                <c:pt idx="19335">
                  <c:v>1</c:v>
                </c:pt>
                <c:pt idx="19336">
                  <c:v>0</c:v>
                </c:pt>
                <c:pt idx="19337">
                  <c:v>2</c:v>
                </c:pt>
                <c:pt idx="19338">
                  <c:v>0</c:v>
                </c:pt>
                <c:pt idx="19339">
                  <c:v>0</c:v>
                </c:pt>
                <c:pt idx="19340">
                  <c:v>0</c:v>
                </c:pt>
                <c:pt idx="19341">
                  <c:v>0</c:v>
                </c:pt>
                <c:pt idx="19342">
                  <c:v>0</c:v>
                </c:pt>
                <c:pt idx="19343">
                  <c:v>0</c:v>
                </c:pt>
                <c:pt idx="19344">
                  <c:v>0</c:v>
                </c:pt>
                <c:pt idx="19345">
                  <c:v>0</c:v>
                </c:pt>
                <c:pt idx="19346">
                  <c:v>0</c:v>
                </c:pt>
                <c:pt idx="19347">
                  <c:v>0</c:v>
                </c:pt>
                <c:pt idx="19348">
                  <c:v>0</c:v>
                </c:pt>
                <c:pt idx="19349">
                  <c:v>0</c:v>
                </c:pt>
                <c:pt idx="19350">
                  <c:v>0</c:v>
                </c:pt>
                <c:pt idx="19351">
                  <c:v>0</c:v>
                </c:pt>
                <c:pt idx="19352">
                  <c:v>0</c:v>
                </c:pt>
                <c:pt idx="19353">
                  <c:v>0</c:v>
                </c:pt>
                <c:pt idx="19354">
                  <c:v>0</c:v>
                </c:pt>
                <c:pt idx="19355">
                  <c:v>0</c:v>
                </c:pt>
                <c:pt idx="19356">
                  <c:v>0</c:v>
                </c:pt>
                <c:pt idx="19357">
                  <c:v>0</c:v>
                </c:pt>
                <c:pt idx="19358">
                  <c:v>0</c:v>
                </c:pt>
                <c:pt idx="19359">
                  <c:v>0</c:v>
                </c:pt>
                <c:pt idx="19360">
                  <c:v>0</c:v>
                </c:pt>
                <c:pt idx="19361">
                  <c:v>0</c:v>
                </c:pt>
                <c:pt idx="19362">
                  <c:v>0</c:v>
                </c:pt>
                <c:pt idx="19363">
                  <c:v>0</c:v>
                </c:pt>
                <c:pt idx="19364">
                  <c:v>0</c:v>
                </c:pt>
                <c:pt idx="19365">
                  <c:v>0</c:v>
                </c:pt>
                <c:pt idx="19366">
                  <c:v>0</c:v>
                </c:pt>
                <c:pt idx="19367">
                  <c:v>0</c:v>
                </c:pt>
                <c:pt idx="19368">
                  <c:v>0</c:v>
                </c:pt>
                <c:pt idx="19369">
                  <c:v>1</c:v>
                </c:pt>
                <c:pt idx="19370">
                  <c:v>0</c:v>
                </c:pt>
                <c:pt idx="19371">
                  <c:v>0</c:v>
                </c:pt>
                <c:pt idx="19372">
                  <c:v>0</c:v>
                </c:pt>
                <c:pt idx="19373">
                  <c:v>0</c:v>
                </c:pt>
                <c:pt idx="19374">
                  <c:v>0</c:v>
                </c:pt>
                <c:pt idx="19375">
                  <c:v>0</c:v>
                </c:pt>
                <c:pt idx="19376">
                  <c:v>0</c:v>
                </c:pt>
                <c:pt idx="19377">
                  <c:v>0</c:v>
                </c:pt>
                <c:pt idx="19378">
                  <c:v>0</c:v>
                </c:pt>
                <c:pt idx="19379">
                  <c:v>0</c:v>
                </c:pt>
                <c:pt idx="19380">
                  <c:v>0</c:v>
                </c:pt>
                <c:pt idx="19381">
                  <c:v>0</c:v>
                </c:pt>
                <c:pt idx="19382">
                  <c:v>0</c:v>
                </c:pt>
                <c:pt idx="19383">
                  <c:v>0</c:v>
                </c:pt>
                <c:pt idx="19384">
                  <c:v>0</c:v>
                </c:pt>
                <c:pt idx="19385">
                  <c:v>0</c:v>
                </c:pt>
                <c:pt idx="19386">
                  <c:v>0</c:v>
                </c:pt>
                <c:pt idx="19387">
                  <c:v>0</c:v>
                </c:pt>
                <c:pt idx="19388">
                  <c:v>0</c:v>
                </c:pt>
                <c:pt idx="19389">
                  <c:v>0</c:v>
                </c:pt>
                <c:pt idx="19390">
                  <c:v>0</c:v>
                </c:pt>
                <c:pt idx="19391">
                  <c:v>0</c:v>
                </c:pt>
                <c:pt idx="19392">
                  <c:v>0</c:v>
                </c:pt>
                <c:pt idx="19393">
                  <c:v>0</c:v>
                </c:pt>
                <c:pt idx="19394">
                  <c:v>0</c:v>
                </c:pt>
                <c:pt idx="19395">
                  <c:v>0</c:v>
                </c:pt>
                <c:pt idx="19396">
                  <c:v>0</c:v>
                </c:pt>
                <c:pt idx="19397">
                  <c:v>0</c:v>
                </c:pt>
                <c:pt idx="19398">
                  <c:v>0</c:v>
                </c:pt>
                <c:pt idx="19399">
                  <c:v>0</c:v>
                </c:pt>
                <c:pt idx="19400">
                  <c:v>0</c:v>
                </c:pt>
                <c:pt idx="19401">
                  <c:v>0</c:v>
                </c:pt>
                <c:pt idx="19402">
                  <c:v>0</c:v>
                </c:pt>
                <c:pt idx="19403">
                  <c:v>0</c:v>
                </c:pt>
                <c:pt idx="19404">
                  <c:v>0</c:v>
                </c:pt>
                <c:pt idx="19405">
                  <c:v>0</c:v>
                </c:pt>
                <c:pt idx="19406">
                  <c:v>0</c:v>
                </c:pt>
                <c:pt idx="19407">
                  <c:v>0</c:v>
                </c:pt>
                <c:pt idx="19408">
                  <c:v>0</c:v>
                </c:pt>
                <c:pt idx="19409">
                  <c:v>0</c:v>
                </c:pt>
                <c:pt idx="19410">
                  <c:v>0</c:v>
                </c:pt>
                <c:pt idx="19411">
                  <c:v>0</c:v>
                </c:pt>
                <c:pt idx="19412">
                  <c:v>0</c:v>
                </c:pt>
                <c:pt idx="19413">
                  <c:v>0</c:v>
                </c:pt>
                <c:pt idx="19414">
                  <c:v>0</c:v>
                </c:pt>
                <c:pt idx="19415">
                  <c:v>0</c:v>
                </c:pt>
                <c:pt idx="19416">
                  <c:v>0</c:v>
                </c:pt>
                <c:pt idx="19417">
                  <c:v>0</c:v>
                </c:pt>
                <c:pt idx="19418">
                  <c:v>0</c:v>
                </c:pt>
                <c:pt idx="19419">
                  <c:v>0</c:v>
                </c:pt>
                <c:pt idx="19420">
                  <c:v>0</c:v>
                </c:pt>
                <c:pt idx="19421">
                  <c:v>0</c:v>
                </c:pt>
                <c:pt idx="19422">
                  <c:v>0</c:v>
                </c:pt>
                <c:pt idx="19423">
                  <c:v>0</c:v>
                </c:pt>
                <c:pt idx="19424">
                  <c:v>0</c:v>
                </c:pt>
                <c:pt idx="19425">
                  <c:v>0</c:v>
                </c:pt>
                <c:pt idx="19426">
                  <c:v>0</c:v>
                </c:pt>
                <c:pt idx="19427">
                  <c:v>0</c:v>
                </c:pt>
                <c:pt idx="19428">
                  <c:v>0</c:v>
                </c:pt>
                <c:pt idx="19429">
                  <c:v>1</c:v>
                </c:pt>
                <c:pt idx="19430">
                  <c:v>2</c:v>
                </c:pt>
                <c:pt idx="19431">
                  <c:v>2</c:v>
                </c:pt>
                <c:pt idx="19432">
                  <c:v>0</c:v>
                </c:pt>
                <c:pt idx="19433">
                  <c:v>1</c:v>
                </c:pt>
                <c:pt idx="19434">
                  <c:v>2</c:v>
                </c:pt>
                <c:pt idx="19435">
                  <c:v>2</c:v>
                </c:pt>
                <c:pt idx="19436">
                  <c:v>0</c:v>
                </c:pt>
                <c:pt idx="19437">
                  <c:v>0</c:v>
                </c:pt>
                <c:pt idx="19438">
                  <c:v>0</c:v>
                </c:pt>
                <c:pt idx="19439">
                  <c:v>0</c:v>
                </c:pt>
                <c:pt idx="19440">
                  <c:v>0</c:v>
                </c:pt>
                <c:pt idx="19441">
                  <c:v>0</c:v>
                </c:pt>
                <c:pt idx="19442">
                  <c:v>0</c:v>
                </c:pt>
                <c:pt idx="19443">
                  <c:v>0</c:v>
                </c:pt>
                <c:pt idx="19444">
                  <c:v>0</c:v>
                </c:pt>
                <c:pt idx="19445">
                  <c:v>0</c:v>
                </c:pt>
                <c:pt idx="19446">
                  <c:v>0</c:v>
                </c:pt>
                <c:pt idx="19447">
                  <c:v>0</c:v>
                </c:pt>
                <c:pt idx="19448">
                  <c:v>0</c:v>
                </c:pt>
                <c:pt idx="19449">
                  <c:v>0</c:v>
                </c:pt>
                <c:pt idx="19450">
                  <c:v>0</c:v>
                </c:pt>
                <c:pt idx="19451">
                  <c:v>0</c:v>
                </c:pt>
                <c:pt idx="19452">
                  <c:v>0</c:v>
                </c:pt>
                <c:pt idx="19453">
                  <c:v>0</c:v>
                </c:pt>
                <c:pt idx="19454">
                  <c:v>0</c:v>
                </c:pt>
                <c:pt idx="19455">
                  <c:v>0</c:v>
                </c:pt>
                <c:pt idx="19456">
                  <c:v>0</c:v>
                </c:pt>
                <c:pt idx="19457">
                  <c:v>0</c:v>
                </c:pt>
                <c:pt idx="19458">
                  <c:v>0</c:v>
                </c:pt>
                <c:pt idx="19459">
                  <c:v>0</c:v>
                </c:pt>
                <c:pt idx="19460">
                  <c:v>0</c:v>
                </c:pt>
                <c:pt idx="19461">
                  <c:v>0</c:v>
                </c:pt>
                <c:pt idx="19462">
                  <c:v>0</c:v>
                </c:pt>
                <c:pt idx="19463">
                  <c:v>0</c:v>
                </c:pt>
                <c:pt idx="19464">
                  <c:v>0</c:v>
                </c:pt>
                <c:pt idx="19465">
                  <c:v>0</c:v>
                </c:pt>
                <c:pt idx="19466">
                  <c:v>0</c:v>
                </c:pt>
                <c:pt idx="19467">
                  <c:v>0</c:v>
                </c:pt>
                <c:pt idx="19468">
                  <c:v>0</c:v>
                </c:pt>
                <c:pt idx="19469">
                  <c:v>0</c:v>
                </c:pt>
                <c:pt idx="19470">
                  <c:v>0</c:v>
                </c:pt>
                <c:pt idx="19471">
                  <c:v>0</c:v>
                </c:pt>
                <c:pt idx="19472">
                  <c:v>0</c:v>
                </c:pt>
                <c:pt idx="19473">
                  <c:v>0</c:v>
                </c:pt>
                <c:pt idx="19474">
                  <c:v>0</c:v>
                </c:pt>
                <c:pt idx="19475">
                  <c:v>0</c:v>
                </c:pt>
                <c:pt idx="19476">
                  <c:v>0</c:v>
                </c:pt>
                <c:pt idx="19477">
                  <c:v>0</c:v>
                </c:pt>
                <c:pt idx="19478">
                  <c:v>0</c:v>
                </c:pt>
                <c:pt idx="19479">
                  <c:v>0</c:v>
                </c:pt>
                <c:pt idx="19480">
                  <c:v>0</c:v>
                </c:pt>
                <c:pt idx="19481">
                  <c:v>0</c:v>
                </c:pt>
                <c:pt idx="19482">
                  <c:v>0</c:v>
                </c:pt>
                <c:pt idx="19483">
                  <c:v>0</c:v>
                </c:pt>
                <c:pt idx="19484">
                  <c:v>2</c:v>
                </c:pt>
                <c:pt idx="19485">
                  <c:v>0</c:v>
                </c:pt>
                <c:pt idx="19486">
                  <c:v>0</c:v>
                </c:pt>
                <c:pt idx="19487">
                  <c:v>0</c:v>
                </c:pt>
                <c:pt idx="19488">
                  <c:v>0</c:v>
                </c:pt>
                <c:pt idx="19489">
                  <c:v>0</c:v>
                </c:pt>
                <c:pt idx="19490">
                  <c:v>0</c:v>
                </c:pt>
                <c:pt idx="19491">
                  <c:v>0</c:v>
                </c:pt>
                <c:pt idx="19492">
                  <c:v>0</c:v>
                </c:pt>
                <c:pt idx="19493">
                  <c:v>0</c:v>
                </c:pt>
                <c:pt idx="19494">
                  <c:v>0</c:v>
                </c:pt>
                <c:pt idx="19495">
                  <c:v>0</c:v>
                </c:pt>
                <c:pt idx="19496">
                  <c:v>0</c:v>
                </c:pt>
                <c:pt idx="19497">
                  <c:v>0</c:v>
                </c:pt>
                <c:pt idx="19498">
                  <c:v>0</c:v>
                </c:pt>
                <c:pt idx="19499">
                  <c:v>0</c:v>
                </c:pt>
                <c:pt idx="19500">
                  <c:v>0</c:v>
                </c:pt>
                <c:pt idx="19501">
                  <c:v>0</c:v>
                </c:pt>
                <c:pt idx="19502">
                  <c:v>0</c:v>
                </c:pt>
                <c:pt idx="19503">
                  <c:v>0</c:v>
                </c:pt>
                <c:pt idx="19504">
                  <c:v>0</c:v>
                </c:pt>
                <c:pt idx="19505">
                  <c:v>0</c:v>
                </c:pt>
                <c:pt idx="19506">
                  <c:v>0</c:v>
                </c:pt>
                <c:pt idx="19507">
                  <c:v>0</c:v>
                </c:pt>
                <c:pt idx="19508">
                  <c:v>0</c:v>
                </c:pt>
                <c:pt idx="19509">
                  <c:v>0</c:v>
                </c:pt>
                <c:pt idx="19510">
                  <c:v>0</c:v>
                </c:pt>
                <c:pt idx="19511">
                  <c:v>0</c:v>
                </c:pt>
                <c:pt idx="19512">
                  <c:v>0</c:v>
                </c:pt>
                <c:pt idx="19513">
                  <c:v>0</c:v>
                </c:pt>
                <c:pt idx="19514">
                  <c:v>0</c:v>
                </c:pt>
                <c:pt idx="19515">
                  <c:v>0</c:v>
                </c:pt>
                <c:pt idx="19516">
                  <c:v>0</c:v>
                </c:pt>
                <c:pt idx="19517">
                  <c:v>4</c:v>
                </c:pt>
                <c:pt idx="19518">
                  <c:v>0</c:v>
                </c:pt>
                <c:pt idx="19519">
                  <c:v>0</c:v>
                </c:pt>
                <c:pt idx="19520">
                  <c:v>0</c:v>
                </c:pt>
                <c:pt idx="19521">
                  <c:v>0</c:v>
                </c:pt>
                <c:pt idx="19522">
                  <c:v>0</c:v>
                </c:pt>
                <c:pt idx="19523">
                  <c:v>0</c:v>
                </c:pt>
                <c:pt idx="19524">
                  <c:v>0</c:v>
                </c:pt>
                <c:pt idx="19525">
                  <c:v>0</c:v>
                </c:pt>
                <c:pt idx="19526">
                  <c:v>0</c:v>
                </c:pt>
                <c:pt idx="19527">
                  <c:v>0</c:v>
                </c:pt>
                <c:pt idx="19528">
                  <c:v>0</c:v>
                </c:pt>
                <c:pt idx="19529">
                  <c:v>0</c:v>
                </c:pt>
                <c:pt idx="19530">
                  <c:v>0</c:v>
                </c:pt>
                <c:pt idx="19531">
                  <c:v>0</c:v>
                </c:pt>
                <c:pt idx="19532">
                  <c:v>0</c:v>
                </c:pt>
                <c:pt idx="19533">
                  <c:v>0</c:v>
                </c:pt>
                <c:pt idx="19534">
                  <c:v>0</c:v>
                </c:pt>
                <c:pt idx="19535">
                  <c:v>0</c:v>
                </c:pt>
                <c:pt idx="19536">
                  <c:v>0</c:v>
                </c:pt>
                <c:pt idx="19537">
                  <c:v>0</c:v>
                </c:pt>
                <c:pt idx="19538">
                  <c:v>0</c:v>
                </c:pt>
                <c:pt idx="19539">
                  <c:v>0</c:v>
                </c:pt>
                <c:pt idx="19540">
                  <c:v>0</c:v>
                </c:pt>
                <c:pt idx="19541">
                  <c:v>0</c:v>
                </c:pt>
                <c:pt idx="19542">
                  <c:v>0</c:v>
                </c:pt>
                <c:pt idx="19543">
                  <c:v>0</c:v>
                </c:pt>
                <c:pt idx="19544">
                  <c:v>0</c:v>
                </c:pt>
                <c:pt idx="19545">
                  <c:v>0</c:v>
                </c:pt>
                <c:pt idx="19546">
                  <c:v>0</c:v>
                </c:pt>
                <c:pt idx="19547">
                  <c:v>0</c:v>
                </c:pt>
                <c:pt idx="19548">
                  <c:v>0</c:v>
                </c:pt>
                <c:pt idx="19549">
                  <c:v>0</c:v>
                </c:pt>
                <c:pt idx="19550">
                  <c:v>0</c:v>
                </c:pt>
                <c:pt idx="19551">
                  <c:v>0</c:v>
                </c:pt>
                <c:pt idx="19552">
                  <c:v>0</c:v>
                </c:pt>
                <c:pt idx="19553">
                  <c:v>0</c:v>
                </c:pt>
                <c:pt idx="19554">
                  <c:v>0</c:v>
                </c:pt>
                <c:pt idx="19555">
                  <c:v>0</c:v>
                </c:pt>
                <c:pt idx="19556">
                  <c:v>0</c:v>
                </c:pt>
                <c:pt idx="19557">
                  <c:v>0</c:v>
                </c:pt>
                <c:pt idx="19558">
                  <c:v>0</c:v>
                </c:pt>
                <c:pt idx="19559">
                  <c:v>0</c:v>
                </c:pt>
                <c:pt idx="19560">
                  <c:v>0</c:v>
                </c:pt>
                <c:pt idx="19561">
                  <c:v>0</c:v>
                </c:pt>
                <c:pt idx="19562">
                  <c:v>3</c:v>
                </c:pt>
                <c:pt idx="19563">
                  <c:v>0</c:v>
                </c:pt>
                <c:pt idx="19564">
                  <c:v>0</c:v>
                </c:pt>
                <c:pt idx="19565">
                  <c:v>0</c:v>
                </c:pt>
                <c:pt idx="19566">
                  <c:v>0</c:v>
                </c:pt>
                <c:pt idx="19567">
                  <c:v>0</c:v>
                </c:pt>
                <c:pt idx="19568">
                  <c:v>0</c:v>
                </c:pt>
                <c:pt idx="19569">
                  <c:v>0</c:v>
                </c:pt>
                <c:pt idx="19570">
                  <c:v>0</c:v>
                </c:pt>
                <c:pt idx="19571">
                  <c:v>0</c:v>
                </c:pt>
                <c:pt idx="19572">
                  <c:v>0</c:v>
                </c:pt>
                <c:pt idx="19573">
                  <c:v>0</c:v>
                </c:pt>
                <c:pt idx="19574">
                  <c:v>0</c:v>
                </c:pt>
                <c:pt idx="19575">
                  <c:v>0</c:v>
                </c:pt>
                <c:pt idx="19576">
                  <c:v>0</c:v>
                </c:pt>
                <c:pt idx="19577">
                  <c:v>0</c:v>
                </c:pt>
                <c:pt idx="19578">
                  <c:v>0</c:v>
                </c:pt>
                <c:pt idx="19579">
                  <c:v>0</c:v>
                </c:pt>
                <c:pt idx="19580">
                  <c:v>0</c:v>
                </c:pt>
                <c:pt idx="19581">
                  <c:v>0</c:v>
                </c:pt>
                <c:pt idx="19582">
                  <c:v>0</c:v>
                </c:pt>
                <c:pt idx="19583">
                  <c:v>0</c:v>
                </c:pt>
                <c:pt idx="19584">
                  <c:v>0</c:v>
                </c:pt>
                <c:pt idx="19585">
                  <c:v>0</c:v>
                </c:pt>
                <c:pt idx="19586">
                  <c:v>0</c:v>
                </c:pt>
                <c:pt idx="19587">
                  <c:v>2</c:v>
                </c:pt>
                <c:pt idx="19588">
                  <c:v>2</c:v>
                </c:pt>
                <c:pt idx="19589">
                  <c:v>4</c:v>
                </c:pt>
                <c:pt idx="19590">
                  <c:v>0</c:v>
                </c:pt>
                <c:pt idx="19591">
                  <c:v>0</c:v>
                </c:pt>
                <c:pt idx="19592">
                  <c:v>0</c:v>
                </c:pt>
                <c:pt idx="19593">
                  <c:v>0</c:v>
                </c:pt>
                <c:pt idx="19594">
                  <c:v>0</c:v>
                </c:pt>
                <c:pt idx="19595">
                  <c:v>6</c:v>
                </c:pt>
                <c:pt idx="19596">
                  <c:v>0</c:v>
                </c:pt>
                <c:pt idx="19597">
                  <c:v>0</c:v>
                </c:pt>
                <c:pt idx="19598">
                  <c:v>4</c:v>
                </c:pt>
                <c:pt idx="19599">
                  <c:v>0</c:v>
                </c:pt>
                <c:pt idx="19600">
                  <c:v>0</c:v>
                </c:pt>
                <c:pt idx="19601">
                  <c:v>3</c:v>
                </c:pt>
                <c:pt idx="19602">
                  <c:v>1</c:v>
                </c:pt>
                <c:pt idx="19603">
                  <c:v>0</c:v>
                </c:pt>
                <c:pt idx="19604">
                  <c:v>1</c:v>
                </c:pt>
                <c:pt idx="19605">
                  <c:v>2</c:v>
                </c:pt>
                <c:pt idx="19606">
                  <c:v>0</c:v>
                </c:pt>
                <c:pt idx="19607">
                  <c:v>0</c:v>
                </c:pt>
                <c:pt idx="19608">
                  <c:v>0</c:v>
                </c:pt>
                <c:pt idx="19609">
                  <c:v>1</c:v>
                </c:pt>
                <c:pt idx="19610">
                  <c:v>0</c:v>
                </c:pt>
                <c:pt idx="19611">
                  <c:v>1</c:v>
                </c:pt>
                <c:pt idx="19612">
                  <c:v>1</c:v>
                </c:pt>
                <c:pt idx="19613">
                  <c:v>0</c:v>
                </c:pt>
                <c:pt idx="19614">
                  <c:v>2</c:v>
                </c:pt>
                <c:pt idx="19615">
                  <c:v>0</c:v>
                </c:pt>
                <c:pt idx="19616">
                  <c:v>0</c:v>
                </c:pt>
                <c:pt idx="19617">
                  <c:v>0</c:v>
                </c:pt>
                <c:pt idx="19618">
                  <c:v>0</c:v>
                </c:pt>
                <c:pt idx="19619">
                  <c:v>1</c:v>
                </c:pt>
                <c:pt idx="19620">
                  <c:v>0</c:v>
                </c:pt>
                <c:pt idx="19621">
                  <c:v>0</c:v>
                </c:pt>
                <c:pt idx="19622">
                  <c:v>0</c:v>
                </c:pt>
                <c:pt idx="19623">
                  <c:v>0</c:v>
                </c:pt>
                <c:pt idx="19624">
                  <c:v>0</c:v>
                </c:pt>
                <c:pt idx="19625">
                  <c:v>0</c:v>
                </c:pt>
                <c:pt idx="19626">
                  <c:v>0</c:v>
                </c:pt>
                <c:pt idx="19627">
                  <c:v>0</c:v>
                </c:pt>
                <c:pt idx="19628">
                  <c:v>0</c:v>
                </c:pt>
                <c:pt idx="19629">
                  <c:v>0</c:v>
                </c:pt>
                <c:pt idx="19630">
                  <c:v>1</c:v>
                </c:pt>
                <c:pt idx="19631">
                  <c:v>0</c:v>
                </c:pt>
                <c:pt idx="19632">
                  <c:v>0</c:v>
                </c:pt>
                <c:pt idx="19633">
                  <c:v>1</c:v>
                </c:pt>
                <c:pt idx="19634">
                  <c:v>0</c:v>
                </c:pt>
                <c:pt idx="19635">
                  <c:v>0</c:v>
                </c:pt>
                <c:pt idx="19636">
                  <c:v>1</c:v>
                </c:pt>
                <c:pt idx="19637">
                  <c:v>0</c:v>
                </c:pt>
                <c:pt idx="19638">
                  <c:v>1</c:v>
                </c:pt>
                <c:pt idx="19639">
                  <c:v>0</c:v>
                </c:pt>
                <c:pt idx="19640">
                  <c:v>4</c:v>
                </c:pt>
                <c:pt idx="19641">
                  <c:v>6</c:v>
                </c:pt>
                <c:pt idx="19642">
                  <c:v>1</c:v>
                </c:pt>
                <c:pt idx="19643">
                  <c:v>0</c:v>
                </c:pt>
                <c:pt idx="19644">
                  <c:v>2</c:v>
                </c:pt>
                <c:pt idx="19645">
                  <c:v>0</c:v>
                </c:pt>
                <c:pt idx="19646">
                  <c:v>0</c:v>
                </c:pt>
                <c:pt idx="19647">
                  <c:v>3</c:v>
                </c:pt>
                <c:pt idx="19648">
                  <c:v>3</c:v>
                </c:pt>
                <c:pt idx="19649">
                  <c:v>6</c:v>
                </c:pt>
                <c:pt idx="19650">
                  <c:v>2</c:v>
                </c:pt>
                <c:pt idx="19651">
                  <c:v>0</c:v>
                </c:pt>
                <c:pt idx="19652">
                  <c:v>0</c:v>
                </c:pt>
                <c:pt idx="19653">
                  <c:v>0</c:v>
                </c:pt>
                <c:pt idx="19654">
                  <c:v>0</c:v>
                </c:pt>
                <c:pt idx="19655">
                  <c:v>1</c:v>
                </c:pt>
                <c:pt idx="19656">
                  <c:v>4</c:v>
                </c:pt>
                <c:pt idx="19657">
                  <c:v>0</c:v>
                </c:pt>
                <c:pt idx="19658">
                  <c:v>2</c:v>
                </c:pt>
                <c:pt idx="19659">
                  <c:v>0</c:v>
                </c:pt>
                <c:pt idx="19660">
                  <c:v>0</c:v>
                </c:pt>
                <c:pt idx="19661">
                  <c:v>5</c:v>
                </c:pt>
                <c:pt idx="19662">
                  <c:v>1</c:v>
                </c:pt>
                <c:pt idx="19663">
                  <c:v>1</c:v>
                </c:pt>
                <c:pt idx="19664">
                  <c:v>0</c:v>
                </c:pt>
                <c:pt idx="19665">
                  <c:v>1</c:v>
                </c:pt>
                <c:pt idx="19666">
                  <c:v>0</c:v>
                </c:pt>
                <c:pt idx="19667">
                  <c:v>1</c:v>
                </c:pt>
                <c:pt idx="19668">
                  <c:v>0</c:v>
                </c:pt>
                <c:pt idx="19669">
                  <c:v>3</c:v>
                </c:pt>
                <c:pt idx="19670">
                  <c:v>2</c:v>
                </c:pt>
                <c:pt idx="19671">
                  <c:v>1</c:v>
                </c:pt>
                <c:pt idx="19672">
                  <c:v>0</c:v>
                </c:pt>
                <c:pt idx="19673">
                  <c:v>13</c:v>
                </c:pt>
                <c:pt idx="19674">
                  <c:v>0</c:v>
                </c:pt>
                <c:pt idx="19675">
                  <c:v>0</c:v>
                </c:pt>
                <c:pt idx="19676">
                  <c:v>0</c:v>
                </c:pt>
                <c:pt idx="19677">
                  <c:v>0</c:v>
                </c:pt>
                <c:pt idx="19678">
                  <c:v>0</c:v>
                </c:pt>
                <c:pt idx="19679">
                  <c:v>2</c:v>
                </c:pt>
                <c:pt idx="19680">
                  <c:v>0</c:v>
                </c:pt>
                <c:pt idx="19681">
                  <c:v>4</c:v>
                </c:pt>
                <c:pt idx="19682">
                  <c:v>3</c:v>
                </c:pt>
                <c:pt idx="19683">
                  <c:v>0</c:v>
                </c:pt>
                <c:pt idx="19684">
                  <c:v>0</c:v>
                </c:pt>
                <c:pt idx="19685">
                  <c:v>0</c:v>
                </c:pt>
                <c:pt idx="19686">
                  <c:v>4</c:v>
                </c:pt>
                <c:pt idx="19687">
                  <c:v>0</c:v>
                </c:pt>
                <c:pt idx="19688">
                  <c:v>0</c:v>
                </c:pt>
                <c:pt idx="19689">
                  <c:v>0</c:v>
                </c:pt>
                <c:pt idx="19690">
                  <c:v>0</c:v>
                </c:pt>
                <c:pt idx="19691">
                  <c:v>0</c:v>
                </c:pt>
                <c:pt idx="19692">
                  <c:v>0</c:v>
                </c:pt>
                <c:pt idx="19693">
                  <c:v>0</c:v>
                </c:pt>
                <c:pt idx="19694">
                  <c:v>0</c:v>
                </c:pt>
                <c:pt idx="19695">
                  <c:v>0</c:v>
                </c:pt>
                <c:pt idx="19696">
                  <c:v>0</c:v>
                </c:pt>
                <c:pt idx="19697">
                  <c:v>0</c:v>
                </c:pt>
                <c:pt idx="19698">
                  <c:v>2</c:v>
                </c:pt>
                <c:pt idx="19699">
                  <c:v>0</c:v>
                </c:pt>
                <c:pt idx="19700">
                  <c:v>0</c:v>
                </c:pt>
                <c:pt idx="19701">
                  <c:v>0</c:v>
                </c:pt>
                <c:pt idx="19702">
                  <c:v>0</c:v>
                </c:pt>
                <c:pt idx="19703">
                  <c:v>0</c:v>
                </c:pt>
                <c:pt idx="19704">
                  <c:v>0</c:v>
                </c:pt>
                <c:pt idx="19705">
                  <c:v>0</c:v>
                </c:pt>
                <c:pt idx="19706">
                  <c:v>0</c:v>
                </c:pt>
                <c:pt idx="19707">
                  <c:v>0</c:v>
                </c:pt>
                <c:pt idx="19708">
                  <c:v>0</c:v>
                </c:pt>
                <c:pt idx="19709">
                  <c:v>0</c:v>
                </c:pt>
                <c:pt idx="19710">
                  <c:v>3</c:v>
                </c:pt>
                <c:pt idx="19711">
                  <c:v>0</c:v>
                </c:pt>
                <c:pt idx="19712">
                  <c:v>0</c:v>
                </c:pt>
                <c:pt idx="19713">
                  <c:v>0</c:v>
                </c:pt>
                <c:pt idx="19714">
                  <c:v>1</c:v>
                </c:pt>
                <c:pt idx="19715">
                  <c:v>0</c:v>
                </c:pt>
                <c:pt idx="19716">
                  <c:v>0</c:v>
                </c:pt>
                <c:pt idx="19717">
                  <c:v>0</c:v>
                </c:pt>
                <c:pt idx="19718">
                  <c:v>0</c:v>
                </c:pt>
                <c:pt idx="19719">
                  <c:v>0</c:v>
                </c:pt>
                <c:pt idx="19720">
                  <c:v>0</c:v>
                </c:pt>
                <c:pt idx="19721">
                  <c:v>0</c:v>
                </c:pt>
                <c:pt idx="19722">
                  <c:v>3</c:v>
                </c:pt>
                <c:pt idx="19723">
                  <c:v>0</c:v>
                </c:pt>
                <c:pt idx="19724">
                  <c:v>0</c:v>
                </c:pt>
                <c:pt idx="19725">
                  <c:v>0</c:v>
                </c:pt>
                <c:pt idx="19726">
                  <c:v>0</c:v>
                </c:pt>
                <c:pt idx="19727">
                  <c:v>0</c:v>
                </c:pt>
                <c:pt idx="19728">
                  <c:v>0</c:v>
                </c:pt>
                <c:pt idx="19729">
                  <c:v>0</c:v>
                </c:pt>
                <c:pt idx="19730">
                  <c:v>0</c:v>
                </c:pt>
                <c:pt idx="19731">
                  <c:v>0</c:v>
                </c:pt>
                <c:pt idx="19732">
                  <c:v>0</c:v>
                </c:pt>
                <c:pt idx="19733">
                  <c:v>0</c:v>
                </c:pt>
                <c:pt idx="19734">
                  <c:v>0</c:v>
                </c:pt>
                <c:pt idx="19735">
                  <c:v>0</c:v>
                </c:pt>
                <c:pt idx="19736">
                  <c:v>0</c:v>
                </c:pt>
                <c:pt idx="19737">
                  <c:v>0</c:v>
                </c:pt>
                <c:pt idx="19738">
                  <c:v>0</c:v>
                </c:pt>
                <c:pt idx="19739">
                  <c:v>0</c:v>
                </c:pt>
                <c:pt idx="19740">
                  <c:v>0</c:v>
                </c:pt>
                <c:pt idx="19741">
                  <c:v>0</c:v>
                </c:pt>
                <c:pt idx="19742">
                  <c:v>0</c:v>
                </c:pt>
                <c:pt idx="19743">
                  <c:v>0</c:v>
                </c:pt>
                <c:pt idx="19744">
                  <c:v>0</c:v>
                </c:pt>
                <c:pt idx="19745">
                  <c:v>0</c:v>
                </c:pt>
                <c:pt idx="19746">
                  <c:v>0</c:v>
                </c:pt>
                <c:pt idx="19747">
                  <c:v>0</c:v>
                </c:pt>
                <c:pt idx="19748">
                  <c:v>0</c:v>
                </c:pt>
                <c:pt idx="19749">
                  <c:v>0</c:v>
                </c:pt>
                <c:pt idx="19750">
                  <c:v>0</c:v>
                </c:pt>
                <c:pt idx="19751">
                  <c:v>0</c:v>
                </c:pt>
                <c:pt idx="19752">
                  <c:v>0</c:v>
                </c:pt>
                <c:pt idx="19753">
                  <c:v>0</c:v>
                </c:pt>
                <c:pt idx="19754">
                  <c:v>0</c:v>
                </c:pt>
                <c:pt idx="19755">
                  <c:v>0</c:v>
                </c:pt>
                <c:pt idx="19756">
                  <c:v>0</c:v>
                </c:pt>
                <c:pt idx="19757">
                  <c:v>0</c:v>
                </c:pt>
                <c:pt idx="19758">
                  <c:v>0</c:v>
                </c:pt>
                <c:pt idx="19759">
                  <c:v>0</c:v>
                </c:pt>
                <c:pt idx="19760">
                  <c:v>1</c:v>
                </c:pt>
                <c:pt idx="19761">
                  <c:v>0</c:v>
                </c:pt>
                <c:pt idx="19762">
                  <c:v>0</c:v>
                </c:pt>
                <c:pt idx="19763">
                  <c:v>0</c:v>
                </c:pt>
                <c:pt idx="19764">
                  <c:v>0</c:v>
                </c:pt>
                <c:pt idx="19765">
                  <c:v>0</c:v>
                </c:pt>
                <c:pt idx="19766">
                  <c:v>0</c:v>
                </c:pt>
                <c:pt idx="19767">
                  <c:v>0</c:v>
                </c:pt>
                <c:pt idx="19768">
                  <c:v>0</c:v>
                </c:pt>
                <c:pt idx="19769">
                  <c:v>0</c:v>
                </c:pt>
                <c:pt idx="19770">
                  <c:v>0</c:v>
                </c:pt>
                <c:pt idx="19771">
                  <c:v>0</c:v>
                </c:pt>
                <c:pt idx="19772">
                  <c:v>0</c:v>
                </c:pt>
                <c:pt idx="19773">
                  <c:v>0</c:v>
                </c:pt>
                <c:pt idx="19774">
                  <c:v>0</c:v>
                </c:pt>
                <c:pt idx="19775">
                  <c:v>0</c:v>
                </c:pt>
                <c:pt idx="19776">
                  <c:v>0</c:v>
                </c:pt>
                <c:pt idx="19777">
                  <c:v>0</c:v>
                </c:pt>
                <c:pt idx="19778">
                  <c:v>0</c:v>
                </c:pt>
                <c:pt idx="19779">
                  <c:v>0</c:v>
                </c:pt>
                <c:pt idx="19780">
                  <c:v>0</c:v>
                </c:pt>
                <c:pt idx="19781">
                  <c:v>0</c:v>
                </c:pt>
                <c:pt idx="19782">
                  <c:v>0</c:v>
                </c:pt>
                <c:pt idx="19783">
                  <c:v>0</c:v>
                </c:pt>
                <c:pt idx="19784">
                  <c:v>0</c:v>
                </c:pt>
                <c:pt idx="19785">
                  <c:v>0</c:v>
                </c:pt>
                <c:pt idx="19786">
                  <c:v>0</c:v>
                </c:pt>
                <c:pt idx="19787">
                  <c:v>0</c:v>
                </c:pt>
                <c:pt idx="19788">
                  <c:v>0</c:v>
                </c:pt>
                <c:pt idx="19789">
                  <c:v>0</c:v>
                </c:pt>
                <c:pt idx="19790">
                  <c:v>0</c:v>
                </c:pt>
                <c:pt idx="19791">
                  <c:v>0</c:v>
                </c:pt>
                <c:pt idx="19792">
                  <c:v>0</c:v>
                </c:pt>
                <c:pt idx="19793">
                  <c:v>0</c:v>
                </c:pt>
                <c:pt idx="19794">
                  <c:v>0</c:v>
                </c:pt>
                <c:pt idx="19795">
                  <c:v>0</c:v>
                </c:pt>
                <c:pt idx="19796">
                  <c:v>0</c:v>
                </c:pt>
                <c:pt idx="19797">
                  <c:v>0</c:v>
                </c:pt>
                <c:pt idx="19798">
                  <c:v>0</c:v>
                </c:pt>
                <c:pt idx="19799">
                  <c:v>0</c:v>
                </c:pt>
                <c:pt idx="19800">
                  <c:v>0</c:v>
                </c:pt>
                <c:pt idx="19801">
                  <c:v>0</c:v>
                </c:pt>
                <c:pt idx="19802">
                  <c:v>0</c:v>
                </c:pt>
                <c:pt idx="19803">
                  <c:v>0</c:v>
                </c:pt>
                <c:pt idx="19804">
                  <c:v>1</c:v>
                </c:pt>
                <c:pt idx="19805">
                  <c:v>0</c:v>
                </c:pt>
                <c:pt idx="19806">
                  <c:v>0</c:v>
                </c:pt>
                <c:pt idx="19807">
                  <c:v>0</c:v>
                </c:pt>
                <c:pt idx="19808">
                  <c:v>0</c:v>
                </c:pt>
                <c:pt idx="19809">
                  <c:v>0</c:v>
                </c:pt>
                <c:pt idx="19810">
                  <c:v>0</c:v>
                </c:pt>
                <c:pt idx="19811">
                  <c:v>0</c:v>
                </c:pt>
                <c:pt idx="19812">
                  <c:v>0</c:v>
                </c:pt>
                <c:pt idx="19813">
                  <c:v>0</c:v>
                </c:pt>
                <c:pt idx="19814">
                  <c:v>0</c:v>
                </c:pt>
                <c:pt idx="19815">
                  <c:v>0</c:v>
                </c:pt>
                <c:pt idx="19816">
                  <c:v>0</c:v>
                </c:pt>
                <c:pt idx="19817">
                  <c:v>0</c:v>
                </c:pt>
                <c:pt idx="19818">
                  <c:v>0</c:v>
                </c:pt>
                <c:pt idx="19819">
                  <c:v>4</c:v>
                </c:pt>
                <c:pt idx="19820">
                  <c:v>0</c:v>
                </c:pt>
                <c:pt idx="19821">
                  <c:v>0</c:v>
                </c:pt>
                <c:pt idx="19822">
                  <c:v>0</c:v>
                </c:pt>
                <c:pt idx="19823">
                  <c:v>0</c:v>
                </c:pt>
                <c:pt idx="19824">
                  <c:v>0</c:v>
                </c:pt>
                <c:pt idx="19825">
                  <c:v>0</c:v>
                </c:pt>
                <c:pt idx="19826">
                  <c:v>0</c:v>
                </c:pt>
                <c:pt idx="19827">
                  <c:v>0</c:v>
                </c:pt>
                <c:pt idx="19828">
                  <c:v>0</c:v>
                </c:pt>
                <c:pt idx="19829">
                  <c:v>0</c:v>
                </c:pt>
                <c:pt idx="19830">
                  <c:v>0</c:v>
                </c:pt>
                <c:pt idx="19831">
                  <c:v>0</c:v>
                </c:pt>
                <c:pt idx="19832">
                  <c:v>0</c:v>
                </c:pt>
                <c:pt idx="19833">
                  <c:v>0</c:v>
                </c:pt>
                <c:pt idx="19834">
                  <c:v>0</c:v>
                </c:pt>
                <c:pt idx="19835">
                  <c:v>0</c:v>
                </c:pt>
                <c:pt idx="19836">
                  <c:v>0</c:v>
                </c:pt>
                <c:pt idx="19837">
                  <c:v>0</c:v>
                </c:pt>
                <c:pt idx="19838">
                  <c:v>0</c:v>
                </c:pt>
                <c:pt idx="19839">
                  <c:v>0</c:v>
                </c:pt>
                <c:pt idx="19840">
                  <c:v>0</c:v>
                </c:pt>
                <c:pt idx="19841">
                  <c:v>0</c:v>
                </c:pt>
                <c:pt idx="19842">
                  <c:v>0</c:v>
                </c:pt>
                <c:pt idx="19843">
                  <c:v>0</c:v>
                </c:pt>
                <c:pt idx="19844">
                  <c:v>0</c:v>
                </c:pt>
                <c:pt idx="19845">
                  <c:v>0</c:v>
                </c:pt>
                <c:pt idx="19846">
                  <c:v>0</c:v>
                </c:pt>
                <c:pt idx="19847">
                  <c:v>0</c:v>
                </c:pt>
                <c:pt idx="19848">
                  <c:v>0</c:v>
                </c:pt>
                <c:pt idx="19849">
                  <c:v>0</c:v>
                </c:pt>
                <c:pt idx="19850">
                  <c:v>0</c:v>
                </c:pt>
                <c:pt idx="19851">
                  <c:v>0</c:v>
                </c:pt>
                <c:pt idx="19852">
                  <c:v>0</c:v>
                </c:pt>
                <c:pt idx="19853">
                  <c:v>0</c:v>
                </c:pt>
                <c:pt idx="19854">
                  <c:v>0</c:v>
                </c:pt>
                <c:pt idx="19855">
                  <c:v>0</c:v>
                </c:pt>
                <c:pt idx="19856">
                  <c:v>0</c:v>
                </c:pt>
                <c:pt idx="19857">
                  <c:v>0</c:v>
                </c:pt>
                <c:pt idx="19858">
                  <c:v>0</c:v>
                </c:pt>
                <c:pt idx="19859">
                  <c:v>0</c:v>
                </c:pt>
                <c:pt idx="19860">
                  <c:v>0</c:v>
                </c:pt>
                <c:pt idx="19861">
                  <c:v>0</c:v>
                </c:pt>
                <c:pt idx="19862">
                  <c:v>0</c:v>
                </c:pt>
                <c:pt idx="19863">
                  <c:v>0</c:v>
                </c:pt>
                <c:pt idx="19864">
                  <c:v>0</c:v>
                </c:pt>
                <c:pt idx="19865">
                  <c:v>0</c:v>
                </c:pt>
                <c:pt idx="19866">
                  <c:v>0</c:v>
                </c:pt>
                <c:pt idx="19867">
                  <c:v>0</c:v>
                </c:pt>
                <c:pt idx="19868">
                  <c:v>1</c:v>
                </c:pt>
                <c:pt idx="19869">
                  <c:v>0</c:v>
                </c:pt>
                <c:pt idx="19870">
                  <c:v>0</c:v>
                </c:pt>
                <c:pt idx="19871">
                  <c:v>0</c:v>
                </c:pt>
                <c:pt idx="19872">
                  <c:v>0</c:v>
                </c:pt>
                <c:pt idx="19873">
                  <c:v>0</c:v>
                </c:pt>
                <c:pt idx="19874">
                  <c:v>0</c:v>
                </c:pt>
                <c:pt idx="19875">
                  <c:v>0</c:v>
                </c:pt>
                <c:pt idx="19876">
                  <c:v>0</c:v>
                </c:pt>
                <c:pt idx="19877">
                  <c:v>0</c:v>
                </c:pt>
                <c:pt idx="19878">
                  <c:v>0</c:v>
                </c:pt>
                <c:pt idx="19879">
                  <c:v>0</c:v>
                </c:pt>
                <c:pt idx="19880">
                  <c:v>0</c:v>
                </c:pt>
                <c:pt idx="19881">
                  <c:v>0</c:v>
                </c:pt>
                <c:pt idx="19882">
                  <c:v>0</c:v>
                </c:pt>
                <c:pt idx="19883">
                  <c:v>0</c:v>
                </c:pt>
                <c:pt idx="19884">
                  <c:v>0</c:v>
                </c:pt>
                <c:pt idx="19885">
                  <c:v>0</c:v>
                </c:pt>
                <c:pt idx="19886">
                  <c:v>0</c:v>
                </c:pt>
                <c:pt idx="19887">
                  <c:v>0</c:v>
                </c:pt>
                <c:pt idx="19888">
                  <c:v>0</c:v>
                </c:pt>
                <c:pt idx="19889">
                  <c:v>0</c:v>
                </c:pt>
                <c:pt idx="19890">
                  <c:v>0</c:v>
                </c:pt>
                <c:pt idx="19891">
                  <c:v>0</c:v>
                </c:pt>
                <c:pt idx="19892">
                  <c:v>3</c:v>
                </c:pt>
                <c:pt idx="19893">
                  <c:v>3</c:v>
                </c:pt>
                <c:pt idx="19894">
                  <c:v>2</c:v>
                </c:pt>
                <c:pt idx="19895">
                  <c:v>0</c:v>
                </c:pt>
                <c:pt idx="19896">
                  <c:v>0</c:v>
                </c:pt>
                <c:pt idx="19897">
                  <c:v>0</c:v>
                </c:pt>
                <c:pt idx="19898">
                  <c:v>0</c:v>
                </c:pt>
                <c:pt idx="19899">
                  <c:v>0</c:v>
                </c:pt>
                <c:pt idx="19900">
                  <c:v>0</c:v>
                </c:pt>
                <c:pt idx="19901">
                  <c:v>0</c:v>
                </c:pt>
                <c:pt idx="19902">
                  <c:v>0</c:v>
                </c:pt>
                <c:pt idx="19903">
                  <c:v>0</c:v>
                </c:pt>
                <c:pt idx="19904">
                  <c:v>2</c:v>
                </c:pt>
                <c:pt idx="19905">
                  <c:v>1</c:v>
                </c:pt>
                <c:pt idx="19906">
                  <c:v>0</c:v>
                </c:pt>
                <c:pt idx="19907">
                  <c:v>0</c:v>
                </c:pt>
                <c:pt idx="19908">
                  <c:v>0</c:v>
                </c:pt>
                <c:pt idx="19909">
                  <c:v>0</c:v>
                </c:pt>
                <c:pt idx="19910">
                  <c:v>0</c:v>
                </c:pt>
                <c:pt idx="19911">
                  <c:v>0</c:v>
                </c:pt>
                <c:pt idx="19912">
                  <c:v>0</c:v>
                </c:pt>
                <c:pt idx="19913">
                  <c:v>0</c:v>
                </c:pt>
                <c:pt idx="19914">
                  <c:v>0</c:v>
                </c:pt>
                <c:pt idx="19915">
                  <c:v>3</c:v>
                </c:pt>
                <c:pt idx="19916">
                  <c:v>0</c:v>
                </c:pt>
                <c:pt idx="19917">
                  <c:v>0</c:v>
                </c:pt>
                <c:pt idx="19918">
                  <c:v>0</c:v>
                </c:pt>
                <c:pt idx="19919">
                  <c:v>0</c:v>
                </c:pt>
                <c:pt idx="19920">
                  <c:v>0</c:v>
                </c:pt>
                <c:pt idx="19921">
                  <c:v>0</c:v>
                </c:pt>
                <c:pt idx="19922">
                  <c:v>4</c:v>
                </c:pt>
                <c:pt idx="19923">
                  <c:v>0</c:v>
                </c:pt>
                <c:pt idx="19924">
                  <c:v>0</c:v>
                </c:pt>
                <c:pt idx="19925">
                  <c:v>5</c:v>
                </c:pt>
                <c:pt idx="19926">
                  <c:v>0</c:v>
                </c:pt>
                <c:pt idx="19927">
                  <c:v>0</c:v>
                </c:pt>
                <c:pt idx="19928">
                  <c:v>0</c:v>
                </c:pt>
                <c:pt idx="19929">
                  <c:v>0</c:v>
                </c:pt>
                <c:pt idx="19930">
                  <c:v>1</c:v>
                </c:pt>
                <c:pt idx="19931">
                  <c:v>0</c:v>
                </c:pt>
                <c:pt idx="19932">
                  <c:v>0</c:v>
                </c:pt>
                <c:pt idx="19933">
                  <c:v>0</c:v>
                </c:pt>
                <c:pt idx="19934">
                  <c:v>1</c:v>
                </c:pt>
                <c:pt idx="19935">
                  <c:v>0</c:v>
                </c:pt>
                <c:pt idx="19936">
                  <c:v>4</c:v>
                </c:pt>
                <c:pt idx="19937">
                  <c:v>2</c:v>
                </c:pt>
                <c:pt idx="19938">
                  <c:v>1</c:v>
                </c:pt>
                <c:pt idx="19939">
                  <c:v>0</c:v>
                </c:pt>
                <c:pt idx="19940">
                  <c:v>0</c:v>
                </c:pt>
                <c:pt idx="19941">
                  <c:v>1</c:v>
                </c:pt>
                <c:pt idx="19942">
                  <c:v>0</c:v>
                </c:pt>
                <c:pt idx="19943">
                  <c:v>0</c:v>
                </c:pt>
                <c:pt idx="19944">
                  <c:v>0</c:v>
                </c:pt>
                <c:pt idx="19945">
                  <c:v>3</c:v>
                </c:pt>
                <c:pt idx="19946">
                  <c:v>0</c:v>
                </c:pt>
                <c:pt idx="19947">
                  <c:v>0</c:v>
                </c:pt>
                <c:pt idx="19948">
                  <c:v>0</c:v>
                </c:pt>
                <c:pt idx="19949">
                  <c:v>0</c:v>
                </c:pt>
                <c:pt idx="19950">
                  <c:v>0</c:v>
                </c:pt>
                <c:pt idx="19951">
                  <c:v>3</c:v>
                </c:pt>
                <c:pt idx="19952">
                  <c:v>0</c:v>
                </c:pt>
                <c:pt idx="19953">
                  <c:v>0</c:v>
                </c:pt>
                <c:pt idx="19954">
                  <c:v>2</c:v>
                </c:pt>
                <c:pt idx="19955">
                  <c:v>0</c:v>
                </c:pt>
                <c:pt idx="19956">
                  <c:v>1</c:v>
                </c:pt>
                <c:pt idx="19957">
                  <c:v>2</c:v>
                </c:pt>
                <c:pt idx="19958">
                  <c:v>1</c:v>
                </c:pt>
                <c:pt idx="19959">
                  <c:v>0</c:v>
                </c:pt>
                <c:pt idx="19960">
                  <c:v>2</c:v>
                </c:pt>
                <c:pt idx="19961">
                  <c:v>2</c:v>
                </c:pt>
                <c:pt idx="19962">
                  <c:v>0</c:v>
                </c:pt>
                <c:pt idx="19963">
                  <c:v>0</c:v>
                </c:pt>
                <c:pt idx="19964">
                  <c:v>0</c:v>
                </c:pt>
                <c:pt idx="19965">
                  <c:v>0</c:v>
                </c:pt>
                <c:pt idx="19966">
                  <c:v>0</c:v>
                </c:pt>
                <c:pt idx="19967">
                  <c:v>0</c:v>
                </c:pt>
                <c:pt idx="19968">
                  <c:v>0</c:v>
                </c:pt>
                <c:pt idx="19969">
                  <c:v>0</c:v>
                </c:pt>
                <c:pt idx="19970">
                  <c:v>0</c:v>
                </c:pt>
                <c:pt idx="19971">
                  <c:v>0</c:v>
                </c:pt>
                <c:pt idx="19972">
                  <c:v>1</c:v>
                </c:pt>
                <c:pt idx="19973">
                  <c:v>0</c:v>
                </c:pt>
                <c:pt idx="19974">
                  <c:v>0</c:v>
                </c:pt>
                <c:pt idx="19975">
                  <c:v>0</c:v>
                </c:pt>
                <c:pt idx="19976">
                  <c:v>0</c:v>
                </c:pt>
                <c:pt idx="19977">
                  <c:v>0</c:v>
                </c:pt>
                <c:pt idx="19978">
                  <c:v>0</c:v>
                </c:pt>
                <c:pt idx="19979">
                  <c:v>4</c:v>
                </c:pt>
                <c:pt idx="19980">
                  <c:v>0</c:v>
                </c:pt>
                <c:pt idx="19981">
                  <c:v>0</c:v>
                </c:pt>
                <c:pt idx="19982">
                  <c:v>0</c:v>
                </c:pt>
                <c:pt idx="19983">
                  <c:v>1</c:v>
                </c:pt>
                <c:pt idx="19984">
                  <c:v>0</c:v>
                </c:pt>
                <c:pt idx="19985">
                  <c:v>23</c:v>
                </c:pt>
                <c:pt idx="19986">
                  <c:v>1</c:v>
                </c:pt>
                <c:pt idx="19987">
                  <c:v>1</c:v>
                </c:pt>
                <c:pt idx="19988">
                  <c:v>0</c:v>
                </c:pt>
                <c:pt idx="19989">
                  <c:v>1</c:v>
                </c:pt>
                <c:pt idx="19990">
                  <c:v>0</c:v>
                </c:pt>
                <c:pt idx="19991">
                  <c:v>0</c:v>
                </c:pt>
                <c:pt idx="19992">
                  <c:v>0</c:v>
                </c:pt>
                <c:pt idx="19993">
                  <c:v>0</c:v>
                </c:pt>
                <c:pt idx="19994">
                  <c:v>0</c:v>
                </c:pt>
                <c:pt idx="19995">
                  <c:v>0</c:v>
                </c:pt>
                <c:pt idx="19996">
                  <c:v>0</c:v>
                </c:pt>
                <c:pt idx="19997">
                  <c:v>0</c:v>
                </c:pt>
                <c:pt idx="19998">
                  <c:v>0</c:v>
                </c:pt>
                <c:pt idx="19999">
                  <c:v>0</c:v>
                </c:pt>
                <c:pt idx="20000">
                  <c:v>0</c:v>
                </c:pt>
                <c:pt idx="20001">
                  <c:v>0</c:v>
                </c:pt>
                <c:pt idx="20002">
                  <c:v>0</c:v>
                </c:pt>
                <c:pt idx="20003">
                  <c:v>0</c:v>
                </c:pt>
                <c:pt idx="20004">
                  <c:v>0</c:v>
                </c:pt>
                <c:pt idx="20005">
                  <c:v>0</c:v>
                </c:pt>
                <c:pt idx="20006">
                  <c:v>0</c:v>
                </c:pt>
                <c:pt idx="20007">
                  <c:v>0</c:v>
                </c:pt>
                <c:pt idx="20008">
                  <c:v>0</c:v>
                </c:pt>
                <c:pt idx="20009">
                  <c:v>0</c:v>
                </c:pt>
                <c:pt idx="20010">
                  <c:v>0</c:v>
                </c:pt>
                <c:pt idx="20011">
                  <c:v>0</c:v>
                </c:pt>
                <c:pt idx="20012">
                  <c:v>0</c:v>
                </c:pt>
                <c:pt idx="20013">
                  <c:v>0</c:v>
                </c:pt>
                <c:pt idx="20014">
                  <c:v>0</c:v>
                </c:pt>
                <c:pt idx="20015">
                  <c:v>0</c:v>
                </c:pt>
                <c:pt idx="20016">
                  <c:v>0</c:v>
                </c:pt>
                <c:pt idx="20017">
                  <c:v>0</c:v>
                </c:pt>
                <c:pt idx="20018">
                  <c:v>0</c:v>
                </c:pt>
                <c:pt idx="20019">
                  <c:v>0</c:v>
                </c:pt>
                <c:pt idx="20020">
                  <c:v>0</c:v>
                </c:pt>
                <c:pt idx="20021">
                  <c:v>0</c:v>
                </c:pt>
                <c:pt idx="20022">
                  <c:v>0</c:v>
                </c:pt>
                <c:pt idx="20023">
                  <c:v>0</c:v>
                </c:pt>
                <c:pt idx="20024">
                  <c:v>0</c:v>
                </c:pt>
                <c:pt idx="20025">
                  <c:v>0</c:v>
                </c:pt>
                <c:pt idx="20026">
                  <c:v>0</c:v>
                </c:pt>
                <c:pt idx="20027">
                  <c:v>0</c:v>
                </c:pt>
                <c:pt idx="20028">
                  <c:v>0</c:v>
                </c:pt>
                <c:pt idx="20029">
                  <c:v>0</c:v>
                </c:pt>
                <c:pt idx="20030">
                  <c:v>0</c:v>
                </c:pt>
                <c:pt idx="20031">
                  <c:v>0</c:v>
                </c:pt>
                <c:pt idx="20032">
                  <c:v>0</c:v>
                </c:pt>
                <c:pt idx="20033">
                  <c:v>3</c:v>
                </c:pt>
                <c:pt idx="20034">
                  <c:v>0</c:v>
                </c:pt>
                <c:pt idx="20035">
                  <c:v>0</c:v>
                </c:pt>
                <c:pt idx="20036">
                  <c:v>0</c:v>
                </c:pt>
                <c:pt idx="20037">
                  <c:v>0</c:v>
                </c:pt>
                <c:pt idx="20038">
                  <c:v>0</c:v>
                </c:pt>
                <c:pt idx="20039">
                  <c:v>0</c:v>
                </c:pt>
                <c:pt idx="20040">
                  <c:v>0</c:v>
                </c:pt>
                <c:pt idx="20041">
                  <c:v>0</c:v>
                </c:pt>
                <c:pt idx="20042">
                  <c:v>0</c:v>
                </c:pt>
                <c:pt idx="20043">
                  <c:v>0</c:v>
                </c:pt>
                <c:pt idx="20044">
                  <c:v>0</c:v>
                </c:pt>
                <c:pt idx="20045">
                  <c:v>0</c:v>
                </c:pt>
                <c:pt idx="20046">
                  <c:v>0</c:v>
                </c:pt>
                <c:pt idx="20047">
                  <c:v>0</c:v>
                </c:pt>
                <c:pt idx="20048">
                  <c:v>0</c:v>
                </c:pt>
                <c:pt idx="20049">
                  <c:v>0</c:v>
                </c:pt>
                <c:pt idx="20050">
                  <c:v>0</c:v>
                </c:pt>
                <c:pt idx="20051">
                  <c:v>0</c:v>
                </c:pt>
                <c:pt idx="20052">
                  <c:v>0</c:v>
                </c:pt>
                <c:pt idx="20053">
                  <c:v>0</c:v>
                </c:pt>
                <c:pt idx="20054">
                  <c:v>0</c:v>
                </c:pt>
                <c:pt idx="20055">
                  <c:v>0</c:v>
                </c:pt>
                <c:pt idx="20056">
                  <c:v>0</c:v>
                </c:pt>
                <c:pt idx="20057">
                  <c:v>0</c:v>
                </c:pt>
                <c:pt idx="20058">
                  <c:v>0</c:v>
                </c:pt>
                <c:pt idx="20059">
                  <c:v>0</c:v>
                </c:pt>
                <c:pt idx="20060">
                  <c:v>0</c:v>
                </c:pt>
                <c:pt idx="20061">
                  <c:v>0</c:v>
                </c:pt>
                <c:pt idx="20062">
                  <c:v>0</c:v>
                </c:pt>
                <c:pt idx="20063">
                  <c:v>2</c:v>
                </c:pt>
                <c:pt idx="20064">
                  <c:v>3</c:v>
                </c:pt>
                <c:pt idx="20065">
                  <c:v>4</c:v>
                </c:pt>
                <c:pt idx="20066">
                  <c:v>0</c:v>
                </c:pt>
                <c:pt idx="20067">
                  <c:v>0</c:v>
                </c:pt>
                <c:pt idx="20068">
                  <c:v>0</c:v>
                </c:pt>
                <c:pt idx="20069">
                  <c:v>0</c:v>
                </c:pt>
                <c:pt idx="20070">
                  <c:v>0</c:v>
                </c:pt>
                <c:pt idx="20071">
                  <c:v>0</c:v>
                </c:pt>
                <c:pt idx="20072">
                  <c:v>0</c:v>
                </c:pt>
                <c:pt idx="20073">
                  <c:v>0</c:v>
                </c:pt>
                <c:pt idx="20074">
                  <c:v>0</c:v>
                </c:pt>
                <c:pt idx="20075">
                  <c:v>0</c:v>
                </c:pt>
                <c:pt idx="20076">
                  <c:v>0</c:v>
                </c:pt>
                <c:pt idx="20077">
                  <c:v>0</c:v>
                </c:pt>
                <c:pt idx="20078">
                  <c:v>0</c:v>
                </c:pt>
                <c:pt idx="20079">
                  <c:v>0</c:v>
                </c:pt>
                <c:pt idx="20080">
                  <c:v>0</c:v>
                </c:pt>
                <c:pt idx="20081">
                  <c:v>0</c:v>
                </c:pt>
                <c:pt idx="20082">
                  <c:v>0</c:v>
                </c:pt>
                <c:pt idx="20083">
                  <c:v>0</c:v>
                </c:pt>
                <c:pt idx="20084">
                  <c:v>0</c:v>
                </c:pt>
                <c:pt idx="20085">
                  <c:v>0</c:v>
                </c:pt>
                <c:pt idx="20086">
                  <c:v>0</c:v>
                </c:pt>
                <c:pt idx="20087">
                  <c:v>0</c:v>
                </c:pt>
                <c:pt idx="20088">
                  <c:v>0</c:v>
                </c:pt>
                <c:pt idx="20089">
                  <c:v>0</c:v>
                </c:pt>
                <c:pt idx="20090">
                  <c:v>0</c:v>
                </c:pt>
                <c:pt idx="20091">
                  <c:v>0</c:v>
                </c:pt>
                <c:pt idx="20092">
                  <c:v>0</c:v>
                </c:pt>
                <c:pt idx="20093">
                  <c:v>0</c:v>
                </c:pt>
                <c:pt idx="20094">
                  <c:v>0</c:v>
                </c:pt>
                <c:pt idx="20095">
                  <c:v>0</c:v>
                </c:pt>
                <c:pt idx="20096">
                  <c:v>0</c:v>
                </c:pt>
                <c:pt idx="20097">
                  <c:v>0</c:v>
                </c:pt>
                <c:pt idx="20098">
                  <c:v>0</c:v>
                </c:pt>
                <c:pt idx="20099">
                  <c:v>0</c:v>
                </c:pt>
                <c:pt idx="20100">
                  <c:v>0</c:v>
                </c:pt>
                <c:pt idx="20101">
                  <c:v>0</c:v>
                </c:pt>
                <c:pt idx="20102">
                  <c:v>0</c:v>
                </c:pt>
                <c:pt idx="20103">
                  <c:v>0</c:v>
                </c:pt>
                <c:pt idx="20104">
                  <c:v>0</c:v>
                </c:pt>
                <c:pt idx="20105">
                  <c:v>0</c:v>
                </c:pt>
                <c:pt idx="20106">
                  <c:v>0</c:v>
                </c:pt>
                <c:pt idx="20107">
                  <c:v>0</c:v>
                </c:pt>
                <c:pt idx="20108">
                  <c:v>0</c:v>
                </c:pt>
                <c:pt idx="20109">
                  <c:v>0</c:v>
                </c:pt>
                <c:pt idx="20110">
                  <c:v>0</c:v>
                </c:pt>
                <c:pt idx="20111">
                  <c:v>0</c:v>
                </c:pt>
                <c:pt idx="20112">
                  <c:v>0</c:v>
                </c:pt>
                <c:pt idx="20113">
                  <c:v>0</c:v>
                </c:pt>
                <c:pt idx="20114">
                  <c:v>0</c:v>
                </c:pt>
                <c:pt idx="20115">
                  <c:v>1</c:v>
                </c:pt>
                <c:pt idx="20116">
                  <c:v>0</c:v>
                </c:pt>
                <c:pt idx="20117">
                  <c:v>0</c:v>
                </c:pt>
                <c:pt idx="20118">
                  <c:v>0</c:v>
                </c:pt>
                <c:pt idx="20119">
                  <c:v>0</c:v>
                </c:pt>
                <c:pt idx="20120">
                  <c:v>0</c:v>
                </c:pt>
                <c:pt idx="20121">
                  <c:v>0</c:v>
                </c:pt>
                <c:pt idx="20122">
                  <c:v>0</c:v>
                </c:pt>
                <c:pt idx="20123">
                  <c:v>0</c:v>
                </c:pt>
                <c:pt idx="20124">
                  <c:v>0</c:v>
                </c:pt>
                <c:pt idx="20125">
                  <c:v>0</c:v>
                </c:pt>
                <c:pt idx="20126">
                  <c:v>1</c:v>
                </c:pt>
                <c:pt idx="20127">
                  <c:v>0</c:v>
                </c:pt>
                <c:pt idx="20128">
                  <c:v>0</c:v>
                </c:pt>
                <c:pt idx="20129">
                  <c:v>0</c:v>
                </c:pt>
                <c:pt idx="20130">
                  <c:v>0</c:v>
                </c:pt>
                <c:pt idx="20131">
                  <c:v>0</c:v>
                </c:pt>
                <c:pt idx="20132">
                  <c:v>0</c:v>
                </c:pt>
                <c:pt idx="20133">
                  <c:v>0</c:v>
                </c:pt>
                <c:pt idx="20134">
                  <c:v>0</c:v>
                </c:pt>
                <c:pt idx="20135">
                  <c:v>0</c:v>
                </c:pt>
                <c:pt idx="20136">
                  <c:v>0</c:v>
                </c:pt>
                <c:pt idx="20137">
                  <c:v>0</c:v>
                </c:pt>
                <c:pt idx="20138">
                  <c:v>0</c:v>
                </c:pt>
                <c:pt idx="20139">
                  <c:v>0</c:v>
                </c:pt>
                <c:pt idx="20140">
                  <c:v>0</c:v>
                </c:pt>
                <c:pt idx="20141">
                  <c:v>0</c:v>
                </c:pt>
                <c:pt idx="20142">
                  <c:v>0</c:v>
                </c:pt>
                <c:pt idx="20143">
                  <c:v>0</c:v>
                </c:pt>
                <c:pt idx="20144">
                  <c:v>0</c:v>
                </c:pt>
                <c:pt idx="20145">
                  <c:v>0</c:v>
                </c:pt>
                <c:pt idx="20146">
                  <c:v>0</c:v>
                </c:pt>
                <c:pt idx="20147">
                  <c:v>0</c:v>
                </c:pt>
                <c:pt idx="20148">
                  <c:v>0</c:v>
                </c:pt>
                <c:pt idx="20149">
                  <c:v>0</c:v>
                </c:pt>
                <c:pt idx="20150">
                  <c:v>0</c:v>
                </c:pt>
                <c:pt idx="20151">
                  <c:v>0</c:v>
                </c:pt>
                <c:pt idx="20152">
                  <c:v>0</c:v>
                </c:pt>
                <c:pt idx="20153">
                  <c:v>0</c:v>
                </c:pt>
                <c:pt idx="20154">
                  <c:v>0</c:v>
                </c:pt>
                <c:pt idx="20155">
                  <c:v>0</c:v>
                </c:pt>
                <c:pt idx="20156">
                  <c:v>0</c:v>
                </c:pt>
                <c:pt idx="20157">
                  <c:v>0</c:v>
                </c:pt>
                <c:pt idx="20158">
                  <c:v>0</c:v>
                </c:pt>
                <c:pt idx="20159">
                  <c:v>0</c:v>
                </c:pt>
                <c:pt idx="20160">
                  <c:v>4</c:v>
                </c:pt>
                <c:pt idx="20161">
                  <c:v>4</c:v>
                </c:pt>
                <c:pt idx="20162">
                  <c:v>0</c:v>
                </c:pt>
                <c:pt idx="20163">
                  <c:v>0</c:v>
                </c:pt>
                <c:pt idx="20164">
                  <c:v>0</c:v>
                </c:pt>
                <c:pt idx="20165">
                  <c:v>0</c:v>
                </c:pt>
                <c:pt idx="20166">
                  <c:v>0</c:v>
                </c:pt>
                <c:pt idx="20167">
                  <c:v>0</c:v>
                </c:pt>
                <c:pt idx="20168">
                  <c:v>0</c:v>
                </c:pt>
                <c:pt idx="20169">
                  <c:v>0</c:v>
                </c:pt>
                <c:pt idx="20170">
                  <c:v>0</c:v>
                </c:pt>
                <c:pt idx="20171">
                  <c:v>0</c:v>
                </c:pt>
                <c:pt idx="20172">
                  <c:v>0</c:v>
                </c:pt>
                <c:pt idx="20173">
                  <c:v>0</c:v>
                </c:pt>
                <c:pt idx="20174">
                  <c:v>0</c:v>
                </c:pt>
                <c:pt idx="20175">
                  <c:v>0</c:v>
                </c:pt>
                <c:pt idx="20176">
                  <c:v>0</c:v>
                </c:pt>
                <c:pt idx="20177">
                  <c:v>0</c:v>
                </c:pt>
                <c:pt idx="20178">
                  <c:v>0</c:v>
                </c:pt>
                <c:pt idx="20179">
                  <c:v>0</c:v>
                </c:pt>
                <c:pt idx="20180">
                  <c:v>0</c:v>
                </c:pt>
                <c:pt idx="20181">
                  <c:v>0</c:v>
                </c:pt>
                <c:pt idx="20182">
                  <c:v>0</c:v>
                </c:pt>
                <c:pt idx="20183">
                  <c:v>0</c:v>
                </c:pt>
                <c:pt idx="20184">
                  <c:v>0</c:v>
                </c:pt>
                <c:pt idx="20185">
                  <c:v>0</c:v>
                </c:pt>
                <c:pt idx="20186">
                  <c:v>0</c:v>
                </c:pt>
                <c:pt idx="20187">
                  <c:v>0</c:v>
                </c:pt>
                <c:pt idx="20188">
                  <c:v>0</c:v>
                </c:pt>
                <c:pt idx="20189">
                  <c:v>0</c:v>
                </c:pt>
                <c:pt idx="20190">
                  <c:v>0</c:v>
                </c:pt>
                <c:pt idx="20191">
                  <c:v>0</c:v>
                </c:pt>
                <c:pt idx="20192">
                  <c:v>0</c:v>
                </c:pt>
                <c:pt idx="20193">
                  <c:v>0</c:v>
                </c:pt>
                <c:pt idx="20194">
                  <c:v>0</c:v>
                </c:pt>
                <c:pt idx="20195">
                  <c:v>0</c:v>
                </c:pt>
                <c:pt idx="20196">
                  <c:v>0</c:v>
                </c:pt>
                <c:pt idx="20197">
                  <c:v>0</c:v>
                </c:pt>
                <c:pt idx="20198">
                  <c:v>0</c:v>
                </c:pt>
                <c:pt idx="20199">
                  <c:v>0</c:v>
                </c:pt>
                <c:pt idx="20200">
                  <c:v>0</c:v>
                </c:pt>
                <c:pt idx="20201">
                  <c:v>0</c:v>
                </c:pt>
                <c:pt idx="20202">
                  <c:v>0</c:v>
                </c:pt>
                <c:pt idx="20203">
                  <c:v>0</c:v>
                </c:pt>
                <c:pt idx="20204">
                  <c:v>0</c:v>
                </c:pt>
                <c:pt idx="20205">
                  <c:v>0</c:v>
                </c:pt>
                <c:pt idx="20206">
                  <c:v>0</c:v>
                </c:pt>
                <c:pt idx="20207">
                  <c:v>0</c:v>
                </c:pt>
                <c:pt idx="20208">
                  <c:v>0</c:v>
                </c:pt>
                <c:pt idx="20209">
                  <c:v>0</c:v>
                </c:pt>
                <c:pt idx="20210">
                  <c:v>0</c:v>
                </c:pt>
                <c:pt idx="20211">
                  <c:v>0</c:v>
                </c:pt>
                <c:pt idx="20212">
                  <c:v>0</c:v>
                </c:pt>
                <c:pt idx="20213">
                  <c:v>0</c:v>
                </c:pt>
                <c:pt idx="20214">
                  <c:v>3</c:v>
                </c:pt>
                <c:pt idx="20215">
                  <c:v>0</c:v>
                </c:pt>
                <c:pt idx="20216">
                  <c:v>0</c:v>
                </c:pt>
                <c:pt idx="20217">
                  <c:v>0</c:v>
                </c:pt>
                <c:pt idx="20218">
                  <c:v>0</c:v>
                </c:pt>
                <c:pt idx="20219">
                  <c:v>0</c:v>
                </c:pt>
                <c:pt idx="20220">
                  <c:v>0</c:v>
                </c:pt>
                <c:pt idx="20221">
                  <c:v>0</c:v>
                </c:pt>
                <c:pt idx="20222">
                  <c:v>0</c:v>
                </c:pt>
                <c:pt idx="20223">
                  <c:v>0</c:v>
                </c:pt>
                <c:pt idx="20224">
                  <c:v>0</c:v>
                </c:pt>
                <c:pt idx="20225">
                  <c:v>0</c:v>
                </c:pt>
                <c:pt idx="20226">
                  <c:v>0</c:v>
                </c:pt>
                <c:pt idx="20227">
                  <c:v>0</c:v>
                </c:pt>
                <c:pt idx="20228">
                  <c:v>0</c:v>
                </c:pt>
                <c:pt idx="20229">
                  <c:v>0</c:v>
                </c:pt>
                <c:pt idx="20230">
                  <c:v>0</c:v>
                </c:pt>
                <c:pt idx="20231">
                  <c:v>0</c:v>
                </c:pt>
                <c:pt idx="20232">
                  <c:v>0</c:v>
                </c:pt>
                <c:pt idx="20233">
                  <c:v>0</c:v>
                </c:pt>
                <c:pt idx="20234">
                  <c:v>0</c:v>
                </c:pt>
                <c:pt idx="20235">
                  <c:v>0</c:v>
                </c:pt>
                <c:pt idx="20236">
                  <c:v>0</c:v>
                </c:pt>
                <c:pt idx="20237">
                  <c:v>0</c:v>
                </c:pt>
                <c:pt idx="20238">
                  <c:v>0</c:v>
                </c:pt>
                <c:pt idx="20239">
                  <c:v>0</c:v>
                </c:pt>
                <c:pt idx="20240">
                  <c:v>0</c:v>
                </c:pt>
                <c:pt idx="20241">
                  <c:v>0</c:v>
                </c:pt>
                <c:pt idx="20242">
                  <c:v>1</c:v>
                </c:pt>
                <c:pt idx="20243">
                  <c:v>2</c:v>
                </c:pt>
                <c:pt idx="20244">
                  <c:v>2</c:v>
                </c:pt>
                <c:pt idx="20245">
                  <c:v>10</c:v>
                </c:pt>
                <c:pt idx="20246">
                  <c:v>6</c:v>
                </c:pt>
                <c:pt idx="20247">
                  <c:v>0</c:v>
                </c:pt>
                <c:pt idx="20248">
                  <c:v>0</c:v>
                </c:pt>
                <c:pt idx="20249">
                  <c:v>0</c:v>
                </c:pt>
                <c:pt idx="20250">
                  <c:v>0</c:v>
                </c:pt>
                <c:pt idx="20251">
                  <c:v>0</c:v>
                </c:pt>
                <c:pt idx="20252">
                  <c:v>0</c:v>
                </c:pt>
                <c:pt idx="20253">
                  <c:v>0</c:v>
                </c:pt>
                <c:pt idx="20254">
                  <c:v>0</c:v>
                </c:pt>
                <c:pt idx="20255">
                  <c:v>0</c:v>
                </c:pt>
                <c:pt idx="20256">
                  <c:v>0</c:v>
                </c:pt>
                <c:pt idx="20257">
                  <c:v>0</c:v>
                </c:pt>
                <c:pt idx="20258">
                  <c:v>0</c:v>
                </c:pt>
                <c:pt idx="20259">
                  <c:v>0</c:v>
                </c:pt>
                <c:pt idx="20260">
                  <c:v>0</c:v>
                </c:pt>
                <c:pt idx="20261">
                  <c:v>0</c:v>
                </c:pt>
                <c:pt idx="20262">
                  <c:v>0</c:v>
                </c:pt>
                <c:pt idx="20263">
                  <c:v>0</c:v>
                </c:pt>
                <c:pt idx="20264">
                  <c:v>0</c:v>
                </c:pt>
                <c:pt idx="20265">
                  <c:v>0</c:v>
                </c:pt>
                <c:pt idx="20266">
                  <c:v>0</c:v>
                </c:pt>
                <c:pt idx="20267">
                  <c:v>0</c:v>
                </c:pt>
                <c:pt idx="20268">
                  <c:v>0</c:v>
                </c:pt>
                <c:pt idx="20269">
                  <c:v>0</c:v>
                </c:pt>
                <c:pt idx="20270">
                  <c:v>0</c:v>
                </c:pt>
                <c:pt idx="20271">
                  <c:v>0</c:v>
                </c:pt>
                <c:pt idx="20272">
                  <c:v>0</c:v>
                </c:pt>
                <c:pt idx="20273">
                  <c:v>0</c:v>
                </c:pt>
                <c:pt idx="20274">
                  <c:v>0</c:v>
                </c:pt>
                <c:pt idx="20275">
                  <c:v>0</c:v>
                </c:pt>
                <c:pt idx="20276">
                  <c:v>0</c:v>
                </c:pt>
                <c:pt idx="20277">
                  <c:v>0</c:v>
                </c:pt>
                <c:pt idx="20278">
                  <c:v>0</c:v>
                </c:pt>
                <c:pt idx="20279">
                  <c:v>0</c:v>
                </c:pt>
                <c:pt idx="20280">
                  <c:v>0</c:v>
                </c:pt>
                <c:pt idx="20281">
                  <c:v>0</c:v>
                </c:pt>
                <c:pt idx="20282">
                  <c:v>0</c:v>
                </c:pt>
                <c:pt idx="20283">
                  <c:v>0</c:v>
                </c:pt>
                <c:pt idx="20284">
                  <c:v>1</c:v>
                </c:pt>
                <c:pt idx="20285">
                  <c:v>0</c:v>
                </c:pt>
                <c:pt idx="20286">
                  <c:v>0</c:v>
                </c:pt>
                <c:pt idx="20287">
                  <c:v>0</c:v>
                </c:pt>
                <c:pt idx="20288">
                  <c:v>0</c:v>
                </c:pt>
                <c:pt idx="20289">
                  <c:v>0</c:v>
                </c:pt>
                <c:pt idx="20290">
                  <c:v>0</c:v>
                </c:pt>
                <c:pt idx="20291">
                  <c:v>0</c:v>
                </c:pt>
                <c:pt idx="20292">
                  <c:v>0</c:v>
                </c:pt>
                <c:pt idx="20293">
                  <c:v>0</c:v>
                </c:pt>
                <c:pt idx="20294">
                  <c:v>0</c:v>
                </c:pt>
                <c:pt idx="20295">
                  <c:v>0</c:v>
                </c:pt>
                <c:pt idx="20296">
                  <c:v>0</c:v>
                </c:pt>
                <c:pt idx="20297">
                  <c:v>1</c:v>
                </c:pt>
                <c:pt idx="20298">
                  <c:v>0</c:v>
                </c:pt>
                <c:pt idx="20299">
                  <c:v>0</c:v>
                </c:pt>
                <c:pt idx="20300">
                  <c:v>0</c:v>
                </c:pt>
                <c:pt idx="20301">
                  <c:v>0</c:v>
                </c:pt>
                <c:pt idx="20302">
                  <c:v>0</c:v>
                </c:pt>
                <c:pt idx="20303">
                  <c:v>0</c:v>
                </c:pt>
                <c:pt idx="20304">
                  <c:v>0</c:v>
                </c:pt>
                <c:pt idx="20305">
                  <c:v>0</c:v>
                </c:pt>
                <c:pt idx="20306">
                  <c:v>0</c:v>
                </c:pt>
                <c:pt idx="20307">
                  <c:v>0</c:v>
                </c:pt>
                <c:pt idx="20308">
                  <c:v>0</c:v>
                </c:pt>
                <c:pt idx="20309">
                  <c:v>0</c:v>
                </c:pt>
                <c:pt idx="20310">
                  <c:v>0</c:v>
                </c:pt>
                <c:pt idx="20311">
                  <c:v>0</c:v>
                </c:pt>
                <c:pt idx="20312">
                  <c:v>2</c:v>
                </c:pt>
                <c:pt idx="20313">
                  <c:v>0</c:v>
                </c:pt>
                <c:pt idx="20314">
                  <c:v>0</c:v>
                </c:pt>
                <c:pt idx="20315">
                  <c:v>0</c:v>
                </c:pt>
                <c:pt idx="20316">
                  <c:v>0</c:v>
                </c:pt>
                <c:pt idx="20317">
                  <c:v>0</c:v>
                </c:pt>
                <c:pt idx="20318">
                  <c:v>0</c:v>
                </c:pt>
                <c:pt idx="20319">
                  <c:v>0</c:v>
                </c:pt>
                <c:pt idx="20320">
                  <c:v>0</c:v>
                </c:pt>
                <c:pt idx="20321">
                  <c:v>0</c:v>
                </c:pt>
                <c:pt idx="20322">
                  <c:v>0</c:v>
                </c:pt>
                <c:pt idx="20323">
                  <c:v>0</c:v>
                </c:pt>
                <c:pt idx="20324">
                  <c:v>0</c:v>
                </c:pt>
                <c:pt idx="20325">
                  <c:v>0</c:v>
                </c:pt>
                <c:pt idx="20326">
                  <c:v>0</c:v>
                </c:pt>
                <c:pt idx="20327">
                  <c:v>0</c:v>
                </c:pt>
                <c:pt idx="20328">
                  <c:v>1</c:v>
                </c:pt>
                <c:pt idx="20329">
                  <c:v>0</c:v>
                </c:pt>
                <c:pt idx="20330">
                  <c:v>0</c:v>
                </c:pt>
                <c:pt idx="20331">
                  <c:v>0</c:v>
                </c:pt>
                <c:pt idx="20332">
                  <c:v>0</c:v>
                </c:pt>
                <c:pt idx="20333">
                  <c:v>0</c:v>
                </c:pt>
                <c:pt idx="20334">
                  <c:v>0</c:v>
                </c:pt>
                <c:pt idx="20335">
                  <c:v>0</c:v>
                </c:pt>
                <c:pt idx="20336">
                  <c:v>0</c:v>
                </c:pt>
                <c:pt idx="20337">
                  <c:v>0</c:v>
                </c:pt>
                <c:pt idx="20338">
                  <c:v>0</c:v>
                </c:pt>
                <c:pt idx="20339">
                  <c:v>0</c:v>
                </c:pt>
                <c:pt idx="20340">
                  <c:v>0</c:v>
                </c:pt>
                <c:pt idx="20341">
                  <c:v>0</c:v>
                </c:pt>
                <c:pt idx="20342">
                  <c:v>0</c:v>
                </c:pt>
                <c:pt idx="20343">
                  <c:v>0</c:v>
                </c:pt>
                <c:pt idx="20344">
                  <c:v>0</c:v>
                </c:pt>
                <c:pt idx="20345">
                  <c:v>1</c:v>
                </c:pt>
                <c:pt idx="20346">
                  <c:v>1</c:v>
                </c:pt>
                <c:pt idx="20347">
                  <c:v>0</c:v>
                </c:pt>
                <c:pt idx="20348">
                  <c:v>0</c:v>
                </c:pt>
                <c:pt idx="20349">
                  <c:v>0</c:v>
                </c:pt>
                <c:pt idx="20350">
                  <c:v>0</c:v>
                </c:pt>
                <c:pt idx="20351">
                  <c:v>0</c:v>
                </c:pt>
                <c:pt idx="20352">
                  <c:v>1</c:v>
                </c:pt>
                <c:pt idx="20353">
                  <c:v>0</c:v>
                </c:pt>
                <c:pt idx="20354">
                  <c:v>0</c:v>
                </c:pt>
                <c:pt idx="20355">
                  <c:v>0</c:v>
                </c:pt>
                <c:pt idx="20356">
                  <c:v>0</c:v>
                </c:pt>
                <c:pt idx="20357">
                  <c:v>0</c:v>
                </c:pt>
                <c:pt idx="20358">
                  <c:v>0</c:v>
                </c:pt>
                <c:pt idx="20359">
                  <c:v>0</c:v>
                </c:pt>
                <c:pt idx="20360">
                  <c:v>0</c:v>
                </c:pt>
                <c:pt idx="20361">
                  <c:v>4</c:v>
                </c:pt>
                <c:pt idx="20362">
                  <c:v>0</c:v>
                </c:pt>
                <c:pt idx="20363">
                  <c:v>0</c:v>
                </c:pt>
                <c:pt idx="20364">
                  <c:v>0</c:v>
                </c:pt>
                <c:pt idx="20365">
                  <c:v>0</c:v>
                </c:pt>
                <c:pt idx="20366">
                  <c:v>0</c:v>
                </c:pt>
                <c:pt idx="20367">
                  <c:v>0</c:v>
                </c:pt>
                <c:pt idx="20368">
                  <c:v>0</c:v>
                </c:pt>
                <c:pt idx="20369">
                  <c:v>0</c:v>
                </c:pt>
                <c:pt idx="20370">
                  <c:v>0</c:v>
                </c:pt>
                <c:pt idx="20371">
                  <c:v>0</c:v>
                </c:pt>
                <c:pt idx="20372">
                  <c:v>0</c:v>
                </c:pt>
                <c:pt idx="20373">
                  <c:v>0</c:v>
                </c:pt>
                <c:pt idx="20374">
                  <c:v>0</c:v>
                </c:pt>
                <c:pt idx="20375">
                  <c:v>0</c:v>
                </c:pt>
                <c:pt idx="20376">
                  <c:v>0</c:v>
                </c:pt>
                <c:pt idx="20377">
                  <c:v>0</c:v>
                </c:pt>
                <c:pt idx="20378">
                  <c:v>0</c:v>
                </c:pt>
                <c:pt idx="20379">
                  <c:v>0</c:v>
                </c:pt>
                <c:pt idx="20380">
                  <c:v>0</c:v>
                </c:pt>
                <c:pt idx="20381">
                  <c:v>0</c:v>
                </c:pt>
                <c:pt idx="20382">
                  <c:v>0</c:v>
                </c:pt>
                <c:pt idx="20383">
                  <c:v>0</c:v>
                </c:pt>
                <c:pt idx="20384">
                  <c:v>0</c:v>
                </c:pt>
                <c:pt idx="20385">
                  <c:v>0</c:v>
                </c:pt>
                <c:pt idx="20386">
                  <c:v>0</c:v>
                </c:pt>
                <c:pt idx="20387">
                  <c:v>0</c:v>
                </c:pt>
                <c:pt idx="20388">
                  <c:v>0</c:v>
                </c:pt>
                <c:pt idx="20389">
                  <c:v>0</c:v>
                </c:pt>
                <c:pt idx="20390">
                  <c:v>0</c:v>
                </c:pt>
                <c:pt idx="20391">
                  <c:v>0</c:v>
                </c:pt>
                <c:pt idx="20392">
                  <c:v>0</c:v>
                </c:pt>
                <c:pt idx="20393">
                  <c:v>0</c:v>
                </c:pt>
                <c:pt idx="20394">
                  <c:v>0</c:v>
                </c:pt>
                <c:pt idx="20395">
                  <c:v>0</c:v>
                </c:pt>
                <c:pt idx="20396">
                  <c:v>0</c:v>
                </c:pt>
                <c:pt idx="20397">
                  <c:v>0</c:v>
                </c:pt>
                <c:pt idx="20398">
                  <c:v>1</c:v>
                </c:pt>
                <c:pt idx="20399">
                  <c:v>0</c:v>
                </c:pt>
                <c:pt idx="20400">
                  <c:v>0</c:v>
                </c:pt>
                <c:pt idx="20401">
                  <c:v>0</c:v>
                </c:pt>
                <c:pt idx="20402">
                  <c:v>0</c:v>
                </c:pt>
                <c:pt idx="20403">
                  <c:v>0</c:v>
                </c:pt>
                <c:pt idx="20404">
                  <c:v>0</c:v>
                </c:pt>
                <c:pt idx="20405">
                  <c:v>0</c:v>
                </c:pt>
                <c:pt idx="20406">
                  <c:v>0</c:v>
                </c:pt>
                <c:pt idx="20407">
                  <c:v>0</c:v>
                </c:pt>
                <c:pt idx="20408">
                  <c:v>0</c:v>
                </c:pt>
                <c:pt idx="20409">
                  <c:v>0</c:v>
                </c:pt>
                <c:pt idx="20410">
                  <c:v>0</c:v>
                </c:pt>
                <c:pt idx="20411">
                  <c:v>0</c:v>
                </c:pt>
                <c:pt idx="20412">
                  <c:v>0</c:v>
                </c:pt>
                <c:pt idx="20413">
                  <c:v>1</c:v>
                </c:pt>
                <c:pt idx="20414">
                  <c:v>0</c:v>
                </c:pt>
                <c:pt idx="20415">
                  <c:v>0</c:v>
                </c:pt>
                <c:pt idx="20416">
                  <c:v>0</c:v>
                </c:pt>
                <c:pt idx="20417">
                  <c:v>0</c:v>
                </c:pt>
                <c:pt idx="20418">
                  <c:v>1</c:v>
                </c:pt>
                <c:pt idx="20419">
                  <c:v>0</c:v>
                </c:pt>
                <c:pt idx="20420">
                  <c:v>0</c:v>
                </c:pt>
                <c:pt idx="20421">
                  <c:v>0</c:v>
                </c:pt>
                <c:pt idx="20422">
                  <c:v>0</c:v>
                </c:pt>
                <c:pt idx="20423">
                  <c:v>0</c:v>
                </c:pt>
                <c:pt idx="20424">
                  <c:v>0</c:v>
                </c:pt>
                <c:pt idx="20425">
                  <c:v>0</c:v>
                </c:pt>
                <c:pt idx="20426">
                  <c:v>0</c:v>
                </c:pt>
                <c:pt idx="20427">
                  <c:v>0</c:v>
                </c:pt>
                <c:pt idx="20428">
                  <c:v>0</c:v>
                </c:pt>
                <c:pt idx="20429">
                  <c:v>0</c:v>
                </c:pt>
                <c:pt idx="20430">
                  <c:v>0</c:v>
                </c:pt>
                <c:pt idx="20431">
                  <c:v>1</c:v>
                </c:pt>
                <c:pt idx="20432">
                  <c:v>0</c:v>
                </c:pt>
                <c:pt idx="20433">
                  <c:v>0</c:v>
                </c:pt>
                <c:pt idx="20434">
                  <c:v>0</c:v>
                </c:pt>
                <c:pt idx="20435">
                  <c:v>0</c:v>
                </c:pt>
                <c:pt idx="20436">
                  <c:v>0</c:v>
                </c:pt>
                <c:pt idx="20437">
                  <c:v>0</c:v>
                </c:pt>
                <c:pt idx="20438">
                  <c:v>0</c:v>
                </c:pt>
                <c:pt idx="20439">
                  <c:v>0</c:v>
                </c:pt>
                <c:pt idx="20440">
                  <c:v>0</c:v>
                </c:pt>
                <c:pt idx="20441">
                  <c:v>0</c:v>
                </c:pt>
                <c:pt idx="20442">
                  <c:v>0</c:v>
                </c:pt>
                <c:pt idx="20443">
                  <c:v>0</c:v>
                </c:pt>
                <c:pt idx="20444">
                  <c:v>0</c:v>
                </c:pt>
                <c:pt idx="20445">
                  <c:v>0</c:v>
                </c:pt>
                <c:pt idx="20446">
                  <c:v>0</c:v>
                </c:pt>
                <c:pt idx="20447">
                  <c:v>0</c:v>
                </c:pt>
                <c:pt idx="20448">
                  <c:v>0</c:v>
                </c:pt>
                <c:pt idx="20449">
                  <c:v>0</c:v>
                </c:pt>
                <c:pt idx="20450">
                  <c:v>0</c:v>
                </c:pt>
                <c:pt idx="20451">
                  <c:v>0</c:v>
                </c:pt>
                <c:pt idx="20452">
                  <c:v>0</c:v>
                </c:pt>
                <c:pt idx="20453">
                  <c:v>0</c:v>
                </c:pt>
                <c:pt idx="20454">
                  <c:v>0</c:v>
                </c:pt>
                <c:pt idx="20455">
                  <c:v>0</c:v>
                </c:pt>
                <c:pt idx="20456">
                  <c:v>0</c:v>
                </c:pt>
                <c:pt idx="20457">
                  <c:v>0</c:v>
                </c:pt>
                <c:pt idx="20458">
                  <c:v>0</c:v>
                </c:pt>
                <c:pt idx="20459">
                  <c:v>0</c:v>
                </c:pt>
                <c:pt idx="20460">
                  <c:v>0</c:v>
                </c:pt>
                <c:pt idx="20461">
                  <c:v>0</c:v>
                </c:pt>
                <c:pt idx="20462">
                  <c:v>0</c:v>
                </c:pt>
                <c:pt idx="20463">
                  <c:v>0</c:v>
                </c:pt>
                <c:pt idx="20464">
                  <c:v>0</c:v>
                </c:pt>
                <c:pt idx="20465">
                  <c:v>0</c:v>
                </c:pt>
                <c:pt idx="20466">
                  <c:v>0</c:v>
                </c:pt>
                <c:pt idx="20467">
                  <c:v>9</c:v>
                </c:pt>
                <c:pt idx="20468">
                  <c:v>4</c:v>
                </c:pt>
                <c:pt idx="20469">
                  <c:v>7</c:v>
                </c:pt>
                <c:pt idx="20470">
                  <c:v>1</c:v>
                </c:pt>
                <c:pt idx="20471">
                  <c:v>6</c:v>
                </c:pt>
                <c:pt idx="20472">
                  <c:v>2</c:v>
                </c:pt>
                <c:pt idx="20473">
                  <c:v>0</c:v>
                </c:pt>
                <c:pt idx="20474">
                  <c:v>2</c:v>
                </c:pt>
                <c:pt idx="20475">
                  <c:v>0</c:v>
                </c:pt>
                <c:pt idx="20476">
                  <c:v>0</c:v>
                </c:pt>
                <c:pt idx="20477">
                  <c:v>0</c:v>
                </c:pt>
                <c:pt idx="20478">
                  <c:v>0</c:v>
                </c:pt>
                <c:pt idx="20479">
                  <c:v>0</c:v>
                </c:pt>
                <c:pt idx="20480">
                  <c:v>0</c:v>
                </c:pt>
                <c:pt idx="20481">
                  <c:v>0</c:v>
                </c:pt>
                <c:pt idx="20482">
                  <c:v>0</c:v>
                </c:pt>
                <c:pt idx="20483">
                  <c:v>0</c:v>
                </c:pt>
                <c:pt idx="20484">
                  <c:v>0</c:v>
                </c:pt>
                <c:pt idx="20485">
                  <c:v>0</c:v>
                </c:pt>
                <c:pt idx="20486">
                  <c:v>0</c:v>
                </c:pt>
                <c:pt idx="20487">
                  <c:v>0</c:v>
                </c:pt>
                <c:pt idx="20488">
                  <c:v>0</c:v>
                </c:pt>
                <c:pt idx="20489">
                  <c:v>0</c:v>
                </c:pt>
                <c:pt idx="20490">
                  <c:v>0</c:v>
                </c:pt>
                <c:pt idx="20491">
                  <c:v>0</c:v>
                </c:pt>
                <c:pt idx="20492">
                  <c:v>1</c:v>
                </c:pt>
                <c:pt idx="20493">
                  <c:v>0</c:v>
                </c:pt>
                <c:pt idx="20494">
                  <c:v>0</c:v>
                </c:pt>
                <c:pt idx="20495">
                  <c:v>0</c:v>
                </c:pt>
                <c:pt idx="20496">
                  <c:v>0</c:v>
                </c:pt>
                <c:pt idx="20497">
                  <c:v>0</c:v>
                </c:pt>
                <c:pt idx="20498">
                  <c:v>0</c:v>
                </c:pt>
                <c:pt idx="20499">
                  <c:v>0</c:v>
                </c:pt>
                <c:pt idx="20500">
                  <c:v>1</c:v>
                </c:pt>
                <c:pt idx="20501">
                  <c:v>1</c:v>
                </c:pt>
                <c:pt idx="20502">
                  <c:v>5</c:v>
                </c:pt>
                <c:pt idx="20503">
                  <c:v>0</c:v>
                </c:pt>
                <c:pt idx="20504">
                  <c:v>3</c:v>
                </c:pt>
                <c:pt idx="20505">
                  <c:v>3</c:v>
                </c:pt>
                <c:pt idx="20506">
                  <c:v>0</c:v>
                </c:pt>
                <c:pt idx="20507">
                  <c:v>0</c:v>
                </c:pt>
                <c:pt idx="20508">
                  <c:v>0</c:v>
                </c:pt>
                <c:pt idx="20509">
                  <c:v>0</c:v>
                </c:pt>
                <c:pt idx="20510">
                  <c:v>0</c:v>
                </c:pt>
                <c:pt idx="20511">
                  <c:v>0</c:v>
                </c:pt>
                <c:pt idx="20512">
                  <c:v>0</c:v>
                </c:pt>
                <c:pt idx="20513">
                  <c:v>1</c:v>
                </c:pt>
                <c:pt idx="20514">
                  <c:v>4</c:v>
                </c:pt>
                <c:pt idx="20515">
                  <c:v>0</c:v>
                </c:pt>
                <c:pt idx="20516">
                  <c:v>0</c:v>
                </c:pt>
                <c:pt idx="20517">
                  <c:v>1</c:v>
                </c:pt>
                <c:pt idx="20518">
                  <c:v>0</c:v>
                </c:pt>
                <c:pt idx="20519">
                  <c:v>0</c:v>
                </c:pt>
                <c:pt idx="20520">
                  <c:v>0</c:v>
                </c:pt>
                <c:pt idx="20521">
                  <c:v>0</c:v>
                </c:pt>
                <c:pt idx="20522">
                  <c:v>0</c:v>
                </c:pt>
                <c:pt idx="20523">
                  <c:v>0</c:v>
                </c:pt>
                <c:pt idx="20524">
                  <c:v>0</c:v>
                </c:pt>
                <c:pt idx="20525">
                  <c:v>0</c:v>
                </c:pt>
                <c:pt idx="20526">
                  <c:v>0</c:v>
                </c:pt>
                <c:pt idx="20527">
                  <c:v>0</c:v>
                </c:pt>
                <c:pt idx="20528">
                  <c:v>0</c:v>
                </c:pt>
                <c:pt idx="20529">
                  <c:v>0</c:v>
                </c:pt>
                <c:pt idx="20530">
                  <c:v>0</c:v>
                </c:pt>
                <c:pt idx="20531">
                  <c:v>0</c:v>
                </c:pt>
                <c:pt idx="20532">
                  <c:v>0</c:v>
                </c:pt>
                <c:pt idx="20533">
                  <c:v>0</c:v>
                </c:pt>
                <c:pt idx="20534">
                  <c:v>0</c:v>
                </c:pt>
                <c:pt idx="20535">
                  <c:v>0</c:v>
                </c:pt>
                <c:pt idx="20536">
                  <c:v>0</c:v>
                </c:pt>
                <c:pt idx="20537">
                  <c:v>0</c:v>
                </c:pt>
                <c:pt idx="20538">
                  <c:v>0</c:v>
                </c:pt>
                <c:pt idx="20539">
                  <c:v>0</c:v>
                </c:pt>
                <c:pt idx="20540">
                  <c:v>0</c:v>
                </c:pt>
                <c:pt idx="20541">
                  <c:v>0</c:v>
                </c:pt>
                <c:pt idx="20542">
                  <c:v>0</c:v>
                </c:pt>
                <c:pt idx="20543">
                  <c:v>0</c:v>
                </c:pt>
                <c:pt idx="20544">
                  <c:v>0</c:v>
                </c:pt>
                <c:pt idx="20545">
                  <c:v>2</c:v>
                </c:pt>
                <c:pt idx="20546">
                  <c:v>0</c:v>
                </c:pt>
                <c:pt idx="20547">
                  <c:v>1</c:v>
                </c:pt>
                <c:pt idx="20548">
                  <c:v>2</c:v>
                </c:pt>
                <c:pt idx="20549">
                  <c:v>1</c:v>
                </c:pt>
                <c:pt idx="20550">
                  <c:v>0</c:v>
                </c:pt>
                <c:pt idx="20551">
                  <c:v>1</c:v>
                </c:pt>
                <c:pt idx="20552">
                  <c:v>3</c:v>
                </c:pt>
                <c:pt idx="20553">
                  <c:v>3</c:v>
                </c:pt>
                <c:pt idx="20554">
                  <c:v>3</c:v>
                </c:pt>
                <c:pt idx="20555">
                  <c:v>2</c:v>
                </c:pt>
                <c:pt idx="20556">
                  <c:v>3</c:v>
                </c:pt>
                <c:pt idx="20557">
                  <c:v>1</c:v>
                </c:pt>
                <c:pt idx="20558">
                  <c:v>3</c:v>
                </c:pt>
                <c:pt idx="20559">
                  <c:v>4</c:v>
                </c:pt>
                <c:pt idx="20560">
                  <c:v>2</c:v>
                </c:pt>
                <c:pt idx="20561">
                  <c:v>6</c:v>
                </c:pt>
                <c:pt idx="20562">
                  <c:v>3</c:v>
                </c:pt>
                <c:pt idx="20563">
                  <c:v>1</c:v>
                </c:pt>
                <c:pt idx="20564">
                  <c:v>1</c:v>
                </c:pt>
                <c:pt idx="20565">
                  <c:v>2</c:v>
                </c:pt>
                <c:pt idx="20566">
                  <c:v>0</c:v>
                </c:pt>
                <c:pt idx="20567">
                  <c:v>3</c:v>
                </c:pt>
                <c:pt idx="20568">
                  <c:v>3</c:v>
                </c:pt>
                <c:pt idx="20569">
                  <c:v>0</c:v>
                </c:pt>
                <c:pt idx="20570">
                  <c:v>1</c:v>
                </c:pt>
                <c:pt idx="20571">
                  <c:v>0</c:v>
                </c:pt>
                <c:pt idx="20572">
                  <c:v>0</c:v>
                </c:pt>
                <c:pt idx="20573">
                  <c:v>0</c:v>
                </c:pt>
                <c:pt idx="20574">
                  <c:v>0</c:v>
                </c:pt>
                <c:pt idx="20575">
                  <c:v>0</c:v>
                </c:pt>
                <c:pt idx="20576">
                  <c:v>0</c:v>
                </c:pt>
                <c:pt idx="20577">
                  <c:v>0</c:v>
                </c:pt>
                <c:pt idx="20578">
                  <c:v>0</c:v>
                </c:pt>
                <c:pt idx="20579">
                  <c:v>0</c:v>
                </c:pt>
                <c:pt idx="20580">
                  <c:v>0</c:v>
                </c:pt>
                <c:pt idx="20581">
                  <c:v>0</c:v>
                </c:pt>
                <c:pt idx="20582">
                  <c:v>0</c:v>
                </c:pt>
                <c:pt idx="20583">
                  <c:v>0</c:v>
                </c:pt>
                <c:pt idx="20584">
                  <c:v>0</c:v>
                </c:pt>
                <c:pt idx="20585">
                  <c:v>0</c:v>
                </c:pt>
                <c:pt idx="20586">
                  <c:v>0</c:v>
                </c:pt>
                <c:pt idx="20587">
                  <c:v>0</c:v>
                </c:pt>
                <c:pt idx="20588">
                  <c:v>0</c:v>
                </c:pt>
                <c:pt idx="20589">
                  <c:v>0</c:v>
                </c:pt>
                <c:pt idx="20590">
                  <c:v>0</c:v>
                </c:pt>
                <c:pt idx="20591">
                  <c:v>0</c:v>
                </c:pt>
                <c:pt idx="20592">
                  <c:v>0</c:v>
                </c:pt>
                <c:pt idx="20593">
                  <c:v>0</c:v>
                </c:pt>
                <c:pt idx="20594">
                  <c:v>0</c:v>
                </c:pt>
                <c:pt idx="20595">
                  <c:v>0</c:v>
                </c:pt>
                <c:pt idx="20596">
                  <c:v>0</c:v>
                </c:pt>
                <c:pt idx="20597">
                  <c:v>0</c:v>
                </c:pt>
                <c:pt idx="20598">
                  <c:v>0</c:v>
                </c:pt>
                <c:pt idx="20599">
                  <c:v>0</c:v>
                </c:pt>
                <c:pt idx="20600">
                  <c:v>0</c:v>
                </c:pt>
                <c:pt idx="20601">
                  <c:v>2</c:v>
                </c:pt>
                <c:pt idx="20602">
                  <c:v>0</c:v>
                </c:pt>
                <c:pt idx="20603">
                  <c:v>0</c:v>
                </c:pt>
                <c:pt idx="20604">
                  <c:v>0</c:v>
                </c:pt>
                <c:pt idx="20605">
                  <c:v>5</c:v>
                </c:pt>
                <c:pt idx="20606">
                  <c:v>0</c:v>
                </c:pt>
                <c:pt idx="20607">
                  <c:v>0</c:v>
                </c:pt>
                <c:pt idx="20608">
                  <c:v>0</c:v>
                </c:pt>
                <c:pt idx="20609">
                  <c:v>0</c:v>
                </c:pt>
                <c:pt idx="20610">
                  <c:v>0</c:v>
                </c:pt>
                <c:pt idx="20611">
                  <c:v>0</c:v>
                </c:pt>
                <c:pt idx="20612">
                  <c:v>0</c:v>
                </c:pt>
                <c:pt idx="20613">
                  <c:v>0</c:v>
                </c:pt>
                <c:pt idx="20614">
                  <c:v>0</c:v>
                </c:pt>
                <c:pt idx="20615">
                  <c:v>0</c:v>
                </c:pt>
                <c:pt idx="20616">
                  <c:v>0</c:v>
                </c:pt>
                <c:pt idx="20617">
                  <c:v>0</c:v>
                </c:pt>
                <c:pt idx="20618">
                  <c:v>0</c:v>
                </c:pt>
                <c:pt idx="20619">
                  <c:v>0</c:v>
                </c:pt>
                <c:pt idx="20620">
                  <c:v>0</c:v>
                </c:pt>
                <c:pt idx="20621">
                  <c:v>0</c:v>
                </c:pt>
                <c:pt idx="20622">
                  <c:v>0</c:v>
                </c:pt>
                <c:pt idx="20623">
                  <c:v>0</c:v>
                </c:pt>
                <c:pt idx="20624">
                  <c:v>0</c:v>
                </c:pt>
                <c:pt idx="20625">
                  <c:v>0</c:v>
                </c:pt>
                <c:pt idx="20626">
                  <c:v>0</c:v>
                </c:pt>
                <c:pt idx="20627">
                  <c:v>0</c:v>
                </c:pt>
                <c:pt idx="20628">
                  <c:v>0</c:v>
                </c:pt>
                <c:pt idx="20629">
                  <c:v>0</c:v>
                </c:pt>
                <c:pt idx="20630">
                  <c:v>0</c:v>
                </c:pt>
                <c:pt idx="20631">
                  <c:v>0</c:v>
                </c:pt>
                <c:pt idx="20632">
                  <c:v>0</c:v>
                </c:pt>
                <c:pt idx="20633">
                  <c:v>0</c:v>
                </c:pt>
                <c:pt idx="20634">
                  <c:v>0</c:v>
                </c:pt>
                <c:pt idx="20635">
                  <c:v>0</c:v>
                </c:pt>
                <c:pt idx="20636">
                  <c:v>0</c:v>
                </c:pt>
                <c:pt idx="20637">
                  <c:v>0</c:v>
                </c:pt>
                <c:pt idx="20638">
                  <c:v>0</c:v>
                </c:pt>
                <c:pt idx="20639">
                  <c:v>0</c:v>
                </c:pt>
                <c:pt idx="20640">
                  <c:v>0</c:v>
                </c:pt>
                <c:pt idx="20641">
                  <c:v>0</c:v>
                </c:pt>
                <c:pt idx="20642">
                  <c:v>0</c:v>
                </c:pt>
                <c:pt idx="20643">
                  <c:v>0</c:v>
                </c:pt>
                <c:pt idx="20644">
                  <c:v>0</c:v>
                </c:pt>
                <c:pt idx="20645">
                  <c:v>2</c:v>
                </c:pt>
                <c:pt idx="20646">
                  <c:v>0</c:v>
                </c:pt>
                <c:pt idx="20647">
                  <c:v>1</c:v>
                </c:pt>
                <c:pt idx="20648">
                  <c:v>0</c:v>
                </c:pt>
                <c:pt idx="20649">
                  <c:v>1</c:v>
                </c:pt>
                <c:pt idx="20650">
                  <c:v>0</c:v>
                </c:pt>
                <c:pt idx="20651">
                  <c:v>0</c:v>
                </c:pt>
                <c:pt idx="20652">
                  <c:v>0</c:v>
                </c:pt>
                <c:pt idx="20653">
                  <c:v>0</c:v>
                </c:pt>
                <c:pt idx="20654">
                  <c:v>0</c:v>
                </c:pt>
                <c:pt idx="20655">
                  <c:v>0</c:v>
                </c:pt>
                <c:pt idx="20656">
                  <c:v>0</c:v>
                </c:pt>
                <c:pt idx="20657">
                  <c:v>0</c:v>
                </c:pt>
                <c:pt idx="20658">
                  <c:v>0</c:v>
                </c:pt>
                <c:pt idx="20659">
                  <c:v>0</c:v>
                </c:pt>
                <c:pt idx="20660">
                  <c:v>0</c:v>
                </c:pt>
                <c:pt idx="20661">
                  <c:v>0</c:v>
                </c:pt>
                <c:pt idx="20662">
                  <c:v>0</c:v>
                </c:pt>
                <c:pt idx="20663">
                  <c:v>0</c:v>
                </c:pt>
                <c:pt idx="20664">
                  <c:v>0</c:v>
                </c:pt>
                <c:pt idx="20665">
                  <c:v>0</c:v>
                </c:pt>
                <c:pt idx="20666">
                  <c:v>0</c:v>
                </c:pt>
                <c:pt idx="20667">
                  <c:v>0</c:v>
                </c:pt>
                <c:pt idx="20668">
                  <c:v>0</c:v>
                </c:pt>
                <c:pt idx="20669">
                  <c:v>0</c:v>
                </c:pt>
                <c:pt idx="20670">
                  <c:v>0</c:v>
                </c:pt>
                <c:pt idx="20671">
                  <c:v>0</c:v>
                </c:pt>
                <c:pt idx="20672">
                  <c:v>0</c:v>
                </c:pt>
                <c:pt idx="20673">
                  <c:v>0</c:v>
                </c:pt>
                <c:pt idx="20674">
                  <c:v>0</c:v>
                </c:pt>
                <c:pt idx="20675">
                  <c:v>0</c:v>
                </c:pt>
                <c:pt idx="20676">
                  <c:v>0</c:v>
                </c:pt>
                <c:pt idx="20677">
                  <c:v>0</c:v>
                </c:pt>
                <c:pt idx="20678">
                  <c:v>0</c:v>
                </c:pt>
                <c:pt idx="20679">
                  <c:v>0</c:v>
                </c:pt>
                <c:pt idx="20680">
                  <c:v>0</c:v>
                </c:pt>
                <c:pt idx="20681">
                  <c:v>0</c:v>
                </c:pt>
                <c:pt idx="20682">
                  <c:v>0</c:v>
                </c:pt>
                <c:pt idx="20683">
                  <c:v>0</c:v>
                </c:pt>
                <c:pt idx="20684">
                  <c:v>0</c:v>
                </c:pt>
                <c:pt idx="20685">
                  <c:v>0</c:v>
                </c:pt>
                <c:pt idx="20686">
                  <c:v>0</c:v>
                </c:pt>
                <c:pt idx="20687">
                  <c:v>0</c:v>
                </c:pt>
                <c:pt idx="20688">
                  <c:v>1</c:v>
                </c:pt>
                <c:pt idx="20689">
                  <c:v>0</c:v>
                </c:pt>
                <c:pt idx="20690">
                  <c:v>0</c:v>
                </c:pt>
                <c:pt idx="20691">
                  <c:v>0</c:v>
                </c:pt>
                <c:pt idx="20692">
                  <c:v>0</c:v>
                </c:pt>
                <c:pt idx="20693">
                  <c:v>0</c:v>
                </c:pt>
                <c:pt idx="20694">
                  <c:v>0</c:v>
                </c:pt>
                <c:pt idx="20695">
                  <c:v>0</c:v>
                </c:pt>
                <c:pt idx="20696">
                  <c:v>0</c:v>
                </c:pt>
                <c:pt idx="20697">
                  <c:v>0</c:v>
                </c:pt>
                <c:pt idx="20698">
                  <c:v>0</c:v>
                </c:pt>
                <c:pt idx="20699">
                  <c:v>0</c:v>
                </c:pt>
                <c:pt idx="20700">
                  <c:v>0</c:v>
                </c:pt>
                <c:pt idx="20701">
                  <c:v>0</c:v>
                </c:pt>
                <c:pt idx="20702">
                  <c:v>3</c:v>
                </c:pt>
                <c:pt idx="20703">
                  <c:v>0</c:v>
                </c:pt>
                <c:pt idx="20704">
                  <c:v>0</c:v>
                </c:pt>
                <c:pt idx="20705">
                  <c:v>0</c:v>
                </c:pt>
                <c:pt idx="20706">
                  <c:v>0</c:v>
                </c:pt>
                <c:pt idx="20707">
                  <c:v>0</c:v>
                </c:pt>
                <c:pt idx="20708">
                  <c:v>0</c:v>
                </c:pt>
                <c:pt idx="20709">
                  <c:v>0</c:v>
                </c:pt>
                <c:pt idx="20710">
                  <c:v>0</c:v>
                </c:pt>
                <c:pt idx="20711">
                  <c:v>0</c:v>
                </c:pt>
                <c:pt idx="20712">
                  <c:v>0</c:v>
                </c:pt>
                <c:pt idx="20713">
                  <c:v>0</c:v>
                </c:pt>
                <c:pt idx="20714">
                  <c:v>0</c:v>
                </c:pt>
                <c:pt idx="20715">
                  <c:v>0</c:v>
                </c:pt>
                <c:pt idx="20716">
                  <c:v>0</c:v>
                </c:pt>
                <c:pt idx="20717">
                  <c:v>0</c:v>
                </c:pt>
                <c:pt idx="20718">
                  <c:v>0</c:v>
                </c:pt>
                <c:pt idx="20719">
                  <c:v>0</c:v>
                </c:pt>
                <c:pt idx="20720">
                  <c:v>0</c:v>
                </c:pt>
                <c:pt idx="20721">
                  <c:v>0</c:v>
                </c:pt>
                <c:pt idx="20722">
                  <c:v>0</c:v>
                </c:pt>
                <c:pt idx="20723">
                  <c:v>0</c:v>
                </c:pt>
                <c:pt idx="20724">
                  <c:v>0</c:v>
                </c:pt>
                <c:pt idx="20725">
                  <c:v>0</c:v>
                </c:pt>
                <c:pt idx="20726">
                  <c:v>0</c:v>
                </c:pt>
                <c:pt idx="20727">
                  <c:v>0</c:v>
                </c:pt>
                <c:pt idx="20728">
                  <c:v>0</c:v>
                </c:pt>
                <c:pt idx="20729">
                  <c:v>0</c:v>
                </c:pt>
                <c:pt idx="20730">
                  <c:v>0</c:v>
                </c:pt>
                <c:pt idx="20731">
                  <c:v>0</c:v>
                </c:pt>
                <c:pt idx="20732">
                  <c:v>0</c:v>
                </c:pt>
                <c:pt idx="20733">
                  <c:v>0</c:v>
                </c:pt>
                <c:pt idx="20734">
                  <c:v>0</c:v>
                </c:pt>
                <c:pt idx="20735">
                  <c:v>0</c:v>
                </c:pt>
                <c:pt idx="20736">
                  <c:v>0</c:v>
                </c:pt>
                <c:pt idx="20737">
                  <c:v>0</c:v>
                </c:pt>
                <c:pt idx="20738">
                  <c:v>0</c:v>
                </c:pt>
                <c:pt idx="20739">
                  <c:v>0</c:v>
                </c:pt>
                <c:pt idx="20740">
                  <c:v>0</c:v>
                </c:pt>
                <c:pt idx="20741">
                  <c:v>0</c:v>
                </c:pt>
                <c:pt idx="20742">
                  <c:v>0</c:v>
                </c:pt>
                <c:pt idx="20743">
                  <c:v>0</c:v>
                </c:pt>
                <c:pt idx="20744">
                  <c:v>0</c:v>
                </c:pt>
                <c:pt idx="20745">
                  <c:v>0</c:v>
                </c:pt>
                <c:pt idx="20746">
                  <c:v>0</c:v>
                </c:pt>
                <c:pt idx="20747">
                  <c:v>0</c:v>
                </c:pt>
                <c:pt idx="20748">
                  <c:v>0</c:v>
                </c:pt>
                <c:pt idx="20749">
                  <c:v>0</c:v>
                </c:pt>
                <c:pt idx="20750">
                  <c:v>0</c:v>
                </c:pt>
                <c:pt idx="20751">
                  <c:v>0</c:v>
                </c:pt>
                <c:pt idx="20752">
                  <c:v>0</c:v>
                </c:pt>
                <c:pt idx="20753">
                  <c:v>0</c:v>
                </c:pt>
                <c:pt idx="20754">
                  <c:v>0</c:v>
                </c:pt>
                <c:pt idx="20755">
                  <c:v>0</c:v>
                </c:pt>
                <c:pt idx="20756">
                  <c:v>0</c:v>
                </c:pt>
                <c:pt idx="20757">
                  <c:v>0</c:v>
                </c:pt>
                <c:pt idx="20758">
                  <c:v>0</c:v>
                </c:pt>
                <c:pt idx="20759">
                  <c:v>0</c:v>
                </c:pt>
                <c:pt idx="20760">
                  <c:v>0</c:v>
                </c:pt>
                <c:pt idx="20761">
                  <c:v>0</c:v>
                </c:pt>
                <c:pt idx="20762">
                  <c:v>0</c:v>
                </c:pt>
                <c:pt idx="20763">
                  <c:v>0</c:v>
                </c:pt>
                <c:pt idx="20764">
                  <c:v>0</c:v>
                </c:pt>
                <c:pt idx="20765">
                  <c:v>0</c:v>
                </c:pt>
                <c:pt idx="20766">
                  <c:v>1</c:v>
                </c:pt>
                <c:pt idx="20767">
                  <c:v>0</c:v>
                </c:pt>
                <c:pt idx="20768">
                  <c:v>0</c:v>
                </c:pt>
                <c:pt idx="20769">
                  <c:v>0</c:v>
                </c:pt>
                <c:pt idx="20770">
                  <c:v>0</c:v>
                </c:pt>
                <c:pt idx="20771">
                  <c:v>0</c:v>
                </c:pt>
                <c:pt idx="20772">
                  <c:v>0</c:v>
                </c:pt>
                <c:pt idx="20773">
                  <c:v>0</c:v>
                </c:pt>
                <c:pt idx="20774">
                  <c:v>0</c:v>
                </c:pt>
                <c:pt idx="20775">
                  <c:v>0</c:v>
                </c:pt>
                <c:pt idx="20776">
                  <c:v>0</c:v>
                </c:pt>
                <c:pt idx="20777">
                  <c:v>0</c:v>
                </c:pt>
                <c:pt idx="20778">
                  <c:v>0</c:v>
                </c:pt>
                <c:pt idx="20779">
                  <c:v>0</c:v>
                </c:pt>
                <c:pt idx="20780">
                  <c:v>0</c:v>
                </c:pt>
                <c:pt idx="20781">
                  <c:v>0</c:v>
                </c:pt>
                <c:pt idx="20782">
                  <c:v>0</c:v>
                </c:pt>
                <c:pt idx="20783">
                  <c:v>0</c:v>
                </c:pt>
                <c:pt idx="20784">
                  <c:v>0</c:v>
                </c:pt>
                <c:pt idx="20785">
                  <c:v>0</c:v>
                </c:pt>
                <c:pt idx="20786">
                  <c:v>0</c:v>
                </c:pt>
                <c:pt idx="20787">
                  <c:v>0</c:v>
                </c:pt>
                <c:pt idx="20788">
                  <c:v>0</c:v>
                </c:pt>
                <c:pt idx="20789">
                  <c:v>2</c:v>
                </c:pt>
                <c:pt idx="20790">
                  <c:v>0</c:v>
                </c:pt>
                <c:pt idx="20791">
                  <c:v>0</c:v>
                </c:pt>
                <c:pt idx="20792">
                  <c:v>0</c:v>
                </c:pt>
                <c:pt idx="20793">
                  <c:v>0</c:v>
                </c:pt>
                <c:pt idx="20794">
                  <c:v>0</c:v>
                </c:pt>
                <c:pt idx="20795">
                  <c:v>0</c:v>
                </c:pt>
                <c:pt idx="20796">
                  <c:v>0</c:v>
                </c:pt>
                <c:pt idx="20797">
                  <c:v>0</c:v>
                </c:pt>
                <c:pt idx="20798">
                  <c:v>0</c:v>
                </c:pt>
                <c:pt idx="20799">
                  <c:v>0</c:v>
                </c:pt>
                <c:pt idx="20800">
                  <c:v>0</c:v>
                </c:pt>
                <c:pt idx="20801">
                  <c:v>0</c:v>
                </c:pt>
                <c:pt idx="20802">
                  <c:v>0</c:v>
                </c:pt>
                <c:pt idx="20803">
                  <c:v>0</c:v>
                </c:pt>
                <c:pt idx="20804">
                  <c:v>0</c:v>
                </c:pt>
                <c:pt idx="20805">
                  <c:v>0</c:v>
                </c:pt>
                <c:pt idx="20806">
                  <c:v>0</c:v>
                </c:pt>
                <c:pt idx="20807">
                  <c:v>0</c:v>
                </c:pt>
                <c:pt idx="20808">
                  <c:v>0</c:v>
                </c:pt>
                <c:pt idx="20809">
                  <c:v>0</c:v>
                </c:pt>
                <c:pt idx="20810">
                  <c:v>0</c:v>
                </c:pt>
                <c:pt idx="20811">
                  <c:v>0</c:v>
                </c:pt>
                <c:pt idx="20812">
                  <c:v>0</c:v>
                </c:pt>
                <c:pt idx="20813">
                  <c:v>0</c:v>
                </c:pt>
                <c:pt idx="20814">
                  <c:v>0</c:v>
                </c:pt>
                <c:pt idx="20815">
                  <c:v>0</c:v>
                </c:pt>
                <c:pt idx="20816">
                  <c:v>0</c:v>
                </c:pt>
                <c:pt idx="20817">
                  <c:v>0</c:v>
                </c:pt>
                <c:pt idx="20818">
                  <c:v>0</c:v>
                </c:pt>
                <c:pt idx="20819">
                  <c:v>0</c:v>
                </c:pt>
                <c:pt idx="20820">
                  <c:v>0</c:v>
                </c:pt>
                <c:pt idx="20821">
                  <c:v>0</c:v>
                </c:pt>
                <c:pt idx="20822">
                  <c:v>0</c:v>
                </c:pt>
                <c:pt idx="20823">
                  <c:v>0</c:v>
                </c:pt>
                <c:pt idx="20824">
                  <c:v>0</c:v>
                </c:pt>
                <c:pt idx="20825">
                  <c:v>0</c:v>
                </c:pt>
                <c:pt idx="20826">
                  <c:v>0</c:v>
                </c:pt>
                <c:pt idx="20827">
                  <c:v>0</c:v>
                </c:pt>
                <c:pt idx="20828">
                  <c:v>0</c:v>
                </c:pt>
                <c:pt idx="20829">
                  <c:v>0</c:v>
                </c:pt>
                <c:pt idx="20830">
                  <c:v>0</c:v>
                </c:pt>
                <c:pt idx="20831">
                  <c:v>0</c:v>
                </c:pt>
                <c:pt idx="20832">
                  <c:v>0</c:v>
                </c:pt>
                <c:pt idx="20833">
                  <c:v>0</c:v>
                </c:pt>
                <c:pt idx="20834">
                  <c:v>0</c:v>
                </c:pt>
                <c:pt idx="20835">
                  <c:v>0</c:v>
                </c:pt>
                <c:pt idx="20836">
                  <c:v>0</c:v>
                </c:pt>
                <c:pt idx="20837">
                  <c:v>0</c:v>
                </c:pt>
                <c:pt idx="20838">
                  <c:v>0</c:v>
                </c:pt>
                <c:pt idx="20839">
                  <c:v>0</c:v>
                </c:pt>
                <c:pt idx="20840">
                  <c:v>0</c:v>
                </c:pt>
                <c:pt idx="20841">
                  <c:v>0</c:v>
                </c:pt>
                <c:pt idx="20842">
                  <c:v>0</c:v>
                </c:pt>
                <c:pt idx="20843">
                  <c:v>0</c:v>
                </c:pt>
                <c:pt idx="20844">
                  <c:v>0</c:v>
                </c:pt>
                <c:pt idx="20845">
                  <c:v>0</c:v>
                </c:pt>
                <c:pt idx="20846">
                  <c:v>0</c:v>
                </c:pt>
                <c:pt idx="20847">
                  <c:v>0</c:v>
                </c:pt>
                <c:pt idx="20848">
                  <c:v>0</c:v>
                </c:pt>
                <c:pt idx="20849">
                  <c:v>0</c:v>
                </c:pt>
                <c:pt idx="20850">
                  <c:v>0</c:v>
                </c:pt>
                <c:pt idx="20851">
                  <c:v>1</c:v>
                </c:pt>
                <c:pt idx="20852">
                  <c:v>0</c:v>
                </c:pt>
                <c:pt idx="20853">
                  <c:v>0</c:v>
                </c:pt>
                <c:pt idx="20854">
                  <c:v>5</c:v>
                </c:pt>
                <c:pt idx="20855">
                  <c:v>3</c:v>
                </c:pt>
                <c:pt idx="20856">
                  <c:v>2</c:v>
                </c:pt>
                <c:pt idx="20857">
                  <c:v>1</c:v>
                </c:pt>
                <c:pt idx="20858">
                  <c:v>1</c:v>
                </c:pt>
                <c:pt idx="20859">
                  <c:v>0</c:v>
                </c:pt>
                <c:pt idx="20860">
                  <c:v>3</c:v>
                </c:pt>
                <c:pt idx="20861">
                  <c:v>2</c:v>
                </c:pt>
                <c:pt idx="20862">
                  <c:v>0</c:v>
                </c:pt>
                <c:pt idx="20863">
                  <c:v>0</c:v>
                </c:pt>
                <c:pt idx="20864">
                  <c:v>1</c:v>
                </c:pt>
                <c:pt idx="20865">
                  <c:v>1</c:v>
                </c:pt>
                <c:pt idx="20866">
                  <c:v>0</c:v>
                </c:pt>
                <c:pt idx="20867">
                  <c:v>0</c:v>
                </c:pt>
                <c:pt idx="20868">
                  <c:v>1</c:v>
                </c:pt>
                <c:pt idx="20869">
                  <c:v>0</c:v>
                </c:pt>
                <c:pt idx="20870">
                  <c:v>2</c:v>
                </c:pt>
                <c:pt idx="20871">
                  <c:v>0</c:v>
                </c:pt>
                <c:pt idx="20872">
                  <c:v>0</c:v>
                </c:pt>
                <c:pt idx="20873">
                  <c:v>1</c:v>
                </c:pt>
                <c:pt idx="20874">
                  <c:v>0</c:v>
                </c:pt>
                <c:pt idx="20875">
                  <c:v>0</c:v>
                </c:pt>
                <c:pt idx="20876">
                  <c:v>0</c:v>
                </c:pt>
                <c:pt idx="20877">
                  <c:v>0</c:v>
                </c:pt>
                <c:pt idx="20878">
                  <c:v>0</c:v>
                </c:pt>
                <c:pt idx="20879">
                  <c:v>0</c:v>
                </c:pt>
                <c:pt idx="20880">
                  <c:v>0</c:v>
                </c:pt>
                <c:pt idx="20881">
                  <c:v>0</c:v>
                </c:pt>
                <c:pt idx="20882">
                  <c:v>0</c:v>
                </c:pt>
                <c:pt idx="20883">
                  <c:v>0</c:v>
                </c:pt>
                <c:pt idx="20884">
                  <c:v>0</c:v>
                </c:pt>
                <c:pt idx="20885">
                  <c:v>0</c:v>
                </c:pt>
                <c:pt idx="20886">
                  <c:v>0</c:v>
                </c:pt>
                <c:pt idx="20887">
                  <c:v>0</c:v>
                </c:pt>
                <c:pt idx="20888">
                  <c:v>0</c:v>
                </c:pt>
                <c:pt idx="20889">
                  <c:v>0</c:v>
                </c:pt>
                <c:pt idx="20890">
                  <c:v>0</c:v>
                </c:pt>
                <c:pt idx="20891">
                  <c:v>0</c:v>
                </c:pt>
                <c:pt idx="20892">
                  <c:v>0</c:v>
                </c:pt>
                <c:pt idx="20893">
                  <c:v>0</c:v>
                </c:pt>
                <c:pt idx="20894">
                  <c:v>0</c:v>
                </c:pt>
                <c:pt idx="20895">
                  <c:v>0</c:v>
                </c:pt>
                <c:pt idx="20896">
                  <c:v>0</c:v>
                </c:pt>
                <c:pt idx="20897">
                  <c:v>0</c:v>
                </c:pt>
                <c:pt idx="20898">
                  <c:v>0</c:v>
                </c:pt>
                <c:pt idx="20899">
                  <c:v>0</c:v>
                </c:pt>
                <c:pt idx="20900">
                  <c:v>5</c:v>
                </c:pt>
                <c:pt idx="20901">
                  <c:v>0</c:v>
                </c:pt>
                <c:pt idx="20902">
                  <c:v>0</c:v>
                </c:pt>
                <c:pt idx="20903">
                  <c:v>0</c:v>
                </c:pt>
                <c:pt idx="20904">
                  <c:v>0</c:v>
                </c:pt>
                <c:pt idx="20905">
                  <c:v>0</c:v>
                </c:pt>
                <c:pt idx="20906">
                  <c:v>0</c:v>
                </c:pt>
                <c:pt idx="20907">
                  <c:v>0</c:v>
                </c:pt>
                <c:pt idx="20908">
                  <c:v>0</c:v>
                </c:pt>
                <c:pt idx="20909">
                  <c:v>0</c:v>
                </c:pt>
                <c:pt idx="20910">
                  <c:v>0</c:v>
                </c:pt>
                <c:pt idx="20911">
                  <c:v>0</c:v>
                </c:pt>
                <c:pt idx="20912">
                  <c:v>0</c:v>
                </c:pt>
                <c:pt idx="20913">
                  <c:v>0</c:v>
                </c:pt>
                <c:pt idx="20914">
                  <c:v>0</c:v>
                </c:pt>
                <c:pt idx="20915">
                  <c:v>0</c:v>
                </c:pt>
                <c:pt idx="20916">
                  <c:v>0</c:v>
                </c:pt>
                <c:pt idx="20917">
                  <c:v>0</c:v>
                </c:pt>
                <c:pt idx="20918">
                  <c:v>0</c:v>
                </c:pt>
                <c:pt idx="20919">
                  <c:v>0</c:v>
                </c:pt>
                <c:pt idx="20920">
                  <c:v>0</c:v>
                </c:pt>
                <c:pt idx="20921">
                  <c:v>0</c:v>
                </c:pt>
                <c:pt idx="20922">
                  <c:v>0</c:v>
                </c:pt>
                <c:pt idx="20923">
                  <c:v>0</c:v>
                </c:pt>
                <c:pt idx="20924">
                  <c:v>0</c:v>
                </c:pt>
                <c:pt idx="20925">
                  <c:v>0</c:v>
                </c:pt>
                <c:pt idx="20926">
                  <c:v>0</c:v>
                </c:pt>
                <c:pt idx="20927">
                  <c:v>0</c:v>
                </c:pt>
                <c:pt idx="20928">
                  <c:v>0</c:v>
                </c:pt>
                <c:pt idx="20929">
                  <c:v>0</c:v>
                </c:pt>
                <c:pt idx="20930">
                  <c:v>0</c:v>
                </c:pt>
                <c:pt idx="20931">
                  <c:v>0</c:v>
                </c:pt>
                <c:pt idx="20932">
                  <c:v>0</c:v>
                </c:pt>
                <c:pt idx="20933">
                  <c:v>0</c:v>
                </c:pt>
                <c:pt idx="20934">
                  <c:v>0</c:v>
                </c:pt>
                <c:pt idx="20935">
                  <c:v>0</c:v>
                </c:pt>
                <c:pt idx="20936">
                  <c:v>0</c:v>
                </c:pt>
                <c:pt idx="20937">
                  <c:v>0</c:v>
                </c:pt>
                <c:pt idx="20938">
                  <c:v>0</c:v>
                </c:pt>
                <c:pt idx="20939">
                  <c:v>0</c:v>
                </c:pt>
                <c:pt idx="20940">
                  <c:v>0</c:v>
                </c:pt>
                <c:pt idx="20941">
                  <c:v>0</c:v>
                </c:pt>
                <c:pt idx="20942">
                  <c:v>0</c:v>
                </c:pt>
                <c:pt idx="20943">
                  <c:v>0</c:v>
                </c:pt>
                <c:pt idx="20944">
                  <c:v>0</c:v>
                </c:pt>
                <c:pt idx="20945">
                  <c:v>0</c:v>
                </c:pt>
                <c:pt idx="20946">
                  <c:v>0</c:v>
                </c:pt>
                <c:pt idx="20947">
                  <c:v>0</c:v>
                </c:pt>
                <c:pt idx="20948">
                  <c:v>0</c:v>
                </c:pt>
                <c:pt idx="20949">
                  <c:v>0</c:v>
                </c:pt>
                <c:pt idx="20950">
                  <c:v>0</c:v>
                </c:pt>
                <c:pt idx="20951">
                  <c:v>0</c:v>
                </c:pt>
                <c:pt idx="20952">
                  <c:v>0</c:v>
                </c:pt>
                <c:pt idx="20953">
                  <c:v>1</c:v>
                </c:pt>
                <c:pt idx="20954">
                  <c:v>2</c:v>
                </c:pt>
                <c:pt idx="20955">
                  <c:v>0</c:v>
                </c:pt>
                <c:pt idx="20956">
                  <c:v>0</c:v>
                </c:pt>
                <c:pt idx="20957">
                  <c:v>0</c:v>
                </c:pt>
                <c:pt idx="20958">
                  <c:v>0</c:v>
                </c:pt>
                <c:pt idx="20959">
                  <c:v>0</c:v>
                </c:pt>
                <c:pt idx="20960">
                  <c:v>0</c:v>
                </c:pt>
                <c:pt idx="20961">
                  <c:v>0</c:v>
                </c:pt>
                <c:pt idx="20962">
                  <c:v>0</c:v>
                </c:pt>
                <c:pt idx="20963">
                  <c:v>0</c:v>
                </c:pt>
                <c:pt idx="20964">
                  <c:v>0</c:v>
                </c:pt>
                <c:pt idx="20965">
                  <c:v>0</c:v>
                </c:pt>
                <c:pt idx="20966">
                  <c:v>0</c:v>
                </c:pt>
                <c:pt idx="20967">
                  <c:v>0</c:v>
                </c:pt>
                <c:pt idx="20968">
                  <c:v>0</c:v>
                </c:pt>
                <c:pt idx="20969">
                  <c:v>0</c:v>
                </c:pt>
                <c:pt idx="20970">
                  <c:v>1</c:v>
                </c:pt>
                <c:pt idx="20971">
                  <c:v>0</c:v>
                </c:pt>
                <c:pt idx="20972">
                  <c:v>0</c:v>
                </c:pt>
                <c:pt idx="20973">
                  <c:v>0</c:v>
                </c:pt>
                <c:pt idx="20974">
                  <c:v>0</c:v>
                </c:pt>
                <c:pt idx="20975">
                  <c:v>0</c:v>
                </c:pt>
                <c:pt idx="20976">
                  <c:v>0</c:v>
                </c:pt>
                <c:pt idx="20977">
                  <c:v>0</c:v>
                </c:pt>
                <c:pt idx="20978">
                  <c:v>0</c:v>
                </c:pt>
                <c:pt idx="20979">
                  <c:v>0</c:v>
                </c:pt>
                <c:pt idx="20980">
                  <c:v>0</c:v>
                </c:pt>
                <c:pt idx="20981">
                  <c:v>0</c:v>
                </c:pt>
                <c:pt idx="20982">
                  <c:v>0</c:v>
                </c:pt>
                <c:pt idx="20983">
                  <c:v>0</c:v>
                </c:pt>
                <c:pt idx="20984">
                  <c:v>0</c:v>
                </c:pt>
                <c:pt idx="20985">
                  <c:v>0</c:v>
                </c:pt>
                <c:pt idx="20986">
                  <c:v>0</c:v>
                </c:pt>
                <c:pt idx="20987">
                  <c:v>0</c:v>
                </c:pt>
                <c:pt idx="20988">
                  <c:v>0</c:v>
                </c:pt>
                <c:pt idx="20989">
                  <c:v>0</c:v>
                </c:pt>
                <c:pt idx="20990">
                  <c:v>0</c:v>
                </c:pt>
                <c:pt idx="20991">
                  <c:v>0</c:v>
                </c:pt>
                <c:pt idx="20992">
                  <c:v>0</c:v>
                </c:pt>
                <c:pt idx="20993">
                  <c:v>0</c:v>
                </c:pt>
                <c:pt idx="20994">
                  <c:v>0</c:v>
                </c:pt>
                <c:pt idx="20995">
                  <c:v>0</c:v>
                </c:pt>
                <c:pt idx="20996">
                  <c:v>0</c:v>
                </c:pt>
                <c:pt idx="20997">
                  <c:v>0</c:v>
                </c:pt>
                <c:pt idx="20998">
                  <c:v>0</c:v>
                </c:pt>
                <c:pt idx="20999">
                  <c:v>0</c:v>
                </c:pt>
                <c:pt idx="21000">
                  <c:v>4</c:v>
                </c:pt>
                <c:pt idx="21001">
                  <c:v>0</c:v>
                </c:pt>
                <c:pt idx="21002">
                  <c:v>0</c:v>
                </c:pt>
                <c:pt idx="21003">
                  <c:v>0</c:v>
                </c:pt>
                <c:pt idx="21004">
                  <c:v>0</c:v>
                </c:pt>
                <c:pt idx="21005">
                  <c:v>0</c:v>
                </c:pt>
                <c:pt idx="21006">
                  <c:v>0</c:v>
                </c:pt>
                <c:pt idx="21007">
                  <c:v>0</c:v>
                </c:pt>
                <c:pt idx="21008">
                  <c:v>0</c:v>
                </c:pt>
                <c:pt idx="21009">
                  <c:v>0</c:v>
                </c:pt>
                <c:pt idx="21010">
                  <c:v>0</c:v>
                </c:pt>
                <c:pt idx="21011">
                  <c:v>0</c:v>
                </c:pt>
                <c:pt idx="21012">
                  <c:v>0</c:v>
                </c:pt>
                <c:pt idx="21013">
                  <c:v>0</c:v>
                </c:pt>
                <c:pt idx="21014">
                  <c:v>0</c:v>
                </c:pt>
                <c:pt idx="21015">
                  <c:v>0</c:v>
                </c:pt>
                <c:pt idx="21016">
                  <c:v>0</c:v>
                </c:pt>
                <c:pt idx="21017">
                  <c:v>0</c:v>
                </c:pt>
                <c:pt idx="21018">
                  <c:v>0</c:v>
                </c:pt>
                <c:pt idx="21019">
                  <c:v>0</c:v>
                </c:pt>
                <c:pt idx="21020">
                  <c:v>0</c:v>
                </c:pt>
                <c:pt idx="21021">
                  <c:v>0</c:v>
                </c:pt>
                <c:pt idx="21022">
                  <c:v>0</c:v>
                </c:pt>
                <c:pt idx="21023">
                  <c:v>0</c:v>
                </c:pt>
                <c:pt idx="21024">
                  <c:v>0</c:v>
                </c:pt>
                <c:pt idx="21025">
                  <c:v>0</c:v>
                </c:pt>
                <c:pt idx="21026">
                  <c:v>0</c:v>
                </c:pt>
                <c:pt idx="21027">
                  <c:v>0</c:v>
                </c:pt>
                <c:pt idx="21028">
                  <c:v>0</c:v>
                </c:pt>
                <c:pt idx="21029">
                  <c:v>0</c:v>
                </c:pt>
                <c:pt idx="21030">
                  <c:v>0</c:v>
                </c:pt>
                <c:pt idx="21031">
                  <c:v>0</c:v>
                </c:pt>
                <c:pt idx="21032">
                  <c:v>0</c:v>
                </c:pt>
                <c:pt idx="21033">
                  <c:v>2</c:v>
                </c:pt>
                <c:pt idx="21034">
                  <c:v>0</c:v>
                </c:pt>
                <c:pt idx="21035">
                  <c:v>0</c:v>
                </c:pt>
                <c:pt idx="21036">
                  <c:v>0</c:v>
                </c:pt>
                <c:pt idx="21037">
                  <c:v>0</c:v>
                </c:pt>
                <c:pt idx="21038">
                  <c:v>0</c:v>
                </c:pt>
                <c:pt idx="21039">
                  <c:v>0</c:v>
                </c:pt>
                <c:pt idx="21040">
                  <c:v>0</c:v>
                </c:pt>
                <c:pt idx="21041">
                  <c:v>0</c:v>
                </c:pt>
                <c:pt idx="21042">
                  <c:v>0</c:v>
                </c:pt>
                <c:pt idx="21043">
                  <c:v>0</c:v>
                </c:pt>
                <c:pt idx="21044">
                  <c:v>0</c:v>
                </c:pt>
                <c:pt idx="21045">
                  <c:v>0</c:v>
                </c:pt>
                <c:pt idx="21046">
                  <c:v>0</c:v>
                </c:pt>
                <c:pt idx="21047">
                  <c:v>0</c:v>
                </c:pt>
                <c:pt idx="21048">
                  <c:v>0</c:v>
                </c:pt>
                <c:pt idx="21049">
                  <c:v>0</c:v>
                </c:pt>
                <c:pt idx="21050">
                  <c:v>0</c:v>
                </c:pt>
                <c:pt idx="21051">
                  <c:v>0</c:v>
                </c:pt>
                <c:pt idx="21052">
                  <c:v>0</c:v>
                </c:pt>
                <c:pt idx="21053">
                  <c:v>0</c:v>
                </c:pt>
                <c:pt idx="21054">
                  <c:v>0</c:v>
                </c:pt>
                <c:pt idx="21055">
                  <c:v>0</c:v>
                </c:pt>
                <c:pt idx="21056">
                  <c:v>0</c:v>
                </c:pt>
                <c:pt idx="21057">
                  <c:v>0</c:v>
                </c:pt>
                <c:pt idx="21058">
                  <c:v>0</c:v>
                </c:pt>
                <c:pt idx="21059">
                  <c:v>0</c:v>
                </c:pt>
                <c:pt idx="21060">
                  <c:v>0</c:v>
                </c:pt>
                <c:pt idx="21061">
                  <c:v>0</c:v>
                </c:pt>
                <c:pt idx="21062">
                  <c:v>0</c:v>
                </c:pt>
                <c:pt idx="21063">
                  <c:v>0</c:v>
                </c:pt>
                <c:pt idx="21064">
                  <c:v>0</c:v>
                </c:pt>
                <c:pt idx="21065">
                  <c:v>0</c:v>
                </c:pt>
                <c:pt idx="21066">
                  <c:v>0</c:v>
                </c:pt>
                <c:pt idx="21067">
                  <c:v>0</c:v>
                </c:pt>
                <c:pt idx="21068">
                  <c:v>1</c:v>
                </c:pt>
                <c:pt idx="21069">
                  <c:v>0</c:v>
                </c:pt>
                <c:pt idx="21070">
                  <c:v>0</c:v>
                </c:pt>
                <c:pt idx="21071">
                  <c:v>0</c:v>
                </c:pt>
                <c:pt idx="21072">
                  <c:v>0</c:v>
                </c:pt>
                <c:pt idx="21073">
                  <c:v>0</c:v>
                </c:pt>
                <c:pt idx="21074">
                  <c:v>0</c:v>
                </c:pt>
                <c:pt idx="21075">
                  <c:v>0</c:v>
                </c:pt>
                <c:pt idx="21076">
                  <c:v>0</c:v>
                </c:pt>
                <c:pt idx="21077">
                  <c:v>0</c:v>
                </c:pt>
                <c:pt idx="21078">
                  <c:v>0</c:v>
                </c:pt>
                <c:pt idx="21079">
                  <c:v>0</c:v>
                </c:pt>
                <c:pt idx="21080">
                  <c:v>0</c:v>
                </c:pt>
                <c:pt idx="21081">
                  <c:v>0</c:v>
                </c:pt>
                <c:pt idx="21082">
                  <c:v>0</c:v>
                </c:pt>
                <c:pt idx="21083">
                  <c:v>0</c:v>
                </c:pt>
                <c:pt idx="21084">
                  <c:v>0</c:v>
                </c:pt>
                <c:pt idx="21085">
                  <c:v>0</c:v>
                </c:pt>
                <c:pt idx="21086">
                  <c:v>0</c:v>
                </c:pt>
                <c:pt idx="21087">
                  <c:v>0</c:v>
                </c:pt>
                <c:pt idx="21088">
                  <c:v>0</c:v>
                </c:pt>
                <c:pt idx="21089">
                  <c:v>0</c:v>
                </c:pt>
                <c:pt idx="21090">
                  <c:v>0</c:v>
                </c:pt>
                <c:pt idx="21091">
                  <c:v>0</c:v>
                </c:pt>
                <c:pt idx="21092">
                  <c:v>0</c:v>
                </c:pt>
                <c:pt idx="21093">
                  <c:v>0</c:v>
                </c:pt>
                <c:pt idx="21094">
                  <c:v>0</c:v>
                </c:pt>
                <c:pt idx="21095">
                  <c:v>0</c:v>
                </c:pt>
                <c:pt idx="21096">
                  <c:v>0</c:v>
                </c:pt>
                <c:pt idx="21097">
                  <c:v>0</c:v>
                </c:pt>
                <c:pt idx="21098">
                  <c:v>0</c:v>
                </c:pt>
                <c:pt idx="21099">
                  <c:v>0</c:v>
                </c:pt>
                <c:pt idx="21100">
                  <c:v>0</c:v>
                </c:pt>
                <c:pt idx="21101">
                  <c:v>0</c:v>
                </c:pt>
                <c:pt idx="21102">
                  <c:v>0</c:v>
                </c:pt>
                <c:pt idx="21103">
                  <c:v>3</c:v>
                </c:pt>
                <c:pt idx="21104">
                  <c:v>0</c:v>
                </c:pt>
                <c:pt idx="21105">
                  <c:v>1</c:v>
                </c:pt>
                <c:pt idx="21106">
                  <c:v>0</c:v>
                </c:pt>
                <c:pt idx="21107">
                  <c:v>0</c:v>
                </c:pt>
                <c:pt idx="21108">
                  <c:v>0</c:v>
                </c:pt>
                <c:pt idx="21109">
                  <c:v>0</c:v>
                </c:pt>
                <c:pt idx="21110">
                  <c:v>0</c:v>
                </c:pt>
                <c:pt idx="21111">
                  <c:v>0</c:v>
                </c:pt>
                <c:pt idx="21112">
                  <c:v>0</c:v>
                </c:pt>
                <c:pt idx="21113">
                  <c:v>2</c:v>
                </c:pt>
                <c:pt idx="21114">
                  <c:v>0</c:v>
                </c:pt>
                <c:pt idx="21115">
                  <c:v>2</c:v>
                </c:pt>
                <c:pt idx="21116">
                  <c:v>0</c:v>
                </c:pt>
                <c:pt idx="21117">
                  <c:v>0</c:v>
                </c:pt>
                <c:pt idx="21118">
                  <c:v>0</c:v>
                </c:pt>
                <c:pt idx="21119">
                  <c:v>0</c:v>
                </c:pt>
                <c:pt idx="21120">
                  <c:v>0</c:v>
                </c:pt>
                <c:pt idx="21121">
                  <c:v>0</c:v>
                </c:pt>
                <c:pt idx="21122">
                  <c:v>0</c:v>
                </c:pt>
                <c:pt idx="21123">
                  <c:v>0</c:v>
                </c:pt>
                <c:pt idx="21124">
                  <c:v>0</c:v>
                </c:pt>
                <c:pt idx="21125">
                  <c:v>0</c:v>
                </c:pt>
                <c:pt idx="21126">
                  <c:v>0</c:v>
                </c:pt>
                <c:pt idx="21127">
                  <c:v>0</c:v>
                </c:pt>
                <c:pt idx="21128">
                  <c:v>0</c:v>
                </c:pt>
                <c:pt idx="21129">
                  <c:v>0</c:v>
                </c:pt>
                <c:pt idx="21130">
                  <c:v>0</c:v>
                </c:pt>
                <c:pt idx="21131">
                  <c:v>2</c:v>
                </c:pt>
                <c:pt idx="21132">
                  <c:v>0</c:v>
                </c:pt>
                <c:pt idx="21133">
                  <c:v>1</c:v>
                </c:pt>
                <c:pt idx="21134">
                  <c:v>0</c:v>
                </c:pt>
                <c:pt idx="21135">
                  <c:v>0</c:v>
                </c:pt>
                <c:pt idx="21136">
                  <c:v>0</c:v>
                </c:pt>
                <c:pt idx="21137">
                  <c:v>0</c:v>
                </c:pt>
                <c:pt idx="21138">
                  <c:v>0</c:v>
                </c:pt>
                <c:pt idx="21139">
                  <c:v>0</c:v>
                </c:pt>
                <c:pt idx="21140">
                  <c:v>0</c:v>
                </c:pt>
                <c:pt idx="21141">
                  <c:v>0</c:v>
                </c:pt>
                <c:pt idx="21142">
                  <c:v>0</c:v>
                </c:pt>
                <c:pt idx="21143">
                  <c:v>0</c:v>
                </c:pt>
                <c:pt idx="21144">
                  <c:v>0</c:v>
                </c:pt>
                <c:pt idx="21145">
                  <c:v>0</c:v>
                </c:pt>
                <c:pt idx="21146">
                  <c:v>0</c:v>
                </c:pt>
                <c:pt idx="21147">
                  <c:v>0</c:v>
                </c:pt>
                <c:pt idx="21148">
                  <c:v>0</c:v>
                </c:pt>
                <c:pt idx="21149">
                  <c:v>0</c:v>
                </c:pt>
                <c:pt idx="21150">
                  <c:v>0</c:v>
                </c:pt>
                <c:pt idx="21151">
                  <c:v>0</c:v>
                </c:pt>
                <c:pt idx="21152">
                  <c:v>4</c:v>
                </c:pt>
                <c:pt idx="21153">
                  <c:v>1</c:v>
                </c:pt>
                <c:pt idx="21154">
                  <c:v>0</c:v>
                </c:pt>
                <c:pt idx="21155">
                  <c:v>3</c:v>
                </c:pt>
                <c:pt idx="21156">
                  <c:v>0</c:v>
                </c:pt>
                <c:pt idx="21157">
                  <c:v>0</c:v>
                </c:pt>
                <c:pt idx="21158">
                  <c:v>0</c:v>
                </c:pt>
                <c:pt idx="21159">
                  <c:v>0</c:v>
                </c:pt>
                <c:pt idx="21160">
                  <c:v>0</c:v>
                </c:pt>
                <c:pt idx="21161">
                  <c:v>2</c:v>
                </c:pt>
                <c:pt idx="21162">
                  <c:v>3</c:v>
                </c:pt>
                <c:pt idx="21163">
                  <c:v>0</c:v>
                </c:pt>
                <c:pt idx="21164">
                  <c:v>1</c:v>
                </c:pt>
                <c:pt idx="21165">
                  <c:v>0</c:v>
                </c:pt>
                <c:pt idx="21166">
                  <c:v>2</c:v>
                </c:pt>
                <c:pt idx="21167">
                  <c:v>3</c:v>
                </c:pt>
                <c:pt idx="21168">
                  <c:v>1</c:v>
                </c:pt>
                <c:pt idx="21169">
                  <c:v>1</c:v>
                </c:pt>
                <c:pt idx="21170">
                  <c:v>2</c:v>
                </c:pt>
                <c:pt idx="21171">
                  <c:v>4</c:v>
                </c:pt>
                <c:pt idx="21172">
                  <c:v>0</c:v>
                </c:pt>
                <c:pt idx="21173">
                  <c:v>2</c:v>
                </c:pt>
                <c:pt idx="21174">
                  <c:v>1</c:v>
                </c:pt>
                <c:pt idx="21175">
                  <c:v>1</c:v>
                </c:pt>
                <c:pt idx="21176">
                  <c:v>0</c:v>
                </c:pt>
                <c:pt idx="21177">
                  <c:v>4</c:v>
                </c:pt>
                <c:pt idx="21178">
                  <c:v>0</c:v>
                </c:pt>
                <c:pt idx="21179">
                  <c:v>0</c:v>
                </c:pt>
                <c:pt idx="21180">
                  <c:v>5</c:v>
                </c:pt>
                <c:pt idx="21181">
                  <c:v>0</c:v>
                </c:pt>
                <c:pt idx="21182">
                  <c:v>0</c:v>
                </c:pt>
                <c:pt idx="21183">
                  <c:v>2</c:v>
                </c:pt>
                <c:pt idx="21184">
                  <c:v>0</c:v>
                </c:pt>
                <c:pt idx="21185">
                  <c:v>2</c:v>
                </c:pt>
                <c:pt idx="21186">
                  <c:v>0</c:v>
                </c:pt>
                <c:pt idx="21187">
                  <c:v>0</c:v>
                </c:pt>
                <c:pt idx="21188">
                  <c:v>0</c:v>
                </c:pt>
                <c:pt idx="21189">
                  <c:v>0</c:v>
                </c:pt>
                <c:pt idx="21190">
                  <c:v>0</c:v>
                </c:pt>
                <c:pt idx="21191">
                  <c:v>0</c:v>
                </c:pt>
                <c:pt idx="21192">
                  <c:v>0</c:v>
                </c:pt>
                <c:pt idx="21193">
                  <c:v>0</c:v>
                </c:pt>
                <c:pt idx="21194">
                  <c:v>0</c:v>
                </c:pt>
                <c:pt idx="21195">
                  <c:v>0</c:v>
                </c:pt>
                <c:pt idx="21196">
                  <c:v>0</c:v>
                </c:pt>
                <c:pt idx="21197">
                  <c:v>0</c:v>
                </c:pt>
                <c:pt idx="21198">
                  <c:v>0</c:v>
                </c:pt>
                <c:pt idx="21199">
                  <c:v>0</c:v>
                </c:pt>
                <c:pt idx="21200">
                  <c:v>0</c:v>
                </c:pt>
                <c:pt idx="21201">
                  <c:v>0</c:v>
                </c:pt>
                <c:pt idx="21202">
                  <c:v>0</c:v>
                </c:pt>
                <c:pt idx="21203">
                  <c:v>0</c:v>
                </c:pt>
                <c:pt idx="21204">
                  <c:v>0</c:v>
                </c:pt>
                <c:pt idx="21205">
                  <c:v>0</c:v>
                </c:pt>
                <c:pt idx="21206">
                  <c:v>0</c:v>
                </c:pt>
                <c:pt idx="21207">
                  <c:v>0</c:v>
                </c:pt>
                <c:pt idx="21208">
                  <c:v>0</c:v>
                </c:pt>
                <c:pt idx="21209">
                  <c:v>0</c:v>
                </c:pt>
                <c:pt idx="21210">
                  <c:v>0</c:v>
                </c:pt>
                <c:pt idx="21211">
                  <c:v>0</c:v>
                </c:pt>
                <c:pt idx="21212">
                  <c:v>0</c:v>
                </c:pt>
                <c:pt idx="21213">
                  <c:v>0</c:v>
                </c:pt>
                <c:pt idx="21214">
                  <c:v>0</c:v>
                </c:pt>
                <c:pt idx="21215">
                  <c:v>0</c:v>
                </c:pt>
                <c:pt idx="21216">
                  <c:v>0</c:v>
                </c:pt>
                <c:pt idx="21217">
                  <c:v>0</c:v>
                </c:pt>
                <c:pt idx="21218">
                  <c:v>0</c:v>
                </c:pt>
                <c:pt idx="21219">
                  <c:v>0</c:v>
                </c:pt>
                <c:pt idx="21220">
                  <c:v>0</c:v>
                </c:pt>
                <c:pt idx="21221">
                  <c:v>0</c:v>
                </c:pt>
                <c:pt idx="21222">
                  <c:v>0</c:v>
                </c:pt>
                <c:pt idx="21223">
                  <c:v>0</c:v>
                </c:pt>
                <c:pt idx="21224">
                  <c:v>0</c:v>
                </c:pt>
                <c:pt idx="21225">
                  <c:v>0</c:v>
                </c:pt>
                <c:pt idx="21226">
                  <c:v>0</c:v>
                </c:pt>
                <c:pt idx="21227">
                  <c:v>0</c:v>
                </c:pt>
                <c:pt idx="21228">
                  <c:v>0</c:v>
                </c:pt>
                <c:pt idx="21229">
                  <c:v>0</c:v>
                </c:pt>
                <c:pt idx="21230">
                  <c:v>0</c:v>
                </c:pt>
                <c:pt idx="21231">
                  <c:v>0</c:v>
                </c:pt>
                <c:pt idx="21232">
                  <c:v>0</c:v>
                </c:pt>
                <c:pt idx="21233">
                  <c:v>0</c:v>
                </c:pt>
                <c:pt idx="21234">
                  <c:v>0</c:v>
                </c:pt>
                <c:pt idx="21235">
                  <c:v>0</c:v>
                </c:pt>
                <c:pt idx="21236">
                  <c:v>0</c:v>
                </c:pt>
                <c:pt idx="21237">
                  <c:v>0</c:v>
                </c:pt>
                <c:pt idx="21238">
                  <c:v>0</c:v>
                </c:pt>
                <c:pt idx="21239">
                  <c:v>0</c:v>
                </c:pt>
                <c:pt idx="21240">
                  <c:v>0</c:v>
                </c:pt>
                <c:pt idx="21241">
                  <c:v>0</c:v>
                </c:pt>
                <c:pt idx="21242">
                  <c:v>0</c:v>
                </c:pt>
                <c:pt idx="21243">
                  <c:v>0</c:v>
                </c:pt>
                <c:pt idx="21244">
                  <c:v>0</c:v>
                </c:pt>
                <c:pt idx="21245">
                  <c:v>0</c:v>
                </c:pt>
                <c:pt idx="21246">
                  <c:v>0</c:v>
                </c:pt>
                <c:pt idx="21247">
                  <c:v>0</c:v>
                </c:pt>
                <c:pt idx="21248">
                  <c:v>0</c:v>
                </c:pt>
                <c:pt idx="21249">
                  <c:v>0</c:v>
                </c:pt>
                <c:pt idx="21250">
                  <c:v>0</c:v>
                </c:pt>
                <c:pt idx="21251">
                  <c:v>0</c:v>
                </c:pt>
                <c:pt idx="21252">
                  <c:v>0</c:v>
                </c:pt>
                <c:pt idx="21253">
                  <c:v>0</c:v>
                </c:pt>
                <c:pt idx="21254">
                  <c:v>0</c:v>
                </c:pt>
                <c:pt idx="21255">
                  <c:v>0</c:v>
                </c:pt>
                <c:pt idx="21256">
                  <c:v>0</c:v>
                </c:pt>
                <c:pt idx="21257">
                  <c:v>0</c:v>
                </c:pt>
                <c:pt idx="21258">
                  <c:v>0</c:v>
                </c:pt>
                <c:pt idx="21259">
                  <c:v>0</c:v>
                </c:pt>
                <c:pt idx="21260">
                  <c:v>0</c:v>
                </c:pt>
                <c:pt idx="21261">
                  <c:v>0</c:v>
                </c:pt>
                <c:pt idx="21262">
                  <c:v>0</c:v>
                </c:pt>
                <c:pt idx="21263">
                  <c:v>0</c:v>
                </c:pt>
                <c:pt idx="21264">
                  <c:v>0</c:v>
                </c:pt>
                <c:pt idx="21265">
                  <c:v>0</c:v>
                </c:pt>
                <c:pt idx="21266">
                  <c:v>0</c:v>
                </c:pt>
                <c:pt idx="21267">
                  <c:v>0</c:v>
                </c:pt>
                <c:pt idx="21268">
                  <c:v>0</c:v>
                </c:pt>
                <c:pt idx="21269">
                  <c:v>0</c:v>
                </c:pt>
                <c:pt idx="21270">
                  <c:v>0</c:v>
                </c:pt>
                <c:pt idx="21271">
                  <c:v>0</c:v>
                </c:pt>
                <c:pt idx="21272">
                  <c:v>0</c:v>
                </c:pt>
                <c:pt idx="21273">
                  <c:v>0</c:v>
                </c:pt>
                <c:pt idx="21274">
                  <c:v>0</c:v>
                </c:pt>
                <c:pt idx="21275">
                  <c:v>0</c:v>
                </c:pt>
                <c:pt idx="21276">
                  <c:v>0</c:v>
                </c:pt>
                <c:pt idx="21277">
                  <c:v>0</c:v>
                </c:pt>
                <c:pt idx="21278">
                  <c:v>0</c:v>
                </c:pt>
                <c:pt idx="21279">
                  <c:v>0</c:v>
                </c:pt>
                <c:pt idx="21280">
                  <c:v>0</c:v>
                </c:pt>
                <c:pt idx="21281">
                  <c:v>0</c:v>
                </c:pt>
                <c:pt idx="21282">
                  <c:v>0</c:v>
                </c:pt>
                <c:pt idx="21283">
                  <c:v>0</c:v>
                </c:pt>
                <c:pt idx="21284">
                  <c:v>0</c:v>
                </c:pt>
                <c:pt idx="21285">
                  <c:v>0</c:v>
                </c:pt>
                <c:pt idx="21286">
                  <c:v>0</c:v>
                </c:pt>
                <c:pt idx="21287">
                  <c:v>0</c:v>
                </c:pt>
                <c:pt idx="21288">
                  <c:v>0</c:v>
                </c:pt>
                <c:pt idx="21289">
                  <c:v>0</c:v>
                </c:pt>
                <c:pt idx="21290">
                  <c:v>0</c:v>
                </c:pt>
                <c:pt idx="21291">
                  <c:v>0</c:v>
                </c:pt>
                <c:pt idx="21292">
                  <c:v>0</c:v>
                </c:pt>
                <c:pt idx="21293">
                  <c:v>0</c:v>
                </c:pt>
                <c:pt idx="21294">
                  <c:v>0</c:v>
                </c:pt>
                <c:pt idx="21295">
                  <c:v>0</c:v>
                </c:pt>
                <c:pt idx="21296">
                  <c:v>0</c:v>
                </c:pt>
                <c:pt idx="21297">
                  <c:v>0</c:v>
                </c:pt>
                <c:pt idx="21298">
                  <c:v>0</c:v>
                </c:pt>
                <c:pt idx="21299">
                  <c:v>0</c:v>
                </c:pt>
                <c:pt idx="21300">
                  <c:v>1</c:v>
                </c:pt>
                <c:pt idx="21301">
                  <c:v>0</c:v>
                </c:pt>
                <c:pt idx="21302">
                  <c:v>2</c:v>
                </c:pt>
                <c:pt idx="21303">
                  <c:v>2</c:v>
                </c:pt>
                <c:pt idx="21304">
                  <c:v>1</c:v>
                </c:pt>
                <c:pt idx="21305">
                  <c:v>0</c:v>
                </c:pt>
                <c:pt idx="21306">
                  <c:v>0</c:v>
                </c:pt>
                <c:pt idx="21307">
                  <c:v>3</c:v>
                </c:pt>
                <c:pt idx="21308">
                  <c:v>1</c:v>
                </c:pt>
                <c:pt idx="21309">
                  <c:v>1</c:v>
                </c:pt>
                <c:pt idx="21310">
                  <c:v>0</c:v>
                </c:pt>
                <c:pt idx="21311">
                  <c:v>3</c:v>
                </c:pt>
                <c:pt idx="21312">
                  <c:v>0</c:v>
                </c:pt>
                <c:pt idx="21313">
                  <c:v>0</c:v>
                </c:pt>
                <c:pt idx="21314">
                  <c:v>2</c:v>
                </c:pt>
                <c:pt idx="21315">
                  <c:v>0</c:v>
                </c:pt>
                <c:pt idx="21316">
                  <c:v>0</c:v>
                </c:pt>
                <c:pt idx="21317">
                  <c:v>0</c:v>
                </c:pt>
                <c:pt idx="21318">
                  <c:v>0</c:v>
                </c:pt>
                <c:pt idx="21319">
                  <c:v>0</c:v>
                </c:pt>
                <c:pt idx="21320">
                  <c:v>0</c:v>
                </c:pt>
                <c:pt idx="21321">
                  <c:v>0</c:v>
                </c:pt>
                <c:pt idx="21322">
                  <c:v>0</c:v>
                </c:pt>
                <c:pt idx="21323">
                  <c:v>2</c:v>
                </c:pt>
                <c:pt idx="21324">
                  <c:v>0</c:v>
                </c:pt>
                <c:pt idx="21325">
                  <c:v>0</c:v>
                </c:pt>
                <c:pt idx="21326">
                  <c:v>0</c:v>
                </c:pt>
                <c:pt idx="21327">
                  <c:v>0</c:v>
                </c:pt>
                <c:pt idx="21328">
                  <c:v>0</c:v>
                </c:pt>
                <c:pt idx="21329">
                  <c:v>0</c:v>
                </c:pt>
                <c:pt idx="21330">
                  <c:v>0</c:v>
                </c:pt>
                <c:pt idx="21331">
                  <c:v>0</c:v>
                </c:pt>
                <c:pt idx="21332">
                  <c:v>0</c:v>
                </c:pt>
                <c:pt idx="21333">
                  <c:v>0</c:v>
                </c:pt>
                <c:pt idx="21334">
                  <c:v>0</c:v>
                </c:pt>
                <c:pt idx="21335">
                  <c:v>0</c:v>
                </c:pt>
                <c:pt idx="21336">
                  <c:v>0</c:v>
                </c:pt>
                <c:pt idx="21337">
                  <c:v>0</c:v>
                </c:pt>
                <c:pt idx="21338">
                  <c:v>0</c:v>
                </c:pt>
                <c:pt idx="21339">
                  <c:v>0</c:v>
                </c:pt>
                <c:pt idx="21340">
                  <c:v>0</c:v>
                </c:pt>
                <c:pt idx="21341">
                  <c:v>0</c:v>
                </c:pt>
                <c:pt idx="21342">
                  <c:v>0</c:v>
                </c:pt>
                <c:pt idx="21343">
                  <c:v>0</c:v>
                </c:pt>
                <c:pt idx="21344">
                  <c:v>0</c:v>
                </c:pt>
                <c:pt idx="21345">
                  <c:v>0</c:v>
                </c:pt>
                <c:pt idx="21346">
                  <c:v>0</c:v>
                </c:pt>
                <c:pt idx="21347">
                  <c:v>0</c:v>
                </c:pt>
                <c:pt idx="21348">
                  <c:v>0</c:v>
                </c:pt>
                <c:pt idx="21349">
                  <c:v>0</c:v>
                </c:pt>
                <c:pt idx="21350">
                  <c:v>0</c:v>
                </c:pt>
                <c:pt idx="21351">
                  <c:v>0</c:v>
                </c:pt>
                <c:pt idx="21352">
                  <c:v>0</c:v>
                </c:pt>
                <c:pt idx="21353">
                  <c:v>0</c:v>
                </c:pt>
                <c:pt idx="21354">
                  <c:v>0</c:v>
                </c:pt>
                <c:pt idx="21355">
                  <c:v>0</c:v>
                </c:pt>
                <c:pt idx="21356">
                  <c:v>0</c:v>
                </c:pt>
                <c:pt idx="21357">
                  <c:v>0</c:v>
                </c:pt>
                <c:pt idx="21358">
                  <c:v>0</c:v>
                </c:pt>
                <c:pt idx="21359">
                  <c:v>0</c:v>
                </c:pt>
                <c:pt idx="21360">
                  <c:v>0</c:v>
                </c:pt>
                <c:pt idx="21361">
                  <c:v>0</c:v>
                </c:pt>
                <c:pt idx="21362">
                  <c:v>0</c:v>
                </c:pt>
                <c:pt idx="21363">
                  <c:v>0</c:v>
                </c:pt>
                <c:pt idx="21364">
                  <c:v>0</c:v>
                </c:pt>
                <c:pt idx="21365">
                  <c:v>1</c:v>
                </c:pt>
                <c:pt idx="21366">
                  <c:v>0</c:v>
                </c:pt>
                <c:pt idx="21367">
                  <c:v>0</c:v>
                </c:pt>
                <c:pt idx="21368">
                  <c:v>0</c:v>
                </c:pt>
                <c:pt idx="21369">
                  <c:v>0</c:v>
                </c:pt>
                <c:pt idx="21370">
                  <c:v>0</c:v>
                </c:pt>
                <c:pt idx="21371">
                  <c:v>0</c:v>
                </c:pt>
                <c:pt idx="21372">
                  <c:v>0</c:v>
                </c:pt>
                <c:pt idx="21373">
                  <c:v>0</c:v>
                </c:pt>
                <c:pt idx="21374">
                  <c:v>0</c:v>
                </c:pt>
                <c:pt idx="21375">
                  <c:v>0</c:v>
                </c:pt>
                <c:pt idx="21376">
                  <c:v>0</c:v>
                </c:pt>
                <c:pt idx="21377">
                  <c:v>0</c:v>
                </c:pt>
                <c:pt idx="21378">
                  <c:v>0</c:v>
                </c:pt>
                <c:pt idx="21379">
                  <c:v>0</c:v>
                </c:pt>
                <c:pt idx="21380">
                  <c:v>0</c:v>
                </c:pt>
                <c:pt idx="21381">
                  <c:v>0</c:v>
                </c:pt>
                <c:pt idx="21382">
                  <c:v>0</c:v>
                </c:pt>
                <c:pt idx="21383">
                  <c:v>0</c:v>
                </c:pt>
                <c:pt idx="21384">
                  <c:v>0</c:v>
                </c:pt>
                <c:pt idx="21385">
                  <c:v>0</c:v>
                </c:pt>
                <c:pt idx="21386">
                  <c:v>0</c:v>
                </c:pt>
                <c:pt idx="21387">
                  <c:v>0</c:v>
                </c:pt>
                <c:pt idx="21388">
                  <c:v>0</c:v>
                </c:pt>
                <c:pt idx="21389">
                  <c:v>0</c:v>
                </c:pt>
                <c:pt idx="21390">
                  <c:v>0</c:v>
                </c:pt>
                <c:pt idx="21391">
                  <c:v>0</c:v>
                </c:pt>
                <c:pt idx="21392">
                  <c:v>0</c:v>
                </c:pt>
                <c:pt idx="21393">
                  <c:v>0</c:v>
                </c:pt>
                <c:pt idx="21394">
                  <c:v>0</c:v>
                </c:pt>
                <c:pt idx="21395">
                  <c:v>0</c:v>
                </c:pt>
                <c:pt idx="21396">
                  <c:v>0</c:v>
                </c:pt>
                <c:pt idx="21397">
                  <c:v>0</c:v>
                </c:pt>
                <c:pt idx="21398">
                  <c:v>0</c:v>
                </c:pt>
                <c:pt idx="21399">
                  <c:v>0</c:v>
                </c:pt>
                <c:pt idx="21400">
                  <c:v>0</c:v>
                </c:pt>
                <c:pt idx="21401">
                  <c:v>0</c:v>
                </c:pt>
                <c:pt idx="21402">
                  <c:v>0</c:v>
                </c:pt>
                <c:pt idx="21403">
                  <c:v>0</c:v>
                </c:pt>
                <c:pt idx="21404">
                  <c:v>0</c:v>
                </c:pt>
                <c:pt idx="21405">
                  <c:v>0</c:v>
                </c:pt>
                <c:pt idx="21406">
                  <c:v>0</c:v>
                </c:pt>
                <c:pt idx="21407">
                  <c:v>0</c:v>
                </c:pt>
                <c:pt idx="21408">
                  <c:v>0</c:v>
                </c:pt>
                <c:pt idx="21409">
                  <c:v>0</c:v>
                </c:pt>
                <c:pt idx="21410">
                  <c:v>0</c:v>
                </c:pt>
                <c:pt idx="21411">
                  <c:v>0</c:v>
                </c:pt>
                <c:pt idx="21412">
                  <c:v>0</c:v>
                </c:pt>
                <c:pt idx="21413">
                  <c:v>0</c:v>
                </c:pt>
                <c:pt idx="21414">
                  <c:v>0</c:v>
                </c:pt>
                <c:pt idx="21415">
                  <c:v>0</c:v>
                </c:pt>
                <c:pt idx="21416">
                  <c:v>1</c:v>
                </c:pt>
                <c:pt idx="21417">
                  <c:v>0</c:v>
                </c:pt>
                <c:pt idx="21418">
                  <c:v>0</c:v>
                </c:pt>
                <c:pt idx="21419">
                  <c:v>0</c:v>
                </c:pt>
                <c:pt idx="21420">
                  <c:v>0</c:v>
                </c:pt>
                <c:pt idx="21421">
                  <c:v>0</c:v>
                </c:pt>
                <c:pt idx="21422">
                  <c:v>0</c:v>
                </c:pt>
                <c:pt idx="21423">
                  <c:v>0</c:v>
                </c:pt>
                <c:pt idx="21424">
                  <c:v>0</c:v>
                </c:pt>
                <c:pt idx="21425">
                  <c:v>0</c:v>
                </c:pt>
                <c:pt idx="21426">
                  <c:v>0</c:v>
                </c:pt>
                <c:pt idx="21427">
                  <c:v>0</c:v>
                </c:pt>
                <c:pt idx="21428">
                  <c:v>0</c:v>
                </c:pt>
                <c:pt idx="21429">
                  <c:v>0</c:v>
                </c:pt>
                <c:pt idx="21430">
                  <c:v>1</c:v>
                </c:pt>
                <c:pt idx="21431">
                  <c:v>1</c:v>
                </c:pt>
                <c:pt idx="21432">
                  <c:v>0</c:v>
                </c:pt>
                <c:pt idx="21433">
                  <c:v>0</c:v>
                </c:pt>
                <c:pt idx="21434">
                  <c:v>0</c:v>
                </c:pt>
                <c:pt idx="21435">
                  <c:v>0</c:v>
                </c:pt>
                <c:pt idx="21436">
                  <c:v>0</c:v>
                </c:pt>
                <c:pt idx="21437">
                  <c:v>0</c:v>
                </c:pt>
                <c:pt idx="21438">
                  <c:v>0</c:v>
                </c:pt>
                <c:pt idx="21439">
                  <c:v>0</c:v>
                </c:pt>
                <c:pt idx="21440">
                  <c:v>0</c:v>
                </c:pt>
                <c:pt idx="21441">
                  <c:v>0</c:v>
                </c:pt>
                <c:pt idx="21442">
                  <c:v>0</c:v>
                </c:pt>
                <c:pt idx="21443">
                  <c:v>0</c:v>
                </c:pt>
                <c:pt idx="21444">
                  <c:v>0</c:v>
                </c:pt>
                <c:pt idx="21445">
                  <c:v>0</c:v>
                </c:pt>
                <c:pt idx="21446">
                  <c:v>0</c:v>
                </c:pt>
                <c:pt idx="21447">
                  <c:v>0</c:v>
                </c:pt>
                <c:pt idx="21448">
                  <c:v>0</c:v>
                </c:pt>
                <c:pt idx="21449">
                  <c:v>0</c:v>
                </c:pt>
                <c:pt idx="21450">
                  <c:v>0</c:v>
                </c:pt>
                <c:pt idx="21451">
                  <c:v>0</c:v>
                </c:pt>
                <c:pt idx="21452">
                  <c:v>0</c:v>
                </c:pt>
                <c:pt idx="21453">
                  <c:v>0</c:v>
                </c:pt>
                <c:pt idx="21454">
                  <c:v>0</c:v>
                </c:pt>
                <c:pt idx="21455">
                  <c:v>0</c:v>
                </c:pt>
                <c:pt idx="21456">
                  <c:v>0</c:v>
                </c:pt>
                <c:pt idx="21457">
                  <c:v>0</c:v>
                </c:pt>
                <c:pt idx="21458">
                  <c:v>0</c:v>
                </c:pt>
                <c:pt idx="21459">
                  <c:v>0</c:v>
                </c:pt>
                <c:pt idx="21460">
                  <c:v>0</c:v>
                </c:pt>
                <c:pt idx="21461">
                  <c:v>4</c:v>
                </c:pt>
                <c:pt idx="21462">
                  <c:v>0</c:v>
                </c:pt>
                <c:pt idx="21463">
                  <c:v>4</c:v>
                </c:pt>
                <c:pt idx="21464">
                  <c:v>0</c:v>
                </c:pt>
                <c:pt idx="21465">
                  <c:v>0</c:v>
                </c:pt>
                <c:pt idx="21466">
                  <c:v>0</c:v>
                </c:pt>
                <c:pt idx="21467">
                  <c:v>0</c:v>
                </c:pt>
                <c:pt idx="21468">
                  <c:v>0</c:v>
                </c:pt>
                <c:pt idx="21469">
                  <c:v>0</c:v>
                </c:pt>
                <c:pt idx="21470">
                  <c:v>0</c:v>
                </c:pt>
                <c:pt idx="21471">
                  <c:v>0</c:v>
                </c:pt>
                <c:pt idx="21472">
                  <c:v>0</c:v>
                </c:pt>
                <c:pt idx="21473">
                  <c:v>0</c:v>
                </c:pt>
                <c:pt idx="21474">
                  <c:v>0</c:v>
                </c:pt>
                <c:pt idx="21475">
                  <c:v>0</c:v>
                </c:pt>
                <c:pt idx="21476">
                  <c:v>0</c:v>
                </c:pt>
                <c:pt idx="21477">
                  <c:v>0</c:v>
                </c:pt>
                <c:pt idx="21478">
                  <c:v>0</c:v>
                </c:pt>
                <c:pt idx="21479">
                  <c:v>0</c:v>
                </c:pt>
                <c:pt idx="21480">
                  <c:v>0</c:v>
                </c:pt>
                <c:pt idx="21481">
                  <c:v>0</c:v>
                </c:pt>
                <c:pt idx="21482">
                  <c:v>0</c:v>
                </c:pt>
                <c:pt idx="21483">
                  <c:v>0</c:v>
                </c:pt>
                <c:pt idx="21484">
                  <c:v>0</c:v>
                </c:pt>
                <c:pt idx="21485">
                  <c:v>0</c:v>
                </c:pt>
                <c:pt idx="21486">
                  <c:v>0</c:v>
                </c:pt>
                <c:pt idx="21487">
                  <c:v>0</c:v>
                </c:pt>
                <c:pt idx="21488">
                  <c:v>0</c:v>
                </c:pt>
                <c:pt idx="21489">
                  <c:v>0</c:v>
                </c:pt>
                <c:pt idx="21490">
                  <c:v>0</c:v>
                </c:pt>
                <c:pt idx="21491">
                  <c:v>0</c:v>
                </c:pt>
                <c:pt idx="21492">
                  <c:v>0</c:v>
                </c:pt>
                <c:pt idx="21493">
                  <c:v>0</c:v>
                </c:pt>
                <c:pt idx="21494">
                  <c:v>0</c:v>
                </c:pt>
                <c:pt idx="21495">
                  <c:v>0</c:v>
                </c:pt>
                <c:pt idx="21496">
                  <c:v>0</c:v>
                </c:pt>
                <c:pt idx="21497">
                  <c:v>0</c:v>
                </c:pt>
                <c:pt idx="21498">
                  <c:v>0</c:v>
                </c:pt>
                <c:pt idx="21499">
                  <c:v>0</c:v>
                </c:pt>
                <c:pt idx="21500">
                  <c:v>0</c:v>
                </c:pt>
                <c:pt idx="21501">
                  <c:v>0</c:v>
                </c:pt>
                <c:pt idx="21502">
                  <c:v>0</c:v>
                </c:pt>
                <c:pt idx="21503">
                  <c:v>0</c:v>
                </c:pt>
                <c:pt idx="21504">
                  <c:v>0</c:v>
                </c:pt>
                <c:pt idx="21505">
                  <c:v>0</c:v>
                </c:pt>
                <c:pt idx="21506">
                  <c:v>0</c:v>
                </c:pt>
                <c:pt idx="21507">
                  <c:v>0</c:v>
                </c:pt>
                <c:pt idx="21508">
                  <c:v>0</c:v>
                </c:pt>
                <c:pt idx="21509">
                  <c:v>0</c:v>
                </c:pt>
                <c:pt idx="21510">
                  <c:v>0</c:v>
                </c:pt>
                <c:pt idx="21511">
                  <c:v>0</c:v>
                </c:pt>
                <c:pt idx="21512">
                  <c:v>0</c:v>
                </c:pt>
                <c:pt idx="21513">
                  <c:v>0</c:v>
                </c:pt>
                <c:pt idx="21514">
                  <c:v>0</c:v>
                </c:pt>
                <c:pt idx="21515">
                  <c:v>0</c:v>
                </c:pt>
                <c:pt idx="21516">
                  <c:v>0</c:v>
                </c:pt>
                <c:pt idx="21517">
                  <c:v>0</c:v>
                </c:pt>
                <c:pt idx="21518">
                  <c:v>0</c:v>
                </c:pt>
                <c:pt idx="21519">
                  <c:v>0</c:v>
                </c:pt>
                <c:pt idx="21520">
                  <c:v>0</c:v>
                </c:pt>
                <c:pt idx="21521">
                  <c:v>0</c:v>
                </c:pt>
                <c:pt idx="21522">
                  <c:v>0</c:v>
                </c:pt>
                <c:pt idx="21523">
                  <c:v>0</c:v>
                </c:pt>
                <c:pt idx="21524">
                  <c:v>0</c:v>
                </c:pt>
                <c:pt idx="21525">
                  <c:v>0</c:v>
                </c:pt>
                <c:pt idx="21526">
                  <c:v>0</c:v>
                </c:pt>
                <c:pt idx="21527">
                  <c:v>0</c:v>
                </c:pt>
                <c:pt idx="21528">
                  <c:v>0</c:v>
                </c:pt>
                <c:pt idx="21529">
                  <c:v>0</c:v>
                </c:pt>
                <c:pt idx="21530">
                  <c:v>0</c:v>
                </c:pt>
                <c:pt idx="21531">
                  <c:v>0</c:v>
                </c:pt>
                <c:pt idx="21532">
                  <c:v>0</c:v>
                </c:pt>
                <c:pt idx="21533">
                  <c:v>0</c:v>
                </c:pt>
                <c:pt idx="21534">
                  <c:v>0</c:v>
                </c:pt>
                <c:pt idx="21535">
                  <c:v>0</c:v>
                </c:pt>
                <c:pt idx="21536">
                  <c:v>0</c:v>
                </c:pt>
                <c:pt idx="21537">
                  <c:v>0</c:v>
                </c:pt>
                <c:pt idx="21538">
                  <c:v>0</c:v>
                </c:pt>
                <c:pt idx="21539">
                  <c:v>0</c:v>
                </c:pt>
                <c:pt idx="21540">
                  <c:v>0</c:v>
                </c:pt>
                <c:pt idx="21541">
                  <c:v>0</c:v>
                </c:pt>
                <c:pt idx="21542">
                  <c:v>0</c:v>
                </c:pt>
                <c:pt idx="21543">
                  <c:v>0</c:v>
                </c:pt>
                <c:pt idx="21544">
                  <c:v>0</c:v>
                </c:pt>
                <c:pt idx="21545">
                  <c:v>0</c:v>
                </c:pt>
                <c:pt idx="21546">
                  <c:v>0</c:v>
                </c:pt>
                <c:pt idx="21547">
                  <c:v>0</c:v>
                </c:pt>
                <c:pt idx="21548">
                  <c:v>0</c:v>
                </c:pt>
                <c:pt idx="21549">
                  <c:v>0</c:v>
                </c:pt>
                <c:pt idx="21550">
                  <c:v>0</c:v>
                </c:pt>
                <c:pt idx="21551">
                  <c:v>0</c:v>
                </c:pt>
                <c:pt idx="21552">
                  <c:v>0</c:v>
                </c:pt>
                <c:pt idx="21553">
                  <c:v>0</c:v>
                </c:pt>
                <c:pt idx="21554">
                  <c:v>0</c:v>
                </c:pt>
                <c:pt idx="21555">
                  <c:v>0</c:v>
                </c:pt>
                <c:pt idx="21556">
                  <c:v>0</c:v>
                </c:pt>
                <c:pt idx="21557">
                  <c:v>0</c:v>
                </c:pt>
                <c:pt idx="21558">
                  <c:v>0</c:v>
                </c:pt>
                <c:pt idx="21559">
                  <c:v>0</c:v>
                </c:pt>
                <c:pt idx="21560">
                  <c:v>0</c:v>
                </c:pt>
                <c:pt idx="21561">
                  <c:v>1</c:v>
                </c:pt>
                <c:pt idx="21562">
                  <c:v>0</c:v>
                </c:pt>
                <c:pt idx="21563">
                  <c:v>0</c:v>
                </c:pt>
                <c:pt idx="21564">
                  <c:v>0</c:v>
                </c:pt>
                <c:pt idx="21565">
                  <c:v>0</c:v>
                </c:pt>
                <c:pt idx="21566">
                  <c:v>0</c:v>
                </c:pt>
                <c:pt idx="21567">
                  <c:v>0</c:v>
                </c:pt>
                <c:pt idx="21568">
                  <c:v>0</c:v>
                </c:pt>
                <c:pt idx="21569">
                  <c:v>0</c:v>
                </c:pt>
                <c:pt idx="21570">
                  <c:v>0</c:v>
                </c:pt>
                <c:pt idx="21571">
                  <c:v>0</c:v>
                </c:pt>
                <c:pt idx="21572">
                  <c:v>0</c:v>
                </c:pt>
                <c:pt idx="21573">
                  <c:v>0</c:v>
                </c:pt>
                <c:pt idx="21574">
                  <c:v>0</c:v>
                </c:pt>
                <c:pt idx="21575">
                  <c:v>0</c:v>
                </c:pt>
                <c:pt idx="21576">
                  <c:v>0</c:v>
                </c:pt>
                <c:pt idx="21577">
                  <c:v>0</c:v>
                </c:pt>
                <c:pt idx="21578">
                  <c:v>0</c:v>
                </c:pt>
                <c:pt idx="21579">
                  <c:v>0</c:v>
                </c:pt>
                <c:pt idx="21580">
                  <c:v>0</c:v>
                </c:pt>
                <c:pt idx="21581">
                  <c:v>0</c:v>
                </c:pt>
                <c:pt idx="21582">
                  <c:v>0</c:v>
                </c:pt>
                <c:pt idx="21583">
                  <c:v>0</c:v>
                </c:pt>
                <c:pt idx="21584">
                  <c:v>0</c:v>
                </c:pt>
                <c:pt idx="21585">
                  <c:v>0</c:v>
                </c:pt>
                <c:pt idx="21586">
                  <c:v>0</c:v>
                </c:pt>
                <c:pt idx="21587">
                  <c:v>0</c:v>
                </c:pt>
                <c:pt idx="21588">
                  <c:v>0</c:v>
                </c:pt>
                <c:pt idx="21589">
                  <c:v>0</c:v>
                </c:pt>
                <c:pt idx="21590">
                  <c:v>0</c:v>
                </c:pt>
                <c:pt idx="21591">
                  <c:v>0</c:v>
                </c:pt>
                <c:pt idx="21592">
                  <c:v>0</c:v>
                </c:pt>
                <c:pt idx="21593">
                  <c:v>1</c:v>
                </c:pt>
                <c:pt idx="21594">
                  <c:v>0</c:v>
                </c:pt>
                <c:pt idx="21595">
                  <c:v>0</c:v>
                </c:pt>
                <c:pt idx="21596">
                  <c:v>0</c:v>
                </c:pt>
                <c:pt idx="21597">
                  <c:v>0</c:v>
                </c:pt>
                <c:pt idx="21598">
                  <c:v>0</c:v>
                </c:pt>
                <c:pt idx="21599">
                  <c:v>0</c:v>
                </c:pt>
                <c:pt idx="21600">
                  <c:v>0</c:v>
                </c:pt>
                <c:pt idx="21601">
                  <c:v>0</c:v>
                </c:pt>
                <c:pt idx="21602">
                  <c:v>0</c:v>
                </c:pt>
                <c:pt idx="21603">
                  <c:v>0</c:v>
                </c:pt>
                <c:pt idx="21604">
                  <c:v>0</c:v>
                </c:pt>
                <c:pt idx="21605">
                  <c:v>0</c:v>
                </c:pt>
                <c:pt idx="21606">
                  <c:v>0</c:v>
                </c:pt>
                <c:pt idx="21607">
                  <c:v>0</c:v>
                </c:pt>
                <c:pt idx="21608">
                  <c:v>0</c:v>
                </c:pt>
                <c:pt idx="21609">
                  <c:v>1</c:v>
                </c:pt>
                <c:pt idx="21610">
                  <c:v>0</c:v>
                </c:pt>
                <c:pt idx="21611">
                  <c:v>0</c:v>
                </c:pt>
                <c:pt idx="21612">
                  <c:v>0</c:v>
                </c:pt>
                <c:pt idx="21613">
                  <c:v>0</c:v>
                </c:pt>
                <c:pt idx="21614">
                  <c:v>1</c:v>
                </c:pt>
                <c:pt idx="21615">
                  <c:v>0</c:v>
                </c:pt>
                <c:pt idx="21616">
                  <c:v>0</c:v>
                </c:pt>
                <c:pt idx="21617">
                  <c:v>0</c:v>
                </c:pt>
                <c:pt idx="21618">
                  <c:v>0</c:v>
                </c:pt>
                <c:pt idx="21619">
                  <c:v>0</c:v>
                </c:pt>
                <c:pt idx="21620">
                  <c:v>0</c:v>
                </c:pt>
                <c:pt idx="21621">
                  <c:v>0</c:v>
                </c:pt>
                <c:pt idx="21622">
                  <c:v>0</c:v>
                </c:pt>
                <c:pt idx="21623">
                  <c:v>0</c:v>
                </c:pt>
                <c:pt idx="21624">
                  <c:v>0</c:v>
                </c:pt>
                <c:pt idx="21625">
                  <c:v>0</c:v>
                </c:pt>
                <c:pt idx="21626">
                  <c:v>0</c:v>
                </c:pt>
                <c:pt idx="21627">
                  <c:v>0</c:v>
                </c:pt>
                <c:pt idx="21628">
                  <c:v>0</c:v>
                </c:pt>
                <c:pt idx="21629">
                  <c:v>0</c:v>
                </c:pt>
                <c:pt idx="21630">
                  <c:v>0</c:v>
                </c:pt>
                <c:pt idx="21631">
                  <c:v>0</c:v>
                </c:pt>
                <c:pt idx="21632">
                  <c:v>3</c:v>
                </c:pt>
                <c:pt idx="21633">
                  <c:v>3</c:v>
                </c:pt>
                <c:pt idx="21634">
                  <c:v>1</c:v>
                </c:pt>
                <c:pt idx="21635">
                  <c:v>3</c:v>
                </c:pt>
                <c:pt idx="21636">
                  <c:v>0</c:v>
                </c:pt>
                <c:pt idx="21637">
                  <c:v>0</c:v>
                </c:pt>
                <c:pt idx="21638">
                  <c:v>0</c:v>
                </c:pt>
                <c:pt idx="21639">
                  <c:v>0</c:v>
                </c:pt>
                <c:pt idx="21640">
                  <c:v>0</c:v>
                </c:pt>
                <c:pt idx="21641">
                  <c:v>0</c:v>
                </c:pt>
                <c:pt idx="21642">
                  <c:v>0</c:v>
                </c:pt>
                <c:pt idx="21643">
                  <c:v>0</c:v>
                </c:pt>
                <c:pt idx="21644">
                  <c:v>0</c:v>
                </c:pt>
                <c:pt idx="21645">
                  <c:v>0</c:v>
                </c:pt>
                <c:pt idx="21646">
                  <c:v>0</c:v>
                </c:pt>
                <c:pt idx="21647">
                  <c:v>0</c:v>
                </c:pt>
                <c:pt idx="21648">
                  <c:v>0</c:v>
                </c:pt>
                <c:pt idx="21649">
                  <c:v>0</c:v>
                </c:pt>
                <c:pt idx="21650">
                  <c:v>2</c:v>
                </c:pt>
                <c:pt idx="21651">
                  <c:v>0</c:v>
                </c:pt>
                <c:pt idx="21652">
                  <c:v>4</c:v>
                </c:pt>
                <c:pt idx="21653">
                  <c:v>8</c:v>
                </c:pt>
                <c:pt idx="21654">
                  <c:v>2</c:v>
                </c:pt>
                <c:pt idx="21655">
                  <c:v>0</c:v>
                </c:pt>
                <c:pt idx="21656">
                  <c:v>0</c:v>
                </c:pt>
                <c:pt idx="21657">
                  <c:v>0</c:v>
                </c:pt>
                <c:pt idx="21658">
                  <c:v>0</c:v>
                </c:pt>
                <c:pt idx="21659">
                  <c:v>1</c:v>
                </c:pt>
                <c:pt idx="21660">
                  <c:v>0</c:v>
                </c:pt>
                <c:pt idx="21661">
                  <c:v>0</c:v>
                </c:pt>
                <c:pt idx="21662">
                  <c:v>0</c:v>
                </c:pt>
                <c:pt idx="21663">
                  <c:v>0</c:v>
                </c:pt>
                <c:pt idx="21664">
                  <c:v>0</c:v>
                </c:pt>
                <c:pt idx="21665">
                  <c:v>0</c:v>
                </c:pt>
                <c:pt idx="21666">
                  <c:v>0</c:v>
                </c:pt>
                <c:pt idx="21667">
                  <c:v>0</c:v>
                </c:pt>
                <c:pt idx="21668">
                  <c:v>0</c:v>
                </c:pt>
                <c:pt idx="21669">
                  <c:v>0</c:v>
                </c:pt>
                <c:pt idx="21670">
                  <c:v>1</c:v>
                </c:pt>
                <c:pt idx="21671">
                  <c:v>5</c:v>
                </c:pt>
                <c:pt idx="21672">
                  <c:v>0</c:v>
                </c:pt>
                <c:pt idx="21673">
                  <c:v>0</c:v>
                </c:pt>
                <c:pt idx="21674">
                  <c:v>1</c:v>
                </c:pt>
                <c:pt idx="21675">
                  <c:v>1</c:v>
                </c:pt>
                <c:pt idx="21676">
                  <c:v>0</c:v>
                </c:pt>
                <c:pt idx="21677">
                  <c:v>4</c:v>
                </c:pt>
                <c:pt idx="21678">
                  <c:v>0</c:v>
                </c:pt>
                <c:pt idx="21679">
                  <c:v>0</c:v>
                </c:pt>
                <c:pt idx="21680">
                  <c:v>0</c:v>
                </c:pt>
                <c:pt idx="21681">
                  <c:v>2</c:v>
                </c:pt>
                <c:pt idx="21682">
                  <c:v>1</c:v>
                </c:pt>
                <c:pt idx="21683">
                  <c:v>1</c:v>
                </c:pt>
                <c:pt idx="21684">
                  <c:v>0</c:v>
                </c:pt>
                <c:pt idx="21685">
                  <c:v>0</c:v>
                </c:pt>
                <c:pt idx="21686">
                  <c:v>0</c:v>
                </c:pt>
                <c:pt idx="21687">
                  <c:v>0</c:v>
                </c:pt>
                <c:pt idx="21688">
                  <c:v>5</c:v>
                </c:pt>
                <c:pt idx="21689">
                  <c:v>0</c:v>
                </c:pt>
                <c:pt idx="21690">
                  <c:v>1</c:v>
                </c:pt>
                <c:pt idx="21691">
                  <c:v>0</c:v>
                </c:pt>
                <c:pt idx="21692">
                  <c:v>0</c:v>
                </c:pt>
                <c:pt idx="21693">
                  <c:v>0</c:v>
                </c:pt>
                <c:pt idx="21694">
                  <c:v>0</c:v>
                </c:pt>
                <c:pt idx="21695">
                  <c:v>0</c:v>
                </c:pt>
                <c:pt idx="21696">
                  <c:v>0</c:v>
                </c:pt>
                <c:pt idx="21697">
                  <c:v>0</c:v>
                </c:pt>
                <c:pt idx="21698">
                  <c:v>0</c:v>
                </c:pt>
                <c:pt idx="21699">
                  <c:v>0</c:v>
                </c:pt>
                <c:pt idx="21700">
                  <c:v>0</c:v>
                </c:pt>
                <c:pt idx="21701">
                  <c:v>0</c:v>
                </c:pt>
                <c:pt idx="21702">
                  <c:v>0</c:v>
                </c:pt>
                <c:pt idx="21703">
                  <c:v>0</c:v>
                </c:pt>
                <c:pt idx="21704">
                  <c:v>2</c:v>
                </c:pt>
                <c:pt idx="21705">
                  <c:v>0</c:v>
                </c:pt>
                <c:pt idx="21706">
                  <c:v>0</c:v>
                </c:pt>
                <c:pt idx="21707">
                  <c:v>0</c:v>
                </c:pt>
                <c:pt idx="21708">
                  <c:v>0</c:v>
                </c:pt>
                <c:pt idx="21709">
                  <c:v>0</c:v>
                </c:pt>
                <c:pt idx="21710">
                  <c:v>0</c:v>
                </c:pt>
                <c:pt idx="21711">
                  <c:v>0</c:v>
                </c:pt>
                <c:pt idx="21712">
                  <c:v>0</c:v>
                </c:pt>
                <c:pt idx="21713">
                  <c:v>0</c:v>
                </c:pt>
                <c:pt idx="21714">
                  <c:v>0</c:v>
                </c:pt>
                <c:pt idx="21715">
                  <c:v>0</c:v>
                </c:pt>
                <c:pt idx="21716">
                  <c:v>0</c:v>
                </c:pt>
                <c:pt idx="21717">
                  <c:v>0</c:v>
                </c:pt>
                <c:pt idx="21718">
                  <c:v>0</c:v>
                </c:pt>
                <c:pt idx="21719">
                  <c:v>4</c:v>
                </c:pt>
                <c:pt idx="21720">
                  <c:v>4</c:v>
                </c:pt>
                <c:pt idx="21721">
                  <c:v>0</c:v>
                </c:pt>
                <c:pt idx="21722">
                  <c:v>0</c:v>
                </c:pt>
                <c:pt idx="21723">
                  <c:v>0</c:v>
                </c:pt>
                <c:pt idx="21724">
                  <c:v>0</c:v>
                </c:pt>
                <c:pt idx="21725">
                  <c:v>0</c:v>
                </c:pt>
                <c:pt idx="21726">
                  <c:v>3</c:v>
                </c:pt>
                <c:pt idx="21727">
                  <c:v>0</c:v>
                </c:pt>
                <c:pt idx="21728">
                  <c:v>0</c:v>
                </c:pt>
                <c:pt idx="21729">
                  <c:v>0</c:v>
                </c:pt>
                <c:pt idx="21730">
                  <c:v>0</c:v>
                </c:pt>
                <c:pt idx="21731">
                  <c:v>0</c:v>
                </c:pt>
                <c:pt idx="21732">
                  <c:v>0</c:v>
                </c:pt>
                <c:pt idx="21733">
                  <c:v>0</c:v>
                </c:pt>
                <c:pt idx="21734">
                  <c:v>0</c:v>
                </c:pt>
                <c:pt idx="21735">
                  <c:v>0</c:v>
                </c:pt>
                <c:pt idx="21736">
                  <c:v>0</c:v>
                </c:pt>
                <c:pt idx="21737">
                  <c:v>0</c:v>
                </c:pt>
                <c:pt idx="21738">
                  <c:v>0</c:v>
                </c:pt>
                <c:pt idx="21739">
                  <c:v>0</c:v>
                </c:pt>
                <c:pt idx="21740">
                  <c:v>0</c:v>
                </c:pt>
                <c:pt idx="21741">
                  <c:v>0</c:v>
                </c:pt>
                <c:pt idx="21742">
                  <c:v>0</c:v>
                </c:pt>
                <c:pt idx="21743">
                  <c:v>2</c:v>
                </c:pt>
                <c:pt idx="21744">
                  <c:v>2</c:v>
                </c:pt>
                <c:pt idx="21745">
                  <c:v>1</c:v>
                </c:pt>
                <c:pt idx="21746">
                  <c:v>0</c:v>
                </c:pt>
                <c:pt idx="21747">
                  <c:v>0</c:v>
                </c:pt>
                <c:pt idx="21748">
                  <c:v>0</c:v>
                </c:pt>
                <c:pt idx="21749">
                  <c:v>3</c:v>
                </c:pt>
                <c:pt idx="21750">
                  <c:v>1</c:v>
                </c:pt>
                <c:pt idx="21751">
                  <c:v>4</c:v>
                </c:pt>
                <c:pt idx="21752">
                  <c:v>2</c:v>
                </c:pt>
                <c:pt idx="21753">
                  <c:v>1</c:v>
                </c:pt>
                <c:pt idx="21754">
                  <c:v>3</c:v>
                </c:pt>
                <c:pt idx="21755">
                  <c:v>0</c:v>
                </c:pt>
                <c:pt idx="21756">
                  <c:v>0</c:v>
                </c:pt>
                <c:pt idx="21757">
                  <c:v>0</c:v>
                </c:pt>
                <c:pt idx="21758">
                  <c:v>0</c:v>
                </c:pt>
                <c:pt idx="21759">
                  <c:v>0</c:v>
                </c:pt>
                <c:pt idx="21760">
                  <c:v>0</c:v>
                </c:pt>
                <c:pt idx="21761">
                  <c:v>1</c:v>
                </c:pt>
                <c:pt idx="21762">
                  <c:v>0</c:v>
                </c:pt>
                <c:pt idx="21763">
                  <c:v>0</c:v>
                </c:pt>
                <c:pt idx="21764">
                  <c:v>0</c:v>
                </c:pt>
                <c:pt idx="21765">
                  <c:v>0</c:v>
                </c:pt>
                <c:pt idx="21766">
                  <c:v>0</c:v>
                </c:pt>
                <c:pt idx="21767">
                  <c:v>0</c:v>
                </c:pt>
                <c:pt idx="21768">
                  <c:v>0</c:v>
                </c:pt>
                <c:pt idx="21769">
                  <c:v>0</c:v>
                </c:pt>
                <c:pt idx="21770">
                  <c:v>0</c:v>
                </c:pt>
                <c:pt idx="21771">
                  <c:v>0</c:v>
                </c:pt>
                <c:pt idx="21772">
                  <c:v>0</c:v>
                </c:pt>
                <c:pt idx="21773">
                  <c:v>0</c:v>
                </c:pt>
                <c:pt idx="21774">
                  <c:v>0</c:v>
                </c:pt>
                <c:pt idx="21775">
                  <c:v>0</c:v>
                </c:pt>
                <c:pt idx="21776">
                  <c:v>0</c:v>
                </c:pt>
                <c:pt idx="21777">
                  <c:v>0</c:v>
                </c:pt>
                <c:pt idx="21778">
                  <c:v>0</c:v>
                </c:pt>
                <c:pt idx="21779">
                  <c:v>0</c:v>
                </c:pt>
                <c:pt idx="21780">
                  <c:v>0</c:v>
                </c:pt>
                <c:pt idx="21781">
                  <c:v>0</c:v>
                </c:pt>
                <c:pt idx="21782">
                  <c:v>0</c:v>
                </c:pt>
                <c:pt idx="21783">
                  <c:v>0</c:v>
                </c:pt>
                <c:pt idx="21784">
                  <c:v>0</c:v>
                </c:pt>
                <c:pt idx="21785">
                  <c:v>0</c:v>
                </c:pt>
                <c:pt idx="21786">
                  <c:v>0</c:v>
                </c:pt>
                <c:pt idx="21787">
                  <c:v>1</c:v>
                </c:pt>
                <c:pt idx="21788">
                  <c:v>0</c:v>
                </c:pt>
                <c:pt idx="21789">
                  <c:v>0</c:v>
                </c:pt>
                <c:pt idx="21790">
                  <c:v>0</c:v>
                </c:pt>
                <c:pt idx="21791">
                  <c:v>0</c:v>
                </c:pt>
                <c:pt idx="21792">
                  <c:v>0</c:v>
                </c:pt>
                <c:pt idx="21793">
                  <c:v>0</c:v>
                </c:pt>
                <c:pt idx="21794">
                  <c:v>0</c:v>
                </c:pt>
                <c:pt idx="21795">
                  <c:v>0</c:v>
                </c:pt>
                <c:pt idx="21796">
                  <c:v>0</c:v>
                </c:pt>
                <c:pt idx="21797">
                  <c:v>0</c:v>
                </c:pt>
                <c:pt idx="21798">
                  <c:v>0</c:v>
                </c:pt>
                <c:pt idx="21799">
                  <c:v>0</c:v>
                </c:pt>
                <c:pt idx="21800">
                  <c:v>0</c:v>
                </c:pt>
                <c:pt idx="21801">
                  <c:v>0</c:v>
                </c:pt>
                <c:pt idx="21802">
                  <c:v>2</c:v>
                </c:pt>
                <c:pt idx="21803">
                  <c:v>2</c:v>
                </c:pt>
                <c:pt idx="21804">
                  <c:v>0</c:v>
                </c:pt>
                <c:pt idx="21805">
                  <c:v>0</c:v>
                </c:pt>
                <c:pt idx="21806">
                  <c:v>0</c:v>
                </c:pt>
                <c:pt idx="21807">
                  <c:v>0</c:v>
                </c:pt>
                <c:pt idx="21808">
                  <c:v>0</c:v>
                </c:pt>
                <c:pt idx="21809">
                  <c:v>0</c:v>
                </c:pt>
                <c:pt idx="21810">
                  <c:v>0</c:v>
                </c:pt>
                <c:pt idx="21811">
                  <c:v>0</c:v>
                </c:pt>
                <c:pt idx="21812">
                  <c:v>0</c:v>
                </c:pt>
                <c:pt idx="21813">
                  <c:v>0</c:v>
                </c:pt>
                <c:pt idx="21814">
                  <c:v>0</c:v>
                </c:pt>
                <c:pt idx="21815">
                  <c:v>0</c:v>
                </c:pt>
                <c:pt idx="21816">
                  <c:v>2</c:v>
                </c:pt>
                <c:pt idx="21817">
                  <c:v>0</c:v>
                </c:pt>
                <c:pt idx="21818">
                  <c:v>0</c:v>
                </c:pt>
                <c:pt idx="21819">
                  <c:v>0</c:v>
                </c:pt>
                <c:pt idx="21820">
                  <c:v>0</c:v>
                </c:pt>
                <c:pt idx="21821">
                  <c:v>0</c:v>
                </c:pt>
                <c:pt idx="21822">
                  <c:v>0</c:v>
                </c:pt>
                <c:pt idx="21823">
                  <c:v>0</c:v>
                </c:pt>
                <c:pt idx="21824">
                  <c:v>0</c:v>
                </c:pt>
                <c:pt idx="21825">
                  <c:v>1</c:v>
                </c:pt>
                <c:pt idx="21826">
                  <c:v>0</c:v>
                </c:pt>
                <c:pt idx="21827">
                  <c:v>0</c:v>
                </c:pt>
                <c:pt idx="21828">
                  <c:v>1</c:v>
                </c:pt>
                <c:pt idx="21829">
                  <c:v>0</c:v>
                </c:pt>
                <c:pt idx="21830">
                  <c:v>0</c:v>
                </c:pt>
                <c:pt idx="21831">
                  <c:v>0</c:v>
                </c:pt>
                <c:pt idx="21832">
                  <c:v>0</c:v>
                </c:pt>
                <c:pt idx="21833">
                  <c:v>0</c:v>
                </c:pt>
                <c:pt idx="21834">
                  <c:v>0</c:v>
                </c:pt>
                <c:pt idx="21835">
                  <c:v>0</c:v>
                </c:pt>
                <c:pt idx="21836">
                  <c:v>0</c:v>
                </c:pt>
                <c:pt idx="21837">
                  <c:v>0</c:v>
                </c:pt>
                <c:pt idx="21838">
                  <c:v>3</c:v>
                </c:pt>
                <c:pt idx="21839">
                  <c:v>0</c:v>
                </c:pt>
                <c:pt idx="21840">
                  <c:v>0</c:v>
                </c:pt>
                <c:pt idx="21841">
                  <c:v>0</c:v>
                </c:pt>
                <c:pt idx="21842">
                  <c:v>0</c:v>
                </c:pt>
                <c:pt idx="21843">
                  <c:v>0</c:v>
                </c:pt>
                <c:pt idx="21844">
                  <c:v>0</c:v>
                </c:pt>
                <c:pt idx="21845">
                  <c:v>0</c:v>
                </c:pt>
                <c:pt idx="21846">
                  <c:v>1</c:v>
                </c:pt>
                <c:pt idx="21847">
                  <c:v>0</c:v>
                </c:pt>
                <c:pt idx="21848">
                  <c:v>0</c:v>
                </c:pt>
                <c:pt idx="21849">
                  <c:v>0</c:v>
                </c:pt>
                <c:pt idx="21850">
                  <c:v>0</c:v>
                </c:pt>
                <c:pt idx="21851">
                  <c:v>0</c:v>
                </c:pt>
                <c:pt idx="21852">
                  <c:v>0</c:v>
                </c:pt>
                <c:pt idx="21853">
                  <c:v>0</c:v>
                </c:pt>
                <c:pt idx="21854">
                  <c:v>0</c:v>
                </c:pt>
                <c:pt idx="21855">
                  <c:v>0</c:v>
                </c:pt>
                <c:pt idx="21856">
                  <c:v>0</c:v>
                </c:pt>
                <c:pt idx="21857">
                  <c:v>0</c:v>
                </c:pt>
                <c:pt idx="21858">
                  <c:v>0</c:v>
                </c:pt>
                <c:pt idx="21859">
                  <c:v>0</c:v>
                </c:pt>
                <c:pt idx="21860">
                  <c:v>0</c:v>
                </c:pt>
                <c:pt idx="21861">
                  <c:v>0</c:v>
                </c:pt>
                <c:pt idx="21862">
                  <c:v>0</c:v>
                </c:pt>
                <c:pt idx="21863">
                  <c:v>0</c:v>
                </c:pt>
                <c:pt idx="21864">
                  <c:v>0</c:v>
                </c:pt>
                <c:pt idx="21865">
                  <c:v>0</c:v>
                </c:pt>
                <c:pt idx="21866">
                  <c:v>1</c:v>
                </c:pt>
                <c:pt idx="21867">
                  <c:v>0</c:v>
                </c:pt>
                <c:pt idx="21868">
                  <c:v>0</c:v>
                </c:pt>
                <c:pt idx="21869">
                  <c:v>0</c:v>
                </c:pt>
                <c:pt idx="21870">
                  <c:v>0</c:v>
                </c:pt>
                <c:pt idx="21871">
                  <c:v>0</c:v>
                </c:pt>
                <c:pt idx="21872">
                  <c:v>0</c:v>
                </c:pt>
                <c:pt idx="21873">
                  <c:v>0</c:v>
                </c:pt>
                <c:pt idx="21874">
                  <c:v>0</c:v>
                </c:pt>
                <c:pt idx="21875">
                  <c:v>0</c:v>
                </c:pt>
                <c:pt idx="21876">
                  <c:v>0</c:v>
                </c:pt>
                <c:pt idx="21877">
                  <c:v>0</c:v>
                </c:pt>
                <c:pt idx="21878">
                  <c:v>0</c:v>
                </c:pt>
                <c:pt idx="21879">
                  <c:v>0</c:v>
                </c:pt>
                <c:pt idx="21880">
                  <c:v>1</c:v>
                </c:pt>
                <c:pt idx="21881">
                  <c:v>0</c:v>
                </c:pt>
                <c:pt idx="21882">
                  <c:v>2</c:v>
                </c:pt>
                <c:pt idx="21883">
                  <c:v>0</c:v>
                </c:pt>
                <c:pt idx="21884">
                  <c:v>1</c:v>
                </c:pt>
                <c:pt idx="21885">
                  <c:v>6</c:v>
                </c:pt>
                <c:pt idx="21886">
                  <c:v>4</c:v>
                </c:pt>
                <c:pt idx="21887">
                  <c:v>0</c:v>
                </c:pt>
                <c:pt idx="21888">
                  <c:v>0</c:v>
                </c:pt>
                <c:pt idx="21889">
                  <c:v>0</c:v>
                </c:pt>
                <c:pt idx="21890">
                  <c:v>0</c:v>
                </c:pt>
                <c:pt idx="21891">
                  <c:v>3</c:v>
                </c:pt>
                <c:pt idx="21892">
                  <c:v>1</c:v>
                </c:pt>
                <c:pt idx="21893">
                  <c:v>0</c:v>
                </c:pt>
                <c:pt idx="21894">
                  <c:v>0</c:v>
                </c:pt>
                <c:pt idx="21895">
                  <c:v>0</c:v>
                </c:pt>
                <c:pt idx="21896">
                  <c:v>0</c:v>
                </c:pt>
                <c:pt idx="21897">
                  <c:v>0</c:v>
                </c:pt>
                <c:pt idx="21898">
                  <c:v>0</c:v>
                </c:pt>
                <c:pt idx="21899">
                  <c:v>0</c:v>
                </c:pt>
                <c:pt idx="21900">
                  <c:v>0</c:v>
                </c:pt>
                <c:pt idx="21901">
                  <c:v>0</c:v>
                </c:pt>
                <c:pt idx="21902">
                  <c:v>0</c:v>
                </c:pt>
                <c:pt idx="21903">
                  <c:v>0</c:v>
                </c:pt>
                <c:pt idx="21904">
                  <c:v>0</c:v>
                </c:pt>
                <c:pt idx="21905">
                  <c:v>0</c:v>
                </c:pt>
                <c:pt idx="21906">
                  <c:v>0</c:v>
                </c:pt>
                <c:pt idx="21907">
                  <c:v>0</c:v>
                </c:pt>
                <c:pt idx="21908">
                  <c:v>0</c:v>
                </c:pt>
                <c:pt idx="21909">
                  <c:v>0</c:v>
                </c:pt>
                <c:pt idx="21910">
                  <c:v>0</c:v>
                </c:pt>
                <c:pt idx="21911">
                  <c:v>0</c:v>
                </c:pt>
                <c:pt idx="21912">
                  <c:v>0</c:v>
                </c:pt>
                <c:pt idx="21913">
                  <c:v>0</c:v>
                </c:pt>
                <c:pt idx="21914">
                  <c:v>0</c:v>
                </c:pt>
                <c:pt idx="21915">
                  <c:v>0</c:v>
                </c:pt>
                <c:pt idx="21916">
                  <c:v>0</c:v>
                </c:pt>
                <c:pt idx="21917">
                  <c:v>0</c:v>
                </c:pt>
                <c:pt idx="21918">
                  <c:v>0</c:v>
                </c:pt>
                <c:pt idx="21919">
                  <c:v>0</c:v>
                </c:pt>
                <c:pt idx="21920">
                  <c:v>0</c:v>
                </c:pt>
                <c:pt idx="21921">
                  <c:v>0</c:v>
                </c:pt>
                <c:pt idx="21922">
                  <c:v>0</c:v>
                </c:pt>
                <c:pt idx="21923">
                  <c:v>0</c:v>
                </c:pt>
                <c:pt idx="21924">
                  <c:v>0</c:v>
                </c:pt>
                <c:pt idx="21925">
                  <c:v>0</c:v>
                </c:pt>
                <c:pt idx="21926">
                  <c:v>0</c:v>
                </c:pt>
                <c:pt idx="21927">
                  <c:v>0</c:v>
                </c:pt>
                <c:pt idx="21928">
                  <c:v>0</c:v>
                </c:pt>
                <c:pt idx="21929">
                  <c:v>0</c:v>
                </c:pt>
                <c:pt idx="21930">
                  <c:v>0</c:v>
                </c:pt>
                <c:pt idx="21931">
                  <c:v>0</c:v>
                </c:pt>
                <c:pt idx="21932">
                  <c:v>0</c:v>
                </c:pt>
                <c:pt idx="21933">
                  <c:v>0</c:v>
                </c:pt>
                <c:pt idx="21934">
                  <c:v>0</c:v>
                </c:pt>
                <c:pt idx="21935">
                  <c:v>0</c:v>
                </c:pt>
                <c:pt idx="21936">
                  <c:v>0</c:v>
                </c:pt>
                <c:pt idx="21937">
                  <c:v>0</c:v>
                </c:pt>
                <c:pt idx="21938">
                  <c:v>0</c:v>
                </c:pt>
                <c:pt idx="21939">
                  <c:v>0</c:v>
                </c:pt>
                <c:pt idx="21940">
                  <c:v>0</c:v>
                </c:pt>
                <c:pt idx="21941">
                  <c:v>0</c:v>
                </c:pt>
                <c:pt idx="21942">
                  <c:v>0</c:v>
                </c:pt>
                <c:pt idx="21943">
                  <c:v>0</c:v>
                </c:pt>
                <c:pt idx="21944">
                  <c:v>0</c:v>
                </c:pt>
                <c:pt idx="21945">
                  <c:v>3</c:v>
                </c:pt>
                <c:pt idx="21946">
                  <c:v>2</c:v>
                </c:pt>
                <c:pt idx="21947">
                  <c:v>0</c:v>
                </c:pt>
                <c:pt idx="21948">
                  <c:v>0</c:v>
                </c:pt>
                <c:pt idx="21949">
                  <c:v>0</c:v>
                </c:pt>
                <c:pt idx="21950">
                  <c:v>4</c:v>
                </c:pt>
                <c:pt idx="21951">
                  <c:v>0</c:v>
                </c:pt>
                <c:pt idx="21952">
                  <c:v>0</c:v>
                </c:pt>
                <c:pt idx="21953">
                  <c:v>0</c:v>
                </c:pt>
                <c:pt idx="21954">
                  <c:v>0</c:v>
                </c:pt>
                <c:pt idx="21955">
                  <c:v>0</c:v>
                </c:pt>
                <c:pt idx="21956">
                  <c:v>3</c:v>
                </c:pt>
                <c:pt idx="21957">
                  <c:v>0</c:v>
                </c:pt>
                <c:pt idx="21958">
                  <c:v>2</c:v>
                </c:pt>
                <c:pt idx="21959">
                  <c:v>0</c:v>
                </c:pt>
                <c:pt idx="21960">
                  <c:v>0</c:v>
                </c:pt>
                <c:pt idx="21961">
                  <c:v>0</c:v>
                </c:pt>
                <c:pt idx="21962">
                  <c:v>0</c:v>
                </c:pt>
                <c:pt idx="21963">
                  <c:v>0</c:v>
                </c:pt>
                <c:pt idx="21964">
                  <c:v>0</c:v>
                </c:pt>
                <c:pt idx="21965">
                  <c:v>0</c:v>
                </c:pt>
                <c:pt idx="21966">
                  <c:v>0</c:v>
                </c:pt>
                <c:pt idx="21967">
                  <c:v>0</c:v>
                </c:pt>
                <c:pt idx="21968">
                  <c:v>0</c:v>
                </c:pt>
                <c:pt idx="21969">
                  <c:v>0</c:v>
                </c:pt>
                <c:pt idx="21970">
                  <c:v>0</c:v>
                </c:pt>
                <c:pt idx="21971">
                  <c:v>0</c:v>
                </c:pt>
                <c:pt idx="21972">
                  <c:v>0</c:v>
                </c:pt>
                <c:pt idx="21973">
                  <c:v>0</c:v>
                </c:pt>
                <c:pt idx="21974">
                  <c:v>0</c:v>
                </c:pt>
                <c:pt idx="21975">
                  <c:v>0</c:v>
                </c:pt>
                <c:pt idx="21976">
                  <c:v>0</c:v>
                </c:pt>
                <c:pt idx="21977">
                  <c:v>0</c:v>
                </c:pt>
                <c:pt idx="21978">
                  <c:v>0</c:v>
                </c:pt>
                <c:pt idx="21979">
                  <c:v>0</c:v>
                </c:pt>
                <c:pt idx="21980">
                  <c:v>0</c:v>
                </c:pt>
                <c:pt idx="21981">
                  <c:v>0</c:v>
                </c:pt>
                <c:pt idx="21982">
                  <c:v>0</c:v>
                </c:pt>
                <c:pt idx="21983">
                  <c:v>0</c:v>
                </c:pt>
                <c:pt idx="21984">
                  <c:v>0</c:v>
                </c:pt>
                <c:pt idx="21985">
                  <c:v>0</c:v>
                </c:pt>
                <c:pt idx="21986">
                  <c:v>0</c:v>
                </c:pt>
                <c:pt idx="21987">
                  <c:v>1</c:v>
                </c:pt>
                <c:pt idx="21988">
                  <c:v>0</c:v>
                </c:pt>
                <c:pt idx="21989">
                  <c:v>0</c:v>
                </c:pt>
                <c:pt idx="21990">
                  <c:v>0</c:v>
                </c:pt>
                <c:pt idx="21991">
                  <c:v>0</c:v>
                </c:pt>
                <c:pt idx="21992">
                  <c:v>0</c:v>
                </c:pt>
                <c:pt idx="21993">
                  <c:v>0</c:v>
                </c:pt>
                <c:pt idx="21994">
                  <c:v>0</c:v>
                </c:pt>
                <c:pt idx="21995">
                  <c:v>0</c:v>
                </c:pt>
                <c:pt idx="21996">
                  <c:v>4</c:v>
                </c:pt>
                <c:pt idx="21997">
                  <c:v>0</c:v>
                </c:pt>
                <c:pt idx="21998">
                  <c:v>2</c:v>
                </c:pt>
                <c:pt idx="21999">
                  <c:v>0</c:v>
                </c:pt>
                <c:pt idx="22000">
                  <c:v>0</c:v>
                </c:pt>
                <c:pt idx="22001">
                  <c:v>0</c:v>
                </c:pt>
                <c:pt idx="22002">
                  <c:v>0</c:v>
                </c:pt>
                <c:pt idx="22003">
                  <c:v>0</c:v>
                </c:pt>
                <c:pt idx="22004">
                  <c:v>0</c:v>
                </c:pt>
                <c:pt idx="22005">
                  <c:v>0</c:v>
                </c:pt>
                <c:pt idx="22006">
                  <c:v>0</c:v>
                </c:pt>
                <c:pt idx="22007">
                  <c:v>0</c:v>
                </c:pt>
                <c:pt idx="22008">
                  <c:v>0</c:v>
                </c:pt>
                <c:pt idx="22009">
                  <c:v>0</c:v>
                </c:pt>
                <c:pt idx="22010">
                  <c:v>0</c:v>
                </c:pt>
                <c:pt idx="22011">
                  <c:v>0</c:v>
                </c:pt>
                <c:pt idx="22012">
                  <c:v>0</c:v>
                </c:pt>
                <c:pt idx="22013">
                  <c:v>0</c:v>
                </c:pt>
                <c:pt idx="22014">
                  <c:v>0</c:v>
                </c:pt>
                <c:pt idx="22015">
                  <c:v>0</c:v>
                </c:pt>
                <c:pt idx="22016">
                  <c:v>0</c:v>
                </c:pt>
                <c:pt idx="22017">
                  <c:v>0</c:v>
                </c:pt>
                <c:pt idx="22018">
                  <c:v>0</c:v>
                </c:pt>
                <c:pt idx="22019">
                  <c:v>0</c:v>
                </c:pt>
                <c:pt idx="22020">
                  <c:v>0</c:v>
                </c:pt>
                <c:pt idx="22021">
                  <c:v>2</c:v>
                </c:pt>
                <c:pt idx="22022">
                  <c:v>0</c:v>
                </c:pt>
                <c:pt idx="22023">
                  <c:v>0</c:v>
                </c:pt>
                <c:pt idx="22024">
                  <c:v>0</c:v>
                </c:pt>
                <c:pt idx="22025">
                  <c:v>0</c:v>
                </c:pt>
                <c:pt idx="22026">
                  <c:v>0</c:v>
                </c:pt>
                <c:pt idx="22027">
                  <c:v>0</c:v>
                </c:pt>
                <c:pt idx="22028">
                  <c:v>0</c:v>
                </c:pt>
                <c:pt idx="22029">
                  <c:v>0</c:v>
                </c:pt>
                <c:pt idx="22030">
                  <c:v>0</c:v>
                </c:pt>
                <c:pt idx="22031">
                  <c:v>0</c:v>
                </c:pt>
                <c:pt idx="22032">
                  <c:v>0</c:v>
                </c:pt>
                <c:pt idx="22033">
                  <c:v>0</c:v>
                </c:pt>
                <c:pt idx="22034">
                  <c:v>0</c:v>
                </c:pt>
                <c:pt idx="22035">
                  <c:v>0</c:v>
                </c:pt>
                <c:pt idx="22036">
                  <c:v>0</c:v>
                </c:pt>
                <c:pt idx="22037">
                  <c:v>0</c:v>
                </c:pt>
                <c:pt idx="22038">
                  <c:v>0</c:v>
                </c:pt>
                <c:pt idx="22039">
                  <c:v>0</c:v>
                </c:pt>
                <c:pt idx="22040">
                  <c:v>0</c:v>
                </c:pt>
                <c:pt idx="22041">
                  <c:v>0</c:v>
                </c:pt>
                <c:pt idx="22042">
                  <c:v>0</c:v>
                </c:pt>
                <c:pt idx="22043">
                  <c:v>0</c:v>
                </c:pt>
                <c:pt idx="22044">
                  <c:v>0</c:v>
                </c:pt>
                <c:pt idx="22045">
                  <c:v>0</c:v>
                </c:pt>
                <c:pt idx="22046">
                  <c:v>0</c:v>
                </c:pt>
                <c:pt idx="22047">
                  <c:v>0</c:v>
                </c:pt>
                <c:pt idx="22048">
                  <c:v>0</c:v>
                </c:pt>
                <c:pt idx="22049">
                  <c:v>0</c:v>
                </c:pt>
                <c:pt idx="22050">
                  <c:v>0</c:v>
                </c:pt>
                <c:pt idx="22051">
                  <c:v>0</c:v>
                </c:pt>
                <c:pt idx="22052">
                  <c:v>1</c:v>
                </c:pt>
                <c:pt idx="22053">
                  <c:v>0</c:v>
                </c:pt>
                <c:pt idx="22054">
                  <c:v>0</c:v>
                </c:pt>
                <c:pt idx="22055">
                  <c:v>0</c:v>
                </c:pt>
                <c:pt idx="22056">
                  <c:v>0</c:v>
                </c:pt>
                <c:pt idx="22057">
                  <c:v>0</c:v>
                </c:pt>
                <c:pt idx="22058">
                  <c:v>0</c:v>
                </c:pt>
                <c:pt idx="22059">
                  <c:v>0</c:v>
                </c:pt>
                <c:pt idx="22060">
                  <c:v>0</c:v>
                </c:pt>
                <c:pt idx="22061">
                  <c:v>0</c:v>
                </c:pt>
                <c:pt idx="22062">
                  <c:v>0</c:v>
                </c:pt>
                <c:pt idx="22063">
                  <c:v>0</c:v>
                </c:pt>
                <c:pt idx="22064">
                  <c:v>0</c:v>
                </c:pt>
                <c:pt idx="22065">
                  <c:v>0</c:v>
                </c:pt>
                <c:pt idx="22066">
                  <c:v>0</c:v>
                </c:pt>
                <c:pt idx="22067">
                  <c:v>0</c:v>
                </c:pt>
                <c:pt idx="22068">
                  <c:v>0</c:v>
                </c:pt>
                <c:pt idx="22069">
                  <c:v>0</c:v>
                </c:pt>
                <c:pt idx="22070">
                  <c:v>0</c:v>
                </c:pt>
                <c:pt idx="22071">
                  <c:v>0</c:v>
                </c:pt>
                <c:pt idx="22072">
                  <c:v>0</c:v>
                </c:pt>
                <c:pt idx="22073">
                  <c:v>0</c:v>
                </c:pt>
                <c:pt idx="22074">
                  <c:v>0</c:v>
                </c:pt>
                <c:pt idx="22075">
                  <c:v>0</c:v>
                </c:pt>
                <c:pt idx="22076">
                  <c:v>0</c:v>
                </c:pt>
                <c:pt idx="22077">
                  <c:v>0</c:v>
                </c:pt>
                <c:pt idx="22078">
                  <c:v>0</c:v>
                </c:pt>
                <c:pt idx="22079">
                  <c:v>0</c:v>
                </c:pt>
                <c:pt idx="22080">
                  <c:v>0</c:v>
                </c:pt>
                <c:pt idx="22081">
                  <c:v>0</c:v>
                </c:pt>
                <c:pt idx="22082">
                  <c:v>0</c:v>
                </c:pt>
                <c:pt idx="22083">
                  <c:v>0</c:v>
                </c:pt>
                <c:pt idx="22084">
                  <c:v>0</c:v>
                </c:pt>
                <c:pt idx="22085">
                  <c:v>0</c:v>
                </c:pt>
                <c:pt idx="22086">
                  <c:v>0</c:v>
                </c:pt>
                <c:pt idx="22087">
                  <c:v>0</c:v>
                </c:pt>
                <c:pt idx="22088">
                  <c:v>0</c:v>
                </c:pt>
                <c:pt idx="22089">
                  <c:v>0</c:v>
                </c:pt>
                <c:pt idx="22090">
                  <c:v>0</c:v>
                </c:pt>
                <c:pt idx="22091">
                  <c:v>0</c:v>
                </c:pt>
                <c:pt idx="22092">
                  <c:v>0</c:v>
                </c:pt>
                <c:pt idx="22093">
                  <c:v>0</c:v>
                </c:pt>
                <c:pt idx="22094">
                  <c:v>0</c:v>
                </c:pt>
                <c:pt idx="22095">
                  <c:v>0</c:v>
                </c:pt>
                <c:pt idx="22096">
                  <c:v>0</c:v>
                </c:pt>
                <c:pt idx="22097">
                  <c:v>0</c:v>
                </c:pt>
                <c:pt idx="22098">
                  <c:v>0</c:v>
                </c:pt>
                <c:pt idx="22099">
                  <c:v>0</c:v>
                </c:pt>
                <c:pt idx="22100">
                  <c:v>0</c:v>
                </c:pt>
                <c:pt idx="22101">
                  <c:v>0</c:v>
                </c:pt>
                <c:pt idx="22102">
                  <c:v>0</c:v>
                </c:pt>
                <c:pt idx="22103">
                  <c:v>0</c:v>
                </c:pt>
                <c:pt idx="22104">
                  <c:v>0</c:v>
                </c:pt>
                <c:pt idx="22105">
                  <c:v>0</c:v>
                </c:pt>
                <c:pt idx="22106">
                  <c:v>0</c:v>
                </c:pt>
                <c:pt idx="22107">
                  <c:v>0</c:v>
                </c:pt>
                <c:pt idx="22108">
                  <c:v>0</c:v>
                </c:pt>
                <c:pt idx="22109">
                  <c:v>0</c:v>
                </c:pt>
                <c:pt idx="22110">
                  <c:v>0</c:v>
                </c:pt>
                <c:pt idx="22111">
                  <c:v>0</c:v>
                </c:pt>
                <c:pt idx="22112">
                  <c:v>0</c:v>
                </c:pt>
                <c:pt idx="22113">
                  <c:v>0</c:v>
                </c:pt>
                <c:pt idx="22114">
                  <c:v>0</c:v>
                </c:pt>
                <c:pt idx="22115">
                  <c:v>0</c:v>
                </c:pt>
                <c:pt idx="22116">
                  <c:v>0</c:v>
                </c:pt>
                <c:pt idx="22117">
                  <c:v>0</c:v>
                </c:pt>
                <c:pt idx="22118">
                  <c:v>0</c:v>
                </c:pt>
                <c:pt idx="22119">
                  <c:v>0</c:v>
                </c:pt>
                <c:pt idx="22120">
                  <c:v>0</c:v>
                </c:pt>
                <c:pt idx="22121">
                  <c:v>0</c:v>
                </c:pt>
                <c:pt idx="22122">
                  <c:v>0</c:v>
                </c:pt>
                <c:pt idx="22123">
                  <c:v>0</c:v>
                </c:pt>
                <c:pt idx="22124">
                  <c:v>0</c:v>
                </c:pt>
                <c:pt idx="22125">
                  <c:v>0</c:v>
                </c:pt>
                <c:pt idx="22126">
                  <c:v>0</c:v>
                </c:pt>
                <c:pt idx="22127">
                  <c:v>0</c:v>
                </c:pt>
                <c:pt idx="22128">
                  <c:v>0</c:v>
                </c:pt>
                <c:pt idx="22129">
                  <c:v>0</c:v>
                </c:pt>
                <c:pt idx="22130">
                  <c:v>0</c:v>
                </c:pt>
                <c:pt idx="22131">
                  <c:v>0</c:v>
                </c:pt>
                <c:pt idx="22132">
                  <c:v>0</c:v>
                </c:pt>
                <c:pt idx="22133">
                  <c:v>0</c:v>
                </c:pt>
                <c:pt idx="22134">
                  <c:v>0</c:v>
                </c:pt>
                <c:pt idx="22135">
                  <c:v>0</c:v>
                </c:pt>
                <c:pt idx="22136">
                  <c:v>0</c:v>
                </c:pt>
                <c:pt idx="22137">
                  <c:v>0</c:v>
                </c:pt>
                <c:pt idx="22138">
                  <c:v>0</c:v>
                </c:pt>
                <c:pt idx="22139">
                  <c:v>0</c:v>
                </c:pt>
                <c:pt idx="22140">
                  <c:v>0</c:v>
                </c:pt>
                <c:pt idx="22141">
                  <c:v>0</c:v>
                </c:pt>
                <c:pt idx="22142">
                  <c:v>0</c:v>
                </c:pt>
                <c:pt idx="22143">
                  <c:v>0</c:v>
                </c:pt>
                <c:pt idx="22144">
                  <c:v>0</c:v>
                </c:pt>
                <c:pt idx="22145">
                  <c:v>0</c:v>
                </c:pt>
                <c:pt idx="22146">
                  <c:v>1</c:v>
                </c:pt>
                <c:pt idx="22147">
                  <c:v>0</c:v>
                </c:pt>
                <c:pt idx="22148">
                  <c:v>0</c:v>
                </c:pt>
                <c:pt idx="22149">
                  <c:v>0</c:v>
                </c:pt>
                <c:pt idx="22150">
                  <c:v>0</c:v>
                </c:pt>
                <c:pt idx="22151">
                  <c:v>0</c:v>
                </c:pt>
                <c:pt idx="22152">
                  <c:v>0</c:v>
                </c:pt>
                <c:pt idx="22153">
                  <c:v>0</c:v>
                </c:pt>
                <c:pt idx="22154">
                  <c:v>0</c:v>
                </c:pt>
                <c:pt idx="22155">
                  <c:v>0</c:v>
                </c:pt>
                <c:pt idx="22156">
                  <c:v>0</c:v>
                </c:pt>
                <c:pt idx="22157">
                  <c:v>2</c:v>
                </c:pt>
                <c:pt idx="22158">
                  <c:v>0</c:v>
                </c:pt>
                <c:pt idx="22159">
                  <c:v>0</c:v>
                </c:pt>
                <c:pt idx="22160">
                  <c:v>2</c:v>
                </c:pt>
                <c:pt idx="22161">
                  <c:v>0</c:v>
                </c:pt>
                <c:pt idx="22162">
                  <c:v>0</c:v>
                </c:pt>
                <c:pt idx="22163">
                  <c:v>0</c:v>
                </c:pt>
                <c:pt idx="22164">
                  <c:v>0</c:v>
                </c:pt>
                <c:pt idx="22165">
                  <c:v>0</c:v>
                </c:pt>
                <c:pt idx="22166">
                  <c:v>0</c:v>
                </c:pt>
                <c:pt idx="22167">
                  <c:v>0</c:v>
                </c:pt>
                <c:pt idx="22168">
                  <c:v>0</c:v>
                </c:pt>
                <c:pt idx="22169">
                  <c:v>0</c:v>
                </c:pt>
                <c:pt idx="22170">
                  <c:v>0</c:v>
                </c:pt>
                <c:pt idx="22171">
                  <c:v>0</c:v>
                </c:pt>
                <c:pt idx="22172">
                  <c:v>0</c:v>
                </c:pt>
                <c:pt idx="22173">
                  <c:v>0</c:v>
                </c:pt>
                <c:pt idx="22174">
                  <c:v>0</c:v>
                </c:pt>
                <c:pt idx="22175">
                  <c:v>0</c:v>
                </c:pt>
                <c:pt idx="22176">
                  <c:v>0</c:v>
                </c:pt>
                <c:pt idx="22177">
                  <c:v>0</c:v>
                </c:pt>
                <c:pt idx="22178">
                  <c:v>0</c:v>
                </c:pt>
                <c:pt idx="22179">
                  <c:v>0</c:v>
                </c:pt>
                <c:pt idx="22180">
                  <c:v>0</c:v>
                </c:pt>
                <c:pt idx="22181">
                  <c:v>0</c:v>
                </c:pt>
                <c:pt idx="22182">
                  <c:v>0</c:v>
                </c:pt>
                <c:pt idx="22183">
                  <c:v>0</c:v>
                </c:pt>
                <c:pt idx="22184">
                  <c:v>0</c:v>
                </c:pt>
                <c:pt idx="22185">
                  <c:v>0</c:v>
                </c:pt>
                <c:pt idx="22186">
                  <c:v>0</c:v>
                </c:pt>
                <c:pt idx="22187">
                  <c:v>0</c:v>
                </c:pt>
                <c:pt idx="22188">
                  <c:v>0</c:v>
                </c:pt>
                <c:pt idx="22189">
                  <c:v>0</c:v>
                </c:pt>
                <c:pt idx="22190">
                  <c:v>3</c:v>
                </c:pt>
                <c:pt idx="22191">
                  <c:v>0</c:v>
                </c:pt>
                <c:pt idx="22192">
                  <c:v>0</c:v>
                </c:pt>
                <c:pt idx="22193">
                  <c:v>0</c:v>
                </c:pt>
                <c:pt idx="22194">
                  <c:v>0</c:v>
                </c:pt>
                <c:pt idx="22195">
                  <c:v>2</c:v>
                </c:pt>
                <c:pt idx="22196">
                  <c:v>0</c:v>
                </c:pt>
                <c:pt idx="22197">
                  <c:v>0</c:v>
                </c:pt>
                <c:pt idx="22198">
                  <c:v>0</c:v>
                </c:pt>
                <c:pt idx="22199">
                  <c:v>0</c:v>
                </c:pt>
                <c:pt idx="22200">
                  <c:v>0</c:v>
                </c:pt>
                <c:pt idx="22201">
                  <c:v>0</c:v>
                </c:pt>
                <c:pt idx="22202">
                  <c:v>0</c:v>
                </c:pt>
                <c:pt idx="22203">
                  <c:v>0</c:v>
                </c:pt>
                <c:pt idx="22204">
                  <c:v>0</c:v>
                </c:pt>
                <c:pt idx="22205">
                  <c:v>0</c:v>
                </c:pt>
                <c:pt idx="22206">
                  <c:v>0</c:v>
                </c:pt>
                <c:pt idx="22207">
                  <c:v>2</c:v>
                </c:pt>
                <c:pt idx="22208">
                  <c:v>0</c:v>
                </c:pt>
                <c:pt idx="22209">
                  <c:v>0</c:v>
                </c:pt>
                <c:pt idx="22210">
                  <c:v>0</c:v>
                </c:pt>
                <c:pt idx="22211">
                  <c:v>0</c:v>
                </c:pt>
                <c:pt idx="22212">
                  <c:v>0</c:v>
                </c:pt>
                <c:pt idx="22213">
                  <c:v>6</c:v>
                </c:pt>
                <c:pt idx="22214">
                  <c:v>4</c:v>
                </c:pt>
                <c:pt idx="22215">
                  <c:v>0</c:v>
                </c:pt>
                <c:pt idx="22216">
                  <c:v>0</c:v>
                </c:pt>
                <c:pt idx="22217">
                  <c:v>0</c:v>
                </c:pt>
                <c:pt idx="22218">
                  <c:v>0</c:v>
                </c:pt>
                <c:pt idx="22219">
                  <c:v>0</c:v>
                </c:pt>
                <c:pt idx="22220">
                  <c:v>0</c:v>
                </c:pt>
                <c:pt idx="22221">
                  <c:v>0</c:v>
                </c:pt>
                <c:pt idx="22222">
                  <c:v>0</c:v>
                </c:pt>
                <c:pt idx="22223">
                  <c:v>0</c:v>
                </c:pt>
                <c:pt idx="22224">
                  <c:v>0</c:v>
                </c:pt>
                <c:pt idx="22225">
                  <c:v>0</c:v>
                </c:pt>
                <c:pt idx="22226">
                  <c:v>0</c:v>
                </c:pt>
                <c:pt idx="22227">
                  <c:v>0</c:v>
                </c:pt>
                <c:pt idx="22228">
                  <c:v>0</c:v>
                </c:pt>
                <c:pt idx="22229">
                  <c:v>0</c:v>
                </c:pt>
                <c:pt idx="22230">
                  <c:v>0</c:v>
                </c:pt>
                <c:pt idx="22231">
                  <c:v>0</c:v>
                </c:pt>
                <c:pt idx="22232">
                  <c:v>0</c:v>
                </c:pt>
                <c:pt idx="22233">
                  <c:v>0</c:v>
                </c:pt>
                <c:pt idx="22234">
                  <c:v>0</c:v>
                </c:pt>
                <c:pt idx="22235">
                  <c:v>0</c:v>
                </c:pt>
                <c:pt idx="22236">
                  <c:v>0</c:v>
                </c:pt>
                <c:pt idx="22237">
                  <c:v>0</c:v>
                </c:pt>
                <c:pt idx="22238">
                  <c:v>0</c:v>
                </c:pt>
                <c:pt idx="22239">
                  <c:v>0</c:v>
                </c:pt>
                <c:pt idx="22240">
                  <c:v>2</c:v>
                </c:pt>
                <c:pt idx="22241">
                  <c:v>0</c:v>
                </c:pt>
                <c:pt idx="22242">
                  <c:v>0</c:v>
                </c:pt>
                <c:pt idx="22243">
                  <c:v>0</c:v>
                </c:pt>
                <c:pt idx="22244">
                  <c:v>0</c:v>
                </c:pt>
                <c:pt idx="22245">
                  <c:v>0</c:v>
                </c:pt>
                <c:pt idx="22246">
                  <c:v>0</c:v>
                </c:pt>
                <c:pt idx="22247">
                  <c:v>0</c:v>
                </c:pt>
                <c:pt idx="22248">
                  <c:v>0</c:v>
                </c:pt>
                <c:pt idx="22249">
                  <c:v>0</c:v>
                </c:pt>
                <c:pt idx="22250">
                  <c:v>0</c:v>
                </c:pt>
                <c:pt idx="22251">
                  <c:v>0</c:v>
                </c:pt>
                <c:pt idx="22252">
                  <c:v>0</c:v>
                </c:pt>
                <c:pt idx="22253">
                  <c:v>0</c:v>
                </c:pt>
                <c:pt idx="22254">
                  <c:v>0</c:v>
                </c:pt>
                <c:pt idx="22255">
                  <c:v>0</c:v>
                </c:pt>
                <c:pt idx="22256">
                  <c:v>0</c:v>
                </c:pt>
                <c:pt idx="22257">
                  <c:v>0</c:v>
                </c:pt>
                <c:pt idx="22258">
                  <c:v>0</c:v>
                </c:pt>
                <c:pt idx="22259">
                  <c:v>1</c:v>
                </c:pt>
                <c:pt idx="22260">
                  <c:v>4</c:v>
                </c:pt>
                <c:pt idx="22261">
                  <c:v>1</c:v>
                </c:pt>
                <c:pt idx="22262">
                  <c:v>0</c:v>
                </c:pt>
                <c:pt idx="22263">
                  <c:v>0</c:v>
                </c:pt>
                <c:pt idx="22264">
                  <c:v>0</c:v>
                </c:pt>
                <c:pt idx="22265">
                  <c:v>0</c:v>
                </c:pt>
                <c:pt idx="22266">
                  <c:v>0</c:v>
                </c:pt>
                <c:pt idx="22267">
                  <c:v>0</c:v>
                </c:pt>
                <c:pt idx="22268">
                  <c:v>0</c:v>
                </c:pt>
                <c:pt idx="22269">
                  <c:v>0</c:v>
                </c:pt>
                <c:pt idx="22270">
                  <c:v>0</c:v>
                </c:pt>
                <c:pt idx="22271">
                  <c:v>0</c:v>
                </c:pt>
                <c:pt idx="22272">
                  <c:v>0</c:v>
                </c:pt>
                <c:pt idx="22273">
                  <c:v>0</c:v>
                </c:pt>
                <c:pt idx="22274">
                  <c:v>0</c:v>
                </c:pt>
                <c:pt idx="22275">
                  <c:v>0</c:v>
                </c:pt>
                <c:pt idx="22276">
                  <c:v>0</c:v>
                </c:pt>
                <c:pt idx="22277">
                  <c:v>0</c:v>
                </c:pt>
                <c:pt idx="22278">
                  <c:v>0</c:v>
                </c:pt>
                <c:pt idx="22279">
                  <c:v>0</c:v>
                </c:pt>
                <c:pt idx="22280">
                  <c:v>0</c:v>
                </c:pt>
                <c:pt idx="22281">
                  <c:v>0</c:v>
                </c:pt>
                <c:pt idx="22282">
                  <c:v>0</c:v>
                </c:pt>
                <c:pt idx="22283">
                  <c:v>0</c:v>
                </c:pt>
                <c:pt idx="22284">
                  <c:v>3</c:v>
                </c:pt>
                <c:pt idx="22285">
                  <c:v>0</c:v>
                </c:pt>
                <c:pt idx="22286">
                  <c:v>0</c:v>
                </c:pt>
                <c:pt idx="22287">
                  <c:v>0</c:v>
                </c:pt>
                <c:pt idx="22288">
                  <c:v>0</c:v>
                </c:pt>
                <c:pt idx="22289">
                  <c:v>0</c:v>
                </c:pt>
                <c:pt idx="22290">
                  <c:v>0</c:v>
                </c:pt>
                <c:pt idx="22291">
                  <c:v>0</c:v>
                </c:pt>
                <c:pt idx="22292">
                  <c:v>0</c:v>
                </c:pt>
                <c:pt idx="22293">
                  <c:v>0</c:v>
                </c:pt>
                <c:pt idx="22294">
                  <c:v>0</c:v>
                </c:pt>
                <c:pt idx="22295">
                  <c:v>0</c:v>
                </c:pt>
                <c:pt idx="22296">
                  <c:v>0</c:v>
                </c:pt>
                <c:pt idx="22297">
                  <c:v>0</c:v>
                </c:pt>
                <c:pt idx="22298">
                  <c:v>4</c:v>
                </c:pt>
                <c:pt idx="22299">
                  <c:v>5</c:v>
                </c:pt>
                <c:pt idx="22300">
                  <c:v>1</c:v>
                </c:pt>
                <c:pt idx="22301">
                  <c:v>3</c:v>
                </c:pt>
                <c:pt idx="22302">
                  <c:v>0</c:v>
                </c:pt>
                <c:pt idx="22303">
                  <c:v>1</c:v>
                </c:pt>
                <c:pt idx="22304">
                  <c:v>0</c:v>
                </c:pt>
                <c:pt idx="22305">
                  <c:v>0</c:v>
                </c:pt>
                <c:pt idx="22306">
                  <c:v>3</c:v>
                </c:pt>
                <c:pt idx="22307">
                  <c:v>2</c:v>
                </c:pt>
                <c:pt idx="22308">
                  <c:v>4</c:v>
                </c:pt>
                <c:pt idx="22309">
                  <c:v>1</c:v>
                </c:pt>
                <c:pt idx="22310">
                  <c:v>0</c:v>
                </c:pt>
                <c:pt idx="22311">
                  <c:v>0</c:v>
                </c:pt>
                <c:pt idx="22312">
                  <c:v>0</c:v>
                </c:pt>
                <c:pt idx="22313">
                  <c:v>0</c:v>
                </c:pt>
                <c:pt idx="22314">
                  <c:v>0</c:v>
                </c:pt>
                <c:pt idx="22315">
                  <c:v>0</c:v>
                </c:pt>
                <c:pt idx="22316">
                  <c:v>0</c:v>
                </c:pt>
                <c:pt idx="22317">
                  <c:v>0</c:v>
                </c:pt>
                <c:pt idx="22318">
                  <c:v>0</c:v>
                </c:pt>
                <c:pt idx="22319">
                  <c:v>0</c:v>
                </c:pt>
                <c:pt idx="22320">
                  <c:v>0</c:v>
                </c:pt>
                <c:pt idx="22321">
                  <c:v>0</c:v>
                </c:pt>
                <c:pt idx="22322">
                  <c:v>0</c:v>
                </c:pt>
                <c:pt idx="22323">
                  <c:v>0</c:v>
                </c:pt>
                <c:pt idx="22324">
                  <c:v>0</c:v>
                </c:pt>
                <c:pt idx="22325">
                  <c:v>0</c:v>
                </c:pt>
                <c:pt idx="22326">
                  <c:v>0</c:v>
                </c:pt>
                <c:pt idx="22327">
                  <c:v>0</c:v>
                </c:pt>
                <c:pt idx="22328">
                  <c:v>0</c:v>
                </c:pt>
                <c:pt idx="22329">
                  <c:v>0</c:v>
                </c:pt>
                <c:pt idx="22330">
                  <c:v>0</c:v>
                </c:pt>
                <c:pt idx="22331">
                  <c:v>0</c:v>
                </c:pt>
                <c:pt idx="22332">
                  <c:v>0</c:v>
                </c:pt>
                <c:pt idx="22333">
                  <c:v>0</c:v>
                </c:pt>
                <c:pt idx="22334">
                  <c:v>0</c:v>
                </c:pt>
                <c:pt idx="22335">
                  <c:v>0</c:v>
                </c:pt>
                <c:pt idx="22336">
                  <c:v>0</c:v>
                </c:pt>
                <c:pt idx="22337">
                  <c:v>0</c:v>
                </c:pt>
                <c:pt idx="22338">
                  <c:v>0</c:v>
                </c:pt>
                <c:pt idx="22339">
                  <c:v>0</c:v>
                </c:pt>
                <c:pt idx="22340">
                  <c:v>0</c:v>
                </c:pt>
                <c:pt idx="22341">
                  <c:v>0</c:v>
                </c:pt>
                <c:pt idx="22342">
                  <c:v>0</c:v>
                </c:pt>
                <c:pt idx="22343">
                  <c:v>0</c:v>
                </c:pt>
                <c:pt idx="22344">
                  <c:v>0</c:v>
                </c:pt>
                <c:pt idx="22345">
                  <c:v>0</c:v>
                </c:pt>
                <c:pt idx="22346">
                  <c:v>0</c:v>
                </c:pt>
                <c:pt idx="22347">
                  <c:v>0</c:v>
                </c:pt>
                <c:pt idx="22348">
                  <c:v>5</c:v>
                </c:pt>
                <c:pt idx="22349">
                  <c:v>1</c:v>
                </c:pt>
                <c:pt idx="22350">
                  <c:v>0</c:v>
                </c:pt>
                <c:pt idx="22351">
                  <c:v>0</c:v>
                </c:pt>
                <c:pt idx="22352">
                  <c:v>0</c:v>
                </c:pt>
                <c:pt idx="22353">
                  <c:v>0</c:v>
                </c:pt>
                <c:pt idx="22354">
                  <c:v>0</c:v>
                </c:pt>
                <c:pt idx="22355">
                  <c:v>0</c:v>
                </c:pt>
                <c:pt idx="22356">
                  <c:v>0</c:v>
                </c:pt>
                <c:pt idx="22357">
                  <c:v>0</c:v>
                </c:pt>
                <c:pt idx="22358">
                  <c:v>0</c:v>
                </c:pt>
                <c:pt idx="22359">
                  <c:v>0</c:v>
                </c:pt>
                <c:pt idx="22360">
                  <c:v>0</c:v>
                </c:pt>
                <c:pt idx="22361">
                  <c:v>0</c:v>
                </c:pt>
                <c:pt idx="22362">
                  <c:v>0</c:v>
                </c:pt>
                <c:pt idx="22363">
                  <c:v>0</c:v>
                </c:pt>
                <c:pt idx="22364">
                  <c:v>0</c:v>
                </c:pt>
                <c:pt idx="22365">
                  <c:v>0</c:v>
                </c:pt>
                <c:pt idx="22366">
                  <c:v>0</c:v>
                </c:pt>
                <c:pt idx="22367">
                  <c:v>0</c:v>
                </c:pt>
                <c:pt idx="22368">
                  <c:v>0</c:v>
                </c:pt>
                <c:pt idx="22369">
                  <c:v>0</c:v>
                </c:pt>
                <c:pt idx="22370">
                  <c:v>0</c:v>
                </c:pt>
                <c:pt idx="22371">
                  <c:v>0</c:v>
                </c:pt>
                <c:pt idx="22372">
                  <c:v>0</c:v>
                </c:pt>
                <c:pt idx="22373">
                  <c:v>0</c:v>
                </c:pt>
                <c:pt idx="22374">
                  <c:v>0</c:v>
                </c:pt>
                <c:pt idx="22375">
                  <c:v>0</c:v>
                </c:pt>
                <c:pt idx="22376">
                  <c:v>0</c:v>
                </c:pt>
                <c:pt idx="22377">
                  <c:v>0</c:v>
                </c:pt>
                <c:pt idx="22378">
                  <c:v>0</c:v>
                </c:pt>
                <c:pt idx="22379">
                  <c:v>0</c:v>
                </c:pt>
                <c:pt idx="22380">
                  <c:v>0</c:v>
                </c:pt>
                <c:pt idx="22381">
                  <c:v>0</c:v>
                </c:pt>
                <c:pt idx="22382">
                  <c:v>0</c:v>
                </c:pt>
                <c:pt idx="22383">
                  <c:v>0</c:v>
                </c:pt>
                <c:pt idx="22384">
                  <c:v>0</c:v>
                </c:pt>
                <c:pt idx="22385">
                  <c:v>0</c:v>
                </c:pt>
                <c:pt idx="22386">
                  <c:v>0</c:v>
                </c:pt>
                <c:pt idx="22387">
                  <c:v>0</c:v>
                </c:pt>
                <c:pt idx="22388">
                  <c:v>0</c:v>
                </c:pt>
                <c:pt idx="22389">
                  <c:v>0</c:v>
                </c:pt>
                <c:pt idx="22390">
                  <c:v>0</c:v>
                </c:pt>
                <c:pt idx="22391">
                  <c:v>0</c:v>
                </c:pt>
                <c:pt idx="22392">
                  <c:v>0</c:v>
                </c:pt>
                <c:pt idx="22393">
                  <c:v>0</c:v>
                </c:pt>
                <c:pt idx="22394">
                  <c:v>0</c:v>
                </c:pt>
                <c:pt idx="22395">
                  <c:v>0</c:v>
                </c:pt>
                <c:pt idx="22396">
                  <c:v>0</c:v>
                </c:pt>
                <c:pt idx="22397">
                  <c:v>0</c:v>
                </c:pt>
                <c:pt idx="22398">
                  <c:v>0</c:v>
                </c:pt>
                <c:pt idx="22399">
                  <c:v>0</c:v>
                </c:pt>
                <c:pt idx="22400">
                  <c:v>0</c:v>
                </c:pt>
                <c:pt idx="22401">
                  <c:v>0</c:v>
                </c:pt>
                <c:pt idx="22402">
                  <c:v>0</c:v>
                </c:pt>
                <c:pt idx="22403">
                  <c:v>0</c:v>
                </c:pt>
                <c:pt idx="22404">
                  <c:v>0</c:v>
                </c:pt>
                <c:pt idx="22405">
                  <c:v>0</c:v>
                </c:pt>
                <c:pt idx="22406">
                  <c:v>0</c:v>
                </c:pt>
                <c:pt idx="22407">
                  <c:v>0</c:v>
                </c:pt>
                <c:pt idx="22408">
                  <c:v>0</c:v>
                </c:pt>
                <c:pt idx="22409">
                  <c:v>0</c:v>
                </c:pt>
                <c:pt idx="22410">
                  <c:v>0</c:v>
                </c:pt>
                <c:pt idx="22411">
                  <c:v>0</c:v>
                </c:pt>
                <c:pt idx="22412">
                  <c:v>0</c:v>
                </c:pt>
                <c:pt idx="22413">
                  <c:v>0</c:v>
                </c:pt>
                <c:pt idx="22414">
                  <c:v>0</c:v>
                </c:pt>
                <c:pt idx="22415">
                  <c:v>0</c:v>
                </c:pt>
                <c:pt idx="22416">
                  <c:v>0</c:v>
                </c:pt>
                <c:pt idx="22417">
                  <c:v>0</c:v>
                </c:pt>
                <c:pt idx="22418">
                  <c:v>0</c:v>
                </c:pt>
                <c:pt idx="22419">
                  <c:v>0</c:v>
                </c:pt>
                <c:pt idx="22420">
                  <c:v>0</c:v>
                </c:pt>
                <c:pt idx="22421">
                  <c:v>0</c:v>
                </c:pt>
                <c:pt idx="22422">
                  <c:v>0</c:v>
                </c:pt>
                <c:pt idx="22423">
                  <c:v>0</c:v>
                </c:pt>
                <c:pt idx="22424">
                  <c:v>0</c:v>
                </c:pt>
                <c:pt idx="22425">
                  <c:v>0</c:v>
                </c:pt>
                <c:pt idx="22426">
                  <c:v>0</c:v>
                </c:pt>
                <c:pt idx="22427">
                  <c:v>0</c:v>
                </c:pt>
                <c:pt idx="22428">
                  <c:v>0</c:v>
                </c:pt>
                <c:pt idx="22429">
                  <c:v>0</c:v>
                </c:pt>
                <c:pt idx="22430">
                  <c:v>0</c:v>
                </c:pt>
                <c:pt idx="22431">
                  <c:v>0</c:v>
                </c:pt>
                <c:pt idx="22432">
                  <c:v>0</c:v>
                </c:pt>
                <c:pt idx="22433">
                  <c:v>0</c:v>
                </c:pt>
                <c:pt idx="22434">
                  <c:v>0</c:v>
                </c:pt>
                <c:pt idx="22435">
                  <c:v>0</c:v>
                </c:pt>
                <c:pt idx="22436">
                  <c:v>0</c:v>
                </c:pt>
                <c:pt idx="22437">
                  <c:v>0</c:v>
                </c:pt>
                <c:pt idx="22438">
                  <c:v>0</c:v>
                </c:pt>
                <c:pt idx="22439">
                  <c:v>0</c:v>
                </c:pt>
                <c:pt idx="22440">
                  <c:v>0</c:v>
                </c:pt>
                <c:pt idx="22441">
                  <c:v>0</c:v>
                </c:pt>
                <c:pt idx="22442">
                  <c:v>0</c:v>
                </c:pt>
                <c:pt idx="22443">
                  <c:v>0</c:v>
                </c:pt>
                <c:pt idx="22444">
                  <c:v>0</c:v>
                </c:pt>
                <c:pt idx="22445">
                  <c:v>0</c:v>
                </c:pt>
                <c:pt idx="22446">
                  <c:v>0</c:v>
                </c:pt>
                <c:pt idx="22447">
                  <c:v>0</c:v>
                </c:pt>
                <c:pt idx="22448">
                  <c:v>0</c:v>
                </c:pt>
                <c:pt idx="22449">
                  <c:v>0</c:v>
                </c:pt>
                <c:pt idx="22450">
                  <c:v>0</c:v>
                </c:pt>
                <c:pt idx="22451">
                  <c:v>0</c:v>
                </c:pt>
                <c:pt idx="22452">
                  <c:v>0</c:v>
                </c:pt>
                <c:pt idx="22453">
                  <c:v>0</c:v>
                </c:pt>
                <c:pt idx="22454">
                  <c:v>0</c:v>
                </c:pt>
                <c:pt idx="22455">
                  <c:v>0</c:v>
                </c:pt>
                <c:pt idx="22456">
                  <c:v>0</c:v>
                </c:pt>
                <c:pt idx="22457">
                  <c:v>0</c:v>
                </c:pt>
                <c:pt idx="22458">
                  <c:v>1</c:v>
                </c:pt>
                <c:pt idx="22459">
                  <c:v>0</c:v>
                </c:pt>
                <c:pt idx="22460">
                  <c:v>0</c:v>
                </c:pt>
                <c:pt idx="22461">
                  <c:v>0</c:v>
                </c:pt>
                <c:pt idx="22462">
                  <c:v>0</c:v>
                </c:pt>
                <c:pt idx="22463">
                  <c:v>0</c:v>
                </c:pt>
                <c:pt idx="22464">
                  <c:v>0</c:v>
                </c:pt>
                <c:pt idx="22465">
                  <c:v>0</c:v>
                </c:pt>
                <c:pt idx="22466">
                  <c:v>0</c:v>
                </c:pt>
                <c:pt idx="22467">
                  <c:v>0</c:v>
                </c:pt>
                <c:pt idx="22468">
                  <c:v>0</c:v>
                </c:pt>
                <c:pt idx="22469">
                  <c:v>0</c:v>
                </c:pt>
                <c:pt idx="22470">
                  <c:v>0</c:v>
                </c:pt>
                <c:pt idx="22471">
                  <c:v>0</c:v>
                </c:pt>
                <c:pt idx="22472">
                  <c:v>0</c:v>
                </c:pt>
                <c:pt idx="22473">
                  <c:v>3</c:v>
                </c:pt>
                <c:pt idx="22474">
                  <c:v>0</c:v>
                </c:pt>
                <c:pt idx="22475">
                  <c:v>0</c:v>
                </c:pt>
                <c:pt idx="22476">
                  <c:v>0</c:v>
                </c:pt>
                <c:pt idx="22477">
                  <c:v>0</c:v>
                </c:pt>
                <c:pt idx="22478">
                  <c:v>0</c:v>
                </c:pt>
                <c:pt idx="22479">
                  <c:v>0</c:v>
                </c:pt>
                <c:pt idx="22480">
                  <c:v>0</c:v>
                </c:pt>
                <c:pt idx="22481">
                  <c:v>0</c:v>
                </c:pt>
                <c:pt idx="22482">
                  <c:v>0</c:v>
                </c:pt>
                <c:pt idx="22483">
                  <c:v>1</c:v>
                </c:pt>
                <c:pt idx="22484">
                  <c:v>0</c:v>
                </c:pt>
                <c:pt idx="22485">
                  <c:v>0</c:v>
                </c:pt>
                <c:pt idx="22486">
                  <c:v>0</c:v>
                </c:pt>
                <c:pt idx="22487">
                  <c:v>0</c:v>
                </c:pt>
                <c:pt idx="22488">
                  <c:v>0</c:v>
                </c:pt>
                <c:pt idx="22489">
                  <c:v>0</c:v>
                </c:pt>
                <c:pt idx="22490">
                  <c:v>0</c:v>
                </c:pt>
                <c:pt idx="22491">
                  <c:v>0</c:v>
                </c:pt>
                <c:pt idx="22492">
                  <c:v>0</c:v>
                </c:pt>
                <c:pt idx="22493">
                  <c:v>0</c:v>
                </c:pt>
                <c:pt idx="22494">
                  <c:v>3</c:v>
                </c:pt>
                <c:pt idx="22495">
                  <c:v>0</c:v>
                </c:pt>
                <c:pt idx="22496">
                  <c:v>2</c:v>
                </c:pt>
                <c:pt idx="22497">
                  <c:v>1</c:v>
                </c:pt>
                <c:pt idx="22498">
                  <c:v>0</c:v>
                </c:pt>
                <c:pt idx="22499">
                  <c:v>0</c:v>
                </c:pt>
                <c:pt idx="22500">
                  <c:v>0</c:v>
                </c:pt>
                <c:pt idx="22501">
                  <c:v>0</c:v>
                </c:pt>
                <c:pt idx="22502">
                  <c:v>0</c:v>
                </c:pt>
                <c:pt idx="22503">
                  <c:v>0</c:v>
                </c:pt>
                <c:pt idx="22504">
                  <c:v>1</c:v>
                </c:pt>
                <c:pt idx="22505">
                  <c:v>0</c:v>
                </c:pt>
                <c:pt idx="22506">
                  <c:v>0</c:v>
                </c:pt>
                <c:pt idx="22507">
                  <c:v>0</c:v>
                </c:pt>
                <c:pt idx="22508">
                  <c:v>0</c:v>
                </c:pt>
                <c:pt idx="22509">
                  <c:v>0</c:v>
                </c:pt>
                <c:pt idx="22510">
                  <c:v>0</c:v>
                </c:pt>
                <c:pt idx="22511">
                  <c:v>0</c:v>
                </c:pt>
                <c:pt idx="22512">
                  <c:v>0</c:v>
                </c:pt>
                <c:pt idx="22513">
                  <c:v>0</c:v>
                </c:pt>
                <c:pt idx="22514">
                  <c:v>0</c:v>
                </c:pt>
                <c:pt idx="22515">
                  <c:v>0</c:v>
                </c:pt>
                <c:pt idx="22516">
                  <c:v>0</c:v>
                </c:pt>
                <c:pt idx="22517">
                  <c:v>0</c:v>
                </c:pt>
                <c:pt idx="22518">
                  <c:v>0</c:v>
                </c:pt>
                <c:pt idx="22519">
                  <c:v>0</c:v>
                </c:pt>
                <c:pt idx="22520">
                  <c:v>0</c:v>
                </c:pt>
                <c:pt idx="22521">
                  <c:v>0</c:v>
                </c:pt>
                <c:pt idx="22522">
                  <c:v>0</c:v>
                </c:pt>
                <c:pt idx="22523">
                  <c:v>0</c:v>
                </c:pt>
                <c:pt idx="22524">
                  <c:v>0</c:v>
                </c:pt>
                <c:pt idx="22525">
                  <c:v>0</c:v>
                </c:pt>
                <c:pt idx="22526">
                  <c:v>0</c:v>
                </c:pt>
                <c:pt idx="22527">
                  <c:v>0</c:v>
                </c:pt>
                <c:pt idx="22528">
                  <c:v>0</c:v>
                </c:pt>
                <c:pt idx="22529">
                  <c:v>0</c:v>
                </c:pt>
                <c:pt idx="22530">
                  <c:v>3</c:v>
                </c:pt>
                <c:pt idx="22531">
                  <c:v>0</c:v>
                </c:pt>
                <c:pt idx="22532">
                  <c:v>0</c:v>
                </c:pt>
                <c:pt idx="22533">
                  <c:v>0</c:v>
                </c:pt>
                <c:pt idx="22534">
                  <c:v>0</c:v>
                </c:pt>
                <c:pt idx="22535">
                  <c:v>0</c:v>
                </c:pt>
                <c:pt idx="22536">
                  <c:v>0</c:v>
                </c:pt>
                <c:pt idx="22537">
                  <c:v>0</c:v>
                </c:pt>
                <c:pt idx="22538">
                  <c:v>0</c:v>
                </c:pt>
                <c:pt idx="22539">
                  <c:v>0</c:v>
                </c:pt>
                <c:pt idx="22540">
                  <c:v>0</c:v>
                </c:pt>
                <c:pt idx="22541">
                  <c:v>0</c:v>
                </c:pt>
                <c:pt idx="22542">
                  <c:v>0</c:v>
                </c:pt>
                <c:pt idx="22543">
                  <c:v>0</c:v>
                </c:pt>
                <c:pt idx="22544">
                  <c:v>0</c:v>
                </c:pt>
                <c:pt idx="22545">
                  <c:v>0</c:v>
                </c:pt>
                <c:pt idx="22546">
                  <c:v>0</c:v>
                </c:pt>
                <c:pt idx="22547">
                  <c:v>0</c:v>
                </c:pt>
                <c:pt idx="22548">
                  <c:v>0</c:v>
                </c:pt>
                <c:pt idx="22549">
                  <c:v>0</c:v>
                </c:pt>
                <c:pt idx="22550">
                  <c:v>0</c:v>
                </c:pt>
                <c:pt idx="22551">
                  <c:v>0</c:v>
                </c:pt>
                <c:pt idx="22552">
                  <c:v>0</c:v>
                </c:pt>
                <c:pt idx="22553">
                  <c:v>0</c:v>
                </c:pt>
                <c:pt idx="22554">
                  <c:v>0</c:v>
                </c:pt>
                <c:pt idx="22555">
                  <c:v>0</c:v>
                </c:pt>
                <c:pt idx="22556">
                  <c:v>1</c:v>
                </c:pt>
                <c:pt idx="22557">
                  <c:v>0</c:v>
                </c:pt>
                <c:pt idx="22558">
                  <c:v>0</c:v>
                </c:pt>
                <c:pt idx="22559">
                  <c:v>0</c:v>
                </c:pt>
                <c:pt idx="22560">
                  <c:v>1</c:v>
                </c:pt>
                <c:pt idx="22561">
                  <c:v>0</c:v>
                </c:pt>
                <c:pt idx="22562">
                  <c:v>0</c:v>
                </c:pt>
                <c:pt idx="22563">
                  <c:v>0</c:v>
                </c:pt>
                <c:pt idx="22564">
                  <c:v>0</c:v>
                </c:pt>
                <c:pt idx="22565">
                  <c:v>0</c:v>
                </c:pt>
                <c:pt idx="22566">
                  <c:v>0</c:v>
                </c:pt>
                <c:pt idx="22567">
                  <c:v>0</c:v>
                </c:pt>
                <c:pt idx="22568">
                  <c:v>0</c:v>
                </c:pt>
                <c:pt idx="22569">
                  <c:v>0</c:v>
                </c:pt>
                <c:pt idx="22570">
                  <c:v>10</c:v>
                </c:pt>
                <c:pt idx="22571">
                  <c:v>0</c:v>
                </c:pt>
                <c:pt idx="22572">
                  <c:v>0</c:v>
                </c:pt>
                <c:pt idx="22573">
                  <c:v>0</c:v>
                </c:pt>
                <c:pt idx="22574">
                  <c:v>0</c:v>
                </c:pt>
                <c:pt idx="22575">
                  <c:v>0</c:v>
                </c:pt>
                <c:pt idx="22576">
                  <c:v>1</c:v>
                </c:pt>
                <c:pt idx="22577">
                  <c:v>0</c:v>
                </c:pt>
                <c:pt idx="22578">
                  <c:v>0</c:v>
                </c:pt>
                <c:pt idx="22579">
                  <c:v>0</c:v>
                </c:pt>
                <c:pt idx="22580">
                  <c:v>0</c:v>
                </c:pt>
                <c:pt idx="22581">
                  <c:v>0</c:v>
                </c:pt>
                <c:pt idx="22582">
                  <c:v>0</c:v>
                </c:pt>
                <c:pt idx="22583">
                  <c:v>0</c:v>
                </c:pt>
                <c:pt idx="22584">
                  <c:v>0</c:v>
                </c:pt>
                <c:pt idx="22585">
                  <c:v>0</c:v>
                </c:pt>
                <c:pt idx="22586">
                  <c:v>5</c:v>
                </c:pt>
                <c:pt idx="22587">
                  <c:v>0</c:v>
                </c:pt>
                <c:pt idx="22588">
                  <c:v>0</c:v>
                </c:pt>
                <c:pt idx="22589">
                  <c:v>0</c:v>
                </c:pt>
                <c:pt idx="22590">
                  <c:v>0</c:v>
                </c:pt>
                <c:pt idx="22591">
                  <c:v>0</c:v>
                </c:pt>
                <c:pt idx="22592">
                  <c:v>0</c:v>
                </c:pt>
                <c:pt idx="22593">
                  <c:v>0</c:v>
                </c:pt>
                <c:pt idx="22594">
                  <c:v>0</c:v>
                </c:pt>
                <c:pt idx="22595">
                  <c:v>0</c:v>
                </c:pt>
                <c:pt idx="22596">
                  <c:v>0</c:v>
                </c:pt>
                <c:pt idx="22597">
                  <c:v>0</c:v>
                </c:pt>
                <c:pt idx="22598">
                  <c:v>0</c:v>
                </c:pt>
                <c:pt idx="22599">
                  <c:v>0</c:v>
                </c:pt>
                <c:pt idx="22600">
                  <c:v>0</c:v>
                </c:pt>
                <c:pt idx="22601">
                  <c:v>0</c:v>
                </c:pt>
                <c:pt idx="22602">
                  <c:v>0</c:v>
                </c:pt>
                <c:pt idx="22603">
                  <c:v>0</c:v>
                </c:pt>
                <c:pt idx="22604">
                  <c:v>0</c:v>
                </c:pt>
                <c:pt idx="22605">
                  <c:v>0</c:v>
                </c:pt>
                <c:pt idx="22606">
                  <c:v>0</c:v>
                </c:pt>
                <c:pt idx="22607">
                  <c:v>0</c:v>
                </c:pt>
                <c:pt idx="22608">
                  <c:v>0</c:v>
                </c:pt>
                <c:pt idx="22609">
                  <c:v>0</c:v>
                </c:pt>
                <c:pt idx="22610">
                  <c:v>1</c:v>
                </c:pt>
                <c:pt idx="22611">
                  <c:v>0</c:v>
                </c:pt>
                <c:pt idx="22612">
                  <c:v>0</c:v>
                </c:pt>
                <c:pt idx="22613">
                  <c:v>0</c:v>
                </c:pt>
                <c:pt idx="22614">
                  <c:v>0</c:v>
                </c:pt>
                <c:pt idx="22615">
                  <c:v>2</c:v>
                </c:pt>
                <c:pt idx="22616">
                  <c:v>3</c:v>
                </c:pt>
                <c:pt idx="22617">
                  <c:v>8</c:v>
                </c:pt>
                <c:pt idx="22618">
                  <c:v>0</c:v>
                </c:pt>
                <c:pt idx="22619">
                  <c:v>0</c:v>
                </c:pt>
                <c:pt idx="22620">
                  <c:v>0</c:v>
                </c:pt>
                <c:pt idx="22621">
                  <c:v>0</c:v>
                </c:pt>
                <c:pt idx="22622">
                  <c:v>0</c:v>
                </c:pt>
                <c:pt idx="22623">
                  <c:v>0</c:v>
                </c:pt>
                <c:pt idx="22624">
                  <c:v>0</c:v>
                </c:pt>
                <c:pt idx="22625">
                  <c:v>0</c:v>
                </c:pt>
                <c:pt idx="22626">
                  <c:v>0</c:v>
                </c:pt>
                <c:pt idx="22627">
                  <c:v>0</c:v>
                </c:pt>
                <c:pt idx="22628">
                  <c:v>0</c:v>
                </c:pt>
                <c:pt idx="22629">
                  <c:v>0</c:v>
                </c:pt>
                <c:pt idx="22630">
                  <c:v>0</c:v>
                </c:pt>
                <c:pt idx="22631">
                  <c:v>0</c:v>
                </c:pt>
                <c:pt idx="22632">
                  <c:v>0</c:v>
                </c:pt>
                <c:pt idx="22633">
                  <c:v>1</c:v>
                </c:pt>
                <c:pt idx="22634">
                  <c:v>0</c:v>
                </c:pt>
                <c:pt idx="22635">
                  <c:v>2</c:v>
                </c:pt>
                <c:pt idx="22636">
                  <c:v>0</c:v>
                </c:pt>
                <c:pt idx="22637">
                  <c:v>1</c:v>
                </c:pt>
                <c:pt idx="22638">
                  <c:v>0</c:v>
                </c:pt>
                <c:pt idx="22639">
                  <c:v>0</c:v>
                </c:pt>
                <c:pt idx="22640">
                  <c:v>1</c:v>
                </c:pt>
                <c:pt idx="22641">
                  <c:v>0</c:v>
                </c:pt>
                <c:pt idx="22642">
                  <c:v>0</c:v>
                </c:pt>
                <c:pt idx="22643">
                  <c:v>0</c:v>
                </c:pt>
                <c:pt idx="22644">
                  <c:v>3</c:v>
                </c:pt>
                <c:pt idx="22645">
                  <c:v>0</c:v>
                </c:pt>
                <c:pt idx="22646">
                  <c:v>3</c:v>
                </c:pt>
                <c:pt idx="22647">
                  <c:v>0</c:v>
                </c:pt>
                <c:pt idx="22648">
                  <c:v>1</c:v>
                </c:pt>
                <c:pt idx="22649">
                  <c:v>2</c:v>
                </c:pt>
                <c:pt idx="22650">
                  <c:v>0</c:v>
                </c:pt>
                <c:pt idx="22651">
                  <c:v>1</c:v>
                </c:pt>
                <c:pt idx="22652">
                  <c:v>0</c:v>
                </c:pt>
                <c:pt idx="22653">
                  <c:v>0</c:v>
                </c:pt>
                <c:pt idx="22654">
                  <c:v>0</c:v>
                </c:pt>
                <c:pt idx="22655">
                  <c:v>0</c:v>
                </c:pt>
                <c:pt idx="22656">
                  <c:v>0</c:v>
                </c:pt>
                <c:pt idx="22657">
                  <c:v>0</c:v>
                </c:pt>
                <c:pt idx="22658">
                  <c:v>0</c:v>
                </c:pt>
                <c:pt idx="22659">
                  <c:v>0</c:v>
                </c:pt>
                <c:pt idx="22660">
                  <c:v>0</c:v>
                </c:pt>
                <c:pt idx="22661">
                  <c:v>3</c:v>
                </c:pt>
                <c:pt idx="22662">
                  <c:v>0</c:v>
                </c:pt>
                <c:pt idx="22663">
                  <c:v>0</c:v>
                </c:pt>
                <c:pt idx="22664">
                  <c:v>0</c:v>
                </c:pt>
                <c:pt idx="22665">
                  <c:v>0</c:v>
                </c:pt>
                <c:pt idx="22666">
                  <c:v>1</c:v>
                </c:pt>
                <c:pt idx="22667">
                  <c:v>0</c:v>
                </c:pt>
                <c:pt idx="22668">
                  <c:v>0</c:v>
                </c:pt>
                <c:pt idx="22669">
                  <c:v>0</c:v>
                </c:pt>
                <c:pt idx="22670">
                  <c:v>2</c:v>
                </c:pt>
                <c:pt idx="22671">
                  <c:v>3</c:v>
                </c:pt>
                <c:pt idx="22672">
                  <c:v>0</c:v>
                </c:pt>
                <c:pt idx="22673">
                  <c:v>0</c:v>
                </c:pt>
                <c:pt idx="22674">
                  <c:v>0</c:v>
                </c:pt>
                <c:pt idx="22675">
                  <c:v>1</c:v>
                </c:pt>
                <c:pt idx="22676">
                  <c:v>0</c:v>
                </c:pt>
                <c:pt idx="22677">
                  <c:v>0</c:v>
                </c:pt>
                <c:pt idx="22678">
                  <c:v>1</c:v>
                </c:pt>
                <c:pt idx="22679">
                  <c:v>0</c:v>
                </c:pt>
                <c:pt idx="22680">
                  <c:v>0</c:v>
                </c:pt>
                <c:pt idx="22681">
                  <c:v>0</c:v>
                </c:pt>
                <c:pt idx="22682">
                  <c:v>0</c:v>
                </c:pt>
                <c:pt idx="22683">
                  <c:v>0</c:v>
                </c:pt>
                <c:pt idx="22684">
                  <c:v>0</c:v>
                </c:pt>
                <c:pt idx="22685">
                  <c:v>0</c:v>
                </c:pt>
                <c:pt idx="22686">
                  <c:v>0</c:v>
                </c:pt>
                <c:pt idx="22687">
                  <c:v>0</c:v>
                </c:pt>
                <c:pt idx="22688">
                  <c:v>0</c:v>
                </c:pt>
                <c:pt idx="22689">
                  <c:v>0</c:v>
                </c:pt>
                <c:pt idx="22690">
                  <c:v>0</c:v>
                </c:pt>
                <c:pt idx="22691">
                  <c:v>0</c:v>
                </c:pt>
                <c:pt idx="22692">
                  <c:v>0</c:v>
                </c:pt>
                <c:pt idx="22693">
                  <c:v>0</c:v>
                </c:pt>
                <c:pt idx="22694">
                  <c:v>0</c:v>
                </c:pt>
                <c:pt idx="22695">
                  <c:v>0</c:v>
                </c:pt>
                <c:pt idx="22696">
                  <c:v>0</c:v>
                </c:pt>
                <c:pt idx="22697">
                  <c:v>0</c:v>
                </c:pt>
                <c:pt idx="22698">
                  <c:v>0</c:v>
                </c:pt>
                <c:pt idx="22699">
                  <c:v>0</c:v>
                </c:pt>
                <c:pt idx="22700">
                  <c:v>0</c:v>
                </c:pt>
                <c:pt idx="22701">
                  <c:v>0</c:v>
                </c:pt>
                <c:pt idx="22702">
                  <c:v>0</c:v>
                </c:pt>
                <c:pt idx="22703">
                  <c:v>0</c:v>
                </c:pt>
                <c:pt idx="22704">
                  <c:v>0</c:v>
                </c:pt>
                <c:pt idx="22705">
                  <c:v>0</c:v>
                </c:pt>
                <c:pt idx="22706">
                  <c:v>0</c:v>
                </c:pt>
                <c:pt idx="22707">
                  <c:v>0</c:v>
                </c:pt>
                <c:pt idx="22708">
                  <c:v>3</c:v>
                </c:pt>
                <c:pt idx="22709">
                  <c:v>3</c:v>
                </c:pt>
                <c:pt idx="22710">
                  <c:v>0</c:v>
                </c:pt>
                <c:pt idx="22711">
                  <c:v>0</c:v>
                </c:pt>
                <c:pt idx="22712">
                  <c:v>0</c:v>
                </c:pt>
                <c:pt idx="22713">
                  <c:v>0</c:v>
                </c:pt>
                <c:pt idx="22714">
                  <c:v>0</c:v>
                </c:pt>
                <c:pt idx="22715">
                  <c:v>0</c:v>
                </c:pt>
                <c:pt idx="22716">
                  <c:v>0</c:v>
                </c:pt>
                <c:pt idx="22717">
                  <c:v>0</c:v>
                </c:pt>
                <c:pt idx="22718">
                  <c:v>0</c:v>
                </c:pt>
                <c:pt idx="22719">
                  <c:v>0</c:v>
                </c:pt>
                <c:pt idx="22720">
                  <c:v>0</c:v>
                </c:pt>
                <c:pt idx="22721">
                  <c:v>0</c:v>
                </c:pt>
                <c:pt idx="22722">
                  <c:v>0</c:v>
                </c:pt>
                <c:pt idx="22723">
                  <c:v>0</c:v>
                </c:pt>
                <c:pt idx="22724">
                  <c:v>0</c:v>
                </c:pt>
                <c:pt idx="22725">
                  <c:v>0</c:v>
                </c:pt>
                <c:pt idx="22726">
                  <c:v>0</c:v>
                </c:pt>
                <c:pt idx="22727">
                  <c:v>0</c:v>
                </c:pt>
                <c:pt idx="22728">
                  <c:v>0</c:v>
                </c:pt>
                <c:pt idx="22729">
                  <c:v>0</c:v>
                </c:pt>
                <c:pt idx="22730">
                  <c:v>0</c:v>
                </c:pt>
                <c:pt idx="22731">
                  <c:v>0</c:v>
                </c:pt>
                <c:pt idx="22732">
                  <c:v>0</c:v>
                </c:pt>
                <c:pt idx="22733">
                  <c:v>0</c:v>
                </c:pt>
                <c:pt idx="22734">
                  <c:v>0</c:v>
                </c:pt>
                <c:pt idx="22735">
                  <c:v>0</c:v>
                </c:pt>
                <c:pt idx="22736">
                  <c:v>0</c:v>
                </c:pt>
                <c:pt idx="22737">
                  <c:v>0</c:v>
                </c:pt>
                <c:pt idx="22738">
                  <c:v>0</c:v>
                </c:pt>
                <c:pt idx="22739">
                  <c:v>0</c:v>
                </c:pt>
                <c:pt idx="22740">
                  <c:v>0</c:v>
                </c:pt>
                <c:pt idx="22741">
                  <c:v>0</c:v>
                </c:pt>
                <c:pt idx="22742">
                  <c:v>0</c:v>
                </c:pt>
                <c:pt idx="22743">
                  <c:v>0</c:v>
                </c:pt>
                <c:pt idx="22744">
                  <c:v>0</c:v>
                </c:pt>
                <c:pt idx="22745">
                  <c:v>0</c:v>
                </c:pt>
                <c:pt idx="22746">
                  <c:v>0</c:v>
                </c:pt>
                <c:pt idx="22747">
                  <c:v>0</c:v>
                </c:pt>
                <c:pt idx="22748">
                  <c:v>0</c:v>
                </c:pt>
                <c:pt idx="22749">
                  <c:v>0</c:v>
                </c:pt>
                <c:pt idx="22750">
                  <c:v>0</c:v>
                </c:pt>
                <c:pt idx="22751">
                  <c:v>0</c:v>
                </c:pt>
                <c:pt idx="22752">
                  <c:v>0</c:v>
                </c:pt>
                <c:pt idx="22753">
                  <c:v>0</c:v>
                </c:pt>
                <c:pt idx="22754">
                  <c:v>0</c:v>
                </c:pt>
                <c:pt idx="22755">
                  <c:v>0</c:v>
                </c:pt>
                <c:pt idx="22756">
                  <c:v>0</c:v>
                </c:pt>
                <c:pt idx="22757">
                  <c:v>0</c:v>
                </c:pt>
                <c:pt idx="22758">
                  <c:v>0</c:v>
                </c:pt>
                <c:pt idx="22759">
                  <c:v>0</c:v>
                </c:pt>
                <c:pt idx="22760">
                  <c:v>0</c:v>
                </c:pt>
                <c:pt idx="22761">
                  <c:v>0</c:v>
                </c:pt>
                <c:pt idx="22762">
                  <c:v>0</c:v>
                </c:pt>
                <c:pt idx="22763">
                  <c:v>0</c:v>
                </c:pt>
                <c:pt idx="22764">
                  <c:v>0</c:v>
                </c:pt>
                <c:pt idx="22765">
                  <c:v>0</c:v>
                </c:pt>
                <c:pt idx="22766">
                  <c:v>0</c:v>
                </c:pt>
                <c:pt idx="22767">
                  <c:v>0</c:v>
                </c:pt>
                <c:pt idx="22768">
                  <c:v>0</c:v>
                </c:pt>
                <c:pt idx="22769">
                  <c:v>0</c:v>
                </c:pt>
                <c:pt idx="22770">
                  <c:v>0</c:v>
                </c:pt>
                <c:pt idx="22771">
                  <c:v>0</c:v>
                </c:pt>
                <c:pt idx="22772">
                  <c:v>0</c:v>
                </c:pt>
                <c:pt idx="22773">
                  <c:v>0</c:v>
                </c:pt>
                <c:pt idx="22774">
                  <c:v>0</c:v>
                </c:pt>
                <c:pt idx="22775">
                  <c:v>0</c:v>
                </c:pt>
                <c:pt idx="22776">
                  <c:v>0</c:v>
                </c:pt>
                <c:pt idx="22777">
                  <c:v>0</c:v>
                </c:pt>
                <c:pt idx="22778">
                  <c:v>1</c:v>
                </c:pt>
                <c:pt idx="22779">
                  <c:v>0</c:v>
                </c:pt>
                <c:pt idx="22780">
                  <c:v>0</c:v>
                </c:pt>
                <c:pt idx="22781">
                  <c:v>0</c:v>
                </c:pt>
                <c:pt idx="22782">
                  <c:v>0</c:v>
                </c:pt>
                <c:pt idx="22783">
                  <c:v>0</c:v>
                </c:pt>
                <c:pt idx="22784">
                  <c:v>0</c:v>
                </c:pt>
                <c:pt idx="22785">
                  <c:v>0</c:v>
                </c:pt>
                <c:pt idx="22786">
                  <c:v>0</c:v>
                </c:pt>
                <c:pt idx="22787">
                  <c:v>0</c:v>
                </c:pt>
                <c:pt idx="22788">
                  <c:v>0</c:v>
                </c:pt>
                <c:pt idx="22789">
                  <c:v>0</c:v>
                </c:pt>
                <c:pt idx="22790">
                  <c:v>0</c:v>
                </c:pt>
                <c:pt idx="22791">
                  <c:v>0</c:v>
                </c:pt>
                <c:pt idx="22792">
                  <c:v>0</c:v>
                </c:pt>
                <c:pt idx="22793">
                  <c:v>0</c:v>
                </c:pt>
                <c:pt idx="22794">
                  <c:v>0</c:v>
                </c:pt>
                <c:pt idx="22795">
                  <c:v>0</c:v>
                </c:pt>
                <c:pt idx="22796">
                  <c:v>0</c:v>
                </c:pt>
                <c:pt idx="22797">
                  <c:v>0</c:v>
                </c:pt>
                <c:pt idx="22798">
                  <c:v>0</c:v>
                </c:pt>
                <c:pt idx="22799">
                  <c:v>0</c:v>
                </c:pt>
                <c:pt idx="22800">
                  <c:v>0</c:v>
                </c:pt>
                <c:pt idx="22801">
                  <c:v>0</c:v>
                </c:pt>
                <c:pt idx="22802">
                  <c:v>0</c:v>
                </c:pt>
                <c:pt idx="22803">
                  <c:v>0</c:v>
                </c:pt>
                <c:pt idx="22804">
                  <c:v>0</c:v>
                </c:pt>
                <c:pt idx="22805">
                  <c:v>0</c:v>
                </c:pt>
                <c:pt idx="22806">
                  <c:v>0</c:v>
                </c:pt>
                <c:pt idx="22807">
                  <c:v>0</c:v>
                </c:pt>
                <c:pt idx="22808">
                  <c:v>0</c:v>
                </c:pt>
                <c:pt idx="22809">
                  <c:v>0</c:v>
                </c:pt>
                <c:pt idx="22810">
                  <c:v>0</c:v>
                </c:pt>
                <c:pt idx="22811">
                  <c:v>0</c:v>
                </c:pt>
                <c:pt idx="22812">
                  <c:v>0</c:v>
                </c:pt>
                <c:pt idx="22813">
                  <c:v>0</c:v>
                </c:pt>
                <c:pt idx="22814">
                  <c:v>0</c:v>
                </c:pt>
                <c:pt idx="22815">
                  <c:v>0</c:v>
                </c:pt>
                <c:pt idx="22816">
                  <c:v>0</c:v>
                </c:pt>
                <c:pt idx="22817">
                  <c:v>0</c:v>
                </c:pt>
                <c:pt idx="22818">
                  <c:v>0</c:v>
                </c:pt>
                <c:pt idx="22819">
                  <c:v>0</c:v>
                </c:pt>
                <c:pt idx="22820">
                  <c:v>0</c:v>
                </c:pt>
                <c:pt idx="22821">
                  <c:v>0</c:v>
                </c:pt>
                <c:pt idx="22822">
                  <c:v>0</c:v>
                </c:pt>
                <c:pt idx="22823">
                  <c:v>0</c:v>
                </c:pt>
                <c:pt idx="22824">
                  <c:v>0</c:v>
                </c:pt>
                <c:pt idx="22825">
                  <c:v>0</c:v>
                </c:pt>
                <c:pt idx="22826">
                  <c:v>0</c:v>
                </c:pt>
                <c:pt idx="22827">
                  <c:v>0</c:v>
                </c:pt>
                <c:pt idx="22828">
                  <c:v>0</c:v>
                </c:pt>
                <c:pt idx="22829">
                  <c:v>0</c:v>
                </c:pt>
                <c:pt idx="22830">
                  <c:v>0</c:v>
                </c:pt>
                <c:pt idx="22831">
                  <c:v>0</c:v>
                </c:pt>
                <c:pt idx="22832">
                  <c:v>0</c:v>
                </c:pt>
                <c:pt idx="22833">
                  <c:v>0</c:v>
                </c:pt>
                <c:pt idx="22834">
                  <c:v>0</c:v>
                </c:pt>
                <c:pt idx="22835">
                  <c:v>0</c:v>
                </c:pt>
                <c:pt idx="22836">
                  <c:v>0</c:v>
                </c:pt>
                <c:pt idx="22837">
                  <c:v>0</c:v>
                </c:pt>
                <c:pt idx="22838">
                  <c:v>0</c:v>
                </c:pt>
                <c:pt idx="22839">
                  <c:v>0</c:v>
                </c:pt>
                <c:pt idx="22840">
                  <c:v>0</c:v>
                </c:pt>
                <c:pt idx="22841">
                  <c:v>0</c:v>
                </c:pt>
                <c:pt idx="22842">
                  <c:v>0</c:v>
                </c:pt>
                <c:pt idx="22843">
                  <c:v>0</c:v>
                </c:pt>
                <c:pt idx="22844">
                  <c:v>0</c:v>
                </c:pt>
                <c:pt idx="22845">
                  <c:v>0</c:v>
                </c:pt>
                <c:pt idx="22846">
                  <c:v>0</c:v>
                </c:pt>
                <c:pt idx="22847">
                  <c:v>0</c:v>
                </c:pt>
                <c:pt idx="22848">
                  <c:v>0</c:v>
                </c:pt>
                <c:pt idx="22849">
                  <c:v>0</c:v>
                </c:pt>
                <c:pt idx="22850">
                  <c:v>0</c:v>
                </c:pt>
                <c:pt idx="22851">
                  <c:v>0</c:v>
                </c:pt>
                <c:pt idx="22852">
                  <c:v>0</c:v>
                </c:pt>
                <c:pt idx="22853">
                  <c:v>0</c:v>
                </c:pt>
                <c:pt idx="22854">
                  <c:v>0</c:v>
                </c:pt>
                <c:pt idx="22855">
                  <c:v>1</c:v>
                </c:pt>
                <c:pt idx="22856">
                  <c:v>0</c:v>
                </c:pt>
                <c:pt idx="22857">
                  <c:v>0</c:v>
                </c:pt>
                <c:pt idx="22858">
                  <c:v>1</c:v>
                </c:pt>
                <c:pt idx="22859">
                  <c:v>2</c:v>
                </c:pt>
                <c:pt idx="22860">
                  <c:v>0</c:v>
                </c:pt>
                <c:pt idx="22861">
                  <c:v>0</c:v>
                </c:pt>
                <c:pt idx="22862">
                  <c:v>0</c:v>
                </c:pt>
                <c:pt idx="22863">
                  <c:v>0</c:v>
                </c:pt>
                <c:pt idx="22864">
                  <c:v>1</c:v>
                </c:pt>
                <c:pt idx="22865">
                  <c:v>0</c:v>
                </c:pt>
                <c:pt idx="22866">
                  <c:v>1</c:v>
                </c:pt>
                <c:pt idx="22867">
                  <c:v>0</c:v>
                </c:pt>
                <c:pt idx="22868">
                  <c:v>0</c:v>
                </c:pt>
                <c:pt idx="22869">
                  <c:v>0</c:v>
                </c:pt>
                <c:pt idx="22870">
                  <c:v>0</c:v>
                </c:pt>
                <c:pt idx="22871">
                  <c:v>0</c:v>
                </c:pt>
                <c:pt idx="22872">
                  <c:v>0</c:v>
                </c:pt>
                <c:pt idx="22873">
                  <c:v>0</c:v>
                </c:pt>
                <c:pt idx="22874">
                  <c:v>0</c:v>
                </c:pt>
                <c:pt idx="22875">
                  <c:v>0</c:v>
                </c:pt>
                <c:pt idx="22876">
                  <c:v>0</c:v>
                </c:pt>
                <c:pt idx="22877">
                  <c:v>0</c:v>
                </c:pt>
                <c:pt idx="22878">
                  <c:v>0</c:v>
                </c:pt>
                <c:pt idx="22879">
                  <c:v>2</c:v>
                </c:pt>
                <c:pt idx="22880">
                  <c:v>0</c:v>
                </c:pt>
                <c:pt idx="22881">
                  <c:v>0</c:v>
                </c:pt>
                <c:pt idx="22882">
                  <c:v>0</c:v>
                </c:pt>
                <c:pt idx="22883">
                  <c:v>0</c:v>
                </c:pt>
                <c:pt idx="22884">
                  <c:v>0</c:v>
                </c:pt>
                <c:pt idx="22885">
                  <c:v>0</c:v>
                </c:pt>
                <c:pt idx="22886">
                  <c:v>0</c:v>
                </c:pt>
                <c:pt idx="22887">
                  <c:v>0</c:v>
                </c:pt>
                <c:pt idx="22888">
                  <c:v>0</c:v>
                </c:pt>
                <c:pt idx="22889">
                  <c:v>0</c:v>
                </c:pt>
                <c:pt idx="22890">
                  <c:v>0</c:v>
                </c:pt>
                <c:pt idx="22891">
                  <c:v>0</c:v>
                </c:pt>
                <c:pt idx="22892">
                  <c:v>0</c:v>
                </c:pt>
                <c:pt idx="22893">
                  <c:v>3</c:v>
                </c:pt>
                <c:pt idx="22894">
                  <c:v>0</c:v>
                </c:pt>
                <c:pt idx="22895">
                  <c:v>0</c:v>
                </c:pt>
                <c:pt idx="22896">
                  <c:v>0</c:v>
                </c:pt>
                <c:pt idx="22897">
                  <c:v>0</c:v>
                </c:pt>
                <c:pt idx="22898">
                  <c:v>0</c:v>
                </c:pt>
                <c:pt idx="22899">
                  <c:v>0</c:v>
                </c:pt>
                <c:pt idx="22900">
                  <c:v>1</c:v>
                </c:pt>
                <c:pt idx="22901">
                  <c:v>0</c:v>
                </c:pt>
                <c:pt idx="22902">
                  <c:v>0</c:v>
                </c:pt>
                <c:pt idx="22903">
                  <c:v>0</c:v>
                </c:pt>
                <c:pt idx="22904">
                  <c:v>0</c:v>
                </c:pt>
                <c:pt idx="22905">
                  <c:v>0</c:v>
                </c:pt>
                <c:pt idx="22906">
                  <c:v>1</c:v>
                </c:pt>
                <c:pt idx="22907">
                  <c:v>1</c:v>
                </c:pt>
                <c:pt idx="22908">
                  <c:v>0</c:v>
                </c:pt>
                <c:pt idx="22909">
                  <c:v>0</c:v>
                </c:pt>
                <c:pt idx="22910">
                  <c:v>0</c:v>
                </c:pt>
                <c:pt idx="22911">
                  <c:v>0</c:v>
                </c:pt>
                <c:pt idx="22912">
                  <c:v>0</c:v>
                </c:pt>
                <c:pt idx="22913">
                  <c:v>0</c:v>
                </c:pt>
                <c:pt idx="22914">
                  <c:v>0</c:v>
                </c:pt>
                <c:pt idx="22915">
                  <c:v>0</c:v>
                </c:pt>
                <c:pt idx="22916">
                  <c:v>2</c:v>
                </c:pt>
                <c:pt idx="22917">
                  <c:v>0</c:v>
                </c:pt>
                <c:pt idx="22918">
                  <c:v>0</c:v>
                </c:pt>
                <c:pt idx="22919">
                  <c:v>0</c:v>
                </c:pt>
                <c:pt idx="22920">
                  <c:v>0</c:v>
                </c:pt>
                <c:pt idx="22921">
                  <c:v>2</c:v>
                </c:pt>
                <c:pt idx="22922">
                  <c:v>1</c:v>
                </c:pt>
                <c:pt idx="22923">
                  <c:v>0</c:v>
                </c:pt>
                <c:pt idx="22924">
                  <c:v>0</c:v>
                </c:pt>
                <c:pt idx="22925">
                  <c:v>0</c:v>
                </c:pt>
                <c:pt idx="22926">
                  <c:v>0</c:v>
                </c:pt>
                <c:pt idx="22927">
                  <c:v>0</c:v>
                </c:pt>
                <c:pt idx="22928">
                  <c:v>0</c:v>
                </c:pt>
                <c:pt idx="22929">
                  <c:v>0</c:v>
                </c:pt>
                <c:pt idx="22930">
                  <c:v>1</c:v>
                </c:pt>
                <c:pt idx="22931">
                  <c:v>0</c:v>
                </c:pt>
                <c:pt idx="22932">
                  <c:v>0</c:v>
                </c:pt>
                <c:pt idx="22933">
                  <c:v>2</c:v>
                </c:pt>
                <c:pt idx="22934">
                  <c:v>5</c:v>
                </c:pt>
                <c:pt idx="22935">
                  <c:v>0</c:v>
                </c:pt>
                <c:pt idx="22936">
                  <c:v>3</c:v>
                </c:pt>
                <c:pt idx="22937">
                  <c:v>1</c:v>
                </c:pt>
                <c:pt idx="22938">
                  <c:v>2</c:v>
                </c:pt>
                <c:pt idx="22939">
                  <c:v>0</c:v>
                </c:pt>
                <c:pt idx="22940">
                  <c:v>0</c:v>
                </c:pt>
                <c:pt idx="22941">
                  <c:v>0</c:v>
                </c:pt>
                <c:pt idx="22942">
                  <c:v>0</c:v>
                </c:pt>
                <c:pt idx="22943">
                  <c:v>0</c:v>
                </c:pt>
                <c:pt idx="22944">
                  <c:v>0</c:v>
                </c:pt>
                <c:pt idx="22945">
                  <c:v>0</c:v>
                </c:pt>
                <c:pt idx="22946">
                  <c:v>0</c:v>
                </c:pt>
                <c:pt idx="22947">
                  <c:v>0</c:v>
                </c:pt>
                <c:pt idx="22948">
                  <c:v>0</c:v>
                </c:pt>
                <c:pt idx="22949">
                  <c:v>0</c:v>
                </c:pt>
                <c:pt idx="22950">
                  <c:v>0</c:v>
                </c:pt>
                <c:pt idx="22951">
                  <c:v>0</c:v>
                </c:pt>
                <c:pt idx="22952">
                  <c:v>0</c:v>
                </c:pt>
                <c:pt idx="22953">
                  <c:v>0</c:v>
                </c:pt>
                <c:pt idx="22954">
                  <c:v>0</c:v>
                </c:pt>
                <c:pt idx="22955">
                  <c:v>0</c:v>
                </c:pt>
                <c:pt idx="22956">
                  <c:v>0</c:v>
                </c:pt>
                <c:pt idx="22957">
                  <c:v>0</c:v>
                </c:pt>
                <c:pt idx="22958">
                  <c:v>0</c:v>
                </c:pt>
                <c:pt idx="22959">
                  <c:v>0</c:v>
                </c:pt>
                <c:pt idx="22960">
                  <c:v>0</c:v>
                </c:pt>
                <c:pt idx="22961">
                  <c:v>0</c:v>
                </c:pt>
                <c:pt idx="22962">
                  <c:v>0</c:v>
                </c:pt>
                <c:pt idx="22963">
                  <c:v>0</c:v>
                </c:pt>
                <c:pt idx="22964">
                  <c:v>0</c:v>
                </c:pt>
                <c:pt idx="22965">
                  <c:v>0</c:v>
                </c:pt>
                <c:pt idx="22966">
                  <c:v>0</c:v>
                </c:pt>
                <c:pt idx="22967">
                  <c:v>0</c:v>
                </c:pt>
                <c:pt idx="22968">
                  <c:v>0</c:v>
                </c:pt>
                <c:pt idx="22969">
                  <c:v>0</c:v>
                </c:pt>
                <c:pt idx="22970">
                  <c:v>1</c:v>
                </c:pt>
                <c:pt idx="22971">
                  <c:v>0</c:v>
                </c:pt>
                <c:pt idx="22972">
                  <c:v>0</c:v>
                </c:pt>
                <c:pt idx="22973">
                  <c:v>0</c:v>
                </c:pt>
                <c:pt idx="22974">
                  <c:v>0</c:v>
                </c:pt>
                <c:pt idx="22975">
                  <c:v>0</c:v>
                </c:pt>
                <c:pt idx="22976">
                  <c:v>0</c:v>
                </c:pt>
                <c:pt idx="22977">
                  <c:v>0</c:v>
                </c:pt>
                <c:pt idx="22978">
                  <c:v>0</c:v>
                </c:pt>
                <c:pt idx="22979">
                  <c:v>0</c:v>
                </c:pt>
                <c:pt idx="22980">
                  <c:v>0</c:v>
                </c:pt>
                <c:pt idx="22981">
                  <c:v>0</c:v>
                </c:pt>
                <c:pt idx="22982">
                  <c:v>0</c:v>
                </c:pt>
                <c:pt idx="22983">
                  <c:v>0</c:v>
                </c:pt>
                <c:pt idx="22984">
                  <c:v>0</c:v>
                </c:pt>
                <c:pt idx="22985">
                  <c:v>0</c:v>
                </c:pt>
                <c:pt idx="22986">
                  <c:v>0</c:v>
                </c:pt>
                <c:pt idx="22987">
                  <c:v>0</c:v>
                </c:pt>
                <c:pt idx="22988">
                  <c:v>0</c:v>
                </c:pt>
                <c:pt idx="22989">
                  <c:v>0</c:v>
                </c:pt>
                <c:pt idx="22990">
                  <c:v>0</c:v>
                </c:pt>
                <c:pt idx="22991">
                  <c:v>0</c:v>
                </c:pt>
                <c:pt idx="22992">
                  <c:v>0</c:v>
                </c:pt>
                <c:pt idx="22993">
                  <c:v>0</c:v>
                </c:pt>
                <c:pt idx="22994">
                  <c:v>0</c:v>
                </c:pt>
                <c:pt idx="22995">
                  <c:v>0</c:v>
                </c:pt>
                <c:pt idx="22996">
                  <c:v>0</c:v>
                </c:pt>
                <c:pt idx="22997">
                  <c:v>0</c:v>
                </c:pt>
                <c:pt idx="22998">
                  <c:v>0</c:v>
                </c:pt>
                <c:pt idx="22999">
                  <c:v>0</c:v>
                </c:pt>
                <c:pt idx="23000">
                  <c:v>0</c:v>
                </c:pt>
                <c:pt idx="23001">
                  <c:v>0</c:v>
                </c:pt>
                <c:pt idx="23002">
                  <c:v>0</c:v>
                </c:pt>
                <c:pt idx="23003">
                  <c:v>0</c:v>
                </c:pt>
                <c:pt idx="23004">
                  <c:v>1</c:v>
                </c:pt>
                <c:pt idx="23005">
                  <c:v>0</c:v>
                </c:pt>
                <c:pt idx="23006">
                  <c:v>0</c:v>
                </c:pt>
                <c:pt idx="23007">
                  <c:v>0</c:v>
                </c:pt>
                <c:pt idx="23008">
                  <c:v>0</c:v>
                </c:pt>
                <c:pt idx="23009">
                  <c:v>0</c:v>
                </c:pt>
                <c:pt idx="23010">
                  <c:v>0</c:v>
                </c:pt>
                <c:pt idx="23011">
                  <c:v>0</c:v>
                </c:pt>
                <c:pt idx="23012">
                  <c:v>0</c:v>
                </c:pt>
                <c:pt idx="23013">
                  <c:v>0</c:v>
                </c:pt>
                <c:pt idx="23014">
                  <c:v>0</c:v>
                </c:pt>
                <c:pt idx="23015">
                  <c:v>0</c:v>
                </c:pt>
                <c:pt idx="23016">
                  <c:v>0</c:v>
                </c:pt>
                <c:pt idx="23017">
                  <c:v>0</c:v>
                </c:pt>
                <c:pt idx="23018">
                  <c:v>0</c:v>
                </c:pt>
                <c:pt idx="23019">
                  <c:v>0</c:v>
                </c:pt>
                <c:pt idx="23020">
                  <c:v>0</c:v>
                </c:pt>
                <c:pt idx="23021">
                  <c:v>0</c:v>
                </c:pt>
                <c:pt idx="23022">
                  <c:v>0</c:v>
                </c:pt>
                <c:pt idx="23023">
                  <c:v>0</c:v>
                </c:pt>
                <c:pt idx="23024">
                  <c:v>0</c:v>
                </c:pt>
                <c:pt idx="23025">
                  <c:v>0</c:v>
                </c:pt>
                <c:pt idx="23026">
                  <c:v>0</c:v>
                </c:pt>
                <c:pt idx="23027">
                  <c:v>0</c:v>
                </c:pt>
                <c:pt idx="23028">
                  <c:v>0</c:v>
                </c:pt>
                <c:pt idx="23029">
                  <c:v>0</c:v>
                </c:pt>
                <c:pt idx="23030">
                  <c:v>0</c:v>
                </c:pt>
                <c:pt idx="23031">
                  <c:v>0</c:v>
                </c:pt>
                <c:pt idx="23032">
                  <c:v>0</c:v>
                </c:pt>
                <c:pt idx="23033">
                  <c:v>0</c:v>
                </c:pt>
                <c:pt idx="23034">
                  <c:v>0</c:v>
                </c:pt>
                <c:pt idx="23035">
                  <c:v>0</c:v>
                </c:pt>
                <c:pt idx="23036">
                  <c:v>0</c:v>
                </c:pt>
                <c:pt idx="23037">
                  <c:v>0</c:v>
                </c:pt>
                <c:pt idx="23038">
                  <c:v>0</c:v>
                </c:pt>
                <c:pt idx="23039">
                  <c:v>0</c:v>
                </c:pt>
                <c:pt idx="23040">
                  <c:v>0</c:v>
                </c:pt>
                <c:pt idx="23041">
                  <c:v>0</c:v>
                </c:pt>
                <c:pt idx="23042">
                  <c:v>0</c:v>
                </c:pt>
                <c:pt idx="23043">
                  <c:v>0</c:v>
                </c:pt>
                <c:pt idx="23044">
                  <c:v>0</c:v>
                </c:pt>
                <c:pt idx="23045">
                  <c:v>0</c:v>
                </c:pt>
                <c:pt idx="23046">
                  <c:v>0</c:v>
                </c:pt>
                <c:pt idx="23047">
                  <c:v>0</c:v>
                </c:pt>
                <c:pt idx="23048">
                  <c:v>0</c:v>
                </c:pt>
                <c:pt idx="23049">
                  <c:v>1</c:v>
                </c:pt>
                <c:pt idx="23050">
                  <c:v>1</c:v>
                </c:pt>
                <c:pt idx="23051">
                  <c:v>0</c:v>
                </c:pt>
                <c:pt idx="23052">
                  <c:v>0</c:v>
                </c:pt>
                <c:pt idx="23053">
                  <c:v>0</c:v>
                </c:pt>
                <c:pt idx="23054">
                  <c:v>0</c:v>
                </c:pt>
                <c:pt idx="23055">
                  <c:v>0</c:v>
                </c:pt>
                <c:pt idx="23056">
                  <c:v>0</c:v>
                </c:pt>
                <c:pt idx="23057">
                  <c:v>0</c:v>
                </c:pt>
                <c:pt idx="23058">
                  <c:v>0</c:v>
                </c:pt>
                <c:pt idx="23059">
                  <c:v>0</c:v>
                </c:pt>
                <c:pt idx="23060">
                  <c:v>0</c:v>
                </c:pt>
                <c:pt idx="23061">
                  <c:v>0</c:v>
                </c:pt>
                <c:pt idx="23062">
                  <c:v>0</c:v>
                </c:pt>
                <c:pt idx="23063">
                  <c:v>0</c:v>
                </c:pt>
                <c:pt idx="23064">
                  <c:v>0</c:v>
                </c:pt>
                <c:pt idx="23065">
                  <c:v>0</c:v>
                </c:pt>
                <c:pt idx="23066">
                  <c:v>0</c:v>
                </c:pt>
                <c:pt idx="23067">
                  <c:v>0</c:v>
                </c:pt>
                <c:pt idx="23068">
                  <c:v>0</c:v>
                </c:pt>
                <c:pt idx="23069">
                  <c:v>0</c:v>
                </c:pt>
                <c:pt idx="23070">
                  <c:v>0</c:v>
                </c:pt>
                <c:pt idx="23071">
                  <c:v>0</c:v>
                </c:pt>
                <c:pt idx="23072">
                  <c:v>0</c:v>
                </c:pt>
                <c:pt idx="23073">
                  <c:v>0</c:v>
                </c:pt>
                <c:pt idx="23074">
                  <c:v>0</c:v>
                </c:pt>
                <c:pt idx="23075">
                  <c:v>0</c:v>
                </c:pt>
                <c:pt idx="23076">
                  <c:v>0</c:v>
                </c:pt>
                <c:pt idx="23077">
                  <c:v>0</c:v>
                </c:pt>
                <c:pt idx="23078">
                  <c:v>0</c:v>
                </c:pt>
                <c:pt idx="23079">
                  <c:v>0</c:v>
                </c:pt>
                <c:pt idx="23080">
                  <c:v>0</c:v>
                </c:pt>
                <c:pt idx="23081">
                  <c:v>0</c:v>
                </c:pt>
                <c:pt idx="23082">
                  <c:v>0</c:v>
                </c:pt>
                <c:pt idx="23083">
                  <c:v>0</c:v>
                </c:pt>
                <c:pt idx="23084">
                  <c:v>0</c:v>
                </c:pt>
                <c:pt idx="23085">
                  <c:v>0</c:v>
                </c:pt>
                <c:pt idx="23086">
                  <c:v>0</c:v>
                </c:pt>
                <c:pt idx="23087">
                  <c:v>0</c:v>
                </c:pt>
                <c:pt idx="23088">
                  <c:v>0</c:v>
                </c:pt>
                <c:pt idx="23089">
                  <c:v>0</c:v>
                </c:pt>
                <c:pt idx="23090">
                  <c:v>0</c:v>
                </c:pt>
                <c:pt idx="23091">
                  <c:v>0</c:v>
                </c:pt>
                <c:pt idx="23092">
                  <c:v>0</c:v>
                </c:pt>
                <c:pt idx="23093">
                  <c:v>0</c:v>
                </c:pt>
                <c:pt idx="23094">
                  <c:v>1</c:v>
                </c:pt>
                <c:pt idx="23095">
                  <c:v>1</c:v>
                </c:pt>
                <c:pt idx="23096">
                  <c:v>0</c:v>
                </c:pt>
                <c:pt idx="23097">
                  <c:v>0</c:v>
                </c:pt>
                <c:pt idx="23098">
                  <c:v>0</c:v>
                </c:pt>
                <c:pt idx="23099">
                  <c:v>0</c:v>
                </c:pt>
                <c:pt idx="23100">
                  <c:v>0</c:v>
                </c:pt>
                <c:pt idx="23101">
                  <c:v>0</c:v>
                </c:pt>
                <c:pt idx="23102">
                  <c:v>0</c:v>
                </c:pt>
                <c:pt idx="23103">
                  <c:v>0</c:v>
                </c:pt>
                <c:pt idx="23104">
                  <c:v>0</c:v>
                </c:pt>
                <c:pt idx="23105">
                  <c:v>0</c:v>
                </c:pt>
                <c:pt idx="23106">
                  <c:v>0</c:v>
                </c:pt>
                <c:pt idx="23107">
                  <c:v>0</c:v>
                </c:pt>
                <c:pt idx="23108">
                  <c:v>0</c:v>
                </c:pt>
                <c:pt idx="23109">
                  <c:v>0</c:v>
                </c:pt>
                <c:pt idx="23110">
                  <c:v>0</c:v>
                </c:pt>
                <c:pt idx="23111">
                  <c:v>0</c:v>
                </c:pt>
                <c:pt idx="23112">
                  <c:v>0</c:v>
                </c:pt>
                <c:pt idx="23113">
                  <c:v>0</c:v>
                </c:pt>
                <c:pt idx="23114">
                  <c:v>0</c:v>
                </c:pt>
                <c:pt idx="23115">
                  <c:v>0</c:v>
                </c:pt>
                <c:pt idx="23116">
                  <c:v>0</c:v>
                </c:pt>
                <c:pt idx="23117">
                  <c:v>0</c:v>
                </c:pt>
                <c:pt idx="23118">
                  <c:v>0</c:v>
                </c:pt>
                <c:pt idx="23119">
                  <c:v>0</c:v>
                </c:pt>
                <c:pt idx="23120">
                  <c:v>0</c:v>
                </c:pt>
                <c:pt idx="23121">
                  <c:v>0</c:v>
                </c:pt>
                <c:pt idx="23122">
                  <c:v>0</c:v>
                </c:pt>
                <c:pt idx="23123">
                  <c:v>0</c:v>
                </c:pt>
                <c:pt idx="23124">
                  <c:v>0</c:v>
                </c:pt>
                <c:pt idx="23125">
                  <c:v>0</c:v>
                </c:pt>
                <c:pt idx="23126">
                  <c:v>0</c:v>
                </c:pt>
                <c:pt idx="23127">
                  <c:v>0</c:v>
                </c:pt>
                <c:pt idx="23128">
                  <c:v>0</c:v>
                </c:pt>
                <c:pt idx="23129">
                  <c:v>0</c:v>
                </c:pt>
                <c:pt idx="23130">
                  <c:v>0</c:v>
                </c:pt>
                <c:pt idx="23131">
                  <c:v>0</c:v>
                </c:pt>
                <c:pt idx="23132">
                  <c:v>0</c:v>
                </c:pt>
                <c:pt idx="23133">
                  <c:v>0</c:v>
                </c:pt>
                <c:pt idx="23134">
                  <c:v>0</c:v>
                </c:pt>
                <c:pt idx="23135">
                  <c:v>0</c:v>
                </c:pt>
                <c:pt idx="23136">
                  <c:v>0</c:v>
                </c:pt>
                <c:pt idx="23137">
                  <c:v>0</c:v>
                </c:pt>
                <c:pt idx="23138">
                  <c:v>0</c:v>
                </c:pt>
                <c:pt idx="23139">
                  <c:v>0</c:v>
                </c:pt>
                <c:pt idx="23140">
                  <c:v>0</c:v>
                </c:pt>
                <c:pt idx="23141">
                  <c:v>0</c:v>
                </c:pt>
                <c:pt idx="23142">
                  <c:v>0</c:v>
                </c:pt>
                <c:pt idx="23143">
                  <c:v>0</c:v>
                </c:pt>
                <c:pt idx="23144">
                  <c:v>0</c:v>
                </c:pt>
                <c:pt idx="23145">
                  <c:v>0</c:v>
                </c:pt>
                <c:pt idx="23146">
                  <c:v>0</c:v>
                </c:pt>
                <c:pt idx="23147">
                  <c:v>0</c:v>
                </c:pt>
                <c:pt idx="23148">
                  <c:v>0</c:v>
                </c:pt>
                <c:pt idx="23149">
                  <c:v>0</c:v>
                </c:pt>
                <c:pt idx="23150">
                  <c:v>0</c:v>
                </c:pt>
                <c:pt idx="23151">
                  <c:v>0</c:v>
                </c:pt>
                <c:pt idx="23152">
                  <c:v>0</c:v>
                </c:pt>
                <c:pt idx="23153">
                  <c:v>0</c:v>
                </c:pt>
                <c:pt idx="23154">
                  <c:v>0</c:v>
                </c:pt>
                <c:pt idx="23155">
                  <c:v>0</c:v>
                </c:pt>
                <c:pt idx="23156">
                  <c:v>0</c:v>
                </c:pt>
                <c:pt idx="23157">
                  <c:v>0</c:v>
                </c:pt>
                <c:pt idx="23158">
                  <c:v>0</c:v>
                </c:pt>
                <c:pt idx="23159">
                  <c:v>0</c:v>
                </c:pt>
                <c:pt idx="23160">
                  <c:v>0</c:v>
                </c:pt>
                <c:pt idx="23161">
                  <c:v>0</c:v>
                </c:pt>
                <c:pt idx="23162">
                  <c:v>0</c:v>
                </c:pt>
                <c:pt idx="23163">
                  <c:v>0</c:v>
                </c:pt>
                <c:pt idx="23164">
                  <c:v>0</c:v>
                </c:pt>
                <c:pt idx="23165">
                  <c:v>0</c:v>
                </c:pt>
                <c:pt idx="23166">
                  <c:v>0</c:v>
                </c:pt>
                <c:pt idx="23167">
                  <c:v>0</c:v>
                </c:pt>
                <c:pt idx="23168">
                  <c:v>0</c:v>
                </c:pt>
                <c:pt idx="23169">
                  <c:v>0</c:v>
                </c:pt>
                <c:pt idx="23170">
                  <c:v>2</c:v>
                </c:pt>
                <c:pt idx="23171">
                  <c:v>5</c:v>
                </c:pt>
                <c:pt idx="23172">
                  <c:v>1</c:v>
                </c:pt>
                <c:pt idx="23173">
                  <c:v>4</c:v>
                </c:pt>
                <c:pt idx="23174">
                  <c:v>0</c:v>
                </c:pt>
                <c:pt idx="23175">
                  <c:v>3</c:v>
                </c:pt>
                <c:pt idx="23176">
                  <c:v>7</c:v>
                </c:pt>
                <c:pt idx="23177">
                  <c:v>3</c:v>
                </c:pt>
                <c:pt idx="23178">
                  <c:v>1</c:v>
                </c:pt>
                <c:pt idx="23179">
                  <c:v>1</c:v>
                </c:pt>
                <c:pt idx="23180">
                  <c:v>1</c:v>
                </c:pt>
                <c:pt idx="23181">
                  <c:v>5</c:v>
                </c:pt>
                <c:pt idx="23182">
                  <c:v>14</c:v>
                </c:pt>
                <c:pt idx="23183">
                  <c:v>0</c:v>
                </c:pt>
                <c:pt idx="23184">
                  <c:v>7</c:v>
                </c:pt>
                <c:pt idx="23185">
                  <c:v>8</c:v>
                </c:pt>
                <c:pt idx="23186">
                  <c:v>5</c:v>
                </c:pt>
                <c:pt idx="23187">
                  <c:v>8</c:v>
                </c:pt>
                <c:pt idx="23188">
                  <c:v>3</c:v>
                </c:pt>
                <c:pt idx="23189">
                  <c:v>1</c:v>
                </c:pt>
                <c:pt idx="23190">
                  <c:v>3</c:v>
                </c:pt>
                <c:pt idx="23191">
                  <c:v>1</c:v>
                </c:pt>
                <c:pt idx="23192">
                  <c:v>2</c:v>
                </c:pt>
                <c:pt idx="23193">
                  <c:v>1</c:v>
                </c:pt>
                <c:pt idx="23194">
                  <c:v>1</c:v>
                </c:pt>
                <c:pt idx="23195">
                  <c:v>1</c:v>
                </c:pt>
                <c:pt idx="23196">
                  <c:v>4</c:v>
                </c:pt>
                <c:pt idx="23197">
                  <c:v>1</c:v>
                </c:pt>
                <c:pt idx="23198">
                  <c:v>1</c:v>
                </c:pt>
                <c:pt idx="23199">
                  <c:v>0</c:v>
                </c:pt>
                <c:pt idx="23200">
                  <c:v>10</c:v>
                </c:pt>
                <c:pt idx="23201">
                  <c:v>0</c:v>
                </c:pt>
                <c:pt idx="23202">
                  <c:v>4</c:v>
                </c:pt>
                <c:pt idx="23203">
                  <c:v>1</c:v>
                </c:pt>
                <c:pt idx="23204">
                  <c:v>0</c:v>
                </c:pt>
                <c:pt idx="23205">
                  <c:v>0</c:v>
                </c:pt>
                <c:pt idx="23206">
                  <c:v>2</c:v>
                </c:pt>
                <c:pt idx="23207">
                  <c:v>2</c:v>
                </c:pt>
                <c:pt idx="23208">
                  <c:v>18</c:v>
                </c:pt>
                <c:pt idx="23209">
                  <c:v>0</c:v>
                </c:pt>
                <c:pt idx="23210">
                  <c:v>5</c:v>
                </c:pt>
                <c:pt idx="23211">
                  <c:v>0</c:v>
                </c:pt>
                <c:pt idx="23212">
                  <c:v>1</c:v>
                </c:pt>
                <c:pt idx="23213">
                  <c:v>3</c:v>
                </c:pt>
                <c:pt idx="23214">
                  <c:v>4</c:v>
                </c:pt>
                <c:pt idx="23215">
                  <c:v>4</c:v>
                </c:pt>
                <c:pt idx="23216">
                  <c:v>5</c:v>
                </c:pt>
                <c:pt idx="23217">
                  <c:v>8</c:v>
                </c:pt>
                <c:pt idx="23218">
                  <c:v>0</c:v>
                </c:pt>
                <c:pt idx="23219">
                  <c:v>4</c:v>
                </c:pt>
                <c:pt idx="23220">
                  <c:v>2</c:v>
                </c:pt>
                <c:pt idx="23221">
                  <c:v>9</c:v>
                </c:pt>
                <c:pt idx="23222">
                  <c:v>3</c:v>
                </c:pt>
                <c:pt idx="23223">
                  <c:v>1</c:v>
                </c:pt>
                <c:pt idx="23224">
                  <c:v>4</c:v>
                </c:pt>
                <c:pt idx="23225">
                  <c:v>1</c:v>
                </c:pt>
                <c:pt idx="23226">
                  <c:v>3</c:v>
                </c:pt>
                <c:pt idx="23227">
                  <c:v>0</c:v>
                </c:pt>
                <c:pt idx="23228">
                  <c:v>3</c:v>
                </c:pt>
                <c:pt idx="23229">
                  <c:v>10</c:v>
                </c:pt>
                <c:pt idx="23230">
                  <c:v>2</c:v>
                </c:pt>
                <c:pt idx="23231">
                  <c:v>4</c:v>
                </c:pt>
                <c:pt idx="23232">
                  <c:v>0</c:v>
                </c:pt>
                <c:pt idx="23233">
                  <c:v>0</c:v>
                </c:pt>
                <c:pt idx="23234">
                  <c:v>0</c:v>
                </c:pt>
                <c:pt idx="23235">
                  <c:v>2</c:v>
                </c:pt>
                <c:pt idx="23236">
                  <c:v>0</c:v>
                </c:pt>
                <c:pt idx="23237">
                  <c:v>1</c:v>
                </c:pt>
                <c:pt idx="23238">
                  <c:v>1</c:v>
                </c:pt>
                <c:pt idx="23239">
                  <c:v>0</c:v>
                </c:pt>
                <c:pt idx="23240">
                  <c:v>2</c:v>
                </c:pt>
                <c:pt idx="23241">
                  <c:v>1</c:v>
                </c:pt>
                <c:pt idx="23242">
                  <c:v>0</c:v>
                </c:pt>
                <c:pt idx="23243">
                  <c:v>1</c:v>
                </c:pt>
                <c:pt idx="23244">
                  <c:v>0</c:v>
                </c:pt>
                <c:pt idx="23245">
                  <c:v>0</c:v>
                </c:pt>
                <c:pt idx="23246">
                  <c:v>2</c:v>
                </c:pt>
                <c:pt idx="23247">
                  <c:v>0</c:v>
                </c:pt>
                <c:pt idx="23248">
                  <c:v>0</c:v>
                </c:pt>
                <c:pt idx="23249">
                  <c:v>0</c:v>
                </c:pt>
                <c:pt idx="23250">
                  <c:v>2</c:v>
                </c:pt>
                <c:pt idx="23251">
                  <c:v>0</c:v>
                </c:pt>
                <c:pt idx="23252">
                  <c:v>0</c:v>
                </c:pt>
                <c:pt idx="23253">
                  <c:v>1</c:v>
                </c:pt>
                <c:pt idx="23254">
                  <c:v>1</c:v>
                </c:pt>
                <c:pt idx="23255">
                  <c:v>0</c:v>
                </c:pt>
                <c:pt idx="23256">
                  <c:v>0</c:v>
                </c:pt>
                <c:pt idx="23257">
                  <c:v>0</c:v>
                </c:pt>
                <c:pt idx="23258">
                  <c:v>0</c:v>
                </c:pt>
                <c:pt idx="23259">
                  <c:v>2</c:v>
                </c:pt>
                <c:pt idx="23260">
                  <c:v>2</c:v>
                </c:pt>
                <c:pt idx="23261">
                  <c:v>0</c:v>
                </c:pt>
                <c:pt idx="23262">
                  <c:v>0</c:v>
                </c:pt>
                <c:pt idx="23263">
                  <c:v>1</c:v>
                </c:pt>
                <c:pt idx="23264">
                  <c:v>0</c:v>
                </c:pt>
                <c:pt idx="23265">
                  <c:v>0</c:v>
                </c:pt>
                <c:pt idx="23266">
                  <c:v>0</c:v>
                </c:pt>
                <c:pt idx="23267">
                  <c:v>0</c:v>
                </c:pt>
                <c:pt idx="23268">
                  <c:v>1</c:v>
                </c:pt>
                <c:pt idx="23269">
                  <c:v>2</c:v>
                </c:pt>
                <c:pt idx="23270">
                  <c:v>0</c:v>
                </c:pt>
                <c:pt idx="23271">
                  <c:v>0</c:v>
                </c:pt>
                <c:pt idx="23272">
                  <c:v>2</c:v>
                </c:pt>
                <c:pt idx="23273">
                  <c:v>0</c:v>
                </c:pt>
                <c:pt idx="23274">
                  <c:v>0</c:v>
                </c:pt>
                <c:pt idx="23275">
                  <c:v>0</c:v>
                </c:pt>
                <c:pt idx="23276">
                  <c:v>0</c:v>
                </c:pt>
                <c:pt idx="23277">
                  <c:v>0</c:v>
                </c:pt>
                <c:pt idx="23278">
                  <c:v>0</c:v>
                </c:pt>
                <c:pt idx="23279">
                  <c:v>1</c:v>
                </c:pt>
                <c:pt idx="23280">
                  <c:v>0</c:v>
                </c:pt>
                <c:pt idx="23281">
                  <c:v>1</c:v>
                </c:pt>
                <c:pt idx="23282">
                  <c:v>16</c:v>
                </c:pt>
                <c:pt idx="23283">
                  <c:v>7</c:v>
                </c:pt>
                <c:pt idx="23284">
                  <c:v>0</c:v>
                </c:pt>
                <c:pt idx="23285">
                  <c:v>7</c:v>
                </c:pt>
                <c:pt idx="23286">
                  <c:v>9</c:v>
                </c:pt>
                <c:pt idx="23287">
                  <c:v>9</c:v>
                </c:pt>
                <c:pt idx="23288">
                  <c:v>1</c:v>
                </c:pt>
                <c:pt idx="23289">
                  <c:v>2</c:v>
                </c:pt>
                <c:pt idx="23290">
                  <c:v>0</c:v>
                </c:pt>
                <c:pt idx="23291">
                  <c:v>1</c:v>
                </c:pt>
                <c:pt idx="23292">
                  <c:v>1</c:v>
                </c:pt>
                <c:pt idx="23293">
                  <c:v>3</c:v>
                </c:pt>
                <c:pt idx="23294">
                  <c:v>0</c:v>
                </c:pt>
                <c:pt idx="23295">
                  <c:v>0</c:v>
                </c:pt>
                <c:pt idx="23296">
                  <c:v>0</c:v>
                </c:pt>
                <c:pt idx="23297">
                  <c:v>1</c:v>
                </c:pt>
                <c:pt idx="23298">
                  <c:v>7</c:v>
                </c:pt>
                <c:pt idx="23299">
                  <c:v>3</c:v>
                </c:pt>
                <c:pt idx="23300">
                  <c:v>1</c:v>
                </c:pt>
                <c:pt idx="23301">
                  <c:v>0</c:v>
                </c:pt>
                <c:pt idx="23302">
                  <c:v>7</c:v>
                </c:pt>
                <c:pt idx="23303">
                  <c:v>0</c:v>
                </c:pt>
                <c:pt idx="23304">
                  <c:v>0</c:v>
                </c:pt>
                <c:pt idx="23305">
                  <c:v>1</c:v>
                </c:pt>
                <c:pt idx="23306">
                  <c:v>3</c:v>
                </c:pt>
                <c:pt idx="23307">
                  <c:v>3</c:v>
                </c:pt>
                <c:pt idx="23308">
                  <c:v>5</c:v>
                </c:pt>
                <c:pt idx="23309">
                  <c:v>1</c:v>
                </c:pt>
                <c:pt idx="23310">
                  <c:v>0</c:v>
                </c:pt>
                <c:pt idx="23311">
                  <c:v>4</c:v>
                </c:pt>
                <c:pt idx="23312">
                  <c:v>6</c:v>
                </c:pt>
                <c:pt idx="23313">
                  <c:v>0</c:v>
                </c:pt>
                <c:pt idx="23314">
                  <c:v>2</c:v>
                </c:pt>
                <c:pt idx="23315">
                  <c:v>2</c:v>
                </c:pt>
                <c:pt idx="23316">
                  <c:v>1</c:v>
                </c:pt>
                <c:pt idx="23317">
                  <c:v>2</c:v>
                </c:pt>
                <c:pt idx="23318">
                  <c:v>3</c:v>
                </c:pt>
                <c:pt idx="23319">
                  <c:v>3</c:v>
                </c:pt>
                <c:pt idx="23320">
                  <c:v>1</c:v>
                </c:pt>
                <c:pt idx="23321">
                  <c:v>2</c:v>
                </c:pt>
                <c:pt idx="23322">
                  <c:v>0</c:v>
                </c:pt>
                <c:pt idx="23323">
                  <c:v>1</c:v>
                </c:pt>
                <c:pt idx="23324">
                  <c:v>0</c:v>
                </c:pt>
                <c:pt idx="23325">
                  <c:v>2</c:v>
                </c:pt>
                <c:pt idx="23326">
                  <c:v>2</c:v>
                </c:pt>
                <c:pt idx="23327">
                  <c:v>0</c:v>
                </c:pt>
                <c:pt idx="23328">
                  <c:v>1</c:v>
                </c:pt>
                <c:pt idx="23329">
                  <c:v>1</c:v>
                </c:pt>
                <c:pt idx="23330">
                  <c:v>1</c:v>
                </c:pt>
                <c:pt idx="23331">
                  <c:v>0</c:v>
                </c:pt>
                <c:pt idx="23332">
                  <c:v>0</c:v>
                </c:pt>
                <c:pt idx="23333">
                  <c:v>0</c:v>
                </c:pt>
                <c:pt idx="23334">
                  <c:v>0</c:v>
                </c:pt>
                <c:pt idx="23335">
                  <c:v>0</c:v>
                </c:pt>
                <c:pt idx="23336">
                  <c:v>0</c:v>
                </c:pt>
                <c:pt idx="23337">
                  <c:v>0</c:v>
                </c:pt>
                <c:pt idx="23338">
                  <c:v>0</c:v>
                </c:pt>
                <c:pt idx="23339">
                  <c:v>0</c:v>
                </c:pt>
                <c:pt idx="23340">
                  <c:v>0</c:v>
                </c:pt>
                <c:pt idx="23341">
                  <c:v>0</c:v>
                </c:pt>
                <c:pt idx="23342">
                  <c:v>0</c:v>
                </c:pt>
                <c:pt idx="23343">
                  <c:v>0</c:v>
                </c:pt>
                <c:pt idx="23344">
                  <c:v>0</c:v>
                </c:pt>
                <c:pt idx="23345">
                  <c:v>0</c:v>
                </c:pt>
                <c:pt idx="23346">
                  <c:v>0</c:v>
                </c:pt>
                <c:pt idx="23347">
                  <c:v>0</c:v>
                </c:pt>
                <c:pt idx="23348">
                  <c:v>0</c:v>
                </c:pt>
                <c:pt idx="23349">
                  <c:v>0</c:v>
                </c:pt>
                <c:pt idx="23350">
                  <c:v>0</c:v>
                </c:pt>
                <c:pt idx="23351">
                  <c:v>0</c:v>
                </c:pt>
                <c:pt idx="23352">
                  <c:v>0</c:v>
                </c:pt>
                <c:pt idx="23353">
                  <c:v>0</c:v>
                </c:pt>
                <c:pt idx="23354">
                  <c:v>0</c:v>
                </c:pt>
                <c:pt idx="23355">
                  <c:v>0</c:v>
                </c:pt>
                <c:pt idx="23356">
                  <c:v>0</c:v>
                </c:pt>
                <c:pt idx="23357">
                  <c:v>0</c:v>
                </c:pt>
                <c:pt idx="23358">
                  <c:v>0</c:v>
                </c:pt>
                <c:pt idx="23359">
                  <c:v>0</c:v>
                </c:pt>
                <c:pt idx="23360">
                  <c:v>0</c:v>
                </c:pt>
                <c:pt idx="23361">
                  <c:v>0</c:v>
                </c:pt>
                <c:pt idx="23362">
                  <c:v>0</c:v>
                </c:pt>
                <c:pt idx="23363">
                  <c:v>0</c:v>
                </c:pt>
                <c:pt idx="23364">
                  <c:v>1</c:v>
                </c:pt>
                <c:pt idx="23365">
                  <c:v>0</c:v>
                </c:pt>
                <c:pt idx="23366">
                  <c:v>0</c:v>
                </c:pt>
                <c:pt idx="23367">
                  <c:v>1</c:v>
                </c:pt>
                <c:pt idx="23368">
                  <c:v>1</c:v>
                </c:pt>
                <c:pt idx="23369">
                  <c:v>0</c:v>
                </c:pt>
                <c:pt idx="23370">
                  <c:v>0</c:v>
                </c:pt>
                <c:pt idx="23371">
                  <c:v>0</c:v>
                </c:pt>
                <c:pt idx="23372">
                  <c:v>0</c:v>
                </c:pt>
                <c:pt idx="23373">
                  <c:v>0</c:v>
                </c:pt>
                <c:pt idx="23374">
                  <c:v>0</c:v>
                </c:pt>
                <c:pt idx="23375">
                  <c:v>0</c:v>
                </c:pt>
                <c:pt idx="23376">
                  <c:v>0</c:v>
                </c:pt>
                <c:pt idx="23377">
                  <c:v>0</c:v>
                </c:pt>
                <c:pt idx="23378">
                  <c:v>0</c:v>
                </c:pt>
                <c:pt idx="23379">
                  <c:v>0</c:v>
                </c:pt>
                <c:pt idx="23380">
                  <c:v>0</c:v>
                </c:pt>
                <c:pt idx="23381">
                  <c:v>1</c:v>
                </c:pt>
                <c:pt idx="23382">
                  <c:v>0</c:v>
                </c:pt>
                <c:pt idx="23383">
                  <c:v>0</c:v>
                </c:pt>
                <c:pt idx="23384">
                  <c:v>0</c:v>
                </c:pt>
                <c:pt idx="23385">
                  <c:v>0</c:v>
                </c:pt>
                <c:pt idx="23386">
                  <c:v>0</c:v>
                </c:pt>
                <c:pt idx="23387">
                  <c:v>0</c:v>
                </c:pt>
                <c:pt idx="23388">
                  <c:v>0</c:v>
                </c:pt>
                <c:pt idx="23389">
                  <c:v>0</c:v>
                </c:pt>
                <c:pt idx="23390">
                  <c:v>0</c:v>
                </c:pt>
                <c:pt idx="23391">
                  <c:v>0</c:v>
                </c:pt>
                <c:pt idx="23392">
                  <c:v>0</c:v>
                </c:pt>
                <c:pt idx="23393">
                  <c:v>0</c:v>
                </c:pt>
                <c:pt idx="23394">
                  <c:v>0</c:v>
                </c:pt>
                <c:pt idx="23395">
                  <c:v>1</c:v>
                </c:pt>
                <c:pt idx="23396">
                  <c:v>0</c:v>
                </c:pt>
                <c:pt idx="23397">
                  <c:v>0</c:v>
                </c:pt>
                <c:pt idx="23398">
                  <c:v>0</c:v>
                </c:pt>
                <c:pt idx="23399">
                  <c:v>0</c:v>
                </c:pt>
                <c:pt idx="23400">
                  <c:v>0</c:v>
                </c:pt>
                <c:pt idx="23401">
                  <c:v>0</c:v>
                </c:pt>
                <c:pt idx="23402">
                  <c:v>0</c:v>
                </c:pt>
                <c:pt idx="23403">
                  <c:v>0</c:v>
                </c:pt>
                <c:pt idx="23404">
                  <c:v>0</c:v>
                </c:pt>
                <c:pt idx="23405">
                  <c:v>0</c:v>
                </c:pt>
                <c:pt idx="23406">
                  <c:v>0</c:v>
                </c:pt>
                <c:pt idx="23407">
                  <c:v>0</c:v>
                </c:pt>
                <c:pt idx="23408">
                  <c:v>0</c:v>
                </c:pt>
                <c:pt idx="23409">
                  <c:v>0</c:v>
                </c:pt>
                <c:pt idx="23410">
                  <c:v>0</c:v>
                </c:pt>
                <c:pt idx="23411">
                  <c:v>0</c:v>
                </c:pt>
                <c:pt idx="23412">
                  <c:v>0</c:v>
                </c:pt>
                <c:pt idx="23413">
                  <c:v>0</c:v>
                </c:pt>
                <c:pt idx="23414">
                  <c:v>1</c:v>
                </c:pt>
                <c:pt idx="23415">
                  <c:v>0</c:v>
                </c:pt>
                <c:pt idx="23416">
                  <c:v>0</c:v>
                </c:pt>
                <c:pt idx="23417">
                  <c:v>0</c:v>
                </c:pt>
                <c:pt idx="23418">
                  <c:v>3</c:v>
                </c:pt>
                <c:pt idx="23419">
                  <c:v>0</c:v>
                </c:pt>
                <c:pt idx="23420">
                  <c:v>0</c:v>
                </c:pt>
                <c:pt idx="23421">
                  <c:v>0</c:v>
                </c:pt>
                <c:pt idx="23422">
                  <c:v>0</c:v>
                </c:pt>
                <c:pt idx="23423">
                  <c:v>0</c:v>
                </c:pt>
                <c:pt idx="23424">
                  <c:v>0</c:v>
                </c:pt>
                <c:pt idx="23425">
                  <c:v>0</c:v>
                </c:pt>
                <c:pt idx="23426">
                  <c:v>0</c:v>
                </c:pt>
                <c:pt idx="23427">
                  <c:v>0</c:v>
                </c:pt>
                <c:pt idx="23428">
                  <c:v>0</c:v>
                </c:pt>
                <c:pt idx="23429">
                  <c:v>0</c:v>
                </c:pt>
                <c:pt idx="23430">
                  <c:v>0</c:v>
                </c:pt>
                <c:pt idx="23431">
                  <c:v>0</c:v>
                </c:pt>
                <c:pt idx="23432">
                  <c:v>0</c:v>
                </c:pt>
                <c:pt idx="23433">
                  <c:v>0</c:v>
                </c:pt>
                <c:pt idx="23434">
                  <c:v>0</c:v>
                </c:pt>
                <c:pt idx="23435">
                  <c:v>0</c:v>
                </c:pt>
                <c:pt idx="23436">
                  <c:v>0</c:v>
                </c:pt>
                <c:pt idx="23437">
                  <c:v>0</c:v>
                </c:pt>
                <c:pt idx="23438">
                  <c:v>0</c:v>
                </c:pt>
                <c:pt idx="23439">
                  <c:v>0</c:v>
                </c:pt>
                <c:pt idx="23440">
                  <c:v>0</c:v>
                </c:pt>
                <c:pt idx="23441">
                  <c:v>1</c:v>
                </c:pt>
                <c:pt idx="23442">
                  <c:v>1</c:v>
                </c:pt>
                <c:pt idx="23443">
                  <c:v>0</c:v>
                </c:pt>
                <c:pt idx="23444">
                  <c:v>0</c:v>
                </c:pt>
                <c:pt idx="23445">
                  <c:v>0</c:v>
                </c:pt>
                <c:pt idx="23446">
                  <c:v>0</c:v>
                </c:pt>
                <c:pt idx="23447">
                  <c:v>0</c:v>
                </c:pt>
                <c:pt idx="23448">
                  <c:v>0</c:v>
                </c:pt>
                <c:pt idx="23449">
                  <c:v>0</c:v>
                </c:pt>
                <c:pt idx="23450">
                  <c:v>0</c:v>
                </c:pt>
                <c:pt idx="23451">
                  <c:v>5</c:v>
                </c:pt>
                <c:pt idx="23452">
                  <c:v>1</c:v>
                </c:pt>
                <c:pt idx="23453">
                  <c:v>3</c:v>
                </c:pt>
                <c:pt idx="23454">
                  <c:v>0</c:v>
                </c:pt>
                <c:pt idx="23455">
                  <c:v>1</c:v>
                </c:pt>
                <c:pt idx="23456">
                  <c:v>0</c:v>
                </c:pt>
                <c:pt idx="23457">
                  <c:v>0</c:v>
                </c:pt>
                <c:pt idx="23458">
                  <c:v>0</c:v>
                </c:pt>
                <c:pt idx="23459">
                  <c:v>0</c:v>
                </c:pt>
                <c:pt idx="23460">
                  <c:v>0</c:v>
                </c:pt>
                <c:pt idx="23461">
                  <c:v>0</c:v>
                </c:pt>
                <c:pt idx="23462">
                  <c:v>0</c:v>
                </c:pt>
                <c:pt idx="23463">
                  <c:v>0</c:v>
                </c:pt>
                <c:pt idx="23464">
                  <c:v>0</c:v>
                </c:pt>
                <c:pt idx="23465">
                  <c:v>0</c:v>
                </c:pt>
                <c:pt idx="23466">
                  <c:v>0</c:v>
                </c:pt>
                <c:pt idx="23467">
                  <c:v>0</c:v>
                </c:pt>
                <c:pt idx="23468">
                  <c:v>0</c:v>
                </c:pt>
                <c:pt idx="23469">
                  <c:v>0</c:v>
                </c:pt>
                <c:pt idx="23470">
                  <c:v>0</c:v>
                </c:pt>
                <c:pt idx="23471">
                  <c:v>0</c:v>
                </c:pt>
                <c:pt idx="23472">
                  <c:v>0</c:v>
                </c:pt>
                <c:pt idx="23473">
                  <c:v>0</c:v>
                </c:pt>
                <c:pt idx="23474">
                  <c:v>1</c:v>
                </c:pt>
                <c:pt idx="23475">
                  <c:v>0</c:v>
                </c:pt>
                <c:pt idx="23476">
                  <c:v>0</c:v>
                </c:pt>
                <c:pt idx="23477">
                  <c:v>0</c:v>
                </c:pt>
                <c:pt idx="23478">
                  <c:v>0</c:v>
                </c:pt>
                <c:pt idx="23479">
                  <c:v>0</c:v>
                </c:pt>
                <c:pt idx="23480">
                  <c:v>0</c:v>
                </c:pt>
                <c:pt idx="23481">
                  <c:v>0</c:v>
                </c:pt>
                <c:pt idx="23482">
                  <c:v>0</c:v>
                </c:pt>
                <c:pt idx="23483">
                  <c:v>0</c:v>
                </c:pt>
                <c:pt idx="23484">
                  <c:v>0</c:v>
                </c:pt>
                <c:pt idx="23485">
                  <c:v>0</c:v>
                </c:pt>
                <c:pt idx="23486">
                  <c:v>0</c:v>
                </c:pt>
                <c:pt idx="23487">
                  <c:v>0</c:v>
                </c:pt>
                <c:pt idx="23488">
                  <c:v>0</c:v>
                </c:pt>
                <c:pt idx="23489">
                  <c:v>0</c:v>
                </c:pt>
                <c:pt idx="23490">
                  <c:v>0</c:v>
                </c:pt>
                <c:pt idx="23491">
                  <c:v>0</c:v>
                </c:pt>
                <c:pt idx="23492">
                  <c:v>0</c:v>
                </c:pt>
                <c:pt idx="23493">
                  <c:v>0</c:v>
                </c:pt>
                <c:pt idx="23494">
                  <c:v>0</c:v>
                </c:pt>
                <c:pt idx="23495">
                  <c:v>0</c:v>
                </c:pt>
                <c:pt idx="23496">
                  <c:v>0</c:v>
                </c:pt>
                <c:pt idx="23497">
                  <c:v>0</c:v>
                </c:pt>
                <c:pt idx="23498">
                  <c:v>0</c:v>
                </c:pt>
                <c:pt idx="23499">
                  <c:v>0</c:v>
                </c:pt>
                <c:pt idx="23500">
                  <c:v>0</c:v>
                </c:pt>
                <c:pt idx="23501">
                  <c:v>0</c:v>
                </c:pt>
                <c:pt idx="23502">
                  <c:v>0</c:v>
                </c:pt>
                <c:pt idx="23503">
                  <c:v>0</c:v>
                </c:pt>
                <c:pt idx="23504">
                  <c:v>0</c:v>
                </c:pt>
                <c:pt idx="23505">
                  <c:v>0</c:v>
                </c:pt>
                <c:pt idx="23506">
                  <c:v>2</c:v>
                </c:pt>
                <c:pt idx="23507">
                  <c:v>2</c:v>
                </c:pt>
                <c:pt idx="23508">
                  <c:v>0</c:v>
                </c:pt>
                <c:pt idx="23509">
                  <c:v>0</c:v>
                </c:pt>
                <c:pt idx="23510">
                  <c:v>0</c:v>
                </c:pt>
                <c:pt idx="23511">
                  <c:v>0</c:v>
                </c:pt>
                <c:pt idx="23512">
                  <c:v>0</c:v>
                </c:pt>
                <c:pt idx="23513">
                  <c:v>0</c:v>
                </c:pt>
                <c:pt idx="23514">
                  <c:v>0</c:v>
                </c:pt>
                <c:pt idx="23515">
                  <c:v>0</c:v>
                </c:pt>
                <c:pt idx="23516">
                  <c:v>0</c:v>
                </c:pt>
                <c:pt idx="23517">
                  <c:v>0</c:v>
                </c:pt>
                <c:pt idx="23518">
                  <c:v>0</c:v>
                </c:pt>
                <c:pt idx="23519">
                  <c:v>0</c:v>
                </c:pt>
                <c:pt idx="23520">
                  <c:v>0</c:v>
                </c:pt>
                <c:pt idx="23521">
                  <c:v>0</c:v>
                </c:pt>
                <c:pt idx="23522">
                  <c:v>0</c:v>
                </c:pt>
                <c:pt idx="23523">
                  <c:v>0</c:v>
                </c:pt>
                <c:pt idx="23524">
                  <c:v>0</c:v>
                </c:pt>
                <c:pt idx="23525">
                  <c:v>0</c:v>
                </c:pt>
                <c:pt idx="23526">
                  <c:v>0</c:v>
                </c:pt>
                <c:pt idx="23527">
                  <c:v>0</c:v>
                </c:pt>
                <c:pt idx="23528">
                  <c:v>0</c:v>
                </c:pt>
                <c:pt idx="23529">
                  <c:v>0</c:v>
                </c:pt>
                <c:pt idx="23530">
                  <c:v>0</c:v>
                </c:pt>
                <c:pt idx="23531">
                  <c:v>0</c:v>
                </c:pt>
                <c:pt idx="23532">
                  <c:v>0</c:v>
                </c:pt>
                <c:pt idx="23533">
                  <c:v>3</c:v>
                </c:pt>
                <c:pt idx="23534">
                  <c:v>0</c:v>
                </c:pt>
                <c:pt idx="23535">
                  <c:v>0</c:v>
                </c:pt>
                <c:pt idx="23536">
                  <c:v>0</c:v>
                </c:pt>
                <c:pt idx="23537">
                  <c:v>0</c:v>
                </c:pt>
                <c:pt idx="23538">
                  <c:v>0</c:v>
                </c:pt>
                <c:pt idx="23539">
                  <c:v>0</c:v>
                </c:pt>
                <c:pt idx="23540">
                  <c:v>0</c:v>
                </c:pt>
                <c:pt idx="23541">
                  <c:v>0</c:v>
                </c:pt>
                <c:pt idx="23542">
                  <c:v>0</c:v>
                </c:pt>
                <c:pt idx="23543">
                  <c:v>0</c:v>
                </c:pt>
                <c:pt idx="23544">
                  <c:v>0</c:v>
                </c:pt>
                <c:pt idx="23545">
                  <c:v>0</c:v>
                </c:pt>
                <c:pt idx="23546">
                  <c:v>0</c:v>
                </c:pt>
                <c:pt idx="23547">
                  <c:v>0</c:v>
                </c:pt>
                <c:pt idx="23548">
                  <c:v>0</c:v>
                </c:pt>
                <c:pt idx="23549">
                  <c:v>2</c:v>
                </c:pt>
                <c:pt idx="23550">
                  <c:v>1</c:v>
                </c:pt>
                <c:pt idx="23551">
                  <c:v>1</c:v>
                </c:pt>
                <c:pt idx="23552">
                  <c:v>0</c:v>
                </c:pt>
                <c:pt idx="23553">
                  <c:v>1</c:v>
                </c:pt>
                <c:pt idx="23554">
                  <c:v>1</c:v>
                </c:pt>
                <c:pt idx="23555">
                  <c:v>2</c:v>
                </c:pt>
                <c:pt idx="23556">
                  <c:v>1</c:v>
                </c:pt>
                <c:pt idx="23557">
                  <c:v>2</c:v>
                </c:pt>
                <c:pt idx="23558">
                  <c:v>2</c:v>
                </c:pt>
                <c:pt idx="23559">
                  <c:v>2</c:v>
                </c:pt>
                <c:pt idx="23560">
                  <c:v>1</c:v>
                </c:pt>
                <c:pt idx="23561">
                  <c:v>2</c:v>
                </c:pt>
                <c:pt idx="23562">
                  <c:v>1</c:v>
                </c:pt>
                <c:pt idx="23563">
                  <c:v>1</c:v>
                </c:pt>
                <c:pt idx="23564">
                  <c:v>0</c:v>
                </c:pt>
                <c:pt idx="23565">
                  <c:v>6</c:v>
                </c:pt>
                <c:pt idx="23566">
                  <c:v>1</c:v>
                </c:pt>
                <c:pt idx="23567">
                  <c:v>0</c:v>
                </c:pt>
                <c:pt idx="23568">
                  <c:v>3</c:v>
                </c:pt>
                <c:pt idx="23569">
                  <c:v>0</c:v>
                </c:pt>
                <c:pt idx="23570">
                  <c:v>0</c:v>
                </c:pt>
                <c:pt idx="23571">
                  <c:v>3</c:v>
                </c:pt>
                <c:pt idx="23572">
                  <c:v>1</c:v>
                </c:pt>
                <c:pt idx="23573">
                  <c:v>0</c:v>
                </c:pt>
                <c:pt idx="23574">
                  <c:v>0</c:v>
                </c:pt>
                <c:pt idx="23575">
                  <c:v>0</c:v>
                </c:pt>
                <c:pt idx="23576">
                  <c:v>3</c:v>
                </c:pt>
                <c:pt idx="23577">
                  <c:v>3</c:v>
                </c:pt>
                <c:pt idx="23578">
                  <c:v>0</c:v>
                </c:pt>
                <c:pt idx="23579">
                  <c:v>8</c:v>
                </c:pt>
                <c:pt idx="23580">
                  <c:v>1</c:v>
                </c:pt>
                <c:pt idx="23581">
                  <c:v>4</c:v>
                </c:pt>
                <c:pt idx="23582">
                  <c:v>2</c:v>
                </c:pt>
                <c:pt idx="23583">
                  <c:v>0</c:v>
                </c:pt>
                <c:pt idx="23584">
                  <c:v>0</c:v>
                </c:pt>
                <c:pt idx="23585">
                  <c:v>0</c:v>
                </c:pt>
                <c:pt idx="23586">
                  <c:v>0</c:v>
                </c:pt>
                <c:pt idx="23587">
                  <c:v>10</c:v>
                </c:pt>
                <c:pt idx="23588">
                  <c:v>0</c:v>
                </c:pt>
                <c:pt idx="23589">
                  <c:v>1</c:v>
                </c:pt>
                <c:pt idx="23590">
                  <c:v>0</c:v>
                </c:pt>
                <c:pt idx="23591">
                  <c:v>1</c:v>
                </c:pt>
                <c:pt idx="23592">
                  <c:v>0</c:v>
                </c:pt>
                <c:pt idx="23593">
                  <c:v>0</c:v>
                </c:pt>
                <c:pt idx="23594">
                  <c:v>0</c:v>
                </c:pt>
                <c:pt idx="23595">
                  <c:v>0</c:v>
                </c:pt>
                <c:pt idx="23596">
                  <c:v>0</c:v>
                </c:pt>
                <c:pt idx="23597">
                  <c:v>0</c:v>
                </c:pt>
                <c:pt idx="23598">
                  <c:v>3</c:v>
                </c:pt>
                <c:pt idx="23599">
                  <c:v>4</c:v>
                </c:pt>
                <c:pt idx="23600">
                  <c:v>0</c:v>
                </c:pt>
                <c:pt idx="23601">
                  <c:v>5</c:v>
                </c:pt>
                <c:pt idx="23602">
                  <c:v>0</c:v>
                </c:pt>
                <c:pt idx="23603">
                  <c:v>4</c:v>
                </c:pt>
                <c:pt idx="23604">
                  <c:v>0</c:v>
                </c:pt>
                <c:pt idx="23605">
                  <c:v>0</c:v>
                </c:pt>
                <c:pt idx="23606">
                  <c:v>0</c:v>
                </c:pt>
                <c:pt idx="23607">
                  <c:v>0</c:v>
                </c:pt>
                <c:pt idx="23608">
                  <c:v>6</c:v>
                </c:pt>
                <c:pt idx="23609">
                  <c:v>2</c:v>
                </c:pt>
                <c:pt idx="23610">
                  <c:v>4</c:v>
                </c:pt>
                <c:pt idx="23611">
                  <c:v>2</c:v>
                </c:pt>
                <c:pt idx="23612">
                  <c:v>1</c:v>
                </c:pt>
                <c:pt idx="23613">
                  <c:v>1</c:v>
                </c:pt>
                <c:pt idx="23614">
                  <c:v>0</c:v>
                </c:pt>
                <c:pt idx="23615">
                  <c:v>0</c:v>
                </c:pt>
                <c:pt idx="23616">
                  <c:v>1</c:v>
                </c:pt>
                <c:pt idx="23617">
                  <c:v>1</c:v>
                </c:pt>
                <c:pt idx="23618">
                  <c:v>0</c:v>
                </c:pt>
                <c:pt idx="23619">
                  <c:v>1</c:v>
                </c:pt>
                <c:pt idx="23620">
                  <c:v>1</c:v>
                </c:pt>
                <c:pt idx="23621">
                  <c:v>1</c:v>
                </c:pt>
                <c:pt idx="23622">
                  <c:v>1</c:v>
                </c:pt>
                <c:pt idx="23623">
                  <c:v>6</c:v>
                </c:pt>
                <c:pt idx="23624">
                  <c:v>5</c:v>
                </c:pt>
                <c:pt idx="23625">
                  <c:v>3</c:v>
                </c:pt>
                <c:pt idx="23626">
                  <c:v>1</c:v>
                </c:pt>
                <c:pt idx="23627">
                  <c:v>2</c:v>
                </c:pt>
                <c:pt idx="23628">
                  <c:v>3</c:v>
                </c:pt>
                <c:pt idx="23629">
                  <c:v>1</c:v>
                </c:pt>
                <c:pt idx="23630">
                  <c:v>1</c:v>
                </c:pt>
                <c:pt idx="23631">
                  <c:v>0</c:v>
                </c:pt>
                <c:pt idx="23632">
                  <c:v>2</c:v>
                </c:pt>
                <c:pt idx="23633">
                  <c:v>5</c:v>
                </c:pt>
                <c:pt idx="23634">
                  <c:v>2</c:v>
                </c:pt>
                <c:pt idx="23635">
                  <c:v>0</c:v>
                </c:pt>
                <c:pt idx="23636">
                  <c:v>9</c:v>
                </c:pt>
                <c:pt idx="23637">
                  <c:v>1</c:v>
                </c:pt>
                <c:pt idx="23638">
                  <c:v>9</c:v>
                </c:pt>
                <c:pt idx="23639">
                  <c:v>2</c:v>
                </c:pt>
                <c:pt idx="23640">
                  <c:v>1</c:v>
                </c:pt>
                <c:pt idx="23641">
                  <c:v>2</c:v>
                </c:pt>
                <c:pt idx="23642">
                  <c:v>0</c:v>
                </c:pt>
                <c:pt idx="23643">
                  <c:v>2</c:v>
                </c:pt>
                <c:pt idx="23644">
                  <c:v>1</c:v>
                </c:pt>
                <c:pt idx="23645">
                  <c:v>0</c:v>
                </c:pt>
                <c:pt idx="23646">
                  <c:v>0</c:v>
                </c:pt>
                <c:pt idx="23647">
                  <c:v>0</c:v>
                </c:pt>
                <c:pt idx="23648">
                  <c:v>1</c:v>
                </c:pt>
                <c:pt idx="23649">
                  <c:v>0</c:v>
                </c:pt>
                <c:pt idx="23650">
                  <c:v>0</c:v>
                </c:pt>
                <c:pt idx="23651">
                  <c:v>2</c:v>
                </c:pt>
                <c:pt idx="23652">
                  <c:v>5</c:v>
                </c:pt>
                <c:pt idx="23653">
                  <c:v>0</c:v>
                </c:pt>
                <c:pt idx="23654">
                  <c:v>0</c:v>
                </c:pt>
                <c:pt idx="23655">
                  <c:v>3</c:v>
                </c:pt>
                <c:pt idx="23656">
                  <c:v>0</c:v>
                </c:pt>
                <c:pt idx="23657">
                  <c:v>0</c:v>
                </c:pt>
                <c:pt idx="23658">
                  <c:v>0</c:v>
                </c:pt>
                <c:pt idx="23659">
                  <c:v>0</c:v>
                </c:pt>
                <c:pt idx="23660">
                  <c:v>0</c:v>
                </c:pt>
                <c:pt idx="23661">
                  <c:v>0</c:v>
                </c:pt>
                <c:pt idx="23662">
                  <c:v>0</c:v>
                </c:pt>
                <c:pt idx="23663">
                  <c:v>0</c:v>
                </c:pt>
                <c:pt idx="23664">
                  <c:v>4</c:v>
                </c:pt>
                <c:pt idx="23665">
                  <c:v>0</c:v>
                </c:pt>
                <c:pt idx="23666">
                  <c:v>0</c:v>
                </c:pt>
                <c:pt idx="23667">
                  <c:v>0</c:v>
                </c:pt>
                <c:pt idx="23668">
                  <c:v>0</c:v>
                </c:pt>
                <c:pt idx="23669">
                  <c:v>0</c:v>
                </c:pt>
                <c:pt idx="23670">
                  <c:v>0</c:v>
                </c:pt>
                <c:pt idx="23671">
                  <c:v>0</c:v>
                </c:pt>
                <c:pt idx="23672">
                  <c:v>0</c:v>
                </c:pt>
                <c:pt idx="23673">
                  <c:v>1</c:v>
                </c:pt>
                <c:pt idx="23674">
                  <c:v>1</c:v>
                </c:pt>
                <c:pt idx="23675">
                  <c:v>1</c:v>
                </c:pt>
                <c:pt idx="23676">
                  <c:v>1</c:v>
                </c:pt>
                <c:pt idx="23677">
                  <c:v>1</c:v>
                </c:pt>
                <c:pt idx="23678">
                  <c:v>4</c:v>
                </c:pt>
                <c:pt idx="23679">
                  <c:v>0</c:v>
                </c:pt>
                <c:pt idx="23680">
                  <c:v>0</c:v>
                </c:pt>
                <c:pt idx="23681">
                  <c:v>0</c:v>
                </c:pt>
                <c:pt idx="23682">
                  <c:v>0</c:v>
                </c:pt>
                <c:pt idx="23683">
                  <c:v>0</c:v>
                </c:pt>
                <c:pt idx="23684">
                  <c:v>0</c:v>
                </c:pt>
                <c:pt idx="23685">
                  <c:v>0</c:v>
                </c:pt>
                <c:pt idx="23686">
                  <c:v>0</c:v>
                </c:pt>
                <c:pt idx="23687">
                  <c:v>0</c:v>
                </c:pt>
                <c:pt idx="23688">
                  <c:v>0</c:v>
                </c:pt>
                <c:pt idx="23689">
                  <c:v>0</c:v>
                </c:pt>
                <c:pt idx="23690">
                  <c:v>0</c:v>
                </c:pt>
                <c:pt idx="23691">
                  <c:v>0</c:v>
                </c:pt>
                <c:pt idx="23692">
                  <c:v>0</c:v>
                </c:pt>
                <c:pt idx="23693">
                  <c:v>0</c:v>
                </c:pt>
                <c:pt idx="23694">
                  <c:v>0</c:v>
                </c:pt>
                <c:pt idx="23695">
                  <c:v>0</c:v>
                </c:pt>
                <c:pt idx="23696">
                  <c:v>0</c:v>
                </c:pt>
                <c:pt idx="23697">
                  <c:v>1</c:v>
                </c:pt>
                <c:pt idx="23698">
                  <c:v>0</c:v>
                </c:pt>
                <c:pt idx="23699">
                  <c:v>0</c:v>
                </c:pt>
                <c:pt idx="23700">
                  <c:v>0</c:v>
                </c:pt>
                <c:pt idx="23701">
                  <c:v>0</c:v>
                </c:pt>
                <c:pt idx="23702">
                  <c:v>0</c:v>
                </c:pt>
                <c:pt idx="23703">
                  <c:v>0</c:v>
                </c:pt>
                <c:pt idx="23704">
                  <c:v>0</c:v>
                </c:pt>
                <c:pt idx="23705">
                  <c:v>0</c:v>
                </c:pt>
                <c:pt idx="23706">
                  <c:v>0</c:v>
                </c:pt>
                <c:pt idx="23707">
                  <c:v>0</c:v>
                </c:pt>
                <c:pt idx="23708">
                  <c:v>0</c:v>
                </c:pt>
                <c:pt idx="23709">
                  <c:v>0</c:v>
                </c:pt>
                <c:pt idx="23710">
                  <c:v>1</c:v>
                </c:pt>
                <c:pt idx="23711">
                  <c:v>0</c:v>
                </c:pt>
                <c:pt idx="23712">
                  <c:v>0</c:v>
                </c:pt>
                <c:pt idx="23713">
                  <c:v>1</c:v>
                </c:pt>
                <c:pt idx="23714">
                  <c:v>0</c:v>
                </c:pt>
                <c:pt idx="23715">
                  <c:v>0</c:v>
                </c:pt>
                <c:pt idx="23716">
                  <c:v>0</c:v>
                </c:pt>
                <c:pt idx="23717">
                  <c:v>0</c:v>
                </c:pt>
                <c:pt idx="23718">
                  <c:v>0</c:v>
                </c:pt>
                <c:pt idx="23719">
                  <c:v>0</c:v>
                </c:pt>
                <c:pt idx="23720">
                  <c:v>0</c:v>
                </c:pt>
                <c:pt idx="23721">
                  <c:v>0</c:v>
                </c:pt>
                <c:pt idx="23722">
                  <c:v>0</c:v>
                </c:pt>
                <c:pt idx="23723">
                  <c:v>0</c:v>
                </c:pt>
                <c:pt idx="23724">
                  <c:v>0</c:v>
                </c:pt>
                <c:pt idx="23725">
                  <c:v>0</c:v>
                </c:pt>
                <c:pt idx="23726">
                  <c:v>0</c:v>
                </c:pt>
                <c:pt idx="23727">
                  <c:v>0</c:v>
                </c:pt>
                <c:pt idx="23728">
                  <c:v>0</c:v>
                </c:pt>
                <c:pt idx="23729">
                  <c:v>0</c:v>
                </c:pt>
                <c:pt idx="23730">
                  <c:v>0</c:v>
                </c:pt>
                <c:pt idx="23731">
                  <c:v>0</c:v>
                </c:pt>
                <c:pt idx="23732">
                  <c:v>0</c:v>
                </c:pt>
                <c:pt idx="23733">
                  <c:v>0</c:v>
                </c:pt>
                <c:pt idx="23734">
                  <c:v>0</c:v>
                </c:pt>
                <c:pt idx="23735">
                  <c:v>0</c:v>
                </c:pt>
                <c:pt idx="23736">
                  <c:v>5</c:v>
                </c:pt>
                <c:pt idx="23737">
                  <c:v>3</c:v>
                </c:pt>
                <c:pt idx="23738">
                  <c:v>0</c:v>
                </c:pt>
                <c:pt idx="23739">
                  <c:v>1</c:v>
                </c:pt>
                <c:pt idx="23740">
                  <c:v>0</c:v>
                </c:pt>
                <c:pt idx="23741">
                  <c:v>0</c:v>
                </c:pt>
                <c:pt idx="23742">
                  <c:v>0</c:v>
                </c:pt>
                <c:pt idx="23743">
                  <c:v>0</c:v>
                </c:pt>
                <c:pt idx="23744">
                  <c:v>0</c:v>
                </c:pt>
                <c:pt idx="23745">
                  <c:v>0</c:v>
                </c:pt>
                <c:pt idx="23746">
                  <c:v>0</c:v>
                </c:pt>
                <c:pt idx="23747">
                  <c:v>0</c:v>
                </c:pt>
                <c:pt idx="23748">
                  <c:v>0</c:v>
                </c:pt>
                <c:pt idx="23749">
                  <c:v>0</c:v>
                </c:pt>
                <c:pt idx="23750">
                  <c:v>0</c:v>
                </c:pt>
                <c:pt idx="23751">
                  <c:v>0</c:v>
                </c:pt>
                <c:pt idx="23752">
                  <c:v>0</c:v>
                </c:pt>
                <c:pt idx="23753">
                  <c:v>1</c:v>
                </c:pt>
                <c:pt idx="23754">
                  <c:v>0</c:v>
                </c:pt>
                <c:pt idx="23755">
                  <c:v>0</c:v>
                </c:pt>
                <c:pt idx="23756">
                  <c:v>2</c:v>
                </c:pt>
                <c:pt idx="23757">
                  <c:v>0</c:v>
                </c:pt>
                <c:pt idx="23758">
                  <c:v>0</c:v>
                </c:pt>
                <c:pt idx="23759">
                  <c:v>0</c:v>
                </c:pt>
                <c:pt idx="23760">
                  <c:v>0</c:v>
                </c:pt>
                <c:pt idx="23761">
                  <c:v>0</c:v>
                </c:pt>
                <c:pt idx="23762">
                  <c:v>0</c:v>
                </c:pt>
                <c:pt idx="23763">
                  <c:v>0</c:v>
                </c:pt>
                <c:pt idx="23764">
                  <c:v>0</c:v>
                </c:pt>
                <c:pt idx="23765">
                  <c:v>0</c:v>
                </c:pt>
                <c:pt idx="23766">
                  <c:v>0</c:v>
                </c:pt>
                <c:pt idx="23767">
                  <c:v>0</c:v>
                </c:pt>
                <c:pt idx="23768">
                  <c:v>0</c:v>
                </c:pt>
                <c:pt idx="23769">
                  <c:v>0</c:v>
                </c:pt>
                <c:pt idx="23770">
                  <c:v>0</c:v>
                </c:pt>
                <c:pt idx="23771">
                  <c:v>0</c:v>
                </c:pt>
                <c:pt idx="23772">
                  <c:v>0</c:v>
                </c:pt>
                <c:pt idx="23773">
                  <c:v>0</c:v>
                </c:pt>
                <c:pt idx="23774">
                  <c:v>0</c:v>
                </c:pt>
                <c:pt idx="23775">
                  <c:v>0</c:v>
                </c:pt>
                <c:pt idx="23776">
                  <c:v>0</c:v>
                </c:pt>
                <c:pt idx="23777">
                  <c:v>0</c:v>
                </c:pt>
                <c:pt idx="23778">
                  <c:v>0</c:v>
                </c:pt>
                <c:pt idx="23779">
                  <c:v>0</c:v>
                </c:pt>
                <c:pt idx="23780">
                  <c:v>0</c:v>
                </c:pt>
                <c:pt idx="23781">
                  <c:v>0</c:v>
                </c:pt>
                <c:pt idx="23782">
                  <c:v>0</c:v>
                </c:pt>
                <c:pt idx="23783">
                  <c:v>0</c:v>
                </c:pt>
                <c:pt idx="23784">
                  <c:v>0</c:v>
                </c:pt>
                <c:pt idx="23785">
                  <c:v>0</c:v>
                </c:pt>
                <c:pt idx="23786">
                  <c:v>0</c:v>
                </c:pt>
                <c:pt idx="23787">
                  <c:v>0</c:v>
                </c:pt>
                <c:pt idx="23788">
                  <c:v>0</c:v>
                </c:pt>
                <c:pt idx="23789">
                  <c:v>0</c:v>
                </c:pt>
                <c:pt idx="23790">
                  <c:v>0</c:v>
                </c:pt>
                <c:pt idx="23791">
                  <c:v>0</c:v>
                </c:pt>
                <c:pt idx="23792">
                  <c:v>0</c:v>
                </c:pt>
                <c:pt idx="23793">
                  <c:v>1</c:v>
                </c:pt>
                <c:pt idx="23794">
                  <c:v>0</c:v>
                </c:pt>
                <c:pt idx="23795">
                  <c:v>0</c:v>
                </c:pt>
                <c:pt idx="23796">
                  <c:v>0</c:v>
                </c:pt>
                <c:pt idx="23797">
                  <c:v>0</c:v>
                </c:pt>
                <c:pt idx="23798">
                  <c:v>0</c:v>
                </c:pt>
                <c:pt idx="23799">
                  <c:v>0</c:v>
                </c:pt>
                <c:pt idx="23800">
                  <c:v>0</c:v>
                </c:pt>
                <c:pt idx="23801">
                  <c:v>0</c:v>
                </c:pt>
                <c:pt idx="23802">
                  <c:v>0</c:v>
                </c:pt>
                <c:pt idx="23803">
                  <c:v>0</c:v>
                </c:pt>
                <c:pt idx="23804">
                  <c:v>0</c:v>
                </c:pt>
                <c:pt idx="23805">
                  <c:v>0</c:v>
                </c:pt>
                <c:pt idx="23806">
                  <c:v>0</c:v>
                </c:pt>
                <c:pt idx="23807">
                  <c:v>0</c:v>
                </c:pt>
                <c:pt idx="23808">
                  <c:v>0</c:v>
                </c:pt>
                <c:pt idx="23809">
                  <c:v>0</c:v>
                </c:pt>
                <c:pt idx="23810">
                  <c:v>0</c:v>
                </c:pt>
                <c:pt idx="23811">
                  <c:v>0</c:v>
                </c:pt>
                <c:pt idx="23812">
                  <c:v>0</c:v>
                </c:pt>
                <c:pt idx="23813">
                  <c:v>0</c:v>
                </c:pt>
                <c:pt idx="23814">
                  <c:v>0</c:v>
                </c:pt>
                <c:pt idx="23815">
                  <c:v>0</c:v>
                </c:pt>
                <c:pt idx="23816">
                  <c:v>0</c:v>
                </c:pt>
                <c:pt idx="23817">
                  <c:v>0</c:v>
                </c:pt>
                <c:pt idx="23818">
                  <c:v>0</c:v>
                </c:pt>
                <c:pt idx="23819">
                  <c:v>0</c:v>
                </c:pt>
                <c:pt idx="23820">
                  <c:v>0</c:v>
                </c:pt>
                <c:pt idx="23821">
                  <c:v>0</c:v>
                </c:pt>
                <c:pt idx="23822">
                  <c:v>0</c:v>
                </c:pt>
                <c:pt idx="23823">
                  <c:v>0</c:v>
                </c:pt>
                <c:pt idx="23824">
                  <c:v>0</c:v>
                </c:pt>
                <c:pt idx="23825">
                  <c:v>0</c:v>
                </c:pt>
                <c:pt idx="23826">
                  <c:v>5</c:v>
                </c:pt>
                <c:pt idx="23827">
                  <c:v>2</c:v>
                </c:pt>
                <c:pt idx="23828">
                  <c:v>0</c:v>
                </c:pt>
                <c:pt idx="23829">
                  <c:v>0</c:v>
                </c:pt>
                <c:pt idx="23830">
                  <c:v>2</c:v>
                </c:pt>
                <c:pt idx="23831">
                  <c:v>0</c:v>
                </c:pt>
                <c:pt idx="23832">
                  <c:v>3</c:v>
                </c:pt>
                <c:pt idx="23833">
                  <c:v>2</c:v>
                </c:pt>
                <c:pt idx="23834">
                  <c:v>2</c:v>
                </c:pt>
                <c:pt idx="23835">
                  <c:v>0</c:v>
                </c:pt>
                <c:pt idx="23836">
                  <c:v>0</c:v>
                </c:pt>
                <c:pt idx="23837">
                  <c:v>0</c:v>
                </c:pt>
                <c:pt idx="23838">
                  <c:v>0</c:v>
                </c:pt>
                <c:pt idx="23839">
                  <c:v>0</c:v>
                </c:pt>
                <c:pt idx="23840">
                  <c:v>0</c:v>
                </c:pt>
                <c:pt idx="23841">
                  <c:v>0</c:v>
                </c:pt>
                <c:pt idx="23842">
                  <c:v>0</c:v>
                </c:pt>
                <c:pt idx="23843">
                  <c:v>0</c:v>
                </c:pt>
                <c:pt idx="23844">
                  <c:v>0</c:v>
                </c:pt>
                <c:pt idx="23845">
                  <c:v>0</c:v>
                </c:pt>
                <c:pt idx="23846">
                  <c:v>0</c:v>
                </c:pt>
                <c:pt idx="23847">
                  <c:v>0</c:v>
                </c:pt>
                <c:pt idx="23848">
                  <c:v>0</c:v>
                </c:pt>
                <c:pt idx="23849">
                  <c:v>0</c:v>
                </c:pt>
                <c:pt idx="23850">
                  <c:v>0</c:v>
                </c:pt>
                <c:pt idx="23851">
                  <c:v>0</c:v>
                </c:pt>
                <c:pt idx="23852">
                  <c:v>0</c:v>
                </c:pt>
                <c:pt idx="23853">
                  <c:v>0</c:v>
                </c:pt>
                <c:pt idx="23854">
                  <c:v>0</c:v>
                </c:pt>
                <c:pt idx="23855">
                  <c:v>0</c:v>
                </c:pt>
                <c:pt idx="23856">
                  <c:v>0</c:v>
                </c:pt>
                <c:pt idx="23857">
                  <c:v>0</c:v>
                </c:pt>
                <c:pt idx="23858">
                  <c:v>0</c:v>
                </c:pt>
                <c:pt idx="23859">
                  <c:v>0</c:v>
                </c:pt>
                <c:pt idx="23860">
                  <c:v>0</c:v>
                </c:pt>
                <c:pt idx="23861">
                  <c:v>0</c:v>
                </c:pt>
                <c:pt idx="23862">
                  <c:v>1</c:v>
                </c:pt>
                <c:pt idx="23863">
                  <c:v>1</c:v>
                </c:pt>
                <c:pt idx="23864">
                  <c:v>4</c:v>
                </c:pt>
                <c:pt idx="23865">
                  <c:v>0</c:v>
                </c:pt>
                <c:pt idx="23866">
                  <c:v>0</c:v>
                </c:pt>
                <c:pt idx="23867">
                  <c:v>0</c:v>
                </c:pt>
                <c:pt idx="23868">
                  <c:v>0</c:v>
                </c:pt>
                <c:pt idx="23869">
                  <c:v>0</c:v>
                </c:pt>
                <c:pt idx="23870">
                  <c:v>0</c:v>
                </c:pt>
                <c:pt idx="23871">
                  <c:v>2</c:v>
                </c:pt>
                <c:pt idx="23872">
                  <c:v>0</c:v>
                </c:pt>
                <c:pt idx="23873">
                  <c:v>0</c:v>
                </c:pt>
                <c:pt idx="23874">
                  <c:v>0</c:v>
                </c:pt>
                <c:pt idx="23875">
                  <c:v>0</c:v>
                </c:pt>
                <c:pt idx="23876">
                  <c:v>0</c:v>
                </c:pt>
                <c:pt idx="23877">
                  <c:v>0</c:v>
                </c:pt>
                <c:pt idx="23878">
                  <c:v>0</c:v>
                </c:pt>
                <c:pt idx="23879">
                  <c:v>18</c:v>
                </c:pt>
                <c:pt idx="23880">
                  <c:v>4</c:v>
                </c:pt>
                <c:pt idx="23881">
                  <c:v>2</c:v>
                </c:pt>
                <c:pt idx="23882">
                  <c:v>7</c:v>
                </c:pt>
                <c:pt idx="23883">
                  <c:v>1</c:v>
                </c:pt>
                <c:pt idx="23884">
                  <c:v>10</c:v>
                </c:pt>
                <c:pt idx="23885">
                  <c:v>3</c:v>
                </c:pt>
                <c:pt idx="23886">
                  <c:v>0</c:v>
                </c:pt>
                <c:pt idx="23887">
                  <c:v>0</c:v>
                </c:pt>
                <c:pt idx="23888">
                  <c:v>0</c:v>
                </c:pt>
                <c:pt idx="23889">
                  <c:v>0</c:v>
                </c:pt>
                <c:pt idx="23890">
                  <c:v>0</c:v>
                </c:pt>
                <c:pt idx="23891">
                  <c:v>0</c:v>
                </c:pt>
                <c:pt idx="23892">
                  <c:v>0</c:v>
                </c:pt>
                <c:pt idx="23893">
                  <c:v>1</c:v>
                </c:pt>
                <c:pt idx="23894">
                  <c:v>2</c:v>
                </c:pt>
                <c:pt idx="23895">
                  <c:v>7</c:v>
                </c:pt>
                <c:pt idx="23896">
                  <c:v>0</c:v>
                </c:pt>
                <c:pt idx="23897">
                  <c:v>0</c:v>
                </c:pt>
                <c:pt idx="23898">
                  <c:v>0</c:v>
                </c:pt>
                <c:pt idx="23899">
                  <c:v>1</c:v>
                </c:pt>
                <c:pt idx="23900">
                  <c:v>9</c:v>
                </c:pt>
                <c:pt idx="23901">
                  <c:v>2</c:v>
                </c:pt>
                <c:pt idx="23902">
                  <c:v>0</c:v>
                </c:pt>
                <c:pt idx="23903">
                  <c:v>4</c:v>
                </c:pt>
                <c:pt idx="23904">
                  <c:v>0</c:v>
                </c:pt>
                <c:pt idx="23905">
                  <c:v>0</c:v>
                </c:pt>
                <c:pt idx="23906">
                  <c:v>3</c:v>
                </c:pt>
                <c:pt idx="23907">
                  <c:v>0</c:v>
                </c:pt>
                <c:pt idx="23908">
                  <c:v>22</c:v>
                </c:pt>
                <c:pt idx="23909">
                  <c:v>0</c:v>
                </c:pt>
                <c:pt idx="23910">
                  <c:v>1</c:v>
                </c:pt>
                <c:pt idx="23911">
                  <c:v>0</c:v>
                </c:pt>
                <c:pt idx="23912">
                  <c:v>0</c:v>
                </c:pt>
                <c:pt idx="23913">
                  <c:v>0</c:v>
                </c:pt>
                <c:pt idx="23914">
                  <c:v>1</c:v>
                </c:pt>
                <c:pt idx="23915">
                  <c:v>0</c:v>
                </c:pt>
                <c:pt idx="23916">
                  <c:v>0</c:v>
                </c:pt>
                <c:pt idx="23917">
                  <c:v>1</c:v>
                </c:pt>
                <c:pt idx="23918">
                  <c:v>4</c:v>
                </c:pt>
                <c:pt idx="23919">
                  <c:v>1</c:v>
                </c:pt>
                <c:pt idx="23920">
                  <c:v>2</c:v>
                </c:pt>
                <c:pt idx="23921">
                  <c:v>0</c:v>
                </c:pt>
                <c:pt idx="23922">
                  <c:v>1</c:v>
                </c:pt>
                <c:pt idx="23923">
                  <c:v>0</c:v>
                </c:pt>
                <c:pt idx="23924">
                  <c:v>1</c:v>
                </c:pt>
                <c:pt idx="23925">
                  <c:v>0</c:v>
                </c:pt>
                <c:pt idx="23926">
                  <c:v>0</c:v>
                </c:pt>
                <c:pt idx="23927">
                  <c:v>0</c:v>
                </c:pt>
                <c:pt idx="23928">
                  <c:v>4</c:v>
                </c:pt>
                <c:pt idx="23929">
                  <c:v>3</c:v>
                </c:pt>
                <c:pt idx="23930">
                  <c:v>7</c:v>
                </c:pt>
                <c:pt idx="23931">
                  <c:v>3</c:v>
                </c:pt>
                <c:pt idx="23932">
                  <c:v>1</c:v>
                </c:pt>
                <c:pt idx="23933">
                  <c:v>1</c:v>
                </c:pt>
                <c:pt idx="23934">
                  <c:v>3</c:v>
                </c:pt>
                <c:pt idx="23935">
                  <c:v>1</c:v>
                </c:pt>
                <c:pt idx="23936">
                  <c:v>2</c:v>
                </c:pt>
                <c:pt idx="23937">
                  <c:v>4</c:v>
                </c:pt>
                <c:pt idx="23938">
                  <c:v>3</c:v>
                </c:pt>
                <c:pt idx="23939">
                  <c:v>4</c:v>
                </c:pt>
                <c:pt idx="23940">
                  <c:v>0</c:v>
                </c:pt>
                <c:pt idx="23941">
                  <c:v>0</c:v>
                </c:pt>
                <c:pt idx="23942">
                  <c:v>0</c:v>
                </c:pt>
                <c:pt idx="23943">
                  <c:v>2</c:v>
                </c:pt>
                <c:pt idx="23944">
                  <c:v>4</c:v>
                </c:pt>
                <c:pt idx="23945">
                  <c:v>0</c:v>
                </c:pt>
                <c:pt idx="23946">
                  <c:v>0</c:v>
                </c:pt>
                <c:pt idx="23947">
                  <c:v>0</c:v>
                </c:pt>
                <c:pt idx="23948">
                  <c:v>2</c:v>
                </c:pt>
                <c:pt idx="23949">
                  <c:v>0</c:v>
                </c:pt>
                <c:pt idx="23950">
                  <c:v>5</c:v>
                </c:pt>
                <c:pt idx="23951">
                  <c:v>0</c:v>
                </c:pt>
                <c:pt idx="23952">
                  <c:v>3</c:v>
                </c:pt>
                <c:pt idx="23953">
                  <c:v>1</c:v>
                </c:pt>
                <c:pt idx="23954">
                  <c:v>1</c:v>
                </c:pt>
                <c:pt idx="23955">
                  <c:v>2</c:v>
                </c:pt>
                <c:pt idx="23956">
                  <c:v>1</c:v>
                </c:pt>
                <c:pt idx="23957">
                  <c:v>3</c:v>
                </c:pt>
                <c:pt idx="23958">
                  <c:v>0</c:v>
                </c:pt>
                <c:pt idx="23959">
                  <c:v>0</c:v>
                </c:pt>
                <c:pt idx="23960">
                  <c:v>1</c:v>
                </c:pt>
                <c:pt idx="23961">
                  <c:v>0</c:v>
                </c:pt>
                <c:pt idx="23962">
                  <c:v>1</c:v>
                </c:pt>
                <c:pt idx="23963">
                  <c:v>1</c:v>
                </c:pt>
                <c:pt idx="23964">
                  <c:v>0</c:v>
                </c:pt>
                <c:pt idx="23965">
                  <c:v>2</c:v>
                </c:pt>
                <c:pt idx="23966">
                  <c:v>0</c:v>
                </c:pt>
                <c:pt idx="23967">
                  <c:v>1</c:v>
                </c:pt>
                <c:pt idx="23968">
                  <c:v>2</c:v>
                </c:pt>
                <c:pt idx="23969">
                  <c:v>2</c:v>
                </c:pt>
                <c:pt idx="23970">
                  <c:v>4</c:v>
                </c:pt>
                <c:pt idx="23971">
                  <c:v>0</c:v>
                </c:pt>
                <c:pt idx="23972">
                  <c:v>1</c:v>
                </c:pt>
                <c:pt idx="23973">
                  <c:v>0</c:v>
                </c:pt>
                <c:pt idx="23974">
                  <c:v>0</c:v>
                </c:pt>
                <c:pt idx="23975">
                  <c:v>3</c:v>
                </c:pt>
                <c:pt idx="23976">
                  <c:v>0</c:v>
                </c:pt>
                <c:pt idx="23977">
                  <c:v>3</c:v>
                </c:pt>
                <c:pt idx="23978">
                  <c:v>1</c:v>
                </c:pt>
                <c:pt idx="23979">
                  <c:v>8</c:v>
                </c:pt>
                <c:pt idx="23980">
                  <c:v>0</c:v>
                </c:pt>
                <c:pt idx="23981">
                  <c:v>0</c:v>
                </c:pt>
                <c:pt idx="23982">
                  <c:v>0</c:v>
                </c:pt>
                <c:pt idx="23983">
                  <c:v>0</c:v>
                </c:pt>
                <c:pt idx="23984">
                  <c:v>0</c:v>
                </c:pt>
                <c:pt idx="23985">
                  <c:v>5</c:v>
                </c:pt>
                <c:pt idx="23986">
                  <c:v>5</c:v>
                </c:pt>
                <c:pt idx="23987">
                  <c:v>8</c:v>
                </c:pt>
                <c:pt idx="23988">
                  <c:v>2</c:v>
                </c:pt>
                <c:pt idx="23989">
                  <c:v>4</c:v>
                </c:pt>
                <c:pt idx="23990">
                  <c:v>0</c:v>
                </c:pt>
                <c:pt idx="23991">
                  <c:v>1</c:v>
                </c:pt>
                <c:pt idx="23992">
                  <c:v>0</c:v>
                </c:pt>
                <c:pt idx="23993">
                  <c:v>2</c:v>
                </c:pt>
                <c:pt idx="23994">
                  <c:v>2</c:v>
                </c:pt>
                <c:pt idx="23995">
                  <c:v>0</c:v>
                </c:pt>
                <c:pt idx="23996">
                  <c:v>0</c:v>
                </c:pt>
                <c:pt idx="23997">
                  <c:v>0</c:v>
                </c:pt>
                <c:pt idx="23998">
                  <c:v>0</c:v>
                </c:pt>
                <c:pt idx="23999">
                  <c:v>0</c:v>
                </c:pt>
                <c:pt idx="24000">
                  <c:v>3</c:v>
                </c:pt>
                <c:pt idx="24001">
                  <c:v>0</c:v>
                </c:pt>
                <c:pt idx="24002">
                  <c:v>0</c:v>
                </c:pt>
                <c:pt idx="24003">
                  <c:v>0</c:v>
                </c:pt>
                <c:pt idx="24004">
                  <c:v>0</c:v>
                </c:pt>
                <c:pt idx="24005">
                  <c:v>6</c:v>
                </c:pt>
                <c:pt idx="24006">
                  <c:v>3</c:v>
                </c:pt>
                <c:pt idx="24007">
                  <c:v>0</c:v>
                </c:pt>
                <c:pt idx="24008">
                  <c:v>7</c:v>
                </c:pt>
                <c:pt idx="24009">
                  <c:v>5</c:v>
                </c:pt>
                <c:pt idx="24010">
                  <c:v>6</c:v>
                </c:pt>
                <c:pt idx="24011">
                  <c:v>5</c:v>
                </c:pt>
                <c:pt idx="24012">
                  <c:v>0</c:v>
                </c:pt>
                <c:pt idx="24013">
                  <c:v>4</c:v>
                </c:pt>
                <c:pt idx="24014">
                  <c:v>3</c:v>
                </c:pt>
                <c:pt idx="24015">
                  <c:v>4</c:v>
                </c:pt>
                <c:pt idx="24016">
                  <c:v>3</c:v>
                </c:pt>
                <c:pt idx="24017">
                  <c:v>1</c:v>
                </c:pt>
                <c:pt idx="24018">
                  <c:v>2</c:v>
                </c:pt>
                <c:pt idx="24019">
                  <c:v>7</c:v>
                </c:pt>
                <c:pt idx="24020">
                  <c:v>5</c:v>
                </c:pt>
                <c:pt idx="24021">
                  <c:v>1</c:v>
                </c:pt>
                <c:pt idx="24022">
                  <c:v>0</c:v>
                </c:pt>
                <c:pt idx="24023">
                  <c:v>0</c:v>
                </c:pt>
                <c:pt idx="24024">
                  <c:v>0</c:v>
                </c:pt>
                <c:pt idx="24025">
                  <c:v>0</c:v>
                </c:pt>
                <c:pt idx="24026">
                  <c:v>0</c:v>
                </c:pt>
                <c:pt idx="24027">
                  <c:v>0</c:v>
                </c:pt>
                <c:pt idx="24028">
                  <c:v>0</c:v>
                </c:pt>
                <c:pt idx="24029">
                  <c:v>7</c:v>
                </c:pt>
                <c:pt idx="24030">
                  <c:v>0</c:v>
                </c:pt>
                <c:pt idx="24031">
                  <c:v>10</c:v>
                </c:pt>
                <c:pt idx="24032">
                  <c:v>0</c:v>
                </c:pt>
                <c:pt idx="24033">
                  <c:v>0</c:v>
                </c:pt>
                <c:pt idx="24034">
                  <c:v>0</c:v>
                </c:pt>
                <c:pt idx="24035">
                  <c:v>0</c:v>
                </c:pt>
                <c:pt idx="24036">
                  <c:v>0</c:v>
                </c:pt>
                <c:pt idx="24037">
                  <c:v>0</c:v>
                </c:pt>
                <c:pt idx="24038">
                  <c:v>0</c:v>
                </c:pt>
                <c:pt idx="24039">
                  <c:v>2</c:v>
                </c:pt>
                <c:pt idx="24040">
                  <c:v>4</c:v>
                </c:pt>
                <c:pt idx="24041">
                  <c:v>7</c:v>
                </c:pt>
                <c:pt idx="24042">
                  <c:v>0</c:v>
                </c:pt>
                <c:pt idx="24043">
                  <c:v>0</c:v>
                </c:pt>
                <c:pt idx="24044">
                  <c:v>0</c:v>
                </c:pt>
                <c:pt idx="24045">
                  <c:v>1</c:v>
                </c:pt>
                <c:pt idx="24046">
                  <c:v>0</c:v>
                </c:pt>
                <c:pt idx="24047">
                  <c:v>0</c:v>
                </c:pt>
                <c:pt idx="24048">
                  <c:v>0</c:v>
                </c:pt>
                <c:pt idx="24049">
                  <c:v>0</c:v>
                </c:pt>
                <c:pt idx="24050">
                  <c:v>4</c:v>
                </c:pt>
                <c:pt idx="24051">
                  <c:v>0</c:v>
                </c:pt>
                <c:pt idx="24052">
                  <c:v>1</c:v>
                </c:pt>
                <c:pt idx="24053">
                  <c:v>0</c:v>
                </c:pt>
                <c:pt idx="24054">
                  <c:v>0</c:v>
                </c:pt>
                <c:pt idx="24055">
                  <c:v>2</c:v>
                </c:pt>
                <c:pt idx="24056">
                  <c:v>0</c:v>
                </c:pt>
                <c:pt idx="24057">
                  <c:v>10</c:v>
                </c:pt>
                <c:pt idx="24058">
                  <c:v>0</c:v>
                </c:pt>
                <c:pt idx="24059">
                  <c:v>0</c:v>
                </c:pt>
                <c:pt idx="24060">
                  <c:v>0</c:v>
                </c:pt>
                <c:pt idx="24061">
                  <c:v>0</c:v>
                </c:pt>
                <c:pt idx="24062">
                  <c:v>0</c:v>
                </c:pt>
                <c:pt idx="24063">
                  <c:v>0</c:v>
                </c:pt>
                <c:pt idx="24064">
                  <c:v>0</c:v>
                </c:pt>
                <c:pt idx="24065">
                  <c:v>0</c:v>
                </c:pt>
                <c:pt idx="24066">
                  <c:v>1</c:v>
                </c:pt>
                <c:pt idx="24067">
                  <c:v>13</c:v>
                </c:pt>
                <c:pt idx="24068">
                  <c:v>1</c:v>
                </c:pt>
                <c:pt idx="24069">
                  <c:v>0</c:v>
                </c:pt>
                <c:pt idx="24070">
                  <c:v>0</c:v>
                </c:pt>
                <c:pt idx="24071">
                  <c:v>0</c:v>
                </c:pt>
                <c:pt idx="24072">
                  <c:v>4</c:v>
                </c:pt>
                <c:pt idx="24073">
                  <c:v>0</c:v>
                </c:pt>
                <c:pt idx="24074">
                  <c:v>0</c:v>
                </c:pt>
                <c:pt idx="24075">
                  <c:v>2</c:v>
                </c:pt>
                <c:pt idx="24076">
                  <c:v>0</c:v>
                </c:pt>
                <c:pt idx="24077">
                  <c:v>0</c:v>
                </c:pt>
                <c:pt idx="24078">
                  <c:v>0</c:v>
                </c:pt>
                <c:pt idx="24079">
                  <c:v>0</c:v>
                </c:pt>
                <c:pt idx="24080">
                  <c:v>0</c:v>
                </c:pt>
                <c:pt idx="24081">
                  <c:v>2</c:v>
                </c:pt>
                <c:pt idx="24082">
                  <c:v>4</c:v>
                </c:pt>
                <c:pt idx="24083">
                  <c:v>0</c:v>
                </c:pt>
                <c:pt idx="24084">
                  <c:v>0</c:v>
                </c:pt>
                <c:pt idx="24085">
                  <c:v>1</c:v>
                </c:pt>
                <c:pt idx="24086">
                  <c:v>1</c:v>
                </c:pt>
                <c:pt idx="24087">
                  <c:v>0</c:v>
                </c:pt>
                <c:pt idx="24088">
                  <c:v>0</c:v>
                </c:pt>
                <c:pt idx="24089">
                  <c:v>0</c:v>
                </c:pt>
                <c:pt idx="24090">
                  <c:v>1</c:v>
                </c:pt>
                <c:pt idx="24091">
                  <c:v>0</c:v>
                </c:pt>
                <c:pt idx="24092">
                  <c:v>8</c:v>
                </c:pt>
                <c:pt idx="24093">
                  <c:v>1</c:v>
                </c:pt>
                <c:pt idx="24094">
                  <c:v>0</c:v>
                </c:pt>
                <c:pt idx="24095">
                  <c:v>2</c:v>
                </c:pt>
                <c:pt idx="24096">
                  <c:v>0</c:v>
                </c:pt>
                <c:pt idx="24097">
                  <c:v>1</c:v>
                </c:pt>
                <c:pt idx="24098">
                  <c:v>3</c:v>
                </c:pt>
                <c:pt idx="24099">
                  <c:v>0</c:v>
                </c:pt>
                <c:pt idx="24100">
                  <c:v>0</c:v>
                </c:pt>
                <c:pt idx="24101">
                  <c:v>0</c:v>
                </c:pt>
                <c:pt idx="24102">
                  <c:v>0</c:v>
                </c:pt>
                <c:pt idx="24103">
                  <c:v>4</c:v>
                </c:pt>
                <c:pt idx="24104">
                  <c:v>1</c:v>
                </c:pt>
                <c:pt idx="24105">
                  <c:v>0</c:v>
                </c:pt>
                <c:pt idx="24106">
                  <c:v>1</c:v>
                </c:pt>
                <c:pt idx="24107">
                  <c:v>11</c:v>
                </c:pt>
                <c:pt idx="24108">
                  <c:v>0</c:v>
                </c:pt>
                <c:pt idx="24109">
                  <c:v>0</c:v>
                </c:pt>
                <c:pt idx="24110">
                  <c:v>0</c:v>
                </c:pt>
                <c:pt idx="24111">
                  <c:v>2</c:v>
                </c:pt>
                <c:pt idx="24112">
                  <c:v>0</c:v>
                </c:pt>
                <c:pt idx="24113">
                  <c:v>4</c:v>
                </c:pt>
                <c:pt idx="24114">
                  <c:v>0</c:v>
                </c:pt>
                <c:pt idx="24115">
                  <c:v>0</c:v>
                </c:pt>
                <c:pt idx="24116">
                  <c:v>1</c:v>
                </c:pt>
                <c:pt idx="24117">
                  <c:v>0</c:v>
                </c:pt>
                <c:pt idx="24118">
                  <c:v>8</c:v>
                </c:pt>
                <c:pt idx="24119">
                  <c:v>0</c:v>
                </c:pt>
                <c:pt idx="24120">
                  <c:v>0</c:v>
                </c:pt>
                <c:pt idx="24121">
                  <c:v>0</c:v>
                </c:pt>
                <c:pt idx="24122">
                  <c:v>0</c:v>
                </c:pt>
                <c:pt idx="24123">
                  <c:v>0</c:v>
                </c:pt>
                <c:pt idx="24124">
                  <c:v>0</c:v>
                </c:pt>
                <c:pt idx="24125">
                  <c:v>0</c:v>
                </c:pt>
                <c:pt idx="24126">
                  <c:v>0</c:v>
                </c:pt>
                <c:pt idx="24127">
                  <c:v>0</c:v>
                </c:pt>
                <c:pt idx="24128">
                  <c:v>0</c:v>
                </c:pt>
                <c:pt idx="24129">
                  <c:v>0</c:v>
                </c:pt>
                <c:pt idx="24130">
                  <c:v>0</c:v>
                </c:pt>
                <c:pt idx="24131">
                  <c:v>0</c:v>
                </c:pt>
                <c:pt idx="24132">
                  <c:v>0</c:v>
                </c:pt>
                <c:pt idx="24133">
                  <c:v>0</c:v>
                </c:pt>
                <c:pt idx="24134">
                  <c:v>0</c:v>
                </c:pt>
                <c:pt idx="24135">
                  <c:v>0</c:v>
                </c:pt>
                <c:pt idx="24136">
                  <c:v>0</c:v>
                </c:pt>
                <c:pt idx="24137">
                  <c:v>0</c:v>
                </c:pt>
                <c:pt idx="24138">
                  <c:v>0</c:v>
                </c:pt>
                <c:pt idx="24139">
                  <c:v>0</c:v>
                </c:pt>
                <c:pt idx="24140">
                  <c:v>0</c:v>
                </c:pt>
                <c:pt idx="24141">
                  <c:v>0</c:v>
                </c:pt>
                <c:pt idx="24142">
                  <c:v>0</c:v>
                </c:pt>
                <c:pt idx="24143">
                  <c:v>0</c:v>
                </c:pt>
                <c:pt idx="24144">
                  <c:v>0</c:v>
                </c:pt>
                <c:pt idx="24145">
                  <c:v>0</c:v>
                </c:pt>
                <c:pt idx="24146">
                  <c:v>0</c:v>
                </c:pt>
                <c:pt idx="24147">
                  <c:v>0</c:v>
                </c:pt>
                <c:pt idx="24148">
                  <c:v>0</c:v>
                </c:pt>
                <c:pt idx="24149">
                  <c:v>2</c:v>
                </c:pt>
                <c:pt idx="24150">
                  <c:v>0</c:v>
                </c:pt>
                <c:pt idx="24151">
                  <c:v>1</c:v>
                </c:pt>
                <c:pt idx="24152">
                  <c:v>0</c:v>
                </c:pt>
                <c:pt idx="24153">
                  <c:v>1</c:v>
                </c:pt>
                <c:pt idx="24154">
                  <c:v>5</c:v>
                </c:pt>
                <c:pt idx="24155">
                  <c:v>0</c:v>
                </c:pt>
                <c:pt idx="24156">
                  <c:v>0</c:v>
                </c:pt>
                <c:pt idx="24157">
                  <c:v>2</c:v>
                </c:pt>
                <c:pt idx="24158">
                  <c:v>0</c:v>
                </c:pt>
                <c:pt idx="24159">
                  <c:v>0</c:v>
                </c:pt>
                <c:pt idx="24160">
                  <c:v>1</c:v>
                </c:pt>
                <c:pt idx="24161">
                  <c:v>0</c:v>
                </c:pt>
                <c:pt idx="24162">
                  <c:v>0</c:v>
                </c:pt>
                <c:pt idx="24163">
                  <c:v>0</c:v>
                </c:pt>
                <c:pt idx="24164">
                  <c:v>9</c:v>
                </c:pt>
                <c:pt idx="24165">
                  <c:v>14</c:v>
                </c:pt>
                <c:pt idx="24166">
                  <c:v>0</c:v>
                </c:pt>
                <c:pt idx="24167">
                  <c:v>0</c:v>
                </c:pt>
                <c:pt idx="24168">
                  <c:v>0</c:v>
                </c:pt>
                <c:pt idx="24169">
                  <c:v>0</c:v>
                </c:pt>
                <c:pt idx="24170">
                  <c:v>0</c:v>
                </c:pt>
                <c:pt idx="24171">
                  <c:v>0</c:v>
                </c:pt>
                <c:pt idx="24172">
                  <c:v>0</c:v>
                </c:pt>
                <c:pt idx="24173">
                  <c:v>0</c:v>
                </c:pt>
                <c:pt idx="24174">
                  <c:v>0</c:v>
                </c:pt>
                <c:pt idx="24175">
                  <c:v>0</c:v>
                </c:pt>
                <c:pt idx="24176">
                  <c:v>0</c:v>
                </c:pt>
                <c:pt idx="24177">
                  <c:v>0</c:v>
                </c:pt>
                <c:pt idx="24178">
                  <c:v>0</c:v>
                </c:pt>
                <c:pt idx="24179">
                  <c:v>0</c:v>
                </c:pt>
                <c:pt idx="24180">
                  <c:v>2</c:v>
                </c:pt>
                <c:pt idx="24181">
                  <c:v>2</c:v>
                </c:pt>
                <c:pt idx="24182">
                  <c:v>0</c:v>
                </c:pt>
                <c:pt idx="24183">
                  <c:v>0</c:v>
                </c:pt>
                <c:pt idx="24184">
                  <c:v>0</c:v>
                </c:pt>
                <c:pt idx="24185">
                  <c:v>0</c:v>
                </c:pt>
                <c:pt idx="24186">
                  <c:v>0</c:v>
                </c:pt>
                <c:pt idx="24187">
                  <c:v>0</c:v>
                </c:pt>
                <c:pt idx="24188">
                  <c:v>0</c:v>
                </c:pt>
                <c:pt idx="24189">
                  <c:v>0</c:v>
                </c:pt>
                <c:pt idx="24190">
                  <c:v>0</c:v>
                </c:pt>
                <c:pt idx="24191">
                  <c:v>0</c:v>
                </c:pt>
                <c:pt idx="24192">
                  <c:v>0</c:v>
                </c:pt>
                <c:pt idx="24193">
                  <c:v>0</c:v>
                </c:pt>
                <c:pt idx="24194">
                  <c:v>0</c:v>
                </c:pt>
                <c:pt idx="24195">
                  <c:v>0</c:v>
                </c:pt>
                <c:pt idx="24196">
                  <c:v>0</c:v>
                </c:pt>
                <c:pt idx="24197">
                  <c:v>0</c:v>
                </c:pt>
                <c:pt idx="24198">
                  <c:v>0</c:v>
                </c:pt>
                <c:pt idx="24199">
                  <c:v>0</c:v>
                </c:pt>
                <c:pt idx="24200">
                  <c:v>0</c:v>
                </c:pt>
                <c:pt idx="24201">
                  <c:v>0</c:v>
                </c:pt>
                <c:pt idx="24202">
                  <c:v>0</c:v>
                </c:pt>
                <c:pt idx="24203">
                  <c:v>0</c:v>
                </c:pt>
                <c:pt idx="24204">
                  <c:v>0</c:v>
                </c:pt>
                <c:pt idx="24205">
                  <c:v>0</c:v>
                </c:pt>
                <c:pt idx="24206">
                  <c:v>1</c:v>
                </c:pt>
                <c:pt idx="24207">
                  <c:v>0</c:v>
                </c:pt>
                <c:pt idx="24208">
                  <c:v>0</c:v>
                </c:pt>
                <c:pt idx="24209">
                  <c:v>0</c:v>
                </c:pt>
                <c:pt idx="24210">
                  <c:v>0</c:v>
                </c:pt>
                <c:pt idx="24211">
                  <c:v>0</c:v>
                </c:pt>
                <c:pt idx="24212">
                  <c:v>0</c:v>
                </c:pt>
                <c:pt idx="24213">
                  <c:v>0</c:v>
                </c:pt>
                <c:pt idx="24214">
                  <c:v>0</c:v>
                </c:pt>
                <c:pt idx="24215">
                  <c:v>0</c:v>
                </c:pt>
                <c:pt idx="24216">
                  <c:v>0</c:v>
                </c:pt>
                <c:pt idx="24217">
                  <c:v>0</c:v>
                </c:pt>
                <c:pt idx="24218">
                  <c:v>0</c:v>
                </c:pt>
                <c:pt idx="24219">
                  <c:v>0</c:v>
                </c:pt>
                <c:pt idx="24220">
                  <c:v>0</c:v>
                </c:pt>
                <c:pt idx="24221">
                  <c:v>0</c:v>
                </c:pt>
                <c:pt idx="24222">
                  <c:v>2</c:v>
                </c:pt>
                <c:pt idx="24223">
                  <c:v>0</c:v>
                </c:pt>
                <c:pt idx="24224">
                  <c:v>0</c:v>
                </c:pt>
                <c:pt idx="24225">
                  <c:v>3</c:v>
                </c:pt>
                <c:pt idx="24226">
                  <c:v>0</c:v>
                </c:pt>
                <c:pt idx="24227">
                  <c:v>0</c:v>
                </c:pt>
                <c:pt idx="24228">
                  <c:v>0</c:v>
                </c:pt>
                <c:pt idx="24229">
                  <c:v>0</c:v>
                </c:pt>
                <c:pt idx="24230">
                  <c:v>0</c:v>
                </c:pt>
                <c:pt idx="24231">
                  <c:v>0</c:v>
                </c:pt>
                <c:pt idx="24232">
                  <c:v>0</c:v>
                </c:pt>
                <c:pt idx="24233">
                  <c:v>0</c:v>
                </c:pt>
                <c:pt idx="24234">
                  <c:v>0</c:v>
                </c:pt>
                <c:pt idx="24235">
                  <c:v>0</c:v>
                </c:pt>
                <c:pt idx="24236">
                  <c:v>0</c:v>
                </c:pt>
                <c:pt idx="24237">
                  <c:v>0</c:v>
                </c:pt>
                <c:pt idx="24238">
                  <c:v>0</c:v>
                </c:pt>
                <c:pt idx="24239">
                  <c:v>0</c:v>
                </c:pt>
                <c:pt idx="24240">
                  <c:v>0</c:v>
                </c:pt>
                <c:pt idx="24241">
                  <c:v>0</c:v>
                </c:pt>
                <c:pt idx="24242">
                  <c:v>0</c:v>
                </c:pt>
                <c:pt idx="24243">
                  <c:v>0</c:v>
                </c:pt>
                <c:pt idx="24244">
                  <c:v>0</c:v>
                </c:pt>
                <c:pt idx="24245">
                  <c:v>0</c:v>
                </c:pt>
                <c:pt idx="24246">
                  <c:v>0</c:v>
                </c:pt>
                <c:pt idx="24247">
                  <c:v>0</c:v>
                </c:pt>
                <c:pt idx="24248">
                  <c:v>0</c:v>
                </c:pt>
                <c:pt idx="24249">
                  <c:v>1</c:v>
                </c:pt>
                <c:pt idx="24250">
                  <c:v>1</c:v>
                </c:pt>
                <c:pt idx="24251">
                  <c:v>0</c:v>
                </c:pt>
                <c:pt idx="24252">
                  <c:v>0</c:v>
                </c:pt>
                <c:pt idx="24253">
                  <c:v>1</c:v>
                </c:pt>
                <c:pt idx="24254">
                  <c:v>0</c:v>
                </c:pt>
                <c:pt idx="24255">
                  <c:v>0</c:v>
                </c:pt>
                <c:pt idx="24256">
                  <c:v>0</c:v>
                </c:pt>
                <c:pt idx="24257">
                  <c:v>0</c:v>
                </c:pt>
                <c:pt idx="24258">
                  <c:v>0</c:v>
                </c:pt>
                <c:pt idx="24259">
                  <c:v>0</c:v>
                </c:pt>
                <c:pt idx="24260">
                  <c:v>0</c:v>
                </c:pt>
                <c:pt idx="24261">
                  <c:v>2</c:v>
                </c:pt>
                <c:pt idx="24262">
                  <c:v>2</c:v>
                </c:pt>
                <c:pt idx="24263">
                  <c:v>0</c:v>
                </c:pt>
                <c:pt idx="24264">
                  <c:v>0</c:v>
                </c:pt>
                <c:pt idx="24265">
                  <c:v>0</c:v>
                </c:pt>
                <c:pt idx="24266">
                  <c:v>0</c:v>
                </c:pt>
                <c:pt idx="24267">
                  <c:v>0</c:v>
                </c:pt>
                <c:pt idx="24268">
                  <c:v>1</c:v>
                </c:pt>
                <c:pt idx="24269">
                  <c:v>0</c:v>
                </c:pt>
                <c:pt idx="24270">
                  <c:v>0</c:v>
                </c:pt>
                <c:pt idx="24271">
                  <c:v>2</c:v>
                </c:pt>
                <c:pt idx="24272">
                  <c:v>1</c:v>
                </c:pt>
                <c:pt idx="24273">
                  <c:v>0</c:v>
                </c:pt>
                <c:pt idx="24274">
                  <c:v>0</c:v>
                </c:pt>
                <c:pt idx="24275">
                  <c:v>0</c:v>
                </c:pt>
                <c:pt idx="24276">
                  <c:v>1</c:v>
                </c:pt>
                <c:pt idx="24277">
                  <c:v>0</c:v>
                </c:pt>
                <c:pt idx="24278">
                  <c:v>2</c:v>
                </c:pt>
                <c:pt idx="24279">
                  <c:v>0</c:v>
                </c:pt>
                <c:pt idx="24280">
                  <c:v>0</c:v>
                </c:pt>
                <c:pt idx="24281">
                  <c:v>0</c:v>
                </c:pt>
                <c:pt idx="24282">
                  <c:v>4</c:v>
                </c:pt>
                <c:pt idx="24283">
                  <c:v>2</c:v>
                </c:pt>
                <c:pt idx="24284">
                  <c:v>0</c:v>
                </c:pt>
                <c:pt idx="24285">
                  <c:v>5</c:v>
                </c:pt>
                <c:pt idx="24286">
                  <c:v>0</c:v>
                </c:pt>
                <c:pt idx="24287">
                  <c:v>1</c:v>
                </c:pt>
                <c:pt idx="24288">
                  <c:v>4</c:v>
                </c:pt>
                <c:pt idx="24289">
                  <c:v>5</c:v>
                </c:pt>
                <c:pt idx="24290">
                  <c:v>0</c:v>
                </c:pt>
                <c:pt idx="24291">
                  <c:v>9</c:v>
                </c:pt>
                <c:pt idx="24292">
                  <c:v>2</c:v>
                </c:pt>
                <c:pt idx="24293">
                  <c:v>1</c:v>
                </c:pt>
                <c:pt idx="24294">
                  <c:v>0</c:v>
                </c:pt>
                <c:pt idx="24295">
                  <c:v>1</c:v>
                </c:pt>
                <c:pt idx="24296">
                  <c:v>0</c:v>
                </c:pt>
                <c:pt idx="24297">
                  <c:v>0</c:v>
                </c:pt>
                <c:pt idx="24298">
                  <c:v>0</c:v>
                </c:pt>
                <c:pt idx="24299">
                  <c:v>0</c:v>
                </c:pt>
                <c:pt idx="24300">
                  <c:v>0</c:v>
                </c:pt>
                <c:pt idx="24301">
                  <c:v>0</c:v>
                </c:pt>
                <c:pt idx="24302">
                  <c:v>4</c:v>
                </c:pt>
                <c:pt idx="24303">
                  <c:v>1</c:v>
                </c:pt>
                <c:pt idx="24304">
                  <c:v>6</c:v>
                </c:pt>
                <c:pt idx="24305">
                  <c:v>10</c:v>
                </c:pt>
                <c:pt idx="24306">
                  <c:v>0</c:v>
                </c:pt>
                <c:pt idx="24307">
                  <c:v>5</c:v>
                </c:pt>
                <c:pt idx="24308">
                  <c:v>0</c:v>
                </c:pt>
                <c:pt idx="24309">
                  <c:v>0</c:v>
                </c:pt>
                <c:pt idx="24310">
                  <c:v>2</c:v>
                </c:pt>
                <c:pt idx="24311">
                  <c:v>0</c:v>
                </c:pt>
                <c:pt idx="24312">
                  <c:v>2</c:v>
                </c:pt>
                <c:pt idx="24313">
                  <c:v>0</c:v>
                </c:pt>
                <c:pt idx="24314">
                  <c:v>0</c:v>
                </c:pt>
                <c:pt idx="24315">
                  <c:v>1</c:v>
                </c:pt>
                <c:pt idx="24316">
                  <c:v>1</c:v>
                </c:pt>
                <c:pt idx="24317">
                  <c:v>0</c:v>
                </c:pt>
                <c:pt idx="24318">
                  <c:v>8</c:v>
                </c:pt>
                <c:pt idx="24319">
                  <c:v>0</c:v>
                </c:pt>
                <c:pt idx="24320">
                  <c:v>1</c:v>
                </c:pt>
                <c:pt idx="24321">
                  <c:v>0</c:v>
                </c:pt>
                <c:pt idx="24322">
                  <c:v>1</c:v>
                </c:pt>
                <c:pt idx="24323">
                  <c:v>1</c:v>
                </c:pt>
                <c:pt idx="24324">
                  <c:v>0</c:v>
                </c:pt>
                <c:pt idx="24325">
                  <c:v>1</c:v>
                </c:pt>
                <c:pt idx="24326">
                  <c:v>2</c:v>
                </c:pt>
                <c:pt idx="24327">
                  <c:v>3</c:v>
                </c:pt>
                <c:pt idx="24328">
                  <c:v>1</c:v>
                </c:pt>
                <c:pt idx="24329">
                  <c:v>0</c:v>
                </c:pt>
                <c:pt idx="24330">
                  <c:v>1</c:v>
                </c:pt>
                <c:pt idx="24331">
                  <c:v>0</c:v>
                </c:pt>
                <c:pt idx="24332">
                  <c:v>0</c:v>
                </c:pt>
                <c:pt idx="24333">
                  <c:v>0</c:v>
                </c:pt>
                <c:pt idx="24334">
                  <c:v>0</c:v>
                </c:pt>
                <c:pt idx="24335">
                  <c:v>0</c:v>
                </c:pt>
                <c:pt idx="24336">
                  <c:v>0</c:v>
                </c:pt>
                <c:pt idx="24337">
                  <c:v>0</c:v>
                </c:pt>
                <c:pt idx="24338">
                  <c:v>0</c:v>
                </c:pt>
                <c:pt idx="24339">
                  <c:v>0</c:v>
                </c:pt>
                <c:pt idx="24340">
                  <c:v>0</c:v>
                </c:pt>
                <c:pt idx="24341">
                  <c:v>0</c:v>
                </c:pt>
                <c:pt idx="24342">
                  <c:v>0</c:v>
                </c:pt>
                <c:pt idx="24343">
                  <c:v>0</c:v>
                </c:pt>
                <c:pt idx="24344">
                  <c:v>0</c:v>
                </c:pt>
                <c:pt idx="24345">
                  <c:v>0</c:v>
                </c:pt>
                <c:pt idx="24346">
                  <c:v>0</c:v>
                </c:pt>
                <c:pt idx="24347">
                  <c:v>0</c:v>
                </c:pt>
                <c:pt idx="24348">
                  <c:v>1</c:v>
                </c:pt>
                <c:pt idx="24349">
                  <c:v>0</c:v>
                </c:pt>
                <c:pt idx="24350">
                  <c:v>0</c:v>
                </c:pt>
                <c:pt idx="24351">
                  <c:v>0</c:v>
                </c:pt>
                <c:pt idx="24352">
                  <c:v>0</c:v>
                </c:pt>
                <c:pt idx="24353">
                  <c:v>1</c:v>
                </c:pt>
                <c:pt idx="24354">
                  <c:v>0</c:v>
                </c:pt>
                <c:pt idx="24355">
                  <c:v>0</c:v>
                </c:pt>
                <c:pt idx="24356">
                  <c:v>0</c:v>
                </c:pt>
                <c:pt idx="24357">
                  <c:v>0</c:v>
                </c:pt>
                <c:pt idx="24358">
                  <c:v>1</c:v>
                </c:pt>
                <c:pt idx="24359">
                  <c:v>0</c:v>
                </c:pt>
                <c:pt idx="24360">
                  <c:v>0</c:v>
                </c:pt>
                <c:pt idx="24361">
                  <c:v>0</c:v>
                </c:pt>
                <c:pt idx="24362">
                  <c:v>0</c:v>
                </c:pt>
                <c:pt idx="24363">
                  <c:v>0</c:v>
                </c:pt>
                <c:pt idx="24364">
                  <c:v>0</c:v>
                </c:pt>
                <c:pt idx="24365">
                  <c:v>0</c:v>
                </c:pt>
                <c:pt idx="24366">
                  <c:v>0</c:v>
                </c:pt>
                <c:pt idx="24367">
                  <c:v>0</c:v>
                </c:pt>
                <c:pt idx="24368">
                  <c:v>0</c:v>
                </c:pt>
                <c:pt idx="24369">
                  <c:v>0</c:v>
                </c:pt>
                <c:pt idx="24370">
                  <c:v>0</c:v>
                </c:pt>
                <c:pt idx="24371">
                  <c:v>0</c:v>
                </c:pt>
                <c:pt idx="24372">
                  <c:v>0</c:v>
                </c:pt>
                <c:pt idx="24373">
                  <c:v>1</c:v>
                </c:pt>
                <c:pt idx="24374">
                  <c:v>1</c:v>
                </c:pt>
                <c:pt idx="24375">
                  <c:v>2</c:v>
                </c:pt>
                <c:pt idx="24376">
                  <c:v>1</c:v>
                </c:pt>
                <c:pt idx="24377">
                  <c:v>1</c:v>
                </c:pt>
                <c:pt idx="24378">
                  <c:v>0</c:v>
                </c:pt>
                <c:pt idx="24379">
                  <c:v>0</c:v>
                </c:pt>
                <c:pt idx="24380">
                  <c:v>0</c:v>
                </c:pt>
                <c:pt idx="24381">
                  <c:v>4</c:v>
                </c:pt>
                <c:pt idx="24382">
                  <c:v>2</c:v>
                </c:pt>
                <c:pt idx="24383">
                  <c:v>1</c:v>
                </c:pt>
                <c:pt idx="24384">
                  <c:v>0</c:v>
                </c:pt>
                <c:pt idx="24385">
                  <c:v>3</c:v>
                </c:pt>
                <c:pt idx="24386">
                  <c:v>0</c:v>
                </c:pt>
                <c:pt idx="24387">
                  <c:v>0</c:v>
                </c:pt>
                <c:pt idx="24388">
                  <c:v>0</c:v>
                </c:pt>
                <c:pt idx="24389">
                  <c:v>0</c:v>
                </c:pt>
                <c:pt idx="24390">
                  <c:v>1</c:v>
                </c:pt>
                <c:pt idx="24391">
                  <c:v>0</c:v>
                </c:pt>
                <c:pt idx="24392">
                  <c:v>2</c:v>
                </c:pt>
                <c:pt idx="24393">
                  <c:v>0</c:v>
                </c:pt>
                <c:pt idx="24394">
                  <c:v>0</c:v>
                </c:pt>
                <c:pt idx="24395">
                  <c:v>0</c:v>
                </c:pt>
                <c:pt idx="24396">
                  <c:v>0</c:v>
                </c:pt>
                <c:pt idx="24397">
                  <c:v>0</c:v>
                </c:pt>
                <c:pt idx="24398">
                  <c:v>0</c:v>
                </c:pt>
                <c:pt idx="24399">
                  <c:v>2</c:v>
                </c:pt>
                <c:pt idx="24400">
                  <c:v>0</c:v>
                </c:pt>
                <c:pt idx="24401">
                  <c:v>0</c:v>
                </c:pt>
                <c:pt idx="24402">
                  <c:v>0</c:v>
                </c:pt>
                <c:pt idx="24403">
                  <c:v>0</c:v>
                </c:pt>
                <c:pt idx="24404">
                  <c:v>0</c:v>
                </c:pt>
                <c:pt idx="24405">
                  <c:v>0</c:v>
                </c:pt>
                <c:pt idx="24406">
                  <c:v>0</c:v>
                </c:pt>
                <c:pt idx="24407">
                  <c:v>0</c:v>
                </c:pt>
                <c:pt idx="24408">
                  <c:v>2</c:v>
                </c:pt>
                <c:pt idx="24409">
                  <c:v>0</c:v>
                </c:pt>
                <c:pt idx="24410">
                  <c:v>0</c:v>
                </c:pt>
                <c:pt idx="24411">
                  <c:v>0</c:v>
                </c:pt>
                <c:pt idx="24412">
                  <c:v>0</c:v>
                </c:pt>
                <c:pt idx="24413">
                  <c:v>0</c:v>
                </c:pt>
                <c:pt idx="24414">
                  <c:v>3</c:v>
                </c:pt>
                <c:pt idx="24415">
                  <c:v>0</c:v>
                </c:pt>
                <c:pt idx="24416">
                  <c:v>0</c:v>
                </c:pt>
                <c:pt idx="24417">
                  <c:v>0</c:v>
                </c:pt>
                <c:pt idx="24418">
                  <c:v>0</c:v>
                </c:pt>
                <c:pt idx="24419">
                  <c:v>0</c:v>
                </c:pt>
                <c:pt idx="24420">
                  <c:v>1</c:v>
                </c:pt>
                <c:pt idx="24421">
                  <c:v>1</c:v>
                </c:pt>
                <c:pt idx="24422">
                  <c:v>0</c:v>
                </c:pt>
                <c:pt idx="24423">
                  <c:v>0</c:v>
                </c:pt>
                <c:pt idx="24424">
                  <c:v>0</c:v>
                </c:pt>
                <c:pt idx="24425">
                  <c:v>0</c:v>
                </c:pt>
                <c:pt idx="24426">
                  <c:v>0</c:v>
                </c:pt>
                <c:pt idx="24427">
                  <c:v>0</c:v>
                </c:pt>
                <c:pt idx="24428">
                  <c:v>0</c:v>
                </c:pt>
                <c:pt idx="24429">
                  <c:v>0</c:v>
                </c:pt>
                <c:pt idx="24430">
                  <c:v>1</c:v>
                </c:pt>
                <c:pt idx="24431">
                  <c:v>0</c:v>
                </c:pt>
                <c:pt idx="24432">
                  <c:v>0</c:v>
                </c:pt>
                <c:pt idx="24433">
                  <c:v>0</c:v>
                </c:pt>
                <c:pt idx="24434">
                  <c:v>4</c:v>
                </c:pt>
                <c:pt idx="24435">
                  <c:v>1</c:v>
                </c:pt>
                <c:pt idx="24436">
                  <c:v>0</c:v>
                </c:pt>
                <c:pt idx="24437">
                  <c:v>10</c:v>
                </c:pt>
                <c:pt idx="24438">
                  <c:v>0</c:v>
                </c:pt>
                <c:pt idx="24439">
                  <c:v>0</c:v>
                </c:pt>
                <c:pt idx="24440">
                  <c:v>0</c:v>
                </c:pt>
                <c:pt idx="24441">
                  <c:v>0</c:v>
                </c:pt>
                <c:pt idx="24442">
                  <c:v>0</c:v>
                </c:pt>
                <c:pt idx="24443">
                  <c:v>0</c:v>
                </c:pt>
                <c:pt idx="24444">
                  <c:v>1</c:v>
                </c:pt>
                <c:pt idx="24445">
                  <c:v>1</c:v>
                </c:pt>
                <c:pt idx="24446">
                  <c:v>0</c:v>
                </c:pt>
                <c:pt idx="24447">
                  <c:v>0</c:v>
                </c:pt>
                <c:pt idx="24448">
                  <c:v>1</c:v>
                </c:pt>
                <c:pt idx="24449">
                  <c:v>2</c:v>
                </c:pt>
                <c:pt idx="24450">
                  <c:v>6</c:v>
                </c:pt>
                <c:pt idx="24451">
                  <c:v>0</c:v>
                </c:pt>
                <c:pt idx="24452">
                  <c:v>0</c:v>
                </c:pt>
                <c:pt idx="24453">
                  <c:v>0</c:v>
                </c:pt>
                <c:pt idx="24454">
                  <c:v>2</c:v>
                </c:pt>
                <c:pt idx="24455">
                  <c:v>1</c:v>
                </c:pt>
                <c:pt idx="24456">
                  <c:v>0</c:v>
                </c:pt>
                <c:pt idx="24457">
                  <c:v>0</c:v>
                </c:pt>
                <c:pt idx="24458">
                  <c:v>0</c:v>
                </c:pt>
                <c:pt idx="24459">
                  <c:v>2</c:v>
                </c:pt>
                <c:pt idx="24460">
                  <c:v>5</c:v>
                </c:pt>
                <c:pt idx="24461">
                  <c:v>0</c:v>
                </c:pt>
                <c:pt idx="24462">
                  <c:v>0</c:v>
                </c:pt>
                <c:pt idx="24463">
                  <c:v>0</c:v>
                </c:pt>
                <c:pt idx="24464">
                  <c:v>1</c:v>
                </c:pt>
                <c:pt idx="24465">
                  <c:v>0</c:v>
                </c:pt>
                <c:pt idx="24466">
                  <c:v>0</c:v>
                </c:pt>
                <c:pt idx="24467">
                  <c:v>0</c:v>
                </c:pt>
                <c:pt idx="24468">
                  <c:v>1</c:v>
                </c:pt>
                <c:pt idx="24469">
                  <c:v>1</c:v>
                </c:pt>
                <c:pt idx="24470">
                  <c:v>0</c:v>
                </c:pt>
                <c:pt idx="24471">
                  <c:v>0</c:v>
                </c:pt>
                <c:pt idx="24472">
                  <c:v>0</c:v>
                </c:pt>
                <c:pt idx="24473">
                  <c:v>0</c:v>
                </c:pt>
                <c:pt idx="24474">
                  <c:v>3</c:v>
                </c:pt>
                <c:pt idx="24475">
                  <c:v>0</c:v>
                </c:pt>
                <c:pt idx="24476">
                  <c:v>0</c:v>
                </c:pt>
                <c:pt idx="24477">
                  <c:v>0</c:v>
                </c:pt>
                <c:pt idx="24478">
                  <c:v>3</c:v>
                </c:pt>
                <c:pt idx="24479">
                  <c:v>2</c:v>
                </c:pt>
                <c:pt idx="24480">
                  <c:v>6</c:v>
                </c:pt>
                <c:pt idx="24481">
                  <c:v>0</c:v>
                </c:pt>
                <c:pt idx="24482">
                  <c:v>0</c:v>
                </c:pt>
                <c:pt idx="24483">
                  <c:v>0</c:v>
                </c:pt>
                <c:pt idx="24484">
                  <c:v>0</c:v>
                </c:pt>
                <c:pt idx="24485">
                  <c:v>0</c:v>
                </c:pt>
                <c:pt idx="24486">
                  <c:v>0</c:v>
                </c:pt>
                <c:pt idx="24487">
                  <c:v>3</c:v>
                </c:pt>
                <c:pt idx="24488">
                  <c:v>9</c:v>
                </c:pt>
                <c:pt idx="24489">
                  <c:v>0</c:v>
                </c:pt>
                <c:pt idx="24490">
                  <c:v>3</c:v>
                </c:pt>
                <c:pt idx="24491">
                  <c:v>7</c:v>
                </c:pt>
                <c:pt idx="24492">
                  <c:v>7</c:v>
                </c:pt>
                <c:pt idx="24493">
                  <c:v>1</c:v>
                </c:pt>
                <c:pt idx="24494">
                  <c:v>0</c:v>
                </c:pt>
                <c:pt idx="24495">
                  <c:v>0</c:v>
                </c:pt>
                <c:pt idx="24496">
                  <c:v>0</c:v>
                </c:pt>
                <c:pt idx="24497">
                  <c:v>2</c:v>
                </c:pt>
                <c:pt idx="24498">
                  <c:v>0</c:v>
                </c:pt>
                <c:pt idx="24499">
                  <c:v>0</c:v>
                </c:pt>
                <c:pt idx="24500">
                  <c:v>4</c:v>
                </c:pt>
                <c:pt idx="24501">
                  <c:v>1</c:v>
                </c:pt>
                <c:pt idx="24502">
                  <c:v>0</c:v>
                </c:pt>
                <c:pt idx="24503">
                  <c:v>1</c:v>
                </c:pt>
                <c:pt idx="24504">
                  <c:v>0</c:v>
                </c:pt>
                <c:pt idx="24505">
                  <c:v>2</c:v>
                </c:pt>
                <c:pt idx="24506">
                  <c:v>1</c:v>
                </c:pt>
                <c:pt idx="24507">
                  <c:v>0</c:v>
                </c:pt>
                <c:pt idx="24508">
                  <c:v>0</c:v>
                </c:pt>
                <c:pt idx="24509">
                  <c:v>1</c:v>
                </c:pt>
                <c:pt idx="24510">
                  <c:v>0</c:v>
                </c:pt>
                <c:pt idx="24511">
                  <c:v>0</c:v>
                </c:pt>
                <c:pt idx="24512">
                  <c:v>4</c:v>
                </c:pt>
                <c:pt idx="24513">
                  <c:v>0</c:v>
                </c:pt>
                <c:pt idx="24514">
                  <c:v>3</c:v>
                </c:pt>
                <c:pt idx="24515">
                  <c:v>0</c:v>
                </c:pt>
                <c:pt idx="24516">
                  <c:v>3</c:v>
                </c:pt>
                <c:pt idx="24517">
                  <c:v>4</c:v>
                </c:pt>
                <c:pt idx="24518">
                  <c:v>0</c:v>
                </c:pt>
                <c:pt idx="24519">
                  <c:v>3</c:v>
                </c:pt>
                <c:pt idx="24520">
                  <c:v>3</c:v>
                </c:pt>
                <c:pt idx="24521">
                  <c:v>0</c:v>
                </c:pt>
                <c:pt idx="24522">
                  <c:v>0</c:v>
                </c:pt>
                <c:pt idx="24523">
                  <c:v>0</c:v>
                </c:pt>
                <c:pt idx="24524">
                  <c:v>1</c:v>
                </c:pt>
                <c:pt idx="24525">
                  <c:v>0</c:v>
                </c:pt>
                <c:pt idx="24526">
                  <c:v>1</c:v>
                </c:pt>
                <c:pt idx="24527">
                  <c:v>1</c:v>
                </c:pt>
                <c:pt idx="24528">
                  <c:v>3</c:v>
                </c:pt>
                <c:pt idx="24529">
                  <c:v>4</c:v>
                </c:pt>
                <c:pt idx="24530">
                  <c:v>1</c:v>
                </c:pt>
                <c:pt idx="24531">
                  <c:v>0</c:v>
                </c:pt>
                <c:pt idx="24532">
                  <c:v>0</c:v>
                </c:pt>
                <c:pt idx="24533">
                  <c:v>0</c:v>
                </c:pt>
                <c:pt idx="24534">
                  <c:v>0</c:v>
                </c:pt>
                <c:pt idx="24535">
                  <c:v>0</c:v>
                </c:pt>
                <c:pt idx="24536">
                  <c:v>0</c:v>
                </c:pt>
                <c:pt idx="24537">
                  <c:v>0</c:v>
                </c:pt>
                <c:pt idx="24538">
                  <c:v>0</c:v>
                </c:pt>
                <c:pt idx="24539">
                  <c:v>0</c:v>
                </c:pt>
                <c:pt idx="24540">
                  <c:v>0</c:v>
                </c:pt>
                <c:pt idx="24541">
                  <c:v>0</c:v>
                </c:pt>
                <c:pt idx="24542">
                  <c:v>0</c:v>
                </c:pt>
                <c:pt idx="24543">
                  <c:v>0</c:v>
                </c:pt>
                <c:pt idx="24544">
                  <c:v>0</c:v>
                </c:pt>
                <c:pt idx="24545">
                  <c:v>0</c:v>
                </c:pt>
                <c:pt idx="24546">
                  <c:v>0</c:v>
                </c:pt>
                <c:pt idx="24547">
                  <c:v>0</c:v>
                </c:pt>
                <c:pt idx="24548">
                  <c:v>0</c:v>
                </c:pt>
                <c:pt idx="24549">
                  <c:v>0</c:v>
                </c:pt>
                <c:pt idx="24550">
                  <c:v>0</c:v>
                </c:pt>
                <c:pt idx="24551">
                  <c:v>0</c:v>
                </c:pt>
                <c:pt idx="24552">
                  <c:v>0</c:v>
                </c:pt>
                <c:pt idx="24553">
                  <c:v>0</c:v>
                </c:pt>
                <c:pt idx="24554">
                  <c:v>0</c:v>
                </c:pt>
                <c:pt idx="24555">
                  <c:v>0</c:v>
                </c:pt>
                <c:pt idx="24556">
                  <c:v>1</c:v>
                </c:pt>
                <c:pt idx="24557">
                  <c:v>0</c:v>
                </c:pt>
                <c:pt idx="24558">
                  <c:v>0</c:v>
                </c:pt>
                <c:pt idx="24559">
                  <c:v>0</c:v>
                </c:pt>
                <c:pt idx="24560">
                  <c:v>0</c:v>
                </c:pt>
                <c:pt idx="24561">
                  <c:v>0</c:v>
                </c:pt>
                <c:pt idx="24562">
                  <c:v>0</c:v>
                </c:pt>
                <c:pt idx="24563">
                  <c:v>0</c:v>
                </c:pt>
                <c:pt idx="24564">
                  <c:v>0</c:v>
                </c:pt>
                <c:pt idx="24565">
                  <c:v>0</c:v>
                </c:pt>
                <c:pt idx="24566">
                  <c:v>0</c:v>
                </c:pt>
                <c:pt idx="24567">
                  <c:v>0</c:v>
                </c:pt>
                <c:pt idx="24568">
                  <c:v>0</c:v>
                </c:pt>
                <c:pt idx="24569">
                  <c:v>0</c:v>
                </c:pt>
                <c:pt idx="24570">
                  <c:v>0</c:v>
                </c:pt>
                <c:pt idx="24571">
                  <c:v>0</c:v>
                </c:pt>
                <c:pt idx="24572">
                  <c:v>0</c:v>
                </c:pt>
                <c:pt idx="24573">
                  <c:v>0</c:v>
                </c:pt>
                <c:pt idx="24574">
                  <c:v>0</c:v>
                </c:pt>
                <c:pt idx="24575">
                  <c:v>0</c:v>
                </c:pt>
                <c:pt idx="24576">
                  <c:v>0</c:v>
                </c:pt>
                <c:pt idx="24577">
                  <c:v>2</c:v>
                </c:pt>
                <c:pt idx="24578">
                  <c:v>0</c:v>
                </c:pt>
                <c:pt idx="24579">
                  <c:v>0</c:v>
                </c:pt>
                <c:pt idx="24580">
                  <c:v>0</c:v>
                </c:pt>
                <c:pt idx="24581">
                  <c:v>0</c:v>
                </c:pt>
                <c:pt idx="24582">
                  <c:v>0</c:v>
                </c:pt>
                <c:pt idx="24583">
                  <c:v>0</c:v>
                </c:pt>
                <c:pt idx="24584">
                  <c:v>1</c:v>
                </c:pt>
                <c:pt idx="24585">
                  <c:v>0</c:v>
                </c:pt>
                <c:pt idx="24586">
                  <c:v>0</c:v>
                </c:pt>
                <c:pt idx="24587">
                  <c:v>0</c:v>
                </c:pt>
                <c:pt idx="24588">
                  <c:v>0</c:v>
                </c:pt>
                <c:pt idx="24589">
                  <c:v>0</c:v>
                </c:pt>
                <c:pt idx="24590">
                  <c:v>0</c:v>
                </c:pt>
                <c:pt idx="24591">
                  <c:v>0</c:v>
                </c:pt>
                <c:pt idx="24592">
                  <c:v>0</c:v>
                </c:pt>
                <c:pt idx="24593">
                  <c:v>0</c:v>
                </c:pt>
                <c:pt idx="24594">
                  <c:v>0</c:v>
                </c:pt>
                <c:pt idx="24595">
                  <c:v>0</c:v>
                </c:pt>
                <c:pt idx="24596">
                  <c:v>0</c:v>
                </c:pt>
                <c:pt idx="24597">
                  <c:v>0</c:v>
                </c:pt>
                <c:pt idx="24598">
                  <c:v>0</c:v>
                </c:pt>
                <c:pt idx="24599">
                  <c:v>0</c:v>
                </c:pt>
                <c:pt idx="24600">
                  <c:v>0</c:v>
                </c:pt>
                <c:pt idx="24601">
                  <c:v>0</c:v>
                </c:pt>
                <c:pt idx="24602">
                  <c:v>0</c:v>
                </c:pt>
                <c:pt idx="24603">
                  <c:v>0</c:v>
                </c:pt>
                <c:pt idx="24604">
                  <c:v>0</c:v>
                </c:pt>
                <c:pt idx="24605">
                  <c:v>0</c:v>
                </c:pt>
                <c:pt idx="24606">
                  <c:v>1</c:v>
                </c:pt>
                <c:pt idx="24607">
                  <c:v>0</c:v>
                </c:pt>
                <c:pt idx="24608">
                  <c:v>0</c:v>
                </c:pt>
                <c:pt idx="24609">
                  <c:v>1</c:v>
                </c:pt>
                <c:pt idx="24610">
                  <c:v>0</c:v>
                </c:pt>
                <c:pt idx="24611">
                  <c:v>0</c:v>
                </c:pt>
                <c:pt idx="24612">
                  <c:v>0</c:v>
                </c:pt>
                <c:pt idx="24613">
                  <c:v>0</c:v>
                </c:pt>
                <c:pt idx="24614">
                  <c:v>0</c:v>
                </c:pt>
                <c:pt idx="24615">
                  <c:v>0</c:v>
                </c:pt>
                <c:pt idx="24616">
                  <c:v>0</c:v>
                </c:pt>
                <c:pt idx="24617">
                  <c:v>0</c:v>
                </c:pt>
                <c:pt idx="24618">
                  <c:v>0</c:v>
                </c:pt>
                <c:pt idx="24619">
                  <c:v>0</c:v>
                </c:pt>
                <c:pt idx="24620">
                  <c:v>0</c:v>
                </c:pt>
                <c:pt idx="24621">
                  <c:v>0</c:v>
                </c:pt>
                <c:pt idx="24622">
                  <c:v>0</c:v>
                </c:pt>
                <c:pt idx="24623">
                  <c:v>0</c:v>
                </c:pt>
                <c:pt idx="24624">
                  <c:v>0</c:v>
                </c:pt>
                <c:pt idx="24625">
                  <c:v>0</c:v>
                </c:pt>
                <c:pt idx="24626">
                  <c:v>1</c:v>
                </c:pt>
                <c:pt idx="24627">
                  <c:v>1</c:v>
                </c:pt>
                <c:pt idx="24628">
                  <c:v>1</c:v>
                </c:pt>
                <c:pt idx="24629">
                  <c:v>0</c:v>
                </c:pt>
                <c:pt idx="24630">
                  <c:v>0</c:v>
                </c:pt>
                <c:pt idx="24631">
                  <c:v>1</c:v>
                </c:pt>
                <c:pt idx="24632">
                  <c:v>0</c:v>
                </c:pt>
                <c:pt idx="24633">
                  <c:v>1</c:v>
                </c:pt>
                <c:pt idx="24634">
                  <c:v>0</c:v>
                </c:pt>
                <c:pt idx="24635">
                  <c:v>1</c:v>
                </c:pt>
                <c:pt idx="24636">
                  <c:v>0</c:v>
                </c:pt>
                <c:pt idx="24637">
                  <c:v>0</c:v>
                </c:pt>
                <c:pt idx="24638">
                  <c:v>0</c:v>
                </c:pt>
                <c:pt idx="24639">
                  <c:v>0</c:v>
                </c:pt>
                <c:pt idx="24640">
                  <c:v>0</c:v>
                </c:pt>
                <c:pt idx="24641">
                  <c:v>0</c:v>
                </c:pt>
                <c:pt idx="24642">
                  <c:v>0</c:v>
                </c:pt>
                <c:pt idx="24643">
                  <c:v>0</c:v>
                </c:pt>
                <c:pt idx="24644">
                  <c:v>0</c:v>
                </c:pt>
                <c:pt idx="24645">
                  <c:v>0</c:v>
                </c:pt>
                <c:pt idx="24646">
                  <c:v>0</c:v>
                </c:pt>
                <c:pt idx="24647">
                  <c:v>0</c:v>
                </c:pt>
                <c:pt idx="24648">
                  <c:v>0</c:v>
                </c:pt>
                <c:pt idx="24649">
                  <c:v>0</c:v>
                </c:pt>
                <c:pt idx="24650">
                  <c:v>0</c:v>
                </c:pt>
                <c:pt idx="24651">
                  <c:v>0</c:v>
                </c:pt>
                <c:pt idx="24652">
                  <c:v>0</c:v>
                </c:pt>
                <c:pt idx="24653">
                  <c:v>0</c:v>
                </c:pt>
                <c:pt idx="24654">
                  <c:v>0</c:v>
                </c:pt>
                <c:pt idx="24655">
                  <c:v>0</c:v>
                </c:pt>
                <c:pt idx="24656">
                  <c:v>0</c:v>
                </c:pt>
                <c:pt idx="24657">
                  <c:v>0</c:v>
                </c:pt>
                <c:pt idx="24658">
                  <c:v>0</c:v>
                </c:pt>
                <c:pt idx="24659">
                  <c:v>0</c:v>
                </c:pt>
                <c:pt idx="24660">
                  <c:v>0</c:v>
                </c:pt>
                <c:pt idx="24661">
                  <c:v>0</c:v>
                </c:pt>
                <c:pt idx="24662">
                  <c:v>0</c:v>
                </c:pt>
                <c:pt idx="24663">
                  <c:v>0</c:v>
                </c:pt>
                <c:pt idx="24664">
                  <c:v>0</c:v>
                </c:pt>
                <c:pt idx="24665">
                  <c:v>0</c:v>
                </c:pt>
                <c:pt idx="24666">
                  <c:v>0</c:v>
                </c:pt>
                <c:pt idx="24667">
                  <c:v>0</c:v>
                </c:pt>
                <c:pt idx="24668">
                  <c:v>1</c:v>
                </c:pt>
                <c:pt idx="24669">
                  <c:v>0</c:v>
                </c:pt>
                <c:pt idx="24670">
                  <c:v>0</c:v>
                </c:pt>
                <c:pt idx="24671">
                  <c:v>0</c:v>
                </c:pt>
                <c:pt idx="24672">
                  <c:v>0</c:v>
                </c:pt>
                <c:pt idx="24673">
                  <c:v>0</c:v>
                </c:pt>
                <c:pt idx="24674">
                  <c:v>0</c:v>
                </c:pt>
                <c:pt idx="24675">
                  <c:v>0</c:v>
                </c:pt>
                <c:pt idx="24676">
                  <c:v>0</c:v>
                </c:pt>
                <c:pt idx="24677">
                  <c:v>0</c:v>
                </c:pt>
                <c:pt idx="24678">
                  <c:v>0</c:v>
                </c:pt>
                <c:pt idx="24679">
                  <c:v>0</c:v>
                </c:pt>
                <c:pt idx="24680">
                  <c:v>0</c:v>
                </c:pt>
                <c:pt idx="24681">
                  <c:v>0</c:v>
                </c:pt>
                <c:pt idx="24682">
                  <c:v>0</c:v>
                </c:pt>
                <c:pt idx="24683">
                  <c:v>0</c:v>
                </c:pt>
                <c:pt idx="24684">
                  <c:v>0</c:v>
                </c:pt>
                <c:pt idx="24685">
                  <c:v>0</c:v>
                </c:pt>
                <c:pt idx="24686">
                  <c:v>0</c:v>
                </c:pt>
                <c:pt idx="24687">
                  <c:v>0</c:v>
                </c:pt>
                <c:pt idx="24688">
                  <c:v>0</c:v>
                </c:pt>
                <c:pt idx="24689">
                  <c:v>0</c:v>
                </c:pt>
                <c:pt idx="24690">
                  <c:v>0</c:v>
                </c:pt>
                <c:pt idx="24691">
                  <c:v>0</c:v>
                </c:pt>
                <c:pt idx="24692">
                  <c:v>0</c:v>
                </c:pt>
                <c:pt idx="24693">
                  <c:v>0</c:v>
                </c:pt>
                <c:pt idx="24694">
                  <c:v>0</c:v>
                </c:pt>
                <c:pt idx="24695">
                  <c:v>0</c:v>
                </c:pt>
                <c:pt idx="24696">
                  <c:v>0</c:v>
                </c:pt>
                <c:pt idx="24697">
                  <c:v>0</c:v>
                </c:pt>
                <c:pt idx="24698">
                  <c:v>2</c:v>
                </c:pt>
                <c:pt idx="24699">
                  <c:v>0</c:v>
                </c:pt>
                <c:pt idx="24700">
                  <c:v>0</c:v>
                </c:pt>
                <c:pt idx="24701">
                  <c:v>0</c:v>
                </c:pt>
                <c:pt idx="24702">
                  <c:v>0</c:v>
                </c:pt>
                <c:pt idx="24703">
                  <c:v>0</c:v>
                </c:pt>
                <c:pt idx="24704">
                  <c:v>3</c:v>
                </c:pt>
                <c:pt idx="24705">
                  <c:v>0</c:v>
                </c:pt>
                <c:pt idx="24706">
                  <c:v>0</c:v>
                </c:pt>
                <c:pt idx="24707">
                  <c:v>5</c:v>
                </c:pt>
                <c:pt idx="24708">
                  <c:v>1</c:v>
                </c:pt>
                <c:pt idx="24709">
                  <c:v>7</c:v>
                </c:pt>
                <c:pt idx="24710">
                  <c:v>0</c:v>
                </c:pt>
                <c:pt idx="24711">
                  <c:v>0</c:v>
                </c:pt>
                <c:pt idx="24712">
                  <c:v>0</c:v>
                </c:pt>
                <c:pt idx="24713">
                  <c:v>0</c:v>
                </c:pt>
                <c:pt idx="24714">
                  <c:v>0</c:v>
                </c:pt>
                <c:pt idx="24715">
                  <c:v>0</c:v>
                </c:pt>
                <c:pt idx="24716">
                  <c:v>0</c:v>
                </c:pt>
                <c:pt idx="24717">
                  <c:v>0</c:v>
                </c:pt>
                <c:pt idx="24718">
                  <c:v>0</c:v>
                </c:pt>
                <c:pt idx="24719">
                  <c:v>0</c:v>
                </c:pt>
                <c:pt idx="24720">
                  <c:v>0</c:v>
                </c:pt>
                <c:pt idx="24721">
                  <c:v>0</c:v>
                </c:pt>
                <c:pt idx="24722">
                  <c:v>0</c:v>
                </c:pt>
                <c:pt idx="24723">
                  <c:v>0</c:v>
                </c:pt>
                <c:pt idx="24724">
                  <c:v>0</c:v>
                </c:pt>
                <c:pt idx="24725">
                  <c:v>0</c:v>
                </c:pt>
                <c:pt idx="24726">
                  <c:v>0</c:v>
                </c:pt>
                <c:pt idx="24727">
                  <c:v>0</c:v>
                </c:pt>
                <c:pt idx="24728">
                  <c:v>0</c:v>
                </c:pt>
                <c:pt idx="24729">
                  <c:v>0</c:v>
                </c:pt>
                <c:pt idx="24730">
                  <c:v>0</c:v>
                </c:pt>
                <c:pt idx="24731">
                  <c:v>0</c:v>
                </c:pt>
                <c:pt idx="24732">
                  <c:v>0</c:v>
                </c:pt>
                <c:pt idx="24733">
                  <c:v>0</c:v>
                </c:pt>
                <c:pt idx="24734">
                  <c:v>0</c:v>
                </c:pt>
                <c:pt idx="24735">
                  <c:v>0</c:v>
                </c:pt>
                <c:pt idx="24736">
                  <c:v>0</c:v>
                </c:pt>
                <c:pt idx="24737">
                  <c:v>0</c:v>
                </c:pt>
                <c:pt idx="24738">
                  <c:v>0</c:v>
                </c:pt>
                <c:pt idx="24739">
                  <c:v>0</c:v>
                </c:pt>
                <c:pt idx="24740">
                  <c:v>0</c:v>
                </c:pt>
                <c:pt idx="24741">
                  <c:v>0</c:v>
                </c:pt>
                <c:pt idx="24742">
                  <c:v>0</c:v>
                </c:pt>
                <c:pt idx="24743">
                  <c:v>0</c:v>
                </c:pt>
                <c:pt idx="24744">
                  <c:v>0</c:v>
                </c:pt>
                <c:pt idx="24745">
                  <c:v>0</c:v>
                </c:pt>
                <c:pt idx="24746">
                  <c:v>0</c:v>
                </c:pt>
                <c:pt idx="24747">
                  <c:v>0</c:v>
                </c:pt>
                <c:pt idx="24748">
                  <c:v>0</c:v>
                </c:pt>
                <c:pt idx="24749">
                  <c:v>0</c:v>
                </c:pt>
                <c:pt idx="24750">
                  <c:v>0</c:v>
                </c:pt>
                <c:pt idx="24751">
                  <c:v>4</c:v>
                </c:pt>
                <c:pt idx="24752">
                  <c:v>0</c:v>
                </c:pt>
                <c:pt idx="24753">
                  <c:v>0</c:v>
                </c:pt>
                <c:pt idx="24754">
                  <c:v>1</c:v>
                </c:pt>
                <c:pt idx="24755">
                  <c:v>0</c:v>
                </c:pt>
                <c:pt idx="24756">
                  <c:v>0</c:v>
                </c:pt>
                <c:pt idx="24757">
                  <c:v>1</c:v>
                </c:pt>
                <c:pt idx="24758">
                  <c:v>0</c:v>
                </c:pt>
                <c:pt idx="24759">
                  <c:v>1</c:v>
                </c:pt>
                <c:pt idx="24760">
                  <c:v>1</c:v>
                </c:pt>
                <c:pt idx="24761">
                  <c:v>3</c:v>
                </c:pt>
                <c:pt idx="24762">
                  <c:v>0</c:v>
                </c:pt>
                <c:pt idx="24763">
                  <c:v>0</c:v>
                </c:pt>
                <c:pt idx="24764">
                  <c:v>1</c:v>
                </c:pt>
                <c:pt idx="24765">
                  <c:v>0</c:v>
                </c:pt>
                <c:pt idx="24766">
                  <c:v>0</c:v>
                </c:pt>
                <c:pt idx="24767">
                  <c:v>0</c:v>
                </c:pt>
                <c:pt idx="24768">
                  <c:v>0</c:v>
                </c:pt>
                <c:pt idx="24769">
                  <c:v>0</c:v>
                </c:pt>
                <c:pt idx="24770">
                  <c:v>0</c:v>
                </c:pt>
                <c:pt idx="24771">
                  <c:v>0</c:v>
                </c:pt>
                <c:pt idx="24772">
                  <c:v>0</c:v>
                </c:pt>
                <c:pt idx="24773">
                  <c:v>0</c:v>
                </c:pt>
                <c:pt idx="24774">
                  <c:v>0</c:v>
                </c:pt>
                <c:pt idx="24775">
                  <c:v>0</c:v>
                </c:pt>
                <c:pt idx="24776">
                  <c:v>0</c:v>
                </c:pt>
                <c:pt idx="24777">
                  <c:v>0</c:v>
                </c:pt>
                <c:pt idx="24778">
                  <c:v>2</c:v>
                </c:pt>
                <c:pt idx="24779">
                  <c:v>4</c:v>
                </c:pt>
                <c:pt idx="24780">
                  <c:v>0</c:v>
                </c:pt>
                <c:pt idx="24781">
                  <c:v>0</c:v>
                </c:pt>
                <c:pt idx="24782">
                  <c:v>0</c:v>
                </c:pt>
                <c:pt idx="24783">
                  <c:v>2</c:v>
                </c:pt>
                <c:pt idx="24784">
                  <c:v>0</c:v>
                </c:pt>
                <c:pt idx="24785">
                  <c:v>0</c:v>
                </c:pt>
                <c:pt idx="24786">
                  <c:v>0</c:v>
                </c:pt>
                <c:pt idx="24787">
                  <c:v>0</c:v>
                </c:pt>
                <c:pt idx="24788">
                  <c:v>0</c:v>
                </c:pt>
                <c:pt idx="24789">
                  <c:v>0</c:v>
                </c:pt>
                <c:pt idx="24790">
                  <c:v>0</c:v>
                </c:pt>
                <c:pt idx="24791">
                  <c:v>0</c:v>
                </c:pt>
                <c:pt idx="24792">
                  <c:v>0</c:v>
                </c:pt>
                <c:pt idx="24793">
                  <c:v>0</c:v>
                </c:pt>
                <c:pt idx="24794">
                  <c:v>0</c:v>
                </c:pt>
                <c:pt idx="24795">
                  <c:v>0</c:v>
                </c:pt>
                <c:pt idx="24796">
                  <c:v>0</c:v>
                </c:pt>
                <c:pt idx="24797">
                  <c:v>0</c:v>
                </c:pt>
                <c:pt idx="24798">
                  <c:v>0</c:v>
                </c:pt>
                <c:pt idx="24799">
                  <c:v>0</c:v>
                </c:pt>
                <c:pt idx="24800">
                  <c:v>0</c:v>
                </c:pt>
                <c:pt idx="24801">
                  <c:v>0</c:v>
                </c:pt>
                <c:pt idx="24802">
                  <c:v>0</c:v>
                </c:pt>
                <c:pt idx="24803">
                  <c:v>0</c:v>
                </c:pt>
                <c:pt idx="24804">
                  <c:v>0</c:v>
                </c:pt>
                <c:pt idx="24805">
                  <c:v>0</c:v>
                </c:pt>
                <c:pt idx="24806">
                  <c:v>1</c:v>
                </c:pt>
                <c:pt idx="24807">
                  <c:v>4</c:v>
                </c:pt>
                <c:pt idx="24808">
                  <c:v>0</c:v>
                </c:pt>
                <c:pt idx="24809">
                  <c:v>0</c:v>
                </c:pt>
                <c:pt idx="24810">
                  <c:v>1</c:v>
                </c:pt>
                <c:pt idx="24811">
                  <c:v>1</c:v>
                </c:pt>
                <c:pt idx="24812">
                  <c:v>0</c:v>
                </c:pt>
                <c:pt idx="24813">
                  <c:v>3</c:v>
                </c:pt>
                <c:pt idx="24814">
                  <c:v>0</c:v>
                </c:pt>
                <c:pt idx="24815">
                  <c:v>0</c:v>
                </c:pt>
                <c:pt idx="24816">
                  <c:v>4</c:v>
                </c:pt>
                <c:pt idx="24817">
                  <c:v>11</c:v>
                </c:pt>
                <c:pt idx="24818">
                  <c:v>0</c:v>
                </c:pt>
                <c:pt idx="24819">
                  <c:v>0</c:v>
                </c:pt>
                <c:pt idx="24820">
                  <c:v>0</c:v>
                </c:pt>
                <c:pt idx="24821">
                  <c:v>3</c:v>
                </c:pt>
                <c:pt idx="24822">
                  <c:v>3</c:v>
                </c:pt>
                <c:pt idx="24823">
                  <c:v>1</c:v>
                </c:pt>
                <c:pt idx="24824">
                  <c:v>5</c:v>
                </c:pt>
                <c:pt idx="24825">
                  <c:v>0</c:v>
                </c:pt>
                <c:pt idx="24826">
                  <c:v>3</c:v>
                </c:pt>
                <c:pt idx="24827">
                  <c:v>6</c:v>
                </c:pt>
                <c:pt idx="24828">
                  <c:v>2</c:v>
                </c:pt>
                <c:pt idx="24829">
                  <c:v>1</c:v>
                </c:pt>
                <c:pt idx="24830">
                  <c:v>2</c:v>
                </c:pt>
                <c:pt idx="24831">
                  <c:v>1</c:v>
                </c:pt>
                <c:pt idx="24832">
                  <c:v>3</c:v>
                </c:pt>
                <c:pt idx="24833">
                  <c:v>6</c:v>
                </c:pt>
                <c:pt idx="24834">
                  <c:v>4</c:v>
                </c:pt>
                <c:pt idx="24835">
                  <c:v>2</c:v>
                </c:pt>
                <c:pt idx="24836">
                  <c:v>10</c:v>
                </c:pt>
                <c:pt idx="24837">
                  <c:v>7</c:v>
                </c:pt>
                <c:pt idx="24838">
                  <c:v>1</c:v>
                </c:pt>
                <c:pt idx="24839">
                  <c:v>0</c:v>
                </c:pt>
                <c:pt idx="24840">
                  <c:v>0</c:v>
                </c:pt>
                <c:pt idx="24841">
                  <c:v>5</c:v>
                </c:pt>
                <c:pt idx="24842">
                  <c:v>5</c:v>
                </c:pt>
                <c:pt idx="24843">
                  <c:v>7</c:v>
                </c:pt>
                <c:pt idx="24844">
                  <c:v>9</c:v>
                </c:pt>
                <c:pt idx="24845">
                  <c:v>6</c:v>
                </c:pt>
                <c:pt idx="24846">
                  <c:v>7</c:v>
                </c:pt>
                <c:pt idx="24847">
                  <c:v>2</c:v>
                </c:pt>
                <c:pt idx="24848">
                  <c:v>5</c:v>
                </c:pt>
                <c:pt idx="24849">
                  <c:v>4</c:v>
                </c:pt>
                <c:pt idx="24850">
                  <c:v>0</c:v>
                </c:pt>
                <c:pt idx="24851">
                  <c:v>2</c:v>
                </c:pt>
                <c:pt idx="24852">
                  <c:v>0</c:v>
                </c:pt>
                <c:pt idx="24853">
                  <c:v>1</c:v>
                </c:pt>
                <c:pt idx="24854">
                  <c:v>0</c:v>
                </c:pt>
                <c:pt idx="24855">
                  <c:v>0</c:v>
                </c:pt>
                <c:pt idx="24856">
                  <c:v>1</c:v>
                </c:pt>
                <c:pt idx="24857">
                  <c:v>7</c:v>
                </c:pt>
                <c:pt idx="24858">
                  <c:v>2</c:v>
                </c:pt>
                <c:pt idx="24859">
                  <c:v>6</c:v>
                </c:pt>
                <c:pt idx="24860">
                  <c:v>11</c:v>
                </c:pt>
                <c:pt idx="24861">
                  <c:v>7</c:v>
                </c:pt>
                <c:pt idx="24862">
                  <c:v>3</c:v>
                </c:pt>
                <c:pt idx="24863">
                  <c:v>0</c:v>
                </c:pt>
                <c:pt idx="24864">
                  <c:v>0</c:v>
                </c:pt>
                <c:pt idx="24865">
                  <c:v>0</c:v>
                </c:pt>
                <c:pt idx="24866">
                  <c:v>6</c:v>
                </c:pt>
                <c:pt idx="24867">
                  <c:v>1</c:v>
                </c:pt>
                <c:pt idx="24868">
                  <c:v>3</c:v>
                </c:pt>
                <c:pt idx="24869">
                  <c:v>3</c:v>
                </c:pt>
                <c:pt idx="24870">
                  <c:v>7</c:v>
                </c:pt>
                <c:pt idx="24871">
                  <c:v>1</c:v>
                </c:pt>
                <c:pt idx="24872">
                  <c:v>7</c:v>
                </c:pt>
                <c:pt idx="24873">
                  <c:v>4</c:v>
                </c:pt>
                <c:pt idx="24874">
                  <c:v>3</c:v>
                </c:pt>
                <c:pt idx="24875">
                  <c:v>7</c:v>
                </c:pt>
                <c:pt idx="24876">
                  <c:v>5</c:v>
                </c:pt>
                <c:pt idx="24877">
                  <c:v>0</c:v>
                </c:pt>
                <c:pt idx="24878">
                  <c:v>5</c:v>
                </c:pt>
                <c:pt idx="24879">
                  <c:v>0</c:v>
                </c:pt>
                <c:pt idx="24880">
                  <c:v>9</c:v>
                </c:pt>
                <c:pt idx="24881">
                  <c:v>0</c:v>
                </c:pt>
                <c:pt idx="24882">
                  <c:v>0</c:v>
                </c:pt>
                <c:pt idx="24883">
                  <c:v>0</c:v>
                </c:pt>
                <c:pt idx="24884">
                  <c:v>0</c:v>
                </c:pt>
                <c:pt idx="24885">
                  <c:v>16</c:v>
                </c:pt>
                <c:pt idx="24886">
                  <c:v>3</c:v>
                </c:pt>
                <c:pt idx="24887">
                  <c:v>6</c:v>
                </c:pt>
                <c:pt idx="24888">
                  <c:v>2</c:v>
                </c:pt>
                <c:pt idx="24889">
                  <c:v>4</c:v>
                </c:pt>
                <c:pt idx="24890">
                  <c:v>2</c:v>
                </c:pt>
                <c:pt idx="24891">
                  <c:v>4</c:v>
                </c:pt>
                <c:pt idx="24892">
                  <c:v>6</c:v>
                </c:pt>
                <c:pt idx="24893">
                  <c:v>5</c:v>
                </c:pt>
                <c:pt idx="24894">
                  <c:v>3</c:v>
                </c:pt>
                <c:pt idx="24895">
                  <c:v>4</c:v>
                </c:pt>
                <c:pt idx="24896">
                  <c:v>2</c:v>
                </c:pt>
                <c:pt idx="24897">
                  <c:v>1</c:v>
                </c:pt>
                <c:pt idx="24898">
                  <c:v>2</c:v>
                </c:pt>
                <c:pt idx="24899">
                  <c:v>1</c:v>
                </c:pt>
                <c:pt idx="24900">
                  <c:v>6</c:v>
                </c:pt>
                <c:pt idx="24901">
                  <c:v>1</c:v>
                </c:pt>
                <c:pt idx="24902">
                  <c:v>4</c:v>
                </c:pt>
                <c:pt idx="24903">
                  <c:v>3</c:v>
                </c:pt>
                <c:pt idx="24904">
                  <c:v>1</c:v>
                </c:pt>
                <c:pt idx="24905">
                  <c:v>4</c:v>
                </c:pt>
                <c:pt idx="24906">
                  <c:v>3</c:v>
                </c:pt>
                <c:pt idx="24907">
                  <c:v>3</c:v>
                </c:pt>
                <c:pt idx="24908">
                  <c:v>4</c:v>
                </c:pt>
                <c:pt idx="24909">
                  <c:v>2</c:v>
                </c:pt>
                <c:pt idx="24910">
                  <c:v>1</c:v>
                </c:pt>
                <c:pt idx="24911">
                  <c:v>1</c:v>
                </c:pt>
                <c:pt idx="24912">
                  <c:v>4</c:v>
                </c:pt>
                <c:pt idx="24913">
                  <c:v>3</c:v>
                </c:pt>
                <c:pt idx="24914">
                  <c:v>0</c:v>
                </c:pt>
                <c:pt idx="24915">
                  <c:v>2</c:v>
                </c:pt>
                <c:pt idx="24916">
                  <c:v>2</c:v>
                </c:pt>
                <c:pt idx="24917">
                  <c:v>4</c:v>
                </c:pt>
                <c:pt idx="24918">
                  <c:v>2</c:v>
                </c:pt>
                <c:pt idx="24919">
                  <c:v>6</c:v>
                </c:pt>
                <c:pt idx="24920">
                  <c:v>7</c:v>
                </c:pt>
                <c:pt idx="24921">
                  <c:v>1</c:v>
                </c:pt>
                <c:pt idx="24922">
                  <c:v>7</c:v>
                </c:pt>
                <c:pt idx="24923">
                  <c:v>0</c:v>
                </c:pt>
                <c:pt idx="24924">
                  <c:v>1</c:v>
                </c:pt>
                <c:pt idx="24925">
                  <c:v>11</c:v>
                </c:pt>
                <c:pt idx="24926">
                  <c:v>4</c:v>
                </c:pt>
                <c:pt idx="24927">
                  <c:v>0</c:v>
                </c:pt>
                <c:pt idx="24928">
                  <c:v>1</c:v>
                </c:pt>
                <c:pt idx="24929">
                  <c:v>7</c:v>
                </c:pt>
                <c:pt idx="24930">
                  <c:v>1</c:v>
                </c:pt>
                <c:pt idx="24931">
                  <c:v>0</c:v>
                </c:pt>
                <c:pt idx="24932">
                  <c:v>0</c:v>
                </c:pt>
                <c:pt idx="24933">
                  <c:v>4</c:v>
                </c:pt>
                <c:pt idx="24934">
                  <c:v>1</c:v>
                </c:pt>
                <c:pt idx="24935">
                  <c:v>1</c:v>
                </c:pt>
                <c:pt idx="24936">
                  <c:v>0</c:v>
                </c:pt>
                <c:pt idx="24937">
                  <c:v>3</c:v>
                </c:pt>
                <c:pt idx="24938">
                  <c:v>3</c:v>
                </c:pt>
                <c:pt idx="24939">
                  <c:v>3</c:v>
                </c:pt>
                <c:pt idx="24940">
                  <c:v>0</c:v>
                </c:pt>
                <c:pt idx="24941">
                  <c:v>4</c:v>
                </c:pt>
                <c:pt idx="24942">
                  <c:v>0</c:v>
                </c:pt>
                <c:pt idx="24943">
                  <c:v>0</c:v>
                </c:pt>
                <c:pt idx="24944">
                  <c:v>2</c:v>
                </c:pt>
                <c:pt idx="24945">
                  <c:v>0</c:v>
                </c:pt>
                <c:pt idx="24946">
                  <c:v>1</c:v>
                </c:pt>
                <c:pt idx="24947">
                  <c:v>0</c:v>
                </c:pt>
                <c:pt idx="24948">
                  <c:v>0</c:v>
                </c:pt>
                <c:pt idx="24949">
                  <c:v>0</c:v>
                </c:pt>
                <c:pt idx="24950">
                  <c:v>4</c:v>
                </c:pt>
                <c:pt idx="24951">
                  <c:v>0</c:v>
                </c:pt>
                <c:pt idx="24952">
                  <c:v>0</c:v>
                </c:pt>
                <c:pt idx="24953">
                  <c:v>0</c:v>
                </c:pt>
                <c:pt idx="24954">
                  <c:v>0</c:v>
                </c:pt>
                <c:pt idx="24955">
                  <c:v>0</c:v>
                </c:pt>
                <c:pt idx="24956">
                  <c:v>0</c:v>
                </c:pt>
                <c:pt idx="24957">
                  <c:v>0</c:v>
                </c:pt>
                <c:pt idx="24958">
                  <c:v>0</c:v>
                </c:pt>
                <c:pt idx="24959">
                  <c:v>0</c:v>
                </c:pt>
                <c:pt idx="24960">
                  <c:v>0</c:v>
                </c:pt>
                <c:pt idx="24961">
                  <c:v>0</c:v>
                </c:pt>
                <c:pt idx="24962">
                  <c:v>0</c:v>
                </c:pt>
                <c:pt idx="24963">
                  <c:v>0</c:v>
                </c:pt>
                <c:pt idx="24964">
                  <c:v>0</c:v>
                </c:pt>
                <c:pt idx="24965">
                  <c:v>0</c:v>
                </c:pt>
                <c:pt idx="24966">
                  <c:v>3</c:v>
                </c:pt>
                <c:pt idx="24967">
                  <c:v>0</c:v>
                </c:pt>
                <c:pt idx="24968">
                  <c:v>3</c:v>
                </c:pt>
                <c:pt idx="24969">
                  <c:v>0</c:v>
                </c:pt>
                <c:pt idx="24970">
                  <c:v>6</c:v>
                </c:pt>
                <c:pt idx="24971">
                  <c:v>6</c:v>
                </c:pt>
                <c:pt idx="24972">
                  <c:v>9</c:v>
                </c:pt>
                <c:pt idx="24973">
                  <c:v>0</c:v>
                </c:pt>
                <c:pt idx="24974">
                  <c:v>0</c:v>
                </c:pt>
                <c:pt idx="24975">
                  <c:v>0</c:v>
                </c:pt>
                <c:pt idx="24976">
                  <c:v>0</c:v>
                </c:pt>
                <c:pt idx="24977">
                  <c:v>0</c:v>
                </c:pt>
                <c:pt idx="24978">
                  <c:v>2</c:v>
                </c:pt>
                <c:pt idx="24979">
                  <c:v>2</c:v>
                </c:pt>
                <c:pt idx="24980">
                  <c:v>0</c:v>
                </c:pt>
                <c:pt idx="24981">
                  <c:v>1</c:v>
                </c:pt>
                <c:pt idx="24982">
                  <c:v>4</c:v>
                </c:pt>
                <c:pt idx="24983">
                  <c:v>8</c:v>
                </c:pt>
                <c:pt idx="24984">
                  <c:v>4</c:v>
                </c:pt>
                <c:pt idx="24985">
                  <c:v>1</c:v>
                </c:pt>
                <c:pt idx="24986">
                  <c:v>0</c:v>
                </c:pt>
                <c:pt idx="24987">
                  <c:v>0</c:v>
                </c:pt>
                <c:pt idx="24988">
                  <c:v>0</c:v>
                </c:pt>
                <c:pt idx="24989">
                  <c:v>0</c:v>
                </c:pt>
                <c:pt idx="24990">
                  <c:v>4</c:v>
                </c:pt>
                <c:pt idx="24991">
                  <c:v>0</c:v>
                </c:pt>
                <c:pt idx="24992">
                  <c:v>0</c:v>
                </c:pt>
                <c:pt idx="24993">
                  <c:v>0</c:v>
                </c:pt>
                <c:pt idx="24994">
                  <c:v>0</c:v>
                </c:pt>
                <c:pt idx="24995">
                  <c:v>0</c:v>
                </c:pt>
                <c:pt idx="24996">
                  <c:v>0</c:v>
                </c:pt>
                <c:pt idx="24997">
                  <c:v>0</c:v>
                </c:pt>
                <c:pt idx="24998">
                  <c:v>0</c:v>
                </c:pt>
                <c:pt idx="24999">
                  <c:v>3</c:v>
                </c:pt>
                <c:pt idx="25000">
                  <c:v>4</c:v>
                </c:pt>
                <c:pt idx="25001">
                  <c:v>3</c:v>
                </c:pt>
                <c:pt idx="25002">
                  <c:v>6</c:v>
                </c:pt>
                <c:pt idx="25003">
                  <c:v>0</c:v>
                </c:pt>
                <c:pt idx="25004">
                  <c:v>0</c:v>
                </c:pt>
                <c:pt idx="25005">
                  <c:v>0</c:v>
                </c:pt>
                <c:pt idx="25006">
                  <c:v>0</c:v>
                </c:pt>
                <c:pt idx="25007">
                  <c:v>0</c:v>
                </c:pt>
                <c:pt idx="25008">
                  <c:v>1</c:v>
                </c:pt>
                <c:pt idx="25009">
                  <c:v>0</c:v>
                </c:pt>
                <c:pt idx="25010">
                  <c:v>0</c:v>
                </c:pt>
                <c:pt idx="25011">
                  <c:v>7</c:v>
                </c:pt>
                <c:pt idx="25012">
                  <c:v>7</c:v>
                </c:pt>
                <c:pt idx="25013">
                  <c:v>2</c:v>
                </c:pt>
                <c:pt idx="25014">
                  <c:v>0</c:v>
                </c:pt>
                <c:pt idx="25015">
                  <c:v>0</c:v>
                </c:pt>
                <c:pt idx="25016">
                  <c:v>0</c:v>
                </c:pt>
                <c:pt idx="25017">
                  <c:v>0</c:v>
                </c:pt>
                <c:pt idx="25018">
                  <c:v>0</c:v>
                </c:pt>
                <c:pt idx="25019">
                  <c:v>0</c:v>
                </c:pt>
                <c:pt idx="25020">
                  <c:v>0</c:v>
                </c:pt>
                <c:pt idx="25021">
                  <c:v>0</c:v>
                </c:pt>
                <c:pt idx="25022">
                  <c:v>0</c:v>
                </c:pt>
                <c:pt idx="25023">
                  <c:v>0</c:v>
                </c:pt>
                <c:pt idx="25024">
                  <c:v>1</c:v>
                </c:pt>
                <c:pt idx="25025">
                  <c:v>0</c:v>
                </c:pt>
                <c:pt idx="25026">
                  <c:v>0</c:v>
                </c:pt>
                <c:pt idx="25027">
                  <c:v>0</c:v>
                </c:pt>
                <c:pt idx="25028">
                  <c:v>0</c:v>
                </c:pt>
                <c:pt idx="25029">
                  <c:v>0</c:v>
                </c:pt>
                <c:pt idx="25030">
                  <c:v>0</c:v>
                </c:pt>
                <c:pt idx="25031">
                  <c:v>0</c:v>
                </c:pt>
                <c:pt idx="25032">
                  <c:v>0</c:v>
                </c:pt>
                <c:pt idx="25033">
                  <c:v>0</c:v>
                </c:pt>
                <c:pt idx="25034">
                  <c:v>0</c:v>
                </c:pt>
                <c:pt idx="25035">
                  <c:v>0</c:v>
                </c:pt>
                <c:pt idx="25036">
                  <c:v>0</c:v>
                </c:pt>
                <c:pt idx="25037">
                  <c:v>0</c:v>
                </c:pt>
                <c:pt idx="25038">
                  <c:v>0</c:v>
                </c:pt>
                <c:pt idx="25039">
                  <c:v>0</c:v>
                </c:pt>
                <c:pt idx="25040">
                  <c:v>0</c:v>
                </c:pt>
                <c:pt idx="25041">
                  <c:v>0</c:v>
                </c:pt>
                <c:pt idx="25042">
                  <c:v>0</c:v>
                </c:pt>
                <c:pt idx="25043">
                  <c:v>0</c:v>
                </c:pt>
                <c:pt idx="25044">
                  <c:v>0</c:v>
                </c:pt>
                <c:pt idx="25045">
                  <c:v>0</c:v>
                </c:pt>
                <c:pt idx="25046">
                  <c:v>0</c:v>
                </c:pt>
                <c:pt idx="25047">
                  <c:v>0</c:v>
                </c:pt>
                <c:pt idx="25048">
                  <c:v>0</c:v>
                </c:pt>
                <c:pt idx="25049">
                  <c:v>0</c:v>
                </c:pt>
                <c:pt idx="25050">
                  <c:v>0</c:v>
                </c:pt>
                <c:pt idx="25051">
                  <c:v>0</c:v>
                </c:pt>
                <c:pt idx="25052">
                  <c:v>0</c:v>
                </c:pt>
                <c:pt idx="25053">
                  <c:v>0</c:v>
                </c:pt>
                <c:pt idx="25054">
                  <c:v>0</c:v>
                </c:pt>
                <c:pt idx="25055">
                  <c:v>0</c:v>
                </c:pt>
                <c:pt idx="25056">
                  <c:v>0</c:v>
                </c:pt>
                <c:pt idx="25057">
                  <c:v>0</c:v>
                </c:pt>
                <c:pt idx="25058">
                  <c:v>0</c:v>
                </c:pt>
                <c:pt idx="25059">
                  <c:v>0</c:v>
                </c:pt>
                <c:pt idx="25060">
                  <c:v>0</c:v>
                </c:pt>
                <c:pt idx="25061">
                  <c:v>0</c:v>
                </c:pt>
                <c:pt idx="25062">
                  <c:v>0</c:v>
                </c:pt>
                <c:pt idx="25063">
                  <c:v>0</c:v>
                </c:pt>
                <c:pt idx="25064">
                  <c:v>0</c:v>
                </c:pt>
                <c:pt idx="25065">
                  <c:v>0</c:v>
                </c:pt>
                <c:pt idx="25066">
                  <c:v>0</c:v>
                </c:pt>
                <c:pt idx="25067">
                  <c:v>0</c:v>
                </c:pt>
                <c:pt idx="25068">
                  <c:v>0</c:v>
                </c:pt>
                <c:pt idx="25069">
                  <c:v>0</c:v>
                </c:pt>
                <c:pt idx="25070">
                  <c:v>0</c:v>
                </c:pt>
                <c:pt idx="25071">
                  <c:v>0</c:v>
                </c:pt>
                <c:pt idx="25072">
                  <c:v>0</c:v>
                </c:pt>
                <c:pt idx="25073">
                  <c:v>0</c:v>
                </c:pt>
                <c:pt idx="25074">
                  <c:v>0</c:v>
                </c:pt>
                <c:pt idx="25075">
                  <c:v>0</c:v>
                </c:pt>
                <c:pt idx="25076">
                  <c:v>0</c:v>
                </c:pt>
                <c:pt idx="25077">
                  <c:v>0</c:v>
                </c:pt>
                <c:pt idx="25078">
                  <c:v>1</c:v>
                </c:pt>
                <c:pt idx="25079">
                  <c:v>0</c:v>
                </c:pt>
                <c:pt idx="25080">
                  <c:v>0</c:v>
                </c:pt>
                <c:pt idx="25081">
                  <c:v>0</c:v>
                </c:pt>
                <c:pt idx="25082">
                  <c:v>0</c:v>
                </c:pt>
                <c:pt idx="25083">
                  <c:v>0</c:v>
                </c:pt>
                <c:pt idx="25084">
                  <c:v>0</c:v>
                </c:pt>
                <c:pt idx="25085">
                  <c:v>0</c:v>
                </c:pt>
                <c:pt idx="25086">
                  <c:v>2</c:v>
                </c:pt>
                <c:pt idx="25087">
                  <c:v>0</c:v>
                </c:pt>
                <c:pt idx="25088">
                  <c:v>4</c:v>
                </c:pt>
                <c:pt idx="25089">
                  <c:v>4</c:v>
                </c:pt>
                <c:pt idx="25090">
                  <c:v>4</c:v>
                </c:pt>
                <c:pt idx="25091">
                  <c:v>4</c:v>
                </c:pt>
                <c:pt idx="25092">
                  <c:v>4</c:v>
                </c:pt>
                <c:pt idx="25093">
                  <c:v>0</c:v>
                </c:pt>
                <c:pt idx="25094">
                  <c:v>3</c:v>
                </c:pt>
                <c:pt idx="25095">
                  <c:v>0</c:v>
                </c:pt>
                <c:pt idx="25096">
                  <c:v>0</c:v>
                </c:pt>
                <c:pt idx="25097">
                  <c:v>4</c:v>
                </c:pt>
                <c:pt idx="25098">
                  <c:v>3</c:v>
                </c:pt>
                <c:pt idx="25099">
                  <c:v>4</c:v>
                </c:pt>
                <c:pt idx="25100">
                  <c:v>3</c:v>
                </c:pt>
                <c:pt idx="25101">
                  <c:v>2</c:v>
                </c:pt>
                <c:pt idx="25102">
                  <c:v>10</c:v>
                </c:pt>
                <c:pt idx="25103">
                  <c:v>4</c:v>
                </c:pt>
                <c:pt idx="25104">
                  <c:v>2</c:v>
                </c:pt>
                <c:pt idx="25105">
                  <c:v>3</c:v>
                </c:pt>
                <c:pt idx="25106">
                  <c:v>0</c:v>
                </c:pt>
                <c:pt idx="25107">
                  <c:v>0</c:v>
                </c:pt>
                <c:pt idx="25108">
                  <c:v>0</c:v>
                </c:pt>
                <c:pt idx="25109">
                  <c:v>0</c:v>
                </c:pt>
                <c:pt idx="25110">
                  <c:v>0</c:v>
                </c:pt>
                <c:pt idx="25111">
                  <c:v>0</c:v>
                </c:pt>
                <c:pt idx="25112">
                  <c:v>0</c:v>
                </c:pt>
                <c:pt idx="25113">
                  <c:v>0</c:v>
                </c:pt>
                <c:pt idx="25114">
                  <c:v>1</c:v>
                </c:pt>
                <c:pt idx="25115">
                  <c:v>0</c:v>
                </c:pt>
                <c:pt idx="25116">
                  <c:v>0</c:v>
                </c:pt>
                <c:pt idx="25117">
                  <c:v>0</c:v>
                </c:pt>
                <c:pt idx="25118">
                  <c:v>1</c:v>
                </c:pt>
                <c:pt idx="25119">
                  <c:v>0</c:v>
                </c:pt>
                <c:pt idx="25120">
                  <c:v>0</c:v>
                </c:pt>
                <c:pt idx="25121">
                  <c:v>0</c:v>
                </c:pt>
                <c:pt idx="25122">
                  <c:v>0</c:v>
                </c:pt>
                <c:pt idx="25123">
                  <c:v>0</c:v>
                </c:pt>
                <c:pt idx="25124">
                  <c:v>0</c:v>
                </c:pt>
                <c:pt idx="25125">
                  <c:v>0</c:v>
                </c:pt>
                <c:pt idx="25126">
                  <c:v>0</c:v>
                </c:pt>
                <c:pt idx="25127">
                  <c:v>0</c:v>
                </c:pt>
                <c:pt idx="25128">
                  <c:v>0</c:v>
                </c:pt>
                <c:pt idx="25129">
                  <c:v>0</c:v>
                </c:pt>
                <c:pt idx="25130">
                  <c:v>0</c:v>
                </c:pt>
                <c:pt idx="25131">
                  <c:v>0</c:v>
                </c:pt>
                <c:pt idx="25132">
                  <c:v>0</c:v>
                </c:pt>
                <c:pt idx="25133">
                  <c:v>0</c:v>
                </c:pt>
                <c:pt idx="25134">
                  <c:v>0</c:v>
                </c:pt>
                <c:pt idx="25135">
                  <c:v>0</c:v>
                </c:pt>
                <c:pt idx="25136">
                  <c:v>0</c:v>
                </c:pt>
                <c:pt idx="25137">
                  <c:v>0</c:v>
                </c:pt>
                <c:pt idx="25138">
                  <c:v>0</c:v>
                </c:pt>
                <c:pt idx="25139">
                  <c:v>0</c:v>
                </c:pt>
                <c:pt idx="25140">
                  <c:v>0</c:v>
                </c:pt>
                <c:pt idx="25141">
                  <c:v>0</c:v>
                </c:pt>
                <c:pt idx="25142">
                  <c:v>0</c:v>
                </c:pt>
                <c:pt idx="25143">
                  <c:v>0</c:v>
                </c:pt>
                <c:pt idx="25144">
                  <c:v>0</c:v>
                </c:pt>
                <c:pt idx="25145">
                  <c:v>0</c:v>
                </c:pt>
                <c:pt idx="25146">
                  <c:v>0</c:v>
                </c:pt>
                <c:pt idx="25147">
                  <c:v>0</c:v>
                </c:pt>
                <c:pt idx="25148">
                  <c:v>0</c:v>
                </c:pt>
                <c:pt idx="25149">
                  <c:v>0</c:v>
                </c:pt>
                <c:pt idx="25150">
                  <c:v>0</c:v>
                </c:pt>
                <c:pt idx="25151">
                  <c:v>0</c:v>
                </c:pt>
                <c:pt idx="25152">
                  <c:v>0</c:v>
                </c:pt>
                <c:pt idx="25153">
                  <c:v>1</c:v>
                </c:pt>
                <c:pt idx="25154">
                  <c:v>0</c:v>
                </c:pt>
                <c:pt idx="25155">
                  <c:v>0</c:v>
                </c:pt>
                <c:pt idx="25156">
                  <c:v>0</c:v>
                </c:pt>
                <c:pt idx="25157">
                  <c:v>0</c:v>
                </c:pt>
                <c:pt idx="25158">
                  <c:v>0</c:v>
                </c:pt>
                <c:pt idx="25159">
                  <c:v>0</c:v>
                </c:pt>
                <c:pt idx="25160">
                  <c:v>2</c:v>
                </c:pt>
                <c:pt idx="25161">
                  <c:v>0</c:v>
                </c:pt>
                <c:pt idx="25162">
                  <c:v>0</c:v>
                </c:pt>
                <c:pt idx="25163">
                  <c:v>0</c:v>
                </c:pt>
                <c:pt idx="25164">
                  <c:v>0</c:v>
                </c:pt>
                <c:pt idx="25165">
                  <c:v>0</c:v>
                </c:pt>
                <c:pt idx="25166">
                  <c:v>0</c:v>
                </c:pt>
                <c:pt idx="25167">
                  <c:v>0</c:v>
                </c:pt>
                <c:pt idx="25168">
                  <c:v>0</c:v>
                </c:pt>
                <c:pt idx="25169">
                  <c:v>0</c:v>
                </c:pt>
                <c:pt idx="25170">
                  <c:v>0</c:v>
                </c:pt>
                <c:pt idx="25171">
                  <c:v>0</c:v>
                </c:pt>
                <c:pt idx="25172">
                  <c:v>0</c:v>
                </c:pt>
                <c:pt idx="25173">
                  <c:v>0</c:v>
                </c:pt>
                <c:pt idx="25174">
                  <c:v>0</c:v>
                </c:pt>
                <c:pt idx="25175">
                  <c:v>0</c:v>
                </c:pt>
                <c:pt idx="25176">
                  <c:v>0</c:v>
                </c:pt>
                <c:pt idx="25177">
                  <c:v>0</c:v>
                </c:pt>
                <c:pt idx="25178">
                  <c:v>1</c:v>
                </c:pt>
                <c:pt idx="25179">
                  <c:v>0</c:v>
                </c:pt>
                <c:pt idx="25180">
                  <c:v>0</c:v>
                </c:pt>
                <c:pt idx="25181">
                  <c:v>0</c:v>
                </c:pt>
                <c:pt idx="25182">
                  <c:v>0</c:v>
                </c:pt>
                <c:pt idx="25183">
                  <c:v>0</c:v>
                </c:pt>
                <c:pt idx="25184">
                  <c:v>1</c:v>
                </c:pt>
                <c:pt idx="25185">
                  <c:v>0</c:v>
                </c:pt>
                <c:pt idx="25186">
                  <c:v>2</c:v>
                </c:pt>
                <c:pt idx="25187">
                  <c:v>0</c:v>
                </c:pt>
                <c:pt idx="25188">
                  <c:v>0</c:v>
                </c:pt>
                <c:pt idx="25189">
                  <c:v>0</c:v>
                </c:pt>
                <c:pt idx="25190">
                  <c:v>0</c:v>
                </c:pt>
                <c:pt idx="25191">
                  <c:v>0</c:v>
                </c:pt>
                <c:pt idx="25192">
                  <c:v>1</c:v>
                </c:pt>
                <c:pt idx="25193">
                  <c:v>0</c:v>
                </c:pt>
                <c:pt idx="25194">
                  <c:v>0</c:v>
                </c:pt>
                <c:pt idx="25195">
                  <c:v>0</c:v>
                </c:pt>
                <c:pt idx="25196">
                  <c:v>0</c:v>
                </c:pt>
                <c:pt idx="25197">
                  <c:v>0</c:v>
                </c:pt>
                <c:pt idx="25198">
                  <c:v>0</c:v>
                </c:pt>
                <c:pt idx="25199">
                  <c:v>0</c:v>
                </c:pt>
                <c:pt idx="25200">
                  <c:v>0</c:v>
                </c:pt>
                <c:pt idx="25201">
                  <c:v>2</c:v>
                </c:pt>
                <c:pt idx="25202">
                  <c:v>0</c:v>
                </c:pt>
                <c:pt idx="25203">
                  <c:v>0</c:v>
                </c:pt>
                <c:pt idx="25204">
                  <c:v>1</c:v>
                </c:pt>
                <c:pt idx="25205">
                  <c:v>0</c:v>
                </c:pt>
                <c:pt idx="25206">
                  <c:v>0</c:v>
                </c:pt>
                <c:pt idx="25207">
                  <c:v>0</c:v>
                </c:pt>
                <c:pt idx="25208">
                  <c:v>0</c:v>
                </c:pt>
                <c:pt idx="25209">
                  <c:v>0</c:v>
                </c:pt>
                <c:pt idx="25210">
                  <c:v>0</c:v>
                </c:pt>
                <c:pt idx="25211">
                  <c:v>0</c:v>
                </c:pt>
                <c:pt idx="25212">
                  <c:v>3</c:v>
                </c:pt>
                <c:pt idx="25213">
                  <c:v>3</c:v>
                </c:pt>
                <c:pt idx="25214">
                  <c:v>0</c:v>
                </c:pt>
                <c:pt idx="25215">
                  <c:v>0</c:v>
                </c:pt>
                <c:pt idx="25216">
                  <c:v>0</c:v>
                </c:pt>
                <c:pt idx="25217">
                  <c:v>0</c:v>
                </c:pt>
                <c:pt idx="25218">
                  <c:v>0</c:v>
                </c:pt>
                <c:pt idx="25219">
                  <c:v>0</c:v>
                </c:pt>
                <c:pt idx="25220">
                  <c:v>0</c:v>
                </c:pt>
                <c:pt idx="25221">
                  <c:v>0</c:v>
                </c:pt>
                <c:pt idx="25222">
                  <c:v>0</c:v>
                </c:pt>
                <c:pt idx="25223">
                  <c:v>0</c:v>
                </c:pt>
                <c:pt idx="25224">
                  <c:v>0</c:v>
                </c:pt>
                <c:pt idx="25225">
                  <c:v>0</c:v>
                </c:pt>
                <c:pt idx="25226">
                  <c:v>0</c:v>
                </c:pt>
                <c:pt idx="25227">
                  <c:v>0</c:v>
                </c:pt>
                <c:pt idx="25228">
                  <c:v>0</c:v>
                </c:pt>
                <c:pt idx="25229">
                  <c:v>0</c:v>
                </c:pt>
                <c:pt idx="25230">
                  <c:v>0</c:v>
                </c:pt>
                <c:pt idx="25231">
                  <c:v>2</c:v>
                </c:pt>
                <c:pt idx="25232">
                  <c:v>4</c:v>
                </c:pt>
                <c:pt idx="25233">
                  <c:v>0</c:v>
                </c:pt>
                <c:pt idx="25234">
                  <c:v>2</c:v>
                </c:pt>
                <c:pt idx="25235">
                  <c:v>0</c:v>
                </c:pt>
                <c:pt idx="25236">
                  <c:v>0</c:v>
                </c:pt>
                <c:pt idx="25237">
                  <c:v>0</c:v>
                </c:pt>
                <c:pt idx="25238">
                  <c:v>6</c:v>
                </c:pt>
                <c:pt idx="25239">
                  <c:v>2</c:v>
                </c:pt>
                <c:pt idx="25240">
                  <c:v>1</c:v>
                </c:pt>
                <c:pt idx="25241">
                  <c:v>0</c:v>
                </c:pt>
                <c:pt idx="25242">
                  <c:v>0</c:v>
                </c:pt>
                <c:pt idx="25243">
                  <c:v>0</c:v>
                </c:pt>
                <c:pt idx="25244">
                  <c:v>0</c:v>
                </c:pt>
                <c:pt idx="25245">
                  <c:v>0</c:v>
                </c:pt>
                <c:pt idx="25246">
                  <c:v>4</c:v>
                </c:pt>
                <c:pt idx="25247">
                  <c:v>0</c:v>
                </c:pt>
                <c:pt idx="25248">
                  <c:v>1</c:v>
                </c:pt>
                <c:pt idx="25249">
                  <c:v>4</c:v>
                </c:pt>
                <c:pt idx="25250">
                  <c:v>0</c:v>
                </c:pt>
                <c:pt idx="25251">
                  <c:v>1</c:v>
                </c:pt>
                <c:pt idx="25252">
                  <c:v>0</c:v>
                </c:pt>
                <c:pt idx="25253">
                  <c:v>1</c:v>
                </c:pt>
                <c:pt idx="25254">
                  <c:v>0</c:v>
                </c:pt>
                <c:pt idx="25255">
                  <c:v>0</c:v>
                </c:pt>
                <c:pt idx="25256">
                  <c:v>1</c:v>
                </c:pt>
                <c:pt idx="25257">
                  <c:v>5</c:v>
                </c:pt>
                <c:pt idx="25258">
                  <c:v>0</c:v>
                </c:pt>
                <c:pt idx="25259">
                  <c:v>0</c:v>
                </c:pt>
                <c:pt idx="25260">
                  <c:v>0</c:v>
                </c:pt>
                <c:pt idx="25261">
                  <c:v>0</c:v>
                </c:pt>
                <c:pt idx="25262">
                  <c:v>0</c:v>
                </c:pt>
                <c:pt idx="25263">
                  <c:v>0</c:v>
                </c:pt>
                <c:pt idx="25264">
                  <c:v>0</c:v>
                </c:pt>
                <c:pt idx="25265">
                  <c:v>0</c:v>
                </c:pt>
                <c:pt idx="25266">
                  <c:v>0</c:v>
                </c:pt>
                <c:pt idx="25267">
                  <c:v>0</c:v>
                </c:pt>
                <c:pt idx="25268">
                  <c:v>0</c:v>
                </c:pt>
                <c:pt idx="25269">
                  <c:v>2</c:v>
                </c:pt>
                <c:pt idx="25270">
                  <c:v>7</c:v>
                </c:pt>
                <c:pt idx="25271">
                  <c:v>0</c:v>
                </c:pt>
                <c:pt idx="25272">
                  <c:v>6</c:v>
                </c:pt>
                <c:pt idx="25273">
                  <c:v>8</c:v>
                </c:pt>
                <c:pt idx="25274">
                  <c:v>0</c:v>
                </c:pt>
                <c:pt idx="25275">
                  <c:v>0</c:v>
                </c:pt>
                <c:pt idx="25276">
                  <c:v>0</c:v>
                </c:pt>
                <c:pt idx="25277">
                  <c:v>0</c:v>
                </c:pt>
                <c:pt idx="25278">
                  <c:v>0</c:v>
                </c:pt>
                <c:pt idx="25279">
                  <c:v>2</c:v>
                </c:pt>
                <c:pt idx="25280">
                  <c:v>1</c:v>
                </c:pt>
                <c:pt idx="25281">
                  <c:v>0</c:v>
                </c:pt>
                <c:pt idx="25282">
                  <c:v>0</c:v>
                </c:pt>
                <c:pt idx="25283">
                  <c:v>0</c:v>
                </c:pt>
                <c:pt idx="25284">
                  <c:v>0</c:v>
                </c:pt>
                <c:pt idx="25285">
                  <c:v>0</c:v>
                </c:pt>
                <c:pt idx="25286">
                  <c:v>0</c:v>
                </c:pt>
                <c:pt idx="25287">
                  <c:v>0</c:v>
                </c:pt>
                <c:pt idx="25288">
                  <c:v>0</c:v>
                </c:pt>
                <c:pt idx="25289">
                  <c:v>0</c:v>
                </c:pt>
                <c:pt idx="25290">
                  <c:v>0</c:v>
                </c:pt>
                <c:pt idx="25291">
                  <c:v>0</c:v>
                </c:pt>
                <c:pt idx="25292">
                  <c:v>0</c:v>
                </c:pt>
                <c:pt idx="25293">
                  <c:v>0</c:v>
                </c:pt>
                <c:pt idx="25294">
                  <c:v>0</c:v>
                </c:pt>
                <c:pt idx="25295">
                  <c:v>0</c:v>
                </c:pt>
                <c:pt idx="25296">
                  <c:v>0</c:v>
                </c:pt>
                <c:pt idx="25297">
                  <c:v>0</c:v>
                </c:pt>
                <c:pt idx="25298">
                  <c:v>0</c:v>
                </c:pt>
                <c:pt idx="25299">
                  <c:v>0</c:v>
                </c:pt>
                <c:pt idx="25300">
                  <c:v>0</c:v>
                </c:pt>
                <c:pt idx="25301">
                  <c:v>0</c:v>
                </c:pt>
                <c:pt idx="25302">
                  <c:v>0</c:v>
                </c:pt>
                <c:pt idx="25303">
                  <c:v>0</c:v>
                </c:pt>
                <c:pt idx="25304">
                  <c:v>0</c:v>
                </c:pt>
                <c:pt idx="25305">
                  <c:v>0</c:v>
                </c:pt>
                <c:pt idx="25306">
                  <c:v>1</c:v>
                </c:pt>
                <c:pt idx="25307">
                  <c:v>0</c:v>
                </c:pt>
                <c:pt idx="25308">
                  <c:v>0</c:v>
                </c:pt>
                <c:pt idx="25309">
                  <c:v>0</c:v>
                </c:pt>
                <c:pt idx="25310">
                  <c:v>0</c:v>
                </c:pt>
                <c:pt idx="25311">
                  <c:v>0</c:v>
                </c:pt>
                <c:pt idx="25312">
                  <c:v>0</c:v>
                </c:pt>
                <c:pt idx="25313">
                  <c:v>0</c:v>
                </c:pt>
                <c:pt idx="25314">
                  <c:v>0</c:v>
                </c:pt>
                <c:pt idx="25315">
                  <c:v>0</c:v>
                </c:pt>
                <c:pt idx="25316">
                  <c:v>0</c:v>
                </c:pt>
                <c:pt idx="25317">
                  <c:v>0</c:v>
                </c:pt>
                <c:pt idx="25318">
                  <c:v>0</c:v>
                </c:pt>
                <c:pt idx="25319">
                  <c:v>0</c:v>
                </c:pt>
                <c:pt idx="25320">
                  <c:v>0</c:v>
                </c:pt>
                <c:pt idx="25321">
                  <c:v>0</c:v>
                </c:pt>
                <c:pt idx="25322">
                  <c:v>0</c:v>
                </c:pt>
                <c:pt idx="25323">
                  <c:v>0</c:v>
                </c:pt>
                <c:pt idx="25324">
                  <c:v>0</c:v>
                </c:pt>
                <c:pt idx="25325">
                  <c:v>1</c:v>
                </c:pt>
                <c:pt idx="25326">
                  <c:v>0</c:v>
                </c:pt>
                <c:pt idx="25327">
                  <c:v>0</c:v>
                </c:pt>
                <c:pt idx="25328">
                  <c:v>0</c:v>
                </c:pt>
                <c:pt idx="25329">
                  <c:v>0</c:v>
                </c:pt>
                <c:pt idx="25330">
                  <c:v>0</c:v>
                </c:pt>
                <c:pt idx="25331">
                  <c:v>1</c:v>
                </c:pt>
                <c:pt idx="25332">
                  <c:v>2</c:v>
                </c:pt>
                <c:pt idx="25333">
                  <c:v>0</c:v>
                </c:pt>
                <c:pt idx="25334">
                  <c:v>0</c:v>
                </c:pt>
                <c:pt idx="25335">
                  <c:v>0</c:v>
                </c:pt>
                <c:pt idx="25336">
                  <c:v>0</c:v>
                </c:pt>
                <c:pt idx="25337">
                  <c:v>0</c:v>
                </c:pt>
                <c:pt idx="25338">
                  <c:v>0</c:v>
                </c:pt>
                <c:pt idx="25339">
                  <c:v>0</c:v>
                </c:pt>
                <c:pt idx="25340">
                  <c:v>1</c:v>
                </c:pt>
                <c:pt idx="25341">
                  <c:v>0</c:v>
                </c:pt>
                <c:pt idx="25342">
                  <c:v>0</c:v>
                </c:pt>
                <c:pt idx="25343">
                  <c:v>0</c:v>
                </c:pt>
                <c:pt idx="25344">
                  <c:v>0</c:v>
                </c:pt>
                <c:pt idx="25345">
                  <c:v>0</c:v>
                </c:pt>
                <c:pt idx="25346">
                  <c:v>0</c:v>
                </c:pt>
                <c:pt idx="25347">
                  <c:v>0</c:v>
                </c:pt>
                <c:pt idx="25348">
                  <c:v>1</c:v>
                </c:pt>
                <c:pt idx="25349">
                  <c:v>0</c:v>
                </c:pt>
                <c:pt idx="25350">
                  <c:v>0</c:v>
                </c:pt>
                <c:pt idx="25351">
                  <c:v>0</c:v>
                </c:pt>
                <c:pt idx="25352">
                  <c:v>0</c:v>
                </c:pt>
                <c:pt idx="25353">
                  <c:v>0</c:v>
                </c:pt>
                <c:pt idx="25354">
                  <c:v>0</c:v>
                </c:pt>
                <c:pt idx="25355">
                  <c:v>1</c:v>
                </c:pt>
                <c:pt idx="25356">
                  <c:v>0</c:v>
                </c:pt>
                <c:pt idx="25357">
                  <c:v>0</c:v>
                </c:pt>
                <c:pt idx="25358">
                  <c:v>0</c:v>
                </c:pt>
                <c:pt idx="25359">
                  <c:v>0</c:v>
                </c:pt>
                <c:pt idx="25360">
                  <c:v>0</c:v>
                </c:pt>
                <c:pt idx="25361">
                  <c:v>0</c:v>
                </c:pt>
                <c:pt idx="25362">
                  <c:v>0</c:v>
                </c:pt>
                <c:pt idx="25363">
                  <c:v>0</c:v>
                </c:pt>
                <c:pt idx="25364">
                  <c:v>3</c:v>
                </c:pt>
                <c:pt idx="25365">
                  <c:v>2</c:v>
                </c:pt>
                <c:pt idx="25366">
                  <c:v>0</c:v>
                </c:pt>
                <c:pt idx="25367">
                  <c:v>0</c:v>
                </c:pt>
                <c:pt idx="25368">
                  <c:v>0</c:v>
                </c:pt>
                <c:pt idx="25369">
                  <c:v>0</c:v>
                </c:pt>
                <c:pt idx="25370">
                  <c:v>0</c:v>
                </c:pt>
                <c:pt idx="25371">
                  <c:v>0</c:v>
                </c:pt>
                <c:pt idx="25372">
                  <c:v>0</c:v>
                </c:pt>
                <c:pt idx="25373">
                  <c:v>0</c:v>
                </c:pt>
                <c:pt idx="25374">
                  <c:v>0</c:v>
                </c:pt>
                <c:pt idx="25375">
                  <c:v>0</c:v>
                </c:pt>
                <c:pt idx="25376">
                  <c:v>0</c:v>
                </c:pt>
                <c:pt idx="25377">
                  <c:v>0</c:v>
                </c:pt>
                <c:pt idx="25378">
                  <c:v>0</c:v>
                </c:pt>
                <c:pt idx="25379">
                  <c:v>1</c:v>
                </c:pt>
                <c:pt idx="25380">
                  <c:v>4</c:v>
                </c:pt>
                <c:pt idx="25381">
                  <c:v>0</c:v>
                </c:pt>
                <c:pt idx="25382">
                  <c:v>0</c:v>
                </c:pt>
                <c:pt idx="25383">
                  <c:v>0</c:v>
                </c:pt>
                <c:pt idx="25384">
                  <c:v>0</c:v>
                </c:pt>
                <c:pt idx="25385">
                  <c:v>0</c:v>
                </c:pt>
                <c:pt idx="25386">
                  <c:v>0</c:v>
                </c:pt>
                <c:pt idx="25387">
                  <c:v>0</c:v>
                </c:pt>
                <c:pt idx="25388">
                  <c:v>0</c:v>
                </c:pt>
                <c:pt idx="25389">
                  <c:v>0</c:v>
                </c:pt>
                <c:pt idx="25390">
                  <c:v>0</c:v>
                </c:pt>
                <c:pt idx="25391">
                  <c:v>0</c:v>
                </c:pt>
                <c:pt idx="25392">
                  <c:v>0</c:v>
                </c:pt>
                <c:pt idx="25393">
                  <c:v>0</c:v>
                </c:pt>
                <c:pt idx="25394">
                  <c:v>0</c:v>
                </c:pt>
                <c:pt idx="25395">
                  <c:v>0</c:v>
                </c:pt>
                <c:pt idx="25396">
                  <c:v>0</c:v>
                </c:pt>
                <c:pt idx="25397">
                  <c:v>0</c:v>
                </c:pt>
                <c:pt idx="25398">
                  <c:v>0</c:v>
                </c:pt>
                <c:pt idx="25399">
                  <c:v>0</c:v>
                </c:pt>
                <c:pt idx="25400">
                  <c:v>0</c:v>
                </c:pt>
                <c:pt idx="25401">
                  <c:v>0</c:v>
                </c:pt>
                <c:pt idx="25402">
                  <c:v>0</c:v>
                </c:pt>
                <c:pt idx="25403">
                  <c:v>0</c:v>
                </c:pt>
                <c:pt idx="25404">
                  <c:v>0</c:v>
                </c:pt>
                <c:pt idx="25405">
                  <c:v>0</c:v>
                </c:pt>
                <c:pt idx="25406">
                  <c:v>0</c:v>
                </c:pt>
                <c:pt idx="25407">
                  <c:v>0</c:v>
                </c:pt>
                <c:pt idx="25408">
                  <c:v>0</c:v>
                </c:pt>
                <c:pt idx="25409">
                  <c:v>0</c:v>
                </c:pt>
                <c:pt idx="25410">
                  <c:v>0</c:v>
                </c:pt>
                <c:pt idx="25411">
                  <c:v>0</c:v>
                </c:pt>
                <c:pt idx="25412">
                  <c:v>0</c:v>
                </c:pt>
                <c:pt idx="25413">
                  <c:v>0</c:v>
                </c:pt>
                <c:pt idx="25414">
                  <c:v>0</c:v>
                </c:pt>
                <c:pt idx="25415">
                  <c:v>0</c:v>
                </c:pt>
                <c:pt idx="25416">
                  <c:v>0</c:v>
                </c:pt>
                <c:pt idx="25417">
                  <c:v>0</c:v>
                </c:pt>
                <c:pt idx="25418">
                  <c:v>0</c:v>
                </c:pt>
                <c:pt idx="25419">
                  <c:v>0</c:v>
                </c:pt>
                <c:pt idx="25420">
                  <c:v>0</c:v>
                </c:pt>
                <c:pt idx="25421">
                  <c:v>0</c:v>
                </c:pt>
                <c:pt idx="25422">
                  <c:v>0</c:v>
                </c:pt>
                <c:pt idx="25423">
                  <c:v>0</c:v>
                </c:pt>
                <c:pt idx="25424">
                  <c:v>0</c:v>
                </c:pt>
                <c:pt idx="25425">
                  <c:v>0</c:v>
                </c:pt>
                <c:pt idx="25426">
                  <c:v>0</c:v>
                </c:pt>
                <c:pt idx="25427">
                  <c:v>0</c:v>
                </c:pt>
                <c:pt idx="25428">
                  <c:v>0</c:v>
                </c:pt>
                <c:pt idx="25429">
                  <c:v>0</c:v>
                </c:pt>
                <c:pt idx="25430">
                  <c:v>0</c:v>
                </c:pt>
                <c:pt idx="25431">
                  <c:v>2</c:v>
                </c:pt>
                <c:pt idx="25432">
                  <c:v>0</c:v>
                </c:pt>
                <c:pt idx="25433">
                  <c:v>0</c:v>
                </c:pt>
                <c:pt idx="25434">
                  <c:v>0</c:v>
                </c:pt>
                <c:pt idx="25435">
                  <c:v>1</c:v>
                </c:pt>
                <c:pt idx="25436">
                  <c:v>1</c:v>
                </c:pt>
                <c:pt idx="25437">
                  <c:v>0</c:v>
                </c:pt>
                <c:pt idx="25438">
                  <c:v>0</c:v>
                </c:pt>
                <c:pt idx="25439">
                  <c:v>0</c:v>
                </c:pt>
                <c:pt idx="25440">
                  <c:v>0</c:v>
                </c:pt>
                <c:pt idx="25441">
                  <c:v>0</c:v>
                </c:pt>
                <c:pt idx="25442">
                  <c:v>0</c:v>
                </c:pt>
                <c:pt idx="25443">
                  <c:v>0</c:v>
                </c:pt>
                <c:pt idx="25444">
                  <c:v>0</c:v>
                </c:pt>
                <c:pt idx="25445">
                  <c:v>1</c:v>
                </c:pt>
                <c:pt idx="25446">
                  <c:v>0</c:v>
                </c:pt>
                <c:pt idx="25447">
                  <c:v>2</c:v>
                </c:pt>
                <c:pt idx="25448">
                  <c:v>1</c:v>
                </c:pt>
                <c:pt idx="25449">
                  <c:v>0</c:v>
                </c:pt>
                <c:pt idx="25450">
                  <c:v>1</c:v>
                </c:pt>
                <c:pt idx="25451">
                  <c:v>0</c:v>
                </c:pt>
                <c:pt idx="25452">
                  <c:v>0</c:v>
                </c:pt>
                <c:pt idx="25453">
                  <c:v>0</c:v>
                </c:pt>
                <c:pt idx="25454">
                  <c:v>0</c:v>
                </c:pt>
                <c:pt idx="25455">
                  <c:v>0</c:v>
                </c:pt>
                <c:pt idx="25456">
                  <c:v>0</c:v>
                </c:pt>
                <c:pt idx="25457">
                  <c:v>0</c:v>
                </c:pt>
                <c:pt idx="25458">
                  <c:v>0</c:v>
                </c:pt>
                <c:pt idx="25459">
                  <c:v>0</c:v>
                </c:pt>
                <c:pt idx="25460">
                  <c:v>0</c:v>
                </c:pt>
                <c:pt idx="25461">
                  <c:v>0</c:v>
                </c:pt>
                <c:pt idx="25462">
                  <c:v>0</c:v>
                </c:pt>
                <c:pt idx="25463">
                  <c:v>0</c:v>
                </c:pt>
                <c:pt idx="25464">
                  <c:v>0</c:v>
                </c:pt>
                <c:pt idx="25465">
                  <c:v>0</c:v>
                </c:pt>
                <c:pt idx="25466">
                  <c:v>0</c:v>
                </c:pt>
                <c:pt idx="25467">
                  <c:v>0</c:v>
                </c:pt>
                <c:pt idx="25468">
                  <c:v>0</c:v>
                </c:pt>
                <c:pt idx="25469">
                  <c:v>0</c:v>
                </c:pt>
                <c:pt idx="25470">
                  <c:v>0</c:v>
                </c:pt>
                <c:pt idx="25471">
                  <c:v>0</c:v>
                </c:pt>
                <c:pt idx="25472">
                  <c:v>0</c:v>
                </c:pt>
                <c:pt idx="25473">
                  <c:v>0</c:v>
                </c:pt>
                <c:pt idx="25474">
                  <c:v>0</c:v>
                </c:pt>
                <c:pt idx="25475">
                  <c:v>0</c:v>
                </c:pt>
                <c:pt idx="25476">
                  <c:v>0</c:v>
                </c:pt>
                <c:pt idx="25477">
                  <c:v>0</c:v>
                </c:pt>
                <c:pt idx="25478">
                  <c:v>0</c:v>
                </c:pt>
                <c:pt idx="25479">
                  <c:v>0</c:v>
                </c:pt>
                <c:pt idx="25480">
                  <c:v>0</c:v>
                </c:pt>
                <c:pt idx="25481">
                  <c:v>0</c:v>
                </c:pt>
                <c:pt idx="25482">
                  <c:v>0</c:v>
                </c:pt>
                <c:pt idx="25483">
                  <c:v>0</c:v>
                </c:pt>
                <c:pt idx="25484">
                  <c:v>0</c:v>
                </c:pt>
                <c:pt idx="25485">
                  <c:v>0</c:v>
                </c:pt>
                <c:pt idx="25486">
                  <c:v>0</c:v>
                </c:pt>
                <c:pt idx="25487">
                  <c:v>0</c:v>
                </c:pt>
                <c:pt idx="25488">
                  <c:v>0</c:v>
                </c:pt>
                <c:pt idx="25489">
                  <c:v>0</c:v>
                </c:pt>
                <c:pt idx="25490">
                  <c:v>0</c:v>
                </c:pt>
                <c:pt idx="25491">
                  <c:v>0</c:v>
                </c:pt>
                <c:pt idx="25492">
                  <c:v>0</c:v>
                </c:pt>
                <c:pt idx="25493">
                  <c:v>0</c:v>
                </c:pt>
                <c:pt idx="25494">
                  <c:v>0</c:v>
                </c:pt>
                <c:pt idx="25495">
                  <c:v>0</c:v>
                </c:pt>
                <c:pt idx="25496">
                  <c:v>0</c:v>
                </c:pt>
                <c:pt idx="25497">
                  <c:v>0</c:v>
                </c:pt>
                <c:pt idx="25498">
                  <c:v>0</c:v>
                </c:pt>
                <c:pt idx="25499">
                  <c:v>0</c:v>
                </c:pt>
                <c:pt idx="25500">
                  <c:v>0</c:v>
                </c:pt>
                <c:pt idx="25501">
                  <c:v>0</c:v>
                </c:pt>
                <c:pt idx="25502">
                  <c:v>0</c:v>
                </c:pt>
                <c:pt idx="25503">
                  <c:v>1</c:v>
                </c:pt>
                <c:pt idx="25504">
                  <c:v>1</c:v>
                </c:pt>
                <c:pt idx="25505">
                  <c:v>0</c:v>
                </c:pt>
                <c:pt idx="25506">
                  <c:v>0</c:v>
                </c:pt>
                <c:pt idx="25507">
                  <c:v>0</c:v>
                </c:pt>
                <c:pt idx="25508">
                  <c:v>0</c:v>
                </c:pt>
                <c:pt idx="25509">
                  <c:v>0</c:v>
                </c:pt>
                <c:pt idx="25510">
                  <c:v>1</c:v>
                </c:pt>
                <c:pt idx="25511">
                  <c:v>0</c:v>
                </c:pt>
                <c:pt idx="25512">
                  <c:v>0</c:v>
                </c:pt>
                <c:pt idx="25513">
                  <c:v>0</c:v>
                </c:pt>
                <c:pt idx="25514">
                  <c:v>0</c:v>
                </c:pt>
                <c:pt idx="25515">
                  <c:v>0</c:v>
                </c:pt>
                <c:pt idx="25516">
                  <c:v>0</c:v>
                </c:pt>
                <c:pt idx="25517">
                  <c:v>0</c:v>
                </c:pt>
                <c:pt idx="25518">
                  <c:v>0</c:v>
                </c:pt>
                <c:pt idx="25519">
                  <c:v>0</c:v>
                </c:pt>
                <c:pt idx="25520">
                  <c:v>0</c:v>
                </c:pt>
                <c:pt idx="25521">
                  <c:v>2</c:v>
                </c:pt>
                <c:pt idx="25522">
                  <c:v>0</c:v>
                </c:pt>
                <c:pt idx="25523">
                  <c:v>0</c:v>
                </c:pt>
                <c:pt idx="25524">
                  <c:v>0</c:v>
                </c:pt>
                <c:pt idx="25525">
                  <c:v>0</c:v>
                </c:pt>
                <c:pt idx="25526">
                  <c:v>5</c:v>
                </c:pt>
                <c:pt idx="25527">
                  <c:v>0</c:v>
                </c:pt>
                <c:pt idx="25528">
                  <c:v>0</c:v>
                </c:pt>
                <c:pt idx="25529">
                  <c:v>0</c:v>
                </c:pt>
                <c:pt idx="25530">
                  <c:v>5</c:v>
                </c:pt>
                <c:pt idx="25531">
                  <c:v>2</c:v>
                </c:pt>
                <c:pt idx="25532">
                  <c:v>0</c:v>
                </c:pt>
                <c:pt idx="25533">
                  <c:v>1</c:v>
                </c:pt>
                <c:pt idx="25534">
                  <c:v>0</c:v>
                </c:pt>
                <c:pt idx="25535">
                  <c:v>0</c:v>
                </c:pt>
                <c:pt idx="25536">
                  <c:v>0</c:v>
                </c:pt>
                <c:pt idx="25537">
                  <c:v>0</c:v>
                </c:pt>
                <c:pt idx="25538">
                  <c:v>0</c:v>
                </c:pt>
                <c:pt idx="25539">
                  <c:v>0</c:v>
                </c:pt>
                <c:pt idx="25540">
                  <c:v>0</c:v>
                </c:pt>
                <c:pt idx="25541">
                  <c:v>0</c:v>
                </c:pt>
                <c:pt idx="25542">
                  <c:v>0</c:v>
                </c:pt>
                <c:pt idx="25543">
                  <c:v>0</c:v>
                </c:pt>
                <c:pt idx="25544">
                  <c:v>1</c:v>
                </c:pt>
                <c:pt idx="25545">
                  <c:v>3</c:v>
                </c:pt>
                <c:pt idx="25546">
                  <c:v>0</c:v>
                </c:pt>
                <c:pt idx="25547">
                  <c:v>1</c:v>
                </c:pt>
                <c:pt idx="25548">
                  <c:v>5</c:v>
                </c:pt>
                <c:pt idx="25549">
                  <c:v>1</c:v>
                </c:pt>
                <c:pt idx="25550">
                  <c:v>9</c:v>
                </c:pt>
                <c:pt idx="25551">
                  <c:v>3</c:v>
                </c:pt>
                <c:pt idx="25552">
                  <c:v>0</c:v>
                </c:pt>
                <c:pt idx="25553">
                  <c:v>2</c:v>
                </c:pt>
                <c:pt idx="25554">
                  <c:v>1</c:v>
                </c:pt>
                <c:pt idx="25555">
                  <c:v>0</c:v>
                </c:pt>
                <c:pt idx="25556">
                  <c:v>0</c:v>
                </c:pt>
                <c:pt idx="25557">
                  <c:v>0</c:v>
                </c:pt>
                <c:pt idx="25558">
                  <c:v>1</c:v>
                </c:pt>
                <c:pt idx="25559">
                  <c:v>0</c:v>
                </c:pt>
                <c:pt idx="25560">
                  <c:v>0</c:v>
                </c:pt>
                <c:pt idx="25561">
                  <c:v>0</c:v>
                </c:pt>
                <c:pt idx="25562">
                  <c:v>0</c:v>
                </c:pt>
                <c:pt idx="25563">
                  <c:v>0</c:v>
                </c:pt>
                <c:pt idx="25564">
                  <c:v>7</c:v>
                </c:pt>
                <c:pt idx="25565">
                  <c:v>6</c:v>
                </c:pt>
                <c:pt idx="25566">
                  <c:v>0</c:v>
                </c:pt>
                <c:pt idx="25567">
                  <c:v>0</c:v>
                </c:pt>
                <c:pt idx="25568">
                  <c:v>0</c:v>
                </c:pt>
                <c:pt idx="25569">
                  <c:v>0</c:v>
                </c:pt>
                <c:pt idx="25570">
                  <c:v>0</c:v>
                </c:pt>
                <c:pt idx="25571">
                  <c:v>0</c:v>
                </c:pt>
                <c:pt idx="25572">
                  <c:v>0</c:v>
                </c:pt>
                <c:pt idx="25573">
                  <c:v>0</c:v>
                </c:pt>
                <c:pt idx="25574">
                  <c:v>0</c:v>
                </c:pt>
                <c:pt idx="25575">
                  <c:v>0</c:v>
                </c:pt>
                <c:pt idx="25576">
                  <c:v>0</c:v>
                </c:pt>
                <c:pt idx="25577">
                  <c:v>0</c:v>
                </c:pt>
                <c:pt idx="25578">
                  <c:v>0</c:v>
                </c:pt>
                <c:pt idx="25579">
                  <c:v>0</c:v>
                </c:pt>
                <c:pt idx="25580">
                  <c:v>0</c:v>
                </c:pt>
                <c:pt idx="25581">
                  <c:v>4</c:v>
                </c:pt>
                <c:pt idx="25582">
                  <c:v>0</c:v>
                </c:pt>
                <c:pt idx="25583">
                  <c:v>0</c:v>
                </c:pt>
                <c:pt idx="25584">
                  <c:v>0</c:v>
                </c:pt>
                <c:pt idx="25585">
                  <c:v>0</c:v>
                </c:pt>
                <c:pt idx="25586">
                  <c:v>0</c:v>
                </c:pt>
                <c:pt idx="25587">
                  <c:v>0</c:v>
                </c:pt>
                <c:pt idx="25588">
                  <c:v>1</c:v>
                </c:pt>
                <c:pt idx="25589">
                  <c:v>1</c:v>
                </c:pt>
                <c:pt idx="25590">
                  <c:v>0</c:v>
                </c:pt>
                <c:pt idx="25591">
                  <c:v>0</c:v>
                </c:pt>
                <c:pt idx="25592">
                  <c:v>0</c:v>
                </c:pt>
                <c:pt idx="25593">
                  <c:v>1</c:v>
                </c:pt>
                <c:pt idx="25594">
                  <c:v>0</c:v>
                </c:pt>
                <c:pt idx="25595">
                  <c:v>3</c:v>
                </c:pt>
                <c:pt idx="25596">
                  <c:v>0</c:v>
                </c:pt>
                <c:pt idx="25597">
                  <c:v>0</c:v>
                </c:pt>
                <c:pt idx="25598">
                  <c:v>0</c:v>
                </c:pt>
                <c:pt idx="25599">
                  <c:v>0</c:v>
                </c:pt>
                <c:pt idx="25600">
                  <c:v>0</c:v>
                </c:pt>
                <c:pt idx="25601">
                  <c:v>0</c:v>
                </c:pt>
                <c:pt idx="25602">
                  <c:v>0</c:v>
                </c:pt>
                <c:pt idx="25603">
                  <c:v>0</c:v>
                </c:pt>
                <c:pt idx="25604">
                  <c:v>0</c:v>
                </c:pt>
                <c:pt idx="25605">
                  <c:v>0</c:v>
                </c:pt>
                <c:pt idx="25606">
                  <c:v>0</c:v>
                </c:pt>
                <c:pt idx="25607">
                  <c:v>0</c:v>
                </c:pt>
                <c:pt idx="25608">
                  <c:v>1</c:v>
                </c:pt>
                <c:pt idx="25609">
                  <c:v>0</c:v>
                </c:pt>
                <c:pt idx="25610">
                  <c:v>0</c:v>
                </c:pt>
                <c:pt idx="25611">
                  <c:v>0</c:v>
                </c:pt>
                <c:pt idx="25612">
                  <c:v>2</c:v>
                </c:pt>
                <c:pt idx="25613">
                  <c:v>0</c:v>
                </c:pt>
                <c:pt idx="25614">
                  <c:v>1</c:v>
                </c:pt>
                <c:pt idx="25615">
                  <c:v>3</c:v>
                </c:pt>
                <c:pt idx="25616">
                  <c:v>0</c:v>
                </c:pt>
                <c:pt idx="25617">
                  <c:v>2</c:v>
                </c:pt>
                <c:pt idx="25618">
                  <c:v>0</c:v>
                </c:pt>
                <c:pt idx="25619">
                  <c:v>0</c:v>
                </c:pt>
                <c:pt idx="25620">
                  <c:v>1</c:v>
                </c:pt>
                <c:pt idx="25621">
                  <c:v>0</c:v>
                </c:pt>
                <c:pt idx="25622">
                  <c:v>0</c:v>
                </c:pt>
                <c:pt idx="25623">
                  <c:v>0</c:v>
                </c:pt>
                <c:pt idx="25624">
                  <c:v>0</c:v>
                </c:pt>
                <c:pt idx="25625">
                  <c:v>0</c:v>
                </c:pt>
                <c:pt idx="25626">
                  <c:v>0</c:v>
                </c:pt>
                <c:pt idx="25627">
                  <c:v>0</c:v>
                </c:pt>
                <c:pt idx="25628">
                  <c:v>0</c:v>
                </c:pt>
                <c:pt idx="25629">
                  <c:v>0</c:v>
                </c:pt>
                <c:pt idx="25630">
                  <c:v>1</c:v>
                </c:pt>
                <c:pt idx="25631">
                  <c:v>0</c:v>
                </c:pt>
                <c:pt idx="25632">
                  <c:v>0</c:v>
                </c:pt>
                <c:pt idx="25633">
                  <c:v>0</c:v>
                </c:pt>
                <c:pt idx="25634">
                  <c:v>2</c:v>
                </c:pt>
                <c:pt idx="25635">
                  <c:v>0</c:v>
                </c:pt>
                <c:pt idx="25636">
                  <c:v>3</c:v>
                </c:pt>
                <c:pt idx="25637">
                  <c:v>0</c:v>
                </c:pt>
                <c:pt idx="25638">
                  <c:v>0</c:v>
                </c:pt>
                <c:pt idx="25639">
                  <c:v>0</c:v>
                </c:pt>
                <c:pt idx="25640">
                  <c:v>0</c:v>
                </c:pt>
                <c:pt idx="25641">
                  <c:v>0</c:v>
                </c:pt>
                <c:pt idx="25642">
                  <c:v>0</c:v>
                </c:pt>
                <c:pt idx="25643">
                  <c:v>0</c:v>
                </c:pt>
                <c:pt idx="25644">
                  <c:v>0</c:v>
                </c:pt>
                <c:pt idx="25645">
                  <c:v>0</c:v>
                </c:pt>
                <c:pt idx="25646">
                  <c:v>0</c:v>
                </c:pt>
                <c:pt idx="25647">
                  <c:v>0</c:v>
                </c:pt>
                <c:pt idx="25648">
                  <c:v>1</c:v>
                </c:pt>
                <c:pt idx="25649">
                  <c:v>0</c:v>
                </c:pt>
                <c:pt idx="25650">
                  <c:v>2</c:v>
                </c:pt>
                <c:pt idx="25651">
                  <c:v>2</c:v>
                </c:pt>
                <c:pt idx="25652">
                  <c:v>0</c:v>
                </c:pt>
                <c:pt idx="25653">
                  <c:v>0</c:v>
                </c:pt>
                <c:pt idx="25654">
                  <c:v>0</c:v>
                </c:pt>
                <c:pt idx="25655">
                  <c:v>0</c:v>
                </c:pt>
                <c:pt idx="25656">
                  <c:v>1</c:v>
                </c:pt>
                <c:pt idx="25657">
                  <c:v>0</c:v>
                </c:pt>
                <c:pt idx="25658">
                  <c:v>0</c:v>
                </c:pt>
                <c:pt idx="25659">
                  <c:v>0</c:v>
                </c:pt>
                <c:pt idx="25660">
                  <c:v>5</c:v>
                </c:pt>
                <c:pt idx="25661">
                  <c:v>0</c:v>
                </c:pt>
                <c:pt idx="25662">
                  <c:v>0</c:v>
                </c:pt>
                <c:pt idx="25663">
                  <c:v>0</c:v>
                </c:pt>
                <c:pt idx="25664">
                  <c:v>1</c:v>
                </c:pt>
                <c:pt idx="25665">
                  <c:v>0</c:v>
                </c:pt>
                <c:pt idx="25666">
                  <c:v>0</c:v>
                </c:pt>
                <c:pt idx="25667">
                  <c:v>0</c:v>
                </c:pt>
                <c:pt idx="25668">
                  <c:v>2</c:v>
                </c:pt>
                <c:pt idx="25669">
                  <c:v>0</c:v>
                </c:pt>
                <c:pt idx="25670">
                  <c:v>0</c:v>
                </c:pt>
                <c:pt idx="25671">
                  <c:v>2</c:v>
                </c:pt>
                <c:pt idx="25672">
                  <c:v>0</c:v>
                </c:pt>
                <c:pt idx="25673">
                  <c:v>1</c:v>
                </c:pt>
                <c:pt idx="25674">
                  <c:v>4</c:v>
                </c:pt>
                <c:pt idx="25675">
                  <c:v>0</c:v>
                </c:pt>
                <c:pt idx="25676">
                  <c:v>1</c:v>
                </c:pt>
                <c:pt idx="25677">
                  <c:v>1</c:v>
                </c:pt>
                <c:pt idx="25678">
                  <c:v>1</c:v>
                </c:pt>
                <c:pt idx="25679">
                  <c:v>2</c:v>
                </c:pt>
                <c:pt idx="25680">
                  <c:v>0</c:v>
                </c:pt>
                <c:pt idx="25681">
                  <c:v>3</c:v>
                </c:pt>
                <c:pt idx="25682">
                  <c:v>3</c:v>
                </c:pt>
                <c:pt idx="25683">
                  <c:v>3</c:v>
                </c:pt>
                <c:pt idx="25684">
                  <c:v>2</c:v>
                </c:pt>
                <c:pt idx="25685">
                  <c:v>2</c:v>
                </c:pt>
                <c:pt idx="25686">
                  <c:v>1</c:v>
                </c:pt>
                <c:pt idx="25687">
                  <c:v>2</c:v>
                </c:pt>
                <c:pt idx="25688">
                  <c:v>3</c:v>
                </c:pt>
                <c:pt idx="25689">
                  <c:v>0</c:v>
                </c:pt>
                <c:pt idx="25690">
                  <c:v>0</c:v>
                </c:pt>
                <c:pt idx="25691">
                  <c:v>5</c:v>
                </c:pt>
                <c:pt idx="25692">
                  <c:v>3</c:v>
                </c:pt>
                <c:pt idx="25693">
                  <c:v>6</c:v>
                </c:pt>
                <c:pt idx="25694">
                  <c:v>2</c:v>
                </c:pt>
                <c:pt idx="25695">
                  <c:v>1</c:v>
                </c:pt>
                <c:pt idx="25696">
                  <c:v>2</c:v>
                </c:pt>
                <c:pt idx="25697">
                  <c:v>3</c:v>
                </c:pt>
                <c:pt idx="25698">
                  <c:v>0</c:v>
                </c:pt>
                <c:pt idx="25699">
                  <c:v>2</c:v>
                </c:pt>
                <c:pt idx="25700">
                  <c:v>0</c:v>
                </c:pt>
                <c:pt idx="25701">
                  <c:v>2</c:v>
                </c:pt>
                <c:pt idx="25702">
                  <c:v>3</c:v>
                </c:pt>
                <c:pt idx="25703">
                  <c:v>0</c:v>
                </c:pt>
                <c:pt idx="25704">
                  <c:v>0</c:v>
                </c:pt>
                <c:pt idx="25705">
                  <c:v>0</c:v>
                </c:pt>
                <c:pt idx="25706">
                  <c:v>0</c:v>
                </c:pt>
                <c:pt idx="25707">
                  <c:v>0</c:v>
                </c:pt>
                <c:pt idx="25708">
                  <c:v>0</c:v>
                </c:pt>
                <c:pt idx="25709">
                  <c:v>0</c:v>
                </c:pt>
                <c:pt idx="25710">
                  <c:v>0</c:v>
                </c:pt>
                <c:pt idx="25711">
                  <c:v>0</c:v>
                </c:pt>
                <c:pt idx="25712">
                  <c:v>0</c:v>
                </c:pt>
                <c:pt idx="25713">
                  <c:v>0</c:v>
                </c:pt>
                <c:pt idx="25714">
                  <c:v>0</c:v>
                </c:pt>
                <c:pt idx="25715">
                  <c:v>0</c:v>
                </c:pt>
                <c:pt idx="25716">
                  <c:v>0</c:v>
                </c:pt>
                <c:pt idx="25717">
                  <c:v>0</c:v>
                </c:pt>
                <c:pt idx="25718">
                  <c:v>0</c:v>
                </c:pt>
                <c:pt idx="25719">
                  <c:v>0</c:v>
                </c:pt>
                <c:pt idx="25720">
                  <c:v>2</c:v>
                </c:pt>
                <c:pt idx="25721">
                  <c:v>0</c:v>
                </c:pt>
                <c:pt idx="25722">
                  <c:v>0</c:v>
                </c:pt>
                <c:pt idx="25723">
                  <c:v>0</c:v>
                </c:pt>
                <c:pt idx="25724">
                  <c:v>0</c:v>
                </c:pt>
                <c:pt idx="25725">
                  <c:v>0</c:v>
                </c:pt>
                <c:pt idx="25726">
                  <c:v>0</c:v>
                </c:pt>
                <c:pt idx="25727">
                  <c:v>0</c:v>
                </c:pt>
                <c:pt idx="25728">
                  <c:v>0</c:v>
                </c:pt>
                <c:pt idx="25729">
                  <c:v>0</c:v>
                </c:pt>
                <c:pt idx="25730">
                  <c:v>0</c:v>
                </c:pt>
                <c:pt idx="25731">
                  <c:v>0</c:v>
                </c:pt>
                <c:pt idx="25732">
                  <c:v>0</c:v>
                </c:pt>
                <c:pt idx="25733">
                  <c:v>0</c:v>
                </c:pt>
                <c:pt idx="25734">
                  <c:v>0</c:v>
                </c:pt>
                <c:pt idx="25735">
                  <c:v>0</c:v>
                </c:pt>
                <c:pt idx="25736">
                  <c:v>0</c:v>
                </c:pt>
                <c:pt idx="25737">
                  <c:v>1</c:v>
                </c:pt>
                <c:pt idx="25738">
                  <c:v>0</c:v>
                </c:pt>
                <c:pt idx="25739">
                  <c:v>4</c:v>
                </c:pt>
                <c:pt idx="25740">
                  <c:v>0</c:v>
                </c:pt>
                <c:pt idx="25741">
                  <c:v>3</c:v>
                </c:pt>
                <c:pt idx="25742">
                  <c:v>2</c:v>
                </c:pt>
                <c:pt idx="25743">
                  <c:v>1</c:v>
                </c:pt>
                <c:pt idx="25744">
                  <c:v>0</c:v>
                </c:pt>
                <c:pt idx="25745">
                  <c:v>0</c:v>
                </c:pt>
                <c:pt idx="25746">
                  <c:v>0</c:v>
                </c:pt>
                <c:pt idx="25747">
                  <c:v>0</c:v>
                </c:pt>
                <c:pt idx="25748">
                  <c:v>0</c:v>
                </c:pt>
                <c:pt idx="25749">
                  <c:v>0</c:v>
                </c:pt>
                <c:pt idx="25750">
                  <c:v>0</c:v>
                </c:pt>
                <c:pt idx="25751">
                  <c:v>0</c:v>
                </c:pt>
                <c:pt idx="25752">
                  <c:v>0</c:v>
                </c:pt>
                <c:pt idx="25753">
                  <c:v>0</c:v>
                </c:pt>
                <c:pt idx="25754">
                  <c:v>0</c:v>
                </c:pt>
                <c:pt idx="25755">
                  <c:v>0</c:v>
                </c:pt>
                <c:pt idx="25756">
                  <c:v>0</c:v>
                </c:pt>
                <c:pt idx="25757">
                  <c:v>1</c:v>
                </c:pt>
                <c:pt idx="25758">
                  <c:v>0</c:v>
                </c:pt>
                <c:pt idx="25759">
                  <c:v>0</c:v>
                </c:pt>
                <c:pt idx="25760">
                  <c:v>0</c:v>
                </c:pt>
                <c:pt idx="25761">
                  <c:v>0</c:v>
                </c:pt>
                <c:pt idx="25762">
                  <c:v>0</c:v>
                </c:pt>
                <c:pt idx="25763">
                  <c:v>0</c:v>
                </c:pt>
                <c:pt idx="25764">
                  <c:v>1</c:v>
                </c:pt>
                <c:pt idx="25765">
                  <c:v>0</c:v>
                </c:pt>
                <c:pt idx="25766">
                  <c:v>1</c:v>
                </c:pt>
                <c:pt idx="25767">
                  <c:v>0</c:v>
                </c:pt>
                <c:pt idx="25768">
                  <c:v>0</c:v>
                </c:pt>
                <c:pt idx="25769">
                  <c:v>0</c:v>
                </c:pt>
                <c:pt idx="25770">
                  <c:v>0</c:v>
                </c:pt>
                <c:pt idx="25771">
                  <c:v>0</c:v>
                </c:pt>
                <c:pt idx="25772">
                  <c:v>0</c:v>
                </c:pt>
                <c:pt idx="25773">
                  <c:v>0</c:v>
                </c:pt>
                <c:pt idx="25774">
                  <c:v>0</c:v>
                </c:pt>
                <c:pt idx="25775">
                  <c:v>0</c:v>
                </c:pt>
                <c:pt idx="25776">
                  <c:v>0</c:v>
                </c:pt>
                <c:pt idx="25777">
                  <c:v>0</c:v>
                </c:pt>
                <c:pt idx="25778">
                  <c:v>0</c:v>
                </c:pt>
                <c:pt idx="25779">
                  <c:v>0</c:v>
                </c:pt>
                <c:pt idx="25780">
                  <c:v>0</c:v>
                </c:pt>
                <c:pt idx="25781">
                  <c:v>0</c:v>
                </c:pt>
                <c:pt idx="25782">
                  <c:v>0</c:v>
                </c:pt>
                <c:pt idx="25783">
                  <c:v>0</c:v>
                </c:pt>
                <c:pt idx="25784">
                  <c:v>0</c:v>
                </c:pt>
                <c:pt idx="25785">
                  <c:v>0</c:v>
                </c:pt>
                <c:pt idx="25786">
                  <c:v>0</c:v>
                </c:pt>
                <c:pt idx="25787">
                  <c:v>0</c:v>
                </c:pt>
                <c:pt idx="25788">
                  <c:v>0</c:v>
                </c:pt>
                <c:pt idx="25789">
                  <c:v>0</c:v>
                </c:pt>
                <c:pt idx="25790">
                  <c:v>0</c:v>
                </c:pt>
                <c:pt idx="25791">
                  <c:v>0</c:v>
                </c:pt>
                <c:pt idx="25792">
                  <c:v>0</c:v>
                </c:pt>
                <c:pt idx="25793">
                  <c:v>0</c:v>
                </c:pt>
                <c:pt idx="25794">
                  <c:v>0</c:v>
                </c:pt>
                <c:pt idx="25795">
                  <c:v>0</c:v>
                </c:pt>
                <c:pt idx="25796">
                  <c:v>0</c:v>
                </c:pt>
                <c:pt idx="25797">
                  <c:v>0</c:v>
                </c:pt>
                <c:pt idx="25798">
                  <c:v>0</c:v>
                </c:pt>
                <c:pt idx="25799">
                  <c:v>0</c:v>
                </c:pt>
                <c:pt idx="25800">
                  <c:v>0</c:v>
                </c:pt>
                <c:pt idx="25801">
                  <c:v>0</c:v>
                </c:pt>
                <c:pt idx="25802">
                  <c:v>0</c:v>
                </c:pt>
                <c:pt idx="25803">
                  <c:v>0</c:v>
                </c:pt>
                <c:pt idx="25804">
                  <c:v>0</c:v>
                </c:pt>
                <c:pt idx="25805">
                  <c:v>0</c:v>
                </c:pt>
                <c:pt idx="25806">
                  <c:v>0</c:v>
                </c:pt>
                <c:pt idx="25807">
                  <c:v>0</c:v>
                </c:pt>
                <c:pt idx="25808">
                  <c:v>0</c:v>
                </c:pt>
                <c:pt idx="25809">
                  <c:v>0</c:v>
                </c:pt>
                <c:pt idx="25810">
                  <c:v>0</c:v>
                </c:pt>
                <c:pt idx="25811">
                  <c:v>0</c:v>
                </c:pt>
                <c:pt idx="25812">
                  <c:v>0</c:v>
                </c:pt>
                <c:pt idx="25813">
                  <c:v>0</c:v>
                </c:pt>
                <c:pt idx="25814">
                  <c:v>0</c:v>
                </c:pt>
                <c:pt idx="25815">
                  <c:v>1</c:v>
                </c:pt>
                <c:pt idx="25816">
                  <c:v>0</c:v>
                </c:pt>
                <c:pt idx="25817">
                  <c:v>0</c:v>
                </c:pt>
                <c:pt idx="25818">
                  <c:v>0</c:v>
                </c:pt>
                <c:pt idx="25819">
                  <c:v>0</c:v>
                </c:pt>
                <c:pt idx="25820">
                  <c:v>0</c:v>
                </c:pt>
                <c:pt idx="25821">
                  <c:v>0</c:v>
                </c:pt>
                <c:pt idx="25822">
                  <c:v>0</c:v>
                </c:pt>
                <c:pt idx="25823">
                  <c:v>0</c:v>
                </c:pt>
                <c:pt idx="25824">
                  <c:v>0</c:v>
                </c:pt>
                <c:pt idx="25825">
                  <c:v>0</c:v>
                </c:pt>
                <c:pt idx="25826">
                  <c:v>0</c:v>
                </c:pt>
                <c:pt idx="25827">
                  <c:v>0</c:v>
                </c:pt>
                <c:pt idx="25828">
                  <c:v>0</c:v>
                </c:pt>
                <c:pt idx="25829">
                  <c:v>0</c:v>
                </c:pt>
                <c:pt idx="25830">
                  <c:v>0</c:v>
                </c:pt>
                <c:pt idx="25831">
                  <c:v>0</c:v>
                </c:pt>
                <c:pt idx="25832">
                  <c:v>0</c:v>
                </c:pt>
                <c:pt idx="25833">
                  <c:v>0</c:v>
                </c:pt>
                <c:pt idx="25834">
                  <c:v>0</c:v>
                </c:pt>
                <c:pt idx="25835">
                  <c:v>0</c:v>
                </c:pt>
                <c:pt idx="25836">
                  <c:v>0</c:v>
                </c:pt>
                <c:pt idx="25837">
                  <c:v>0</c:v>
                </c:pt>
                <c:pt idx="25838">
                  <c:v>0</c:v>
                </c:pt>
                <c:pt idx="25839">
                  <c:v>0</c:v>
                </c:pt>
                <c:pt idx="25840">
                  <c:v>0</c:v>
                </c:pt>
                <c:pt idx="25841">
                  <c:v>0</c:v>
                </c:pt>
                <c:pt idx="25842">
                  <c:v>0</c:v>
                </c:pt>
                <c:pt idx="25843">
                  <c:v>0</c:v>
                </c:pt>
                <c:pt idx="25844">
                  <c:v>0</c:v>
                </c:pt>
                <c:pt idx="25845">
                  <c:v>0</c:v>
                </c:pt>
                <c:pt idx="25846">
                  <c:v>0</c:v>
                </c:pt>
                <c:pt idx="25847">
                  <c:v>0</c:v>
                </c:pt>
                <c:pt idx="25848">
                  <c:v>0</c:v>
                </c:pt>
                <c:pt idx="25849">
                  <c:v>4</c:v>
                </c:pt>
                <c:pt idx="25850">
                  <c:v>0</c:v>
                </c:pt>
                <c:pt idx="25851">
                  <c:v>0</c:v>
                </c:pt>
                <c:pt idx="25852">
                  <c:v>0</c:v>
                </c:pt>
                <c:pt idx="25853">
                  <c:v>0</c:v>
                </c:pt>
                <c:pt idx="25854">
                  <c:v>5</c:v>
                </c:pt>
                <c:pt idx="25855">
                  <c:v>0</c:v>
                </c:pt>
                <c:pt idx="25856">
                  <c:v>0</c:v>
                </c:pt>
                <c:pt idx="25857">
                  <c:v>0</c:v>
                </c:pt>
                <c:pt idx="25858">
                  <c:v>2</c:v>
                </c:pt>
                <c:pt idx="25859">
                  <c:v>11</c:v>
                </c:pt>
                <c:pt idx="25860">
                  <c:v>10</c:v>
                </c:pt>
                <c:pt idx="25861">
                  <c:v>1</c:v>
                </c:pt>
                <c:pt idx="25862">
                  <c:v>10</c:v>
                </c:pt>
                <c:pt idx="25863">
                  <c:v>3</c:v>
                </c:pt>
                <c:pt idx="25864">
                  <c:v>0</c:v>
                </c:pt>
                <c:pt idx="25865">
                  <c:v>3</c:v>
                </c:pt>
                <c:pt idx="25866">
                  <c:v>3</c:v>
                </c:pt>
                <c:pt idx="25867">
                  <c:v>6</c:v>
                </c:pt>
                <c:pt idx="25868">
                  <c:v>4</c:v>
                </c:pt>
                <c:pt idx="25869">
                  <c:v>9</c:v>
                </c:pt>
                <c:pt idx="25870">
                  <c:v>1</c:v>
                </c:pt>
                <c:pt idx="25871">
                  <c:v>6</c:v>
                </c:pt>
                <c:pt idx="25872">
                  <c:v>0</c:v>
                </c:pt>
                <c:pt idx="25873">
                  <c:v>1</c:v>
                </c:pt>
                <c:pt idx="25874">
                  <c:v>2</c:v>
                </c:pt>
                <c:pt idx="25875">
                  <c:v>8</c:v>
                </c:pt>
                <c:pt idx="25876">
                  <c:v>3</c:v>
                </c:pt>
                <c:pt idx="25877">
                  <c:v>0</c:v>
                </c:pt>
                <c:pt idx="25878">
                  <c:v>2</c:v>
                </c:pt>
                <c:pt idx="25879">
                  <c:v>0</c:v>
                </c:pt>
                <c:pt idx="25880">
                  <c:v>2</c:v>
                </c:pt>
                <c:pt idx="25881">
                  <c:v>0</c:v>
                </c:pt>
                <c:pt idx="25882">
                  <c:v>10</c:v>
                </c:pt>
                <c:pt idx="25883">
                  <c:v>1</c:v>
                </c:pt>
                <c:pt idx="25884">
                  <c:v>15</c:v>
                </c:pt>
                <c:pt idx="25885">
                  <c:v>0</c:v>
                </c:pt>
                <c:pt idx="25886">
                  <c:v>3</c:v>
                </c:pt>
                <c:pt idx="25887">
                  <c:v>1</c:v>
                </c:pt>
                <c:pt idx="25888">
                  <c:v>2</c:v>
                </c:pt>
                <c:pt idx="25889">
                  <c:v>3</c:v>
                </c:pt>
                <c:pt idx="25890">
                  <c:v>0</c:v>
                </c:pt>
                <c:pt idx="25891">
                  <c:v>6</c:v>
                </c:pt>
                <c:pt idx="25892">
                  <c:v>0</c:v>
                </c:pt>
                <c:pt idx="25893">
                  <c:v>2</c:v>
                </c:pt>
                <c:pt idx="25894">
                  <c:v>6</c:v>
                </c:pt>
                <c:pt idx="25895">
                  <c:v>2</c:v>
                </c:pt>
                <c:pt idx="25896">
                  <c:v>3</c:v>
                </c:pt>
                <c:pt idx="25897">
                  <c:v>4</c:v>
                </c:pt>
                <c:pt idx="25898">
                  <c:v>2</c:v>
                </c:pt>
                <c:pt idx="25899">
                  <c:v>3</c:v>
                </c:pt>
                <c:pt idx="25900">
                  <c:v>10</c:v>
                </c:pt>
                <c:pt idx="25901">
                  <c:v>2</c:v>
                </c:pt>
                <c:pt idx="25902">
                  <c:v>1</c:v>
                </c:pt>
                <c:pt idx="25903">
                  <c:v>2</c:v>
                </c:pt>
                <c:pt idx="25904">
                  <c:v>3</c:v>
                </c:pt>
                <c:pt idx="25905">
                  <c:v>0</c:v>
                </c:pt>
                <c:pt idx="25906">
                  <c:v>3</c:v>
                </c:pt>
                <c:pt idx="25907">
                  <c:v>0</c:v>
                </c:pt>
                <c:pt idx="25908">
                  <c:v>2</c:v>
                </c:pt>
                <c:pt idx="25909">
                  <c:v>0</c:v>
                </c:pt>
                <c:pt idx="25910">
                  <c:v>0</c:v>
                </c:pt>
                <c:pt idx="25911">
                  <c:v>0</c:v>
                </c:pt>
                <c:pt idx="25912">
                  <c:v>0</c:v>
                </c:pt>
                <c:pt idx="25913">
                  <c:v>3</c:v>
                </c:pt>
                <c:pt idx="25914">
                  <c:v>0</c:v>
                </c:pt>
                <c:pt idx="25915">
                  <c:v>4</c:v>
                </c:pt>
                <c:pt idx="25916">
                  <c:v>10</c:v>
                </c:pt>
                <c:pt idx="25917">
                  <c:v>1</c:v>
                </c:pt>
                <c:pt idx="25918">
                  <c:v>0</c:v>
                </c:pt>
                <c:pt idx="25919">
                  <c:v>0</c:v>
                </c:pt>
                <c:pt idx="25920">
                  <c:v>0</c:v>
                </c:pt>
                <c:pt idx="25921">
                  <c:v>0</c:v>
                </c:pt>
                <c:pt idx="25922">
                  <c:v>0</c:v>
                </c:pt>
                <c:pt idx="25923">
                  <c:v>0</c:v>
                </c:pt>
                <c:pt idx="25924">
                  <c:v>0</c:v>
                </c:pt>
                <c:pt idx="25925">
                  <c:v>1</c:v>
                </c:pt>
                <c:pt idx="25926">
                  <c:v>4</c:v>
                </c:pt>
                <c:pt idx="25927">
                  <c:v>2</c:v>
                </c:pt>
                <c:pt idx="25928">
                  <c:v>5</c:v>
                </c:pt>
                <c:pt idx="25929">
                  <c:v>5</c:v>
                </c:pt>
                <c:pt idx="25930">
                  <c:v>4</c:v>
                </c:pt>
                <c:pt idx="25931">
                  <c:v>4</c:v>
                </c:pt>
                <c:pt idx="25932">
                  <c:v>2</c:v>
                </c:pt>
                <c:pt idx="25933">
                  <c:v>6</c:v>
                </c:pt>
                <c:pt idx="25934">
                  <c:v>5</c:v>
                </c:pt>
                <c:pt idx="25935">
                  <c:v>10</c:v>
                </c:pt>
                <c:pt idx="25936">
                  <c:v>2</c:v>
                </c:pt>
                <c:pt idx="25937">
                  <c:v>0</c:v>
                </c:pt>
                <c:pt idx="25938">
                  <c:v>4</c:v>
                </c:pt>
                <c:pt idx="25939">
                  <c:v>4</c:v>
                </c:pt>
                <c:pt idx="25940">
                  <c:v>6</c:v>
                </c:pt>
                <c:pt idx="25941">
                  <c:v>2</c:v>
                </c:pt>
                <c:pt idx="25942">
                  <c:v>7</c:v>
                </c:pt>
                <c:pt idx="25943">
                  <c:v>4</c:v>
                </c:pt>
                <c:pt idx="25944">
                  <c:v>6</c:v>
                </c:pt>
                <c:pt idx="25945">
                  <c:v>4</c:v>
                </c:pt>
                <c:pt idx="25946">
                  <c:v>9</c:v>
                </c:pt>
                <c:pt idx="25947">
                  <c:v>3</c:v>
                </c:pt>
                <c:pt idx="25948">
                  <c:v>8</c:v>
                </c:pt>
                <c:pt idx="25949">
                  <c:v>5</c:v>
                </c:pt>
                <c:pt idx="25950">
                  <c:v>0</c:v>
                </c:pt>
                <c:pt idx="25951">
                  <c:v>3</c:v>
                </c:pt>
                <c:pt idx="25952">
                  <c:v>11</c:v>
                </c:pt>
                <c:pt idx="25953">
                  <c:v>2</c:v>
                </c:pt>
                <c:pt idx="25954">
                  <c:v>11</c:v>
                </c:pt>
                <c:pt idx="25955">
                  <c:v>0</c:v>
                </c:pt>
                <c:pt idx="25956">
                  <c:v>0</c:v>
                </c:pt>
                <c:pt idx="25957">
                  <c:v>0</c:v>
                </c:pt>
                <c:pt idx="25958">
                  <c:v>3</c:v>
                </c:pt>
                <c:pt idx="25959">
                  <c:v>2</c:v>
                </c:pt>
                <c:pt idx="25960">
                  <c:v>24</c:v>
                </c:pt>
                <c:pt idx="25961">
                  <c:v>22</c:v>
                </c:pt>
                <c:pt idx="25962">
                  <c:v>9</c:v>
                </c:pt>
                <c:pt idx="25963">
                  <c:v>4</c:v>
                </c:pt>
                <c:pt idx="25964">
                  <c:v>5</c:v>
                </c:pt>
                <c:pt idx="25965">
                  <c:v>4</c:v>
                </c:pt>
                <c:pt idx="25966">
                  <c:v>8</c:v>
                </c:pt>
                <c:pt idx="25967">
                  <c:v>4</c:v>
                </c:pt>
                <c:pt idx="25968">
                  <c:v>3</c:v>
                </c:pt>
                <c:pt idx="25969">
                  <c:v>0</c:v>
                </c:pt>
                <c:pt idx="25970">
                  <c:v>2</c:v>
                </c:pt>
                <c:pt idx="25971">
                  <c:v>0</c:v>
                </c:pt>
                <c:pt idx="25972">
                  <c:v>2</c:v>
                </c:pt>
                <c:pt idx="25973">
                  <c:v>1</c:v>
                </c:pt>
                <c:pt idx="25974">
                  <c:v>1</c:v>
                </c:pt>
                <c:pt idx="25975">
                  <c:v>0</c:v>
                </c:pt>
                <c:pt idx="25976">
                  <c:v>6</c:v>
                </c:pt>
                <c:pt idx="25977">
                  <c:v>0</c:v>
                </c:pt>
                <c:pt idx="25978">
                  <c:v>0</c:v>
                </c:pt>
                <c:pt idx="25979">
                  <c:v>0</c:v>
                </c:pt>
                <c:pt idx="25980">
                  <c:v>0</c:v>
                </c:pt>
                <c:pt idx="25981">
                  <c:v>1</c:v>
                </c:pt>
                <c:pt idx="25982">
                  <c:v>0</c:v>
                </c:pt>
                <c:pt idx="25983">
                  <c:v>0</c:v>
                </c:pt>
                <c:pt idx="25984">
                  <c:v>1</c:v>
                </c:pt>
                <c:pt idx="25985">
                  <c:v>0</c:v>
                </c:pt>
                <c:pt idx="25986">
                  <c:v>3</c:v>
                </c:pt>
                <c:pt idx="25987">
                  <c:v>0</c:v>
                </c:pt>
                <c:pt idx="25988">
                  <c:v>0</c:v>
                </c:pt>
                <c:pt idx="25989">
                  <c:v>0</c:v>
                </c:pt>
                <c:pt idx="25990">
                  <c:v>0</c:v>
                </c:pt>
                <c:pt idx="25991">
                  <c:v>0</c:v>
                </c:pt>
                <c:pt idx="25992">
                  <c:v>3</c:v>
                </c:pt>
                <c:pt idx="25993">
                  <c:v>1</c:v>
                </c:pt>
                <c:pt idx="25994">
                  <c:v>0</c:v>
                </c:pt>
                <c:pt idx="25995">
                  <c:v>0</c:v>
                </c:pt>
                <c:pt idx="25996">
                  <c:v>1</c:v>
                </c:pt>
                <c:pt idx="25997">
                  <c:v>0</c:v>
                </c:pt>
                <c:pt idx="25998">
                  <c:v>0</c:v>
                </c:pt>
                <c:pt idx="25999">
                  <c:v>0</c:v>
                </c:pt>
                <c:pt idx="26000">
                  <c:v>0</c:v>
                </c:pt>
                <c:pt idx="26001">
                  <c:v>0</c:v>
                </c:pt>
                <c:pt idx="26002">
                  <c:v>0</c:v>
                </c:pt>
                <c:pt idx="26003">
                  <c:v>2</c:v>
                </c:pt>
                <c:pt idx="26004">
                  <c:v>3</c:v>
                </c:pt>
                <c:pt idx="26005">
                  <c:v>0</c:v>
                </c:pt>
                <c:pt idx="26006">
                  <c:v>0</c:v>
                </c:pt>
                <c:pt idx="26007">
                  <c:v>0</c:v>
                </c:pt>
                <c:pt idx="26008">
                  <c:v>0</c:v>
                </c:pt>
                <c:pt idx="26009">
                  <c:v>0</c:v>
                </c:pt>
                <c:pt idx="26010">
                  <c:v>0</c:v>
                </c:pt>
                <c:pt idx="26011">
                  <c:v>0</c:v>
                </c:pt>
                <c:pt idx="26012">
                  <c:v>7</c:v>
                </c:pt>
                <c:pt idx="26013">
                  <c:v>0</c:v>
                </c:pt>
                <c:pt idx="26014">
                  <c:v>2</c:v>
                </c:pt>
                <c:pt idx="26015">
                  <c:v>2</c:v>
                </c:pt>
                <c:pt idx="26016">
                  <c:v>6</c:v>
                </c:pt>
                <c:pt idx="26017">
                  <c:v>4</c:v>
                </c:pt>
                <c:pt idx="26018">
                  <c:v>1</c:v>
                </c:pt>
                <c:pt idx="26019">
                  <c:v>0</c:v>
                </c:pt>
                <c:pt idx="26020">
                  <c:v>3</c:v>
                </c:pt>
                <c:pt idx="26021">
                  <c:v>1</c:v>
                </c:pt>
                <c:pt idx="26022">
                  <c:v>6</c:v>
                </c:pt>
                <c:pt idx="26023">
                  <c:v>3</c:v>
                </c:pt>
                <c:pt idx="26024">
                  <c:v>0</c:v>
                </c:pt>
                <c:pt idx="26025">
                  <c:v>1</c:v>
                </c:pt>
                <c:pt idx="26026">
                  <c:v>1</c:v>
                </c:pt>
                <c:pt idx="26027">
                  <c:v>1</c:v>
                </c:pt>
                <c:pt idx="26028">
                  <c:v>3</c:v>
                </c:pt>
                <c:pt idx="26029">
                  <c:v>0</c:v>
                </c:pt>
                <c:pt idx="26030">
                  <c:v>1</c:v>
                </c:pt>
                <c:pt idx="26031">
                  <c:v>0</c:v>
                </c:pt>
                <c:pt idx="26032">
                  <c:v>0</c:v>
                </c:pt>
                <c:pt idx="26033">
                  <c:v>1</c:v>
                </c:pt>
                <c:pt idx="26034">
                  <c:v>0</c:v>
                </c:pt>
                <c:pt idx="26035">
                  <c:v>0</c:v>
                </c:pt>
                <c:pt idx="26036">
                  <c:v>0</c:v>
                </c:pt>
                <c:pt idx="26037">
                  <c:v>3</c:v>
                </c:pt>
                <c:pt idx="26038">
                  <c:v>0</c:v>
                </c:pt>
                <c:pt idx="26039">
                  <c:v>0</c:v>
                </c:pt>
                <c:pt idx="26040">
                  <c:v>0</c:v>
                </c:pt>
                <c:pt idx="26041">
                  <c:v>1</c:v>
                </c:pt>
                <c:pt idx="26042">
                  <c:v>0</c:v>
                </c:pt>
                <c:pt idx="26043">
                  <c:v>0</c:v>
                </c:pt>
                <c:pt idx="26044">
                  <c:v>0</c:v>
                </c:pt>
                <c:pt idx="26045">
                  <c:v>0</c:v>
                </c:pt>
                <c:pt idx="26046">
                  <c:v>0</c:v>
                </c:pt>
                <c:pt idx="26047">
                  <c:v>0</c:v>
                </c:pt>
                <c:pt idx="26048">
                  <c:v>1</c:v>
                </c:pt>
                <c:pt idx="26049">
                  <c:v>1</c:v>
                </c:pt>
                <c:pt idx="26050">
                  <c:v>0</c:v>
                </c:pt>
                <c:pt idx="26051">
                  <c:v>0</c:v>
                </c:pt>
                <c:pt idx="26052">
                  <c:v>0</c:v>
                </c:pt>
                <c:pt idx="26053">
                  <c:v>0</c:v>
                </c:pt>
                <c:pt idx="26054">
                  <c:v>1</c:v>
                </c:pt>
                <c:pt idx="26055">
                  <c:v>1</c:v>
                </c:pt>
                <c:pt idx="26056">
                  <c:v>0</c:v>
                </c:pt>
                <c:pt idx="26057">
                  <c:v>0</c:v>
                </c:pt>
                <c:pt idx="26058">
                  <c:v>0</c:v>
                </c:pt>
                <c:pt idx="26059">
                  <c:v>0</c:v>
                </c:pt>
                <c:pt idx="26060">
                  <c:v>0</c:v>
                </c:pt>
                <c:pt idx="26061">
                  <c:v>2</c:v>
                </c:pt>
                <c:pt idx="26062">
                  <c:v>0</c:v>
                </c:pt>
                <c:pt idx="26063">
                  <c:v>0</c:v>
                </c:pt>
                <c:pt idx="26064">
                  <c:v>0</c:v>
                </c:pt>
                <c:pt idx="26065">
                  <c:v>0</c:v>
                </c:pt>
                <c:pt idx="26066">
                  <c:v>0</c:v>
                </c:pt>
                <c:pt idx="26067">
                  <c:v>0</c:v>
                </c:pt>
                <c:pt idx="26068">
                  <c:v>4</c:v>
                </c:pt>
                <c:pt idx="26069">
                  <c:v>0</c:v>
                </c:pt>
                <c:pt idx="26070">
                  <c:v>0</c:v>
                </c:pt>
                <c:pt idx="26071">
                  <c:v>0</c:v>
                </c:pt>
                <c:pt idx="26072">
                  <c:v>0</c:v>
                </c:pt>
                <c:pt idx="26073">
                  <c:v>0</c:v>
                </c:pt>
                <c:pt idx="26074">
                  <c:v>0</c:v>
                </c:pt>
                <c:pt idx="26075">
                  <c:v>0</c:v>
                </c:pt>
                <c:pt idx="26076">
                  <c:v>2</c:v>
                </c:pt>
                <c:pt idx="26077">
                  <c:v>1</c:v>
                </c:pt>
                <c:pt idx="26078">
                  <c:v>0</c:v>
                </c:pt>
                <c:pt idx="26079">
                  <c:v>0</c:v>
                </c:pt>
                <c:pt idx="26080">
                  <c:v>0</c:v>
                </c:pt>
                <c:pt idx="26081">
                  <c:v>0</c:v>
                </c:pt>
                <c:pt idx="26082">
                  <c:v>1</c:v>
                </c:pt>
                <c:pt idx="26083">
                  <c:v>0</c:v>
                </c:pt>
                <c:pt idx="26084">
                  <c:v>0</c:v>
                </c:pt>
                <c:pt idx="26085">
                  <c:v>5</c:v>
                </c:pt>
                <c:pt idx="26086">
                  <c:v>8</c:v>
                </c:pt>
                <c:pt idx="26087">
                  <c:v>0</c:v>
                </c:pt>
                <c:pt idx="26088">
                  <c:v>4</c:v>
                </c:pt>
                <c:pt idx="26089">
                  <c:v>1</c:v>
                </c:pt>
                <c:pt idx="26090">
                  <c:v>4</c:v>
                </c:pt>
                <c:pt idx="26091">
                  <c:v>3</c:v>
                </c:pt>
                <c:pt idx="26092">
                  <c:v>1</c:v>
                </c:pt>
                <c:pt idx="26093">
                  <c:v>5</c:v>
                </c:pt>
                <c:pt idx="26094">
                  <c:v>3</c:v>
                </c:pt>
                <c:pt idx="26095">
                  <c:v>4</c:v>
                </c:pt>
                <c:pt idx="26096">
                  <c:v>9</c:v>
                </c:pt>
                <c:pt idx="26097">
                  <c:v>2</c:v>
                </c:pt>
                <c:pt idx="26098">
                  <c:v>0</c:v>
                </c:pt>
                <c:pt idx="26099">
                  <c:v>0</c:v>
                </c:pt>
                <c:pt idx="26100">
                  <c:v>3</c:v>
                </c:pt>
                <c:pt idx="26101">
                  <c:v>0</c:v>
                </c:pt>
                <c:pt idx="26102">
                  <c:v>7</c:v>
                </c:pt>
                <c:pt idx="26103">
                  <c:v>2</c:v>
                </c:pt>
                <c:pt idx="26104">
                  <c:v>1</c:v>
                </c:pt>
                <c:pt idx="26105">
                  <c:v>3</c:v>
                </c:pt>
                <c:pt idx="26106">
                  <c:v>2</c:v>
                </c:pt>
                <c:pt idx="26107">
                  <c:v>2</c:v>
                </c:pt>
                <c:pt idx="26108">
                  <c:v>2</c:v>
                </c:pt>
                <c:pt idx="26109">
                  <c:v>0</c:v>
                </c:pt>
                <c:pt idx="26110">
                  <c:v>1</c:v>
                </c:pt>
                <c:pt idx="26111">
                  <c:v>1</c:v>
                </c:pt>
                <c:pt idx="26112">
                  <c:v>0</c:v>
                </c:pt>
                <c:pt idx="26113">
                  <c:v>1</c:v>
                </c:pt>
                <c:pt idx="26114">
                  <c:v>2</c:v>
                </c:pt>
                <c:pt idx="26115">
                  <c:v>0</c:v>
                </c:pt>
                <c:pt idx="26116">
                  <c:v>0</c:v>
                </c:pt>
                <c:pt idx="26117">
                  <c:v>0</c:v>
                </c:pt>
                <c:pt idx="26118">
                  <c:v>0</c:v>
                </c:pt>
                <c:pt idx="26119">
                  <c:v>0</c:v>
                </c:pt>
                <c:pt idx="26120">
                  <c:v>0</c:v>
                </c:pt>
                <c:pt idx="26121">
                  <c:v>0</c:v>
                </c:pt>
                <c:pt idx="26122">
                  <c:v>2</c:v>
                </c:pt>
                <c:pt idx="26123">
                  <c:v>0</c:v>
                </c:pt>
                <c:pt idx="26124">
                  <c:v>0</c:v>
                </c:pt>
                <c:pt idx="26125">
                  <c:v>0</c:v>
                </c:pt>
                <c:pt idx="26126">
                  <c:v>0</c:v>
                </c:pt>
                <c:pt idx="26127">
                  <c:v>2</c:v>
                </c:pt>
                <c:pt idx="26128">
                  <c:v>0</c:v>
                </c:pt>
                <c:pt idx="26129">
                  <c:v>0</c:v>
                </c:pt>
                <c:pt idx="26130">
                  <c:v>0</c:v>
                </c:pt>
                <c:pt idx="26131">
                  <c:v>0</c:v>
                </c:pt>
                <c:pt idx="26132">
                  <c:v>0</c:v>
                </c:pt>
                <c:pt idx="26133">
                  <c:v>0</c:v>
                </c:pt>
                <c:pt idx="26134">
                  <c:v>0</c:v>
                </c:pt>
                <c:pt idx="26135">
                  <c:v>0</c:v>
                </c:pt>
                <c:pt idx="26136">
                  <c:v>3</c:v>
                </c:pt>
                <c:pt idx="26137">
                  <c:v>1</c:v>
                </c:pt>
                <c:pt idx="26138">
                  <c:v>0</c:v>
                </c:pt>
                <c:pt idx="26139">
                  <c:v>0</c:v>
                </c:pt>
                <c:pt idx="26140">
                  <c:v>0</c:v>
                </c:pt>
                <c:pt idx="26141">
                  <c:v>0</c:v>
                </c:pt>
                <c:pt idx="26142">
                  <c:v>0</c:v>
                </c:pt>
                <c:pt idx="26143">
                  <c:v>0</c:v>
                </c:pt>
                <c:pt idx="26144">
                  <c:v>1</c:v>
                </c:pt>
                <c:pt idx="26145">
                  <c:v>0</c:v>
                </c:pt>
                <c:pt idx="26146">
                  <c:v>0</c:v>
                </c:pt>
                <c:pt idx="26147">
                  <c:v>0</c:v>
                </c:pt>
                <c:pt idx="26148">
                  <c:v>0</c:v>
                </c:pt>
                <c:pt idx="26149">
                  <c:v>0</c:v>
                </c:pt>
                <c:pt idx="26150">
                  <c:v>0</c:v>
                </c:pt>
                <c:pt idx="26151">
                  <c:v>0</c:v>
                </c:pt>
                <c:pt idx="26152">
                  <c:v>0</c:v>
                </c:pt>
                <c:pt idx="26153">
                  <c:v>0</c:v>
                </c:pt>
                <c:pt idx="26154">
                  <c:v>0</c:v>
                </c:pt>
                <c:pt idx="26155">
                  <c:v>0</c:v>
                </c:pt>
                <c:pt idx="26156">
                  <c:v>0</c:v>
                </c:pt>
                <c:pt idx="26157">
                  <c:v>0</c:v>
                </c:pt>
                <c:pt idx="26158">
                  <c:v>0</c:v>
                </c:pt>
                <c:pt idx="26159">
                  <c:v>0</c:v>
                </c:pt>
                <c:pt idx="26160">
                  <c:v>1</c:v>
                </c:pt>
                <c:pt idx="26161">
                  <c:v>0</c:v>
                </c:pt>
                <c:pt idx="26162">
                  <c:v>0</c:v>
                </c:pt>
                <c:pt idx="26163">
                  <c:v>0</c:v>
                </c:pt>
                <c:pt idx="26164">
                  <c:v>2</c:v>
                </c:pt>
                <c:pt idx="26165">
                  <c:v>5</c:v>
                </c:pt>
                <c:pt idx="26166">
                  <c:v>0</c:v>
                </c:pt>
                <c:pt idx="26167">
                  <c:v>3</c:v>
                </c:pt>
                <c:pt idx="26168">
                  <c:v>0</c:v>
                </c:pt>
                <c:pt idx="26169">
                  <c:v>0</c:v>
                </c:pt>
                <c:pt idx="26170">
                  <c:v>0</c:v>
                </c:pt>
                <c:pt idx="26171">
                  <c:v>2</c:v>
                </c:pt>
                <c:pt idx="26172">
                  <c:v>1</c:v>
                </c:pt>
                <c:pt idx="26173">
                  <c:v>0</c:v>
                </c:pt>
                <c:pt idx="26174">
                  <c:v>0</c:v>
                </c:pt>
                <c:pt idx="26175">
                  <c:v>3</c:v>
                </c:pt>
                <c:pt idx="26176">
                  <c:v>0</c:v>
                </c:pt>
                <c:pt idx="26177">
                  <c:v>0</c:v>
                </c:pt>
                <c:pt idx="26178">
                  <c:v>0</c:v>
                </c:pt>
                <c:pt idx="26179">
                  <c:v>0</c:v>
                </c:pt>
                <c:pt idx="26180">
                  <c:v>0</c:v>
                </c:pt>
                <c:pt idx="26181">
                  <c:v>0</c:v>
                </c:pt>
                <c:pt idx="26182">
                  <c:v>0</c:v>
                </c:pt>
                <c:pt idx="26183">
                  <c:v>4</c:v>
                </c:pt>
                <c:pt idx="26184">
                  <c:v>0</c:v>
                </c:pt>
                <c:pt idx="26185">
                  <c:v>0</c:v>
                </c:pt>
                <c:pt idx="26186">
                  <c:v>0</c:v>
                </c:pt>
                <c:pt idx="26187">
                  <c:v>0</c:v>
                </c:pt>
                <c:pt idx="26188">
                  <c:v>5</c:v>
                </c:pt>
                <c:pt idx="26189">
                  <c:v>0</c:v>
                </c:pt>
                <c:pt idx="26190">
                  <c:v>0</c:v>
                </c:pt>
                <c:pt idx="26191">
                  <c:v>0</c:v>
                </c:pt>
                <c:pt idx="26192">
                  <c:v>0</c:v>
                </c:pt>
                <c:pt idx="26193">
                  <c:v>0</c:v>
                </c:pt>
                <c:pt idx="26194">
                  <c:v>3</c:v>
                </c:pt>
                <c:pt idx="26195">
                  <c:v>0</c:v>
                </c:pt>
                <c:pt idx="26196">
                  <c:v>0</c:v>
                </c:pt>
                <c:pt idx="26197">
                  <c:v>0</c:v>
                </c:pt>
                <c:pt idx="26198">
                  <c:v>0</c:v>
                </c:pt>
                <c:pt idx="26199">
                  <c:v>0</c:v>
                </c:pt>
                <c:pt idx="26200">
                  <c:v>0</c:v>
                </c:pt>
                <c:pt idx="26201">
                  <c:v>0</c:v>
                </c:pt>
                <c:pt idx="26202">
                  <c:v>3</c:v>
                </c:pt>
                <c:pt idx="26203">
                  <c:v>0</c:v>
                </c:pt>
                <c:pt idx="26204">
                  <c:v>0</c:v>
                </c:pt>
                <c:pt idx="26205">
                  <c:v>0</c:v>
                </c:pt>
                <c:pt idx="26206">
                  <c:v>0</c:v>
                </c:pt>
                <c:pt idx="26207">
                  <c:v>0</c:v>
                </c:pt>
                <c:pt idx="26208">
                  <c:v>0</c:v>
                </c:pt>
                <c:pt idx="26209">
                  <c:v>0</c:v>
                </c:pt>
                <c:pt idx="26210">
                  <c:v>0</c:v>
                </c:pt>
                <c:pt idx="26211">
                  <c:v>0</c:v>
                </c:pt>
                <c:pt idx="26212">
                  <c:v>0</c:v>
                </c:pt>
                <c:pt idx="26213">
                  <c:v>0</c:v>
                </c:pt>
                <c:pt idx="26214">
                  <c:v>1</c:v>
                </c:pt>
                <c:pt idx="26215">
                  <c:v>0</c:v>
                </c:pt>
                <c:pt idx="26216">
                  <c:v>0</c:v>
                </c:pt>
                <c:pt idx="26217">
                  <c:v>0</c:v>
                </c:pt>
                <c:pt idx="26218">
                  <c:v>0</c:v>
                </c:pt>
                <c:pt idx="26219">
                  <c:v>0</c:v>
                </c:pt>
                <c:pt idx="26220">
                  <c:v>0</c:v>
                </c:pt>
                <c:pt idx="26221">
                  <c:v>0</c:v>
                </c:pt>
                <c:pt idx="26222">
                  <c:v>0</c:v>
                </c:pt>
                <c:pt idx="26223">
                  <c:v>0</c:v>
                </c:pt>
                <c:pt idx="26224">
                  <c:v>2</c:v>
                </c:pt>
                <c:pt idx="26225">
                  <c:v>2</c:v>
                </c:pt>
                <c:pt idx="26226">
                  <c:v>0</c:v>
                </c:pt>
                <c:pt idx="26227">
                  <c:v>0</c:v>
                </c:pt>
                <c:pt idx="26228">
                  <c:v>0</c:v>
                </c:pt>
                <c:pt idx="26229">
                  <c:v>0</c:v>
                </c:pt>
                <c:pt idx="26230">
                  <c:v>0</c:v>
                </c:pt>
                <c:pt idx="26231">
                  <c:v>1</c:v>
                </c:pt>
                <c:pt idx="26232">
                  <c:v>0</c:v>
                </c:pt>
                <c:pt idx="26233">
                  <c:v>0</c:v>
                </c:pt>
                <c:pt idx="26234">
                  <c:v>0</c:v>
                </c:pt>
                <c:pt idx="26235">
                  <c:v>0</c:v>
                </c:pt>
                <c:pt idx="26236">
                  <c:v>0</c:v>
                </c:pt>
                <c:pt idx="26237">
                  <c:v>0</c:v>
                </c:pt>
                <c:pt idx="26238">
                  <c:v>0</c:v>
                </c:pt>
                <c:pt idx="26239">
                  <c:v>0</c:v>
                </c:pt>
                <c:pt idx="26240">
                  <c:v>0</c:v>
                </c:pt>
                <c:pt idx="26241">
                  <c:v>0</c:v>
                </c:pt>
                <c:pt idx="26242">
                  <c:v>2</c:v>
                </c:pt>
                <c:pt idx="26243">
                  <c:v>0</c:v>
                </c:pt>
                <c:pt idx="26244">
                  <c:v>0</c:v>
                </c:pt>
                <c:pt idx="26245">
                  <c:v>0</c:v>
                </c:pt>
                <c:pt idx="26246">
                  <c:v>0</c:v>
                </c:pt>
                <c:pt idx="26247">
                  <c:v>0</c:v>
                </c:pt>
                <c:pt idx="26248">
                  <c:v>0</c:v>
                </c:pt>
                <c:pt idx="26249">
                  <c:v>0</c:v>
                </c:pt>
                <c:pt idx="26250">
                  <c:v>0</c:v>
                </c:pt>
                <c:pt idx="26251">
                  <c:v>0</c:v>
                </c:pt>
                <c:pt idx="26252">
                  <c:v>0</c:v>
                </c:pt>
                <c:pt idx="26253">
                  <c:v>0</c:v>
                </c:pt>
                <c:pt idx="26254">
                  <c:v>0</c:v>
                </c:pt>
                <c:pt idx="26255">
                  <c:v>0</c:v>
                </c:pt>
                <c:pt idx="26256">
                  <c:v>0</c:v>
                </c:pt>
                <c:pt idx="26257">
                  <c:v>0</c:v>
                </c:pt>
                <c:pt idx="26258">
                  <c:v>0</c:v>
                </c:pt>
                <c:pt idx="26259">
                  <c:v>0</c:v>
                </c:pt>
                <c:pt idx="26260">
                  <c:v>0</c:v>
                </c:pt>
                <c:pt idx="26261">
                  <c:v>0</c:v>
                </c:pt>
                <c:pt idx="26262">
                  <c:v>2</c:v>
                </c:pt>
                <c:pt idx="26263">
                  <c:v>2</c:v>
                </c:pt>
                <c:pt idx="26264">
                  <c:v>1</c:v>
                </c:pt>
                <c:pt idx="26265">
                  <c:v>0</c:v>
                </c:pt>
                <c:pt idx="26266">
                  <c:v>2</c:v>
                </c:pt>
                <c:pt idx="26267">
                  <c:v>1</c:v>
                </c:pt>
                <c:pt idx="26268">
                  <c:v>6</c:v>
                </c:pt>
                <c:pt idx="26269">
                  <c:v>8</c:v>
                </c:pt>
                <c:pt idx="26270">
                  <c:v>6</c:v>
                </c:pt>
                <c:pt idx="26271">
                  <c:v>5</c:v>
                </c:pt>
                <c:pt idx="26272">
                  <c:v>3</c:v>
                </c:pt>
                <c:pt idx="26273">
                  <c:v>7</c:v>
                </c:pt>
                <c:pt idx="26274">
                  <c:v>0</c:v>
                </c:pt>
                <c:pt idx="26275">
                  <c:v>3</c:v>
                </c:pt>
                <c:pt idx="26276">
                  <c:v>2</c:v>
                </c:pt>
                <c:pt idx="26277">
                  <c:v>1</c:v>
                </c:pt>
                <c:pt idx="26278">
                  <c:v>1</c:v>
                </c:pt>
                <c:pt idx="26279">
                  <c:v>0</c:v>
                </c:pt>
                <c:pt idx="26280">
                  <c:v>0</c:v>
                </c:pt>
                <c:pt idx="26281">
                  <c:v>2</c:v>
                </c:pt>
                <c:pt idx="26282">
                  <c:v>0</c:v>
                </c:pt>
                <c:pt idx="26283">
                  <c:v>0</c:v>
                </c:pt>
                <c:pt idx="26284">
                  <c:v>0</c:v>
                </c:pt>
                <c:pt idx="26285">
                  <c:v>0</c:v>
                </c:pt>
                <c:pt idx="26286">
                  <c:v>0</c:v>
                </c:pt>
                <c:pt idx="26287">
                  <c:v>0</c:v>
                </c:pt>
                <c:pt idx="26288">
                  <c:v>0</c:v>
                </c:pt>
                <c:pt idx="26289">
                  <c:v>0</c:v>
                </c:pt>
                <c:pt idx="26290">
                  <c:v>0</c:v>
                </c:pt>
                <c:pt idx="26291">
                  <c:v>0</c:v>
                </c:pt>
                <c:pt idx="26292">
                  <c:v>0</c:v>
                </c:pt>
                <c:pt idx="26293">
                  <c:v>0</c:v>
                </c:pt>
                <c:pt idx="26294">
                  <c:v>0</c:v>
                </c:pt>
                <c:pt idx="26295">
                  <c:v>0</c:v>
                </c:pt>
                <c:pt idx="26296">
                  <c:v>0</c:v>
                </c:pt>
                <c:pt idx="26297">
                  <c:v>0</c:v>
                </c:pt>
                <c:pt idx="26298">
                  <c:v>0</c:v>
                </c:pt>
                <c:pt idx="26299">
                  <c:v>4</c:v>
                </c:pt>
                <c:pt idx="26300">
                  <c:v>2</c:v>
                </c:pt>
                <c:pt idx="26301">
                  <c:v>1</c:v>
                </c:pt>
                <c:pt idx="26302">
                  <c:v>0</c:v>
                </c:pt>
                <c:pt idx="26303">
                  <c:v>0</c:v>
                </c:pt>
                <c:pt idx="26304">
                  <c:v>0</c:v>
                </c:pt>
                <c:pt idx="26305">
                  <c:v>0</c:v>
                </c:pt>
                <c:pt idx="26306">
                  <c:v>0</c:v>
                </c:pt>
                <c:pt idx="26307">
                  <c:v>0</c:v>
                </c:pt>
                <c:pt idx="26308">
                  <c:v>0</c:v>
                </c:pt>
                <c:pt idx="26309">
                  <c:v>0</c:v>
                </c:pt>
                <c:pt idx="26310">
                  <c:v>0</c:v>
                </c:pt>
                <c:pt idx="26311">
                  <c:v>0</c:v>
                </c:pt>
                <c:pt idx="26312">
                  <c:v>0</c:v>
                </c:pt>
                <c:pt idx="26313">
                  <c:v>0</c:v>
                </c:pt>
                <c:pt idx="26314">
                  <c:v>0</c:v>
                </c:pt>
                <c:pt idx="26315">
                  <c:v>0</c:v>
                </c:pt>
                <c:pt idx="26316">
                  <c:v>5</c:v>
                </c:pt>
                <c:pt idx="26317">
                  <c:v>1</c:v>
                </c:pt>
                <c:pt idx="26318">
                  <c:v>0</c:v>
                </c:pt>
                <c:pt idx="26319">
                  <c:v>0</c:v>
                </c:pt>
                <c:pt idx="26320">
                  <c:v>0</c:v>
                </c:pt>
                <c:pt idx="26321">
                  <c:v>0</c:v>
                </c:pt>
                <c:pt idx="26322">
                  <c:v>0</c:v>
                </c:pt>
                <c:pt idx="26323">
                  <c:v>0</c:v>
                </c:pt>
                <c:pt idx="26324">
                  <c:v>0</c:v>
                </c:pt>
                <c:pt idx="26325">
                  <c:v>0</c:v>
                </c:pt>
                <c:pt idx="26326">
                  <c:v>0</c:v>
                </c:pt>
                <c:pt idx="26327">
                  <c:v>1</c:v>
                </c:pt>
                <c:pt idx="26328">
                  <c:v>0</c:v>
                </c:pt>
                <c:pt idx="26329">
                  <c:v>0</c:v>
                </c:pt>
                <c:pt idx="26330">
                  <c:v>0</c:v>
                </c:pt>
                <c:pt idx="26331">
                  <c:v>1</c:v>
                </c:pt>
                <c:pt idx="26332">
                  <c:v>0</c:v>
                </c:pt>
                <c:pt idx="26333">
                  <c:v>0</c:v>
                </c:pt>
                <c:pt idx="26334">
                  <c:v>0</c:v>
                </c:pt>
                <c:pt idx="26335">
                  <c:v>0</c:v>
                </c:pt>
                <c:pt idx="26336">
                  <c:v>0</c:v>
                </c:pt>
                <c:pt idx="26337">
                  <c:v>0</c:v>
                </c:pt>
                <c:pt idx="26338">
                  <c:v>0</c:v>
                </c:pt>
                <c:pt idx="26339">
                  <c:v>0</c:v>
                </c:pt>
                <c:pt idx="26340">
                  <c:v>0</c:v>
                </c:pt>
                <c:pt idx="26341">
                  <c:v>0</c:v>
                </c:pt>
                <c:pt idx="26342">
                  <c:v>2</c:v>
                </c:pt>
                <c:pt idx="26343">
                  <c:v>0</c:v>
                </c:pt>
                <c:pt idx="26344">
                  <c:v>0</c:v>
                </c:pt>
                <c:pt idx="26345">
                  <c:v>0</c:v>
                </c:pt>
                <c:pt idx="26346">
                  <c:v>0</c:v>
                </c:pt>
                <c:pt idx="26347">
                  <c:v>0</c:v>
                </c:pt>
                <c:pt idx="26348">
                  <c:v>0</c:v>
                </c:pt>
                <c:pt idx="26349">
                  <c:v>0</c:v>
                </c:pt>
                <c:pt idx="26350">
                  <c:v>0</c:v>
                </c:pt>
                <c:pt idx="26351">
                  <c:v>0</c:v>
                </c:pt>
                <c:pt idx="26352">
                  <c:v>0</c:v>
                </c:pt>
                <c:pt idx="26353">
                  <c:v>0</c:v>
                </c:pt>
                <c:pt idx="26354">
                  <c:v>0</c:v>
                </c:pt>
                <c:pt idx="26355">
                  <c:v>0</c:v>
                </c:pt>
                <c:pt idx="26356">
                  <c:v>0</c:v>
                </c:pt>
                <c:pt idx="26357">
                  <c:v>0</c:v>
                </c:pt>
                <c:pt idx="26358">
                  <c:v>0</c:v>
                </c:pt>
                <c:pt idx="26359">
                  <c:v>0</c:v>
                </c:pt>
                <c:pt idx="26360">
                  <c:v>0</c:v>
                </c:pt>
                <c:pt idx="26361">
                  <c:v>0</c:v>
                </c:pt>
                <c:pt idx="26362">
                  <c:v>0</c:v>
                </c:pt>
                <c:pt idx="26363">
                  <c:v>0</c:v>
                </c:pt>
                <c:pt idx="26364">
                  <c:v>0</c:v>
                </c:pt>
                <c:pt idx="26365">
                  <c:v>0</c:v>
                </c:pt>
                <c:pt idx="26366">
                  <c:v>0</c:v>
                </c:pt>
                <c:pt idx="26367">
                  <c:v>3</c:v>
                </c:pt>
                <c:pt idx="26368">
                  <c:v>0</c:v>
                </c:pt>
                <c:pt idx="26369">
                  <c:v>0</c:v>
                </c:pt>
                <c:pt idx="26370">
                  <c:v>0</c:v>
                </c:pt>
                <c:pt idx="26371">
                  <c:v>0</c:v>
                </c:pt>
                <c:pt idx="26372">
                  <c:v>0</c:v>
                </c:pt>
                <c:pt idx="26373">
                  <c:v>0</c:v>
                </c:pt>
                <c:pt idx="26374">
                  <c:v>0</c:v>
                </c:pt>
                <c:pt idx="26375">
                  <c:v>0</c:v>
                </c:pt>
                <c:pt idx="26376">
                  <c:v>0</c:v>
                </c:pt>
                <c:pt idx="26377">
                  <c:v>0</c:v>
                </c:pt>
                <c:pt idx="26378">
                  <c:v>0</c:v>
                </c:pt>
                <c:pt idx="26379">
                  <c:v>0</c:v>
                </c:pt>
                <c:pt idx="26380">
                  <c:v>0</c:v>
                </c:pt>
                <c:pt idx="26381">
                  <c:v>1</c:v>
                </c:pt>
                <c:pt idx="26382">
                  <c:v>0</c:v>
                </c:pt>
                <c:pt idx="26383">
                  <c:v>0</c:v>
                </c:pt>
                <c:pt idx="26384">
                  <c:v>0</c:v>
                </c:pt>
                <c:pt idx="26385">
                  <c:v>0</c:v>
                </c:pt>
                <c:pt idx="26386">
                  <c:v>0</c:v>
                </c:pt>
                <c:pt idx="26387">
                  <c:v>0</c:v>
                </c:pt>
                <c:pt idx="26388">
                  <c:v>0</c:v>
                </c:pt>
                <c:pt idx="26389">
                  <c:v>0</c:v>
                </c:pt>
                <c:pt idx="26390">
                  <c:v>0</c:v>
                </c:pt>
                <c:pt idx="26391">
                  <c:v>0</c:v>
                </c:pt>
                <c:pt idx="26392">
                  <c:v>0</c:v>
                </c:pt>
                <c:pt idx="26393">
                  <c:v>0</c:v>
                </c:pt>
                <c:pt idx="26394">
                  <c:v>3</c:v>
                </c:pt>
                <c:pt idx="26395">
                  <c:v>0</c:v>
                </c:pt>
                <c:pt idx="26396">
                  <c:v>0</c:v>
                </c:pt>
                <c:pt idx="26397">
                  <c:v>0</c:v>
                </c:pt>
                <c:pt idx="26398">
                  <c:v>0</c:v>
                </c:pt>
                <c:pt idx="26399">
                  <c:v>0</c:v>
                </c:pt>
                <c:pt idx="26400">
                  <c:v>0</c:v>
                </c:pt>
                <c:pt idx="26401">
                  <c:v>0</c:v>
                </c:pt>
                <c:pt idx="26402">
                  <c:v>0</c:v>
                </c:pt>
                <c:pt idx="26403">
                  <c:v>0</c:v>
                </c:pt>
                <c:pt idx="26404">
                  <c:v>0</c:v>
                </c:pt>
                <c:pt idx="26405">
                  <c:v>3</c:v>
                </c:pt>
                <c:pt idx="26406">
                  <c:v>3</c:v>
                </c:pt>
                <c:pt idx="26407">
                  <c:v>2</c:v>
                </c:pt>
                <c:pt idx="26408">
                  <c:v>2</c:v>
                </c:pt>
                <c:pt idx="26409">
                  <c:v>0</c:v>
                </c:pt>
                <c:pt idx="26410">
                  <c:v>0</c:v>
                </c:pt>
                <c:pt idx="26411">
                  <c:v>0</c:v>
                </c:pt>
                <c:pt idx="26412">
                  <c:v>0</c:v>
                </c:pt>
                <c:pt idx="26413">
                  <c:v>0</c:v>
                </c:pt>
                <c:pt idx="26414">
                  <c:v>0</c:v>
                </c:pt>
                <c:pt idx="26415">
                  <c:v>0</c:v>
                </c:pt>
                <c:pt idx="26416">
                  <c:v>0</c:v>
                </c:pt>
                <c:pt idx="26417">
                  <c:v>0</c:v>
                </c:pt>
                <c:pt idx="26418">
                  <c:v>0</c:v>
                </c:pt>
                <c:pt idx="26419">
                  <c:v>0</c:v>
                </c:pt>
                <c:pt idx="26420">
                  <c:v>1</c:v>
                </c:pt>
                <c:pt idx="26421">
                  <c:v>0</c:v>
                </c:pt>
                <c:pt idx="26422">
                  <c:v>0</c:v>
                </c:pt>
                <c:pt idx="26423">
                  <c:v>0</c:v>
                </c:pt>
                <c:pt idx="26424">
                  <c:v>0</c:v>
                </c:pt>
                <c:pt idx="26425">
                  <c:v>0</c:v>
                </c:pt>
                <c:pt idx="26426">
                  <c:v>0</c:v>
                </c:pt>
                <c:pt idx="26427">
                  <c:v>0</c:v>
                </c:pt>
                <c:pt idx="26428">
                  <c:v>1</c:v>
                </c:pt>
                <c:pt idx="26429">
                  <c:v>0</c:v>
                </c:pt>
                <c:pt idx="26430">
                  <c:v>1</c:v>
                </c:pt>
                <c:pt idx="26431">
                  <c:v>0</c:v>
                </c:pt>
                <c:pt idx="26432">
                  <c:v>0</c:v>
                </c:pt>
                <c:pt idx="26433">
                  <c:v>0</c:v>
                </c:pt>
                <c:pt idx="26434">
                  <c:v>0</c:v>
                </c:pt>
                <c:pt idx="26435">
                  <c:v>0</c:v>
                </c:pt>
                <c:pt idx="26436">
                  <c:v>0</c:v>
                </c:pt>
                <c:pt idx="26437">
                  <c:v>0</c:v>
                </c:pt>
                <c:pt idx="26438">
                  <c:v>0</c:v>
                </c:pt>
                <c:pt idx="26439">
                  <c:v>0</c:v>
                </c:pt>
                <c:pt idx="26440">
                  <c:v>0</c:v>
                </c:pt>
                <c:pt idx="26441">
                  <c:v>2</c:v>
                </c:pt>
                <c:pt idx="26442">
                  <c:v>0</c:v>
                </c:pt>
                <c:pt idx="26443">
                  <c:v>0</c:v>
                </c:pt>
                <c:pt idx="26444">
                  <c:v>1</c:v>
                </c:pt>
                <c:pt idx="26445">
                  <c:v>0</c:v>
                </c:pt>
                <c:pt idx="26446">
                  <c:v>0</c:v>
                </c:pt>
                <c:pt idx="26447">
                  <c:v>0</c:v>
                </c:pt>
                <c:pt idx="26448">
                  <c:v>4</c:v>
                </c:pt>
                <c:pt idx="26449">
                  <c:v>0</c:v>
                </c:pt>
                <c:pt idx="26450">
                  <c:v>5</c:v>
                </c:pt>
                <c:pt idx="26451">
                  <c:v>3</c:v>
                </c:pt>
                <c:pt idx="26452">
                  <c:v>0</c:v>
                </c:pt>
                <c:pt idx="26453">
                  <c:v>0</c:v>
                </c:pt>
                <c:pt idx="26454">
                  <c:v>0</c:v>
                </c:pt>
                <c:pt idx="26455">
                  <c:v>0</c:v>
                </c:pt>
                <c:pt idx="26456">
                  <c:v>0</c:v>
                </c:pt>
                <c:pt idx="26457">
                  <c:v>5</c:v>
                </c:pt>
                <c:pt idx="26458">
                  <c:v>0</c:v>
                </c:pt>
                <c:pt idx="26459">
                  <c:v>1</c:v>
                </c:pt>
                <c:pt idx="26460">
                  <c:v>2</c:v>
                </c:pt>
                <c:pt idx="26461">
                  <c:v>2</c:v>
                </c:pt>
                <c:pt idx="26462">
                  <c:v>0</c:v>
                </c:pt>
                <c:pt idx="26463">
                  <c:v>0</c:v>
                </c:pt>
                <c:pt idx="26464">
                  <c:v>0</c:v>
                </c:pt>
                <c:pt idx="26465">
                  <c:v>2</c:v>
                </c:pt>
                <c:pt idx="26466">
                  <c:v>0</c:v>
                </c:pt>
                <c:pt idx="26467">
                  <c:v>0</c:v>
                </c:pt>
                <c:pt idx="26468">
                  <c:v>0</c:v>
                </c:pt>
                <c:pt idx="26469">
                  <c:v>2</c:v>
                </c:pt>
                <c:pt idx="26470">
                  <c:v>0</c:v>
                </c:pt>
                <c:pt idx="26471">
                  <c:v>7</c:v>
                </c:pt>
                <c:pt idx="26472">
                  <c:v>0</c:v>
                </c:pt>
                <c:pt idx="26473">
                  <c:v>0</c:v>
                </c:pt>
                <c:pt idx="26474">
                  <c:v>5</c:v>
                </c:pt>
                <c:pt idx="26475">
                  <c:v>2</c:v>
                </c:pt>
                <c:pt idx="26476">
                  <c:v>5</c:v>
                </c:pt>
                <c:pt idx="26477">
                  <c:v>0</c:v>
                </c:pt>
                <c:pt idx="26478">
                  <c:v>1</c:v>
                </c:pt>
                <c:pt idx="26479">
                  <c:v>0</c:v>
                </c:pt>
                <c:pt idx="26480">
                  <c:v>7</c:v>
                </c:pt>
                <c:pt idx="26481">
                  <c:v>6</c:v>
                </c:pt>
                <c:pt idx="26482">
                  <c:v>6</c:v>
                </c:pt>
                <c:pt idx="26483">
                  <c:v>0</c:v>
                </c:pt>
                <c:pt idx="26484">
                  <c:v>2</c:v>
                </c:pt>
                <c:pt idx="26485">
                  <c:v>1</c:v>
                </c:pt>
                <c:pt idx="26486">
                  <c:v>0</c:v>
                </c:pt>
                <c:pt idx="26487">
                  <c:v>29</c:v>
                </c:pt>
                <c:pt idx="26488">
                  <c:v>2</c:v>
                </c:pt>
                <c:pt idx="26489">
                  <c:v>6</c:v>
                </c:pt>
                <c:pt idx="26490">
                  <c:v>1</c:v>
                </c:pt>
                <c:pt idx="26491">
                  <c:v>5</c:v>
                </c:pt>
                <c:pt idx="26492">
                  <c:v>4</c:v>
                </c:pt>
                <c:pt idx="26493">
                  <c:v>72</c:v>
                </c:pt>
                <c:pt idx="26494">
                  <c:v>2</c:v>
                </c:pt>
                <c:pt idx="26495">
                  <c:v>5</c:v>
                </c:pt>
                <c:pt idx="26496">
                  <c:v>1</c:v>
                </c:pt>
                <c:pt idx="26497">
                  <c:v>8</c:v>
                </c:pt>
                <c:pt idx="26498">
                  <c:v>0</c:v>
                </c:pt>
                <c:pt idx="26499">
                  <c:v>4</c:v>
                </c:pt>
                <c:pt idx="26500">
                  <c:v>1</c:v>
                </c:pt>
                <c:pt idx="26501">
                  <c:v>4</c:v>
                </c:pt>
                <c:pt idx="26502">
                  <c:v>3</c:v>
                </c:pt>
                <c:pt idx="26503">
                  <c:v>5</c:v>
                </c:pt>
                <c:pt idx="26504">
                  <c:v>4</c:v>
                </c:pt>
                <c:pt idx="26505">
                  <c:v>0</c:v>
                </c:pt>
                <c:pt idx="26506">
                  <c:v>6</c:v>
                </c:pt>
                <c:pt idx="26507">
                  <c:v>1</c:v>
                </c:pt>
                <c:pt idx="26508">
                  <c:v>1</c:v>
                </c:pt>
                <c:pt idx="26509">
                  <c:v>2</c:v>
                </c:pt>
                <c:pt idx="26510">
                  <c:v>1</c:v>
                </c:pt>
                <c:pt idx="26511">
                  <c:v>3</c:v>
                </c:pt>
                <c:pt idx="26512">
                  <c:v>2</c:v>
                </c:pt>
                <c:pt idx="26513">
                  <c:v>4</c:v>
                </c:pt>
                <c:pt idx="26514">
                  <c:v>4</c:v>
                </c:pt>
                <c:pt idx="26515">
                  <c:v>5</c:v>
                </c:pt>
                <c:pt idx="26516">
                  <c:v>1</c:v>
                </c:pt>
                <c:pt idx="26517">
                  <c:v>22</c:v>
                </c:pt>
                <c:pt idx="26518">
                  <c:v>0</c:v>
                </c:pt>
                <c:pt idx="26519">
                  <c:v>0</c:v>
                </c:pt>
                <c:pt idx="26520">
                  <c:v>3</c:v>
                </c:pt>
                <c:pt idx="26521">
                  <c:v>0</c:v>
                </c:pt>
                <c:pt idx="26522">
                  <c:v>0</c:v>
                </c:pt>
                <c:pt idx="26523">
                  <c:v>2</c:v>
                </c:pt>
                <c:pt idx="26524">
                  <c:v>0</c:v>
                </c:pt>
                <c:pt idx="26525">
                  <c:v>0</c:v>
                </c:pt>
                <c:pt idx="26526">
                  <c:v>0</c:v>
                </c:pt>
                <c:pt idx="26527">
                  <c:v>0</c:v>
                </c:pt>
                <c:pt idx="26528">
                  <c:v>0</c:v>
                </c:pt>
                <c:pt idx="26529">
                  <c:v>1</c:v>
                </c:pt>
                <c:pt idx="26530">
                  <c:v>0</c:v>
                </c:pt>
                <c:pt idx="26531">
                  <c:v>0</c:v>
                </c:pt>
                <c:pt idx="26532">
                  <c:v>0</c:v>
                </c:pt>
                <c:pt idx="26533">
                  <c:v>0</c:v>
                </c:pt>
                <c:pt idx="26534">
                  <c:v>0</c:v>
                </c:pt>
                <c:pt idx="26535">
                  <c:v>0</c:v>
                </c:pt>
                <c:pt idx="26536">
                  <c:v>1</c:v>
                </c:pt>
                <c:pt idx="26537">
                  <c:v>0</c:v>
                </c:pt>
                <c:pt idx="26538">
                  <c:v>0</c:v>
                </c:pt>
                <c:pt idx="26539">
                  <c:v>0</c:v>
                </c:pt>
                <c:pt idx="26540">
                  <c:v>5</c:v>
                </c:pt>
                <c:pt idx="26541">
                  <c:v>0</c:v>
                </c:pt>
                <c:pt idx="26542">
                  <c:v>0</c:v>
                </c:pt>
                <c:pt idx="26543">
                  <c:v>4</c:v>
                </c:pt>
                <c:pt idx="26544">
                  <c:v>0</c:v>
                </c:pt>
                <c:pt idx="26545">
                  <c:v>1</c:v>
                </c:pt>
                <c:pt idx="26546">
                  <c:v>0</c:v>
                </c:pt>
                <c:pt idx="26547">
                  <c:v>0</c:v>
                </c:pt>
                <c:pt idx="26548">
                  <c:v>0</c:v>
                </c:pt>
                <c:pt idx="26549">
                  <c:v>0</c:v>
                </c:pt>
                <c:pt idx="26550">
                  <c:v>1</c:v>
                </c:pt>
                <c:pt idx="26551">
                  <c:v>1</c:v>
                </c:pt>
                <c:pt idx="26552">
                  <c:v>1</c:v>
                </c:pt>
                <c:pt idx="26553">
                  <c:v>2</c:v>
                </c:pt>
                <c:pt idx="26554">
                  <c:v>7</c:v>
                </c:pt>
                <c:pt idx="26555">
                  <c:v>4</c:v>
                </c:pt>
                <c:pt idx="26556">
                  <c:v>3</c:v>
                </c:pt>
                <c:pt idx="26557">
                  <c:v>0</c:v>
                </c:pt>
                <c:pt idx="26558">
                  <c:v>0</c:v>
                </c:pt>
                <c:pt idx="26559">
                  <c:v>2</c:v>
                </c:pt>
                <c:pt idx="26560">
                  <c:v>0</c:v>
                </c:pt>
                <c:pt idx="26561">
                  <c:v>2</c:v>
                </c:pt>
                <c:pt idx="26562">
                  <c:v>2</c:v>
                </c:pt>
                <c:pt idx="26563">
                  <c:v>1</c:v>
                </c:pt>
                <c:pt idx="26564">
                  <c:v>4</c:v>
                </c:pt>
                <c:pt idx="26565">
                  <c:v>2</c:v>
                </c:pt>
                <c:pt idx="26566">
                  <c:v>2</c:v>
                </c:pt>
                <c:pt idx="26567">
                  <c:v>0</c:v>
                </c:pt>
                <c:pt idx="26568">
                  <c:v>1</c:v>
                </c:pt>
                <c:pt idx="26569">
                  <c:v>0</c:v>
                </c:pt>
                <c:pt idx="26570">
                  <c:v>0</c:v>
                </c:pt>
                <c:pt idx="26571">
                  <c:v>0</c:v>
                </c:pt>
                <c:pt idx="26572">
                  <c:v>0</c:v>
                </c:pt>
                <c:pt idx="26573">
                  <c:v>0</c:v>
                </c:pt>
                <c:pt idx="26574">
                  <c:v>0</c:v>
                </c:pt>
                <c:pt idx="26575">
                  <c:v>0</c:v>
                </c:pt>
                <c:pt idx="26576">
                  <c:v>0</c:v>
                </c:pt>
                <c:pt idx="26577">
                  <c:v>0</c:v>
                </c:pt>
                <c:pt idx="26578">
                  <c:v>1</c:v>
                </c:pt>
                <c:pt idx="26579">
                  <c:v>0</c:v>
                </c:pt>
                <c:pt idx="26580">
                  <c:v>0</c:v>
                </c:pt>
                <c:pt idx="26581">
                  <c:v>1</c:v>
                </c:pt>
                <c:pt idx="26582">
                  <c:v>3</c:v>
                </c:pt>
                <c:pt idx="26583">
                  <c:v>0</c:v>
                </c:pt>
                <c:pt idx="26584">
                  <c:v>9</c:v>
                </c:pt>
                <c:pt idx="26585">
                  <c:v>1</c:v>
                </c:pt>
                <c:pt idx="26586">
                  <c:v>1</c:v>
                </c:pt>
                <c:pt idx="26587">
                  <c:v>0</c:v>
                </c:pt>
                <c:pt idx="26588">
                  <c:v>4</c:v>
                </c:pt>
                <c:pt idx="26589">
                  <c:v>2</c:v>
                </c:pt>
                <c:pt idx="26590">
                  <c:v>2</c:v>
                </c:pt>
                <c:pt idx="26591">
                  <c:v>7</c:v>
                </c:pt>
                <c:pt idx="26592">
                  <c:v>4</c:v>
                </c:pt>
                <c:pt idx="26593">
                  <c:v>8</c:v>
                </c:pt>
                <c:pt idx="26594">
                  <c:v>1</c:v>
                </c:pt>
                <c:pt idx="26595">
                  <c:v>6</c:v>
                </c:pt>
                <c:pt idx="26596">
                  <c:v>2</c:v>
                </c:pt>
                <c:pt idx="26597">
                  <c:v>1</c:v>
                </c:pt>
                <c:pt idx="26598">
                  <c:v>4</c:v>
                </c:pt>
                <c:pt idx="26599">
                  <c:v>1</c:v>
                </c:pt>
                <c:pt idx="26600">
                  <c:v>6</c:v>
                </c:pt>
                <c:pt idx="26601">
                  <c:v>8</c:v>
                </c:pt>
                <c:pt idx="26602">
                  <c:v>2</c:v>
                </c:pt>
                <c:pt idx="26603">
                  <c:v>4</c:v>
                </c:pt>
                <c:pt idx="26604">
                  <c:v>6</c:v>
                </c:pt>
                <c:pt idx="26605">
                  <c:v>3</c:v>
                </c:pt>
                <c:pt idx="26606">
                  <c:v>1</c:v>
                </c:pt>
                <c:pt idx="26607">
                  <c:v>2</c:v>
                </c:pt>
                <c:pt idx="26608">
                  <c:v>2</c:v>
                </c:pt>
                <c:pt idx="26609">
                  <c:v>5</c:v>
                </c:pt>
                <c:pt idx="26610">
                  <c:v>5</c:v>
                </c:pt>
                <c:pt idx="26611">
                  <c:v>8</c:v>
                </c:pt>
                <c:pt idx="26612">
                  <c:v>0</c:v>
                </c:pt>
                <c:pt idx="26613">
                  <c:v>4</c:v>
                </c:pt>
                <c:pt idx="26614">
                  <c:v>6</c:v>
                </c:pt>
                <c:pt idx="26615">
                  <c:v>3</c:v>
                </c:pt>
                <c:pt idx="26616">
                  <c:v>3</c:v>
                </c:pt>
                <c:pt idx="26617">
                  <c:v>1</c:v>
                </c:pt>
                <c:pt idx="26618">
                  <c:v>0</c:v>
                </c:pt>
                <c:pt idx="26619">
                  <c:v>1</c:v>
                </c:pt>
                <c:pt idx="26620">
                  <c:v>22</c:v>
                </c:pt>
                <c:pt idx="26621">
                  <c:v>8</c:v>
                </c:pt>
                <c:pt idx="26622">
                  <c:v>1</c:v>
                </c:pt>
                <c:pt idx="26623">
                  <c:v>5</c:v>
                </c:pt>
                <c:pt idx="26624">
                  <c:v>0</c:v>
                </c:pt>
                <c:pt idx="26625">
                  <c:v>2</c:v>
                </c:pt>
                <c:pt idx="26626">
                  <c:v>2</c:v>
                </c:pt>
                <c:pt idx="26627">
                  <c:v>0</c:v>
                </c:pt>
                <c:pt idx="26628">
                  <c:v>0</c:v>
                </c:pt>
                <c:pt idx="26629">
                  <c:v>0</c:v>
                </c:pt>
                <c:pt idx="26630">
                  <c:v>1</c:v>
                </c:pt>
                <c:pt idx="26631">
                  <c:v>8</c:v>
                </c:pt>
                <c:pt idx="26632">
                  <c:v>2</c:v>
                </c:pt>
                <c:pt idx="26633">
                  <c:v>3</c:v>
                </c:pt>
                <c:pt idx="26634">
                  <c:v>3</c:v>
                </c:pt>
                <c:pt idx="26635">
                  <c:v>10</c:v>
                </c:pt>
                <c:pt idx="26636">
                  <c:v>7</c:v>
                </c:pt>
                <c:pt idx="26637">
                  <c:v>3</c:v>
                </c:pt>
                <c:pt idx="26638">
                  <c:v>5</c:v>
                </c:pt>
                <c:pt idx="26639">
                  <c:v>3</c:v>
                </c:pt>
                <c:pt idx="26640">
                  <c:v>2</c:v>
                </c:pt>
                <c:pt idx="26641">
                  <c:v>0</c:v>
                </c:pt>
                <c:pt idx="26642">
                  <c:v>8</c:v>
                </c:pt>
                <c:pt idx="26643">
                  <c:v>4</c:v>
                </c:pt>
                <c:pt idx="26644">
                  <c:v>2</c:v>
                </c:pt>
                <c:pt idx="26645">
                  <c:v>6</c:v>
                </c:pt>
                <c:pt idx="26646">
                  <c:v>3</c:v>
                </c:pt>
                <c:pt idx="26647">
                  <c:v>5</c:v>
                </c:pt>
                <c:pt idx="26648">
                  <c:v>2</c:v>
                </c:pt>
                <c:pt idx="26649">
                  <c:v>1</c:v>
                </c:pt>
                <c:pt idx="26650">
                  <c:v>1</c:v>
                </c:pt>
                <c:pt idx="26651">
                  <c:v>6</c:v>
                </c:pt>
                <c:pt idx="26652">
                  <c:v>3</c:v>
                </c:pt>
                <c:pt idx="26653">
                  <c:v>2</c:v>
                </c:pt>
                <c:pt idx="26654">
                  <c:v>2</c:v>
                </c:pt>
                <c:pt idx="26655">
                  <c:v>2</c:v>
                </c:pt>
                <c:pt idx="26656">
                  <c:v>1</c:v>
                </c:pt>
                <c:pt idx="26657">
                  <c:v>5</c:v>
                </c:pt>
                <c:pt idx="26658">
                  <c:v>5</c:v>
                </c:pt>
                <c:pt idx="26659">
                  <c:v>2</c:v>
                </c:pt>
                <c:pt idx="26660">
                  <c:v>4</c:v>
                </c:pt>
                <c:pt idx="26661">
                  <c:v>4</c:v>
                </c:pt>
                <c:pt idx="26662">
                  <c:v>0</c:v>
                </c:pt>
                <c:pt idx="26663">
                  <c:v>3</c:v>
                </c:pt>
                <c:pt idx="26664">
                  <c:v>5</c:v>
                </c:pt>
                <c:pt idx="26665">
                  <c:v>0</c:v>
                </c:pt>
                <c:pt idx="26666">
                  <c:v>4</c:v>
                </c:pt>
                <c:pt idx="26667">
                  <c:v>1</c:v>
                </c:pt>
                <c:pt idx="26668">
                  <c:v>1</c:v>
                </c:pt>
                <c:pt idx="26669">
                  <c:v>1</c:v>
                </c:pt>
                <c:pt idx="26670">
                  <c:v>3</c:v>
                </c:pt>
                <c:pt idx="26671">
                  <c:v>4</c:v>
                </c:pt>
                <c:pt idx="26672">
                  <c:v>4</c:v>
                </c:pt>
                <c:pt idx="26673">
                  <c:v>5</c:v>
                </c:pt>
                <c:pt idx="26674">
                  <c:v>4</c:v>
                </c:pt>
                <c:pt idx="26675">
                  <c:v>6</c:v>
                </c:pt>
                <c:pt idx="26676">
                  <c:v>2</c:v>
                </c:pt>
                <c:pt idx="26677">
                  <c:v>13</c:v>
                </c:pt>
                <c:pt idx="26678">
                  <c:v>3</c:v>
                </c:pt>
                <c:pt idx="26679">
                  <c:v>7</c:v>
                </c:pt>
                <c:pt idx="26680">
                  <c:v>1</c:v>
                </c:pt>
                <c:pt idx="26681">
                  <c:v>2</c:v>
                </c:pt>
                <c:pt idx="26682">
                  <c:v>3</c:v>
                </c:pt>
                <c:pt idx="26683">
                  <c:v>1</c:v>
                </c:pt>
                <c:pt idx="26684">
                  <c:v>2</c:v>
                </c:pt>
                <c:pt idx="26685">
                  <c:v>2</c:v>
                </c:pt>
                <c:pt idx="26686">
                  <c:v>10</c:v>
                </c:pt>
                <c:pt idx="26687">
                  <c:v>0</c:v>
                </c:pt>
                <c:pt idx="26688">
                  <c:v>2</c:v>
                </c:pt>
                <c:pt idx="26689">
                  <c:v>5</c:v>
                </c:pt>
                <c:pt idx="26690">
                  <c:v>5</c:v>
                </c:pt>
                <c:pt idx="26691">
                  <c:v>4</c:v>
                </c:pt>
                <c:pt idx="26692">
                  <c:v>4</c:v>
                </c:pt>
                <c:pt idx="26693">
                  <c:v>7</c:v>
                </c:pt>
                <c:pt idx="26694">
                  <c:v>4</c:v>
                </c:pt>
                <c:pt idx="26695">
                  <c:v>4</c:v>
                </c:pt>
                <c:pt idx="26696">
                  <c:v>1</c:v>
                </c:pt>
                <c:pt idx="26697">
                  <c:v>2</c:v>
                </c:pt>
                <c:pt idx="26698">
                  <c:v>9</c:v>
                </c:pt>
                <c:pt idx="26699">
                  <c:v>0</c:v>
                </c:pt>
                <c:pt idx="26700">
                  <c:v>3</c:v>
                </c:pt>
                <c:pt idx="26701">
                  <c:v>2</c:v>
                </c:pt>
                <c:pt idx="26702">
                  <c:v>6</c:v>
                </c:pt>
                <c:pt idx="26703">
                  <c:v>4</c:v>
                </c:pt>
                <c:pt idx="26704">
                  <c:v>2</c:v>
                </c:pt>
                <c:pt idx="26705">
                  <c:v>1</c:v>
                </c:pt>
                <c:pt idx="26706">
                  <c:v>3</c:v>
                </c:pt>
                <c:pt idx="26707">
                  <c:v>6</c:v>
                </c:pt>
                <c:pt idx="26708">
                  <c:v>4</c:v>
                </c:pt>
                <c:pt idx="26709">
                  <c:v>3</c:v>
                </c:pt>
                <c:pt idx="26710">
                  <c:v>1</c:v>
                </c:pt>
                <c:pt idx="26711">
                  <c:v>4</c:v>
                </c:pt>
                <c:pt idx="26712">
                  <c:v>0</c:v>
                </c:pt>
                <c:pt idx="26713">
                  <c:v>0</c:v>
                </c:pt>
                <c:pt idx="26714">
                  <c:v>6</c:v>
                </c:pt>
                <c:pt idx="26715">
                  <c:v>5</c:v>
                </c:pt>
                <c:pt idx="26716">
                  <c:v>1</c:v>
                </c:pt>
                <c:pt idx="26717">
                  <c:v>0</c:v>
                </c:pt>
                <c:pt idx="26718">
                  <c:v>4</c:v>
                </c:pt>
                <c:pt idx="26719">
                  <c:v>3</c:v>
                </c:pt>
                <c:pt idx="26720">
                  <c:v>3</c:v>
                </c:pt>
                <c:pt idx="26721">
                  <c:v>5</c:v>
                </c:pt>
                <c:pt idx="26722">
                  <c:v>5</c:v>
                </c:pt>
                <c:pt idx="26723">
                  <c:v>4</c:v>
                </c:pt>
                <c:pt idx="26724">
                  <c:v>1</c:v>
                </c:pt>
                <c:pt idx="26725">
                  <c:v>3</c:v>
                </c:pt>
                <c:pt idx="26726">
                  <c:v>2</c:v>
                </c:pt>
                <c:pt idx="26727">
                  <c:v>12</c:v>
                </c:pt>
                <c:pt idx="26728">
                  <c:v>0</c:v>
                </c:pt>
                <c:pt idx="26729">
                  <c:v>5</c:v>
                </c:pt>
                <c:pt idx="26730">
                  <c:v>2</c:v>
                </c:pt>
                <c:pt idx="26731">
                  <c:v>0</c:v>
                </c:pt>
                <c:pt idx="26732">
                  <c:v>3</c:v>
                </c:pt>
                <c:pt idx="26733">
                  <c:v>7</c:v>
                </c:pt>
                <c:pt idx="26734">
                  <c:v>10</c:v>
                </c:pt>
                <c:pt idx="26735">
                  <c:v>2</c:v>
                </c:pt>
                <c:pt idx="26736">
                  <c:v>1</c:v>
                </c:pt>
                <c:pt idx="26737">
                  <c:v>6</c:v>
                </c:pt>
                <c:pt idx="26738">
                  <c:v>1</c:v>
                </c:pt>
                <c:pt idx="26739">
                  <c:v>0</c:v>
                </c:pt>
                <c:pt idx="26740">
                  <c:v>6</c:v>
                </c:pt>
                <c:pt idx="26741">
                  <c:v>1</c:v>
                </c:pt>
                <c:pt idx="26742">
                  <c:v>2</c:v>
                </c:pt>
                <c:pt idx="26743">
                  <c:v>3</c:v>
                </c:pt>
                <c:pt idx="26744">
                  <c:v>6</c:v>
                </c:pt>
                <c:pt idx="26745">
                  <c:v>8</c:v>
                </c:pt>
                <c:pt idx="26746">
                  <c:v>6</c:v>
                </c:pt>
                <c:pt idx="26747">
                  <c:v>0</c:v>
                </c:pt>
                <c:pt idx="26748">
                  <c:v>2</c:v>
                </c:pt>
                <c:pt idx="26749">
                  <c:v>2</c:v>
                </c:pt>
                <c:pt idx="26750">
                  <c:v>1</c:v>
                </c:pt>
                <c:pt idx="26751">
                  <c:v>3</c:v>
                </c:pt>
                <c:pt idx="26752">
                  <c:v>0</c:v>
                </c:pt>
                <c:pt idx="26753">
                  <c:v>3</c:v>
                </c:pt>
                <c:pt idx="26754">
                  <c:v>4</c:v>
                </c:pt>
                <c:pt idx="26755">
                  <c:v>3</c:v>
                </c:pt>
                <c:pt idx="26756">
                  <c:v>3</c:v>
                </c:pt>
                <c:pt idx="26757">
                  <c:v>5</c:v>
                </c:pt>
                <c:pt idx="26758">
                  <c:v>0</c:v>
                </c:pt>
                <c:pt idx="26759">
                  <c:v>2</c:v>
                </c:pt>
                <c:pt idx="26760">
                  <c:v>2</c:v>
                </c:pt>
                <c:pt idx="26761">
                  <c:v>6</c:v>
                </c:pt>
                <c:pt idx="26762">
                  <c:v>4</c:v>
                </c:pt>
                <c:pt idx="26763">
                  <c:v>5</c:v>
                </c:pt>
                <c:pt idx="26764">
                  <c:v>3</c:v>
                </c:pt>
                <c:pt idx="26765">
                  <c:v>12</c:v>
                </c:pt>
                <c:pt idx="26766">
                  <c:v>3</c:v>
                </c:pt>
                <c:pt idx="26767">
                  <c:v>3</c:v>
                </c:pt>
                <c:pt idx="26768">
                  <c:v>1</c:v>
                </c:pt>
                <c:pt idx="26769">
                  <c:v>3</c:v>
                </c:pt>
                <c:pt idx="26770">
                  <c:v>1</c:v>
                </c:pt>
                <c:pt idx="26771">
                  <c:v>3</c:v>
                </c:pt>
                <c:pt idx="26772">
                  <c:v>5</c:v>
                </c:pt>
                <c:pt idx="26773">
                  <c:v>4</c:v>
                </c:pt>
                <c:pt idx="26774">
                  <c:v>3</c:v>
                </c:pt>
                <c:pt idx="26775">
                  <c:v>9</c:v>
                </c:pt>
                <c:pt idx="26776">
                  <c:v>2</c:v>
                </c:pt>
                <c:pt idx="26777">
                  <c:v>1</c:v>
                </c:pt>
                <c:pt idx="26778">
                  <c:v>6</c:v>
                </c:pt>
                <c:pt idx="26779">
                  <c:v>8</c:v>
                </c:pt>
                <c:pt idx="26780">
                  <c:v>3</c:v>
                </c:pt>
                <c:pt idx="26781">
                  <c:v>8</c:v>
                </c:pt>
                <c:pt idx="26782">
                  <c:v>4</c:v>
                </c:pt>
                <c:pt idx="26783">
                  <c:v>6</c:v>
                </c:pt>
                <c:pt idx="26784">
                  <c:v>5</c:v>
                </c:pt>
                <c:pt idx="26785">
                  <c:v>12</c:v>
                </c:pt>
                <c:pt idx="26786">
                  <c:v>1</c:v>
                </c:pt>
                <c:pt idx="26787">
                  <c:v>3</c:v>
                </c:pt>
                <c:pt idx="26788">
                  <c:v>3</c:v>
                </c:pt>
                <c:pt idx="26789">
                  <c:v>2</c:v>
                </c:pt>
                <c:pt idx="26790">
                  <c:v>1</c:v>
                </c:pt>
                <c:pt idx="26791">
                  <c:v>2</c:v>
                </c:pt>
                <c:pt idx="26792">
                  <c:v>2</c:v>
                </c:pt>
                <c:pt idx="26793">
                  <c:v>5</c:v>
                </c:pt>
                <c:pt idx="26794">
                  <c:v>4</c:v>
                </c:pt>
                <c:pt idx="26795">
                  <c:v>3</c:v>
                </c:pt>
                <c:pt idx="26796">
                  <c:v>1</c:v>
                </c:pt>
                <c:pt idx="26797">
                  <c:v>8</c:v>
                </c:pt>
                <c:pt idx="26798">
                  <c:v>2</c:v>
                </c:pt>
                <c:pt idx="26799">
                  <c:v>0</c:v>
                </c:pt>
                <c:pt idx="26800">
                  <c:v>3</c:v>
                </c:pt>
                <c:pt idx="26801">
                  <c:v>3</c:v>
                </c:pt>
                <c:pt idx="26802">
                  <c:v>1</c:v>
                </c:pt>
                <c:pt idx="26803">
                  <c:v>3</c:v>
                </c:pt>
                <c:pt idx="26804">
                  <c:v>3</c:v>
                </c:pt>
                <c:pt idx="26805">
                  <c:v>3</c:v>
                </c:pt>
                <c:pt idx="26806">
                  <c:v>3</c:v>
                </c:pt>
                <c:pt idx="26807">
                  <c:v>1</c:v>
                </c:pt>
                <c:pt idx="26808">
                  <c:v>3</c:v>
                </c:pt>
                <c:pt idx="26809">
                  <c:v>2</c:v>
                </c:pt>
                <c:pt idx="26810">
                  <c:v>2</c:v>
                </c:pt>
                <c:pt idx="26811">
                  <c:v>0</c:v>
                </c:pt>
                <c:pt idx="26812">
                  <c:v>5</c:v>
                </c:pt>
                <c:pt idx="26813">
                  <c:v>0</c:v>
                </c:pt>
                <c:pt idx="26814">
                  <c:v>7</c:v>
                </c:pt>
                <c:pt idx="26815">
                  <c:v>10</c:v>
                </c:pt>
                <c:pt idx="26816">
                  <c:v>4</c:v>
                </c:pt>
                <c:pt idx="26817">
                  <c:v>3</c:v>
                </c:pt>
                <c:pt idx="26818">
                  <c:v>3</c:v>
                </c:pt>
                <c:pt idx="26819">
                  <c:v>0</c:v>
                </c:pt>
                <c:pt idx="26820">
                  <c:v>7</c:v>
                </c:pt>
                <c:pt idx="26821">
                  <c:v>2</c:v>
                </c:pt>
                <c:pt idx="26822">
                  <c:v>3</c:v>
                </c:pt>
                <c:pt idx="26823">
                  <c:v>3</c:v>
                </c:pt>
                <c:pt idx="26824">
                  <c:v>0</c:v>
                </c:pt>
                <c:pt idx="26825">
                  <c:v>4</c:v>
                </c:pt>
                <c:pt idx="26826">
                  <c:v>3</c:v>
                </c:pt>
                <c:pt idx="26827">
                  <c:v>1</c:v>
                </c:pt>
                <c:pt idx="26828">
                  <c:v>6</c:v>
                </c:pt>
                <c:pt idx="26829">
                  <c:v>3</c:v>
                </c:pt>
                <c:pt idx="26830">
                  <c:v>0</c:v>
                </c:pt>
                <c:pt idx="26831">
                  <c:v>3</c:v>
                </c:pt>
                <c:pt idx="26832">
                  <c:v>2</c:v>
                </c:pt>
                <c:pt idx="26833">
                  <c:v>6</c:v>
                </c:pt>
                <c:pt idx="26834">
                  <c:v>3</c:v>
                </c:pt>
                <c:pt idx="26835">
                  <c:v>0</c:v>
                </c:pt>
                <c:pt idx="26836">
                  <c:v>0</c:v>
                </c:pt>
                <c:pt idx="26837">
                  <c:v>8</c:v>
                </c:pt>
                <c:pt idx="26838">
                  <c:v>5</c:v>
                </c:pt>
                <c:pt idx="26839">
                  <c:v>4</c:v>
                </c:pt>
                <c:pt idx="26840">
                  <c:v>2</c:v>
                </c:pt>
                <c:pt idx="26841">
                  <c:v>3</c:v>
                </c:pt>
                <c:pt idx="26842">
                  <c:v>4</c:v>
                </c:pt>
                <c:pt idx="26843">
                  <c:v>2</c:v>
                </c:pt>
                <c:pt idx="26844">
                  <c:v>2</c:v>
                </c:pt>
                <c:pt idx="26845">
                  <c:v>5</c:v>
                </c:pt>
                <c:pt idx="26846">
                  <c:v>9</c:v>
                </c:pt>
                <c:pt idx="26847">
                  <c:v>1</c:v>
                </c:pt>
                <c:pt idx="26848">
                  <c:v>1</c:v>
                </c:pt>
                <c:pt idx="26849">
                  <c:v>2</c:v>
                </c:pt>
                <c:pt idx="26850">
                  <c:v>3</c:v>
                </c:pt>
                <c:pt idx="26851">
                  <c:v>3</c:v>
                </c:pt>
                <c:pt idx="26852">
                  <c:v>5</c:v>
                </c:pt>
                <c:pt idx="26853">
                  <c:v>2</c:v>
                </c:pt>
                <c:pt idx="26854">
                  <c:v>3</c:v>
                </c:pt>
                <c:pt idx="26855">
                  <c:v>2</c:v>
                </c:pt>
                <c:pt idx="26856">
                  <c:v>4</c:v>
                </c:pt>
                <c:pt idx="26857">
                  <c:v>3</c:v>
                </c:pt>
                <c:pt idx="26858">
                  <c:v>3</c:v>
                </c:pt>
                <c:pt idx="26859">
                  <c:v>1</c:v>
                </c:pt>
                <c:pt idx="26860">
                  <c:v>0</c:v>
                </c:pt>
                <c:pt idx="26861">
                  <c:v>0</c:v>
                </c:pt>
                <c:pt idx="26862">
                  <c:v>10</c:v>
                </c:pt>
                <c:pt idx="26863">
                  <c:v>13</c:v>
                </c:pt>
                <c:pt idx="26864">
                  <c:v>4</c:v>
                </c:pt>
                <c:pt idx="26865">
                  <c:v>3</c:v>
                </c:pt>
                <c:pt idx="26866">
                  <c:v>4</c:v>
                </c:pt>
                <c:pt idx="26867">
                  <c:v>0</c:v>
                </c:pt>
                <c:pt idx="26868">
                  <c:v>0</c:v>
                </c:pt>
                <c:pt idx="26869">
                  <c:v>1</c:v>
                </c:pt>
                <c:pt idx="26870">
                  <c:v>0</c:v>
                </c:pt>
                <c:pt idx="26871">
                  <c:v>3</c:v>
                </c:pt>
                <c:pt idx="26872">
                  <c:v>10</c:v>
                </c:pt>
                <c:pt idx="26873">
                  <c:v>2</c:v>
                </c:pt>
                <c:pt idx="26874">
                  <c:v>5</c:v>
                </c:pt>
                <c:pt idx="26875">
                  <c:v>0</c:v>
                </c:pt>
                <c:pt idx="26876">
                  <c:v>0</c:v>
                </c:pt>
                <c:pt idx="26877">
                  <c:v>3</c:v>
                </c:pt>
                <c:pt idx="26878">
                  <c:v>3</c:v>
                </c:pt>
                <c:pt idx="26879">
                  <c:v>0</c:v>
                </c:pt>
                <c:pt idx="26880">
                  <c:v>0</c:v>
                </c:pt>
                <c:pt idx="26881">
                  <c:v>1</c:v>
                </c:pt>
                <c:pt idx="26882">
                  <c:v>3</c:v>
                </c:pt>
                <c:pt idx="26883">
                  <c:v>4</c:v>
                </c:pt>
                <c:pt idx="26884">
                  <c:v>0</c:v>
                </c:pt>
                <c:pt idx="26885">
                  <c:v>2</c:v>
                </c:pt>
                <c:pt idx="26886">
                  <c:v>5</c:v>
                </c:pt>
                <c:pt idx="26887">
                  <c:v>1</c:v>
                </c:pt>
                <c:pt idx="26888">
                  <c:v>8</c:v>
                </c:pt>
                <c:pt idx="26889">
                  <c:v>1</c:v>
                </c:pt>
                <c:pt idx="26890">
                  <c:v>11</c:v>
                </c:pt>
                <c:pt idx="26891">
                  <c:v>4</c:v>
                </c:pt>
                <c:pt idx="26892">
                  <c:v>0</c:v>
                </c:pt>
                <c:pt idx="26893">
                  <c:v>0</c:v>
                </c:pt>
                <c:pt idx="26894">
                  <c:v>2</c:v>
                </c:pt>
                <c:pt idx="26895">
                  <c:v>5</c:v>
                </c:pt>
                <c:pt idx="26896">
                  <c:v>0</c:v>
                </c:pt>
                <c:pt idx="26897">
                  <c:v>7</c:v>
                </c:pt>
                <c:pt idx="26898">
                  <c:v>2</c:v>
                </c:pt>
                <c:pt idx="26899">
                  <c:v>3</c:v>
                </c:pt>
                <c:pt idx="26900">
                  <c:v>4</c:v>
                </c:pt>
                <c:pt idx="26901">
                  <c:v>5</c:v>
                </c:pt>
                <c:pt idx="26902">
                  <c:v>1</c:v>
                </c:pt>
                <c:pt idx="26903">
                  <c:v>0</c:v>
                </c:pt>
                <c:pt idx="26904">
                  <c:v>2</c:v>
                </c:pt>
                <c:pt idx="26905">
                  <c:v>8</c:v>
                </c:pt>
                <c:pt idx="26906">
                  <c:v>2</c:v>
                </c:pt>
                <c:pt idx="26907">
                  <c:v>0</c:v>
                </c:pt>
                <c:pt idx="26908">
                  <c:v>0</c:v>
                </c:pt>
                <c:pt idx="26909">
                  <c:v>0</c:v>
                </c:pt>
                <c:pt idx="26910">
                  <c:v>6</c:v>
                </c:pt>
                <c:pt idx="26911">
                  <c:v>2</c:v>
                </c:pt>
                <c:pt idx="26912">
                  <c:v>13</c:v>
                </c:pt>
                <c:pt idx="26913">
                  <c:v>7</c:v>
                </c:pt>
                <c:pt idx="26914">
                  <c:v>2</c:v>
                </c:pt>
                <c:pt idx="26915">
                  <c:v>3</c:v>
                </c:pt>
                <c:pt idx="26916">
                  <c:v>2</c:v>
                </c:pt>
                <c:pt idx="26917">
                  <c:v>0</c:v>
                </c:pt>
                <c:pt idx="26918">
                  <c:v>0</c:v>
                </c:pt>
                <c:pt idx="26919">
                  <c:v>6</c:v>
                </c:pt>
                <c:pt idx="26920">
                  <c:v>1</c:v>
                </c:pt>
                <c:pt idx="26921">
                  <c:v>6</c:v>
                </c:pt>
                <c:pt idx="26922">
                  <c:v>4</c:v>
                </c:pt>
                <c:pt idx="26923">
                  <c:v>3</c:v>
                </c:pt>
                <c:pt idx="26924">
                  <c:v>2</c:v>
                </c:pt>
                <c:pt idx="26925">
                  <c:v>1</c:v>
                </c:pt>
                <c:pt idx="26926">
                  <c:v>9</c:v>
                </c:pt>
                <c:pt idx="26927">
                  <c:v>6</c:v>
                </c:pt>
                <c:pt idx="26928">
                  <c:v>4</c:v>
                </c:pt>
                <c:pt idx="26929">
                  <c:v>7</c:v>
                </c:pt>
                <c:pt idx="26930">
                  <c:v>2</c:v>
                </c:pt>
                <c:pt idx="26931">
                  <c:v>0</c:v>
                </c:pt>
                <c:pt idx="26932">
                  <c:v>8</c:v>
                </c:pt>
                <c:pt idx="26933">
                  <c:v>5</c:v>
                </c:pt>
                <c:pt idx="26934">
                  <c:v>7</c:v>
                </c:pt>
                <c:pt idx="26935">
                  <c:v>1</c:v>
                </c:pt>
                <c:pt idx="26936">
                  <c:v>1</c:v>
                </c:pt>
                <c:pt idx="26937">
                  <c:v>6</c:v>
                </c:pt>
                <c:pt idx="26938">
                  <c:v>7</c:v>
                </c:pt>
                <c:pt idx="26939">
                  <c:v>9</c:v>
                </c:pt>
                <c:pt idx="26940">
                  <c:v>7</c:v>
                </c:pt>
                <c:pt idx="26941">
                  <c:v>2</c:v>
                </c:pt>
                <c:pt idx="26942">
                  <c:v>5</c:v>
                </c:pt>
                <c:pt idx="26943">
                  <c:v>4</c:v>
                </c:pt>
                <c:pt idx="26944">
                  <c:v>10</c:v>
                </c:pt>
                <c:pt idx="26945">
                  <c:v>5</c:v>
                </c:pt>
                <c:pt idx="26946">
                  <c:v>10</c:v>
                </c:pt>
                <c:pt idx="26947">
                  <c:v>2</c:v>
                </c:pt>
                <c:pt idx="26948">
                  <c:v>1</c:v>
                </c:pt>
                <c:pt idx="26949">
                  <c:v>10</c:v>
                </c:pt>
                <c:pt idx="26950">
                  <c:v>3</c:v>
                </c:pt>
                <c:pt idx="26951">
                  <c:v>4</c:v>
                </c:pt>
                <c:pt idx="26952">
                  <c:v>2</c:v>
                </c:pt>
                <c:pt idx="26953">
                  <c:v>1</c:v>
                </c:pt>
                <c:pt idx="26954">
                  <c:v>5</c:v>
                </c:pt>
                <c:pt idx="26955">
                  <c:v>7</c:v>
                </c:pt>
                <c:pt idx="26956">
                  <c:v>4</c:v>
                </c:pt>
                <c:pt idx="26957">
                  <c:v>2</c:v>
                </c:pt>
                <c:pt idx="26958">
                  <c:v>2</c:v>
                </c:pt>
                <c:pt idx="26959">
                  <c:v>0</c:v>
                </c:pt>
                <c:pt idx="26960">
                  <c:v>1</c:v>
                </c:pt>
                <c:pt idx="26961">
                  <c:v>0</c:v>
                </c:pt>
                <c:pt idx="26962">
                  <c:v>2</c:v>
                </c:pt>
                <c:pt idx="26963">
                  <c:v>0</c:v>
                </c:pt>
                <c:pt idx="26964">
                  <c:v>1</c:v>
                </c:pt>
                <c:pt idx="26965">
                  <c:v>2</c:v>
                </c:pt>
                <c:pt idx="26966">
                  <c:v>0</c:v>
                </c:pt>
                <c:pt idx="26967">
                  <c:v>6</c:v>
                </c:pt>
                <c:pt idx="26968">
                  <c:v>0</c:v>
                </c:pt>
                <c:pt idx="26969">
                  <c:v>0</c:v>
                </c:pt>
                <c:pt idx="26970">
                  <c:v>0</c:v>
                </c:pt>
                <c:pt idx="26971">
                  <c:v>0</c:v>
                </c:pt>
                <c:pt idx="26972">
                  <c:v>3</c:v>
                </c:pt>
                <c:pt idx="26973">
                  <c:v>0</c:v>
                </c:pt>
                <c:pt idx="26974">
                  <c:v>0</c:v>
                </c:pt>
                <c:pt idx="26975">
                  <c:v>0</c:v>
                </c:pt>
                <c:pt idx="26976">
                  <c:v>0</c:v>
                </c:pt>
                <c:pt idx="26977">
                  <c:v>7</c:v>
                </c:pt>
                <c:pt idx="26978">
                  <c:v>2</c:v>
                </c:pt>
                <c:pt idx="26979">
                  <c:v>2</c:v>
                </c:pt>
                <c:pt idx="26980">
                  <c:v>0</c:v>
                </c:pt>
                <c:pt idx="26981">
                  <c:v>4</c:v>
                </c:pt>
                <c:pt idx="26982">
                  <c:v>0</c:v>
                </c:pt>
                <c:pt idx="26983">
                  <c:v>1</c:v>
                </c:pt>
                <c:pt idx="26984">
                  <c:v>0</c:v>
                </c:pt>
                <c:pt idx="26985">
                  <c:v>2</c:v>
                </c:pt>
                <c:pt idx="26986">
                  <c:v>2</c:v>
                </c:pt>
                <c:pt idx="26987">
                  <c:v>0</c:v>
                </c:pt>
                <c:pt idx="26988">
                  <c:v>0</c:v>
                </c:pt>
                <c:pt idx="26989">
                  <c:v>1</c:v>
                </c:pt>
                <c:pt idx="26990">
                  <c:v>0</c:v>
                </c:pt>
                <c:pt idx="26991">
                  <c:v>0</c:v>
                </c:pt>
                <c:pt idx="26992">
                  <c:v>0</c:v>
                </c:pt>
                <c:pt idx="26993">
                  <c:v>2</c:v>
                </c:pt>
                <c:pt idx="26994">
                  <c:v>0</c:v>
                </c:pt>
                <c:pt idx="26995">
                  <c:v>0</c:v>
                </c:pt>
                <c:pt idx="26996">
                  <c:v>3</c:v>
                </c:pt>
                <c:pt idx="26997">
                  <c:v>0</c:v>
                </c:pt>
                <c:pt idx="26998">
                  <c:v>0</c:v>
                </c:pt>
                <c:pt idx="26999">
                  <c:v>0</c:v>
                </c:pt>
                <c:pt idx="27000">
                  <c:v>1</c:v>
                </c:pt>
                <c:pt idx="27001">
                  <c:v>1</c:v>
                </c:pt>
                <c:pt idx="27002">
                  <c:v>2</c:v>
                </c:pt>
                <c:pt idx="27003">
                  <c:v>0</c:v>
                </c:pt>
                <c:pt idx="27004">
                  <c:v>0</c:v>
                </c:pt>
                <c:pt idx="27005">
                  <c:v>6</c:v>
                </c:pt>
                <c:pt idx="27006">
                  <c:v>0</c:v>
                </c:pt>
                <c:pt idx="27007">
                  <c:v>0</c:v>
                </c:pt>
                <c:pt idx="27008">
                  <c:v>0</c:v>
                </c:pt>
                <c:pt idx="27009">
                  <c:v>3</c:v>
                </c:pt>
                <c:pt idx="27010">
                  <c:v>5</c:v>
                </c:pt>
                <c:pt idx="27011">
                  <c:v>0</c:v>
                </c:pt>
                <c:pt idx="27012">
                  <c:v>0</c:v>
                </c:pt>
                <c:pt idx="27013">
                  <c:v>0</c:v>
                </c:pt>
                <c:pt idx="27014">
                  <c:v>0</c:v>
                </c:pt>
                <c:pt idx="27015">
                  <c:v>4</c:v>
                </c:pt>
                <c:pt idx="27016">
                  <c:v>3</c:v>
                </c:pt>
                <c:pt idx="27017">
                  <c:v>2</c:v>
                </c:pt>
                <c:pt idx="27018">
                  <c:v>0</c:v>
                </c:pt>
                <c:pt idx="27019">
                  <c:v>1</c:v>
                </c:pt>
                <c:pt idx="27020">
                  <c:v>0</c:v>
                </c:pt>
                <c:pt idx="27021">
                  <c:v>0</c:v>
                </c:pt>
                <c:pt idx="27022">
                  <c:v>0</c:v>
                </c:pt>
                <c:pt idx="27023">
                  <c:v>0</c:v>
                </c:pt>
                <c:pt idx="27024">
                  <c:v>0</c:v>
                </c:pt>
                <c:pt idx="27025">
                  <c:v>0</c:v>
                </c:pt>
                <c:pt idx="27026">
                  <c:v>0</c:v>
                </c:pt>
                <c:pt idx="27027">
                  <c:v>0</c:v>
                </c:pt>
                <c:pt idx="27028">
                  <c:v>4</c:v>
                </c:pt>
                <c:pt idx="27029">
                  <c:v>10</c:v>
                </c:pt>
                <c:pt idx="27030">
                  <c:v>3</c:v>
                </c:pt>
                <c:pt idx="27031">
                  <c:v>1</c:v>
                </c:pt>
                <c:pt idx="27032">
                  <c:v>0</c:v>
                </c:pt>
                <c:pt idx="27033">
                  <c:v>0</c:v>
                </c:pt>
                <c:pt idx="27034">
                  <c:v>0</c:v>
                </c:pt>
                <c:pt idx="27035">
                  <c:v>0</c:v>
                </c:pt>
                <c:pt idx="27036">
                  <c:v>0</c:v>
                </c:pt>
                <c:pt idx="27037">
                  <c:v>3</c:v>
                </c:pt>
                <c:pt idx="27038">
                  <c:v>0</c:v>
                </c:pt>
                <c:pt idx="27039">
                  <c:v>5</c:v>
                </c:pt>
                <c:pt idx="27040">
                  <c:v>0</c:v>
                </c:pt>
                <c:pt idx="27041">
                  <c:v>2</c:v>
                </c:pt>
                <c:pt idx="27042">
                  <c:v>1</c:v>
                </c:pt>
                <c:pt idx="27043">
                  <c:v>2</c:v>
                </c:pt>
                <c:pt idx="27044">
                  <c:v>0</c:v>
                </c:pt>
                <c:pt idx="27045">
                  <c:v>4</c:v>
                </c:pt>
                <c:pt idx="27046">
                  <c:v>1</c:v>
                </c:pt>
                <c:pt idx="27047">
                  <c:v>1</c:v>
                </c:pt>
                <c:pt idx="27048">
                  <c:v>0</c:v>
                </c:pt>
                <c:pt idx="27049">
                  <c:v>1</c:v>
                </c:pt>
                <c:pt idx="27050">
                  <c:v>0</c:v>
                </c:pt>
                <c:pt idx="27051">
                  <c:v>5</c:v>
                </c:pt>
                <c:pt idx="27052">
                  <c:v>2</c:v>
                </c:pt>
                <c:pt idx="27053">
                  <c:v>0</c:v>
                </c:pt>
                <c:pt idx="27054">
                  <c:v>4</c:v>
                </c:pt>
                <c:pt idx="27055">
                  <c:v>6</c:v>
                </c:pt>
                <c:pt idx="27056">
                  <c:v>3</c:v>
                </c:pt>
                <c:pt idx="27057">
                  <c:v>1</c:v>
                </c:pt>
                <c:pt idx="27058">
                  <c:v>5</c:v>
                </c:pt>
                <c:pt idx="27059">
                  <c:v>2</c:v>
                </c:pt>
                <c:pt idx="27060">
                  <c:v>0</c:v>
                </c:pt>
                <c:pt idx="27061">
                  <c:v>0</c:v>
                </c:pt>
                <c:pt idx="27062">
                  <c:v>1</c:v>
                </c:pt>
                <c:pt idx="27063">
                  <c:v>0</c:v>
                </c:pt>
                <c:pt idx="27064">
                  <c:v>4</c:v>
                </c:pt>
                <c:pt idx="27065">
                  <c:v>0</c:v>
                </c:pt>
                <c:pt idx="27066">
                  <c:v>0</c:v>
                </c:pt>
                <c:pt idx="27067">
                  <c:v>1</c:v>
                </c:pt>
                <c:pt idx="27068">
                  <c:v>3</c:v>
                </c:pt>
                <c:pt idx="27069">
                  <c:v>3</c:v>
                </c:pt>
                <c:pt idx="27070">
                  <c:v>3</c:v>
                </c:pt>
                <c:pt idx="27071">
                  <c:v>0</c:v>
                </c:pt>
                <c:pt idx="27072">
                  <c:v>0</c:v>
                </c:pt>
                <c:pt idx="27073">
                  <c:v>10</c:v>
                </c:pt>
                <c:pt idx="27074">
                  <c:v>0</c:v>
                </c:pt>
                <c:pt idx="27075">
                  <c:v>2</c:v>
                </c:pt>
                <c:pt idx="27076">
                  <c:v>4</c:v>
                </c:pt>
                <c:pt idx="27077">
                  <c:v>1</c:v>
                </c:pt>
                <c:pt idx="27078">
                  <c:v>2</c:v>
                </c:pt>
                <c:pt idx="27079">
                  <c:v>5</c:v>
                </c:pt>
                <c:pt idx="27080">
                  <c:v>1</c:v>
                </c:pt>
                <c:pt idx="27081">
                  <c:v>0</c:v>
                </c:pt>
                <c:pt idx="27082">
                  <c:v>0</c:v>
                </c:pt>
                <c:pt idx="27083">
                  <c:v>2</c:v>
                </c:pt>
                <c:pt idx="27084">
                  <c:v>6</c:v>
                </c:pt>
                <c:pt idx="27085">
                  <c:v>5</c:v>
                </c:pt>
                <c:pt idx="27086">
                  <c:v>3</c:v>
                </c:pt>
                <c:pt idx="27087">
                  <c:v>0</c:v>
                </c:pt>
                <c:pt idx="27088">
                  <c:v>2</c:v>
                </c:pt>
                <c:pt idx="27089">
                  <c:v>0</c:v>
                </c:pt>
                <c:pt idx="27090">
                  <c:v>0</c:v>
                </c:pt>
                <c:pt idx="27091">
                  <c:v>2</c:v>
                </c:pt>
                <c:pt idx="27092">
                  <c:v>2</c:v>
                </c:pt>
                <c:pt idx="27093">
                  <c:v>11</c:v>
                </c:pt>
                <c:pt idx="27094">
                  <c:v>6</c:v>
                </c:pt>
                <c:pt idx="27095">
                  <c:v>11</c:v>
                </c:pt>
                <c:pt idx="27096">
                  <c:v>11</c:v>
                </c:pt>
                <c:pt idx="27097">
                  <c:v>5</c:v>
                </c:pt>
                <c:pt idx="27098">
                  <c:v>0</c:v>
                </c:pt>
                <c:pt idx="27099">
                  <c:v>13</c:v>
                </c:pt>
                <c:pt idx="27100">
                  <c:v>5</c:v>
                </c:pt>
                <c:pt idx="27101">
                  <c:v>5</c:v>
                </c:pt>
                <c:pt idx="27102">
                  <c:v>6</c:v>
                </c:pt>
                <c:pt idx="27103">
                  <c:v>3</c:v>
                </c:pt>
                <c:pt idx="27104">
                  <c:v>9</c:v>
                </c:pt>
                <c:pt idx="27105">
                  <c:v>8</c:v>
                </c:pt>
                <c:pt idx="27106">
                  <c:v>5</c:v>
                </c:pt>
                <c:pt idx="27107">
                  <c:v>4</c:v>
                </c:pt>
                <c:pt idx="27108">
                  <c:v>5</c:v>
                </c:pt>
                <c:pt idx="27109">
                  <c:v>0</c:v>
                </c:pt>
                <c:pt idx="27110">
                  <c:v>7</c:v>
                </c:pt>
                <c:pt idx="27111">
                  <c:v>7</c:v>
                </c:pt>
                <c:pt idx="27112">
                  <c:v>3</c:v>
                </c:pt>
                <c:pt idx="27113">
                  <c:v>0</c:v>
                </c:pt>
                <c:pt idx="27114">
                  <c:v>3</c:v>
                </c:pt>
                <c:pt idx="27115">
                  <c:v>4</c:v>
                </c:pt>
                <c:pt idx="27116">
                  <c:v>0</c:v>
                </c:pt>
                <c:pt idx="27117">
                  <c:v>4</c:v>
                </c:pt>
                <c:pt idx="27118">
                  <c:v>0</c:v>
                </c:pt>
                <c:pt idx="27119">
                  <c:v>6</c:v>
                </c:pt>
                <c:pt idx="27120">
                  <c:v>8</c:v>
                </c:pt>
                <c:pt idx="27121">
                  <c:v>5</c:v>
                </c:pt>
                <c:pt idx="27122">
                  <c:v>5</c:v>
                </c:pt>
                <c:pt idx="27123">
                  <c:v>1</c:v>
                </c:pt>
                <c:pt idx="27124">
                  <c:v>1</c:v>
                </c:pt>
                <c:pt idx="27125">
                  <c:v>3</c:v>
                </c:pt>
                <c:pt idx="27126">
                  <c:v>0</c:v>
                </c:pt>
                <c:pt idx="27127">
                  <c:v>1</c:v>
                </c:pt>
                <c:pt idx="27128">
                  <c:v>8</c:v>
                </c:pt>
                <c:pt idx="27129">
                  <c:v>4</c:v>
                </c:pt>
                <c:pt idx="27130">
                  <c:v>5</c:v>
                </c:pt>
                <c:pt idx="27131">
                  <c:v>5</c:v>
                </c:pt>
                <c:pt idx="27132">
                  <c:v>6</c:v>
                </c:pt>
                <c:pt idx="27133">
                  <c:v>5</c:v>
                </c:pt>
                <c:pt idx="27134">
                  <c:v>4</c:v>
                </c:pt>
                <c:pt idx="27135">
                  <c:v>18</c:v>
                </c:pt>
                <c:pt idx="27136">
                  <c:v>2</c:v>
                </c:pt>
                <c:pt idx="27137">
                  <c:v>6</c:v>
                </c:pt>
                <c:pt idx="27138">
                  <c:v>2</c:v>
                </c:pt>
                <c:pt idx="27139">
                  <c:v>3</c:v>
                </c:pt>
                <c:pt idx="27140">
                  <c:v>5</c:v>
                </c:pt>
                <c:pt idx="27141">
                  <c:v>12</c:v>
                </c:pt>
                <c:pt idx="27142">
                  <c:v>0</c:v>
                </c:pt>
                <c:pt idx="27143">
                  <c:v>8</c:v>
                </c:pt>
                <c:pt idx="27144">
                  <c:v>5</c:v>
                </c:pt>
                <c:pt idx="27145">
                  <c:v>3</c:v>
                </c:pt>
                <c:pt idx="27146">
                  <c:v>2</c:v>
                </c:pt>
                <c:pt idx="27147">
                  <c:v>10</c:v>
                </c:pt>
                <c:pt idx="27148">
                  <c:v>2</c:v>
                </c:pt>
                <c:pt idx="27149">
                  <c:v>1</c:v>
                </c:pt>
                <c:pt idx="27150">
                  <c:v>2</c:v>
                </c:pt>
                <c:pt idx="27151">
                  <c:v>2</c:v>
                </c:pt>
                <c:pt idx="27152">
                  <c:v>3</c:v>
                </c:pt>
                <c:pt idx="27153">
                  <c:v>0</c:v>
                </c:pt>
                <c:pt idx="27154">
                  <c:v>4</c:v>
                </c:pt>
                <c:pt idx="27155">
                  <c:v>5</c:v>
                </c:pt>
                <c:pt idx="27156">
                  <c:v>1</c:v>
                </c:pt>
                <c:pt idx="27157">
                  <c:v>6</c:v>
                </c:pt>
                <c:pt idx="27158">
                  <c:v>1</c:v>
                </c:pt>
                <c:pt idx="27159">
                  <c:v>5</c:v>
                </c:pt>
                <c:pt idx="27160">
                  <c:v>3</c:v>
                </c:pt>
                <c:pt idx="27161">
                  <c:v>3</c:v>
                </c:pt>
                <c:pt idx="27162">
                  <c:v>7</c:v>
                </c:pt>
                <c:pt idx="27163">
                  <c:v>0</c:v>
                </c:pt>
                <c:pt idx="27164">
                  <c:v>2</c:v>
                </c:pt>
                <c:pt idx="27165">
                  <c:v>2</c:v>
                </c:pt>
                <c:pt idx="27166">
                  <c:v>5</c:v>
                </c:pt>
                <c:pt idx="27167">
                  <c:v>4</c:v>
                </c:pt>
                <c:pt idx="27168">
                  <c:v>14</c:v>
                </c:pt>
                <c:pt idx="27169">
                  <c:v>0</c:v>
                </c:pt>
                <c:pt idx="27170">
                  <c:v>5</c:v>
                </c:pt>
                <c:pt idx="27171">
                  <c:v>9</c:v>
                </c:pt>
                <c:pt idx="27172">
                  <c:v>1</c:v>
                </c:pt>
                <c:pt idx="27173">
                  <c:v>1</c:v>
                </c:pt>
                <c:pt idx="27174">
                  <c:v>6</c:v>
                </c:pt>
                <c:pt idx="27175">
                  <c:v>0</c:v>
                </c:pt>
                <c:pt idx="27176">
                  <c:v>2</c:v>
                </c:pt>
                <c:pt idx="27177">
                  <c:v>7</c:v>
                </c:pt>
                <c:pt idx="27178">
                  <c:v>1</c:v>
                </c:pt>
                <c:pt idx="27179">
                  <c:v>1</c:v>
                </c:pt>
                <c:pt idx="27180">
                  <c:v>8</c:v>
                </c:pt>
                <c:pt idx="27181">
                  <c:v>0</c:v>
                </c:pt>
                <c:pt idx="27182">
                  <c:v>0</c:v>
                </c:pt>
                <c:pt idx="27183">
                  <c:v>2</c:v>
                </c:pt>
                <c:pt idx="27184">
                  <c:v>3</c:v>
                </c:pt>
                <c:pt idx="27185">
                  <c:v>8</c:v>
                </c:pt>
                <c:pt idx="27186">
                  <c:v>2</c:v>
                </c:pt>
                <c:pt idx="27187">
                  <c:v>5</c:v>
                </c:pt>
                <c:pt idx="27188">
                  <c:v>0</c:v>
                </c:pt>
                <c:pt idx="27189">
                  <c:v>3</c:v>
                </c:pt>
                <c:pt idx="27190">
                  <c:v>1</c:v>
                </c:pt>
                <c:pt idx="27191">
                  <c:v>3</c:v>
                </c:pt>
                <c:pt idx="27192">
                  <c:v>2</c:v>
                </c:pt>
                <c:pt idx="27193">
                  <c:v>0</c:v>
                </c:pt>
                <c:pt idx="27194">
                  <c:v>0</c:v>
                </c:pt>
                <c:pt idx="27195">
                  <c:v>0</c:v>
                </c:pt>
                <c:pt idx="27196">
                  <c:v>0</c:v>
                </c:pt>
                <c:pt idx="27197">
                  <c:v>0</c:v>
                </c:pt>
                <c:pt idx="27198">
                  <c:v>0</c:v>
                </c:pt>
                <c:pt idx="27199">
                  <c:v>1</c:v>
                </c:pt>
                <c:pt idx="27200">
                  <c:v>0</c:v>
                </c:pt>
                <c:pt idx="27201">
                  <c:v>4</c:v>
                </c:pt>
                <c:pt idx="27202">
                  <c:v>0</c:v>
                </c:pt>
                <c:pt idx="27203">
                  <c:v>2</c:v>
                </c:pt>
                <c:pt idx="27204">
                  <c:v>0</c:v>
                </c:pt>
                <c:pt idx="27205">
                  <c:v>0</c:v>
                </c:pt>
                <c:pt idx="27206">
                  <c:v>0</c:v>
                </c:pt>
                <c:pt idx="27207">
                  <c:v>0</c:v>
                </c:pt>
                <c:pt idx="27208">
                  <c:v>0</c:v>
                </c:pt>
                <c:pt idx="27209">
                  <c:v>0</c:v>
                </c:pt>
                <c:pt idx="27210">
                  <c:v>0</c:v>
                </c:pt>
                <c:pt idx="27211">
                  <c:v>8</c:v>
                </c:pt>
                <c:pt idx="27212">
                  <c:v>0</c:v>
                </c:pt>
                <c:pt idx="27213">
                  <c:v>0</c:v>
                </c:pt>
                <c:pt idx="27214">
                  <c:v>1</c:v>
                </c:pt>
                <c:pt idx="27215">
                  <c:v>0</c:v>
                </c:pt>
                <c:pt idx="27216">
                  <c:v>0</c:v>
                </c:pt>
                <c:pt idx="27217">
                  <c:v>0</c:v>
                </c:pt>
                <c:pt idx="27218">
                  <c:v>0</c:v>
                </c:pt>
                <c:pt idx="27219">
                  <c:v>4</c:v>
                </c:pt>
                <c:pt idx="27220">
                  <c:v>2</c:v>
                </c:pt>
                <c:pt idx="27221">
                  <c:v>0</c:v>
                </c:pt>
                <c:pt idx="27222">
                  <c:v>0</c:v>
                </c:pt>
                <c:pt idx="27223">
                  <c:v>0</c:v>
                </c:pt>
                <c:pt idx="27224">
                  <c:v>0</c:v>
                </c:pt>
                <c:pt idx="27225">
                  <c:v>0</c:v>
                </c:pt>
                <c:pt idx="27226">
                  <c:v>5</c:v>
                </c:pt>
                <c:pt idx="27227">
                  <c:v>0</c:v>
                </c:pt>
                <c:pt idx="27228">
                  <c:v>0</c:v>
                </c:pt>
                <c:pt idx="27229">
                  <c:v>0</c:v>
                </c:pt>
                <c:pt idx="27230">
                  <c:v>1</c:v>
                </c:pt>
                <c:pt idx="27231">
                  <c:v>2</c:v>
                </c:pt>
                <c:pt idx="27232">
                  <c:v>0</c:v>
                </c:pt>
                <c:pt idx="27233">
                  <c:v>0</c:v>
                </c:pt>
                <c:pt idx="27234">
                  <c:v>0</c:v>
                </c:pt>
                <c:pt idx="27235">
                  <c:v>4</c:v>
                </c:pt>
                <c:pt idx="27236">
                  <c:v>4</c:v>
                </c:pt>
                <c:pt idx="27237">
                  <c:v>1</c:v>
                </c:pt>
                <c:pt idx="27238">
                  <c:v>0</c:v>
                </c:pt>
                <c:pt idx="27239">
                  <c:v>0</c:v>
                </c:pt>
                <c:pt idx="27240">
                  <c:v>0</c:v>
                </c:pt>
                <c:pt idx="27241">
                  <c:v>0</c:v>
                </c:pt>
                <c:pt idx="27242">
                  <c:v>5</c:v>
                </c:pt>
                <c:pt idx="27243">
                  <c:v>5</c:v>
                </c:pt>
                <c:pt idx="27244">
                  <c:v>3</c:v>
                </c:pt>
                <c:pt idx="27245">
                  <c:v>5</c:v>
                </c:pt>
                <c:pt idx="27246">
                  <c:v>1</c:v>
                </c:pt>
                <c:pt idx="27247">
                  <c:v>0</c:v>
                </c:pt>
                <c:pt idx="27248">
                  <c:v>1</c:v>
                </c:pt>
                <c:pt idx="27249">
                  <c:v>1</c:v>
                </c:pt>
                <c:pt idx="27250">
                  <c:v>8</c:v>
                </c:pt>
                <c:pt idx="27251">
                  <c:v>0</c:v>
                </c:pt>
                <c:pt idx="27252">
                  <c:v>8</c:v>
                </c:pt>
                <c:pt idx="27253">
                  <c:v>0</c:v>
                </c:pt>
                <c:pt idx="27254">
                  <c:v>2</c:v>
                </c:pt>
                <c:pt idx="27255">
                  <c:v>6</c:v>
                </c:pt>
                <c:pt idx="27256">
                  <c:v>1</c:v>
                </c:pt>
                <c:pt idx="27257">
                  <c:v>10</c:v>
                </c:pt>
                <c:pt idx="27258">
                  <c:v>1</c:v>
                </c:pt>
                <c:pt idx="27259">
                  <c:v>5</c:v>
                </c:pt>
                <c:pt idx="27260">
                  <c:v>0</c:v>
                </c:pt>
                <c:pt idx="27261">
                  <c:v>2</c:v>
                </c:pt>
                <c:pt idx="27262">
                  <c:v>0</c:v>
                </c:pt>
                <c:pt idx="27263">
                  <c:v>0</c:v>
                </c:pt>
                <c:pt idx="27264">
                  <c:v>0</c:v>
                </c:pt>
                <c:pt idx="27265">
                  <c:v>1</c:v>
                </c:pt>
                <c:pt idx="27266">
                  <c:v>0</c:v>
                </c:pt>
                <c:pt idx="27267">
                  <c:v>3</c:v>
                </c:pt>
                <c:pt idx="27268">
                  <c:v>0</c:v>
                </c:pt>
                <c:pt idx="27269">
                  <c:v>0</c:v>
                </c:pt>
                <c:pt idx="27270">
                  <c:v>1</c:v>
                </c:pt>
                <c:pt idx="27271">
                  <c:v>2</c:v>
                </c:pt>
                <c:pt idx="27272">
                  <c:v>0</c:v>
                </c:pt>
                <c:pt idx="27273">
                  <c:v>7</c:v>
                </c:pt>
                <c:pt idx="27274">
                  <c:v>0</c:v>
                </c:pt>
                <c:pt idx="27275">
                  <c:v>0</c:v>
                </c:pt>
                <c:pt idx="27276">
                  <c:v>0</c:v>
                </c:pt>
                <c:pt idx="27277">
                  <c:v>0</c:v>
                </c:pt>
                <c:pt idx="27278">
                  <c:v>0</c:v>
                </c:pt>
                <c:pt idx="27279">
                  <c:v>4</c:v>
                </c:pt>
                <c:pt idx="27280">
                  <c:v>6</c:v>
                </c:pt>
                <c:pt idx="27281">
                  <c:v>0</c:v>
                </c:pt>
                <c:pt idx="27282">
                  <c:v>0</c:v>
                </c:pt>
                <c:pt idx="27283">
                  <c:v>0</c:v>
                </c:pt>
                <c:pt idx="27284">
                  <c:v>2</c:v>
                </c:pt>
                <c:pt idx="27285">
                  <c:v>3</c:v>
                </c:pt>
                <c:pt idx="27286">
                  <c:v>0</c:v>
                </c:pt>
                <c:pt idx="27287">
                  <c:v>0</c:v>
                </c:pt>
                <c:pt idx="27288">
                  <c:v>0</c:v>
                </c:pt>
                <c:pt idx="27289">
                  <c:v>0</c:v>
                </c:pt>
                <c:pt idx="27290">
                  <c:v>0</c:v>
                </c:pt>
                <c:pt idx="27291">
                  <c:v>2</c:v>
                </c:pt>
                <c:pt idx="27292">
                  <c:v>0</c:v>
                </c:pt>
                <c:pt idx="27293">
                  <c:v>0</c:v>
                </c:pt>
                <c:pt idx="27294">
                  <c:v>0</c:v>
                </c:pt>
                <c:pt idx="27295">
                  <c:v>0</c:v>
                </c:pt>
                <c:pt idx="27296">
                  <c:v>0</c:v>
                </c:pt>
                <c:pt idx="27297">
                  <c:v>0</c:v>
                </c:pt>
                <c:pt idx="27298">
                  <c:v>0</c:v>
                </c:pt>
                <c:pt idx="27299">
                  <c:v>0</c:v>
                </c:pt>
                <c:pt idx="27300">
                  <c:v>3</c:v>
                </c:pt>
                <c:pt idx="27301">
                  <c:v>0</c:v>
                </c:pt>
                <c:pt idx="27302">
                  <c:v>0</c:v>
                </c:pt>
                <c:pt idx="27303">
                  <c:v>0</c:v>
                </c:pt>
                <c:pt idx="27304">
                  <c:v>0</c:v>
                </c:pt>
                <c:pt idx="27305">
                  <c:v>0</c:v>
                </c:pt>
                <c:pt idx="27306">
                  <c:v>0</c:v>
                </c:pt>
                <c:pt idx="27307">
                  <c:v>3</c:v>
                </c:pt>
                <c:pt idx="27308">
                  <c:v>0</c:v>
                </c:pt>
                <c:pt idx="27309">
                  <c:v>0</c:v>
                </c:pt>
                <c:pt idx="27310">
                  <c:v>8</c:v>
                </c:pt>
                <c:pt idx="27311">
                  <c:v>3</c:v>
                </c:pt>
                <c:pt idx="27312">
                  <c:v>0</c:v>
                </c:pt>
                <c:pt idx="27313">
                  <c:v>2</c:v>
                </c:pt>
                <c:pt idx="27314">
                  <c:v>0</c:v>
                </c:pt>
                <c:pt idx="27315">
                  <c:v>2</c:v>
                </c:pt>
                <c:pt idx="27316">
                  <c:v>0</c:v>
                </c:pt>
                <c:pt idx="27317">
                  <c:v>0</c:v>
                </c:pt>
                <c:pt idx="27318">
                  <c:v>0</c:v>
                </c:pt>
                <c:pt idx="27319">
                  <c:v>0</c:v>
                </c:pt>
                <c:pt idx="27320">
                  <c:v>0</c:v>
                </c:pt>
                <c:pt idx="27321">
                  <c:v>0</c:v>
                </c:pt>
                <c:pt idx="27322">
                  <c:v>0</c:v>
                </c:pt>
                <c:pt idx="27323">
                  <c:v>0</c:v>
                </c:pt>
                <c:pt idx="27324">
                  <c:v>1</c:v>
                </c:pt>
                <c:pt idx="27325">
                  <c:v>9</c:v>
                </c:pt>
                <c:pt idx="27326">
                  <c:v>5</c:v>
                </c:pt>
                <c:pt idx="27327">
                  <c:v>0</c:v>
                </c:pt>
                <c:pt idx="27328">
                  <c:v>0</c:v>
                </c:pt>
                <c:pt idx="27329">
                  <c:v>0</c:v>
                </c:pt>
                <c:pt idx="27330">
                  <c:v>1</c:v>
                </c:pt>
                <c:pt idx="27331">
                  <c:v>1</c:v>
                </c:pt>
                <c:pt idx="27332">
                  <c:v>0</c:v>
                </c:pt>
                <c:pt idx="27333">
                  <c:v>0</c:v>
                </c:pt>
                <c:pt idx="27334">
                  <c:v>1</c:v>
                </c:pt>
                <c:pt idx="27335">
                  <c:v>0</c:v>
                </c:pt>
                <c:pt idx="27336">
                  <c:v>1</c:v>
                </c:pt>
                <c:pt idx="27337">
                  <c:v>1</c:v>
                </c:pt>
                <c:pt idx="27338">
                  <c:v>5</c:v>
                </c:pt>
                <c:pt idx="27339">
                  <c:v>0</c:v>
                </c:pt>
                <c:pt idx="27340">
                  <c:v>6</c:v>
                </c:pt>
                <c:pt idx="27341">
                  <c:v>2</c:v>
                </c:pt>
                <c:pt idx="27342">
                  <c:v>0</c:v>
                </c:pt>
                <c:pt idx="27343">
                  <c:v>0</c:v>
                </c:pt>
                <c:pt idx="27344">
                  <c:v>0</c:v>
                </c:pt>
                <c:pt idx="27345">
                  <c:v>0</c:v>
                </c:pt>
                <c:pt idx="27346">
                  <c:v>0</c:v>
                </c:pt>
                <c:pt idx="27347">
                  <c:v>1</c:v>
                </c:pt>
                <c:pt idx="27348">
                  <c:v>0</c:v>
                </c:pt>
                <c:pt idx="27349">
                  <c:v>0</c:v>
                </c:pt>
                <c:pt idx="27350">
                  <c:v>0</c:v>
                </c:pt>
                <c:pt idx="27351">
                  <c:v>0</c:v>
                </c:pt>
                <c:pt idx="27352">
                  <c:v>1</c:v>
                </c:pt>
                <c:pt idx="27353">
                  <c:v>0</c:v>
                </c:pt>
                <c:pt idx="27354">
                  <c:v>0</c:v>
                </c:pt>
                <c:pt idx="27355">
                  <c:v>0</c:v>
                </c:pt>
                <c:pt idx="27356">
                  <c:v>2</c:v>
                </c:pt>
                <c:pt idx="27357">
                  <c:v>0</c:v>
                </c:pt>
                <c:pt idx="27358">
                  <c:v>0</c:v>
                </c:pt>
                <c:pt idx="27359">
                  <c:v>0</c:v>
                </c:pt>
                <c:pt idx="27360">
                  <c:v>1</c:v>
                </c:pt>
                <c:pt idx="27361">
                  <c:v>1</c:v>
                </c:pt>
                <c:pt idx="27362">
                  <c:v>0</c:v>
                </c:pt>
                <c:pt idx="27363">
                  <c:v>3</c:v>
                </c:pt>
                <c:pt idx="27364">
                  <c:v>2</c:v>
                </c:pt>
                <c:pt idx="27365">
                  <c:v>0</c:v>
                </c:pt>
                <c:pt idx="27366">
                  <c:v>6</c:v>
                </c:pt>
                <c:pt idx="27367">
                  <c:v>3</c:v>
                </c:pt>
                <c:pt idx="27368">
                  <c:v>9</c:v>
                </c:pt>
                <c:pt idx="27369">
                  <c:v>0</c:v>
                </c:pt>
                <c:pt idx="27370">
                  <c:v>2</c:v>
                </c:pt>
                <c:pt idx="27371">
                  <c:v>6</c:v>
                </c:pt>
                <c:pt idx="27372">
                  <c:v>0</c:v>
                </c:pt>
                <c:pt idx="27373">
                  <c:v>1</c:v>
                </c:pt>
                <c:pt idx="27374">
                  <c:v>6</c:v>
                </c:pt>
                <c:pt idx="27375">
                  <c:v>7</c:v>
                </c:pt>
                <c:pt idx="27376">
                  <c:v>1</c:v>
                </c:pt>
                <c:pt idx="27377">
                  <c:v>0</c:v>
                </c:pt>
                <c:pt idx="27378">
                  <c:v>0</c:v>
                </c:pt>
                <c:pt idx="27379">
                  <c:v>2</c:v>
                </c:pt>
                <c:pt idx="27380">
                  <c:v>3</c:v>
                </c:pt>
                <c:pt idx="27381">
                  <c:v>7</c:v>
                </c:pt>
                <c:pt idx="27382">
                  <c:v>7</c:v>
                </c:pt>
                <c:pt idx="27383">
                  <c:v>17</c:v>
                </c:pt>
                <c:pt idx="27384">
                  <c:v>0</c:v>
                </c:pt>
                <c:pt idx="27385">
                  <c:v>0</c:v>
                </c:pt>
                <c:pt idx="27386">
                  <c:v>0</c:v>
                </c:pt>
                <c:pt idx="27387">
                  <c:v>0</c:v>
                </c:pt>
                <c:pt idx="27388">
                  <c:v>0</c:v>
                </c:pt>
                <c:pt idx="27389">
                  <c:v>1</c:v>
                </c:pt>
                <c:pt idx="27390">
                  <c:v>0</c:v>
                </c:pt>
                <c:pt idx="27391">
                  <c:v>1</c:v>
                </c:pt>
                <c:pt idx="27392">
                  <c:v>0</c:v>
                </c:pt>
                <c:pt idx="27393">
                  <c:v>5</c:v>
                </c:pt>
                <c:pt idx="27394">
                  <c:v>0</c:v>
                </c:pt>
                <c:pt idx="27395">
                  <c:v>1</c:v>
                </c:pt>
                <c:pt idx="27396">
                  <c:v>0</c:v>
                </c:pt>
                <c:pt idx="27397">
                  <c:v>0</c:v>
                </c:pt>
                <c:pt idx="27398">
                  <c:v>6</c:v>
                </c:pt>
                <c:pt idx="27399">
                  <c:v>2</c:v>
                </c:pt>
                <c:pt idx="27400">
                  <c:v>4</c:v>
                </c:pt>
                <c:pt idx="27401">
                  <c:v>0</c:v>
                </c:pt>
                <c:pt idx="27402">
                  <c:v>1</c:v>
                </c:pt>
                <c:pt idx="27403">
                  <c:v>5</c:v>
                </c:pt>
                <c:pt idx="27404">
                  <c:v>0</c:v>
                </c:pt>
                <c:pt idx="27405">
                  <c:v>1</c:v>
                </c:pt>
                <c:pt idx="27406">
                  <c:v>0</c:v>
                </c:pt>
                <c:pt idx="27407">
                  <c:v>3</c:v>
                </c:pt>
                <c:pt idx="27408">
                  <c:v>0</c:v>
                </c:pt>
                <c:pt idx="27409">
                  <c:v>0</c:v>
                </c:pt>
                <c:pt idx="27410">
                  <c:v>1</c:v>
                </c:pt>
                <c:pt idx="27411">
                  <c:v>3</c:v>
                </c:pt>
                <c:pt idx="27412">
                  <c:v>3</c:v>
                </c:pt>
                <c:pt idx="27413">
                  <c:v>0</c:v>
                </c:pt>
                <c:pt idx="27414">
                  <c:v>1</c:v>
                </c:pt>
                <c:pt idx="27415">
                  <c:v>7</c:v>
                </c:pt>
                <c:pt idx="27416">
                  <c:v>0</c:v>
                </c:pt>
                <c:pt idx="27417">
                  <c:v>5</c:v>
                </c:pt>
                <c:pt idx="27418">
                  <c:v>3</c:v>
                </c:pt>
                <c:pt idx="27419">
                  <c:v>8</c:v>
                </c:pt>
                <c:pt idx="27420">
                  <c:v>1</c:v>
                </c:pt>
                <c:pt idx="27421">
                  <c:v>6</c:v>
                </c:pt>
                <c:pt idx="27422">
                  <c:v>7</c:v>
                </c:pt>
                <c:pt idx="27423">
                  <c:v>0</c:v>
                </c:pt>
                <c:pt idx="27424">
                  <c:v>3</c:v>
                </c:pt>
                <c:pt idx="27425">
                  <c:v>8</c:v>
                </c:pt>
                <c:pt idx="27426">
                  <c:v>29</c:v>
                </c:pt>
                <c:pt idx="27427">
                  <c:v>4</c:v>
                </c:pt>
                <c:pt idx="27428">
                  <c:v>8</c:v>
                </c:pt>
                <c:pt idx="27429">
                  <c:v>4</c:v>
                </c:pt>
                <c:pt idx="27430">
                  <c:v>0</c:v>
                </c:pt>
                <c:pt idx="27431">
                  <c:v>5</c:v>
                </c:pt>
                <c:pt idx="27432">
                  <c:v>0</c:v>
                </c:pt>
                <c:pt idx="27433">
                  <c:v>2</c:v>
                </c:pt>
                <c:pt idx="27434">
                  <c:v>6</c:v>
                </c:pt>
                <c:pt idx="27435">
                  <c:v>1</c:v>
                </c:pt>
                <c:pt idx="27436">
                  <c:v>1</c:v>
                </c:pt>
                <c:pt idx="27437">
                  <c:v>1</c:v>
                </c:pt>
                <c:pt idx="27438">
                  <c:v>0</c:v>
                </c:pt>
                <c:pt idx="27439">
                  <c:v>2</c:v>
                </c:pt>
                <c:pt idx="27440">
                  <c:v>1</c:v>
                </c:pt>
                <c:pt idx="27441">
                  <c:v>2</c:v>
                </c:pt>
                <c:pt idx="27442">
                  <c:v>3</c:v>
                </c:pt>
                <c:pt idx="27443">
                  <c:v>2</c:v>
                </c:pt>
                <c:pt idx="27444">
                  <c:v>4</c:v>
                </c:pt>
                <c:pt idx="27445">
                  <c:v>0</c:v>
                </c:pt>
                <c:pt idx="27446">
                  <c:v>4</c:v>
                </c:pt>
                <c:pt idx="27447">
                  <c:v>4</c:v>
                </c:pt>
                <c:pt idx="27448">
                  <c:v>2</c:v>
                </c:pt>
                <c:pt idx="27449">
                  <c:v>1</c:v>
                </c:pt>
                <c:pt idx="27450">
                  <c:v>9</c:v>
                </c:pt>
                <c:pt idx="27451">
                  <c:v>5</c:v>
                </c:pt>
                <c:pt idx="27452">
                  <c:v>6</c:v>
                </c:pt>
                <c:pt idx="27453">
                  <c:v>0</c:v>
                </c:pt>
                <c:pt idx="27454">
                  <c:v>2</c:v>
                </c:pt>
                <c:pt idx="27455">
                  <c:v>0</c:v>
                </c:pt>
                <c:pt idx="27456">
                  <c:v>3</c:v>
                </c:pt>
                <c:pt idx="27457">
                  <c:v>2</c:v>
                </c:pt>
                <c:pt idx="27458">
                  <c:v>0</c:v>
                </c:pt>
                <c:pt idx="27459">
                  <c:v>5</c:v>
                </c:pt>
                <c:pt idx="27460">
                  <c:v>1</c:v>
                </c:pt>
                <c:pt idx="27461">
                  <c:v>0</c:v>
                </c:pt>
                <c:pt idx="27462">
                  <c:v>7</c:v>
                </c:pt>
                <c:pt idx="27463">
                  <c:v>0</c:v>
                </c:pt>
                <c:pt idx="27464">
                  <c:v>0</c:v>
                </c:pt>
                <c:pt idx="27465">
                  <c:v>0</c:v>
                </c:pt>
                <c:pt idx="27466">
                  <c:v>1</c:v>
                </c:pt>
                <c:pt idx="27467">
                  <c:v>2</c:v>
                </c:pt>
                <c:pt idx="27468">
                  <c:v>5</c:v>
                </c:pt>
                <c:pt idx="27469">
                  <c:v>5</c:v>
                </c:pt>
                <c:pt idx="27470">
                  <c:v>8</c:v>
                </c:pt>
                <c:pt idx="27471">
                  <c:v>0</c:v>
                </c:pt>
                <c:pt idx="27472">
                  <c:v>3</c:v>
                </c:pt>
                <c:pt idx="27473">
                  <c:v>1</c:v>
                </c:pt>
                <c:pt idx="27474">
                  <c:v>2</c:v>
                </c:pt>
                <c:pt idx="27475">
                  <c:v>4</c:v>
                </c:pt>
                <c:pt idx="27476">
                  <c:v>10</c:v>
                </c:pt>
                <c:pt idx="27477">
                  <c:v>5</c:v>
                </c:pt>
                <c:pt idx="27478">
                  <c:v>7</c:v>
                </c:pt>
                <c:pt idx="27479">
                  <c:v>6</c:v>
                </c:pt>
                <c:pt idx="27480">
                  <c:v>5</c:v>
                </c:pt>
                <c:pt idx="27481">
                  <c:v>0</c:v>
                </c:pt>
                <c:pt idx="27482">
                  <c:v>4</c:v>
                </c:pt>
                <c:pt idx="27483">
                  <c:v>3</c:v>
                </c:pt>
                <c:pt idx="27484">
                  <c:v>0</c:v>
                </c:pt>
                <c:pt idx="27485">
                  <c:v>3</c:v>
                </c:pt>
                <c:pt idx="27486">
                  <c:v>0</c:v>
                </c:pt>
                <c:pt idx="27487">
                  <c:v>4</c:v>
                </c:pt>
                <c:pt idx="27488">
                  <c:v>0</c:v>
                </c:pt>
                <c:pt idx="27489">
                  <c:v>7</c:v>
                </c:pt>
                <c:pt idx="27490">
                  <c:v>3</c:v>
                </c:pt>
                <c:pt idx="27491">
                  <c:v>5</c:v>
                </c:pt>
                <c:pt idx="27492">
                  <c:v>2</c:v>
                </c:pt>
                <c:pt idx="27493">
                  <c:v>2</c:v>
                </c:pt>
                <c:pt idx="27494">
                  <c:v>0</c:v>
                </c:pt>
                <c:pt idx="27495">
                  <c:v>3</c:v>
                </c:pt>
                <c:pt idx="27496">
                  <c:v>5</c:v>
                </c:pt>
                <c:pt idx="27497">
                  <c:v>1</c:v>
                </c:pt>
                <c:pt idx="27498">
                  <c:v>3</c:v>
                </c:pt>
                <c:pt idx="27499">
                  <c:v>1</c:v>
                </c:pt>
                <c:pt idx="27500">
                  <c:v>4</c:v>
                </c:pt>
                <c:pt idx="27501">
                  <c:v>6</c:v>
                </c:pt>
                <c:pt idx="27502">
                  <c:v>0</c:v>
                </c:pt>
                <c:pt idx="27503">
                  <c:v>14</c:v>
                </c:pt>
                <c:pt idx="27504">
                  <c:v>0</c:v>
                </c:pt>
                <c:pt idx="27505">
                  <c:v>1</c:v>
                </c:pt>
                <c:pt idx="27506">
                  <c:v>0</c:v>
                </c:pt>
                <c:pt idx="27507">
                  <c:v>3</c:v>
                </c:pt>
                <c:pt idx="27508">
                  <c:v>2</c:v>
                </c:pt>
                <c:pt idx="27509">
                  <c:v>0</c:v>
                </c:pt>
                <c:pt idx="27510">
                  <c:v>2</c:v>
                </c:pt>
                <c:pt idx="27511">
                  <c:v>2</c:v>
                </c:pt>
                <c:pt idx="27512">
                  <c:v>10</c:v>
                </c:pt>
                <c:pt idx="27513">
                  <c:v>2</c:v>
                </c:pt>
                <c:pt idx="27514">
                  <c:v>0</c:v>
                </c:pt>
                <c:pt idx="27515">
                  <c:v>6</c:v>
                </c:pt>
                <c:pt idx="27516">
                  <c:v>10</c:v>
                </c:pt>
                <c:pt idx="27517">
                  <c:v>1</c:v>
                </c:pt>
                <c:pt idx="27518">
                  <c:v>2</c:v>
                </c:pt>
                <c:pt idx="27519">
                  <c:v>4</c:v>
                </c:pt>
                <c:pt idx="27520">
                  <c:v>0</c:v>
                </c:pt>
                <c:pt idx="27521">
                  <c:v>1</c:v>
                </c:pt>
                <c:pt idx="27522">
                  <c:v>6</c:v>
                </c:pt>
                <c:pt idx="27523">
                  <c:v>4</c:v>
                </c:pt>
                <c:pt idx="27524">
                  <c:v>0</c:v>
                </c:pt>
                <c:pt idx="27525">
                  <c:v>0</c:v>
                </c:pt>
                <c:pt idx="27526">
                  <c:v>2</c:v>
                </c:pt>
                <c:pt idx="27527">
                  <c:v>1</c:v>
                </c:pt>
                <c:pt idx="27528">
                  <c:v>0</c:v>
                </c:pt>
                <c:pt idx="27529">
                  <c:v>0</c:v>
                </c:pt>
                <c:pt idx="27530">
                  <c:v>1</c:v>
                </c:pt>
                <c:pt idx="27531">
                  <c:v>0</c:v>
                </c:pt>
                <c:pt idx="27532">
                  <c:v>5</c:v>
                </c:pt>
                <c:pt idx="27533">
                  <c:v>0</c:v>
                </c:pt>
                <c:pt idx="27534">
                  <c:v>2</c:v>
                </c:pt>
                <c:pt idx="27535">
                  <c:v>2</c:v>
                </c:pt>
                <c:pt idx="27536">
                  <c:v>4</c:v>
                </c:pt>
                <c:pt idx="27537">
                  <c:v>1</c:v>
                </c:pt>
                <c:pt idx="27538">
                  <c:v>0</c:v>
                </c:pt>
                <c:pt idx="27539">
                  <c:v>2</c:v>
                </c:pt>
                <c:pt idx="27540">
                  <c:v>1</c:v>
                </c:pt>
                <c:pt idx="27541">
                  <c:v>2</c:v>
                </c:pt>
                <c:pt idx="27542">
                  <c:v>2</c:v>
                </c:pt>
                <c:pt idx="27543">
                  <c:v>0</c:v>
                </c:pt>
                <c:pt idx="27544">
                  <c:v>1</c:v>
                </c:pt>
                <c:pt idx="27545">
                  <c:v>1</c:v>
                </c:pt>
                <c:pt idx="27546">
                  <c:v>0</c:v>
                </c:pt>
                <c:pt idx="27547">
                  <c:v>1</c:v>
                </c:pt>
                <c:pt idx="27548">
                  <c:v>0</c:v>
                </c:pt>
                <c:pt idx="27549">
                  <c:v>0</c:v>
                </c:pt>
                <c:pt idx="27550">
                  <c:v>2</c:v>
                </c:pt>
                <c:pt idx="27551">
                  <c:v>1</c:v>
                </c:pt>
                <c:pt idx="27552">
                  <c:v>3</c:v>
                </c:pt>
                <c:pt idx="27553">
                  <c:v>1</c:v>
                </c:pt>
                <c:pt idx="27554">
                  <c:v>3</c:v>
                </c:pt>
                <c:pt idx="27555">
                  <c:v>6</c:v>
                </c:pt>
                <c:pt idx="27556">
                  <c:v>2</c:v>
                </c:pt>
                <c:pt idx="27557">
                  <c:v>0</c:v>
                </c:pt>
                <c:pt idx="27558">
                  <c:v>0</c:v>
                </c:pt>
                <c:pt idx="27559">
                  <c:v>0</c:v>
                </c:pt>
                <c:pt idx="27560">
                  <c:v>4</c:v>
                </c:pt>
                <c:pt idx="27561">
                  <c:v>7</c:v>
                </c:pt>
                <c:pt idx="27562">
                  <c:v>0</c:v>
                </c:pt>
                <c:pt idx="27563">
                  <c:v>0</c:v>
                </c:pt>
                <c:pt idx="27564">
                  <c:v>1</c:v>
                </c:pt>
                <c:pt idx="27565">
                  <c:v>0</c:v>
                </c:pt>
                <c:pt idx="27566">
                  <c:v>0</c:v>
                </c:pt>
                <c:pt idx="27567">
                  <c:v>0</c:v>
                </c:pt>
                <c:pt idx="27568">
                  <c:v>1</c:v>
                </c:pt>
                <c:pt idx="27569">
                  <c:v>0</c:v>
                </c:pt>
                <c:pt idx="27570">
                  <c:v>0</c:v>
                </c:pt>
                <c:pt idx="27571">
                  <c:v>6</c:v>
                </c:pt>
                <c:pt idx="27572">
                  <c:v>0</c:v>
                </c:pt>
                <c:pt idx="27573">
                  <c:v>1</c:v>
                </c:pt>
                <c:pt idx="27574">
                  <c:v>1</c:v>
                </c:pt>
                <c:pt idx="27575">
                  <c:v>1</c:v>
                </c:pt>
                <c:pt idx="27576">
                  <c:v>8</c:v>
                </c:pt>
                <c:pt idx="27577">
                  <c:v>7</c:v>
                </c:pt>
                <c:pt idx="27578">
                  <c:v>0</c:v>
                </c:pt>
                <c:pt idx="27579">
                  <c:v>1</c:v>
                </c:pt>
                <c:pt idx="27580">
                  <c:v>0</c:v>
                </c:pt>
                <c:pt idx="27581">
                  <c:v>3</c:v>
                </c:pt>
                <c:pt idx="27582">
                  <c:v>0</c:v>
                </c:pt>
                <c:pt idx="27583">
                  <c:v>0</c:v>
                </c:pt>
                <c:pt idx="27584">
                  <c:v>0</c:v>
                </c:pt>
                <c:pt idx="27585">
                  <c:v>0</c:v>
                </c:pt>
                <c:pt idx="27586">
                  <c:v>2</c:v>
                </c:pt>
                <c:pt idx="27587">
                  <c:v>0</c:v>
                </c:pt>
                <c:pt idx="27588">
                  <c:v>0</c:v>
                </c:pt>
                <c:pt idx="27589">
                  <c:v>0</c:v>
                </c:pt>
                <c:pt idx="27590">
                  <c:v>0</c:v>
                </c:pt>
                <c:pt idx="27591">
                  <c:v>6</c:v>
                </c:pt>
                <c:pt idx="27592">
                  <c:v>3</c:v>
                </c:pt>
                <c:pt idx="27593">
                  <c:v>0</c:v>
                </c:pt>
                <c:pt idx="27594">
                  <c:v>0</c:v>
                </c:pt>
                <c:pt idx="27595">
                  <c:v>0</c:v>
                </c:pt>
                <c:pt idx="27596">
                  <c:v>2</c:v>
                </c:pt>
                <c:pt idx="27597">
                  <c:v>7</c:v>
                </c:pt>
                <c:pt idx="27598">
                  <c:v>0</c:v>
                </c:pt>
                <c:pt idx="27599">
                  <c:v>3</c:v>
                </c:pt>
                <c:pt idx="27600">
                  <c:v>2</c:v>
                </c:pt>
                <c:pt idx="27601">
                  <c:v>2</c:v>
                </c:pt>
                <c:pt idx="27602">
                  <c:v>10</c:v>
                </c:pt>
                <c:pt idx="27603">
                  <c:v>7</c:v>
                </c:pt>
                <c:pt idx="27604">
                  <c:v>0</c:v>
                </c:pt>
                <c:pt idx="27605">
                  <c:v>0</c:v>
                </c:pt>
                <c:pt idx="27606">
                  <c:v>0</c:v>
                </c:pt>
                <c:pt idx="27607">
                  <c:v>0</c:v>
                </c:pt>
                <c:pt idx="27608">
                  <c:v>0</c:v>
                </c:pt>
                <c:pt idx="27609">
                  <c:v>5</c:v>
                </c:pt>
                <c:pt idx="27610">
                  <c:v>7</c:v>
                </c:pt>
                <c:pt idx="27611">
                  <c:v>8</c:v>
                </c:pt>
                <c:pt idx="27612">
                  <c:v>0</c:v>
                </c:pt>
                <c:pt idx="27613">
                  <c:v>1</c:v>
                </c:pt>
                <c:pt idx="27614">
                  <c:v>0</c:v>
                </c:pt>
                <c:pt idx="27615">
                  <c:v>0</c:v>
                </c:pt>
                <c:pt idx="27616">
                  <c:v>4</c:v>
                </c:pt>
                <c:pt idx="27617">
                  <c:v>0</c:v>
                </c:pt>
                <c:pt idx="27618">
                  <c:v>0</c:v>
                </c:pt>
                <c:pt idx="27619">
                  <c:v>5</c:v>
                </c:pt>
                <c:pt idx="27620">
                  <c:v>5</c:v>
                </c:pt>
                <c:pt idx="27621">
                  <c:v>4</c:v>
                </c:pt>
                <c:pt idx="27622">
                  <c:v>7</c:v>
                </c:pt>
                <c:pt idx="27623">
                  <c:v>4</c:v>
                </c:pt>
                <c:pt idx="27624">
                  <c:v>2</c:v>
                </c:pt>
                <c:pt idx="27625">
                  <c:v>1</c:v>
                </c:pt>
                <c:pt idx="27626">
                  <c:v>4</c:v>
                </c:pt>
                <c:pt idx="27627">
                  <c:v>2</c:v>
                </c:pt>
                <c:pt idx="27628">
                  <c:v>2</c:v>
                </c:pt>
                <c:pt idx="27629">
                  <c:v>4</c:v>
                </c:pt>
                <c:pt idx="27630">
                  <c:v>5</c:v>
                </c:pt>
                <c:pt idx="27631">
                  <c:v>3</c:v>
                </c:pt>
                <c:pt idx="27632">
                  <c:v>5</c:v>
                </c:pt>
                <c:pt idx="27633">
                  <c:v>6</c:v>
                </c:pt>
                <c:pt idx="27634">
                  <c:v>3</c:v>
                </c:pt>
                <c:pt idx="27635">
                  <c:v>2</c:v>
                </c:pt>
                <c:pt idx="27636">
                  <c:v>4</c:v>
                </c:pt>
                <c:pt idx="27637">
                  <c:v>5</c:v>
                </c:pt>
                <c:pt idx="27638">
                  <c:v>3</c:v>
                </c:pt>
                <c:pt idx="27639">
                  <c:v>1</c:v>
                </c:pt>
                <c:pt idx="27640">
                  <c:v>0</c:v>
                </c:pt>
                <c:pt idx="27641">
                  <c:v>3</c:v>
                </c:pt>
                <c:pt idx="27642">
                  <c:v>4</c:v>
                </c:pt>
                <c:pt idx="27643">
                  <c:v>0</c:v>
                </c:pt>
                <c:pt idx="27644">
                  <c:v>4</c:v>
                </c:pt>
                <c:pt idx="27645">
                  <c:v>2</c:v>
                </c:pt>
                <c:pt idx="27646">
                  <c:v>0</c:v>
                </c:pt>
                <c:pt idx="27647">
                  <c:v>1</c:v>
                </c:pt>
                <c:pt idx="27648">
                  <c:v>1</c:v>
                </c:pt>
                <c:pt idx="27649">
                  <c:v>1</c:v>
                </c:pt>
                <c:pt idx="27650">
                  <c:v>3</c:v>
                </c:pt>
                <c:pt idx="27651">
                  <c:v>2</c:v>
                </c:pt>
                <c:pt idx="27652">
                  <c:v>1</c:v>
                </c:pt>
                <c:pt idx="27653">
                  <c:v>5</c:v>
                </c:pt>
                <c:pt idx="27654">
                  <c:v>2</c:v>
                </c:pt>
                <c:pt idx="27655">
                  <c:v>1</c:v>
                </c:pt>
                <c:pt idx="27656">
                  <c:v>1</c:v>
                </c:pt>
                <c:pt idx="27657">
                  <c:v>1</c:v>
                </c:pt>
                <c:pt idx="27658">
                  <c:v>0</c:v>
                </c:pt>
                <c:pt idx="27659">
                  <c:v>0</c:v>
                </c:pt>
                <c:pt idx="27660">
                  <c:v>1</c:v>
                </c:pt>
                <c:pt idx="27661">
                  <c:v>0</c:v>
                </c:pt>
                <c:pt idx="27662">
                  <c:v>0</c:v>
                </c:pt>
                <c:pt idx="27663">
                  <c:v>0</c:v>
                </c:pt>
                <c:pt idx="27664">
                  <c:v>0</c:v>
                </c:pt>
                <c:pt idx="27665">
                  <c:v>0</c:v>
                </c:pt>
                <c:pt idx="27666">
                  <c:v>0</c:v>
                </c:pt>
                <c:pt idx="27667">
                  <c:v>0</c:v>
                </c:pt>
                <c:pt idx="27668">
                  <c:v>0</c:v>
                </c:pt>
                <c:pt idx="27669">
                  <c:v>0</c:v>
                </c:pt>
                <c:pt idx="27670">
                  <c:v>4</c:v>
                </c:pt>
                <c:pt idx="27671">
                  <c:v>0</c:v>
                </c:pt>
                <c:pt idx="27672">
                  <c:v>0</c:v>
                </c:pt>
                <c:pt idx="27673">
                  <c:v>0</c:v>
                </c:pt>
                <c:pt idx="27674">
                  <c:v>0</c:v>
                </c:pt>
                <c:pt idx="27675">
                  <c:v>0</c:v>
                </c:pt>
                <c:pt idx="27676">
                  <c:v>1</c:v>
                </c:pt>
                <c:pt idx="27677">
                  <c:v>0</c:v>
                </c:pt>
                <c:pt idx="27678">
                  <c:v>0</c:v>
                </c:pt>
                <c:pt idx="27679">
                  <c:v>3</c:v>
                </c:pt>
                <c:pt idx="27680">
                  <c:v>0</c:v>
                </c:pt>
                <c:pt idx="27681">
                  <c:v>6</c:v>
                </c:pt>
                <c:pt idx="27682">
                  <c:v>0</c:v>
                </c:pt>
                <c:pt idx="27683">
                  <c:v>0</c:v>
                </c:pt>
                <c:pt idx="27684">
                  <c:v>0</c:v>
                </c:pt>
                <c:pt idx="27685">
                  <c:v>0</c:v>
                </c:pt>
                <c:pt idx="27686">
                  <c:v>0</c:v>
                </c:pt>
                <c:pt idx="27687">
                  <c:v>0</c:v>
                </c:pt>
                <c:pt idx="27688">
                  <c:v>0</c:v>
                </c:pt>
                <c:pt idx="27689">
                  <c:v>0</c:v>
                </c:pt>
                <c:pt idx="27690">
                  <c:v>0</c:v>
                </c:pt>
                <c:pt idx="27691">
                  <c:v>0</c:v>
                </c:pt>
                <c:pt idx="27692">
                  <c:v>0</c:v>
                </c:pt>
                <c:pt idx="27693">
                  <c:v>1</c:v>
                </c:pt>
                <c:pt idx="27694">
                  <c:v>0</c:v>
                </c:pt>
                <c:pt idx="27695">
                  <c:v>1</c:v>
                </c:pt>
                <c:pt idx="27696">
                  <c:v>0</c:v>
                </c:pt>
                <c:pt idx="27697">
                  <c:v>0</c:v>
                </c:pt>
                <c:pt idx="27698">
                  <c:v>0</c:v>
                </c:pt>
                <c:pt idx="27699">
                  <c:v>0</c:v>
                </c:pt>
                <c:pt idx="27700">
                  <c:v>0</c:v>
                </c:pt>
                <c:pt idx="27701">
                  <c:v>0</c:v>
                </c:pt>
                <c:pt idx="27702">
                  <c:v>3</c:v>
                </c:pt>
                <c:pt idx="27703">
                  <c:v>0</c:v>
                </c:pt>
                <c:pt idx="27704">
                  <c:v>1</c:v>
                </c:pt>
                <c:pt idx="27705">
                  <c:v>5</c:v>
                </c:pt>
                <c:pt idx="27706">
                  <c:v>3</c:v>
                </c:pt>
                <c:pt idx="27707">
                  <c:v>0</c:v>
                </c:pt>
                <c:pt idx="27708">
                  <c:v>1</c:v>
                </c:pt>
                <c:pt idx="27709">
                  <c:v>5</c:v>
                </c:pt>
                <c:pt idx="27710">
                  <c:v>0</c:v>
                </c:pt>
                <c:pt idx="27711">
                  <c:v>0</c:v>
                </c:pt>
                <c:pt idx="27712">
                  <c:v>0</c:v>
                </c:pt>
                <c:pt idx="27713">
                  <c:v>8</c:v>
                </c:pt>
                <c:pt idx="27714">
                  <c:v>2</c:v>
                </c:pt>
                <c:pt idx="27715">
                  <c:v>2</c:v>
                </c:pt>
                <c:pt idx="27716">
                  <c:v>3</c:v>
                </c:pt>
                <c:pt idx="27717">
                  <c:v>5</c:v>
                </c:pt>
                <c:pt idx="27718">
                  <c:v>1</c:v>
                </c:pt>
                <c:pt idx="27719">
                  <c:v>5</c:v>
                </c:pt>
                <c:pt idx="27720">
                  <c:v>0</c:v>
                </c:pt>
                <c:pt idx="27721">
                  <c:v>2</c:v>
                </c:pt>
                <c:pt idx="27722">
                  <c:v>2</c:v>
                </c:pt>
                <c:pt idx="27723">
                  <c:v>0</c:v>
                </c:pt>
                <c:pt idx="27724">
                  <c:v>2</c:v>
                </c:pt>
                <c:pt idx="27725">
                  <c:v>3</c:v>
                </c:pt>
                <c:pt idx="27726">
                  <c:v>0</c:v>
                </c:pt>
                <c:pt idx="27727">
                  <c:v>0</c:v>
                </c:pt>
                <c:pt idx="27728">
                  <c:v>3</c:v>
                </c:pt>
                <c:pt idx="27729">
                  <c:v>0</c:v>
                </c:pt>
                <c:pt idx="27730">
                  <c:v>0</c:v>
                </c:pt>
                <c:pt idx="27731">
                  <c:v>2</c:v>
                </c:pt>
                <c:pt idx="27732">
                  <c:v>1</c:v>
                </c:pt>
                <c:pt idx="27733">
                  <c:v>0</c:v>
                </c:pt>
                <c:pt idx="27734">
                  <c:v>8</c:v>
                </c:pt>
                <c:pt idx="27735">
                  <c:v>5</c:v>
                </c:pt>
                <c:pt idx="27736">
                  <c:v>0</c:v>
                </c:pt>
                <c:pt idx="27737">
                  <c:v>0</c:v>
                </c:pt>
                <c:pt idx="27738">
                  <c:v>0</c:v>
                </c:pt>
                <c:pt idx="27739">
                  <c:v>0</c:v>
                </c:pt>
                <c:pt idx="27740">
                  <c:v>2</c:v>
                </c:pt>
                <c:pt idx="27741">
                  <c:v>0</c:v>
                </c:pt>
                <c:pt idx="27742">
                  <c:v>2</c:v>
                </c:pt>
                <c:pt idx="27743">
                  <c:v>5</c:v>
                </c:pt>
                <c:pt idx="27744">
                  <c:v>18</c:v>
                </c:pt>
                <c:pt idx="27745">
                  <c:v>2</c:v>
                </c:pt>
                <c:pt idx="27746">
                  <c:v>4</c:v>
                </c:pt>
                <c:pt idx="27747">
                  <c:v>1</c:v>
                </c:pt>
                <c:pt idx="27748">
                  <c:v>0</c:v>
                </c:pt>
                <c:pt idx="27749">
                  <c:v>0</c:v>
                </c:pt>
                <c:pt idx="27750">
                  <c:v>0</c:v>
                </c:pt>
                <c:pt idx="27751">
                  <c:v>0</c:v>
                </c:pt>
                <c:pt idx="27752">
                  <c:v>0</c:v>
                </c:pt>
                <c:pt idx="27753">
                  <c:v>1</c:v>
                </c:pt>
                <c:pt idx="27754">
                  <c:v>0</c:v>
                </c:pt>
                <c:pt idx="27755">
                  <c:v>0</c:v>
                </c:pt>
                <c:pt idx="27756">
                  <c:v>0</c:v>
                </c:pt>
                <c:pt idx="27757">
                  <c:v>0</c:v>
                </c:pt>
                <c:pt idx="27758">
                  <c:v>0</c:v>
                </c:pt>
                <c:pt idx="27759">
                  <c:v>1</c:v>
                </c:pt>
                <c:pt idx="27760">
                  <c:v>0</c:v>
                </c:pt>
                <c:pt idx="27761">
                  <c:v>1</c:v>
                </c:pt>
                <c:pt idx="27762">
                  <c:v>0</c:v>
                </c:pt>
                <c:pt idx="27763">
                  <c:v>0</c:v>
                </c:pt>
                <c:pt idx="27764">
                  <c:v>1</c:v>
                </c:pt>
                <c:pt idx="27765">
                  <c:v>5</c:v>
                </c:pt>
                <c:pt idx="27766">
                  <c:v>0</c:v>
                </c:pt>
                <c:pt idx="27767">
                  <c:v>0</c:v>
                </c:pt>
                <c:pt idx="27768">
                  <c:v>0</c:v>
                </c:pt>
                <c:pt idx="27769">
                  <c:v>0</c:v>
                </c:pt>
                <c:pt idx="27770">
                  <c:v>1</c:v>
                </c:pt>
                <c:pt idx="27771">
                  <c:v>0</c:v>
                </c:pt>
                <c:pt idx="27772">
                  <c:v>0</c:v>
                </c:pt>
                <c:pt idx="27773">
                  <c:v>0</c:v>
                </c:pt>
                <c:pt idx="27774">
                  <c:v>0</c:v>
                </c:pt>
                <c:pt idx="27775">
                  <c:v>0</c:v>
                </c:pt>
                <c:pt idx="27776">
                  <c:v>0</c:v>
                </c:pt>
                <c:pt idx="27777">
                  <c:v>0</c:v>
                </c:pt>
                <c:pt idx="27778">
                  <c:v>0</c:v>
                </c:pt>
                <c:pt idx="27779">
                  <c:v>0</c:v>
                </c:pt>
                <c:pt idx="27780">
                  <c:v>0</c:v>
                </c:pt>
                <c:pt idx="27781">
                  <c:v>0</c:v>
                </c:pt>
                <c:pt idx="27782">
                  <c:v>0</c:v>
                </c:pt>
                <c:pt idx="27783">
                  <c:v>0</c:v>
                </c:pt>
                <c:pt idx="27784">
                  <c:v>0</c:v>
                </c:pt>
                <c:pt idx="27785">
                  <c:v>0</c:v>
                </c:pt>
                <c:pt idx="27786">
                  <c:v>0</c:v>
                </c:pt>
                <c:pt idx="27787">
                  <c:v>2</c:v>
                </c:pt>
                <c:pt idx="27788">
                  <c:v>0</c:v>
                </c:pt>
                <c:pt idx="27789">
                  <c:v>2</c:v>
                </c:pt>
                <c:pt idx="27790">
                  <c:v>3</c:v>
                </c:pt>
                <c:pt idx="27791">
                  <c:v>0</c:v>
                </c:pt>
                <c:pt idx="27792">
                  <c:v>1</c:v>
                </c:pt>
                <c:pt idx="27793">
                  <c:v>5</c:v>
                </c:pt>
                <c:pt idx="27794">
                  <c:v>0</c:v>
                </c:pt>
                <c:pt idx="27795">
                  <c:v>3</c:v>
                </c:pt>
                <c:pt idx="27796">
                  <c:v>1</c:v>
                </c:pt>
                <c:pt idx="27797">
                  <c:v>1</c:v>
                </c:pt>
                <c:pt idx="27798">
                  <c:v>0</c:v>
                </c:pt>
                <c:pt idx="27799">
                  <c:v>0</c:v>
                </c:pt>
                <c:pt idx="27800">
                  <c:v>0</c:v>
                </c:pt>
                <c:pt idx="27801">
                  <c:v>0</c:v>
                </c:pt>
                <c:pt idx="27802">
                  <c:v>0</c:v>
                </c:pt>
                <c:pt idx="27803">
                  <c:v>0</c:v>
                </c:pt>
                <c:pt idx="27804">
                  <c:v>0</c:v>
                </c:pt>
                <c:pt idx="27805">
                  <c:v>0</c:v>
                </c:pt>
                <c:pt idx="27806">
                  <c:v>0</c:v>
                </c:pt>
                <c:pt idx="27807">
                  <c:v>1</c:v>
                </c:pt>
                <c:pt idx="27808">
                  <c:v>0</c:v>
                </c:pt>
                <c:pt idx="27809">
                  <c:v>0</c:v>
                </c:pt>
                <c:pt idx="27810">
                  <c:v>0</c:v>
                </c:pt>
                <c:pt idx="27811">
                  <c:v>0</c:v>
                </c:pt>
                <c:pt idx="27812">
                  <c:v>0</c:v>
                </c:pt>
                <c:pt idx="27813">
                  <c:v>0</c:v>
                </c:pt>
                <c:pt idx="27814">
                  <c:v>0</c:v>
                </c:pt>
                <c:pt idx="27815">
                  <c:v>0</c:v>
                </c:pt>
                <c:pt idx="27816">
                  <c:v>0</c:v>
                </c:pt>
                <c:pt idx="27817">
                  <c:v>0</c:v>
                </c:pt>
                <c:pt idx="27818">
                  <c:v>0</c:v>
                </c:pt>
                <c:pt idx="27819">
                  <c:v>0</c:v>
                </c:pt>
                <c:pt idx="27820">
                  <c:v>0</c:v>
                </c:pt>
                <c:pt idx="27821">
                  <c:v>0</c:v>
                </c:pt>
                <c:pt idx="27822">
                  <c:v>0</c:v>
                </c:pt>
                <c:pt idx="27823">
                  <c:v>0</c:v>
                </c:pt>
                <c:pt idx="27824">
                  <c:v>0</c:v>
                </c:pt>
                <c:pt idx="27825">
                  <c:v>0</c:v>
                </c:pt>
                <c:pt idx="27826">
                  <c:v>0</c:v>
                </c:pt>
                <c:pt idx="27827">
                  <c:v>0</c:v>
                </c:pt>
                <c:pt idx="27828">
                  <c:v>0</c:v>
                </c:pt>
                <c:pt idx="27829">
                  <c:v>0</c:v>
                </c:pt>
                <c:pt idx="27830">
                  <c:v>0</c:v>
                </c:pt>
                <c:pt idx="27831">
                  <c:v>0</c:v>
                </c:pt>
                <c:pt idx="27832">
                  <c:v>5</c:v>
                </c:pt>
                <c:pt idx="27833">
                  <c:v>7</c:v>
                </c:pt>
                <c:pt idx="27834">
                  <c:v>1</c:v>
                </c:pt>
                <c:pt idx="27835">
                  <c:v>0</c:v>
                </c:pt>
                <c:pt idx="27836">
                  <c:v>5</c:v>
                </c:pt>
                <c:pt idx="27837">
                  <c:v>5</c:v>
                </c:pt>
                <c:pt idx="27838">
                  <c:v>0</c:v>
                </c:pt>
                <c:pt idx="27839">
                  <c:v>0</c:v>
                </c:pt>
                <c:pt idx="27840">
                  <c:v>0</c:v>
                </c:pt>
                <c:pt idx="27841">
                  <c:v>3</c:v>
                </c:pt>
                <c:pt idx="27842">
                  <c:v>6</c:v>
                </c:pt>
                <c:pt idx="27843">
                  <c:v>0</c:v>
                </c:pt>
                <c:pt idx="27844">
                  <c:v>3</c:v>
                </c:pt>
                <c:pt idx="27845">
                  <c:v>2</c:v>
                </c:pt>
                <c:pt idx="27846">
                  <c:v>0</c:v>
                </c:pt>
                <c:pt idx="27847">
                  <c:v>2</c:v>
                </c:pt>
                <c:pt idx="27848">
                  <c:v>0</c:v>
                </c:pt>
                <c:pt idx="27849">
                  <c:v>0</c:v>
                </c:pt>
                <c:pt idx="27850">
                  <c:v>8</c:v>
                </c:pt>
                <c:pt idx="27851">
                  <c:v>0</c:v>
                </c:pt>
                <c:pt idx="27852">
                  <c:v>10</c:v>
                </c:pt>
                <c:pt idx="27853">
                  <c:v>0</c:v>
                </c:pt>
                <c:pt idx="27854">
                  <c:v>2</c:v>
                </c:pt>
                <c:pt idx="27855">
                  <c:v>0</c:v>
                </c:pt>
                <c:pt idx="27856">
                  <c:v>0</c:v>
                </c:pt>
                <c:pt idx="27857">
                  <c:v>0</c:v>
                </c:pt>
                <c:pt idx="27858">
                  <c:v>0</c:v>
                </c:pt>
                <c:pt idx="27859">
                  <c:v>0</c:v>
                </c:pt>
                <c:pt idx="27860">
                  <c:v>0</c:v>
                </c:pt>
                <c:pt idx="27861">
                  <c:v>0</c:v>
                </c:pt>
                <c:pt idx="27862">
                  <c:v>2</c:v>
                </c:pt>
                <c:pt idx="27863">
                  <c:v>0</c:v>
                </c:pt>
                <c:pt idx="27864">
                  <c:v>4</c:v>
                </c:pt>
                <c:pt idx="27865">
                  <c:v>4</c:v>
                </c:pt>
                <c:pt idx="27866">
                  <c:v>0</c:v>
                </c:pt>
                <c:pt idx="27867">
                  <c:v>0</c:v>
                </c:pt>
                <c:pt idx="27868">
                  <c:v>0</c:v>
                </c:pt>
                <c:pt idx="27869">
                  <c:v>0</c:v>
                </c:pt>
                <c:pt idx="27870">
                  <c:v>0</c:v>
                </c:pt>
                <c:pt idx="27871">
                  <c:v>2</c:v>
                </c:pt>
                <c:pt idx="27872">
                  <c:v>9</c:v>
                </c:pt>
                <c:pt idx="27873">
                  <c:v>4</c:v>
                </c:pt>
                <c:pt idx="27874">
                  <c:v>0</c:v>
                </c:pt>
                <c:pt idx="27875">
                  <c:v>0</c:v>
                </c:pt>
                <c:pt idx="27876">
                  <c:v>0</c:v>
                </c:pt>
                <c:pt idx="27877">
                  <c:v>0</c:v>
                </c:pt>
                <c:pt idx="27878">
                  <c:v>4</c:v>
                </c:pt>
                <c:pt idx="27879">
                  <c:v>0</c:v>
                </c:pt>
                <c:pt idx="27880">
                  <c:v>0</c:v>
                </c:pt>
                <c:pt idx="27881">
                  <c:v>10</c:v>
                </c:pt>
                <c:pt idx="27882">
                  <c:v>1</c:v>
                </c:pt>
                <c:pt idx="27883">
                  <c:v>1</c:v>
                </c:pt>
                <c:pt idx="27884">
                  <c:v>0</c:v>
                </c:pt>
                <c:pt idx="27885">
                  <c:v>4</c:v>
                </c:pt>
                <c:pt idx="27886">
                  <c:v>15</c:v>
                </c:pt>
                <c:pt idx="27887">
                  <c:v>0</c:v>
                </c:pt>
                <c:pt idx="27888">
                  <c:v>4</c:v>
                </c:pt>
                <c:pt idx="27889">
                  <c:v>1</c:v>
                </c:pt>
                <c:pt idx="27890">
                  <c:v>0</c:v>
                </c:pt>
                <c:pt idx="27891">
                  <c:v>0</c:v>
                </c:pt>
                <c:pt idx="27892">
                  <c:v>0</c:v>
                </c:pt>
                <c:pt idx="27893">
                  <c:v>8</c:v>
                </c:pt>
                <c:pt idx="27894">
                  <c:v>6</c:v>
                </c:pt>
                <c:pt idx="27895">
                  <c:v>0</c:v>
                </c:pt>
                <c:pt idx="27896">
                  <c:v>0</c:v>
                </c:pt>
                <c:pt idx="27897">
                  <c:v>2</c:v>
                </c:pt>
                <c:pt idx="27898">
                  <c:v>0</c:v>
                </c:pt>
                <c:pt idx="27899">
                  <c:v>0</c:v>
                </c:pt>
                <c:pt idx="27900">
                  <c:v>1</c:v>
                </c:pt>
                <c:pt idx="27901">
                  <c:v>2</c:v>
                </c:pt>
                <c:pt idx="27902">
                  <c:v>0</c:v>
                </c:pt>
                <c:pt idx="27903">
                  <c:v>0</c:v>
                </c:pt>
                <c:pt idx="27904">
                  <c:v>0</c:v>
                </c:pt>
                <c:pt idx="27905">
                  <c:v>1</c:v>
                </c:pt>
                <c:pt idx="27906">
                  <c:v>0</c:v>
                </c:pt>
                <c:pt idx="27907">
                  <c:v>0</c:v>
                </c:pt>
                <c:pt idx="27908">
                  <c:v>0</c:v>
                </c:pt>
                <c:pt idx="27909">
                  <c:v>0</c:v>
                </c:pt>
                <c:pt idx="27910">
                  <c:v>0</c:v>
                </c:pt>
                <c:pt idx="27911">
                  <c:v>2</c:v>
                </c:pt>
                <c:pt idx="27912">
                  <c:v>0</c:v>
                </c:pt>
                <c:pt idx="27913">
                  <c:v>5</c:v>
                </c:pt>
                <c:pt idx="27914">
                  <c:v>1</c:v>
                </c:pt>
                <c:pt idx="27915">
                  <c:v>6</c:v>
                </c:pt>
                <c:pt idx="27916">
                  <c:v>7</c:v>
                </c:pt>
                <c:pt idx="27917">
                  <c:v>5</c:v>
                </c:pt>
                <c:pt idx="27918">
                  <c:v>4</c:v>
                </c:pt>
                <c:pt idx="27919">
                  <c:v>10</c:v>
                </c:pt>
                <c:pt idx="27920">
                  <c:v>10</c:v>
                </c:pt>
                <c:pt idx="27921">
                  <c:v>3</c:v>
                </c:pt>
                <c:pt idx="27922">
                  <c:v>6</c:v>
                </c:pt>
                <c:pt idx="27923">
                  <c:v>1</c:v>
                </c:pt>
                <c:pt idx="27924">
                  <c:v>4</c:v>
                </c:pt>
                <c:pt idx="27925">
                  <c:v>9</c:v>
                </c:pt>
                <c:pt idx="27926">
                  <c:v>2</c:v>
                </c:pt>
                <c:pt idx="27927">
                  <c:v>4</c:v>
                </c:pt>
                <c:pt idx="27928">
                  <c:v>2</c:v>
                </c:pt>
                <c:pt idx="27929">
                  <c:v>7</c:v>
                </c:pt>
                <c:pt idx="27930">
                  <c:v>1</c:v>
                </c:pt>
                <c:pt idx="27931">
                  <c:v>7</c:v>
                </c:pt>
                <c:pt idx="27932">
                  <c:v>3</c:v>
                </c:pt>
                <c:pt idx="27933">
                  <c:v>1</c:v>
                </c:pt>
                <c:pt idx="27934">
                  <c:v>1</c:v>
                </c:pt>
                <c:pt idx="27935">
                  <c:v>0</c:v>
                </c:pt>
                <c:pt idx="27936">
                  <c:v>0</c:v>
                </c:pt>
                <c:pt idx="27937">
                  <c:v>3</c:v>
                </c:pt>
                <c:pt idx="27938">
                  <c:v>1</c:v>
                </c:pt>
                <c:pt idx="27939">
                  <c:v>3</c:v>
                </c:pt>
                <c:pt idx="27940">
                  <c:v>5</c:v>
                </c:pt>
                <c:pt idx="27941">
                  <c:v>1</c:v>
                </c:pt>
                <c:pt idx="27942">
                  <c:v>4</c:v>
                </c:pt>
                <c:pt idx="27943">
                  <c:v>1</c:v>
                </c:pt>
                <c:pt idx="27944">
                  <c:v>7</c:v>
                </c:pt>
                <c:pt idx="27945">
                  <c:v>3</c:v>
                </c:pt>
                <c:pt idx="27946">
                  <c:v>1</c:v>
                </c:pt>
                <c:pt idx="27947">
                  <c:v>4</c:v>
                </c:pt>
                <c:pt idx="27948">
                  <c:v>1</c:v>
                </c:pt>
                <c:pt idx="27949">
                  <c:v>0</c:v>
                </c:pt>
                <c:pt idx="27950">
                  <c:v>0</c:v>
                </c:pt>
                <c:pt idx="27951">
                  <c:v>0</c:v>
                </c:pt>
                <c:pt idx="27952">
                  <c:v>0</c:v>
                </c:pt>
                <c:pt idx="27953">
                  <c:v>0</c:v>
                </c:pt>
                <c:pt idx="27954">
                  <c:v>0</c:v>
                </c:pt>
                <c:pt idx="27955">
                  <c:v>0</c:v>
                </c:pt>
                <c:pt idx="27956">
                  <c:v>4</c:v>
                </c:pt>
                <c:pt idx="27957">
                  <c:v>8</c:v>
                </c:pt>
                <c:pt idx="27958">
                  <c:v>0</c:v>
                </c:pt>
                <c:pt idx="27959">
                  <c:v>0</c:v>
                </c:pt>
                <c:pt idx="27960">
                  <c:v>0</c:v>
                </c:pt>
                <c:pt idx="27961">
                  <c:v>0</c:v>
                </c:pt>
                <c:pt idx="27962">
                  <c:v>0</c:v>
                </c:pt>
                <c:pt idx="27963">
                  <c:v>1</c:v>
                </c:pt>
                <c:pt idx="27964">
                  <c:v>0</c:v>
                </c:pt>
                <c:pt idx="27965">
                  <c:v>0</c:v>
                </c:pt>
                <c:pt idx="27966">
                  <c:v>1</c:v>
                </c:pt>
                <c:pt idx="27967">
                  <c:v>1</c:v>
                </c:pt>
                <c:pt idx="27968">
                  <c:v>0</c:v>
                </c:pt>
                <c:pt idx="27969">
                  <c:v>0</c:v>
                </c:pt>
                <c:pt idx="27970">
                  <c:v>0</c:v>
                </c:pt>
                <c:pt idx="27971">
                  <c:v>0</c:v>
                </c:pt>
                <c:pt idx="27972">
                  <c:v>0</c:v>
                </c:pt>
                <c:pt idx="27973">
                  <c:v>0</c:v>
                </c:pt>
                <c:pt idx="27974">
                  <c:v>0</c:v>
                </c:pt>
                <c:pt idx="27975">
                  <c:v>0</c:v>
                </c:pt>
                <c:pt idx="27976">
                  <c:v>0</c:v>
                </c:pt>
                <c:pt idx="27977">
                  <c:v>1</c:v>
                </c:pt>
                <c:pt idx="27978">
                  <c:v>2</c:v>
                </c:pt>
                <c:pt idx="27979">
                  <c:v>1</c:v>
                </c:pt>
                <c:pt idx="27980">
                  <c:v>0</c:v>
                </c:pt>
                <c:pt idx="27981">
                  <c:v>1</c:v>
                </c:pt>
                <c:pt idx="27982">
                  <c:v>0</c:v>
                </c:pt>
                <c:pt idx="27983">
                  <c:v>0</c:v>
                </c:pt>
                <c:pt idx="27984">
                  <c:v>3</c:v>
                </c:pt>
                <c:pt idx="27985">
                  <c:v>0</c:v>
                </c:pt>
                <c:pt idx="27986">
                  <c:v>0</c:v>
                </c:pt>
                <c:pt idx="27987">
                  <c:v>0</c:v>
                </c:pt>
                <c:pt idx="27988">
                  <c:v>0</c:v>
                </c:pt>
                <c:pt idx="27989">
                  <c:v>1</c:v>
                </c:pt>
                <c:pt idx="27990">
                  <c:v>1</c:v>
                </c:pt>
                <c:pt idx="27991">
                  <c:v>0</c:v>
                </c:pt>
                <c:pt idx="27992">
                  <c:v>4</c:v>
                </c:pt>
                <c:pt idx="27993">
                  <c:v>3</c:v>
                </c:pt>
                <c:pt idx="27994">
                  <c:v>1</c:v>
                </c:pt>
                <c:pt idx="27995">
                  <c:v>6</c:v>
                </c:pt>
                <c:pt idx="27996">
                  <c:v>0</c:v>
                </c:pt>
                <c:pt idx="27997">
                  <c:v>3</c:v>
                </c:pt>
                <c:pt idx="27998">
                  <c:v>0</c:v>
                </c:pt>
                <c:pt idx="27999">
                  <c:v>0</c:v>
                </c:pt>
                <c:pt idx="28000">
                  <c:v>0</c:v>
                </c:pt>
                <c:pt idx="28001">
                  <c:v>0</c:v>
                </c:pt>
                <c:pt idx="28002">
                  <c:v>0</c:v>
                </c:pt>
                <c:pt idx="28003">
                  <c:v>0</c:v>
                </c:pt>
                <c:pt idx="28004">
                  <c:v>1</c:v>
                </c:pt>
                <c:pt idx="28005">
                  <c:v>0</c:v>
                </c:pt>
                <c:pt idx="28006">
                  <c:v>0</c:v>
                </c:pt>
                <c:pt idx="28007">
                  <c:v>0</c:v>
                </c:pt>
                <c:pt idx="28008">
                  <c:v>0</c:v>
                </c:pt>
                <c:pt idx="28009">
                  <c:v>0</c:v>
                </c:pt>
                <c:pt idx="28010">
                  <c:v>0</c:v>
                </c:pt>
                <c:pt idx="28011">
                  <c:v>0</c:v>
                </c:pt>
                <c:pt idx="28012">
                  <c:v>0</c:v>
                </c:pt>
                <c:pt idx="28013">
                  <c:v>0</c:v>
                </c:pt>
                <c:pt idx="28014">
                  <c:v>0</c:v>
                </c:pt>
                <c:pt idx="28015">
                  <c:v>0</c:v>
                </c:pt>
                <c:pt idx="28016">
                  <c:v>0</c:v>
                </c:pt>
                <c:pt idx="28017">
                  <c:v>0</c:v>
                </c:pt>
                <c:pt idx="28018">
                  <c:v>0</c:v>
                </c:pt>
                <c:pt idx="28019">
                  <c:v>0</c:v>
                </c:pt>
                <c:pt idx="28020">
                  <c:v>0</c:v>
                </c:pt>
                <c:pt idx="28021">
                  <c:v>0</c:v>
                </c:pt>
                <c:pt idx="28022">
                  <c:v>0</c:v>
                </c:pt>
                <c:pt idx="28023">
                  <c:v>0</c:v>
                </c:pt>
                <c:pt idx="28024">
                  <c:v>0</c:v>
                </c:pt>
                <c:pt idx="28025">
                  <c:v>0</c:v>
                </c:pt>
                <c:pt idx="28026">
                  <c:v>0</c:v>
                </c:pt>
                <c:pt idx="28027">
                  <c:v>0</c:v>
                </c:pt>
                <c:pt idx="28028">
                  <c:v>0</c:v>
                </c:pt>
                <c:pt idx="28029">
                  <c:v>0</c:v>
                </c:pt>
                <c:pt idx="28030">
                  <c:v>0</c:v>
                </c:pt>
                <c:pt idx="28031">
                  <c:v>0</c:v>
                </c:pt>
                <c:pt idx="28032">
                  <c:v>0</c:v>
                </c:pt>
                <c:pt idx="28033">
                  <c:v>0</c:v>
                </c:pt>
                <c:pt idx="28034">
                  <c:v>0</c:v>
                </c:pt>
                <c:pt idx="28035">
                  <c:v>0</c:v>
                </c:pt>
                <c:pt idx="28036">
                  <c:v>3</c:v>
                </c:pt>
                <c:pt idx="28037">
                  <c:v>0</c:v>
                </c:pt>
                <c:pt idx="28038">
                  <c:v>0</c:v>
                </c:pt>
                <c:pt idx="28039">
                  <c:v>0</c:v>
                </c:pt>
                <c:pt idx="28040">
                  <c:v>0</c:v>
                </c:pt>
                <c:pt idx="28041">
                  <c:v>0</c:v>
                </c:pt>
                <c:pt idx="28042">
                  <c:v>0</c:v>
                </c:pt>
                <c:pt idx="28043">
                  <c:v>0</c:v>
                </c:pt>
                <c:pt idx="28044">
                  <c:v>1</c:v>
                </c:pt>
                <c:pt idx="28045">
                  <c:v>1</c:v>
                </c:pt>
                <c:pt idx="28046">
                  <c:v>0</c:v>
                </c:pt>
                <c:pt idx="28047">
                  <c:v>1</c:v>
                </c:pt>
                <c:pt idx="28048">
                  <c:v>0</c:v>
                </c:pt>
                <c:pt idx="28049">
                  <c:v>0</c:v>
                </c:pt>
                <c:pt idx="28050">
                  <c:v>0</c:v>
                </c:pt>
                <c:pt idx="28051">
                  <c:v>0</c:v>
                </c:pt>
                <c:pt idx="28052">
                  <c:v>0</c:v>
                </c:pt>
                <c:pt idx="28053">
                  <c:v>0</c:v>
                </c:pt>
                <c:pt idx="28054">
                  <c:v>0</c:v>
                </c:pt>
                <c:pt idx="28055">
                  <c:v>0</c:v>
                </c:pt>
                <c:pt idx="28056">
                  <c:v>0</c:v>
                </c:pt>
                <c:pt idx="28057">
                  <c:v>0</c:v>
                </c:pt>
                <c:pt idx="28058">
                  <c:v>0</c:v>
                </c:pt>
                <c:pt idx="28059">
                  <c:v>0</c:v>
                </c:pt>
                <c:pt idx="28060">
                  <c:v>2</c:v>
                </c:pt>
                <c:pt idx="28061">
                  <c:v>0</c:v>
                </c:pt>
                <c:pt idx="28062">
                  <c:v>0</c:v>
                </c:pt>
                <c:pt idx="28063">
                  <c:v>0</c:v>
                </c:pt>
                <c:pt idx="28064">
                  <c:v>0</c:v>
                </c:pt>
                <c:pt idx="28065">
                  <c:v>0</c:v>
                </c:pt>
                <c:pt idx="28066">
                  <c:v>1</c:v>
                </c:pt>
                <c:pt idx="28067">
                  <c:v>0</c:v>
                </c:pt>
                <c:pt idx="28068">
                  <c:v>6</c:v>
                </c:pt>
                <c:pt idx="28069">
                  <c:v>0</c:v>
                </c:pt>
                <c:pt idx="28070">
                  <c:v>4</c:v>
                </c:pt>
                <c:pt idx="28071">
                  <c:v>6</c:v>
                </c:pt>
                <c:pt idx="28072">
                  <c:v>1</c:v>
                </c:pt>
                <c:pt idx="28073">
                  <c:v>0</c:v>
                </c:pt>
                <c:pt idx="28074">
                  <c:v>0</c:v>
                </c:pt>
                <c:pt idx="28075">
                  <c:v>0</c:v>
                </c:pt>
                <c:pt idx="28076">
                  <c:v>2</c:v>
                </c:pt>
                <c:pt idx="28077">
                  <c:v>9</c:v>
                </c:pt>
                <c:pt idx="28078">
                  <c:v>0</c:v>
                </c:pt>
                <c:pt idx="28079">
                  <c:v>0</c:v>
                </c:pt>
                <c:pt idx="28080">
                  <c:v>0</c:v>
                </c:pt>
                <c:pt idx="28081">
                  <c:v>0</c:v>
                </c:pt>
                <c:pt idx="28082">
                  <c:v>0</c:v>
                </c:pt>
                <c:pt idx="28083">
                  <c:v>0</c:v>
                </c:pt>
                <c:pt idx="28084">
                  <c:v>0</c:v>
                </c:pt>
                <c:pt idx="28085">
                  <c:v>1</c:v>
                </c:pt>
                <c:pt idx="28086">
                  <c:v>0</c:v>
                </c:pt>
                <c:pt idx="28087">
                  <c:v>0</c:v>
                </c:pt>
                <c:pt idx="28088">
                  <c:v>0</c:v>
                </c:pt>
                <c:pt idx="28089">
                  <c:v>0</c:v>
                </c:pt>
                <c:pt idx="28090">
                  <c:v>0</c:v>
                </c:pt>
                <c:pt idx="28091">
                  <c:v>0</c:v>
                </c:pt>
                <c:pt idx="28092">
                  <c:v>0</c:v>
                </c:pt>
                <c:pt idx="28093">
                  <c:v>11</c:v>
                </c:pt>
                <c:pt idx="28094">
                  <c:v>4</c:v>
                </c:pt>
                <c:pt idx="28095">
                  <c:v>0</c:v>
                </c:pt>
                <c:pt idx="28096">
                  <c:v>0</c:v>
                </c:pt>
                <c:pt idx="28097">
                  <c:v>0</c:v>
                </c:pt>
                <c:pt idx="28098">
                  <c:v>0</c:v>
                </c:pt>
                <c:pt idx="28099">
                  <c:v>1</c:v>
                </c:pt>
                <c:pt idx="28100">
                  <c:v>2</c:v>
                </c:pt>
                <c:pt idx="28101">
                  <c:v>1</c:v>
                </c:pt>
                <c:pt idx="28102">
                  <c:v>0</c:v>
                </c:pt>
                <c:pt idx="28103">
                  <c:v>0</c:v>
                </c:pt>
                <c:pt idx="28104">
                  <c:v>0</c:v>
                </c:pt>
                <c:pt idx="28105">
                  <c:v>0</c:v>
                </c:pt>
                <c:pt idx="28106">
                  <c:v>6</c:v>
                </c:pt>
                <c:pt idx="28107">
                  <c:v>0</c:v>
                </c:pt>
                <c:pt idx="28108">
                  <c:v>0</c:v>
                </c:pt>
                <c:pt idx="28109">
                  <c:v>1</c:v>
                </c:pt>
                <c:pt idx="28110">
                  <c:v>0</c:v>
                </c:pt>
                <c:pt idx="28111">
                  <c:v>0</c:v>
                </c:pt>
                <c:pt idx="28112">
                  <c:v>7</c:v>
                </c:pt>
                <c:pt idx="28113">
                  <c:v>0</c:v>
                </c:pt>
                <c:pt idx="28114">
                  <c:v>0</c:v>
                </c:pt>
                <c:pt idx="28115">
                  <c:v>0</c:v>
                </c:pt>
                <c:pt idx="28116">
                  <c:v>0</c:v>
                </c:pt>
                <c:pt idx="28117">
                  <c:v>3</c:v>
                </c:pt>
                <c:pt idx="28118">
                  <c:v>1</c:v>
                </c:pt>
                <c:pt idx="28119">
                  <c:v>0</c:v>
                </c:pt>
                <c:pt idx="28120">
                  <c:v>0</c:v>
                </c:pt>
                <c:pt idx="28121">
                  <c:v>0</c:v>
                </c:pt>
                <c:pt idx="28122">
                  <c:v>0</c:v>
                </c:pt>
                <c:pt idx="28123">
                  <c:v>0</c:v>
                </c:pt>
                <c:pt idx="28124">
                  <c:v>0</c:v>
                </c:pt>
                <c:pt idx="28125">
                  <c:v>0</c:v>
                </c:pt>
                <c:pt idx="28126">
                  <c:v>0</c:v>
                </c:pt>
                <c:pt idx="28127">
                  <c:v>0</c:v>
                </c:pt>
                <c:pt idx="28128">
                  <c:v>1</c:v>
                </c:pt>
                <c:pt idx="28129">
                  <c:v>0</c:v>
                </c:pt>
                <c:pt idx="28130">
                  <c:v>0</c:v>
                </c:pt>
                <c:pt idx="28131">
                  <c:v>2</c:v>
                </c:pt>
                <c:pt idx="28132">
                  <c:v>2</c:v>
                </c:pt>
                <c:pt idx="28133">
                  <c:v>0</c:v>
                </c:pt>
                <c:pt idx="28134">
                  <c:v>0</c:v>
                </c:pt>
                <c:pt idx="28135">
                  <c:v>1</c:v>
                </c:pt>
                <c:pt idx="28136">
                  <c:v>4</c:v>
                </c:pt>
                <c:pt idx="28137">
                  <c:v>0</c:v>
                </c:pt>
                <c:pt idx="28138">
                  <c:v>0</c:v>
                </c:pt>
                <c:pt idx="28139">
                  <c:v>5</c:v>
                </c:pt>
                <c:pt idx="28140">
                  <c:v>2</c:v>
                </c:pt>
                <c:pt idx="28141">
                  <c:v>9</c:v>
                </c:pt>
                <c:pt idx="28142">
                  <c:v>11</c:v>
                </c:pt>
                <c:pt idx="28143">
                  <c:v>4</c:v>
                </c:pt>
                <c:pt idx="28144">
                  <c:v>0</c:v>
                </c:pt>
                <c:pt idx="28145">
                  <c:v>29</c:v>
                </c:pt>
                <c:pt idx="28146">
                  <c:v>2</c:v>
                </c:pt>
                <c:pt idx="28147">
                  <c:v>1</c:v>
                </c:pt>
                <c:pt idx="28148">
                  <c:v>1</c:v>
                </c:pt>
                <c:pt idx="28149">
                  <c:v>2</c:v>
                </c:pt>
                <c:pt idx="28150">
                  <c:v>1</c:v>
                </c:pt>
                <c:pt idx="28151">
                  <c:v>0</c:v>
                </c:pt>
                <c:pt idx="28152">
                  <c:v>0</c:v>
                </c:pt>
                <c:pt idx="28153">
                  <c:v>0</c:v>
                </c:pt>
                <c:pt idx="28154">
                  <c:v>8</c:v>
                </c:pt>
                <c:pt idx="28155">
                  <c:v>6</c:v>
                </c:pt>
                <c:pt idx="28156">
                  <c:v>4</c:v>
                </c:pt>
                <c:pt idx="28157">
                  <c:v>6</c:v>
                </c:pt>
                <c:pt idx="28158">
                  <c:v>1</c:v>
                </c:pt>
                <c:pt idx="28159">
                  <c:v>0</c:v>
                </c:pt>
                <c:pt idx="28160">
                  <c:v>2</c:v>
                </c:pt>
                <c:pt idx="28161">
                  <c:v>0</c:v>
                </c:pt>
                <c:pt idx="28162">
                  <c:v>5</c:v>
                </c:pt>
                <c:pt idx="28163">
                  <c:v>0</c:v>
                </c:pt>
                <c:pt idx="28164">
                  <c:v>0</c:v>
                </c:pt>
                <c:pt idx="28165">
                  <c:v>0</c:v>
                </c:pt>
                <c:pt idx="28166">
                  <c:v>0</c:v>
                </c:pt>
                <c:pt idx="28167">
                  <c:v>0</c:v>
                </c:pt>
                <c:pt idx="28168">
                  <c:v>0</c:v>
                </c:pt>
                <c:pt idx="28169">
                  <c:v>0</c:v>
                </c:pt>
                <c:pt idx="28170">
                  <c:v>0</c:v>
                </c:pt>
                <c:pt idx="28171">
                  <c:v>1</c:v>
                </c:pt>
                <c:pt idx="28172">
                  <c:v>0</c:v>
                </c:pt>
                <c:pt idx="28173">
                  <c:v>1</c:v>
                </c:pt>
                <c:pt idx="28174">
                  <c:v>0</c:v>
                </c:pt>
                <c:pt idx="28175">
                  <c:v>6</c:v>
                </c:pt>
                <c:pt idx="28176">
                  <c:v>0</c:v>
                </c:pt>
                <c:pt idx="28177">
                  <c:v>0</c:v>
                </c:pt>
                <c:pt idx="28178">
                  <c:v>3</c:v>
                </c:pt>
                <c:pt idx="28179">
                  <c:v>6</c:v>
                </c:pt>
                <c:pt idx="28180">
                  <c:v>0</c:v>
                </c:pt>
                <c:pt idx="28181">
                  <c:v>1</c:v>
                </c:pt>
                <c:pt idx="28182">
                  <c:v>0</c:v>
                </c:pt>
                <c:pt idx="28183">
                  <c:v>0</c:v>
                </c:pt>
                <c:pt idx="28184">
                  <c:v>0</c:v>
                </c:pt>
                <c:pt idx="28185">
                  <c:v>0</c:v>
                </c:pt>
                <c:pt idx="28186">
                  <c:v>7</c:v>
                </c:pt>
                <c:pt idx="28187">
                  <c:v>0</c:v>
                </c:pt>
                <c:pt idx="28188">
                  <c:v>0</c:v>
                </c:pt>
                <c:pt idx="28189">
                  <c:v>0</c:v>
                </c:pt>
                <c:pt idx="28190">
                  <c:v>0</c:v>
                </c:pt>
                <c:pt idx="28191">
                  <c:v>0</c:v>
                </c:pt>
                <c:pt idx="28192">
                  <c:v>0</c:v>
                </c:pt>
                <c:pt idx="28193">
                  <c:v>0</c:v>
                </c:pt>
                <c:pt idx="28194">
                  <c:v>2</c:v>
                </c:pt>
                <c:pt idx="28195">
                  <c:v>3</c:v>
                </c:pt>
                <c:pt idx="28196">
                  <c:v>4</c:v>
                </c:pt>
                <c:pt idx="28197">
                  <c:v>4</c:v>
                </c:pt>
                <c:pt idx="28198">
                  <c:v>0</c:v>
                </c:pt>
                <c:pt idx="28199">
                  <c:v>0</c:v>
                </c:pt>
                <c:pt idx="28200">
                  <c:v>0</c:v>
                </c:pt>
                <c:pt idx="28201">
                  <c:v>0</c:v>
                </c:pt>
                <c:pt idx="28202">
                  <c:v>2</c:v>
                </c:pt>
                <c:pt idx="28203">
                  <c:v>6</c:v>
                </c:pt>
                <c:pt idx="28204">
                  <c:v>5</c:v>
                </c:pt>
                <c:pt idx="28205">
                  <c:v>1</c:v>
                </c:pt>
                <c:pt idx="28206">
                  <c:v>4</c:v>
                </c:pt>
                <c:pt idx="28207">
                  <c:v>4</c:v>
                </c:pt>
                <c:pt idx="28208">
                  <c:v>2</c:v>
                </c:pt>
                <c:pt idx="28209">
                  <c:v>0</c:v>
                </c:pt>
                <c:pt idx="28210">
                  <c:v>0</c:v>
                </c:pt>
                <c:pt idx="28211">
                  <c:v>1</c:v>
                </c:pt>
                <c:pt idx="28212">
                  <c:v>0</c:v>
                </c:pt>
                <c:pt idx="28213">
                  <c:v>0</c:v>
                </c:pt>
                <c:pt idx="28214">
                  <c:v>0</c:v>
                </c:pt>
                <c:pt idx="28215">
                  <c:v>0</c:v>
                </c:pt>
                <c:pt idx="28216">
                  <c:v>0</c:v>
                </c:pt>
                <c:pt idx="28217">
                  <c:v>0</c:v>
                </c:pt>
                <c:pt idx="28218">
                  <c:v>0</c:v>
                </c:pt>
                <c:pt idx="28219">
                  <c:v>6</c:v>
                </c:pt>
                <c:pt idx="28220">
                  <c:v>0</c:v>
                </c:pt>
                <c:pt idx="28221">
                  <c:v>0</c:v>
                </c:pt>
                <c:pt idx="28222">
                  <c:v>0</c:v>
                </c:pt>
                <c:pt idx="28223">
                  <c:v>0</c:v>
                </c:pt>
                <c:pt idx="28224">
                  <c:v>0</c:v>
                </c:pt>
                <c:pt idx="28225">
                  <c:v>0</c:v>
                </c:pt>
                <c:pt idx="28226">
                  <c:v>0</c:v>
                </c:pt>
                <c:pt idx="28227">
                  <c:v>0</c:v>
                </c:pt>
                <c:pt idx="28228">
                  <c:v>10</c:v>
                </c:pt>
                <c:pt idx="28229">
                  <c:v>0</c:v>
                </c:pt>
                <c:pt idx="28230">
                  <c:v>4</c:v>
                </c:pt>
                <c:pt idx="28231">
                  <c:v>0</c:v>
                </c:pt>
                <c:pt idx="28232">
                  <c:v>0</c:v>
                </c:pt>
                <c:pt idx="28233">
                  <c:v>2</c:v>
                </c:pt>
                <c:pt idx="28234">
                  <c:v>0</c:v>
                </c:pt>
                <c:pt idx="28235">
                  <c:v>0</c:v>
                </c:pt>
                <c:pt idx="28236">
                  <c:v>0</c:v>
                </c:pt>
                <c:pt idx="28237">
                  <c:v>0</c:v>
                </c:pt>
                <c:pt idx="28238">
                  <c:v>0</c:v>
                </c:pt>
                <c:pt idx="28239">
                  <c:v>8</c:v>
                </c:pt>
                <c:pt idx="28240">
                  <c:v>2</c:v>
                </c:pt>
                <c:pt idx="28241">
                  <c:v>0</c:v>
                </c:pt>
                <c:pt idx="28242">
                  <c:v>0</c:v>
                </c:pt>
                <c:pt idx="28243">
                  <c:v>0</c:v>
                </c:pt>
                <c:pt idx="28244">
                  <c:v>0</c:v>
                </c:pt>
                <c:pt idx="28245">
                  <c:v>13</c:v>
                </c:pt>
                <c:pt idx="28246">
                  <c:v>6</c:v>
                </c:pt>
                <c:pt idx="28247">
                  <c:v>3</c:v>
                </c:pt>
                <c:pt idx="28248">
                  <c:v>4</c:v>
                </c:pt>
                <c:pt idx="28249">
                  <c:v>3</c:v>
                </c:pt>
                <c:pt idx="28250">
                  <c:v>5</c:v>
                </c:pt>
                <c:pt idx="28251">
                  <c:v>1</c:v>
                </c:pt>
                <c:pt idx="28252">
                  <c:v>0</c:v>
                </c:pt>
                <c:pt idx="28253">
                  <c:v>0</c:v>
                </c:pt>
                <c:pt idx="28254">
                  <c:v>5</c:v>
                </c:pt>
                <c:pt idx="28255">
                  <c:v>6</c:v>
                </c:pt>
                <c:pt idx="28256">
                  <c:v>4</c:v>
                </c:pt>
                <c:pt idx="28257">
                  <c:v>1</c:v>
                </c:pt>
                <c:pt idx="28258">
                  <c:v>2</c:v>
                </c:pt>
                <c:pt idx="28259">
                  <c:v>4</c:v>
                </c:pt>
                <c:pt idx="28260">
                  <c:v>7</c:v>
                </c:pt>
                <c:pt idx="28261">
                  <c:v>7</c:v>
                </c:pt>
                <c:pt idx="28262">
                  <c:v>3</c:v>
                </c:pt>
                <c:pt idx="28263">
                  <c:v>2</c:v>
                </c:pt>
                <c:pt idx="28264">
                  <c:v>2</c:v>
                </c:pt>
                <c:pt idx="28265">
                  <c:v>10</c:v>
                </c:pt>
                <c:pt idx="28266">
                  <c:v>3</c:v>
                </c:pt>
                <c:pt idx="28267">
                  <c:v>5</c:v>
                </c:pt>
                <c:pt idx="28268">
                  <c:v>0</c:v>
                </c:pt>
                <c:pt idx="28269">
                  <c:v>5</c:v>
                </c:pt>
                <c:pt idx="28270">
                  <c:v>2</c:v>
                </c:pt>
                <c:pt idx="28271">
                  <c:v>0</c:v>
                </c:pt>
                <c:pt idx="28272">
                  <c:v>6</c:v>
                </c:pt>
                <c:pt idx="28273">
                  <c:v>1</c:v>
                </c:pt>
                <c:pt idx="28274">
                  <c:v>1</c:v>
                </c:pt>
                <c:pt idx="28275">
                  <c:v>3</c:v>
                </c:pt>
                <c:pt idx="28276">
                  <c:v>2</c:v>
                </c:pt>
                <c:pt idx="28277">
                  <c:v>5</c:v>
                </c:pt>
                <c:pt idx="28278">
                  <c:v>8</c:v>
                </c:pt>
                <c:pt idx="28279">
                  <c:v>4</c:v>
                </c:pt>
                <c:pt idx="28280">
                  <c:v>4</c:v>
                </c:pt>
                <c:pt idx="28281">
                  <c:v>2</c:v>
                </c:pt>
                <c:pt idx="28282">
                  <c:v>2</c:v>
                </c:pt>
                <c:pt idx="28283">
                  <c:v>0</c:v>
                </c:pt>
                <c:pt idx="28284">
                  <c:v>0</c:v>
                </c:pt>
                <c:pt idx="28285">
                  <c:v>4</c:v>
                </c:pt>
                <c:pt idx="28286">
                  <c:v>3</c:v>
                </c:pt>
                <c:pt idx="28287">
                  <c:v>0</c:v>
                </c:pt>
                <c:pt idx="28288">
                  <c:v>0</c:v>
                </c:pt>
                <c:pt idx="28289">
                  <c:v>0</c:v>
                </c:pt>
                <c:pt idx="28290">
                  <c:v>0</c:v>
                </c:pt>
                <c:pt idx="28291">
                  <c:v>5</c:v>
                </c:pt>
                <c:pt idx="28292">
                  <c:v>1</c:v>
                </c:pt>
                <c:pt idx="28293">
                  <c:v>2</c:v>
                </c:pt>
                <c:pt idx="28294">
                  <c:v>0</c:v>
                </c:pt>
                <c:pt idx="28295">
                  <c:v>0</c:v>
                </c:pt>
                <c:pt idx="28296">
                  <c:v>0</c:v>
                </c:pt>
                <c:pt idx="28297">
                  <c:v>0</c:v>
                </c:pt>
                <c:pt idx="28298">
                  <c:v>0</c:v>
                </c:pt>
                <c:pt idx="28299">
                  <c:v>0</c:v>
                </c:pt>
                <c:pt idx="28300">
                  <c:v>0</c:v>
                </c:pt>
                <c:pt idx="28301">
                  <c:v>0</c:v>
                </c:pt>
                <c:pt idx="28302">
                  <c:v>0</c:v>
                </c:pt>
                <c:pt idx="28303">
                  <c:v>1</c:v>
                </c:pt>
                <c:pt idx="28304">
                  <c:v>0</c:v>
                </c:pt>
                <c:pt idx="28305">
                  <c:v>2</c:v>
                </c:pt>
                <c:pt idx="28306">
                  <c:v>0</c:v>
                </c:pt>
                <c:pt idx="28307">
                  <c:v>0</c:v>
                </c:pt>
                <c:pt idx="28308">
                  <c:v>0</c:v>
                </c:pt>
                <c:pt idx="28309">
                  <c:v>0</c:v>
                </c:pt>
                <c:pt idx="28310">
                  <c:v>0</c:v>
                </c:pt>
                <c:pt idx="28311">
                  <c:v>0</c:v>
                </c:pt>
                <c:pt idx="28312">
                  <c:v>2</c:v>
                </c:pt>
                <c:pt idx="28313">
                  <c:v>0</c:v>
                </c:pt>
                <c:pt idx="28314">
                  <c:v>0</c:v>
                </c:pt>
                <c:pt idx="28315">
                  <c:v>0</c:v>
                </c:pt>
                <c:pt idx="28316">
                  <c:v>0</c:v>
                </c:pt>
                <c:pt idx="28317">
                  <c:v>0</c:v>
                </c:pt>
                <c:pt idx="28318">
                  <c:v>0</c:v>
                </c:pt>
                <c:pt idx="28319">
                  <c:v>0</c:v>
                </c:pt>
                <c:pt idx="28320">
                  <c:v>0</c:v>
                </c:pt>
                <c:pt idx="28321">
                  <c:v>0</c:v>
                </c:pt>
                <c:pt idx="28322">
                  <c:v>0</c:v>
                </c:pt>
                <c:pt idx="28323">
                  <c:v>0</c:v>
                </c:pt>
                <c:pt idx="28324">
                  <c:v>0</c:v>
                </c:pt>
                <c:pt idx="28325">
                  <c:v>2</c:v>
                </c:pt>
                <c:pt idx="28326">
                  <c:v>1</c:v>
                </c:pt>
                <c:pt idx="28327">
                  <c:v>0</c:v>
                </c:pt>
                <c:pt idx="28328">
                  <c:v>1</c:v>
                </c:pt>
                <c:pt idx="28329">
                  <c:v>0</c:v>
                </c:pt>
                <c:pt idx="28330">
                  <c:v>0</c:v>
                </c:pt>
                <c:pt idx="28331">
                  <c:v>0</c:v>
                </c:pt>
                <c:pt idx="28332">
                  <c:v>0</c:v>
                </c:pt>
                <c:pt idx="28333">
                  <c:v>0</c:v>
                </c:pt>
                <c:pt idx="28334">
                  <c:v>0</c:v>
                </c:pt>
                <c:pt idx="28335">
                  <c:v>0</c:v>
                </c:pt>
                <c:pt idx="28336">
                  <c:v>9</c:v>
                </c:pt>
                <c:pt idx="28337">
                  <c:v>4</c:v>
                </c:pt>
                <c:pt idx="28338">
                  <c:v>1</c:v>
                </c:pt>
                <c:pt idx="28339">
                  <c:v>1</c:v>
                </c:pt>
                <c:pt idx="28340">
                  <c:v>3</c:v>
                </c:pt>
                <c:pt idx="28341">
                  <c:v>0</c:v>
                </c:pt>
                <c:pt idx="28342">
                  <c:v>0</c:v>
                </c:pt>
                <c:pt idx="28343">
                  <c:v>0</c:v>
                </c:pt>
                <c:pt idx="28344">
                  <c:v>0</c:v>
                </c:pt>
                <c:pt idx="28345">
                  <c:v>0</c:v>
                </c:pt>
                <c:pt idx="28346">
                  <c:v>0</c:v>
                </c:pt>
                <c:pt idx="28347">
                  <c:v>0</c:v>
                </c:pt>
                <c:pt idx="28348">
                  <c:v>0</c:v>
                </c:pt>
                <c:pt idx="28349">
                  <c:v>0</c:v>
                </c:pt>
                <c:pt idx="28350">
                  <c:v>2</c:v>
                </c:pt>
                <c:pt idx="28351">
                  <c:v>0</c:v>
                </c:pt>
                <c:pt idx="28352">
                  <c:v>1</c:v>
                </c:pt>
                <c:pt idx="28353">
                  <c:v>0</c:v>
                </c:pt>
                <c:pt idx="28354">
                  <c:v>0</c:v>
                </c:pt>
                <c:pt idx="28355">
                  <c:v>0</c:v>
                </c:pt>
                <c:pt idx="28356">
                  <c:v>0</c:v>
                </c:pt>
                <c:pt idx="28357">
                  <c:v>0</c:v>
                </c:pt>
                <c:pt idx="28358">
                  <c:v>0</c:v>
                </c:pt>
                <c:pt idx="28359">
                  <c:v>0</c:v>
                </c:pt>
                <c:pt idx="28360">
                  <c:v>0</c:v>
                </c:pt>
                <c:pt idx="28361">
                  <c:v>0</c:v>
                </c:pt>
                <c:pt idx="28362">
                  <c:v>1</c:v>
                </c:pt>
                <c:pt idx="28363">
                  <c:v>0</c:v>
                </c:pt>
                <c:pt idx="28364">
                  <c:v>0</c:v>
                </c:pt>
                <c:pt idx="28365">
                  <c:v>0</c:v>
                </c:pt>
                <c:pt idx="28366">
                  <c:v>0</c:v>
                </c:pt>
                <c:pt idx="28367">
                  <c:v>0</c:v>
                </c:pt>
                <c:pt idx="28368">
                  <c:v>3</c:v>
                </c:pt>
                <c:pt idx="28369">
                  <c:v>0</c:v>
                </c:pt>
                <c:pt idx="28370">
                  <c:v>0</c:v>
                </c:pt>
                <c:pt idx="28371">
                  <c:v>0</c:v>
                </c:pt>
                <c:pt idx="28372">
                  <c:v>0</c:v>
                </c:pt>
                <c:pt idx="28373">
                  <c:v>0</c:v>
                </c:pt>
                <c:pt idx="28374">
                  <c:v>0</c:v>
                </c:pt>
                <c:pt idx="28375">
                  <c:v>0</c:v>
                </c:pt>
                <c:pt idx="28376">
                  <c:v>0</c:v>
                </c:pt>
                <c:pt idx="28377">
                  <c:v>0</c:v>
                </c:pt>
                <c:pt idx="28378">
                  <c:v>1</c:v>
                </c:pt>
                <c:pt idx="28379">
                  <c:v>0</c:v>
                </c:pt>
                <c:pt idx="28380">
                  <c:v>1</c:v>
                </c:pt>
                <c:pt idx="28381">
                  <c:v>0</c:v>
                </c:pt>
                <c:pt idx="28382">
                  <c:v>0</c:v>
                </c:pt>
                <c:pt idx="28383">
                  <c:v>0</c:v>
                </c:pt>
                <c:pt idx="28384">
                  <c:v>0</c:v>
                </c:pt>
                <c:pt idx="28385">
                  <c:v>0</c:v>
                </c:pt>
                <c:pt idx="28386">
                  <c:v>2</c:v>
                </c:pt>
                <c:pt idx="28387">
                  <c:v>2</c:v>
                </c:pt>
                <c:pt idx="28388">
                  <c:v>0</c:v>
                </c:pt>
                <c:pt idx="28389">
                  <c:v>4</c:v>
                </c:pt>
                <c:pt idx="28390">
                  <c:v>1</c:v>
                </c:pt>
                <c:pt idx="28391">
                  <c:v>0</c:v>
                </c:pt>
                <c:pt idx="28392">
                  <c:v>0</c:v>
                </c:pt>
                <c:pt idx="28393">
                  <c:v>0</c:v>
                </c:pt>
                <c:pt idx="28394">
                  <c:v>0</c:v>
                </c:pt>
                <c:pt idx="28395">
                  <c:v>0</c:v>
                </c:pt>
                <c:pt idx="28396">
                  <c:v>0</c:v>
                </c:pt>
                <c:pt idx="28397">
                  <c:v>0</c:v>
                </c:pt>
                <c:pt idx="28398">
                  <c:v>0</c:v>
                </c:pt>
                <c:pt idx="28399">
                  <c:v>0</c:v>
                </c:pt>
                <c:pt idx="28400">
                  <c:v>0</c:v>
                </c:pt>
                <c:pt idx="28401">
                  <c:v>0</c:v>
                </c:pt>
                <c:pt idx="28402">
                  <c:v>0</c:v>
                </c:pt>
                <c:pt idx="28403">
                  <c:v>0</c:v>
                </c:pt>
                <c:pt idx="28404">
                  <c:v>0</c:v>
                </c:pt>
                <c:pt idx="28405">
                  <c:v>0</c:v>
                </c:pt>
                <c:pt idx="28406">
                  <c:v>0</c:v>
                </c:pt>
                <c:pt idx="28407">
                  <c:v>7</c:v>
                </c:pt>
                <c:pt idx="28408">
                  <c:v>1</c:v>
                </c:pt>
                <c:pt idx="28409">
                  <c:v>0</c:v>
                </c:pt>
                <c:pt idx="28410">
                  <c:v>7</c:v>
                </c:pt>
                <c:pt idx="28411">
                  <c:v>4</c:v>
                </c:pt>
                <c:pt idx="28412">
                  <c:v>0</c:v>
                </c:pt>
                <c:pt idx="28413">
                  <c:v>0</c:v>
                </c:pt>
                <c:pt idx="28414">
                  <c:v>1</c:v>
                </c:pt>
                <c:pt idx="28415">
                  <c:v>0</c:v>
                </c:pt>
                <c:pt idx="28416">
                  <c:v>4</c:v>
                </c:pt>
                <c:pt idx="28417">
                  <c:v>4</c:v>
                </c:pt>
                <c:pt idx="28418">
                  <c:v>0</c:v>
                </c:pt>
                <c:pt idx="28419">
                  <c:v>0</c:v>
                </c:pt>
                <c:pt idx="28420">
                  <c:v>0</c:v>
                </c:pt>
                <c:pt idx="28421">
                  <c:v>0</c:v>
                </c:pt>
                <c:pt idx="28422">
                  <c:v>0</c:v>
                </c:pt>
                <c:pt idx="28423">
                  <c:v>0</c:v>
                </c:pt>
                <c:pt idx="28424">
                  <c:v>0</c:v>
                </c:pt>
                <c:pt idx="28425">
                  <c:v>0</c:v>
                </c:pt>
                <c:pt idx="28426">
                  <c:v>0</c:v>
                </c:pt>
                <c:pt idx="28427">
                  <c:v>0</c:v>
                </c:pt>
                <c:pt idx="28428">
                  <c:v>0</c:v>
                </c:pt>
                <c:pt idx="28429">
                  <c:v>0</c:v>
                </c:pt>
                <c:pt idx="28430">
                  <c:v>2</c:v>
                </c:pt>
                <c:pt idx="28431">
                  <c:v>0</c:v>
                </c:pt>
                <c:pt idx="28432">
                  <c:v>0</c:v>
                </c:pt>
                <c:pt idx="28433">
                  <c:v>0</c:v>
                </c:pt>
                <c:pt idx="28434">
                  <c:v>0</c:v>
                </c:pt>
                <c:pt idx="28435">
                  <c:v>0</c:v>
                </c:pt>
                <c:pt idx="28436">
                  <c:v>0</c:v>
                </c:pt>
                <c:pt idx="28437">
                  <c:v>0</c:v>
                </c:pt>
                <c:pt idx="28438">
                  <c:v>0</c:v>
                </c:pt>
                <c:pt idx="28439">
                  <c:v>0</c:v>
                </c:pt>
                <c:pt idx="28440">
                  <c:v>0</c:v>
                </c:pt>
                <c:pt idx="28441">
                  <c:v>0</c:v>
                </c:pt>
                <c:pt idx="28442">
                  <c:v>1</c:v>
                </c:pt>
                <c:pt idx="28443">
                  <c:v>0</c:v>
                </c:pt>
                <c:pt idx="28444">
                  <c:v>1</c:v>
                </c:pt>
                <c:pt idx="28445">
                  <c:v>0</c:v>
                </c:pt>
                <c:pt idx="28446">
                  <c:v>1</c:v>
                </c:pt>
                <c:pt idx="28447">
                  <c:v>0</c:v>
                </c:pt>
                <c:pt idx="28448">
                  <c:v>0</c:v>
                </c:pt>
                <c:pt idx="28449">
                  <c:v>0</c:v>
                </c:pt>
                <c:pt idx="28450">
                  <c:v>0</c:v>
                </c:pt>
                <c:pt idx="28451">
                  <c:v>0</c:v>
                </c:pt>
                <c:pt idx="28452">
                  <c:v>0</c:v>
                </c:pt>
                <c:pt idx="28453">
                  <c:v>1</c:v>
                </c:pt>
                <c:pt idx="28454">
                  <c:v>0</c:v>
                </c:pt>
                <c:pt idx="28455">
                  <c:v>0</c:v>
                </c:pt>
                <c:pt idx="28456">
                  <c:v>1</c:v>
                </c:pt>
                <c:pt idx="28457">
                  <c:v>4</c:v>
                </c:pt>
                <c:pt idx="28458">
                  <c:v>0</c:v>
                </c:pt>
                <c:pt idx="28459">
                  <c:v>0</c:v>
                </c:pt>
                <c:pt idx="28460">
                  <c:v>0</c:v>
                </c:pt>
                <c:pt idx="28461">
                  <c:v>2</c:v>
                </c:pt>
                <c:pt idx="28462">
                  <c:v>0</c:v>
                </c:pt>
                <c:pt idx="28463">
                  <c:v>0</c:v>
                </c:pt>
                <c:pt idx="28464">
                  <c:v>0</c:v>
                </c:pt>
                <c:pt idx="28465">
                  <c:v>2</c:v>
                </c:pt>
                <c:pt idx="28466">
                  <c:v>0</c:v>
                </c:pt>
                <c:pt idx="28467">
                  <c:v>0</c:v>
                </c:pt>
                <c:pt idx="28468">
                  <c:v>0</c:v>
                </c:pt>
                <c:pt idx="28469">
                  <c:v>0</c:v>
                </c:pt>
                <c:pt idx="28470">
                  <c:v>0</c:v>
                </c:pt>
                <c:pt idx="28471">
                  <c:v>0</c:v>
                </c:pt>
                <c:pt idx="28472">
                  <c:v>0</c:v>
                </c:pt>
                <c:pt idx="28473">
                  <c:v>0</c:v>
                </c:pt>
                <c:pt idx="28474">
                  <c:v>0</c:v>
                </c:pt>
                <c:pt idx="28475">
                  <c:v>0</c:v>
                </c:pt>
                <c:pt idx="28476">
                  <c:v>0</c:v>
                </c:pt>
                <c:pt idx="28477">
                  <c:v>0</c:v>
                </c:pt>
                <c:pt idx="28478">
                  <c:v>0</c:v>
                </c:pt>
                <c:pt idx="28479">
                  <c:v>0</c:v>
                </c:pt>
                <c:pt idx="28480">
                  <c:v>2</c:v>
                </c:pt>
                <c:pt idx="28481">
                  <c:v>0</c:v>
                </c:pt>
                <c:pt idx="28482">
                  <c:v>0</c:v>
                </c:pt>
                <c:pt idx="28483">
                  <c:v>0</c:v>
                </c:pt>
                <c:pt idx="28484">
                  <c:v>0</c:v>
                </c:pt>
                <c:pt idx="28485">
                  <c:v>0</c:v>
                </c:pt>
                <c:pt idx="28486">
                  <c:v>0</c:v>
                </c:pt>
                <c:pt idx="28487">
                  <c:v>0</c:v>
                </c:pt>
                <c:pt idx="28488">
                  <c:v>2</c:v>
                </c:pt>
                <c:pt idx="28489">
                  <c:v>0</c:v>
                </c:pt>
                <c:pt idx="28490">
                  <c:v>0</c:v>
                </c:pt>
                <c:pt idx="28491">
                  <c:v>0</c:v>
                </c:pt>
                <c:pt idx="28492">
                  <c:v>0</c:v>
                </c:pt>
                <c:pt idx="28493">
                  <c:v>0</c:v>
                </c:pt>
                <c:pt idx="28494">
                  <c:v>0</c:v>
                </c:pt>
                <c:pt idx="28495">
                  <c:v>0</c:v>
                </c:pt>
                <c:pt idx="28496">
                  <c:v>0</c:v>
                </c:pt>
                <c:pt idx="28497">
                  <c:v>0</c:v>
                </c:pt>
                <c:pt idx="28498">
                  <c:v>0</c:v>
                </c:pt>
                <c:pt idx="28499">
                  <c:v>0</c:v>
                </c:pt>
                <c:pt idx="28500">
                  <c:v>0</c:v>
                </c:pt>
                <c:pt idx="28501">
                  <c:v>0</c:v>
                </c:pt>
                <c:pt idx="28502">
                  <c:v>0</c:v>
                </c:pt>
                <c:pt idx="28503">
                  <c:v>0</c:v>
                </c:pt>
                <c:pt idx="28504">
                  <c:v>0</c:v>
                </c:pt>
                <c:pt idx="28505">
                  <c:v>0</c:v>
                </c:pt>
                <c:pt idx="28506">
                  <c:v>0</c:v>
                </c:pt>
                <c:pt idx="28507">
                  <c:v>0</c:v>
                </c:pt>
                <c:pt idx="28508">
                  <c:v>0</c:v>
                </c:pt>
                <c:pt idx="28509">
                  <c:v>0</c:v>
                </c:pt>
                <c:pt idx="28510">
                  <c:v>0</c:v>
                </c:pt>
                <c:pt idx="28511">
                  <c:v>0</c:v>
                </c:pt>
                <c:pt idx="28512">
                  <c:v>0</c:v>
                </c:pt>
                <c:pt idx="28513">
                  <c:v>1</c:v>
                </c:pt>
                <c:pt idx="28514">
                  <c:v>0</c:v>
                </c:pt>
                <c:pt idx="28515">
                  <c:v>6</c:v>
                </c:pt>
                <c:pt idx="28516">
                  <c:v>4</c:v>
                </c:pt>
                <c:pt idx="28517">
                  <c:v>6</c:v>
                </c:pt>
                <c:pt idx="28518">
                  <c:v>17</c:v>
                </c:pt>
                <c:pt idx="28519">
                  <c:v>14</c:v>
                </c:pt>
                <c:pt idx="28520">
                  <c:v>14</c:v>
                </c:pt>
                <c:pt idx="28521">
                  <c:v>8</c:v>
                </c:pt>
                <c:pt idx="28522">
                  <c:v>2</c:v>
                </c:pt>
                <c:pt idx="28523">
                  <c:v>0</c:v>
                </c:pt>
                <c:pt idx="28524">
                  <c:v>4</c:v>
                </c:pt>
                <c:pt idx="28525">
                  <c:v>4</c:v>
                </c:pt>
                <c:pt idx="28526">
                  <c:v>1</c:v>
                </c:pt>
                <c:pt idx="28527">
                  <c:v>2</c:v>
                </c:pt>
                <c:pt idx="28528">
                  <c:v>3</c:v>
                </c:pt>
                <c:pt idx="28529">
                  <c:v>8</c:v>
                </c:pt>
                <c:pt idx="28530">
                  <c:v>3</c:v>
                </c:pt>
                <c:pt idx="28531">
                  <c:v>8</c:v>
                </c:pt>
                <c:pt idx="28532">
                  <c:v>0</c:v>
                </c:pt>
                <c:pt idx="28533">
                  <c:v>5</c:v>
                </c:pt>
                <c:pt idx="28534">
                  <c:v>10</c:v>
                </c:pt>
                <c:pt idx="28535">
                  <c:v>2</c:v>
                </c:pt>
                <c:pt idx="28536">
                  <c:v>9</c:v>
                </c:pt>
                <c:pt idx="28537">
                  <c:v>5</c:v>
                </c:pt>
                <c:pt idx="28538">
                  <c:v>4</c:v>
                </c:pt>
                <c:pt idx="28539">
                  <c:v>9</c:v>
                </c:pt>
                <c:pt idx="28540">
                  <c:v>8</c:v>
                </c:pt>
                <c:pt idx="28541">
                  <c:v>9</c:v>
                </c:pt>
                <c:pt idx="28542">
                  <c:v>12</c:v>
                </c:pt>
                <c:pt idx="28543">
                  <c:v>12</c:v>
                </c:pt>
                <c:pt idx="28544">
                  <c:v>1</c:v>
                </c:pt>
                <c:pt idx="28545">
                  <c:v>2</c:v>
                </c:pt>
                <c:pt idx="28546">
                  <c:v>8</c:v>
                </c:pt>
                <c:pt idx="28547">
                  <c:v>3</c:v>
                </c:pt>
                <c:pt idx="28548">
                  <c:v>3</c:v>
                </c:pt>
                <c:pt idx="28549">
                  <c:v>0</c:v>
                </c:pt>
                <c:pt idx="28550">
                  <c:v>0</c:v>
                </c:pt>
                <c:pt idx="28551">
                  <c:v>13</c:v>
                </c:pt>
                <c:pt idx="28552">
                  <c:v>3</c:v>
                </c:pt>
                <c:pt idx="28553">
                  <c:v>3</c:v>
                </c:pt>
                <c:pt idx="28554">
                  <c:v>2</c:v>
                </c:pt>
                <c:pt idx="28555">
                  <c:v>5</c:v>
                </c:pt>
                <c:pt idx="28556">
                  <c:v>4</c:v>
                </c:pt>
                <c:pt idx="28557">
                  <c:v>5</c:v>
                </c:pt>
                <c:pt idx="28558">
                  <c:v>0</c:v>
                </c:pt>
                <c:pt idx="28559">
                  <c:v>0</c:v>
                </c:pt>
                <c:pt idx="28560">
                  <c:v>0</c:v>
                </c:pt>
                <c:pt idx="28561">
                  <c:v>5</c:v>
                </c:pt>
                <c:pt idx="28562">
                  <c:v>4</c:v>
                </c:pt>
                <c:pt idx="28563">
                  <c:v>3</c:v>
                </c:pt>
                <c:pt idx="28564">
                  <c:v>1</c:v>
                </c:pt>
                <c:pt idx="28565">
                  <c:v>5</c:v>
                </c:pt>
                <c:pt idx="28566">
                  <c:v>0</c:v>
                </c:pt>
                <c:pt idx="28567">
                  <c:v>29</c:v>
                </c:pt>
                <c:pt idx="28568">
                  <c:v>2</c:v>
                </c:pt>
                <c:pt idx="28569">
                  <c:v>5</c:v>
                </c:pt>
                <c:pt idx="28570">
                  <c:v>16</c:v>
                </c:pt>
                <c:pt idx="28571">
                  <c:v>13</c:v>
                </c:pt>
                <c:pt idx="28572">
                  <c:v>0</c:v>
                </c:pt>
                <c:pt idx="28573">
                  <c:v>6</c:v>
                </c:pt>
                <c:pt idx="28574">
                  <c:v>3</c:v>
                </c:pt>
                <c:pt idx="28575">
                  <c:v>9</c:v>
                </c:pt>
                <c:pt idx="28576">
                  <c:v>2</c:v>
                </c:pt>
                <c:pt idx="28577">
                  <c:v>1</c:v>
                </c:pt>
                <c:pt idx="28578">
                  <c:v>2</c:v>
                </c:pt>
                <c:pt idx="28579">
                  <c:v>3</c:v>
                </c:pt>
                <c:pt idx="28580">
                  <c:v>2</c:v>
                </c:pt>
                <c:pt idx="28581">
                  <c:v>3</c:v>
                </c:pt>
                <c:pt idx="28582">
                  <c:v>3</c:v>
                </c:pt>
                <c:pt idx="28583">
                  <c:v>5</c:v>
                </c:pt>
                <c:pt idx="28584">
                  <c:v>5</c:v>
                </c:pt>
                <c:pt idx="28585">
                  <c:v>8</c:v>
                </c:pt>
                <c:pt idx="28586">
                  <c:v>2</c:v>
                </c:pt>
                <c:pt idx="28587">
                  <c:v>4</c:v>
                </c:pt>
                <c:pt idx="28588">
                  <c:v>4</c:v>
                </c:pt>
                <c:pt idx="28589">
                  <c:v>1</c:v>
                </c:pt>
                <c:pt idx="28590">
                  <c:v>2</c:v>
                </c:pt>
                <c:pt idx="28591">
                  <c:v>1</c:v>
                </c:pt>
                <c:pt idx="28592">
                  <c:v>4</c:v>
                </c:pt>
                <c:pt idx="28593">
                  <c:v>4</c:v>
                </c:pt>
                <c:pt idx="28594">
                  <c:v>5</c:v>
                </c:pt>
                <c:pt idx="28595">
                  <c:v>2</c:v>
                </c:pt>
                <c:pt idx="28596">
                  <c:v>3</c:v>
                </c:pt>
                <c:pt idx="28597">
                  <c:v>0</c:v>
                </c:pt>
                <c:pt idx="28598">
                  <c:v>18</c:v>
                </c:pt>
                <c:pt idx="28599">
                  <c:v>4</c:v>
                </c:pt>
                <c:pt idx="28600">
                  <c:v>1</c:v>
                </c:pt>
                <c:pt idx="28601">
                  <c:v>5</c:v>
                </c:pt>
                <c:pt idx="28602">
                  <c:v>5</c:v>
                </c:pt>
                <c:pt idx="28603">
                  <c:v>2</c:v>
                </c:pt>
                <c:pt idx="28604">
                  <c:v>7</c:v>
                </c:pt>
                <c:pt idx="28605">
                  <c:v>0</c:v>
                </c:pt>
                <c:pt idx="28606">
                  <c:v>2</c:v>
                </c:pt>
                <c:pt idx="28607">
                  <c:v>2</c:v>
                </c:pt>
                <c:pt idx="28608">
                  <c:v>0</c:v>
                </c:pt>
                <c:pt idx="28609">
                  <c:v>5</c:v>
                </c:pt>
                <c:pt idx="28610">
                  <c:v>14</c:v>
                </c:pt>
                <c:pt idx="28611">
                  <c:v>2</c:v>
                </c:pt>
                <c:pt idx="28612">
                  <c:v>1</c:v>
                </c:pt>
                <c:pt idx="28613">
                  <c:v>0</c:v>
                </c:pt>
                <c:pt idx="28614">
                  <c:v>4</c:v>
                </c:pt>
                <c:pt idx="28615">
                  <c:v>0</c:v>
                </c:pt>
                <c:pt idx="28616">
                  <c:v>0</c:v>
                </c:pt>
                <c:pt idx="28617">
                  <c:v>0</c:v>
                </c:pt>
                <c:pt idx="28618">
                  <c:v>0</c:v>
                </c:pt>
                <c:pt idx="28619">
                  <c:v>0</c:v>
                </c:pt>
                <c:pt idx="28620">
                  <c:v>0</c:v>
                </c:pt>
                <c:pt idx="28621">
                  <c:v>0</c:v>
                </c:pt>
                <c:pt idx="28622">
                  <c:v>0</c:v>
                </c:pt>
                <c:pt idx="28623">
                  <c:v>0</c:v>
                </c:pt>
                <c:pt idx="28624">
                  <c:v>0</c:v>
                </c:pt>
                <c:pt idx="28625">
                  <c:v>2</c:v>
                </c:pt>
                <c:pt idx="28626">
                  <c:v>0</c:v>
                </c:pt>
                <c:pt idx="28627">
                  <c:v>0</c:v>
                </c:pt>
                <c:pt idx="28628">
                  <c:v>0</c:v>
                </c:pt>
                <c:pt idx="28629">
                  <c:v>0</c:v>
                </c:pt>
                <c:pt idx="28630">
                  <c:v>0</c:v>
                </c:pt>
                <c:pt idx="28631">
                  <c:v>0</c:v>
                </c:pt>
                <c:pt idx="28632">
                  <c:v>0</c:v>
                </c:pt>
                <c:pt idx="28633">
                  <c:v>0</c:v>
                </c:pt>
                <c:pt idx="28634">
                  <c:v>4</c:v>
                </c:pt>
                <c:pt idx="28635">
                  <c:v>0</c:v>
                </c:pt>
                <c:pt idx="28636">
                  <c:v>0</c:v>
                </c:pt>
                <c:pt idx="28637">
                  <c:v>0</c:v>
                </c:pt>
                <c:pt idx="28638">
                  <c:v>0</c:v>
                </c:pt>
                <c:pt idx="28639">
                  <c:v>2</c:v>
                </c:pt>
                <c:pt idx="28640">
                  <c:v>0</c:v>
                </c:pt>
                <c:pt idx="28641">
                  <c:v>3</c:v>
                </c:pt>
                <c:pt idx="28642">
                  <c:v>7</c:v>
                </c:pt>
                <c:pt idx="28643">
                  <c:v>4</c:v>
                </c:pt>
                <c:pt idx="28644">
                  <c:v>7</c:v>
                </c:pt>
                <c:pt idx="28645">
                  <c:v>0</c:v>
                </c:pt>
                <c:pt idx="28646">
                  <c:v>2</c:v>
                </c:pt>
                <c:pt idx="28647">
                  <c:v>0</c:v>
                </c:pt>
                <c:pt idx="28648">
                  <c:v>5</c:v>
                </c:pt>
                <c:pt idx="28649">
                  <c:v>0</c:v>
                </c:pt>
                <c:pt idx="28650">
                  <c:v>0</c:v>
                </c:pt>
                <c:pt idx="28651">
                  <c:v>0</c:v>
                </c:pt>
                <c:pt idx="28652">
                  <c:v>0</c:v>
                </c:pt>
                <c:pt idx="28653">
                  <c:v>0</c:v>
                </c:pt>
                <c:pt idx="28654">
                  <c:v>0</c:v>
                </c:pt>
                <c:pt idx="28655">
                  <c:v>0</c:v>
                </c:pt>
                <c:pt idx="28656">
                  <c:v>0</c:v>
                </c:pt>
                <c:pt idx="28657">
                  <c:v>4</c:v>
                </c:pt>
                <c:pt idx="28658">
                  <c:v>3</c:v>
                </c:pt>
                <c:pt idx="28659">
                  <c:v>0</c:v>
                </c:pt>
                <c:pt idx="28660">
                  <c:v>0</c:v>
                </c:pt>
                <c:pt idx="28661">
                  <c:v>3</c:v>
                </c:pt>
                <c:pt idx="28662">
                  <c:v>0</c:v>
                </c:pt>
                <c:pt idx="28663">
                  <c:v>0</c:v>
                </c:pt>
                <c:pt idx="28664">
                  <c:v>1</c:v>
                </c:pt>
                <c:pt idx="28665">
                  <c:v>3</c:v>
                </c:pt>
                <c:pt idx="28666">
                  <c:v>1</c:v>
                </c:pt>
                <c:pt idx="28667">
                  <c:v>0</c:v>
                </c:pt>
                <c:pt idx="28668">
                  <c:v>0</c:v>
                </c:pt>
                <c:pt idx="28669">
                  <c:v>0</c:v>
                </c:pt>
                <c:pt idx="28670">
                  <c:v>0</c:v>
                </c:pt>
                <c:pt idx="28671">
                  <c:v>0</c:v>
                </c:pt>
                <c:pt idx="28672">
                  <c:v>1</c:v>
                </c:pt>
                <c:pt idx="28673">
                  <c:v>0</c:v>
                </c:pt>
                <c:pt idx="28674">
                  <c:v>0</c:v>
                </c:pt>
                <c:pt idx="28675">
                  <c:v>0</c:v>
                </c:pt>
                <c:pt idx="28676">
                  <c:v>3</c:v>
                </c:pt>
                <c:pt idx="28677">
                  <c:v>0</c:v>
                </c:pt>
                <c:pt idx="28678">
                  <c:v>6</c:v>
                </c:pt>
                <c:pt idx="28679">
                  <c:v>0</c:v>
                </c:pt>
                <c:pt idx="28680">
                  <c:v>2</c:v>
                </c:pt>
                <c:pt idx="28681">
                  <c:v>2</c:v>
                </c:pt>
                <c:pt idx="28682">
                  <c:v>1</c:v>
                </c:pt>
                <c:pt idx="28683">
                  <c:v>0</c:v>
                </c:pt>
                <c:pt idx="28684">
                  <c:v>0</c:v>
                </c:pt>
                <c:pt idx="28685">
                  <c:v>0</c:v>
                </c:pt>
                <c:pt idx="28686">
                  <c:v>2</c:v>
                </c:pt>
                <c:pt idx="28687">
                  <c:v>0</c:v>
                </c:pt>
                <c:pt idx="28688">
                  <c:v>0</c:v>
                </c:pt>
                <c:pt idx="28689">
                  <c:v>0</c:v>
                </c:pt>
                <c:pt idx="28690">
                  <c:v>0</c:v>
                </c:pt>
                <c:pt idx="28691">
                  <c:v>0</c:v>
                </c:pt>
                <c:pt idx="28692">
                  <c:v>0</c:v>
                </c:pt>
                <c:pt idx="28693">
                  <c:v>0</c:v>
                </c:pt>
                <c:pt idx="28694">
                  <c:v>0</c:v>
                </c:pt>
                <c:pt idx="28695">
                  <c:v>0</c:v>
                </c:pt>
                <c:pt idx="28696">
                  <c:v>0</c:v>
                </c:pt>
                <c:pt idx="28697">
                  <c:v>0</c:v>
                </c:pt>
                <c:pt idx="28698">
                  <c:v>0</c:v>
                </c:pt>
                <c:pt idx="28699">
                  <c:v>0</c:v>
                </c:pt>
                <c:pt idx="28700">
                  <c:v>6</c:v>
                </c:pt>
                <c:pt idx="28701">
                  <c:v>4</c:v>
                </c:pt>
                <c:pt idx="28702">
                  <c:v>1</c:v>
                </c:pt>
                <c:pt idx="28703">
                  <c:v>3</c:v>
                </c:pt>
                <c:pt idx="28704">
                  <c:v>3</c:v>
                </c:pt>
                <c:pt idx="28705">
                  <c:v>8</c:v>
                </c:pt>
                <c:pt idx="28706">
                  <c:v>8</c:v>
                </c:pt>
                <c:pt idx="28707">
                  <c:v>5</c:v>
                </c:pt>
                <c:pt idx="28708">
                  <c:v>4</c:v>
                </c:pt>
                <c:pt idx="28709">
                  <c:v>0</c:v>
                </c:pt>
                <c:pt idx="28710">
                  <c:v>0</c:v>
                </c:pt>
                <c:pt idx="28711">
                  <c:v>0</c:v>
                </c:pt>
                <c:pt idx="28712">
                  <c:v>0</c:v>
                </c:pt>
                <c:pt idx="28713">
                  <c:v>2</c:v>
                </c:pt>
                <c:pt idx="28714">
                  <c:v>4</c:v>
                </c:pt>
                <c:pt idx="28715">
                  <c:v>0</c:v>
                </c:pt>
                <c:pt idx="28716">
                  <c:v>1</c:v>
                </c:pt>
                <c:pt idx="28717">
                  <c:v>0</c:v>
                </c:pt>
                <c:pt idx="28718">
                  <c:v>2</c:v>
                </c:pt>
                <c:pt idx="28719">
                  <c:v>7</c:v>
                </c:pt>
                <c:pt idx="28720">
                  <c:v>0</c:v>
                </c:pt>
                <c:pt idx="28721">
                  <c:v>0</c:v>
                </c:pt>
                <c:pt idx="28722">
                  <c:v>0</c:v>
                </c:pt>
                <c:pt idx="28723">
                  <c:v>2</c:v>
                </c:pt>
                <c:pt idx="28724">
                  <c:v>1</c:v>
                </c:pt>
                <c:pt idx="28725">
                  <c:v>3</c:v>
                </c:pt>
                <c:pt idx="28726">
                  <c:v>3</c:v>
                </c:pt>
                <c:pt idx="28727">
                  <c:v>8</c:v>
                </c:pt>
                <c:pt idx="28728">
                  <c:v>3</c:v>
                </c:pt>
                <c:pt idx="28729">
                  <c:v>3</c:v>
                </c:pt>
                <c:pt idx="28730">
                  <c:v>4</c:v>
                </c:pt>
                <c:pt idx="28731">
                  <c:v>2</c:v>
                </c:pt>
                <c:pt idx="28732">
                  <c:v>2</c:v>
                </c:pt>
                <c:pt idx="28733">
                  <c:v>1</c:v>
                </c:pt>
                <c:pt idx="28734">
                  <c:v>0</c:v>
                </c:pt>
                <c:pt idx="28735">
                  <c:v>2</c:v>
                </c:pt>
                <c:pt idx="28736">
                  <c:v>1</c:v>
                </c:pt>
                <c:pt idx="28737">
                  <c:v>2</c:v>
                </c:pt>
                <c:pt idx="28738">
                  <c:v>2</c:v>
                </c:pt>
                <c:pt idx="28739">
                  <c:v>4</c:v>
                </c:pt>
                <c:pt idx="28740">
                  <c:v>1</c:v>
                </c:pt>
                <c:pt idx="28741">
                  <c:v>2</c:v>
                </c:pt>
                <c:pt idx="28742">
                  <c:v>6</c:v>
                </c:pt>
                <c:pt idx="28743">
                  <c:v>8</c:v>
                </c:pt>
                <c:pt idx="28744">
                  <c:v>0</c:v>
                </c:pt>
                <c:pt idx="28745">
                  <c:v>1</c:v>
                </c:pt>
                <c:pt idx="28746">
                  <c:v>0</c:v>
                </c:pt>
                <c:pt idx="28747">
                  <c:v>0</c:v>
                </c:pt>
                <c:pt idx="28748">
                  <c:v>0</c:v>
                </c:pt>
                <c:pt idx="28749">
                  <c:v>3</c:v>
                </c:pt>
                <c:pt idx="28750">
                  <c:v>2</c:v>
                </c:pt>
                <c:pt idx="28751">
                  <c:v>0</c:v>
                </c:pt>
                <c:pt idx="28752">
                  <c:v>0</c:v>
                </c:pt>
                <c:pt idx="28753">
                  <c:v>4</c:v>
                </c:pt>
                <c:pt idx="28754">
                  <c:v>0</c:v>
                </c:pt>
                <c:pt idx="28755">
                  <c:v>6</c:v>
                </c:pt>
                <c:pt idx="28756">
                  <c:v>5</c:v>
                </c:pt>
                <c:pt idx="28757">
                  <c:v>0</c:v>
                </c:pt>
                <c:pt idx="28758">
                  <c:v>0</c:v>
                </c:pt>
                <c:pt idx="28759">
                  <c:v>0</c:v>
                </c:pt>
                <c:pt idx="28760">
                  <c:v>1</c:v>
                </c:pt>
                <c:pt idx="28761">
                  <c:v>0</c:v>
                </c:pt>
                <c:pt idx="28762">
                  <c:v>0</c:v>
                </c:pt>
                <c:pt idx="28763">
                  <c:v>0</c:v>
                </c:pt>
                <c:pt idx="28764">
                  <c:v>0</c:v>
                </c:pt>
                <c:pt idx="28765">
                  <c:v>0</c:v>
                </c:pt>
                <c:pt idx="28766">
                  <c:v>0</c:v>
                </c:pt>
                <c:pt idx="28767">
                  <c:v>0</c:v>
                </c:pt>
                <c:pt idx="28768">
                  <c:v>0</c:v>
                </c:pt>
                <c:pt idx="28769">
                  <c:v>0</c:v>
                </c:pt>
                <c:pt idx="28770">
                  <c:v>0</c:v>
                </c:pt>
                <c:pt idx="28771">
                  <c:v>0</c:v>
                </c:pt>
                <c:pt idx="28772">
                  <c:v>0</c:v>
                </c:pt>
                <c:pt idx="28773">
                  <c:v>0</c:v>
                </c:pt>
                <c:pt idx="28774">
                  <c:v>0</c:v>
                </c:pt>
                <c:pt idx="28775">
                  <c:v>0</c:v>
                </c:pt>
                <c:pt idx="28776">
                  <c:v>0</c:v>
                </c:pt>
                <c:pt idx="28777">
                  <c:v>0</c:v>
                </c:pt>
                <c:pt idx="28778">
                  <c:v>0</c:v>
                </c:pt>
                <c:pt idx="28779">
                  <c:v>3</c:v>
                </c:pt>
                <c:pt idx="28780">
                  <c:v>2</c:v>
                </c:pt>
                <c:pt idx="28781">
                  <c:v>3</c:v>
                </c:pt>
                <c:pt idx="28782">
                  <c:v>0</c:v>
                </c:pt>
                <c:pt idx="28783">
                  <c:v>0</c:v>
                </c:pt>
                <c:pt idx="28784">
                  <c:v>0</c:v>
                </c:pt>
                <c:pt idx="28785">
                  <c:v>0</c:v>
                </c:pt>
                <c:pt idx="28786">
                  <c:v>0</c:v>
                </c:pt>
                <c:pt idx="28787">
                  <c:v>0</c:v>
                </c:pt>
                <c:pt idx="28788">
                  <c:v>0</c:v>
                </c:pt>
                <c:pt idx="28789">
                  <c:v>0</c:v>
                </c:pt>
                <c:pt idx="28790">
                  <c:v>0</c:v>
                </c:pt>
                <c:pt idx="28791">
                  <c:v>0</c:v>
                </c:pt>
                <c:pt idx="28792">
                  <c:v>0</c:v>
                </c:pt>
                <c:pt idx="28793">
                  <c:v>0</c:v>
                </c:pt>
                <c:pt idx="28794">
                  <c:v>0</c:v>
                </c:pt>
                <c:pt idx="28795">
                  <c:v>0</c:v>
                </c:pt>
                <c:pt idx="28796">
                  <c:v>4</c:v>
                </c:pt>
                <c:pt idx="28797">
                  <c:v>0</c:v>
                </c:pt>
                <c:pt idx="28798">
                  <c:v>0</c:v>
                </c:pt>
                <c:pt idx="28799">
                  <c:v>0</c:v>
                </c:pt>
                <c:pt idx="28800">
                  <c:v>0</c:v>
                </c:pt>
                <c:pt idx="28801">
                  <c:v>0</c:v>
                </c:pt>
                <c:pt idx="28802">
                  <c:v>0</c:v>
                </c:pt>
                <c:pt idx="28803">
                  <c:v>0</c:v>
                </c:pt>
                <c:pt idx="28804">
                  <c:v>0</c:v>
                </c:pt>
                <c:pt idx="28805">
                  <c:v>0</c:v>
                </c:pt>
                <c:pt idx="28806">
                  <c:v>0</c:v>
                </c:pt>
                <c:pt idx="28807">
                  <c:v>0</c:v>
                </c:pt>
                <c:pt idx="28808">
                  <c:v>0</c:v>
                </c:pt>
                <c:pt idx="28809">
                  <c:v>0</c:v>
                </c:pt>
                <c:pt idx="28810">
                  <c:v>4</c:v>
                </c:pt>
                <c:pt idx="28811">
                  <c:v>0</c:v>
                </c:pt>
                <c:pt idx="28812">
                  <c:v>0</c:v>
                </c:pt>
                <c:pt idx="28813">
                  <c:v>0</c:v>
                </c:pt>
                <c:pt idx="28814">
                  <c:v>0</c:v>
                </c:pt>
                <c:pt idx="28815">
                  <c:v>0</c:v>
                </c:pt>
                <c:pt idx="28816">
                  <c:v>0</c:v>
                </c:pt>
                <c:pt idx="28817">
                  <c:v>0</c:v>
                </c:pt>
                <c:pt idx="28818">
                  <c:v>0</c:v>
                </c:pt>
                <c:pt idx="28819">
                  <c:v>1</c:v>
                </c:pt>
                <c:pt idx="28820">
                  <c:v>0</c:v>
                </c:pt>
                <c:pt idx="28821">
                  <c:v>0</c:v>
                </c:pt>
                <c:pt idx="28822">
                  <c:v>0</c:v>
                </c:pt>
                <c:pt idx="28823">
                  <c:v>0</c:v>
                </c:pt>
                <c:pt idx="28824">
                  <c:v>0</c:v>
                </c:pt>
                <c:pt idx="28825">
                  <c:v>0</c:v>
                </c:pt>
                <c:pt idx="28826">
                  <c:v>0</c:v>
                </c:pt>
                <c:pt idx="28827">
                  <c:v>6</c:v>
                </c:pt>
                <c:pt idx="28828">
                  <c:v>5</c:v>
                </c:pt>
                <c:pt idx="28829">
                  <c:v>2</c:v>
                </c:pt>
                <c:pt idx="28830">
                  <c:v>2</c:v>
                </c:pt>
                <c:pt idx="28831">
                  <c:v>3</c:v>
                </c:pt>
                <c:pt idx="28832">
                  <c:v>1</c:v>
                </c:pt>
                <c:pt idx="28833">
                  <c:v>0</c:v>
                </c:pt>
                <c:pt idx="28834">
                  <c:v>0</c:v>
                </c:pt>
                <c:pt idx="28835">
                  <c:v>2</c:v>
                </c:pt>
                <c:pt idx="28836">
                  <c:v>0</c:v>
                </c:pt>
                <c:pt idx="28837">
                  <c:v>3</c:v>
                </c:pt>
                <c:pt idx="28838">
                  <c:v>4</c:v>
                </c:pt>
                <c:pt idx="28839">
                  <c:v>4</c:v>
                </c:pt>
                <c:pt idx="28840">
                  <c:v>2</c:v>
                </c:pt>
                <c:pt idx="28841">
                  <c:v>3</c:v>
                </c:pt>
                <c:pt idx="28842">
                  <c:v>6</c:v>
                </c:pt>
                <c:pt idx="28843">
                  <c:v>0</c:v>
                </c:pt>
                <c:pt idx="28844">
                  <c:v>0</c:v>
                </c:pt>
                <c:pt idx="28845">
                  <c:v>0</c:v>
                </c:pt>
                <c:pt idx="28846">
                  <c:v>0</c:v>
                </c:pt>
                <c:pt idx="28847">
                  <c:v>0</c:v>
                </c:pt>
                <c:pt idx="28848">
                  <c:v>0</c:v>
                </c:pt>
                <c:pt idx="28849">
                  <c:v>0</c:v>
                </c:pt>
                <c:pt idx="28850">
                  <c:v>0</c:v>
                </c:pt>
                <c:pt idx="28851">
                  <c:v>1</c:v>
                </c:pt>
                <c:pt idx="28852">
                  <c:v>0</c:v>
                </c:pt>
                <c:pt idx="28853">
                  <c:v>2</c:v>
                </c:pt>
                <c:pt idx="28854">
                  <c:v>0</c:v>
                </c:pt>
                <c:pt idx="28855">
                  <c:v>0</c:v>
                </c:pt>
                <c:pt idx="28856">
                  <c:v>0</c:v>
                </c:pt>
                <c:pt idx="28857">
                  <c:v>0</c:v>
                </c:pt>
                <c:pt idx="28858">
                  <c:v>0</c:v>
                </c:pt>
                <c:pt idx="28859">
                  <c:v>0</c:v>
                </c:pt>
                <c:pt idx="28860">
                  <c:v>0</c:v>
                </c:pt>
                <c:pt idx="28861">
                  <c:v>3</c:v>
                </c:pt>
                <c:pt idx="28862">
                  <c:v>1</c:v>
                </c:pt>
                <c:pt idx="28863">
                  <c:v>0</c:v>
                </c:pt>
                <c:pt idx="28864">
                  <c:v>0</c:v>
                </c:pt>
                <c:pt idx="28865">
                  <c:v>0</c:v>
                </c:pt>
                <c:pt idx="28866">
                  <c:v>0</c:v>
                </c:pt>
                <c:pt idx="28867">
                  <c:v>0</c:v>
                </c:pt>
                <c:pt idx="28868">
                  <c:v>0</c:v>
                </c:pt>
                <c:pt idx="28869">
                  <c:v>0</c:v>
                </c:pt>
                <c:pt idx="28870">
                  <c:v>0</c:v>
                </c:pt>
                <c:pt idx="28871">
                  <c:v>0</c:v>
                </c:pt>
                <c:pt idx="28872">
                  <c:v>0</c:v>
                </c:pt>
                <c:pt idx="28873">
                  <c:v>0</c:v>
                </c:pt>
                <c:pt idx="28874">
                  <c:v>0</c:v>
                </c:pt>
                <c:pt idx="28875">
                  <c:v>0</c:v>
                </c:pt>
                <c:pt idx="28876">
                  <c:v>0</c:v>
                </c:pt>
                <c:pt idx="28877">
                  <c:v>0</c:v>
                </c:pt>
                <c:pt idx="28878">
                  <c:v>0</c:v>
                </c:pt>
                <c:pt idx="28879">
                  <c:v>0</c:v>
                </c:pt>
                <c:pt idx="28880">
                  <c:v>4</c:v>
                </c:pt>
                <c:pt idx="28881">
                  <c:v>0</c:v>
                </c:pt>
                <c:pt idx="28882">
                  <c:v>1</c:v>
                </c:pt>
                <c:pt idx="28883">
                  <c:v>1</c:v>
                </c:pt>
                <c:pt idx="28884">
                  <c:v>0</c:v>
                </c:pt>
                <c:pt idx="28885">
                  <c:v>0</c:v>
                </c:pt>
                <c:pt idx="28886">
                  <c:v>4</c:v>
                </c:pt>
                <c:pt idx="28887">
                  <c:v>1</c:v>
                </c:pt>
                <c:pt idx="28888">
                  <c:v>0</c:v>
                </c:pt>
                <c:pt idx="28889">
                  <c:v>0</c:v>
                </c:pt>
                <c:pt idx="28890">
                  <c:v>0</c:v>
                </c:pt>
                <c:pt idx="28891">
                  <c:v>0</c:v>
                </c:pt>
                <c:pt idx="28892">
                  <c:v>0</c:v>
                </c:pt>
                <c:pt idx="28893">
                  <c:v>0</c:v>
                </c:pt>
                <c:pt idx="28894">
                  <c:v>0</c:v>
                </c:pt>
                <c:pt idx="28895">
                  <c:v>0</c:v>
                </c:pt>
                <c:pt idx="28896">
                  <c:v>0</c:v>
                </c:pt>
                <c:pt idx="28897">
                  <c:v>0</c:v>
                </c:pt>
                <c:pt idx="28898">
                  <c:v>0</c:v>
                </c:pt>
                <c:pt idx="28899">
                  <c:v>0</c:v>
                </c:pt>
                <c:pt idx="28900">
                  <c:v>0</c:v>
                </c:pt>
                <c:pt idx="28901">
                  <c:v>0</c:v>
                </c:pt>
                <c:pt idx="28902">
                  <c:v>1</c:v>
                </c:pt>
                <c:pt idx="28903">
                  <c:v>0</c:v>
                </c:pt>
                <c:pt idx="28904">
                  <c:v>0</c:v>
                </c:pt>
                <c:pt idx="28905">
                  <c:v>0</c:v>
                </c:pt>
                <c:pt idx="28906">
                  <c:v>1</c:v>
                </c:pt>
                <c:pt idx="28907">
                  <c:v>0</c:v>
                </c:pt>
                <c:pt idx="28908">
                  <c:v>2</c:v>
                </c:pt>
                <c:pt idx="28909">
                  <c:v>0</c:v>
                </c:pt>
                <c:pt idx="28910">
                  <c:v>0</c:v>
                </c:pt>
                <c:pt idx="28911">
                  <c:v>0</c:v>
                </c:pt>
                <c:pt idx="28912">
                  <c:v>0</c:v>
                </c:pt>
                <c:pt idx="28913">
                  <c:v>0</c:v>
                </c:pt>
                <c:pt idx="28914">
                  <c:v>0</c:v>
                </c:pt>
                <c:pt idx="28915">
                  <c:v>0</c:v>
                </c:pt>
                <c:pt idx="28916">
                  <c:v>0</c:v>
                </c:pt>
                <c:pt idx="28917">
                  <c:v>0</c:v>
                </c:pt>
                <c:pt idx="28918">
                  <c:v>2</c:v>
                </c:pt>
                <c:pt idx="28919">
                  <c:v>0</c:v>
                </c:pt>
                <c:pt idx="28920">
                  <c:v>1</c:v>
                </c:pt>
                <c:pt idx="28921">
                  <c:v>0</c:v>
                </c:pt>
                <c:pt idx="28922">
                  <c:v>0</c:v>
                </c:pt>
                <c:pt idx="28923">
                  <c:v>0</c:v>
                </c:pt>
                <c:pt idx="28924">
                  <c:v>0</c:v>
                </c:pt>
                <c:pt idx="28925">
                  <c:v>0</c:v>
                </c:pt>
                <c:pt idx="28926">
                  <c:v>0</c:v>
                </c:pt>
                <c:pt idx="28927">
                  <c:v>0</c:v>
                </c:pt>
                <c:pt idx="28928">
                  <c:v>0</c:v>
                </c:pt>
                <c:pt idx="28929">
                  <c:v>0</c:v>
                </c:pt>
                <c:pt idx="28930">
                  <c:v>0</c:v>
                </c:pt>
                <c:pt idx="28931">
                  <c:v>2</c:v>
                </c:pt>
                <c:pt idx="28932">
                  <c:v>0</c:v>
                </c:pt>
                <c:pt idx="28933">
                  <c:v>0</c:v>
                </c:pt>
                <c:pt idx="28934">
                  <c:v>0</c:v>
                </c:pt>
                <c:pt idx="28935">
                  <c:v>0</c:v>
                </c:pt>
                <c:pt idx="28936">
                  <c:v>0</c:v>
                </c:pt>
                <c:pt idx="28937">
                  <c:v>0</c:v>
                </c:pt>
                <c:pt idx="28938">
                  <c:v>0</c:v>
                </c:pt>
                <c:pt idx="28939">
                  <c:v>0</c:v>
                </c:pt>
                <c:pt idx="28940">
                  <c:v>0</c:v>
                </c:pt>
                <c:pt idx="28941">
                  <c:v>1</c:v>
                </c:pt>
                <c:pt idx="28942">
                  <c:v>0</c:v>
                </c:pt>
                <c:pt idx="28943">
                  <c:v>0</c:v>
                </c:pt>
                <c:pt idx="28944">
                  <c:v>0</c:v>
                </c:pt>
                <c:pt idx="28945">
                  <c:v>0</c:v>
                </c:pt>
                <c:pt idx="28946">
                  <c:v>0</c:v>
                </c:pt>
                <c:pt idx="28947">
                  <c:v>0</c:v>
                </c:pt>
                <c:pt idx="28948">
                  <c:v>0</c:v>
                </c:pt>
                <c:pt idx="28949">
                  <c:v>0</c:v>
                </c:pt>
                <c:pt idx="28950">
                  <c:v>0</c:v>
                </c:pt>
                <c:pt idx="28951">
                  <c:v>0</c:v>
                </c:pt>
                <c:pt idx="28952">
                  <c:v>0</c:v>
                </c:pt>
                <c:pt idx="28953">
                  <c:v>0</c:v>
                </c:pt>
                <c:pt idx="28954">
                  <c:v>0</c:v>
                </c:pt>
                <c:pt idx="28955">
                  <c:v>0</c:v>
                </c:pt>
                <c:pt idx="28956">
                  <c:v>0</c:v>
                </c:pt>
                <c:pt idx="28957">
                  <c:v>0</c:v>
                </c:pt>
                <c:pt idx="28958">
                  <c:v>0</c:v>
                </c:pt>
                <c:pt idx="28959">
                  <c:v>0</c:v>
                </c:pt>
                <c:pt idx="28960">
                  <c:v>0</c:v>
                </c:pt>
                <c:pt idx="28961">
                  <c:v>0</c:v>
                </c:pt>
                <c:pt idx="28962">
                  <c:v>0</c:v>
                </c:pt>
                <c:pt idx="28963">
                  <c:v>0</c:v>
                </c:pt>
                <c:pt idx="28964">
                  <c:v>0</c:v>
                </c:pt>
                <c:pt idx="28965">
                  <c:v>0</c:v>
                </c:pt>
                <c:pt idx="28966">
                  <c:v>0</c:v>
                </c:pt>
                <c:pt idx="28967">
                  <c:v>0</c:v>
                </c:pt>
                <c:pt idx="28968">
                  <c:v>0</c:v>
                </c:pt>
                <c:pt idx="28969">
                  <c:v>0</c:v>
                </c:pt>
                <c:pt idx="28970">
                  <c:v>0</c:v>
                </c:pt>
                <c:pt idx="28971">
                  <c:v>0</c:v>
                </c:pt>
                <c:pt idx="28972">
                  <c:v>0</c:v>
                </c:pt>
                <c:pt idx="28973">
                  <c:v>0</c:v>
                </c:pt>
                <c:pt idx="28974">
                  <c:v>1</c:v>
                </c:pt>
                <c:pt idx="28975">
                  <c:v>0</c:v>
                </c:pt>
                <c:pt idx="28976">
                  <c:v>0</c:v>
                </c:pt>
                <c:pt idx="28977">
                  <c:v>0</c:v>
                </c:pt>
                <c:pt idx="28978">
                  <c:v>0</c:v>
                </c:pt>
                <c:pt idx="28979">
                  <c:v>6</c:v>
                </c:pt>
                <c:pt idx="28980">
                  <c:v>0</c:v>
                </c:pt>
                <c:pt idx="28981">
                  <c:v>0</c:v>
                </c:pt>
                <c:pt idx="28982">
                  <c:v>1</c:v>
                </c:pt>
                <c:pt idx="28983">
                  <c:v>0</c:v>
                </c:pt>
                <c:pt idx="28984">
                  <c:v>0</c:v>
                </c:pt>
                <c:pt idx="28985">
                  <c:v>0</c:v>
                </c:pt>
                <c:pt idx="28986">
                  <c:v>0</c:v>
                </c:pt>
                <c:pt idx="28987">
                  <c:v>0</c:v>
                </c:pt>
                <c:pt idx="28988">
                  <c:v>0</c:v>
                </c:pt>
                <c:pt idx="28989">
                  <c:v>0</c:v>
                </c:pt>
                <c:pt idx="28990">
                  <c:v>0</c:v>
                </c:pt>
                <c:pt idx="28991">
                  <c:v>2</c:v>
                </c:pt>
                <c:pt idx="28992">
                  <c:v>5</c:v>
                </c:pt>
                <c:pt idx="28993">
                  <c:v>1</c:v>
                </c:pt>
                <c:pt idx="28994">
                  <c:v>1</c:v>
                </c:pt>
                <c:pt idx="28995">
                  <c:v>6</c:v>
                </c:pt>
                <c:pt idx="28996">
                  <c:v>4</c:v>
                </c:pt>
                <c:pt idx="28997">
                  <c:v>4</c:v>
                </c:pt>
                <c:pt idx="28998">
                  <c:v>7</c:v>
                </c:pt>
                <c:pt idx="28999">
                  <c:v>3</c:v>
                </c:pt>
                <c:pt idx="29000">
                  <c:v>4</c:v>
                </c:pt>
                <c:pt idx="29001">
                  <c:v>0</c:v>
                </c:pt>
                <c:pt idx="29002">
                  <c:v>6</c:v>
                </c:pt>
                <c:pt idx="29003">
                  <c:v>2</c:v>
                </c:pt>
                <c:pt idx="29004">
                  <c:v>15</c:v>
                </c:pt>
                <c:pt idx="29005">
                  <c:v>0</c:v>
                </c:pt>
                <c:pt idx="29006">
                  <c:v>0</c:v>
                </c:pt>
                <c:pt idx="29007">
                  <c:v>0</c:v>
                </c:pt>
                <c:pt idx="29008">
                  <c:v>0</c:v>
                </c:pt>
                <c:pt idx="29009">
                  <c:v>0</c:v>
                </c:pt>
                <c:pt idx="29010">
                  <c:v>0</c:v>
                </c:pt>
                <c:pt idx="29011">
                  <c:v>0</c:v>
                </c:pt>
                <c:pt idx="29012">
                  <c:v>0</c:v>
                </c:pt>
                <c:pt idx="29013">
                  <c:v>0</c:v>
                </c:pt>
                <c:pt idx="29014">
                  <c:v>4</c:v>
                </c:pt>
                <c:pt idx="29015">
                  <c:v>0</c:v>
                </c:pt>
                <c:pt idx="29016">
                  <c:v>0</c:v>
                </c:pt>
                <c:pt idx="29017">
                  <c:v>0</c:v>
                </c:pt>
                <c:pt idx="29018">
                  <c:v>0</c:v>
                </c:pt>
                <c:pt idx="29019">
                  <c:v>0</c:v>
                </c:pt>
                <c:pt idx="29020">
                  <c:v>0</c:v>
                </c:pt>
                <c:pt idx="29021">
                  <c:v>0</c:v>
                </c:pt>
                <c:pt idx="29022">
                  <c:v>0</c:v>
                </c:pt>
                <c:pt idx="29023">
                  <c:v>0</c:v>
                </c:pt>
                <c:pt idx="29024">
                  <c:v>2</c:v>
                </c:pt>
                <c:pt idx="29025">
                  <c:v>6</c:v>
                </c:pt>
                <c:pt idx="29026">
                  <c:v>0</c:v>
                </c:pt>
                <c:pt idx="29027">
                  <c:v>2</c:v>
                </c:pt>
                <c:pt idx="29028">
                  <c:v>0</c:v>
                </c:pt>
                <c:pt idx="29029">
                  <c:v>0</c:v>
                </c:pt>
                <c:pt idx="29030">
                  <c:v>0</c:v>
                </c:pt>
                <c:pt idx="29031">
                  <c:v>0</c:v>
                </c:pt>
                <c:pt idx="29032">
                  <c:v>0</c:v>
                </c:pt>
                <c:pt idx="29033">
                  <c:v>0</c:v>
                </c:pt>
                <c:pt idx="29034">
                  <c:v>5</c:v>
                </c:pt>
                <c:pt idx="29035">
                  <c:v>0</c:v>
                </c:pt>
                <c:pt idx="29036">
                  <c:v>0</c:v>
                </c:pt>
                <c:pt idx="29037">
                  <c:v>0</c:v>
                </c:pt>
                <c:pt idx="29038">
                  <c:v>3</c:v>
                </c:pt>
                <c:pt idx="29039">
                  <c:v>7</c:v>
                </c:pt>
                <c:pt idx="29040">
                  <c:v>0</c:v>
                </c:pt>
                <c:pt idx="29041">
                  <c:v>1</c:v>
                </c:pt>
                <c:pt idx="29042">
                  <c:v>0</c:v>
                </c:pt>
                <c:pt idx="29043">
                  <c:v>1</c:v>
                </c:pt>
                <c:pt idx="29044">
                  <c:v>4</c:v>
                </c:pt>
                <c:pt idx="29045">
                  <c:v>0</c:v>
                </c:pt>
                <c:pt idx="29046">
                  <c:v>2</c:v>
                </c:pt>
                <c:pt idx="29047">
                  <c:v>0</c:v>
                </c:pt>
                <c:pt idx="29048">
                  <c:v>0</c:v>
                </c:pt>
                <c:pt idx="29049">
                  <c:v>0</c:v>
                </c:pt>
                <c:pt idx="29050">
                  <c:v>0</c:v>
                </c:pt>
                <c:pt idx="29051">
                  <c:v>0</c:v>
                </c:pt>
                <c:pt idx="29052">
                  <c:v>0</c:v>
                </c:pt>
                <c:pt idx="29053">
                  <c:v>0</c:v>
                </c:pt>
                <c:pt idx="29054">
                  <c:v>0</c:v>
                </c:pt>
                <c:pt idx="29055">
                  <c:v>0</c:v>
                </c:pt>
                <c:pt idx="29056">
                  <c:v>0</c:v>
                </c:pt>
                <c:pt idx="29057">
                  <c:v>0</c:v>
                </c:pt>
                <c:pt idx="29058">
                  <c:v>0</c:v>
                </c:pt>
                <c:pt idx="29059">
                  <c:v>0</c:v>
                </c:pt>
                <c:pt idx="29060">
                  <c:v>0</c:v>
                </c:pt>
                <c:pt idx="29061">
                  <c:v>0</c:v>
                </c:pt>
                <c:pt idx="29062">
                  <c:v>0</c:v>
                </c:pt>
                <c:pt idx="29063">
                  <c:v>0</c:v>
                </c:pt>
                <c:pt idx="29064">
                  <c:v>0</c:v>
                </c:pt>
                <c:pt idx="29065">
                  <c:v>0</c:v>
                </c:pt>
                <c:pt idx="29066">
                  <c:v>1</c:v>
                </c:pt>
                <c:pt idx="29067">
                  <c:v>0</c:v>
                </c:pt>
                <c:pt idx="29068">
                  <c:v>0</c:v>
                </c:pt>
                <c:pt idx="29069">
                  <c:v>0</c:v>
                </c:pt>
                <c:pt idx="29070">
                  <c:v>0</c:v>
                </c:pt>
                <c:pt idx="29071">
                  <c:v>0</c:v>
                </c:pt>
                <c:pt idx="29072">
                  <c:v>0</c:v>
                </c:pt>
                <c:pt idx="29073">
                  <c:v>0</c:v>
                </c:pt>
                <c:pt idx="29074">
                  <c:v>0</c:v>
                </c:pt>
                <c:pt idx="29075">
                  <c:v>0</c:v>
                </c:pt>
                <c:pt idx="29076">
                  <c:v>0</c:v>
                </c:pt>
                <c:pt idx="29077">
                  <c:v>0</c:v>
                </c:pt>
                <c:pt idx="29078">
                  <c:v>0</c:v>
                </c:pt>
                <c:pt idx="29079">
                  <c:v>0</c:v>
                </c:pt>
                <c:pt idx="29080">
                  <c:v>0</c:v>
                </c:pt>
                <c:pt idx="29081">
                  <c:v>0</c:v>
                </c:pt>
                <c:pt idx="29082">
                  <c:v>2</c:v>
                </c:pt>
                <c:pt idx="29083">
                  <c:v>0</c:v>
                </c:pt>
                <c:pt idx="29084">
                  <c:v>0</c:v>
                </c:pt>
                <c:pt idx="29085">
                  <c:v>0</c:v>
                </c:pt>
                <c:pt idx="29086">
                  <c:v>4</c:v>
                </c:pt>
                <c:pt idx="29087">
                  <c:v>0</c:v>
                </c:pt>
                <c:pt idx="29088">
                  <c:v>0</c:v>
                </c:pt>
                <c:pt idx="29089">
                  <c:v>0</c:v>
                </c:pt>
                <c:pt idx="29090">
                  <c:v>0</c:v>
                </c:pt>
                <c:pt idx="29091">
                  <c:v>1</c:v>
                </c:pt>
                <c:pt idx="29092">
                  <c:v>2</c:v>
                </c:pt>
                <c:pt idx="29093">
                  <c:v>0</c:v>
                </c:pt>
                <c:pt idx="29094">
                  <c:v>0</c:v>
                </c:pt>
                <c:pt idx="29095">
                  <c:v>0</c:v>
                </c:pt>
                <c:pt idx="29096">
                  <c:v>0</c:v>
                </c:pt>
                <c:pt idx="29097">
                  <c:v>0</c:v>
                </c:pt>
                <c:pt idx="29098">
                  <c:v>0</c:v>
                </c:pt>
                <c:pt idx="29099">
                  <c:v>0</c:v>
                </c:pt>
                <c:pt idx="29100">
                  <c:v>0</c:v>
                </c:pt>
                <c:pt idx="29101">
                  <c:v>0</c:v>
                </c:pt>
                <c:pt idx="29102">
                  <c:v>0</c:v>
                </c:pt>
                <c:pt idx="29103">
                  <c:v>0</c:v>
                </c:pt>
                <c:pt idx="29104">
                  <c:v>0</c:v>
                </c:pt>
                <c:pt idx="29105">
                  <c:v>0</c:v>
                </c:pt>
                <c:pt idx="29106">
                  <c:v>0</c:v>
                </c:pt>
                <c:pt idx="29107">
                  <c:v>0</c:v>
                </c:pt>
                <c:pt idx="29108">
                  <c:v>1</c:v>
                </c:pt>
                <c:pt idx="29109">
                  <c:v>6</c:v>
                </c:pt>
                <c:pt idx="29110">
                  <c:v>0</c:v>
                </c:pt>
                <c:pt idx="29111">
                  <c:v>0</c:v>
                </c:pt>
                <c:pt idx="29112">
                  <c:v>0</c:v>
                </c:pt>
                <c:pt idx="29113">
                  <c:v>0</c:v>
                </c:pt>
                <c:pt idx="29114">
                  <c:v>0</c:v>
                </c:pt>
                <c:pt idx="29115">
                  <c:v>0</c:v>
                </c:pt>
                <c:pt idx="29116">
                  <c:v>0</c:v>
                </c:pt>
                <c:pt idx="29117">
                  <c:v>0</c:v>
                </c:pt>
                <c:pt idx="29118">
                  <c:v>0</c:v>
                </c:pt>
                <c:pt idx="29119">
                  <c:v>0</c:v>
                </c:pt>
                <c:pt idx="29120">
                  <c:v>0</c:v>
                </c:pt>
                <c:pt idx="29121">
                  <c:v>0</c:v>
                </c:pt>
                <c:pt idx="29122">
                  <c:v>0</c:v>
                </c:pt>
                <c:pt idx="29123">
                  <c:v>0</c:v>
                </c:pt>
                <c:pt idx="29124">
                  <c:v>0</c:v>
                </c:pt>
                <c:pt idx="29125">
                  <c:v>0</c:v>
                </c:pt>
                <c:pt idx="29126">
                  <c:v>0</c:v>
                </c:pt>
                <c:pt idx="29127">
                  <c:v>0</c:v>
                </c:pt>
                <c:pt idx="29128">
                  <c:v>0</c:v>
                </c:pt>
                <c:pt idx="29129">
                  <c:v>0</c:v>
                </c:pt>
                <c:pt idx="29130">
                  <c:v>0</c:v>
                </c:pt>
                <c:pt idx="29131">
                  <c:v>0</c:v>
                </c:pt>
                <c:pt idx="29132">
                  <c:v>0</c:v>
                </c:pt>
                <c:pt idx="29133">
                  <c:v>0</c:v>
                </c:pt>
                <c:pt idx="29134">
                  <c:v>0</c:v>
                </c:pt>
                <c:pt idx="29135">
                  <c:v>2</c:v>
                </c:pt>
                <c:pt idx="29136">
                  <c:v>0</c:v>
                </c:pt>
                <c:pt idx="29137">
                  <c:v>0</c:v>
                </c:pt>
                <c:pt idx="29138">
                  <c:v>0</c:v>
                </c:pt>
                <c:pt idx="29139">
                  <c:v>0</c:v>
                </c:pt>
                <c:pt idx="29140">
                  <c:v>0</c:v>
                </c:pt>
                <c:pt idx="29141">
                  <c:v>0</c:v>
                </c:pt>
                <c:pt idx="29142">
                  <c:v>0</c:v>
                </c:pt>
                <c:pt idx="29143">
                  <c:v>0</c:v>
                </c:pt>
                <c:pt idx="29144">
                  <c:v>0</c:v>
                </c:pt>
                <c:pt idx="29145">
                  <c:v>1</c:v>
                </c:pt>
                <c:pt idx="29146">
                  <c:v>0</c:v>
                </c:pt>
                <c:pt idx="29147">
                  <c:v>0</c:v>
                </c:pt>
                <c:pt idx="29148">
                  <c:v>0</c:v>
                </c:pt>
                <c:pt idx="29149">
                  <c:v>0</c:v>
                </c:pt>
                <c:pt idx="29150">
                  <c:v>0</c:v>
                </c:pt>
                <c:pt idx="29151">
                  <c:v>0</c:v>
                </c:pt>
              </c:numCache>
            </c:numRef>
          </c:yVal>
          <c:smooth val="0"/>
          <c:extLst>
            <c:ext xmlns:c16="http://schemas.microsoft.com/office/drawing/2014/chart" uri="{C3380CC4-5D6E-409C-BE32-E72D297353CC}">
              <c16:uniqueId val="{00000000-CB65-4934-8D44-4BED3660170D}"/>
            </c:ext>
          </c:extLst>
        </c:ser>
        <c:dLbls>
          <c:showLegendKey val="0"/>
          <c:showVal val="0"/>
          <c:showCatName val="0"/>
          <c:showSerName val="0"/>
          <c:showPercent val="0"/>
          <c:showBubbleSize val="0"/>
        </c:dLbls>
        <c:axId val="1195236719"/>
        <c:axId val="2115729904"/>
      </c:scatterChart>
      <c:valAx>
        <c:axId val="11952367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a:latin typeface="Helvetica Neue" panose="020B0604020202020204" charset="0"/>
                  </a:rPr>
                  <a:t>GD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2115729904"/>
        <c:crosses val="autoZero"/>
        <c:crossBetween val="midCat"/>
      </c:valAx>
      <c:valAx>
        <c:axId val="21157299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a:latin typeface="Helvetica Neue" panose="020B0604020202020204" charset="0"/>
                  </a:rPr>
                  <a:t>Starbucks</a:t>
                </a:r>
                <a:r>
                  <a:rPr lang="en-CA"/>
                  <a:t> 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52367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CA">
                <a:latin typeface="Helvetica Neue" panose="020B0604020202020204" charset="0"/>
              </a:rPr>
              <a:t>Starbucks stores by Total Worker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Q$1</c:f>
              <c:strCache>
                <c:ptCount val="1"/>
                <c:pt idx="0">
                  <c:v>Starbucks stores</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1!$H$2:$H$29153</c:f>
              <c:numCache>
                <c:formatCode>0</c:formatCode>
                <c:ptCount val="29152"/>
                <c:pt idx="0">
                  <c:v>138</c:v>
                </c:pt>
                <c:pt idx="1">
                  <c:v>240</c:v>
                </c:pt>
                <c:pt idx="2">
                  <c:v>67</c:v>
                </c:pt>
                <c:pt idx="3">
                  <c:v>109</c:v>
                </c:pt>
                <c:pt idx="4">
                  <c:v>350</c:v>
                </c:pt>
                <c:pt idx="5">
                  <c:v>48</c:v>
                </c:pt>
                <c:pt idx="6">
                  <c:v>42</c:v>
                </c:pt>
                <c:pt idx="7">
                  <c:v>21</c:v>
                </c:pt>
                <c:pt idx="8">
                  <c:v>173</c:v>
                </c:pt>
                <c:pt idx="9">
                  <c:v>37</c:v>
                </c:pt>
                <c:pt idx="10">
                  <c:v>110</c:v>
                </c:pt>
                <c:pt idx="11">
                  <c:v>124</c:v>
                </c:pt>
                <c:pt idx="12">
                  <c:v>51</c:v>
                </c:pt>
                <c:pt idx="13">
                  <c:v>88</c:v>
                </c:pt>
                <c:pt idx="14">
                  <c:v>45</c:v>
                </c:pt>
                <c:pt idx="15">
                  <c:v>20</c:v>
                </c:pt>
                <c:pt idx="16">
                  <c:v>24</c:v>
                </c:pt>
                <c:pt idx="17">
                  <c:v>65</c:v>
                </c:pt>
                <c:pt idx="18">
                  <c:v>4141</c:v>
                </c:pt>
                <c:pt idx="19">
                  <c:v>11166</c:v>
                </c:pt>
                <c:pt idx="20">
                  <c:v>12133</c:v>
                </c:pt>
                <c:pt idx="21">
                  <c:v>1520</c:v>
                </c:pt>
                <c:pt idx="22">
                  <c:v>8567</c:v>
                </c:pt>
                <c:pt idx="23">
                  <c:v>437</c:v>
                </c:pt>
                <c:pt idx="24">
                  <c:v>16880</c:v>
                </c:pt>
                <c:pt idx="25">
                  <c:v>3147</c:v>
                </c:pt>
                <c:pt idx="26">
                  <c:v>6172</c:v>
                </c:pt>
                <c:pt idx="27">
                  <c:v>2168</c:v>
                </c:pt>
                <c:pt idx="28">
                  <c:v>11779</c:v>
                </c:pt>
                <c:pt idx="29">
                  <c:v>6067</c:v>
                </c:pt>
                <c:pt idx="30">
                  <c:v>9983</c:v>
                </c:pt>
                <c:pt idx="31">
                  <c:v>198</c:v>
                </c:pt>
                <c:pt idx="32">
                  <c:v>6068</c:v>
                </c:pt>
                <c:pt idx="33">
                  <c:v>3514</c:v>
                </c:pt>
                <c:pt idx="34">
                  <c:v>5503</c:v>
                </c:pt>
                <c:pt idx="35">
                  <c:v>12224</c:v>
                </c:pt>
                <c:pt idx="36">
                  <c:v>911</c:v>
                </c:pt>
                <c:pt idx="37">
                  <c:v>3937</c:v>
                </c:pt>
                <c:pt idx="38">
                  <c:v>939</c:v>
                </c:pt>
                <c:pt idx="39">
                  <c:v>1958</c:v>
                </c:pt>
                <c:pt idx="40">
                  <c:v>4574</c:v>
                </c:pt>
                <c:pt idx="41">
                  <c:v>12210</c:v>
                </c:pt>
                <c:pt idx="42">
                  <c:v>4857</c:v>
                </c:pt>
                <c:pt idx="43">
                  <c:v>10867</c:v>
                </c:pt>
                <c:pt idx="44">
                  <c:v>3498</c:v>
                </c:pt>
                <c:pt idx="45">
                  <c:v>6061</c:v>
                </c:pt>
                <c:pt idx="46">
                  <c:v>7597</c:v>
                </c:pt>
                <c:pt idx="47">
                  <c:v>2270</c:v>
                </c:pt>
                <c:pt idx="48">
                  <c:v>10802</c:v>
                </c:pt>
                <c:pt idx="49">
                  <c:v>9542</c:v>
                </c:pt>
                <c:pt idx="50">
                  <c:v>5228</c:v>
                </c:pt>
                <c:pt idx="51">
                  <c:v>7813</c:v>
                </c:pt>
                <c:pt idx="52">
                  <c:v>10885</c:v>
                </c:pt>
                <c:pt idx="53">
                  <c:v>7708</c:v>
                </c:pt>
                <c:pt idx="54">
                  <c:v>6577</c:v>
                </c:pt>
                <c:pt idx="55">
                  <c:v>10712</c:v>
                </c:pt>
                <c:pt idx="56">
                  <c:v>8610</c:v>
                </c:pt>
                <c:pt idx="57">
                  <c:v>2985</c:v>
                </c:pt>
                <c:pt idx="58">
                  <c:v>1564</c:v>
                </c:pt>
                <c:pt idx="59">
                  <c:v>10213</c:v>
                </c:pt>
                <c:pt idx="60">
                  <c:v>16852</c:v>
                </c:pt>
                <c:pt idx="61">
                  <c:v>8906</c:v>
                </c:pt>
                <c:pt idx="62">
                  <c:v>8754</c:v>
                </c:pt>
                <c:pt idx="63">
                  <c:v>2255</c:v>
                </c:pt>
                <c:pt idx="64">
                  <c:v>7231</c:v>
                </c:pt>
                <c:pt idx="65">
                  <c:v>2209</c:v>
                </c:pt>
                <c:pt idx="66">
                  <c:v>3518</c:v>
                </c:pt>
                <c:pt idx="67">
                  <c:v>335</c:v>
                </c:pt>
                <c:pt idx="68">
                  <c:v>6979</c:v>
                </c:pt>
                <c:pt idx="69">
                  <c:v>3525</c:v>
                </c:pt>
                <c:pt idx="70">
                  <c:v>6035</c:v>
                </c:pt>
                <c:pt idx="71">
                  <c:v>7804</c:v>
                </c:pt>
                <c:pt idx="72">
                  <c:v>4708</c:v>
                </c:pt>
                <c:pt idx="73">
                  <c:v>3869</c:v>
                </c:pt>
                <c:pt idx="74">
                  <c:v>26331</c:v>
                </c:pt>
                <c:pt idx="75">
                  <c:v>19826</c:v>
                </c:pt>
                <c:pt idx="76">
                  <c:v>11101</c:v>
                </c:pt>
                <c:pt idx="77">
                  <c:v>15686</c:v>
                </c:pt>
                <c:pt idx="78">
                  <c:v>8678</c:v>
                </c:pt>
                <c:pt idx="79">
                  <c:v>2588</c:v>
                </c:pt>
                <c:pt idx="80">
                  <c:v>3666</c:v>
                </c:pt>
                <c:pt idx="81">
                  <c:v>14800</c:v>
                </c:pt>
                <c:pt idx="82">
                  <c:v>9148</c:v>
                </c:pt>
                <c:pt idx="83">
                  <c:v>11131</c:v>
                </c:pt>
                <c:pt idx="84">
                  <c:v>579</c:v>
                </c:pt>
                <c:pt idx="85">
                  <c:v>1257</c:v>
                </c:pt>
                <c:pt idx="86">
                  <c:v>15599</c:v>
                </c:pt>
                <c:pt idx="87">
                  <c:v>5585</c:v>
                </c:pt>
                <c:pt idx="88">
                  <c:v>10761</c:v>
                </c:pt>
                <c:pt idx="89">
                  <c:v>6930</c:v>
                </c:pt>
                <c:pt idx="90">
                  <c:v>1997</c:v>
                </c:pt>
                <c:pt idx="91">
                  <c:v>6161</c:v>
                </c:pt>
                <c:pt idx="92">
                  <c:v>8251</c:v>
                </c:pt>
                <c:pt idx="93">
                  <c:v>10089</c:v>
                </c:pt>
                <c:pt idx="94">
                  <c:v>10185</c:v>
                </c:pt>
                <c:pt idx="95">
                  <c:v>4662</c:v>
                </c:pt>
                <c:pt idx="96">
                  <c:v>5028</c:v>
                </c:pt>
                <c:pt idx="97">
                  <c:v>621</c:v>
                </c:pt>
                <c:pt idx="98">
                  <c:v>12594</c:v>
                </c:pt>
                <c:pt idx="99">
                  <c:v>16310</c:v>
                </c:pt>
                <c:pt idx="100">
                  <c:v>4066</c:v>
                </c:pt>
                <c:pt idx="101">
                  <c:v>5575</c:v>
                </c:pt>
                <c:pt idx="102">
                  <c:v>9508</c:v>
                </c:pt>
                <c:pt idx="103">
                  <c:v>8631</c:v>
                </c:pt>
                <c:pt idx="104">
                  <c:v>12918</c:v>
                </c:pt>
                <c:pt idx="105">
                  <c:v>7974</c:v>
                </c:pt>
                <c:pt idx="106">
                  <c:v>12625</c:v>
                </c:pt>
                <c:pt idx="107">
                  <c:v>2448</c:v>
                </c:pt>
                <c:pt idx="108">
                  <c:v>139</c:v>
                </c:pt>
                <c:pt idx="109">
                  <c:v>7726</c:v>
                </c:pt>
                <c:pt idx="110">
                  <c:v>2031</c:v>
                </c:pt>
                <c:pt idx="111">
                  <c:v>3361</c:v>
                </c:pt>
                <c:pt idx="112">
                  <c:v>2682</c:v>
                </c:pt>
                <c:pt idx="113">
                  <c:v>1388</c:v>
                </c:pt>
                <c:pt idx="114">
                  <c:v>7865</c:v>
                </c:pt>
                <c:pt idx="115">
                  <c:v>5843</c:v>
                </c:pt>
                <c:pt idx="116">
                  <c:v>6516</c:v>
                </c:pt>
                <c:pt idx="117">
                  <c:v>7099</c:v>
                </c:pt>
                <c:pt idx="118">
                  <c:v>10844</c:v>
                </c:pt>
                <c:pt idx="119">
                  <c:v>8372</c:v>
                </c:pt>
                <c:pt idx="120">
                  <c:v>15807</c:v>
                </c:pt>
                <c:pt idx="121">
                  <c:v>2468</c:v>
                </c:pt>
                <c:pt idx="122">
                  <c:v>37285</c:v>
                </c:pt>
                <c:pt idx="123">
                  <c:v>5624</c:v>
                </c:pt>
                <c:pt idx="124">
                  <c:v>26392</c:v>
                </c:pt>
                <c:pt idx="125">
                  <c:v>103</c:v>
                </c:pt>
                <c:pt idx="126">
                  <c:v>2242</c:v>
                </c:pt>
                <c:pt idx="127">
                  <c:v>25247</c:v>
                </c:pt>
                <c:pt idx="128">
                  <c:v>23017</c:v>
                </c:pt>
                <c:pt idx="129">
                  <c:v>13895</c:v>
                </c:pt>
                <c:pt idx="130">
                  <c:v>18316</c:v>
                </c:pt>
                <c:pt idx="131">
                  <c:v>11085</c:v>
                </c:pt>
                <c:pt idx="132">
                  <c:v>5828</c:v>
                </c:pt>
                <c:pt idx="133">
                  <c:v>1390</c:v>
                </c:pt>
                <c:pt idx="134">
                  <c:v>5855</c:v>
                </c:pt>
                <c:pt idx="135">
                  <c:v>1454</c:v>
                </c:pt>
                <c:pt idx="136">
                  <c:v>17010</c:v>
                </c:pt>
                <c:pt idx="137">
                  <c:v>10348</c:v>
                </c:pt>
                <c:pt idx="138">
                  <c:v>24094</c:v>
                </c:pt>
                <c:pt idx="139">
                  <c:v>7863</c:v>
                </c:pt>
                <c:pt idx="140">
                  <c:v>4868</c:v>
                </c:pt>
                <c:pt idx="141">
                  <c:v>12145</c:v>
                </c:pt>
                <c:pt idx="142">
                  <c:v>11030</c:v>
                </c:pt>
                <c:pt idx="143">
                  <c:v>20232</c:v>
                </c:pt>
                <c:pt idx="144">
                  <c:v>8252</c:v>
                </c:pt>
                <c:pt idx="145">
                  <c:v>13536</c:v>
                </c:pt>
                <c:pt idx="146">
                  <c:v>2681</c:v>
                </c:pt>
                <c:pt idx="147">
                  <c:v>8584</c:v>
                </c:pt>
                <c:pt idx="148">
                  <c:v>598</c:v>
                </c:pt>
                <c:pt idx="149">
                  <c:v>378</c:v>
                </c:pt>
                <c:pt idx="150">
                  <c:v>1741</c:v>
                </c:pt>
                <c:pt idx="151">
                  <c:v>647</c:v>
                </c:pt>
                <c:pt idx="152">
                  <c:v>295</c:v>
                </c:pt>
                <c:pt idx="153">
                  <c:v>10683</c:v>
                </c:pt>
                <c:pt idx="154">
                  <c:v>14619</c:v>
                </c:pt>
                <c:pt idx="155">
                  <c:v>928</c:v>
                </c:pt>
                <c:pt idx="156">
                  <c:v>489</c:v>
                </c:pt>
                <c:pt idx="157">
                  <c:v>9365</c:v>
                </c:pt>
                <c:pt idx="158">
                  <c:v>7569</c:v>
                </c:pt>
                <c:pt idx="159">
                  <c:v>1261</c:v>
                </c:pt>
                <c:pt idx="160">
                  <c:v>283</c:v>
                </c:pt>
                <c:pt idx="161">
                  <c:v>6839</c:v>
                </c:pt>
                <c:pt idx="162">
                  <c:v>723</c:v>
                </c:pt>
                <c:pt idx="163">
                  <c:v>240</c:v>
                </c:pt>
                <c:pt idx="164">
                  <c:v>3791</c:v>
                </c:pt>
                <c:pt idx="165">
                  <c:v>1006</c:v>
                </c:pt>
                <c:pt idx="166">
                  <c:v>2526</c:v>
                </c:pt>
                <c:pt idx="167">
                  <c:v>2509</c:v>
                </c:pt>
                <c:pt idx="168">
                  <c:v>248</c:v>
                </c:pt>
                <c:pt idx="169">
                  <c:v>1421</c:v>
                </c:pt>
                <c:pt idx="170">
                  <c:v>1042</c:v>
                </c:pt>
                <c:pt idx="171">
                  <c:v>15093</c:v>
                </c:pt>
                <c:pt idx="172">
                  <c:v>1454</c:v>
                </c:pt>
                <c:pt idx="173">
                  <c:v>592</c:v>
                </c:pt>
                <c:pt idx="174">
                  <c:v>885</c:v>
                </c:pt>
                <c:pt idx="175">
                  <c:v>10400</c:v>
                </c:pt>
                <c:pt idx="176">
                  <c:v>4095</c:v>
                </c:pt>
                <c:pt idx="177">
                  <c:v>8219</c:v>
                </c:pt>
                <c:pt idx="178">
                  <c:v>4816</c:v>
                </c:pt>
                <c:pt idx="179">
                  <c:v>812</c:v>
                </c:pt>
                <c:pt idx="180">
                  <c:v>4288</c:v>
                </c:pt>
                <c:pt idx="181">
                  <c:v>326</c:v>
                </c:pt>
                <c:pt idx="182">
                  <c:v>664</c:v>
                </c:pt>
                <c:pt idx="183">
                  <c:v>654</c:v>
                </c:pt>
                <c:pt idx="184">
                  <c:v>3314</c:v>
                </c:pt>
                <c:pt idx="185">
                  <c:v>9291</c:v>
                </c:pt>
                <c:pt idx="186">
                  <c:v>4998</c:v>
                </c:pt>
                <c:pt idx="187">
                  <c:v>1147</c:v>
                </c:pt>
                <c:pt idx="188">
                  <c:v>972</c:v>
                </c:pt>
                <c:pt idx="189">
                  <c:v>4888</c:v>
                </c:pt>
                <c:pt idx="190">
                  <c:v>1304</c:v>
                </c:pt>
                <c:pt idx="191">
                  <c:v>47</c:v>
                </c:pt>
                <c:pt idx="192">
                  <c:v>19999</c:v>
                </c:pt>
                <c:pt idx="193">
                  <c:v>427</c:v>
                </c:pt>
                <c:pt idx="194">
                  <c:v>14817</c:v>
                </c:pt>
                <c:pt idx="195">
                  <c:v>657</c:v>
                </c:pt>
                <c:pt idx="196">
                  <c:v>104</c:v>
                </c:pt>
                <c:pt idx="197">
                  <c:v>7613</c:v>
                </c:pt>
                <c:pt idx="198">
                  <c:v>1480</c:v>
                </c:pt>
                <c:pt idx="199">
                  <c:v>608</c:v>
                </c:pt>
                <c:pt idx="200">
                  <c:v>962</c:v>
                </c:pt>
                <c:pt idx="201">
                  <c:v>9142</c:v>
                </c:pt>
                <c:pt idx="202">
                  <c:v>46</c:v>
                </c:pt>
                <c:pt idx="203">
                  <c:v>3558</c:v>
                </c:pt>
                <c:pt idx="204">
                  <c:v>7088</c:v>
                </c:pt>
                <c:pt idx="205">
                  <c:v>3917</c:v>
                </c:pt>
                <c:pt idx="206">
                  <c:v>11306</c:v>
                </c:pt>
                <c:pt idx="207">
                  <c:v>10956</c:v>
                </c:pt>
                <c:pt idx="208">
                  <c:v>7208</c:v>
                </c:pt>
                <c:pt idx="209">
                  <c:v>5443</c:v>
                </c:pt>
                <c:pt idx="210">
                  <c:v>1580</c:v>
                </c:pt>
                <c:pt idx="211">
                  <c:v>2961</c:v>
                </c:pt>
                <c:pt idx="212">
                  <c:v>4125</c:v>
                </c:pt>
                <c:pt idx="213">
                  <c:v>21739</c:v>
                </c:pt>
                <c:pt idx="214">
                  <c:v>3817</c:v>
                </c:pt>
                <c:pt idx="215">
                  <c:v>227</c:v>
                </c:pt>
                <c:pt idx="216">
                  <c:v>364</c:v>
                </c:pt>
                <c:pt idx="217">
                  <c:v>1389</c:v>
                </c:pt>
                <c:pt idx="218">
                  <c:v>1473</c:v>
                </c:pt>
                <c:pt idx="219">
                  <c:v>2977</c:v>
                </c:pt>
                <c:pt idx="220">
                  <c:v>4594</c:v>
                </c:pt>
                <c:pt idx="221">
                  <c:v>1296</c:v>
                </c:pt>
                <c:pt idx="222">
                  <c:v>926</c:v>
                </c:pt>
                <c:pt idx="223">
                  <c:v>1170</c:v>
                </c:pt>
                <c:pt idx="224">
                  <c:v>2898</c:v>
                </c:pt>
                <c:pt idx="225">
                  <c:v>1926</c:v>
                </c:pt>
                <c:pt idx="226">
                  <c:v>104</c:v>
                </c:pt>
                <c:pt idx="227">
                  <c:v>64</c:v>
                </c:pt>
                <c:pt idx="228">
                  <c:v>323</c:v>
                </c:pt>
                <c:pt idx="229">
                  <c:v>7193</c:v>
                </c:pt>
                <c:pt idx="230">
                  <c:v>462</c:v>
                </c:pt>
                <c:pt idx="231">
                  <c:v>518</c:v>
                </c:pt>
                <c:pt idx="232">
                  <c:v>421</c:v>
                </c:pt>
                <c:pt idx="233">
                  <c:v>325</c:v>
                </c:pt>
                <c:pt idx="234">
                  <c:v>1042</c:v>
                </c:pt>
                <c:pt idx="235">
                  <c:v>90</c:v>
                </c:pt>
                <c:pt idx="236">
                  <c:v>334</c:v>
                </c:pt>
                <c:pt idx="237">
                  <c:v>605</c:v>
                </c:pt>
                <c:pt idx="238">
                  <c:v>138</c:v>
                </c:pt>
                <c:pt idx="239">
                  <c:v>500</c:v>
                </c:pt>
                <c:pt idx="240">
                  <c:v>3896</c:v>
                </c:pt>
                <c:pt idx="241">
                  <c:v>545</c:v>
                </c:pt>
                <c:pt idx="242">
                  <c:v>8112</c:v>
                </c:pt>
                <c:pt idx="243">
                  <c:v>791</c:v>
                </c:pt>
                <c:pt idx="244">
                  <c:v>6500</c:v>
                </c:pt>
                <c:pt idx="245">
                  <c:v>605</c:v>
                </c:pt>
                <c:pt idx="246">
                  <c:v>901</c:v>
                </c:pt>
                <c:pt idx="247">
                  <c:v>868</c:v>
                </c:pt>
                <c:pt idx="248">
                  <c:v>515</c:v>
                </c:pt>
                <c:pt idx="249">
                  <c:v>80</c:v>
                </c:pt>
                <c:pt idx="250">
                  <c:v>784</c:v>
                </c:pt>
                <c:pt idx="251">
                  <c:v>268</c:v>
                </c:pt>
                <c:pt idx="252">
                  <c:v>405</c:v>
                </c:pt>
                <c:pt idx="253">
                  <c:v>55</c:v>
                </c:pt>
                <c:pt idx="254">
                  <c:v>1527</c:v>
                </c:pt>
                <c:pt idx="255">
                  <c:v>984</c:v>
                </c:pt>
                <c:pt idx="256">
                  <c:v>590</c:v>
                </c:pt>
                <c:pt idx="257">
                  <c:v>1553</c:v>
                </c:pt>
                <c:pt idx="258">
                  <c:v>3366</c:v>
                </c:pt>
                <c:pt idx="259">
                  <c:v>577</c:v>
                </c:pt>
                <c:pt idx="260">
                  <c:v>199</c:v>
                </c:pt>
                <c:pt idx="261">
                  <c:v>264</c:v>
                </c:pt>
                <c:pt idx="262">
                  <c:v>709</c:v>
                </c:pt>
                <c:pt idx="263">
                  <c:v>1705</c:v>
                </c:pt>
                <c:pt idx="264">
                  <c:v>2858</c:v>
                </c:pt>
                <c:pt idx="265">
                  <c:v>2431</c:v>
                </c:pt>
                <c:pt idx="266">
                  <c:v>2494</c:v>
                </c:pt>
                <c:pt idx="267">
                  <c:v>377</c:v>
                </c:pt>
                <c:pt idx="268">
                  <c:v>356</c:v>
                </c:pt>
                <c:pt idx="269">
                  <c:v>20203</c:v>
                </c:pt>
                <c:pt idx="270">
                  <c:v>3034</c:v>
                </c:pt>
                <c:pt idx="271">
                  <c:v>1831</c:v>
                </c:pt>
                <c:pt idx="272">
                  <c:v>4605</c:v>
                </c:pt>
                <c:pt idx="273">
                  <c:v>638</c:v>
                </c:pt>
                <c:pt idx="274">
                  <c:v>1471</c:v>
                </c:pt>
                <c:pt idx="275">
                  <c:v>9681</c:v>
                </c:pt>
                <c:pt idx="276">
                  <c:v>5719</c:v>
                </c:pt>
                <c:pt idx="277">
                  <c:v>2431</c:v>
                </c:pt>
                <c:pt idx="278">
                  <c:v>2328</c:v>
                </c:pt>
                <c:pt idx="279">
                  <c:v>22481</c:v>
                </c:pt>
                <c:pt idx="280">
                  <c:v>5028</c:v>
                </c:pt>
                <c:pt idx="281">
                  <c:v>5989</c:v>
                </c:pt>
                <c:pt idx="282">
                  <c:v>6149</c:v>
                </c:pt>
                <c:pt idx="283">
                  <c:v>3078</c:v>
                </c:pt>
                <c:pt idx="284">
                  <c:v>2507</c:v>
                </c:pt>
                <c:pt idx="285">
                  <c:v>3906</c:v>
                </c:pt>
                <c:pt idx="286">
                  <c:v>4186</c:v>
                </c:pt>
                <c:pt idx="287">
                  <c:v>1047</c:v>
                </c:pt>
                <c:pt idx="288">
                  <c:v>4765</c:v>
                </c:pt>
                <c:pt idx="289">
                  <c:v>8138</c:v>
                </c:pt>
                <c:pt idx="290">
                  <c:v>1703</c:v>
                </c:pt>
                <c:pt idx="291">
                  <c:v>5177</c:v>
                </c:pt>
                <c:pt idx="292">
                  <c:v>2537</c:v>
                </c:pt>
                <c:pt idx="293">
                  <c:v>1804</c:v>
                </c:pt>
                <c:pt idx="294">
                  <c:v>6477</c:v>
                </c:pt>
                <c:pt idx="295">
                  <c:v>8630</c:v>
                </c:pt>
                <c:pt idx="296">
                  <c:v>1054</c:v>
                </c:pt>
                <c:pt idx="297">
                  <c:v>5202</c:v>
                </c:pt>
                <c:pt idx="298">
                  <c:v>1535</c:v>
                </c:pt>
                <c:pt idx="299">
                  <c:v>4320</c:v>
                </c:pt>
                <c:pt idx="300">
                  <c:v>8573</c:v>
                </c:pt>
                <c:pt idx="301">
                  <c:v>1324</c:v>
                </c:pt>
                <c:pt idx="302">
                  <c:v>1539</c:v>
                </c:pt>
                <c:pt idx="303">
                  <c:v>3617</c:v>
                </c:pt>
                <c:pt idx="304">
                  <c:v>3464</c:v>
                </c:pt>
                <c:pt idx="305">
                  <c:v>7277</c:v>
                </c:pt>
                <c:pt idx="306">
                  <c:v>1766</c:v>
                </c:pt>
                <c:pt idx="307">
                  <c:v>529</c:v>
                </c:pt>
                <c:pt idx="308">
                  <c:v>8597</c:v>
                </c:pt>
                <c:pt idx="309">
                  <c:v>3394</c:v>
                </c:pt>
                <c:pt idx="310">
                  <c:v>2659</c:v>
                </c:pt>
                <c:pt idx="311">
                  <c:v>3525</c:v>
                </c:pt>
                <c:pt idx="312">
                  <c:v>1113</c:v>
                </c:pt>
                <c:pt idx="313">
                  <c:v>6094</c:v>
                </c:pt>
                <c:pt idx="314">
                  <c:v>1966</c:v>
                </c:pt>
                <c:pt idx="315">
                  <c:v>1167</c:v>
                </c:pt>
                <c:pt idx="316">
                  <c:v>4632</c:v>
                </c:pt>
                <c:pt idx="317">
                  <c:v>18886</c:v>
                </c:pt>
                <c:pt idx="318">
                  <c:v>7954</c:v>
                </c:pt>
                <c:pt idx="319">
                  <c:v>2470</c:v>
                </c:pt>
                <c:pt idx="320">
                  <c:v>6120</c:v>
                </c:pt>
                <c:pt idx="321">
                  <c:v>4227</c:v>
                </c:pt>
                <c:pt idx="322">
                  <c:v>3334</c:v>
                </c:pt>
                <c:pt idx="323">
                  <c:v>3819</c:v>
                </c:pt>
                <c:pt idx="324">
                  <c:v>7602</c:v>
                </c:pt>
                <c:pt idx="325">
                  <c:v>8277</c:v>
                </c:pt>
                <c:pt idx="326">
                  <c:v>5848</c:v>
                </c:pt>
                <c:pt idx="327">
                  <c:v>10969</c:v>
                </c:pt>
                <c:pt idx="328">
                  <c:v>3558</c:v>
                </c:pt>
                <c:pt idx="329">
                  <c:v>2436</c:v>
                </c:pt>
                <c:pt idx="330">
                  <c:v>5266</c:v>
                </c:pt>
                <c:pt idx="331">
                  <c:v>5507</c:v>
                </c:pt>
                <c:pt idx="332">
                  <c:v>13561</c:v>
                </c:pt>
                <c:pt idx="333">
                  <c:v>10000</c:v>
                </c:pt>
                <c:pt idx="334">
                  <c:v>20703</c:v>
                </c:pt>
                <c:pt idx="335">
                  <c:v>12988</c:v>
                </c:pt>
                <c:pt idx="336">
                  <c:v>12255</c:v>
                </c:pt>
                <c:pt idx="337">
                  <c:v>4148</c:v>
                </c:pt>
                <c:pt idx="338">
                  <c:v>2164</c:v>
                </c:pt>
                <c:pt idx="339">
                  <c:v>9938</c:v>
                </c:pt>
                <c:pt idx="340">
                  <c:v>10759</c:v>
                </c:pt>
                <c:pt idx="341">
                  <c:v>1292</c:v>
                </c:pt>
                <c:pt idx="342">
                  <c:v>2617</c:v>
                </c:pt>
                <c:pt idx="343">
                  <c:v>17970</c:v>
                </c:pt>
                <c:pt idx="344">
                  <c:v>21012</c:v>
                </c:pt>
                <c:pt idx="345">
                  <c:v>427</c:v>
                </c:pt>
                <c:pt idx="346">
                  <c:v>3052</c:v>
                </c:pt>
                <c:pt idx="347">
                  <c:v>11787</c:v>
                </c:pt>
                <c:pt idx="348">
                  <c:v>10627</c:v>
                </c:pt>
                <c:pt idx="349">
                  <c:v>6603</c:v>
                </c:pt>
                <c:pt idx="350">
                  <c:v>2775</c:v>
                </c:pt>
                <c:pt idx="351">
                  <c:v>2333</c:v>
                </c:pt>
                <c:pt idx="352">
                  <c:v>7234</c:v>
                </c:pt>
                <c:pt idx="353">
                  <c:v>323</c:v>
                </c:pt>
                <c:pt idx="354">
                  <c:v>7803</c:v>
                </c:pt>
                <c:pt idx="355">
                  <c:v>2926</c:v>
                </c:pt>
                <c:pt idx="356">
                  <c:v>9751</c:v>
                </c:pt>
                <c:pt idx="357">
                  <c:v>10138</c:v>
                </c:pt>
                <c:pt idx="358">
                  <c:v>23184</c:v>
                </c:pt>
                <c:pt idx="359">
                  <c:v>6145</c:v>
                </c:pt>
                <c:pt idx="360">
                  <c:v>3585</c:v>
                </c:pt>
                <c:pt idx="361">
                  <c:v>16739</c:v>
                </c:pt>
                <c:pt idx="362">
                  <c:v>20021</c:v>
                </c:pt>
                <c:pt idx="363">
                  <c:v>2305</c:v>
                </c:pt>
                <c:pt idx="364">
                  <c:v>5198</c:v>
                </c:pt>
                <c:pt idx="365">
                  <c:v>2097</c:v>
                </c:pt>
                <c:pt idx="366">
                  <c:v>3629</c:v>
                </c:pt>
                <c:pt idx="367">
                  <c:v>8982</c:v>
                </c:pt>
                <c:pt idx="368">
                  <c:v>7057</c:v>
                </c:pt>
                <c:pt idx="369">
                  <c:v>22425</c:v>
                </c:pt>
                <c:pt idx="370">
                  <c:v>13783</c:v>
                </c:pt>
                <c:pt idx="371">
                  <c:v>18400</c:v>
                </c:pt>
                <c:pt idx="372">
                  <c:v>18760</c:v>
                </c:pt>
                <c:pt idx="373">
                  <c:v>13841</c:v>
                </c:pt>
                <c:pt idx="374">
                  <c:v>17373</c:v>
                </c:pt>
                <c:pt idx="375">
                  <c:v>1934</c:v>
                </c:pt>
                <c:pt idx="376">
                  <c:v>13752</c:v>
                </c:pt>
                <c:pt idx="377">
                  <c:v>12258</c:v>
                </c:pt>
                <c:pt idx="378">
                  <c:v>4414</c:v>
                </c:pt>
                <c:pt idx="379">
                  <c:v>3961</c:v>
                </c:pt>
                <c:pt idx="380">
                  <c:v>8249</c:v>
                </c:pt>
                <c:pt idx="381">
                  <c:v>22994</c:v>
                </c:pt>
                <c:pt idx="382">
                  <c:v>14078</c:v>
                </c:pt>
                <c:pt idx="383">
                  <c:v>27047</c:v>
                </c:pt>
                <c:pt idx="384">
                  <c:v>16047</c:v>
                </c:pt>
                <c:pt idx="385">
                  <c:v>7196</c:v>
                </c:pt>
                <c:pt idx="386">
                  <c:v>17524</c:v>
                </c:pt>
                <c:pt idx="387">
                  <c:v>18164</c:v>
                </c:pt>
                <c:pt idx="388">
                  <c:v>14431</c:v>
                </c:pt>
                <c:pt idx="389">
                  <c:v>3600</c:v>
                </c:pt>
                <c:pt idx="390">
                  <c:v>5311</c:v>
                </c:pt>
                <c:pt idx="391">
                  <c:v>5017</c:v>
                </c:pt>
                <c:pt idx="392">
                  <c:v>8487</c:v>
                </c:pt>
                <c:pt idx="393">
                  <c:v>13673</c:v>
                </c:pt>
                <c:pt idx="394">
                  <c:v>17132</c:v>
                </c:pt>
                <c:pt idx="395">
                  <c:v>6596</c:v>
                </c:pt>
                <c:pt idx="396">
                  <c:v>14849</c:v>
                </c:pt>
                <c:pt idx="397">
                  <c:v>12735</c:v>
                </c:pt>
                <c:pt idx="398">
                  <c:v>12707</c:v>
                </c:pt>
                <c:pt idx="399">
                  <c:v>10890</c:v>
                </c:pt>
                <c:pt idx="400">
                  <c:v>1042</c:v>
                </c:pt>
                <c:pt idx="401">
                  <c:v>23513</c:v>
                </c:pt>
                <c:pt idx="402">
                  <c:v>10864</c:v>
                </c:pt>
                <c:pt idx="403">
                  <c:v>13641</c:v>
                </c:pt>
                <c:pt idx="404">
                  <c:v>15133</c:v>
                </c:pt>
                <c:pt idx="405">
                  <c:v>8025</c:v>
                </c:pt>
                <c:pt idx="406">
                  <c:v>1947</c:v>
                </c:pt>
                <c:pt idx="407">
                  <c:v>9901</c:v>
                </c:pt>
                <c:pt idx="408">
                  <c:v>21878</c:v>
                </c:pt>
                <c:pt idx="409">
                  <c:v>4084</c:v>
                </c:pt>
                <c:pt idx="410">
                  <c:v>1878</c:v>
                </c:pt>
                <c:pt idx="411">
                  <c:v>15161</c:v>
                </c:pt>
                <c:pt idx="412">
                  <c:v>1815</c:v>
                </c:pt>
                <c:pt idx="413">
                  <c:v>15277</c:v>
                </c:pt>
                <c:pt idx="414">
                  <c:v>7211</c:v>
                </c:pt>
                <c:pt idx="415">
                  <c:v>6569</c:v>
                </c:pt>
                <c:pt idx="416">
                  <c:v>2676</c:v>
                </c:pt>
                <c:pt idx="417">
                  <c:v>10327</c:v>
                </c:pt>
                <c:pt idx="418">
                  <c:v>4610</c:v>
                </c:pt>
                <c:pt idx="419">
                  <c:v>9230</c:v>
                </c:pt>
                <c:pt idx="420">
                  <c:v>1728</c:v>
                </c:pt>
                <c:pt idx="421">
                  <c:v>4855</c:v>
                </c:pt>
                <c:pt idx="422">
                  <c:v>27296</c:v>
                </c:pt>
                <c:pt idx="423">
                  <c:v>675</c:v>
                </c:pt>
                <c:pt idx="424">
                  <c:v>3240</c:v>
                </c:pt>
                <c:pt idx="425">
                  <c:v>3602</c:v>
                </c:pt>
                <c:pt idx="426">
                  <c:v>24908</c:v>
                </c:pt>
                <c:pt idx="427">
                  <c:v>3740</c:v>
                </c:pt>
                <c:pt idx="428">
                  <c:v>3134</c:v>
                </c:pt>
                <c:pt idx="429">
                  <c:v>2601</c:v>
                </c:pt>
                <c:pt idx="430">
                  <c:v>2350</c:v>
                </c:pt>
                <c:pt idx="431">
                  <c:v>9122</c:v>
                </c:pt>
                <c:pt idx="432">
                  <c:v>12246</c:v>
                </c:pt>
                <c:pt idx="433">
                  <c:v>4140</c:v>
                </c:pt>
                <c:pt idx="434">
                  <c:v>13890</c:v>
                </c:pt>
                <c:pt idx="435">
                  <c:v>2536</c:v>
                </c:pt>
                <c:pt idx="436">
                  <c:v>2373</c:v>
                </c:pt>
                <c:pt idx="437">
                  <c:v>8968</c:v>
                </c:pt>
                <c:pt idx="438">
                  <c:v>17806</c:v>
                </c:pt>
                <c:pt idx="439">
                  <c:v>10303</c:v>
                </c:pt>
                <c:pt idx="440">
                  <c:v>6055</c:v>
                </c:pt>
                <c:pt idx="441">
                  <c:v>125</c:v>
                </c:pt>
                <c:pt idx="442">
                  <c:v>13140</c:v>
                </c:pt>
                <c:pt idx="443">
                  <c:v>14045</c:v>
                </c:pt>
                <c:pt idx="444">
                  <c:v>6142</c:v>
                </c:pt>
                <c:pt idx="445">
                  <c:v>7535</c:v>
                </c:pt>
                <c:pt idx="446">
                  <c:v>4336</c:v>
                </c:pt>
                <c:pt idx="447">
                  <c:v>4740</c:v>
                </c:pt>
                <c:pt idx="448">
                  <c:v>5584</c:v>
                </c:pt>
                <c:pt idx="449">
                  <c:v>17650</c:v>
                </c:pt>
                <c:pt idx="450">
                  <c:v>9939</c:v>
                </c:pt>
                <c:pt idx="451">
                  <c:v>9392</c:v>
                </c:pt>
                <c:pt idx="452">
                  <c:v>789</c:v>
                </c:pt>
                <c:pt idx="453">
                  <c:v>15647</c:v>
                </c:pt>
                <c:pt idx="454">
                  <c:v>9941</c:v>
                </c:pt>
                <c:pt idx="455">
                  <c:v>7728</c:v>
                </c:pt>
                <c:pt idx="456">
                  <c:v>6491</c:v>
                </c:pt>
                <c:pt idx="457">
                  <c:v>2081</c:v>
                </c:pt>
                <c:pt idx="458">
                  <c:v>2605</c:v>
                </c:pt>
                <c:pt idx="459">
                  <c:v>1154</c:v>
                </c:pt>
                <c:pt idx="460">
                  <c:v>3715</c:v>
                </c:pt>
                <c:pt idx="461">
                  <c:v>5481</c:v>
                </c:pt>
                <c:pt idx="462">
                  <c:v>8914</c:v>
                </c:pt>
                <c:pt idx="463">
                  <c:v>12409</c:v>
                </c:pt>
                <c:pt idx="464">
                  <c:v>13202</c:v>
                </c:pt>
                <c:pt idx="465">
                  <c:v>14109</c:v>
                </c:pt>
                <c:pt idx="466">
                  <c:v>12098</c:v>
                </c:pt>
                <c:pt idx="467">
                  <c:v>7078</c:v>
                </c:pt>
                <c:pt idx="468">
                  <c:v>13374</c:v>
                </c:pt>
                <c:pt idx="469">
                  <c:v>13053</c:v>
                </c:pt>
                <c:pt idx="470">
                  <c:v>27268</c:v>
                </c:pt>
                <c:pt idx="471">
                  <c:v>16697</c:v>
                </c:pt>
                <c:pt idx="472">
                  <c:v>12007</c:v>
                </c:pt>
                <c:pt idx="473">
                  <c:v>23934</c:v>
                </c:pt>
                <c:pt idx="474">
                  <c:v>25716</c:v>
                </c:pt>
                <c:pt idx="475">
                  <c:v>12337</c:v>
                </c:pt>
                <c:pt idx="476">
                  <c:v>24351</c:v>
                </c:pt>
                <c:pt idx="477">
                  <c:v>17874</c:v>
                </c:pt>
                <c:pt idx="478">
                  <c:v>14177</c:v>
                </c:pt>
                <c:pt idx="479">
                  <c:v>11769</c:v>
                </c:pt>
                <c:pt idx="480">
                  <c:v>30055</c:v>
                </c:pt>
                <c:pt idx="481">
                  <c:v>19539</c:v>
                </c:pt>
                <c:pt idx="482">
                  <c:v>20644</c:v>
                </c:pt>
                <c:pt idx="483">
                  <c:v>24006</c:v>
                </c:pt>
                <c:pt idx="484">
                  <c:v>12746</c:v>
                </c:pt>
                <c:pt idx="485">
                  <c:v>8824</c:v>
                </c:pt>
                <c:pt idx="486">
                  <c:v>2703</c:v>
                </c:pt>
                <c:pt idx="487">
                  <c:v>18280</c:v>
                </c:pt>
                <c:pt idx="488">
                  <c:v>18130</c:v>
                </c:pt>
                <c:pt idx="489">
                  <c:v>17664</c:v>
                </c:pt>
                <c:pt idx="490">
                  <c:v>33847</c:v>
                </c:pt>
                <c:pt idx="491">
                  <c:v>25865</c:v>
                </c:pt>
                <c:pt idx="492">
                  <c:v>19398</c:v>
                </c:pt>
                <c:pt idx="493">
                  <c:v>31612</c:v>
                </c:pt>
                <c:pt idx="494">
                  <c:v>10477</c:v>
                </c:pt>
                <c:pt idx="495">
                  <c:v>36856</c:v>
                </c:pt>
                <c:pt idx="496">
                  <c:v>32947</c:v>
                </c:pt>
                <c:pt idx="497">
                  <c:v>11193</c:v>
                </c:pt>
                <c:pt idx="498">
                  <c:v>11581</c:v>
                </c:pt>
                <c:pt idx="499">
                  <c:v>16373</c:v>
                </c:pt>
                <c:pt idx="500">
                  <c:v>12784</c:v>
                </c:pt>
                <c:pt idx="501">
                  <c:v>21029</c:v>
                </c:pt>
                <c:pt idx="502">
                  <c:v>14397</c:v>
                </c:pt>
                <c:pt idx="503">
                  <c:v>8131</c:v>
                </c:pt>
                <c:pt idx="504">
                  <c:v>9125</c:v>
                </c:pt>
                <c:pt idx="505">
                  <c:v>9993</c:v>
                </c:pt>
                <c:pt idx="506">
                  <c:v>4201</c:v>
                </c:pt>
                <c:pt idx="507">
                  <c:v>738</c:v>
                </c:pt>
                <c:pt idx="508">
                  <c:v>3870</c:v>
                </c:pt>
                <c:pt idx="509">
                  <c:v>13065</c:v>
                </c:pt>
                <c:pt idx="510">
                  <c:v>31494</c:v>
                </c:pt>
                <c:pt idx="511">
                  <c:v>17473</c:v>
                </c:pt>
                <c:pt idx="512">
                  <c:v>2769</c:v>
                </c:pt>
                <c:pt idx="513">
                  <c:v>13239</c:v>
                </c:pt>
                <c:pt idx="514">
                  <c:v>5458</c:v>
                </c:pt>
                <c:pt idx="515">
                  <c:v>7484</c:v>
                </c:pt>
                <c:pt idx="516">
                  <c:v>7704</c:v>
                </c:pt>
                <c:pt idx="517">
                  <c:v>4007</c:v>
                </c:pt>
                <c:pt idx="518">
                  <c:v>7619</c:v>
                </c:pt>
                <c:pt idx="519">
                  <c:v>5501</c:v>
                </c:pt>
                <c:pt idx="520">
                  <c:v>6160</c:v>
                </c:pt>
                <c:pt idx="521">
                  <c:v>12793</c:v>
                </c:pt>
                <c:pt idx="522">
                  <c:v>6589</c:v>
                </c:pt>
                <c:pt idx="523">
                  <c:v>111</c:v>
                </c:pt>
                <c:pt idx="524">
                  <c:v>9174</c:v>
                </c:pt>
                <c:pt idx="525">
                  <c:v>5960</c:v>
                </c:pt>
                <c:pt idx="526">
                  <c:v>10012</c:v>
                </c:pt>
                <c:pt idx="527">
                  <c:v>31239</c:v>
                </c:pt>
                <c:pt idx="528">
                  <c:v>7949</c:v>
                </c:pt>
                <c:pt idx="529">
                  <c:v>1438</c:v>
                </c:pt>
                <c:pt idx="530">
                  <c:v>17522</c:v>
                </c:pt>
                <c:pt idx="531">
                  <c:v>9544</c:v>
                </c:pt>
                <c:pt idx="532">
                  <c:v>6497</c:v>
                </c:pt>
                <c:pt idx="533">
                  <c:v>3994</c:v>
                </c:pt>
                <c:pt idx="534">
                  <c:v>8379</c:v>
                </c:pt>
                <c:pt idx="535">
                  <c:v>7479</c:v>
                </c:pt>
                <c:pt idx="536">
                  <c:v>8846</c:v>
                </c:pt>
                <c:pt idx="537">
                  <c:v>13054</c:v>
                </c:pt>
                <c:pt idx="538">
                  <c:v>17487</c:v>
                </c:pt>
                <c:pt idx="539">
                  <c:v>10539</c:v>
                </c:pt>
                <c:pt idx="540">
                  <c:v>8160</c:v>
                </c:pt>
                <c:pt idx="541">
                  <c:v>18387</c:v>
                </c:pt>
                <c:pt idx="542">
                  <c:v>7017</c:v>
                </c:pt>
                <c:pt idx="543">
                  <c:v>9489</c:v>
                </c:pt>
                <c:pt idx="544">
                  <c:v>4990</c:v>
                </c:pt>
                <c:pt idx="545">
                  <c:v>3476</c:v>
                </c:pt>
                <c:pt idx="546">
                  <c:v>675</c:v>
                </c:pt>
                <c:pt idx="547">
                  <c:v>2031</c:v>
                </c:pt>
                <c:pt idx="548">
                  <c:v>6658</c:v>
                </c:pt>
                <c:pt idx="549">
                  <c:v>4678</c:v>
                </c:pt>
                <c:pt idx="550">
                  <c:v>10698</c:v>
                </c:pt>
                <c:pt idx="551">
                  <c:v>2384</c:v>
                </c:pt>
                <c:pt idx="552">
                  <c:v>20839</c:v>
                </c:pt>
                <c:pt idx="553">
                  <c:v>16308</c:v>
                </c:pt>
                <c:pt idx="554">
                  <c:v>9602</c:v>
                </c:pt>
                <c:pt idx="555">
                  <c:v>13480</c:v>
                </c:pt>
                <c:pt idx="556">
                  <c:v>6909</c:v>
                </c:pt>
                <c:pt idx="557">
                  <c:v>4791</c:v>
                </c:pt>
                <c:pt idx="558">
                  <c:v>9785</c:v>
                </c:pt>
                <c:pt idx="559">
                  <c:v>4932</c:v>
                </c:pt>
                <c:pt idx="560">
                  <c:v>5453</c:v>
                </c:pt>
                <c:pt idx="561">
                  <c:v>6500</c:v>
                </c:pt>
                <c:pt idx="562">
                  <c:v>368</c:v>
                </c:pt>
                <c:pt idx="563">
                  <c:v>1055</c:v>
                </c:pt>
                <c:pt idx="564">
                  <c:v>9693</c:v>
                </c:pt>
                <c:pt idx="565">
                  <c:v>3267</c:v>
                </c:pt>
                <c:pt idx="566">
                  <c:v>2206</c:v>
                </c:pt>
                <c:pt idx="567">
                  <c:v>2394</c:v>
                </c:pt>
                <c:pt idx="568">
                  <c:v>3813</c:v>
                </c:pt>
                <c:pt idx="569">
                  <c:v>372</c:v>
                </c:pt>
                <c:pt idx="570">
                  <c:v>6993</c:v>
                </c:pt>
                <c:pt idx="571">
                  <c:v>1244</c:v>
                </c:pt>
                <c:pt idx="572">
                  <c:v>611</c:v>
                </c:pt>
                <c:pt idx="573">
                  <c:v>814</c:v>
                </c:pt>
                <c:pt idx="574">
                  <c:v>1607</c:v>
                </c:pt>
                <c:pt idx="575">
                  <c:v>513</c:v>
                </c:pt>
                <c:pt idx="576">
                  <c:v>1866</c:v>
                </c:pt>
                <c:pt idx="577">
                  <c:v>5177</c:v>
                </c:pt>
                <c:pt idx="578">
                  <c:v>4820</c:v>
                </c:pt>
                <c:pt idx="579">
                  <c:v>4882</c:v>
                </c:pt>
                <c:pt idx="580">
                  <c:v>1094</c:v>
                </c:pt>
                <c:pt idx="581">
                  <c:v>2093</c:v>
                </c:pt>
                <c:pt idx="582">
                  <c:v>9253</c:v>
                </c:pt>
                <c:pt idx="583">
                  <c:v>1016</c:v>
                </c:pt>
                <c:pt idx="584">
                  <c:v>4382</c:v>
                </c:pt>
                <c:pt idx="585">
                  <c:v>6186</c:v>
                </c:pt>
                <c:pt idx="586">
                  <c:v>1908</c:v>
                </c:pt>
                <c:pt idx="587">
                  <c:v>1310</c:v>
                </c:pt>
                <c:pt idx="588">
                  <c:v>97</c:v>
                </c:pt>
                <c:pt idx="589">
                  <c:v>1365</c:v>
                </c:pt>
                <c:pt idx="590">
                  <c:v>1798</c:v>
                </c:pt>
                <c:pt idx="591">
                  <c:v>2265</c:v>
                </c:pt>
                <c:pt idx="592">
                  <c:v>2265</c:v>
                </c:pt>
                <c:pt idx="593">
                  <c:v>5648</c:v>
                </c:pt>
                <c:pt idx="594">
                  <c:v>798</c:v>
                </c:pt>
                <c:pt idx="595">
                  <c:v>4175</c:v>
                </c:pt>
                <c:pt idx="596">
                  <c:v>7453</c:v>
                </c:pt>
                <c:pt idx="597">
                  <c:v>604</c:v>
                </c:pt>
                <c:pt idx="598">
                  <c:v>2400</c:v>
                </c:pt>
                <c:pt idx="599">
                  <c:v>1738</c:v>
                </c:pt>
                <c:pt idx="600">
                  <c:v>1808</c:v>
                </c:pt>
                <c:pt idx="601">
                  <c:v>418</c:v>
                </c:pt>
                <c:pt idx="602">
                  <c:v>518</c:v>
                </c:pt>
                <c:pt idx="603">
                  <c:v>2998</c:v>
                </c:pt>
                <c:pt idx="604">
                  <c:v>160</c:v>
                </c:pt>
                <c:pt idx="605">
                  <c:v>4059</c:v>
                </c:pt>
                <c:pt idx="606">
                  <c:v>188</c:v>
                </c:pt>
                <c:pt idx="607">
                  <c:v>1739</c:v>
                </c:pt>
                <c:pt idx="608">
                  <c:v>1425</c:v>
                </c:pt>
                <c:pt idx="609">
                  <c:v>551</c:v>
                </c:pt>
                <c:pt idx="610">
                  <c:v>313</c:v>
                </c:pt>
                <c:pt idx="611">
                  <c:v>4328</c:v>
                </c:pt>
                <c:pt idx="612">
                  <c:v>3281</c:v>
                </c:pt>
                <c:pt idx="613">
                  <c:v>2343</c:v>
                </c:pt>
                <c:pt idx="614">
                  <c:v>23833</c:v>
                </c:pt>
                <c:pt idx="615">
                  <c:v>1988</c:v>
                </c:pt>
                <c:pt idx="616">
                  <c:v>2636</c:v>
                </c:pt>
                <c:pt idx="617">
                  <c:v>3671</c:v>
                </c:pt>
                <c:pt idx="618">
                  <c:v>7817</c:v>
                </c:pt>
                <c:pt idx="619">
                  <c:v>14591</c:v>
                </c:pt>
                <c:pt idx="620">
                  <c:v>11256</c:v>
                </c:pt>
                <c:pt idx="621">
                  <c:v>7446</c:v>
                </c:pt>
                <c:pt idx="622">
                  <c:v>7384</c:v>
                </c:pt>
                <c:pt idx="623">
                  <c:v>1250</c:v>
                </c:pt>
                <c:pt idx="624">
                  <c:v>7933</c:v>
                </c:pt>
                <c:pt idx="625">
                  <c:v>2377</c:v>
                </c:pt>
                <c:pt idx="626">
                  <c:v>3374</c:v>
                </c:pt>
                <c:pt idx="627">
                  <c:v>20903</c:v>
                </c:pt>
                <c:pt idx="628">
                  <c:v>5368</c:v>
                </c:pt>
                <c:pt idx="629">
                  <c:v>5563</c:v>
                </c:pt>
                <c:pt idx="630">
                  <c:v>12691</c:v>
                </c:pt>
                <c:pt idx="631">
                  <c:v>6425</c:v>
                </c:pt>
                <c:pt idx="632">
                  <c:v>10910</c:v>
                </c:pt>
                <c:pt idx="633">
                  <c:v>5651</c:v>
                </c:pt>
                <c:pt idx="634">
                  <c:v>15474</c:v>
                </c:pt>
                <c:pt idx="635">
                  <c:v>4972</c:v>
                </c:pt>
                <c:pt idx="636">
                  <c:v>840</c:v>
                </c:pt>
                <c:pt idx="637">
                  <c:v>2433</c:v>
                </c:pt>
                <c:pt idx="638">
                  <c:v>10156</c:v>
                </c:pt>
                <c:pt idx="639">
                  <c:v>7747</c:v>
                </c:pt>
                <c:pt idx="640">
                  <c:v>7161</c:v>
                </c:pt>
                <c:pt idx="641">
                  <c:v>3072</c:v>
                </c:pt>
                <c:pt idx="642">
                  <c:v>8272</c:v>
                </c:pt>
                <c:pt idx="643">
                  <c:v>8785</c:v>
                </c:pt>
                <c:pt idx="644">
                  <c:v>3505</c:v>
                </c:pt>
                <c:pt idx="645">
                  <c:v>25109</c:v>
                </c:pt>
                <c:pt idx="646">
                  <c:v>8421</c:v>
                </c:pt>
                <c:pt idx="647">
                  <c:v>1524</c:v>
                </c:pt>
                <c:pt idx="648">
                  <c:v>8457</c:v>
                </c:pt>
                <c:pt idx="649">
                  <c:v>504</c:v>
                </c:pt>
                <c:pt idx="650">
                  <c:v>1204</c:v>
                </c:pt>
                <c:pt idx="651">
                  <c:v>10768</c:v>
                </c:pt>
                <c:pt idx="652">
                  <c:v>4108</c:v>
                </c:pt>
                <c:pt idx="653">
                  <c:v>4036</c:v>
                </c:pt>
                <c:pt idx="654">
                  <c:v>16901</c:v>
                </c:pt>
                <c:pt idx="655">
                  <c:v>3478</c:v>
                </c:pt>
                <c:pt idx="656">
                  <c:v>10245</c:v>
                </c:pt>
                <c:pt idx="657">
                  <c:v>3137</c:v>
                </c:pt>
                <c:pt idx="658">
                  <c:v>3384</c:v>
                </c:pt>
                <c:pt idx="659">
                  <c:v>423</c:v>
                </c:pt>
                <c:pt idx="660">
                  <c:v>1135</c:v>
                </c:pt>
                <c:pt idx="661">
                  <c:v>3252</c:v>
                </c:pt>
                <c:pt idx="662">
                  <c:v>3363</c:v>
                </c:pt>
                <c:pt idx="663">
                  <c:v>1976</c:v>
                </c:pt>
                <c:pt idx="664">
                  <c:v>2617</c:v>
                </c:pt>
                <c:pt idx="665">
                  <c:v>2495</c:v>
                </c:pt>
                <c:pt idx="666">
                  <c:v>1720</c:v>
                </c:pt>
                <c:pt idx="667">
                  <c:v>1289</c:v>
                </c:pt>
                <c:pt idx="668">
                  <c:v>834</c:v>
                </c:pt>
                <c:pt idx="669">
                  <c:v>11790</c:v>
                </c:pt>
                <c:pt idx="670">
                  <c:v>8949</c:v>
                </c:pt>
                <c:pt idx="671">
                  <c:v>12121</c:v>
                </c:pt>
                <c:pt idx="672">
                  <c:v>4409</c:v>
                </c:pt>
                <c:pt idx="673">
                  <c:v>368</c:v>
                </c:pt>
                <c:pt idx="674">
                  <c:v>4048</c:v>
                </c:pt>
                <c:pt idx="675">
                  <c:v>23997</c:v>
                </c:pt>
                <c:pt idx="676">
                  <c:v>14943</c:v>
                </c:pt>
                <c:pt idx="677">
                  <c:v>8738</c:v>
                </c:pt>
                <c:pt idx="678">
                  <c:v>19316</c:v>
                </c:pt>
                <c:pt idx="679">
                  <c:v>9116</c:v>
                </c:pt>
                <c:pt idx="680">
                  <c:v>9401</c:v>
                </c:pt>
                <c:pt idx="681">
                  <c:v>3333</c:v>
                </c:pt>
                <c:pt idx="682">
                  <c:v>233</c:v>
                </c:pt>
                <c:pt idx="683">
                  <c:v>8562</c:v>
                </c:pt>
                <c:pt idx="684">
                  <c:v>11128</c:v>
                </c:pt>
                <c:pt idx="685">
                  <c:v>2256</c:v>
                </c:pt>
                <c:pt idx="686">
                  <c:v>6304</c:v>
                </c:pt>
                <c:pt idx="687">
                  <c:v>6029</c:v>
                </c:pt>
                <c:pt idx="688">
                  <c:v>15493</c:v>
                </c:pt>
                <c:pt idx="689">
                  <c:v>9657</c:v>
                </c:pt>
                <c:pt idx="690">
                  <c:v>14240</c:v>
                </c:pt>
                <c:pt idx="691">
                  <c:v>11852</c:v>
                </c:pt>
                <c:pt idx="692">
                  <c:v>3282</c:v>
                </c:pt>
                <c:pt idx="693">
                  <c:v>16986</c:v>
                </c:pt>
                <c:pt idx="694">
                  <c:v>372</c:v>
                </c:pt>
                <c:pt idx="695">
                  <c:v>19232</c:v>
                </c:pt>
                <c:pt idx="696">
                  <c:v>6146</c:v>
                </c:pt>
                <c:pt idx="697">
                  <c:v>826</c:v>
                </c:pt>
                <c:pt idx="698">
                  <c:v>5913</c:v>
                </c:pt>
                <c:pt idx="699">
                  <c:v>14525</c:v>
                </c:pt>
                <c:pt idx="700">
                  <c:v>11733</c:v>
                </c:pt>
                <c:pt idx="701">
                  <c:v>14600</c:v>
                </c:pt>
                <c:pt idx="702">
                  <c:v>13242</c:v>
                </c:pt>
                <c:pt idx="703">
                  <c:v>18830</c:v>
                </c:pt>
                <c:pt idx="704">
                  <c:v>19301</c:v>
                </c:pt>
                <c:pt idx="705">
                  <c:v>12146</c:v>
                </c:pt>
                <c:pt idx="706">
                  <c:v>8466</c:v>
                </c:pt>
                <c:pt idx="707">
                  <c:v>10243</c:v>
                </c:pt>
                <c:pt idx="708">
                  <c:v>8270</c:v>
                </c:pt>
                <c:pt idx="709">
                  <c:v>5026</c:v>
                </c:pt>
                <c:pt idx="710">
                  <c:v>6664</c:v>
                </c:pt>
                <c:pt idx="711">
                  <c:v>13797</c:v>
                </c:pt>
                <c:pt idx="712">
                  <c:v>16132</c:v>
                </c:pt>
                <c:pt idx="713">
                  <c:v>6608</c:v>
                </c:pt>
                <c:pt idx="714">
                  <c:v>5956</c:v>
                </c:pt>
                <c:pt idx="715">
                  <c:v>2965</c:v>
                </c:pt>
                <c:pt idx="716">
                  <c:v>3262</c:v>
                </c:pt>
                <c:pt idx="717">
                  <c:v>2460</c:v>
                </c:pt>
                <c:pt idx="718">
                  <c:v>3119</c:v>
                </c:pt>
                <c:pt idx="719">
                  <c:v>2609</c:v>
                </c:pt>
                <c:pt idx="720">
                  <c:v>19020</c:v>
                </c:pt>
                <c:pt idx="721">
                  <c:v>3881</c:v>
                </c:pt>
                <c:pt idx="722">
                  <c:v>752</c:v>
                </c:pt>
                <c:pt idx="723">
                  <c:v>2760</c:v>
                </c:pt>
                <c:pt idx="724">
                  <c:v>7452</c:v>
                </c:pt>
                <c:pt idx="725">
                  <c:v>1641</c:v>
                </c:pt>
                <c:pt idx="726">
                  <c:v>989</c:v>
                </c:pt>
                <c:pt idx="727">
                  <c:v>1803</c:v>
                </c:pt>
                <c:pt idx="728">
                  <c:v>4329</c:v>
                </c:pt>
                <c:pt idx="729">
                  <c:v>15237</c:v>
                </c:pt>
                <c:pt idx="730">
                  <c:v>4243</c:v>
                </c:pt>
                <c:pt idx="731">
                  <c:v>13998</c:v>
                </c:pt>
                <c:pt idx="732">
                  <c:v>14383</c:v>
                </c:pt>
                <c:pt idx="733">
                  <c:v>8560</c:v>
                </c:pt>
                <c:pt idx="734">
                  <c:v>1411</c:v>
                </c:pt>
                <c:pt idx="735">
                  <c:v>16714</c:v>
                </c:pt>
                <c:pt idx="736">
                  <c:v>15054</c:v>
                </c:pt>
                <c:pt idx="737">
                  <c:v>9718</c:v>
                </c:pt>
                <c:pt idx="738">
                  <c:v>7866</c:v>
                </c:pt>
                <c:pt idx="739">
                  <c:v>3357</c:v>
                </c:pt>
                <c:pt idx="740">
                  <c:v>2689</c:v>
                </c:pt>
                <c:pt idx="741">
                  <c:v>7868</c:v>
                </c:pt>
                <c:pt idx="742">
                  <c:v>6034</c:v>
                </c:pt>
                <c:pt idx="743">
                  <c:v>17119</c:v>
                </c:pt>
                <c:pt idx="744">
                  <c:v>875</c:v>
                </c:pt>
                <c:pt idx="745">
                  <c:v>651</c:v>
                </c:pt>
                <c:pt idx="746">
                  <c:v>2152</c:v>
                </c:pt>
                <c:pt idx="747">
                  <c:v>7581</c:v>
                </c:pt>
                <c:pt idx="748">
                  <c:v>1930</c:v>
                </c:pt>
                <c:pt idx="749">
                  <c:v>18363</c:v>
                </c:pt>
                <c:pt idx="750">
                  <c:v>20180</c:v>
                </c:pt>
                <c:pt idx="751">
                  <c:v>19792</c:v>
                </c:pt>
                <c:pt idx="752">
                  <c:v>8265</c:v>
                </c:pt>
                <c:pt idx="753">
                  <c:v>5563</c:v>
                </c:pt>
                <c:pt idx="754">
                  <c:v>11618</c:v>
                </c:pt>
                <c:pt idx="755">
                  <c:v>104</c:v>
                </c:pt>
                <c:pt idx="756">
                  <c:v>1249</c:v>
                </c:pt>
                <c:pt idx="757">
                  <c:v>1147</c:v>
                </c:pt>
                <c:pt idx="758">
                  <c:v>840</c:v>
                </c:pt>
                <c:pt idx="759">
                  <c:v>3709</c:v>
                </c:pt>
                <c:pt idx="760">
                  <c:v>1291</c:v>
                </c:pt>
                <c:pt idx="761">
                  <c:v>2973</c:v>
                </c:pt>
                <c:pt idx="762">
                  <c:v>2028</c:v>
                </c:pt>
                <c:pt idx="763">
                  <c:v>1152</c:v>
                </c:pt>
                <c:pt idx="764">
                  <c:v>1757</c:v>
                </c:pt>
                <c:pt idx="765">
                  <c:v>417</c:v>
                </c:pt>
                <c:pt idx="766">
                  <c:v>675</c:v>
                </c:pt>
                <c:pt idx="767">
                  <c:v>2889</c:v>
                </c:pt>
                <c:pt idx="768">
                  <c:v>616</c:v>
                </c:pt>
                <c:pt idx="769">
                  <c:v>153</c:v>
                </c:pt>
                <c:pt idx="770">
                  <c:v>2507</c:v>
                </c:pt>
                <c:pt idx="771">
                  <c:v>4627</c:v>
                </c:pt>
                <c:pt idx="772">
                  <c:v>1134</c:v>
                </c:pt>
                <c:pt idx="773">
                  <c:v>544</c:v>
                </c:pt>
                <c:pt idx="774">
                  <c:v>479</c:v>
                </c:pt>
                <c:pt idx="775">
                  <c:v>212</c:v>
                </c:pt>
                <c:pt idx="776">
                  <c:v>2942</c:v>
                </c:pt>
                <c:pt idx="777">
                  <c:v>460</c:v>
                </c:pt>
                <c:pt idx="778">
                  <c:v>3774</c:v>
                </c:pt>
                <c:pt idx="779">
                  <c:v>1119</c:v>
                </c:pt>
                <c:pt idx="780">
                  <c:v>8574</c:v>
                </c:pt>
                <c:pt idx="781">
                  <c:v>3766</c:v>
                </c:pt>
                <c:pt idx="782">
                  <c:v>711</c:v>
                </c:pt>
                <c:pt idx="783">
                  <c:v>2891</c:v>
                </c:pt>
                <c:pt idx="784">
                  <c:v>2317</c:v>
                </c:pt>
                <c:pt idx="785">
                  <c:v>906</c:v>
                </c:pt>
                <c:pt idx="786">
                  <c:v>1190</c:v>
                </c:pt>
                <c:pt idx="787">
                  <c:v>1469</c:v>
                </c:pt>
                <c:pt idx="788">
                  <c:v>1523</c:v>
                </c:pt>
                <c:pt idx="789">
                  <c:v>107</c:v>
                </c:pt>
                <c:pt idx="790">
                  <c:v>587</c:v>
                </c:pt>
                <c:pt idx="791">
                  <c:v>2694</c:v>
                </c:pt>
                <c:pt idx="792">
                  <c:v>652</c:v>
                </c:pt>
                <c:pt idx="793">
                  <c:v>2036</c:v>
                </c:pt>
                <c:pt idx="794">
                  <c:v>3414</c:v>
                </c:pt>
                <c:pt idx="795">
                  <c:v>946</c:v>
                </c:pt>
                <c:pt idx="796">
                  <c:v>688</c:v>
                </c:pt>
                <c:pt idx="797">
                  <c:v>1622</c:v>
                </c:pt>
                <c:pt idx="798">
                  <c:v>208</c:v>
                </c:pt>
                <c:pt idx="799">
                  <c:v>6589</c:v>
                </c:pt>
                <c:pt idx="800">
                  <c:v>4909</c:v>
                </c:pt>
                <c:pt idx="801">
                  <c:v>1476</c:v>
                </c:pt>
                <c:pt idx="802">
                  <c:v>393</c:v>
                </c:pt>
                <c:pt idx="803">
                  <c:v>641</c:v>
                </c:pt>
                <c:pt idx="804">
                  <c:v>5336</c:v>
                </c:pt>
                <c:pt idx="805">
                  <c:v>467</c:v>
                </c:pt>
                <c:pt idx="806">
                  <c:v>493</c:v>
                </c:pt>
                <c:pt idx="807">
                  <c:v>1558</c:v>
                </c:pt>
                <c:pt idx="808">
                  <c:v>939</c:v>
                </c:pt>
                <c:pt idx="809">
                  <c:v>2628</c:v>
                </c:pt>
                <c:pt idx="810">
                  <c:v>16189</c:v>
                </c:pt>
                <c:pt idx="811">
                  <c:v>8721</c:v>
                </c:pt>
                <c:pt idx="812">
                  <c:v>4556</c:v>
                </c:pt>
                <c:pt idx="813">
                  <c:v>2628</c:v>
                </c:pt>
                <c:pt idx="814">
                  <c:v>12793</c:v>
                </c:pt>
                <c:pt idx="815">
                  <c:v>1369</c:v>
                </c:pt>
                <c:pt idx="816">
                  <c:v>763</c:v>
                </c:pt>
                <c:pt idx="817">
                  <c:v>827</c:v>
                </c:pt>
                <c:pt idx="818">
                  <c:v>371</c:v>
                </c:pt>
                <c:pt idx="819">
                  <c:v>3552</c:v>
                </c:pt>
                <c:pt idx="820">
                  <c:v>1249</c:v>
                </c:pt>
                <c:pt idx="821">
                  <c:v>455</c:v>
                </c:pt>
                <c:pt idx="822">
                  <c:v>953</c:v>
                </c:pt>
                <c:pt idx="823">
                  <c:v>476</c:v>
                </c:pt>
                <c:pt idx="824">
                  <c:v>2108</c:v>
                </c:pt>
                <c:pt idx="825">
                  <c:v>2660</c:v>
                </c:pt>
                <c:pt idx="826">
                  <c:v>1260</c:v>
                </c:pt>
                <c:pt idx="827">
                  <c:v>332</c:v>
                </c:pt>
                <c:pt idx="828">
                  <c:v>386</c:v>
                </c:pt>
                <c:pt idx="829">
                  <c:v>3845</c:v>
                </c:pt>
                <c:pt idx="830">
                  <c:v>2968</c:v>
                </c:pt>
                <c:pt idx="831">
                  <c:v>735</c:v>
                </c:pt>
                <c:pt idx="832">
                  <c:v>502</c:v>
                </c:pt>
                <c:pt idx="833">
                  <c:v>983</c:v>
                </c:pt>
                <c:pt idx="834">
                  <c:v>808</c:v>
                </c:pt>
                <c:pt idx="835">
                  <c:v>973</c:v>
                </c:pt>
                <c:pt idx="836">
                  <c:v>2542</c:v>
                </c:pt>
                <c:pt idx="837">
                  <c:v>2982</c:v>
                </c:pt>
                <c:pt idx="838">
                  <c:v>3833</c:v>
                </c:pt>
                <c:pt idx="839">
                  <c:v>1274</c:v>
                </c:pt>
                <c:pt idx="840">
                  <c:v>1401</c:v>
                </c:pt>
                <c:pt idx="841">
                  <c:v>135</c:v>
                </c:pt>
                <c:pt idx="842">
                  <c:v>600</c:v>
                </c:pt>
                <c:pt idx="843">
                  <c:v>1625</c:v>
                </c:pt>
                <c:pt idx="844">
                  <c:v>894</c:v>
                </c:pt>
                <c:pt idx="845">
                  <c:v>446</c:v>
                </c:pt>
                <c:pt idx="846">
                  <c:v>1654</c:v>
                </c:pt>
                <c:pt idx="847">
                  <c:v>1212</c:v>
                </c:pt>
                <c:pt idx="848">
                  <c:v>336</c:v>
                </c:pt>
                <c:pt idx="849">
                  <c:v>765</c:v>
                </c:pt>
                <c:pt idx="850">
                  <c:v>439</c:v>
                </c:pt>
                <c:pt idx="851">
                  <c:v>498</c:v>
                </c:pt>
                <c:pt idx="852">
                  <c:v>189</c:v>
                </c:pt>
                <c:pt idx="853">
                  <c:v>370</c:v>
                </c:pt>
                <c:pt idx="854">
                  <c:v>237</c:v>
                </c:pt>
                <c:pt idx="855">
                  <c:v>1756</c:v>
                </c:pt>
                <c:pt idx="856">
                  <c:v>175</c:v>
                </c:pt>
                <c:pt idx="857">
                  <c:v>1130</c:v>
                </c:pt>
                <c:pt idx="858">
                  <c:v>1934</c:v>
                </c:pt>
                <c:pt idx="859">
                  <c:v>352</c:v>
                </c:pt>
                <c:pt idx="860">
                  <c:v>159</c:v>
                </c:pt>
                <c:pt idx="861">
                  <c:v>1468</c:v>
                </c:pt>
                <c:pt idx="862">
                  <c:v>321</c:v>
                </c:pt>
                <c:pt idx="863">
                  <c:v>486</c:v>
                </c:pt>
                <c:pt idx="864">
                  <c:v>2474</c:v>
                </c:pt>
                <c:pt idx="865">
                  <c:v>5877</c:v>
                </c:pt>
                <c:pt idx="866">
                  <c:v>873</c:v>
                </c:pt>
                <c:pt idx="867">
                  <c:v>2545</c:v>
                </c:pt>
                <c:pt idx="868">
                  <c:v>406</c:v>
                </c:pt>
                <c:pt idx="869">
                  <c:v>383</c:v>
                </c:pt>
                <c:pt idx="870">
                  <c:v>1755</c:v>
                </c:pt>
                <c:pt idx="871">
                  <c:v>3825</c:v>
                </c:pt>
                <c:pt idx="872">
                  <c:v>270</c:v>
                </c:pt>
                <c:pt idx="873">
                  <c:v>5802</c:v>
                </c:pt>
                <c:pt idx="874">
                  <c:v>785</c:v>
                </c:pt>
                <c:pt idx="875">
                  <c:v>248</c:v>
                </c:pt>
                <c:pt idx="876">
                  <c:v>366</c:v>
                </c:pt>
                <c:pt idx="877">
                  <c:v>3994</c:v>
                </c:pt>
                <c:pt idx="878">
                  <c:v>858</c:v>
                </c:pt>
                <c:pt idx="879">
                  <c:v>908</c:v>
                </c:pt>
                <c:pt idx="880">
                  <c:v>384</c:v>
                </c:pt>
                <c:pt idx="881">
                  <c:v>1008</c:v>
                </c:pt>
                <c:pt idx="882">
                  <c:v>1515</c:v>
                </c:pt>
                <c:pt idx="883">
                  <c:v>2473</c:v>
                </c:pt>
                <c:pt idx="884">
                  <c:v>996</c:v>
                </c:pt>
                <c:pt idx="885">
                  <c:v>13368</c:v>
                </c:pt>
                <c:pt idx="886">
                  <c:v>1648</c:v>
                </c:pt>
                <c:pt idx="887">
                  <c:v>1201</c:v>
                </c:pt>
                <c:pt idx="888">
                  <c:v>3996</c:v>
                </c:pt>
                <c:pt idx="889">
                  <c:v>324</c:v>
                </c:pt>
                <c:pt idx="890">
                  <c:v>1483</c:v>
                </c:pt>
                <c:pt idx="891">
                  <c:v>1094</c:v>
                </c:pt>
                <c:pt idx="892">
                  <c:v>680</c:v>
                </c:pt>
                <c:pt idx="893">
                  <c:v>394</c:v>
                </c:pt>
                <c:pt idx="894">
                  <c:v>1993</c:v>
                </c:pt>
                <c:pt idx="895">
                  <c:v>2338</c:v>
                </c:pt>
                <c:pt idx="896">
                  <c:v>19233</c:v>
                </c:pt>
                <c:pt idx="897">
                  <c:v>1285</c:v>
                </c:pt>
                <c:pt idx="898">
                  <c:v>6326</c:v>
                </c:pt>
                <c:pt idx="899">
                  <c:v>5061</c:v>
                </c:pt>
                <c:pt idx="900">
                  <c:v>1658</c:v>
                </c:pt>
                <c:pt idx="901">
                  <c:v>1656</c:v>
                </c:pt>
                <c:pt idx="902">
                  <c:v>641</c:v>
                </c:pt>
                <c:pt idx="903">
                  <c:v>140</c:v>
                </c:pt>
                <c:pt idx="904">
                  <c:v>12071</c:v>
                </c:pt>
                <c:pt idx="905">
                  <c:v>3445</c:v>
                </c:pt>
                <c:pt idx="906">
                  <c:v>575</c:v>
                </c:pt>
                <c:pt idx="907">
                  <c:v>1033</c:v>
                </c:pt>
                <c:pt idx="908">
                  <c:v>570</c:v>
                </c:pt>
                <c:pt idx="909">
                  <c:v>2094</c:v>
                </c:pt>
                <c:pt idx="910">
                  <c:v>2234</c:v>
                </c:pt>
                <c:pt idx="911">
                  <c:v>2987</c:v>
                </c:pt>
                <c:pt idx="912">
                  <c:v>8864</c:v>
                </c:pt>
                <c:pt idx="913">
                  <c:v>1246</c:v>
                </c:pt>
                <c:pt idx="914">
                  <c:v>653</c:v>
                </c:pt>
                <c:pt idx="915">
                  <c:v>424</c:v>
                </c:pt>
                <c:pt idx="916">
                  <c:v>317</c:v>
                </c:pt>
                <c:pt idx="917">
                  <c:v>3196</c:v>
                </c:pt>
                <c:pt idx="918">
                  <c:v>697</c:v>
                </c:pt>
                <c:pt idx="919">
                  <c:v>2147</c:v>
                </c:pt>
                <c:pt idx="920">
                  <c:v>142</c:v>
                </c:pt>
                <c:pt idx="921">
                  <c:v>240</c:v>
                </c:pt>
                <c:pt idx="922">
                  <c:v>331</c:v>
                </c:pt>
                <c:pt idx="923">
                  <c:v>1382</c:v>
                </c:pt>
                <c:pt idx="924">
                  <c:v>1256</c:v>
                </c:pt>
                <c:pt idx="925">
                  <c:v>5813</c:v>
                </c:pt>
                <c:pt idx="926">
                  <c:v>2973</c:v>
                </c:pt>
                <c:pt idx="927">
                  <c:v>2250</c:v>
                </c:pt>
                <c:pt idx="928">
                  <c:v>2341</c:v>
                </c:pt>
                <c:pt idx="929">
                  <c:v>2400</c:v>
                </c:pt>
                <c:pt idx="930">
                  <c:v>872</c:v>
                </c:pt>
                <c:pt idx="931">
                  <c:v>4447</c:v>
                </c:pt>
                <c:pt idx="932">
                  <c:v>11900</c:v>
                </c:pt>
                <c:pt idx="933">
                  <c:v>2737</c:v>
                </c:pt>
                <c:pt idx="934">
                  <c:v>1364</c:v>
                </c:pt>
                <c:pt idx="935">
                  <c:v>2451</c:v>
                </c:pt>
                <c:pt idx="936">
                  <c:v>220</c:v>
                </c:pt>
                <c:pt idx="937">
                  <c:v>2450</c:v>
                </c:pt>
                <c:pt idx="938">
                  <c:v>3518</c:v>
                </c:pt>
                <c:pt idx="939">
                  <c:v>4098</c:v>
                </c:pt>
                <c:pt idx="940">
                  <c:v>537</c:v>
                </c:pt>
                <c:pt idx="941">
                  <c:v>6690</c:v>
                </c:pt>
                <c:pt idx="942">
                  <c:v>879</c:v>
                </c:pt>
                <c:pt idx="943">
                  <c:v>274</c:v>
                </c:pt>
                <c:pt idx="944">
                  <c:v>2220</c:v>
                </c:pt>
                <c:pt idx="945">
                  <c:v>4198</c:v>
                </c:pt>
                <c:pt idx="946">
                  <c:v>680</c:v>
                </c:pt>
                <c:pt idx="947">
                  <c:v>1075</c:v>
                </c:pt>
                <c:pt idx="948">
                  <c:v>2777</c:v>
                </c:pt>
                <c:pt idx="949">
                  <c:v>4184</c:v>
                </c:pt>
                <c:pt idx="950">
                  <c:v>1244</c:v>
                </c:pt>
                <c:pt idx="951">
                  <c:v>3796</c:v>
                </c:pt>
                <c:pt idx="952">
                  <c:v>3657</c:v>
                </c:pt>
                <c:pt idx="953">
                  <c:v>1175</c:v>
                </c:pt>
                <c:pt idx="954">
                  <c:v>2551</c:v>
                </c:pt>
                <c:pt idx="955">
                  <c:v>521</c:v>
                </c:pt>
                <c:pt idx="956">
                  <c:v>4159</c:v>
                </c:pt>
                <c:pt idx="957">
                  <c:v>5413</c:v>
                </c:pt>
                <c:pt idx="958">
                  <c:v>1208</c:v>
                </c:pt>
                <c:pt idx="959">
                  <c:v>3637</c:v>
                </c:pt>
                <c:pt idx="960">
                  <c:v>13830</c:v>
                </c:pt>
                <c:pt idx="961">
                  <c:v>1474</c:v>
                </c:pt>
                <c:pt idx="962">
                  <c:v>2156</c:v>
                </c:pt>
                <c:pt idx="963">
                  <c:v>740</c:v>
                </c:pt>
                <c:pt idx="964">
                  <c:v>11127</c:v>
                </c:pt>
                <c:pt idx="965">
                  <c:v>2015</c:v>
                </c:pt>
                <c:pt idx="966">
                  <c:v>249</c:v>
                </c:pt>
                <c:pt idx="967">
                  <c:v>949</c:v>
                </c:pt>
                <c:pt idx="968">
                  <c:v>3622</c:v>
                </c:pt>
                <c:pt idx="969">
                  <c:v>564</c:v>
                </c:pt>
                <c:pt idx="970">
                  <c:v>234</c:v>
                </c:pt>
                <c:pt idx="971">
                  <c:v>3664</c:v>
                </c:pt>
                <c:pt idx="972">
                  <c:v>970</c:v>
                </c:pt>
                <c:pt idx="973">
                  <c:v>1393</c:v>
                </c:pt>
                <c:pt idx="974">
                  <c:v>4235</c:v>
                </c:pt>
                <c:pt idx="975">
                  <c:v>1762</c:v>
                </c:pt>
                <c:pt idx="976">
                  <c:v>9694</c:v>
                </c:pt>
                <c:pt idx="977">
                  <c:v>4667</c:v>
                </c:pt>
                <c:pt idx="978">
                  <c:v>1551</c:v>
                </c:pt>
                <c:pt idx="979">
                  <c:v>686</c:v>
                </c:pt>
                <c:pt idx="980">
                  <c:v>2815</c:v>
                </c:pt>
                <c:pt idx="981">
                  <c:v>5166</c:v>
                </c:pt>
                <c:pt idx="982">
                  <c:v>4131</c:v>
                </c:pt>
                <c:pt idx="983">
                  <c:v>760</c:v>
                </c:pt>
                <c:pt idx="984">
                  <c:v>1454</c:v>
                </c:pt>
                <c:pt idx="985">
                  <c:v>1795</c:v>
                </c:pt>
                <c:pt idx="986">
                  <c:v>128</c:v>
                </c:pt>
                <c:pt idx="987">
                  <c:v>703</c:v>
                </c:pt>
                <c:pt idx="988">
                  <c:v>2224</c:v>
                </c:pt>
                <c:pt idx="989">
                  <c:v>37</c:v>
                </c:pt>
                <c:pt idx="990">
                  <c:v>1506</c:v>
                </c:pt>
                <c:pt idx="991">
                  <c:v>10268</c:v>
                </c:pt>
                <c:pt idx="992">
                  <c:v>245</c:v>
                </c:pt>
                <c:pt idx="993">
                  <c:v>4718</c:v>
                </c:pt>
                <c:pt idx="994">
                  <c:v>395</c:v>
                </c:pt>
                <c:pt idx="995">
                  <c:v>672</c:v>
                </c:pt>
                <c:pt idx="996">
                  <c:v>818</c:v>
                </c:pt>
                <c:pt idx="997">
                  <c:v>502</c:v>
                </c:pt>
                <c:pt idx="998">
                  <c:v>2661</c:v>
                </c:pt>
                <c:pt idx="999">
                  <c:v>11630</c:v>
                </c:pt>
                <c:pt idx="1000">
                  <c:v>8721</c:v>
                </c:pt>
                <c:pt idx="1001">
                  <c:v>11819</c:v>
                </c:pt>
                <c:pt idx="1002">
                  <c:v>1510</c:v>
                </c:pt>
                <c:pt idx="1003">
                  <c:v>2075</c:v>
                </c:pt>
                <c:pt idx="1004">
                  <c:v>2252</c:v>
                </c:pt>
                <c:pt idx="1005">
                  <c:v>4073</c:v>
                </c:pt>
                <c:pt idx="1006">
                  <c:v>1340</c:v>
                </c:pt>
                <c:pt idx="1007">
                  <c:v>4574</c:v>
                </c:pt>
                <c:pt idx="1008">
                  <c:v>1211</c:v>
                </c:pt>
                <c:pt idx="1009">
                  <c:v>645</c:v>
                </c:pt>
                <c:pt idx="1010">
                  <c:v>121</c:v>
                </c:pt>
                <c:pt idx="1011">
                  <c:v>5456</c:v>
                </c:pt>
                <c:pt idx="1012">
                  <c:v>425</c:v>
                </c:pt>
                <c:pt idx="1013">
                  <c:v>11662</c:v>
                </c:pt>
                <c:pt idx="1014">
                  <c:v>4965</c:v>
                </c:pt>
                <c:pt idx="1015">
                  <c:v>726</c:v>
                </c:pt>
                <c:pt idx="1016">
                  <c:v>4556</c:v>
                </c:pt>
                <c:pt idx="1017">
                  <c:v>2411</c:v>
                </c:pt>
                <c:pt idx="1018">
                  <c:v>10439</c:v>
                </c:pt>
                <c:pt idx="1019">
                  <c:v>10046</c:v>
                </c:pt>
                <c:pt idx="1020">
                  <c:v>17751</c:v>
                </c:pt>
                <c:pt idx="1021">
                  <c:v>5819</c:v>
                </c:pt>
                <c:pt idx="1022">
                  <c:v>15638</c:v>
                </c:pt>
                <c:pt idx="1023">
                  <c:v>4810</c:v>
                </c:pt>
                <c:pt idx="1024">
                  <c:v>520</c:v>
                </c:pt>
                <c:pt idx="1025">
                  <c:v>805</c:v>
                </c:pt>
                <c:pt idx="1026">
                  <c:v>11266</c:v>
                </c:pt>
                <c:pt idx="1027">
                  <c:v>231</c:v>
                </c:pt>
                <c:pt idx="1028">
                  <c:v>1565</c:v>
                </c:pt>
                <c:pt idx="1029">
                  <c:v>559</c:v>
                </c:pt>
                <c:pt idx="1030">
                  <c:v>1863</c:v>
                </c:pt>
                <c:pt idx="1031">
                  <c:v>454</c:v>
                </c:pt>
                <c:pt idx="1032">
                  <c:v>2283</c:v>
                </c:pt>
                <c:pt idx="1033">
                  <c:v>1250</c:v>
                </c:pt>
                <c:pt idx="1034">
                  <c:v>97</c:v>
                </c:pt>
                <c:pt idx="1035">
                  <c:v>2396</c:v>
                </c:pt>
                <c:pt idx="1036">
                  <c:v>82</c:v>
                </c:pt>
                <c:pt idx="1037">
                  <c:v>706</c:v>
                </c:pt>
                <c:pt idx="1038">
                  <c:v>2335</c:v>
                </c:pt>
                <c:pt idx="1039">
                  <c:v>17154</c:v>
                </c:pt>
                <c:pt idx="1040">
                  <c:v>2369</c:v>
                </c:pt>
                <c:pt idx="1041">
                  <c:v>2505</c:v>
                </c:pt>
                <c:pt idx="1042">
                  <c:v>923</c:v>
                </c:pt>
                <c:pt idx="1043">
                  <c:v>1057</c:v>
                </c:pt>
                <c:pt idx="1044">
                  <c:v>375</c:v>
                </c:pt>
                <c:pt idx="1045">
                  <c:v>1478</c:v>
                </c:pt>
                <c:pt idx="1046">
                  <c:v>981</c:v>
                </c:pt>
                <c:pt idx="1047">
                  <c:v>1459</c:v>
                </c:pt>
                <c:pt idx="1048">
                  <c:v>1895</c:v>
                </c:pt>
                <c:pt idx="1049">
                  <c:v>3177</c:v>
                </c:pt>
                <c:pt idx="1050">
                  <c:v>1102</c:v>
                </c:pt>
                <c:pt idx="1051">
                  <c:v>436</c:v>
                </c:pt>
                <c:pt idx="1052">
                  <c:v>2017</c:v>
                </c:pt>
                <c:pt idx="1053">
                  <c:v>2820</c:v>
                </c:pt>
                <c:pt idx="1054">
                  <c:v>3447</c:v>
                </c:pt>
                <c:pt idx="1055">
                  <c:v>172</c:v>
                </c:pt>
                <c:pt idx="1056">
                  <c:v>2411</c:v>
                </c:pt>
                <c:pt idx="1057">
                  <c:v>3382</c:v>
                </c:pt>
                <c:pt idx="1058">
                  <c:v>2117</c:v>
                </c:pt>
                <c:pt idx="1059">
                  <c:v>2976</c:v>
                </c:pt>
                <c:pt idx="1060">
                  <c:v>428</c:v>
                </c:pt>
                <c:pt idx="1061">
                  <c:v>142</c:v>
                </c:pt>
                <c:pt idx="1062">
                  <c:v>1739</c:v>
                </c:pt>
                <c:pt idx="1063">
                  <c:v>803</c:v>
                </c:pt>
                <c:pt idx="1064">
                  <c:v>797</c:v>
                </c:pt>
                <c:pt idx="1065">
                  <c:v>401</c:v>
                </c:pt>
                <c:pt idx="1066">
                  <c:v>1514</c:v>
                </c:pt>
                <c:pt idx="1067">
                  <c:v>12033</c:v>
                </c:pt>
                <c:pt idx="1068">
                  <c:v>889</c:v>
                </c:pt>
                <c:pt idx="1069">
                  <c:v>1520</c:v>
                </c:pt>
                <c:pt idx="1070">
                  <c:v>6416</c:v>
                </c:pt>
                <c:pt idx="1071">
                  <c:v>770</c:v>
                </c:pt>
                <c:pt idx="1072">
                  <c:v>1281</c:v>
                </c:pt>
                <c:pt idx="1073">
                  <c:v>1489</c:v>
                </c:pt>
                <c:pt idx="1074">
                  <c:v>501</c:v>
                </c:pt>
                <c:pt idx="1075">
                  <c:v>2108</c:v>
                </c:pt>
                <c:pt idx="1076">
                  <c:v>1271</c:v>
                </c:pt>
                <c:pt idx="1077">
                  <c:v>719</c:v>
                </c:pt>
                <c:pt idx="1078">
                  <c:v>1184</c:v>
                </c:pt>
                <c:pt idx="1079">
                  <c:v>745</c:v>
                </c:pt>
                <c:pt idx="1080">
                  <c:v>1409</c:v>
                </c:pt>
                <c:pt idx="1081">
                  <c:v>1860</c:v>
                </c:pt>
                <c:pt idx="1082">
                  <c:v>2461</c:v>
                </c:pt>
                <c:pt idx="1083">
                  <c:v>227</c:v>
                </c:pt>
                <c:pt idx="1084">
                  <c:v>1490</c:v>
                </c:pt>
                <c:pt idx="1085">
                  <c:v>3113</c:v>
                </c:pt>
                <c:pt idx="1086">
                  <c:v>21637</c:v>
                </c:pt>
                <c:pt idx="1087">
                  <c:v>331</c:v>
                </c:pt>
                <c:pt idx="1088">
                  <c:v>99</c:v>
                </c:pt>
                <c:pt idx="1089">
                  <c:v>552</c:v>
                </c:pt>
                <c:pt idx="1090">
                  <c:v>858</c:v>
                </c:pt>
                <c:pt idx="1091">
                  <c:v>4767</c:v>
                </c:pt>
                <c:pt idx="1092">
                  <c:v>42</c:v>
                </c:pt>
                <c:pt idx="1093">
                  <c:v>550</c:v>
                </c:pt>
                <c:pt idx="1094">
                  <c:v>2100</c:v>
                </c:pt>
                <c:pt idx="1095">
                  <c:v>128</c:v>
                </c:pt>
                <c:pt idx="1096">
                  <c:v>771</c:v>
                </c:pt>
                <c:pt idx="1097">
                  <c:v>1521</c:v>
                </c:pt>
                <c:pt idx="1098">
                  <c:v>471</c:v>
                </c:pt>
                <c:pt idx="1099">
                  <c:v>509</c:v>
                </c:pt>
                <c:pt idx="1100">
                  <c:v>264</c:v>
                </c:pt>
                <c:pt idx="1101">
                  <c:v>1584</c:v>
                </c:pt>
                <c:pt idx="1102">
                  <c:v>1286</c:v>
                </c:pt>
                <c:pt idx="1103">
                  <c:v>1633</c:v>
                </c:pt>
                <c:pt idx="1104">
                  <c:v>2843</c:v>
                </c:pt>
                <c:pt idx="1105">
                  <c:v>632</c:v>
                </c:pt>
                <c:pt idx="1106">
                  <c:v>508</c:v>
                </c:pt>
                <c:pt idx="1107">
                  <c:v>585</c:v>
                </c:pt>
                <c:pt idx="1108">
                  <c:v>615</c:v>
                </c:pt>
                <c:pt idx="1109">
                  <c:v>854</c:v>
                </c:pt>
                <c:pt idx="1110">
                  <c:v>28</c:v>
                </c:pt>
                <c:pt idx="1111">
                  <c:v>904</c:v>
                </c:pt>
                <c:pt idx="1112">
                  <c:v>4698</c:v>
                </c:pt>
                <c:pt idx="1113">
                  <c:v>487</c:v>
                </c:pt>
                <c:pt idx="1114">
                  <c:v>595</c:v>
                </c:pt>
                <c:pt idx="1115">
                  <c:v>720</c:v>
                </c:pt>
                <c:pt idx="1116">
                  <c:v>82</c:v>
                </c:pt>
                <c:pt idx="1117">
                  <c:v>223</c:v>
                </c:pt>
                <c:pt idx="1118">
                  <c:v>338</c:v>
                </c:pt>
                <c:pt idx="1119">
                  <c:v>1558</c:v>
                </c:pt>
                <c:pt idx="1120">
                  <c:v>2175</c:v>
                </c:pt>
                <c:pt idx="1121">
                  <c:v>305</c:v>
                </c:pt>
                <c:pt idx="1122">
                  <c:v>375</c:v>
                </c:pt>
                <c:pt idx="1123">
                  <c:v>1441</c:v>
                </c:pt>
                <c:pt idx="1124">
                  <c:v>1640</c:v>
                </c:pt>
                <c:pt idx="1125">
                  <c:v>1231</c:v>
                </c:pt>
                <c:pt idx="1126">
                  <c:v>187</c:v>
                </c:pt>
                <c:pt idx="1127">
                  <c:v>4931</c:v>
                </c:pt>
                <c:pt idx="1128">
                  <c:v>154</c:v>
                </c:pt>
                <c:pt idx="1129">
                  <c:v>927</c:v>
                </c:pt>
                <c:pt idx="1130">
                  <c:v>4421</c:v>
                </c:pt>
                <c:pt idx="1131">
                  <c:v>1830</c:v>
                </c:pt>
                <c:pt idx="1132">
                  <c:v>185</c:v>
                </c:pt>
                <c:pt idx="1133">
                  <c:v>483</c:v>
                </c:pt>
                <c:pt idx="1134">
                  <c:v>217</c:v>
                </c:pt>
                <c:pt idx="1135">
                  <c:v>74</c:v>
                </c:pt>
                <c:pt idx="1136">
                  <c:v>257</c:v>
                </c:pt>
                <c:pt idx="1137">
                  <c:v>574</c:v>
                </c:pt>
                <c:pt idx="1138">
                  <c:v>191</c:v>
                </c:pt>
                <c:pt idx="1139">
                  <c:v>97</c:v>
                </c:pt>
                <c:pt idx="1140">
                  <c:v>72</c:v>
                </c:pt>
                <c:pt idx="1141">
                  <c:v>32</c:v>
                </c:pt>
                <c:pt idx="1142">
                  <c:v>794</c:v>
                </c:pt>
                <c:pt idx="1143">
                  <c:v>147</c:v>
                </c:pt>
                <c:pt idx="1144">
                  <c:v>2054</c:v>
                </c:pt>
                <c:pt idx="1145">
                  <c:v>130</c:v>
                </c:pt>
                <c:pt idx="1146">
                  <c:v>5557</c:v>
                </c:pt>
                <c:pt idx="1147">
                  <c:v>363</c:v>
                </c:pt>
                <c:pt idx="1148">
                  <c:v>747</c:v>
                </c:pt>
                <c:pt idx="1149">
                  <c:v>742</c:v>
                </c:pt>
                <c:pt idx="1150">
                  <c:v>489</c:v>
                </c:pt>
                <c:pt idx="1151">
                  <c:v>978</c:v>
                </c:pt>
                <c:pt idx="1152">
                  <c:v>335</c:v>
                </c:pt>
                <c:pt idx="1153">
                  <c:v>472</c:v>
                </c:pt>
                <c:pt idx="1154">
                  <c:v>416</c:v>
                </c:pt>
                <c:pt idx="1155">
                  <c:v>247</c:v>
                </c:pt>
                <c:pt idx="1156">
                  <c:v>1019</c:v>
                </c:pt>
                <c:pt idx="1157">
                  <c:v>210</c:v>
                </c:pt>
                <c:pt idx="1158">
                  <c:v>774</c:v>
                </c:pt>
                <c:pt idx="1159">
                  <c:v>813</c:v>
                </c:pt>
                <c:pt idx="1160">
                  <c:v>1204</c:v>
                </c:pt>
                <c:pt idx="1161">
                  <c:v>671</c:v>
                </c:pt>
                <c:pt idx="1162">
                  <c:v>263</c:v>
                </c:pt>
                <c:pt idx="1163">
                  <c:v>238</c:v>
                </c:pt>
                <c:pt idx="1164">
                  <c:v>165</c:v>
                </c:pt>
                <c:pt idx="1165">
                  <c:v>2100</c:v>
                </c:pt>
                <c:pt idx="1166">
                  <c:v>225</c:v>
                </c:pt>
                <c:pt idx="1167">
                  <c:v>798</c:v>
                </c:pt>
                <c:pt idx="1168">
                  <c:v>85</c:v>
                </c:pt>
                <c:pt idx="1169">
                  <c:v>191</c:v>
                </c:pt>
                <c:pt idx="1170">
                  <c:v>2330</c:v>
                </c:pt>
                <c:pt idx="1171">
                  <c:v>1506</c:v>
                </c:pt>
                <c:pt idx="1172">
                  <c:v>7810</c:v>
                </c:pt>
                <c:pt idx="1173">
                  <c:v>460</c:v>
                </c:pt>
                <c:pt idx="1174">
                  <c:v>489</c:v>
                </c:pt>
                <c:pt idx="1175">
                  <c:v>2968</c:v>
                </c:pt>
                <c:pt idx="1176">
                  <c:v>246</c:v>
                </c:pt>
                <c:pt idx="1177">
                  <c:v>309</c:v>
                </c:pt>
                <c:pt idx="1178">
                  <c:v>1367</c:v>
                </c:pt>
                <c:pt idx="1179">
                  <c:v>348</c:v>
                </c:pt>
                <c:pt idx="1180">
                  <c:v>268</c:v>
                </c:pt>
                <c:pt idx="1181">
                  <c:v>1192</c:v>
                </c:pt>
                <c:pt idx="1182">
                  <c:v>57</c:v>
                </c:pt>
                <c:pt idx="1183">
                  <c:v>325</c:v>
                </c:pt>
                <c:pt idx="1184">
                  <c:v>452</c:v>
                </c:pt>
                <c:pt idx="1185">
                  <c:v>215</c:v>
                </c:pt>
                <c:pt idx="1186">
                  <c:v>870</c:v>
                </c:pt>
                <c:pt idx="1187">
                  <c:v>247</c:v>
                </c:pt>
                <c:pt idx="1188">
                  <c:v>662</c:v>
                </c:pt>
                <c:pt idx="1189">
                  <c:v>434</c:v>
                </c:pt>
                <c:pt idx="1190">
                  <c:v>922</c:v>
                </c:pt>
                <c:pt idx="1191">
                  <c:v>1248</c:v>
                </c:pt>
                <c:pt idx="1192">
                  <c:v>48</c:v>
                </c:pt>
                <c:pt idx="1193">
                  <c:v>381</c:v>
                </c:pt>
                <c:pt idx="1194">
                  <c:v>301</c:v>
                </c:pt>
                <c:pt idx="1195">
                  <c:v>487</c:v>
                </c:pt>
                <c:pt idx="1196">
                  <c:v>108</c:v>
                </c:pt>
                <c:pt idx="1197">
                  <c:v>506</c:v>
                </c:pt>
                <c:pt idx="1198">
                  <c:v>336</c:v>
                </c:pt>
                <c:pt idx="1199">
                  <c:v>1097</c:v>
                </c:pt>
                <c:pt idx="1200">
                  <c:v>406</c:v>
                </c:pt>
                <c:pt idx="1201">
                  <c:v>116</c:v>
                </c:pt>
                <c:pt idx="1202">
                  <c:v>410</c:v>
                </c:pt>
                <c:pt idx="1203">
                  <c:v>645</c:v>
                </c:pt>
                <c:pt idx="1204">
                  <c:v>295</c:v>
                </c:pt>
                <c:pt idx="1205">
                  <c:v>586</c:v>
                </c:pt>
                <c:pt idx="1206">
                  <c:v>483</c:v>
                </c:pt>
                <c:pt idx="1207">
                  <c:v>567</c:v>
                </c:pt>
                <c:pt idx="1208">
                  <c:v>568</c:v>
                </c:pt>
                <c:pt idx="1209">
                  <c:v>55</c:v>
                </c:pt>
                <c:pt idx="1210">
                  <c:v>289</c:v>
                </c:pt>
                <c:pt idx="1211">
                  <c:v>124</c:v>
                </c:pt>
                <c:pt idx="1212">
                  <c:v>654</c:v>
                </c:pt>
                <c:pt idx="1213">
                  <c:v>2402</c:v>
                </c:pt>
                <c:pt idx="1214">
                  <c:v>140</c:v>
                </c:pt>
                <c:pt idx="1215">
                  <c:v>705</c:v>
                </c:pt>
                <c:pt idx="1216">
                  <c:v>588</c:v>
                </c:pt>
                <c:pt idx="1217">
                  <c:v>420</c:v>
                </c:pt>
                <c:pt idx="1218">
                  <c:v>950</c:v>
                </c:pt>
                <c:pt idx="1219">
                  <c:v>236</c:v>
                </c:pt>
                <c:pt idx="1220">
                  <c:v>59</c:v>
                </c:pt>
                <c:pt idx="1221">
                  <c:v>198</c:v>
                </c:pt>
                <c:pt idx="1222">
                  <c:v>133</c:v>
                </c:pt>
                <c:pt idx="1223">
                  <c:v>998</c:v>
                </c:pt>
                <c:pt idx="1224">
                  <c:v>4215</c:v>
                </c:pt>
                <c:pt idx="1225">
                  <c:v>650</c:v>
                </c:pt>
                <c:pt idx="1226">
                  <c:v>161</c:v>
                </c:pt>
                <c:pt idx="1227">
                  <c:v>414</c:v>
                </c:pt>
                <c:pt idx="1228">
                  <c:v>200</c:v>
                </c:pt>
                <c:pt idx="1229">
                  <c:v>4107</c:v>
                </c:pt>
                <c:pt idx="1230">
                  <c:v>206</c:v>
                </c:pt>
                <c:pt idx="1231">
                  <c:v>604</c:v>
                </c:pt>
                <c:pt idx="1232">
                  <c:v>1200</c:v>
                </c:pt>
                <c:pt idx="1233">
                  <c:v>2342</c:v>
                </c:pt>
                <c:pt idx="1234">
                  <c:v>359</c:v>
                </c:pt>
                <c:pt idx="1235">
                  <c:v>152</c:v>
                </c:pt>
                <c:pt idx="1236">
                  <c:v>556</c:v>
                </c:pt>
                <c:pt idx="1237">
                  <c:v>676</c:v>
                </c:pt>
                <c:pt idx="1238">
                  <c:v>1063</c:v>
                </c:pt>
                <c:pt idx="1239">
                  <c:v>1412</c:v>
                </c:pt>
                <c:pt idx="1240">
                  <c:v>607</c:v>
                </c:pt>
                <c:pt idx="1241">
                  <c:v>286</c:v>
                </c:pt>
                <c:pt idx="1242">
                  <c:v>184</c:v>
                </c:pt>
                <c:pt idx="1243">
                  <c:v>184</c:v>
                </c:pt>
                <c:pt idx="1244">
                  <c:v>281</c:v>
                </c:pt>
                <c:pt idx="1245">
                  <c:v>277</c:v>
                </c:pt>
                <c:pt idx="1246">
                  <c:v>163</c:v>
                </c:pt>
                <c:pt idx="1247">
                  <c:v>149</c:v>
                </c:pt>
                <c:pt idx="1248">
                  <c:v>4255</c:v>
                </c:pt>
                <c:pt idx="1249">
                  <c:v>412</c:v>
                </c:pt>
                <c:pt idx="1250">
                  <c:v>283</c:v>
                </c:pt>
                <c:pt idx="1251">
                  <c:v>230</c:v>
                </c:pt>
                <c:pt idx="1252">
                  <c:v>310</c:v>
                </c:pt>
                <c:pt idx="1253">
                  <c:v>148</c:v>
                </c:pt>
                <c:pt idx="1254">
                  <c:v>96</c:v>
                </c:pt>
                <c:pt idx="1255">
                  <c:v>313</c:v>
                </c:pt>
                <c:pt idx="1256">
                  <c:v>214</c:v>
                </c:pt>
                <c:pt idx="1257">
                  <c:v>194</c:v>
                </c:pt>
                <c:pt idx="1258">
                  <c:v>611</c:v>
                </c:pt>
                <c:pt idx="1259">
                  <c:v>698</c:v>
                </c:pt>
                <c:pt idx="1260">
                  <c:v>183</c:v>
                </c:pt>
                <c:pt idx="1261">
                  <c:v>3355</c:v>
                </c:pt>
                <c:pt idx="1262">
                  <c:v>2414</c:v>
                </c:pt>
                <c:pt idx="1263">
                  <c:v>878</c:v>
                </c:pt>
                <c:pt idx="1264">
                  <c:v>203</c:v>
                </c:pt>
                <c:pt idx="1265">
                  <c:v>1916</c:v>
                </c:pt>
                <c:pt idx="1266">
                  <c:v>250</c:v>
                </c:pt>
                <c:pt idx="1267">
                  <c:v>694</c:v>
                </c:pt>
                <c:pt idx="1268">
                  <c:v>1877</c:v>
                </c:pt>
                <c:pt idx="1269">
                  <c:v>681</c:v>
                </c:pt>
                <c:pt idx="1270">
                  <c:v>305</c:v>
                </c:pt>
                <c:pt idx="1271">
                  <c:v>586</c:v>
                </c:pt>
                <c:pt idx="1272">
                  <c:v>1418</c:v>
                </c:pt>
                <c:pt idx="1273">
                  <c:v>1745</c:v>
                </c:pt>
                <c:pt idx="1274">
                  <c:v>432</c:v>
                </c:pt>
                <c:pt idx="1275">
                  <c:v>11734</c:v>
                </c:pt>
                <c:pt idx="1276">
                  <c:v>1053</c:v>
                </c:pt>
                <c:pt idx="1277">
                  <c:v>665</c:v>
                </c:pt>
                <c:pt idx="1278">
                  <c:v>247</c:v>
                </c:pt>
                <c:pt idx="1279">
                  <c:v>3549</c:v>
                </c:pt>
                <c:pt idx="1280">
                  <c:v>1355</c:v>
                </c:pt>
                <c:pt idx="1281">
                  <c:v>655</c:v>
                </c:pt>
                <c:pt idx="1282">
                  <c:v>720</c:v>
                </c:pt>
                <c:pt idx="1283">
                  <c:v>274</c:v>
                </c:pt>
                <c:pt idx="1284">
                  <c:v>257</c:v>
                </c:pt>
                <c:pt idx="1285">
                  <c:v>993</c:v>
                </c:pt>
                <c:pt idx="1286">
                  <c:v>1758</c:v>
                </c:pt>
                <c:pt idx="1287">
                  <c:v>912</c:v>
                </c:pt>
                <c:pt idx="1288">
                  <c:v>266</c:v>
                </c:pt>
                <c:pt idx="1289">
                  <c:v>1908</c:v>
                </c:pt>
                <c:pt idx="1290">
                  <c:v>618</c:v>
                </c:pt>
                <c:pt idx="1291">
                  <c:v>38</c:v>
                </c:pt>
                <c:pt idx="1292">
                  <c:v>2983</c:v>
                </c:pt>
                <c:pt idx="1293">
                  <c:v>4594</c:v>
                </c:pt>
                <c:pt idx="1294">
                  <c:v>346</c:v>
                </c:pt>
                <c:pt idx="1295">
                  <c:v>893</c:v>
                </c:pt>
                <c:pt idx="1296">
                  <c:v>439</c:v>
                </c:pt>
                <c:pt idx="1297">
                  <c:v>713</c:v>
                </c:pt>
                <c:pt idx="1298">
                  <c:v>556</c:v>
                </c:pt>
                <c:pt idx="1299">
                  <c:v>842</c:v>
                </c:pt>
                <c:pt idx="1300">
                  <c:v>322</c:v>
                </c:pt>
                <c:pt idx="1301">
                  <c:v>1831</c:v>
                </c:pt>
                <c:pt idx="1302">
                  <c:v>485</c:v>
                </c:pt>
                <c:pt idx="1303">
                  <c:v>828</c:v>
                </c:pt>
                <c:pt idx="1304">
                  <c:v>1438</c:v>
                </c:pt>
                <c:pt idx="1305">
                  <c:v>662</c:v>
                </c:pt>
                <c:pt idx="1306">
                  <c:v>347</c:v>
                </c:pt>
                <c:pt idx="1307">
                  <c:v>1755</c:v>
                </c:pt>
                <c:pt idx="1308">
                  <c:v>835</c:v>
                </c:pt>
                <c:pt idx="1309">
                  <c:v>316</c:v>
                </c:pt>
                <c:pt idx="1310">
                  <c:v>3445</c:v>
                </c:pt>
                <c:pt idx="1311">
                  <c:v>898</c:v>
                </c:pt>
                <c:pt idx="1312">
                  <c:v>660</c:v>
                </c:pt>
                <c:pt idx="1313">
                  <c:v>1616</c:v>
                </c:pt>
                <c:pt idx="1314">
                  <c:v>563</c:v>
                </c:pt>
                <c:pt idx="1315">
                  <c:v>808</c:v>
                </c:pt>
                <c:pt idx="1316">
                  <c:v>654</c:v>
                </c:pt>
                <c:pt idx="1317">
                  <c:v>752</c:v>
                </c:pt>
                <c:pt idx="1318">
                  <c:v>1197</c:v>
                </c:pt>
                <c:pt idx="1319">
                  <c:v>4604</c:v>
                </c:pt>
                <c:pt idx="1320">
                  <c:v>457</c:v>
                </c:pt>
                <c:pt idx="1321">
                  <c:v>330</c:v>
                </c:pt>
                <c:pt idx="1322">
                  <c:v>1246</c:v>
                </c:pt>
                <c:pt idx="1323">
                  <c:v>274</c:v>
                </c:pt>
                <c:pt idx="1324">
                  <c:v>706</c:v>
                </c:pt>
                <c:pt idx="1325">
                  <c:v>216</c:v>
                </c:pt>
                <c:pt idx="1326">
                  <c:v>76</c:v>
                </c:pt>
                <c:pt idx="1327">
                  <c:v>1036</c:v>
                </c:pt>
                <c:pt idx="1328">
                  <c:v>414</c:v>
                </c:pt>
                <c:pt idx="1329">
                  <c:v>907</c:v>
                </c:pt>
                <c:pt idx="1330">
                  <c:v>2090</c:v>
                </c:pt>
                <c:pt idx="1331">
                  <c:v>4657</c:v>
                </c:pt>
                <c:pt idx="1332">
                  <c:v>1386</c:v>
                </c:pt>
                <c:pt idx="1333">
                  <c:v>1511</c:v>
                </c:pt>
                <c:pt idx="1334">
                  <c:v>102</c:v>
                </c:pt>
                <c:pt idx="1335">
                  <c:v>345</c:v>
                </c:pt>
                <c:pt idx="1336">
                  <c:v>530</c:v>
                </c:pt>
                <c:pt idx="1337">
                  <c:v>428</c:v>
                </c:pt>
                <c:pt idx="1338">
                  <c:v>592</c:v>
                </c:pt>
                <c:pt idx="1339">
                  <c:v>523</c:v>
                </c:pt>
                <c:pt idx="1340">
                  <c:v>344</c:v>
                </c:pt>
                <c:pt idx="1341">
                  <c:v>233</c:v>
                </c:pt>
                <c:pt idx="1342">
                  <c:v>797</c:v>
                </c:pt>
                <c:pt idx="1343">
                  <c:v>839</c:v>
                </c:pt>
                <c:pt idx="1344">
                  <c:v>653</c:v>
                </c:pt>
                <c:pt idx="1345">
                  <c:v>1510</c:v>
                </c:pt>
                <c:pt idx="1346">
                  <c:v>554</c:v>
                </c:pt>
                <c:pt idx="1347">
                  <c:v>155</c:v>
                </c:pt>
                <c:pt idx="1348">
                  <c:v>1674</c:v>
                </c:pt>
                <c:pt idx="1349">
                  <c:v>167</c:v>
                </c:pt>
                <c:pt idx="1350">
                  <c:v>87</c:v>
                </c:pt>
                <c:pt idx="1351">
                  <c:v>2368</c:v>
                </c:pt>
                <c:pt idx="1352">
                  <c:v>987</c:v>
                </c:pt>
                <c:pt idx="1353">
                  <c:v>266</c:v>
                </c:pt>
                <c:pt idx="1354">
                  <c:v>586</c:v>
                </c:pt>
                <c:pt idx="1355">
                  <c:v>80</c:v>
                </c:pt>
                <c:pt idx="1356">
                  <c:v>1576</c:v>
                </c:pt>
                <c:pt idx="1357">
                  <c:v>360</c:v>
                </c:pt>
                <c:pt idx="1358">
                  <c:v>253</c:v>
                </c:pt>
                <c:pt idx="1359">
                  <c:v>303</c:v>
                </c:pt>
                <c:pt idx="1360">
                  <c:v>670</c:v>
                </c:pt>
                <c:pt idx="1361">
                  <c:v>250</c:v>
                </c:pt>
                <c:pt idx="1362">
                  <c:v>739</c:v>
                </c:pt>
                <c:pt idx="1363">
                  <c:v>453</c:v>
                </c:pt>
                <c:pt idx="1364">
                  <c:v>223</c:v>
                </c:pt>
                <c:pt idx="1365">
                  <c:v>90</c:v>
                </c:pt>
                <c:pt idx="1366">
                  <c:v>278</c:v>
                </c:pt>
                <c:pt idx="1367">
                  <c:v>597</c:v>
                </c:pt>
                <c:pt idx="1368">
                  <c:v>2022</c:v>
                </c:pt>
                <c:pt idx="1369">
                  <c:v>1992</c:v>
                </c:pt>
                <c:pt idx="1370">
                  <c:v>2148</c:v>
                </c:pt>
                <c:pt idx="1371">
                  <c:v>414</c:v>
                </c:pt>
                <c:pt idx="1372">
                  <c:v>2401</c:v>
                </c:pt>
                <c:pt idx="1373">
                  <c:v>273</c:v>
                </c:pt>
                <c:pt idx="1374">
                  <c:v>778</c:v>
                </c:pt>
                <c:pt idx="1375">
                  <c:v>1051</c:v>
                </c:pt>
                <c:pt idx="1376">
                  <c:v>736</c:v>
                </c:pt>
                <c:pt idx="1377">
                  <c:v>289</c:v>
                </c:pt>
                <c:pt idx="1378">
                  <c:v>365</c:v>
                </c:pt>
                <c:pt idx="1379">
                  <c:v>289</c:v>
                </c:pt>
                <c:pt idx="1380">
                  <c:v>461</c:v>
                </c:pt>
                <c:pt idx="1381">
                  <c:v>4045</c:v>
                </c:pt>
                <c:pt idx="1382">
                  <c:v>528</c:v>
                </c:pt>
                <c:pt idx="1383">
                  <c:v>379</c:v>
                </c:pt>
                <c:pt idx="1384">
                  <c:v>6247</c:v>
                </c:pt>
                <c:pt idx="1385">
                  <c:v>1796</c:v>
                </c:pt>
                <c:pt idx="1386">
                  <c:v>671</c:v>
                </c:pt>
                <c:pt idx="1387">
                  <c:v>308</c:v>
                </c:pt>
                <c:pt idx="1388">
                  <c:v>278</c:v>
                </c:pt>
                <c:pt idx="1389">
                  <c:v>151</c:v>
                </c:pt>
                <c:pt idx="1390">
                  <c:v>2301</c:v>
                </c:pt>
                <c:pt idx="1391">
                  <c:v>1440</c:v>
                </c:pt>
                <c:pt idx="1392">
                  <c:v>162</c:v>
                </c:pt>
                <c:pt idx="1393">
                  <c:v>1042</c:v>
                </c:pt>
                <c:pt idx="1394">
                  <c:v>1032</c:v>
                </c:pt>
                <c:pt idx="1395">
                  <c:v>7926</c:v>
                </c:pt>
                <c:pt idx="1396">
                  <c:v>332</c:v>
                </c:pt>
                <c:pt idx="1397">
                  <c:v>264</c:v>
                </c:pt>
                <c:pt idx="1398">
                  <c:v>264</c:v>
                </c:pt>
                <c:pt idx="1399">
                  <c:v>464</c:v>
                </c:pt>
                <c:pt idx="1400">
                  <c:v>1016</c:v>
                </c:pt>
                <c:pt idx="1401">
                  <c:v>2511</c:v>
                </c:pt>
                <c:pt idx="1402">
                  <c:v>411</c:v>
                </c:pt>
                <c:pt idx="1403">
                  <c:v>140</c:v>
                </c:pt>
                <c:pt idx="1404">
                  <c:v>399</c:v>
                </c:pt>
                <c:pt idx="1405">
                  <c:v>751</c:v>
                </c:pt>
                <c:pt idx="1406">
                  <c:v>1446</c:v>
                </c:pt>
                <c:pt idx="1407">
                  <c:v>383</c:v>
                </c:pt>
                <c:pt idx="1408">
                  <c:v>312</c:v>
                </c:pt>
                <c:pt idx="1409">
                  <c:v>143</c:v>
                </c:pt>
                <c:pt idx="1410">
                  <c:v>259</c:v>
                </c:pt>
                <c:pt idx="1411">
                  <c:v>210</c:v>
                </c:pt>
                <c:pt idx="1412">
                  <c:v>443</c:v>
                </c:pt>
                <c:pt idx="1413">
                  <c:v>118</c:v>
                </c:pt>
                <c:pt idx="1414">
                  <c:v>1103</c:v>
                </c:pt>
                <c:pt idx="1415">
                  <c:v>18197</c:v>
                </c:pt>
                <c:pt idx="1416">
                  <c:v>11415</c:v>
                </c:pt>
                <c:pt idx="1417">
                  <c:v>4954</c:v>
                </c:pt>
                <c:pt idx="1418">
                  <c:v>5447</c:v>
                </c:pt>
                <c:pt idx="1419">
                  <c:v>947</c:v>
                </c:pt>
                <c:pt idx="1420">
                  <c:v>307</c:v>
                </c:pt>
                <c:pt idx="1421">
                  <c:v>239</c:v>
                </c:pt>
                <c:pt idx="1422">
                  <c:v>3681</c:v>
                </c:pt>
                <c:pt idx="1423">
                  <c:v>852</c:v>
                </c:pt>
                <c:pt idx="1424">
                  <c:v>2175</c:v>
                </c:pt>
                <c:pt idx="1425">
                  <c:v>9057</c:v>
                </c:pt>
                <c:pt idx="1426">
                  <c:v>377</c:v>
                </c:pt>
                <c:pt idx="1427">
                  <c:v>2456</c:v>
                </c:pt>
                <c:pt idx="1428">
                  <c:v>12139</c:v>
                </c:pt>
                <c:pt idx="1429">
                  <c:v>3045</c:v>
                </c:pt>
                <c:pt idx="1430">
                  <c:v>798</c:v>
                </c:pt>
                <c:pt idx="1431">
                  <c:v>561</c:v>
                </c:pt>
                <c:pt idx="1432">
                  <c:v>818</c:v>
                </c:pt>
                <c:pt idx="1433">
                  <c:v>1096</c:v>
                </c:pt>
                <c:pt idx="1434">
                  <c:v>762</c:v>
                </c:pt>
                <c:pt idx="1435">
                  <c:v>2781</c:v>
                </c:pt>
                <c:pt idx="1436">
                  <c:v>905</c:v>
                </c:pt>
                <c:pt idx="1437">
                  <c:v>280</c:v>
                </c:pt>
                <c:pt idx="1438">
                  <c:v>1842</c:v>
                </c:pt>
                <c:pt idx="1439">
                  <c:v>3018</c:v>
                </c:pt>
                <c:pt idx="1440">
                  <c:v>7248</c:v>
                </c:pt>
                <c:pt idx="1441">
                  <c:v>303</c:v>
                </c:pt>
                <c:pt idx="1442">
                  <c:v>1237</c:v>
                </c:pt>
                <c:pt idx="1443">
                  <c:v>824</c:v>
                </c:pt>
                <c:pt idx="1444">
                  <c:v>511</c:v>
                </c:pt>
                <c:pt idx="1445">
                  <c:v>1359</c:v>
                </c:pt>
                <c:pt idx="1446">
                  <c:v>2553</c:v>
                </c:pt>
                <c:pt idx="1447">
                  <c:v>8136</c:v>
                </c:pt>
                <c:pt idx="1448">
                  <c:v>3976</c:v>
                </c:pt>
                <c:pt idx="1449">
                  <c:v>697</c:v>
                </c:pt>
                <c:pt idx="1450">
                  <c:v>782</c:v>
                </c:pt>
                <c:pt idx="1451">
                  <c:v>970</c:v>
                </c:pt>
                <c:pt idx="1452">
                  <c:v>3948</c:v>
                </c:pt>
                <c:pt idx="1453">
                  <c:v>1870</c:v>
                </c:pt>
                <c:pt idx="1454">
                  <c:v>3310</c:v>
                </c:pt>
                <c:pt idx="1455">
                  <c:v>461</c:v>
                </c:pt>
                <c:pt idx="1456">
                  <c:v>866</c:v>
                </c:pt>
                <c:pt idx="1457">
                  <c:v>5711</c:v>
                </c:pt>
                <c:pt idx="1458">
                  <c:v>6694</c:v>
                </c:pt>
                <c:pt idx="1459">
                  <c:v>8497</c:v>
                </c:pt>
                <c:pt idx="1460">
                  <c:v>556</c:v>
                </c:pt>
                <c:pt idx="1461">
                  <c:v>308</c:v>
                </c:pt>
                <c:pt idx="1462">
                  <c:v>368</c:v>
                </c:pt>
                <c:pt idx="1463">
                  <c:v>531</c:v>
                </c:pt>
                <c:pt idx="1464">
                  <c:v>672</c:v>
                </c:pt>
                <c:pt idx="1465">
                  <c:v>375</c:v>
                </c:pt>
                <c:pt idx="1466">
                  <c:v>374</c:v>
                </c:pt>
                <c:pt idx="1467">
                  <c:v>690</c:v>
                </c:pt>
                <c:pt idx="1468">
                  <c:v>1656</c:v>
                </c:pt>
                <c:pt idx="1469">
                  <c:v>1946</c:v>
                </c:pt>
                <c:pt idx="1470">
                  <c:v>905</c:v>
                </c:pt>
                <c:pt idx="1471">
                  <c:v>952</c:v>
                </c:pt>
                <c:pt idx="1472">
                  <c:v>3296</c:v>
                </c:pt>
                <c:pt idx="1473">
                  <c:v>3512</c:v>
                </c:pt>
                <c:pt idx="1474">
                  <c:v>1097</c:v>
                </c:pt>
                <c:pt idx="1475">
                  <c:v>302</c:v>
                </c:pt>
                <c:pt idx="1476">
                  <c:v>2420</c:v>
                </c:pt>
                <c:pt idx="1477">
                  <c:v>1332</c:v>
                </c:pt>
                <c:pt idx="1478">
                  <c:v>768</c:v>
                </c:pt>
                <c:pt idx="1479">
                  <c:v>456</c:v>
                </c:pt>
                <c:pt idx="1480">
                  <c:v>2665</c:v>
                </c:pt>
                <c:pt idx="1481">
                  <c:v>1187</c:v>
                </c:pt>
                <c:pt idx="1482">
                  <c:v>1781</c:v>
                </c:pt>
                <c:pt idx="1483">
                  <c:v>1168</c:v>
                </c:pt>
                <c:pt idx="1484">
                  <c:v>74</c:v>
                </c:pt>
                <c:pt idx="1485">
                  <c:v>639</c:v>
                </c:pt>
                <c:pt idx="1486">
                  <c:v>10242</c:v>
                </c:pt>
                <c:pt idx="1487">
                  <c:v>169</c:v>
                </c:pt>
                <c:pt idx="1488">
                  <c:v>456</c:v>
                </c:pt>
                <c:pt idx="1489">
                  <c:v>3036</c:v>
                </c:pt>
                <c:pt idx="1490">
                  <c:v>733</c:v>
                </c:pt>
                <c:pt idx="1491">
                  <c:v>1693</c:v>
                </c:pt>
                <c:pt idx="1492">
                  <c:v>238</c:v>
                </c:pt>
                <c:pt idx="1493">
                  <c:v>307</c:v>
                </c:pt>
                <c:pt idx="1494">
                  <c:v>588</c:v>
                </c:pt>
                <c:pt idx="1495">
                  <c:v>607</c:v>
                </c:pt>
                <c:pt idx="1496">
                  <c:v>318</c:v>
                </c:pt>
                <c:pt idx="1497">
                  <c:v>2151</c:v>
                </c:pt>
                <c:pt idx="1498">
                  <c:v>175</c:v>
                </c:pt>
                <c:pt idx="1499">
                  <c:v>159</c:v>
                </c:pt>
                <c:pt idx="1500">
                  <c:v>230</c:v>
                </c:pt>
                <c:pt idx="1501">
                  <c:v>359</c:v>
                </c:pt>
                <c:pt idx="1502">
                  <c:v>4830</c:v>
                </c:pt>
                <c:pt idx="1503">
                  <c:v>386</c:v>
                </c:pt>
                <c:pt idx="1504">
                  <c:v>297</c:v>
                </c:pt>
                <c:pt idx="1505">
                  <c:v>938</c:v>
                </c:pt>
                <c:pt idx="1506">
                  <c:v>388</c:v>
                </c:pt>
                <c:pt idx="1507">
                  <c:v>417</c:v>
                </c:pt>
                <c:pt idx="1508">
                  <c:v>219</c:v>
                </c:pt>
                <c:pt idx="1509">
                  <c:v>1514</c:v>
                </c:pt>
                <c:pt idx="1510">
                  <c:v>1399</c:v>
                </c:pt>
                <c:pt idx="1511">
                  <c:v>894</c:v>
                </c:pt>
                <c:pt idx="1512">
                  <c:v>290</c:v>
                </c:pt>
                <c:pt idx="1513">
                  <c:v>659</c:v>
                </c:pt>
                <c:pt idx="1514">
                  <c:v>654</c:v>
                </c:pt>
                <c:pt idx="1515">
                  <c:v>634</c:v>
                </c:pt>
                <c:pt idx="1516">
                  <c:v>411</c:v>
                </c:pt>
                <c:pt idx="1517">
                  <c:v>1128</c:v>
                </c:pt>
                <c:pt idx="1518">
                  <c:v>508</c:v>
                </c:pt>
                <c:pt idx="1519">
                  <c:v>284</c:v>
                </c:pt>
                <c:pt idx="1520">
                  <c:v>168</c:v>
                </c:pt>
                <c:pt idx="1521">
                  <c:v>1624</c:v>
                </c:pt>
                <c:pt idx="1522">
                  <c:v>515</c:v>
                </c:pt>
                <c:pt idx="1523">
                  <c:v>4295</c:v>
                </c:pt>
                <c:pt idx="1524">
                  <c:v>160</c:v>
                </c:pt>
                <c:pt idx="1525">
                  <c:v>449</c:v>
                </c:pt>
                <c:pt idx="1526">
                  <c:v>759</c:v>
                </c:pt>
                <c:pt idx="1527">
                  <c:v>532</c:v>
                </c:pt>
                <c:pt idx="1528">
                  <c:v>325</c:v>
                </c:pt>
                <c:pt idx="1529">
                  <c:v>229</c:v>
                </c:pt>
                <c:pt idx="1530">
                  <c:v>871</c:v>
                </c:pt>
                <c:pt idx="1531">
                  <c:v>577</c:v>
                </c:pt>
                <c:pt idx="1532">
                  <c:v>574</c:v>
                </c:pt>
                <c:pt idx="1533">
                  <c:v>569</c:v>
                </c:pt>
                <c:pt idx="1534">
                  <c:v>733</c:v>
                </c:pt>
                <c:pt idx="1535">
                  <c:v>113</c:v>
                </c:pt>
                <c:pt idx="1536">
                  <c:v>321</c:v>
                </c:pt>
                <c:pt idx="1537">
                  <c:v>162</c:v>
                </c:pt>
                <c:pt idx="1538">
                  <c:v>300</c:v>
                </c:pt>
                <c:pt idx="1539">
                  <c:v>997</c:v>
                </c:pt>
                <c:pt idx="1540">
                  <c:v>676</c:v>
                </c:pt>
                <c:pt idx="1541">
                  <c:v>564</c:v>
                </c:pt>
                <c:pt idx="1542">
                  <c:v>374</c:v>
                </c:pt>
                <c:pt idx="1543">
                  <c:v>3173</c:v>
                </c:pt>
                <c:pt idx="1544">
                  <c:v>354</c:v>
                </c:pt>
                <c:pt idx="1545">
                  <c:v>3685</c:v>
                </c:pt>
                <c:pt idx="1546">
                  <c:v>699</c:v>
                </c:pt>
                <c:pt idx="1547">
                  <c:v>121</c:v>
                </c:pt>
                <c:pt idx="1548">
                  <c:v>1338</c:v>
                </c:pt>
                <c:pt idx="1549">
                  <c:v>1321</c:v>
                </c:pt>
                <c:pt idx="1550">
                  <c:v>151</c:v>
                </c:pt>
                <c:pt idx="1551">
                  <c:v>438</c:v>
                </c:pt>
                <c:pt idx="1552">
                  <c:v>323</c:v>
                </c:pt>
                <c:pt idx="1553">
                  <c:v>523</c:v>
                </c:pt>
                <c:pt idx="1554">
                  <c:v>436</c:v>
                </c:pt>
                <c:pt idx="1555">
                  <c:v>460</c:v>
                </c:pt>
                <c:pt idx="1556">
                  <c:v>342</c:v>
                </c:pt>
                <c:pt idx="1557">
                  <c:v>207</c:v>
                </c:pt>
                <c:pt idx="1558">
                  <c:v>54</c:v>
                </c:pt>
                <c:pt idx="1559">
                  <c:v>398</c:v>
                </c:pt>
                <c:pt idx="1560">
                  <c:v>51</c:v>
                </c:pt>
                <c:pt idx="1561">
                  <c:v>406</c:v>
                </c:pt>
                <c:pt idx="1562">
                  <c:v>461</c:v>
                </c:pt>
                <c:pt idx="1563">
                  <c:v>59</c:v>
                </c:pt>
                <c:pt idx="1564">
                  <c:v>9187</c:v>
                </c:pt>
                <c:pt idx="1565">
                  <c:v>10708</c:v>
                </c:pt>
                <c:pt idx="1566">
                  <c:v>31855</c:v>
                </c:pt>
                <c:pt idx="1567">
                  <c:v>4820</c:v>
                </c:pt>
                <c:pt idx="1568">
                  <c:v>3660</c:v>
                </c:pt>
                <c:pt idx="1569">
                  <c:v>1166</c:v>
                </c:pt>
                <c:pt idx="1570">
                  <c:v>4750</c:v>
                </c:pt>
                <c:pt idx="1571">
                  <c:v>877</c:v>
                </c:pt>
                <c:pt idx="1572">
                  <c:v>858</c:v>
                </c:pt>
                <c:pt idx="1573">
                  <c:v>370</c:v>
                </c:pt>
                <c:pt idx="1574">
                  <c:v>2684</c:v>
                </c:pt>
                <c:pt idx="1575">
                  <c:v>815</c:v>
                </c:pt>
                <c:pt idx="1576">
                  <c:v>8958</c:v>
                </c:pt>
                <c:pt idx="1577">
                  <c:v>809</c:v>
                </c:pt>
                <c:pt idx="1578">
                  <c:v>9123</c:v>
                </c:pt>
                <c:pt idx="1579">
                  <c:v>15168</c:v>
                </c:pt>
                <c:pt idx="1580">
                  <c:v>4277</c:v>
                </c:pt>
                <c:pt idx="1581">
                  <c:v>9977</c:v>
                </c:pt>
                <c:pt idx="1582">
                  <c:v>983</c:v>
                </c:pt>
                <c:pt idx="1583">
                  <c:v>17813</c:v>
                </c:pt>
                <c:pt idx="1584">
                  <c:v>12540</c:v>
                </c:pt>
                <c:pt idx="1585">
                  <c:v>2520</c:v>
                </c:pt>
                <c:pt idx="1586">
                  <c:v>12469</c:v>
                </c:pt>
                <c:pt idx="1587">
                  <c:v>4201</c:v>
                </c:pt>
                <c:pt idx="1588">
                  <c:v>16312</c:v>
                </c:pt>
                <c:pt idx="1589">
                  <c:v>3317</c:v>
                </c:pt>
                <c:pt idx="1590">
                  <c:v>788</c:v>
                </c:pt>
                <c:pt idx="1591">
                  <c:v>1142</c:v>
                </c:pt>
                <c:pt idx="1592">
                  <c:v>9681</c:v>
                </c:pt>
                <c:pt idx="1593">
                  <c:v>1761</c:v>
                </c:pt>
                <c:pt idx="1594">
                  <c:v>289</c:v>
                </c:pt>
                <c:pt idx="1595">
                  <c:v>15599</c:v>
                </c:pt>
                <c:pt idx="1596">
                  <c:v>9750</c:v>
                </c:pt>
                <c:pt idx="1597">
                  <c:v>333</c:v>
                </c:pt>
                <c:pt idx="1598">
                  <c:v>1364</c:v>
                </c:pt>
                <c:pt idx="1599">
                  <c:v>7208</c:v>
                </c:pt>
                <c:pt idx="1600">
                  <c:v>4673</c:v>
                </c:pt>
                <c:pt idx="1601">
                  <c:v>2974</c:v>
                </c:pt>
                <c:pt idx="1602">
                  <c:v>13835</c:v>
                </c:pt>
                <c:pt idx="1603">
                  <c:v>6476</c:v>
                </c:pt>
                <c:pt idx="1604">
                  <c:v>5607</c:v>
                </c:pt>
                <c:pt idx="1605">
                  <c:v>940</c:v>
                </c:pt>
                <c:pt idx="1606">
                  <c:v>21027</c:v>
                </c:pt>
                <c:pt idx="1607">
                  <c:v>8053</c:v>
                </c:pt>
                <c:pt idx="1608">
                  <c:v>3947</c:v>
                </c:pt>
                <c:pt idx="1609">
                  <c:v>2398</c:v>
                </c:pt>
                <c:pt idx="1610">
                  <c:v>1568</c:v>
                </c:pt>
                <c:pt idx="1611">
                  <c:v>421</c:v>
                </c:pt>
                <c:pt idx="1612">
                  <c:v>2050</c:v>
                </c:pt>
                <c:pt idx="1613">
                  <c:v>2094</c:v>
                </c:pt>
                <c:pt idx="1614">
                  <c:v>15554</c:v>
                </c:pt>
                <c:pt idx="1615">
                  <c:v>6918</c:v>
                </c:pt>
                <c:pt idx="1616">
                  <c:v>5265</c:v>
                </c:pt>
                <c:pt idx="1617">
                  <c:v>1495</c:v>
                </c:pt>
                <c:pt idx="1618">
                  <c:v>8864</c:v>
                </c:pt>
                <c:pt idx="1619">
                  <c:v>15543</c:v>
                </c:pt>
                <c:pt idx="1620">
                  <c:v>10319</c:v>
                </c:pt>
                <c:pt idx="1621">
                  <c:v>11493</c:v>
                </c:pt>
                <c:pt idx="1622">
                  <c:v>14426</c:v>
                </c:pt>
                <c:pt idx="1623">
                  <c:v>6746</c:v>
                </c:pt>
                <c:pt idx="1624">
                  <c:v>16527</c:v>
                </c:pt>
                <c:pt idx="1625">
                  <c:v>8359</c:v>
                </c:pt>
                <c:pt idx="1626">
                  <c:v>12146</c:v>
                </c:pt>
                <c:pt idx="1627">
                  <c:v>7070</c:v>
                </c:pt>
                <c:pt idx="1628">
                  <c:v>14421</c:v>
                </c:pt>
                <c:pt idx="1629">
                  <c:v>8635</c:v>
                </c:pt>
                <c:pt idx="1630">
                  <c:v>4185</c:v>
                </c:pt>
                <c:pt idx="1631">
                  <c:v>8031</c:v>
                </c:pt>
                <c:pt idx="1632">
                  <c:v>1963</c:v>
                </c:pt>
                <c:pt idx="1633">
                  <c:v>1582</c:v>
                </c:pt>
                <c:pt idx="1634">
                  <c:v>3447</c:v>
                </c:pt>
                <c:pt idx="1635">
                  <c:v>1250</c:v>
                </c:pt>
                <c:pt idx="1636">
                  <c:v>2517</c:v>
                </c:pt>
                <c:pt idx="1637">
                  <c:v>6384</c:v>
                </c:pt>
                <c:pt idx="1638">
                  <c:v>5102</c:v>
                </c:pt>
                <c:pt idx="1639">
                  <c:v>3360</c:v>
                </c:pt>
                <c:pt idx="1640">
                  <c:v>661</c:v>
                </c:pt>
                <c:pt idx="1641">
                  <c:v>117</c:v>
                </c:pt>
                <c:pt idx="1642">
                  <c:v>1133</c:v>
                </c:pt>
                <c:pt idx="1643">
                  <c:v>2874</c:v>
                </c:pt>
                <c:pt idx="1644">
                  <c:v>3898</c:v>
                </c:pt>
                <c:pt idx="1645">
                  <c:v>2480</c:v>
                </c:pt>
                <c:pt idx="1646">
                  <c:v>903</c:v>
                </c:pt>
                <c:pt idx="1647">
                  <c:v>2537</c:v>
                </c:pt>
                <c:pt idx="1648">
                  <c:v>927</c:v>
                </c:pt>
                <c:pt idx="1649">
                  <c:v>2165</c:v>
                </c:pt>
                <c:pt idx="1650">
                  <c:v>4417</c:v>
                </c:pt>
                <c:pt idx="1651">
                  <c:v>413</c:v>
                </c:pt>
                <c:pt idx="1652">
                  <c:v>92</c:v>
                </c:pt>
                <c:pt idx="1653">
                  <c:v>182</c:v>
                </c:pt>
                <c:pt idx="1654">
                  <c:v>5008</c:v>
                </c:pt>
                <c:pt idx="1655">
                  <c:v>2234</c:v>
                </c:pt>
                <c:pt idx="1656">
                  <c:v>1916</c:v>
                </c:pt>
                <c:pt idx="1657">
                  <c:v>2873</c:v>
                </c:pt>
                <c:pt idx="1658">
                  <c:v>1610</c:v>
                </c:pt>
                <c:pt idx="1659">
                  <c:v>3715</c:v>
                </c:pt>
                <c:pt idx="1660">
                  <c:v>519</c:v>
                </c:pt>
                <c:pt idx="1661">
                  <c:v>13448</c:v>
                </c:pt>
                <c:pt idx="1662">
                  <c:v>1730</c:v>
                </c:pt>
                <c:pt idx="1663">
                  <c:v>2635</c:v>
                </c:pt>
                <c:pt idx="1664">
                  <c:v>437</c:v>
                </c:pt>
                <c:pt idx="1665">
                  <c:v>3333</c:v>
                </c:pt>
                <c:pt idx="1666">
                  <c:v>1136</c:v>
                </c:pt>
                <c:pt idx="1667">
                  <c:v>2716</c:v>
                </c:pt>
                <c:pt idx="1668">
                  <c:v>4782</c:v>
                </c:pt>
                <c:pt idx="1669">
                  <c:v>16356</c:v>
                </c:pt>
                <c:pt idx="1670">
                  <c:v>7782</c:v>
                </c:pt>
                <c:pt idx="1671">
                  <c:v>3059</c:v>
                </c:pt>
                <c:pt idx="1672">
                  <c:v>5643</c:v>
                </c:pt>
                <c:pt idx="1673">
                  <c:v>4962</c:v>
                </c:pt>
                <c:pt idx="1674">
                  <c:v>2668</c:v>
                </c:pt>
                <c:pt idx="1675">
                  <c:v>18917</c:v>
                </c:pt>
                <c:pt idx="1676">
                  <c:v>2374</c:v>
                </c:pt>
                <c:pt idx="1677">
                  <c:v>4309</c:v>
                </c:pt>
                <c:pt idx="1678">
                  <c:v>5014</c:v>
                </c:pt>
                <c:pt idx="1679">
                  <c:v>3839</c:v>
                </c:pt>
                <c:pt idx="1680">
                  <c:v>2113</c:v>
                </c:pt>
                <c:pt idx="1681">
                  <c:v>1361</c:v>
                </c:pt>
                <c:pt idx="1682">
                  <c:v>3166</c:v>
                </c:pt>
                <c:pt idx="1683">
                  <c:v>4265</c:v>
                </c:pt>
                <c:pt idx="1684">
                  <c:v>974</c:v>
                </c:pt>
                <c:pt idx="1685">
                  <c:v>4890</c:v>
                </c:pt>
                <c:pt idx="1686">
                  <c:v>1457</c:v>
                </c:pt>
                <c:pt idx="1687">
                  <c:v>7650</c:v>
                </c:pt>
                <c:pt idx="1688">
                  <c:v>235</c:v>
                </c:pt>
                <c:pt idx="1689">
                  <c:v>8938</c:v>
                </c:pt>
                <c:pt idx="1690">
                  <c:v>3242</c:v>
                </c:pt>
                <c:pt idx="1691">
                  <c:v>15046</c:v>
                </c:pt>
                <c:pt idx="1692">
                  <c:v>335</c:v>
                </c:pt>
                <c:pt idx="1693">
                  <c:v>13704</c:v>
                </c:pt>
                <c:pt idx="1694">
                  <c:v>2033</c:v>
                </c:pt>
                <c:pt idx="1695">
                  <c:v>7359</c:v>
                </c:pt>
                <c:pt idx="1696">
                  <c:v>8651</c:v>
                </c:pt>
                <c:pt idx="1697">
                  <c:v>7453</c:v>
                </c:pt>
                <c:pt idx="1698">
                  <c:v>2427</c:v>
                </c:pt>
                <c:pt idx="1699">
                  <c:v>6220</c:v>
                </c:pt>
                <c:pt idx="1700">
                  <c:v>3212</c:v>
                </c:pt>
                <c:pt idx="1701">
                  <c:v>2423</c:v>
                </c:pt>
                <c:pt idx="1702">
                  <c:v>4139</c:v>
                </c:pt>
                <c:pt idx="1703">
                  <c:v>2624</c:v>
                </c:pt>
                <c:pt idx="1704">
                  <c:v>6561</c:v>
                </c:pt>
                <c:pt idx="1705">
                  <c:v>1793</c:v>
                </c:pt>
                <c:pt idx="1706">
                  <c:v>10722</c:v>
                </c:pt>
                <c:pt idx="1707">
                  <c:v>1516</c:v>
                </c:pt>
                <c:pt idx="1708">
                  <c:v>2803</c:v>
                </c:pt>
                <c:pt idx="1709">
                  <c:v>1458</c:v>
                </c:pt>
                <c:pt idx="1710">
                  <c:v>8840</c:v>
                </c:pt>
                <c:pt idx="1711">
                  <c:v>3222</c:v>
                </c:pt>
                <c:pt idx="1712">
                  <c:v>17459</c:v>
                </c:pt>
                <c:pt idx="1713">
                  <c:v>11421</c:v>
                </c:pt>
                <c:pt idx="1714">
                  <c:v>1565</c:v>
                </c:pt>
                <c:pt idx="1715">
                  <c:v>88</c:v>
                </c:pt>
                <c:pt idx="1716">
                  <c:v>23946</c:v>
                </c:pt>
                <c:pt idx="1717">
                  <c:v>19600</c:v>
                </c:pt>
                <c:pt idx="1718">
                  <c:v>8268</c:v>
                </c:pt>
                <c:pt idx="1719">
                  <c:v>269</c:v>
                </c:pt>
                <c:pt idx="1720">
                  <c:v>9439</c:v>
                </c:pt>
                <c:pt idx="1721">
                  <c:v>1638</c:v>
                </c:pt>
                <c:pt idx="1722">
                  <c:v>8492</c:v>
                </c:pt>
                <c:pt idx="1723">
                  <c:v>3733</c:v>
                </c:pt>
                <c:pt idx="1724">
                  <c:v>3448</c:v>
                </c:pt>
                <c:pt idx="1725">
                  <c:v>12716</c:v>
                </c:pt>
                <c:pt idx="1726">
                  <c:v>5326</c:v>
                </c:pt>
                <c:pt idx="1727">
                  <c:v>6863</c:v>
                </c:pt>
                <c:pt idx="1728">
                  <c:v>6517</c:v>
                </c:pt>
                <c:pt idx="1729">
                  <c:v>5214</c:v>
                </c:pt>
                <c:pt idx="1730">
                  <c:v>4891</c:v>
                </c:pt>
                <c:pt idx="1731">
                  <c:v>643</c:v>
                </c:pt>
                <c:pt idx="1732">
                  <c:v>5951</c:v>
                </c:pt>
                <c:pt idx="1733">
                  <c:v>9145</c:v>
                </c:pt>
                <c:pt idx="1734">
                  <c:v>21392</c:v>
                </c:pt>
                <c:pt idx="1735">
                  <c:v>9398</c:v>
                </c:pt>
                <c:pt idx="1736">
                  <c:v>17270</c:v>
                </c:pt>
                <c:pt idx="1737">
                  <c:v>23278</c:v>
                </c:pt>
                <c:pt idx="1738">
                  <c:v>4008</c:v>
                </c:pt>
                <c:pt idx="1739">
                  <c:v>1963</c:v>
                </c:pt>
                <c:pt idx="1740">
                  <c:v>26396</c:v>
                </c:pt>
                <c:pt idx="1741">
                  <c:v>14652</c:v>
                </c:pt>
                <c:pt idx="1742">
                  <c:v>16514</c:v>
                </c:pt>
                <c:pt idx="1743">
                  <c:v>13633</c:v>
                </c:pt>
                <c:pt idx="1744">
                  <c:v>9851</c:v>
                </c:pt>
                <c:pt idx="1745">
                  <c:v>27023</c:v>
                </c:pt>
                <c:pt idx="1746">
                  <c:v>7210</c:v>
                </c:pt>
                <c:pt idx="1747">
                  <c:v>10316</c:v>
                </c:pt>
                <c:pt idx="1748">
                  <c:v>6759</c:v>
                </c:pt>
                <c:pt idx="1749">
                  <c:v>3005</c:v>
                </c:pt>
                <c:pt idx="1750">
                  <c:v>4469</c:v>
                </c:pt>
                <c:pt idx="1751">
                  <c:v>12544</c:v>
                </c:pt>
                <c:pt idx="1752">
                  <c:v>11810</c:v>
                </c:pt>
                <c:pt idx="1753">
                  <c:v>24603</c:v>
                </c:pt>
                <c:pt idx="1754">
                  <c:v>3571</c:v>
                </c:pt>
                <c:pt idx="1755">
                  <c:v>5961</c:v>
                </c:pt>
                <c:pt idx="1756">
                  <c:v>10725</c:v>
                </c:pt>
                <c:pt idx="1757">
                  <c:v>17814</c:v>
                </c:pt>
                <c:pt idx="1758">
                  <c:v>3774</c:v>
                </c:pt>
                <c:pt idx="1759">
                  <c:v>16334</c:v>
                </c:pt>
                <c:pt idx="1760">
                  <c:v>9845</c:v>
                </c:pt>
                <c:pt idx="1761">
                  <c:v>524</c:v>
                </c:pt>
                <c:pt idx="1762">
                  <c:v>11268</c:v>
                </c:pt>
                <c:pt idx="1763">
                  <c:v>11780</c:v>
                </c:pt>
                <c:pt idx="1764">
                  <c:v>6416</c:v>
                </c:pt>
                <c:pt idx="1765">
                  <c:v>15768</c:v>
                </c:pt>
                <c:pt idx="1766">
                  <c:v>3930</c:v>
                </c:pt>
                <c:pt idx="1767">
                  <c:v>4659</c:v>
                </c:pt>
                <c:pt idx="1768">
                  <c:v>8161</c:v>
                </c:pt>
                <c:pt idx="1769">
                  <c:v>457</c:v>
                </c:pt>
                <c:pt idx="1770">
                  <c:v>1584</c:v>
                </c:pt>
                <c:pt idx="1771">
                  <c:v>934</c:v>
                </c:pt>
                <c:pt idx="1772">
                  <c:v>51</c:v>
                </c:pt>
                <c:pt idx="1773">
                  <c:v>889</c:v>
                </c:pt>
                <c:pt idx="1774">
                  <c:v>646</c:v>
                </c:pt>
                <c:pt idx="1775">
                  <c:v>1669</c:v>
                </c:pt>
                <c:pt idx="1776">
                  <c:v>899</c:v>
                </c:pt>
                <c:pt idx="1777">
                  <c:v>2588</c:v>
                </c:pt>
                <c:pt idx="1778">
                  <c:v>3762</c:v>
                </c:pt>
                <c:pt idx="1779">
                  <c:v>1078</c:v>
                </c:pt>
                <c:pt idx="1780">
                  <c:v>17354</c:v>
                </c:pt>
                <c:pt idx="1781">
                  <c:v>14140</c:v>
                </c:pt>
                <c:pt idx="1782">
                  <c:v>780</c:v>
                </c:pt>
                <c:pt idx="1783">
                  <c:v>956</c:v>
                </c:pt>
                <c:pt idx="1784">
                  <c:v>4618</c:v>
                </c:pt>
                <c:pt idx="1785">
                  <c:v>1220</c:v>
                </c:pt>
                <c:pt idx="1786">
                  <c:v>1163</c:v>
                </c:pt>
                <c:pt idx="1787">
                  <c:v>1915</c:v>
                </c:pt>
                <c:pt idx="1788">
                  <c:v>389</c:v>
                </c:pt>
                <c:pt idx="1789">
                  <c:v>5318</c:v>
                </c:pt>
                <c:pt idx="1790">
                  <c:v>4030</c:v>
                </c:pt>
                <c:pt idx="1791">
                  <c:v>17464</c:v>
                </c:pt>
                <c:pt idx="1792">
                  <c:v>2838</c:v>
                </c:pt>
                <c:pt idx="1793">
                  <c:v>743</c:v>
                </c:pt>
                <c:pt idx="1794">
                  <c:v>539</c:v>
                </c:pt>
                <c:pt idx="1795">
                  <c:v>6782</c:v>
                </c:pt>
                <c:pt idx="1796">
                  <c:v>505</c:v>
                </c:pt>
                <c:pt idx="1797">
                  <c:v>5173</c:v>
                </c:pt>
                <c:pt idx="1798">
                  <c:v>10441</c:v>
                </c:pt>
                <c:pt idx="1799">
                  <c:v>9259</c:v>
                </c:pt>
                <c:pt idx="1800">
                  <c:v>3728</c:v>
                </c:pt>
                <c:pt idx="1801">
                  <c:v>28411</c:v>
                </c:pt>
                <c:pt idx="1802">
                  <c:v>16946</c:v>
                </c:pt>
                <c:pt idx="1803">
                  <c:v>6022</c:v>
                </c:pt>
                <c:pt idx="1804">
                  <c:v>9346</c:v>
                </c:pt>
                <c:pt idx="1805">
                  <c:v>16708</c:v>
                </c:pt>
                <c:pt idx="1806">
                  <c:v>9939</c:v>
                </c:pt>
                <c:pt idx="1807">
                  <c:v>11147</c:v>
                </c:pt>
                <c:pt idx="1808">
                  <c:v>7666</c:v>
                </c:pt>
                <c:pt idx="1809">
                  <c:v>8577</c:v>
                </c:pt>
                <c:pt idx="1810">
                  <c:v>10589</c:v>
                </c:pt>
                <c:pt idx="1811">
                  <c:v>16002</c:v>
                </c:pt>
                <c:pt idx="1812">
                  <c:v>1909</c:v>
                </c:pt>
                <c:pt idx="1813">
                  <c:v>15506</c:v>
                </c:pt>
                <c:pt idx="1814">
                  <c:v>4583</c:v>
                </c:pt>
                <c:pt idx="1815">
                  <c:v>3169</c:v>
                </c:pt>
                <c:pt idx="1816">
                  <c:v>11581</c:v>
                </c:pt>
                <c:pt idx="1817">
                  <c:v>3215</c:v>
                </c:pt>
                <c:pt idx="1818">
                  <c:v>12191</c:v>
                </c:pt>
                <c:pt idx="1819">
                  <c:v>5080</c:v>
                </c:pt>
                <c:pt idx="1820">
                  <c:v>2202</c:v>
                </c:pt>
                <c:pt idx="1821">
                  <c:v>4054</c:v>
                </c:pt>
                <c:pt idx="1822">
                  <c:v>9205</c:v>
                </c:pt>
                <c:pt idx="1823">
                  <c:v>5174</c:v>
                </c:pt>
                <c:pt idx="1824">
                  <c:v>38546</c:v>
                </c:pt>
                <c:pt idx="1825">
                  <c:v>7309</c:v>
                </c:pt>
                <c:pt idx="1826">
                  <c:v>12258</c:v>
                </c:pt>
                <c:pt idx="1827">
                  <c:v>5680</c:v>
                </c:pt>
                <c:pt idx="1828">
                  <c:v>4588</c:v>
                </c:pt>
                <c:pt idx="1829">
                  <c:v>6451</c:v>
                </c:pt>
                <c:pt idx="1830">
                  <c:v>33526</c:v>
                </c:pt>
                <c:pt idx="1831">
                  <c:v>27921</c:v>
                </c:pt>
                <c:pt idx="1832">
                  <c:v>3389</c:v>
                </c:pt>
                <c:pt idx="1833">
                  <c:v>7706</c:v>
                </c:pt>
                <c:pt idx="1834">
                  <c:v>13814</c:v>
                </c:pt>
                <c:pt idx="1835">
                  <c:v>11442</c:v>
                </c:pt>
                <c:pt idx="1836">
                  <c:v>6187</c:v>
                </c:pt>
                <c:pt idx="1837">
                  <c:v>12498</c:v>
                </c:pt>
                <c:pt idx="1838">
                  <c:v>21121</c:v>
                </c:pt>
                <c:pt idx="1839">
                  <c:v>7044</c:v>
                </c:pt>
                <c:pt idx="1840">
                  <c:v>14931</c:v>
                </c:pt>
                <c:pt idx="1841">
                  <c:v>2240</c:v>
                </c:pt>
                <c:pt idx="1842">
                  <c:v>12361</c:v>
                </c:pt>
                <c:pt idx="1843">
                  <c:v>16899</c:v>
                </c:pt>
                <c:pt idx="1844">
                  <c:v>13725</c:v>
                </c:pt>
                <c:pt idx="1845">
                  <c:v>8475</c:v>
                </c:pt>
                <c:pt idx="1846">
                  <c:v>1000</c:v>
                </c:pt>
                <c:pt idx="1847">
                  <c:v>8050</c:v>
                </c:pt>
                <c:pt idx="1848">
                  <c:v>4169</c:v>
                </c:pt>
                <c:pt idx="1849">
                  <c:v>19846</c:v>
                </c:pt>
                <c:pt idx="1850">
                  <c:v>15953</c:v>
                </c:pt>
                <c:pt idx="1851">
                  <c:v>2431</c:v>
                </c:pt>
                <c:pt idx="1852">
                  <c:v>3788</c:v>
                </c:pt>
                <c:pt idx="1853">
                  <c:v>11832</c:v>
                </c:pt>
                <c:pt idx="1854">
                  <c:v>39371</c:v>
                </c:pt>
                <c:pt idx="1855">
                  <c:v>8696</c:v>
                </c:pt>
                <c:pt idx="1856">
                  <c:v>20903</c:v>
                </c:pt>
                <c:pt idx="1857">
                  <c:v>3980</c:v>
                </c:pt>
                <c:pt idx="1858">
                  <c:v>5258</c:v>
                </c:pt>
                <c:pt idx="1859">
                  <c:v>5494</c:v>
                </c:pt>
                <c:pt idx="1860">
                  <c:v>22621</c:v>
                </c:pt>
                <c:pt idx="1861">
                  <c:v>14616</c:v>
                </c:pt>
                <c:pt idx="1862">
                  <c:v>13365</c:v>
                </c:pt>
                <c:pt idx="1863">
                  <c:v>3656</c:v>
                </c:pt>
                <c:pt idx="1864">
                  <c:v>14902</c:v>
                </c:pt>
                <c:pt idx="1865">
                  <c:v>6162</c:v>
                </c:pt>
                <c:pt idx="1866">
                  <c:v>7248</c:v>
                </c:pt>
                <c:pt idx="1867">
                  <c:v>5309</c:v>
                </c:pt>
                <c:pt idx="1868">
                  <c:v>1998</c:v>
                </c:pt>
                <c:pt idx="1869">
                  <c:v>32732</c:v>
                </c:pt>
                <c:pt idx="1870">
                  <c:v>14561</c:v>
                </c:pt>
                <c:pt idx="1871">
                  <c:v>25034</c:v>
                </c:pt>
                <c:pt idx="1872">
                  <c:v>16560</c:v>
                </c:pt>
                <c:pt idx="1873">
                  <c:v>28434</c:v>
                </c:pt>
                <c:pt idx="1874">
                  <c:v>5947</c:v>
                </c:pt>
                <c:pt idx="1875">
                  <c:v>3081</c:v>
                </c:pt>
                <c:pt idx="1876">
                  <c:v>8238</c:v>
                </c:pt>
                <c:pt idx="1877">
                  <c:v>23053</c:v>
                </c:pt>
                <c:pt idx="1878">
                  <c:v>7292</c:v>
                </c:pt>
                <c:pt idx="1879">
                  <c:v>7058</c:v>
                </c:pt>
                <c:pt idx="1880">
                  <c:v>2175</c:v>
                </c:pt>
                <c:pt idx="1881">
                  <c:v>14247</c:v>
                </c:pt>
                <c:pt idx="1882">
                  <c:v>8028</c:v>
                </c:pt>
                <c:pt idx="1883">
                  <c:v>9531</c:v>
                </c:pt>
                <c:pt idx="1884">
                  <c:v>3141</c:v>
                </c:pt>
                <c:pt idx="1885">
                  <c:v>3227</c:v>
                </c:pt>
                <c:pt idx="1886">
                  <c:v>9860</c:v>
                </c:pt>
                <c:pt idx="1887">
                  <c:v>12203</c:v>
                </c:pt>
                <c:pt idx="1888">
                  <c:v>3622</c:v>
                </c:pt>
                <c:pt idx="1889">
                  <c:v>5667</c:v>
                </c:pt>
                <c:pt idx="1890">
                  <c:v>1574</c:v>
                </c:pt>
                <c:pt idx="1891">
                  <c:v>5522</c:v>
                </c:pt>
                <c:pt idx="1892">
                  <c:v>12782</c:v>
                </c:pt>
                <c:pt idx="1893">
                  <c:v>1987</c:v>
                </c:pt>
                <c:pt idx="1894">
                  <c:v>6441</c:v>
                </c:pt>
                <c:pt idx="1895">
                  <c:v>9216</c:v>
                </c:pt>
                <c:pt idx="1896">
                  <c:v>12994</c:v>
                </c:pt>
                <c:pt idx="1897">
                  <c:v>10015</c:v>
                </c:pt>
                <c:pt idx="1898">
                  <c:v>2724</c:v>
                </c:pt>
                <c:pt idx="1899">
                  <c:v>30771</c:v>
                </c:pt>
                <c:pt idx="1900">
                  <c:v>9821</c:v>
                </c:pt>
                <c:pt idx="1901">
                  <c:v>32955</c:v>
                </c:pt>
                <c:pt idx="1902">
                  <c:v>1281</c:v>
                </c:pt>
                <c:pt idx="1903">
                  <c:v>14446</c:v>
                </c:pt>
                <c:pt idx="1904">
                  <c:v>3047</c:v>
                </c:pt>
                <c:pt idx="1905">
                  <c:v>33625</c:v>
                </c:pt>
                <c:pt idx="1906">
                  <c:v>11090</c:v>
                </c:pt>
                <c:pt idx="1907">
                  <c:v>10898</c:v>
                </c:pt>
                <c:pt idx="1908">
                  <c:v>5572</c:v>
                </c:pt>
                <c:pt idx="1909">
                  <c:v>12591</c:v>
                </c:pt>
                <c:pt idx="1910">
                  <c:v>23235</c:v>
                </c:pt>
                <c:pt idx="1911">
                  <c:v>26021</c:v>
                </c:pt>
                <c:pt idx="1912">
                  <c:v>15459</c:v>
                </c:pt>
                <c:pt idx="1913">
                  <c:v>17173</c:v>
                </c:pt>
                <c:pt idx="1914">
                  <c:v>9537</c:v>
                </c:pt>
                <c:pt idx="1915">
                  <c:v>19217</c:v>
                </c:pt>
                <c:pt idx="1916">
                  <c:v>16166</c:v>
                </c:pt>
                <c:pt idx="1917">
                  <c:v>27408</c:v>
                </c:pt>
                <c:pt idx="1918">
                  <c:v>12289</c:v>
                </c:pt>
                <c:pt idx="1919">
                  <c:v>3192</c:v>
                </c:pt>
                <c:pt idx="1920">
                  <c:v>13111</c:v>
                </c:pt>
                <c:pt idx="1921">
                  <c:v>21162</c:v>
                </c:pt>
                <c:pt idx="1922">
                  <c:v>11754</c:v>
                </c:pt>
                <c:pt idx="1923">
                  <c:v>7722</c:v>
                </c:pt>
                <c:pt idx="1924">
                  <c:v>11887</c:v>
                </c:pt>
                <c:pt idx="1925">
                  <c:v>13054</c:v>
                </c:pt>
                <c:pt idx="1926">
                  <c:v>16421</c:v>
                </c:pt>
                <c:pt idx="1927">
                  <c:v>34015</c:v>
                </c:pt>
                <c:pt idx="1928">
                  <c:v>22934</c:v>
                </c:pt>
                <c:pt idx="1929">
                  <c:v>32315</c:v>
                </c:pt>
                <c:pt idx="1930">
                  <c:v>25880</c:v>
                </c:pt>
                <c:pt idx="1931">
                  <c:v>22633</c:v>
                </c:pt>
                <c:pt idx="1932">
                  <c:v>9407</c:v>
                </c:pt>
                <c:pt idx="1933">
                  <c:v>2854</c:v>
                </c:pt>
                <c:pt idx="1934">
                  <c:v>4231</c:v>
                </c:pt>
                <c:pt idx="1935">
                  <c:v>9758</c:v>
                </c:pt>
                <c:pt idx="1936">
                  <c:v>10414</c:v>
                </c:pt>
                <c:pt idx="1937">
                  <c:v>17425</c:v>
                </c:pt>
                <c:pt idx="1938">
                  <c:v>2624</c:v>
                </c:pt>
                <c:pt idx="1939">
                  <c:v>4899</c:v>
                </c:pt>
                <c:pt idx="1940">
                  <c:v>1719</c:v>
                </c:pt>
                <c:pt idx="1941">
                  <c:v>5013</c:v>
                </c:pt>
                <c:pt idx="1942">
                  <c:v>3018</c:v>
                </c:pt>
                <c:pt idx="1943">
                  <c:v>3976</c:v>
                </c:pt>
                <c:pt idx="1944">
                  <c:v>3002</c:v>
                </c:pt>
                <c:pt idx="1945">
                  <c:v>2028</c:v>
                </c:pt>
                <c:pt idx="1946">
                  <c:v>14740</c:v>
                </c:pt>
                <c:pt idx="1947">
                  <c:v>12262</c:v>
                </c:pt>
                <c:pt idx="1948">
                  <c:v>3588</c:v>
                </c:pt>
                <c:pt idx="1949">
                  <c:v>1342</c:v>
                </c:pt>
                <c:pt idx="1950">
                  <c:v>6755</c:v>
                </c:pt>
                <c:pt idx="1951">
                  <c:v>5753</c:v>
                </c:pt>
                <c:pt idx="1952">
                  <c:v>1206</c:v>
                </c:pt>
                <c:pt idx="1953">
                  <c:v>2599</c:v>
                </c:pt>
                <c:pt idx="1954">
                  <c:v>6019</c:v>
                </c:pt>
                <c:pt idx="1955">
                  <c:v>4667</c:v>
                </c:pt>
                <c:pt idx="1956">
                  <c:v>7409</c:v>
                </c:pt>
                <c:pt idx="1957">
                  <c:v>11707</c:v>
                </c:pt>
                <c:pt idx="1958">
                  <c:v>5475</c:v>
                </c:pt>
                <c:pt idx="1959">
                  <c:v>6272</c:v>
                </c:pt>
                <c:pt idx="1960">
                  <c:v>2135</c:v>
                </c:pt>
                <c:pt idx="1961">
                  <c:v>5343</c:v>
                </c:pt>
                <c:pt idx="1962">
                  <c:v>1552</c:v>
                </c:pt>
                <c:pt idx="1963">
                  <c:v>8927</c:v>
                </c:pt>
                <c:pt idx="1964">
                  <c:v>3975</c:v>
                </c:pt>
                <c:pt idx="1965">
                  <c:v>4979</c:v>
                </c:pt>
                <c:pt idx="1966">
                  <c:v>3270</c:v>
                </c:pt>
                <c:pt idx="1967">
                  <c:v>27163</c:v>
                </c:pt>
                <c:pt idx="1968">
                  <c:v>7587</c:v>
                </c:pt>
                <c:pt idx="1969">
                  <c:v>7577</c:v>
                </c:pt>
                <c:pt idx="1970">
                  <c:v>14449</c:v>
                </c:pt>
                <c:pt idx="1971">
                  <c:v>7731</c:v>
                </c:pt>
                <c:pt idx="1972">
                  <c:v>8682</c:v>
                </c:pt>
                <c:pt idx="1973">
                  <c:v>5559</c:v>
                </c:pt>
                <c:pt idx="1974">
                  <c:v>988</c:v>
                </c:pt>
                <c:pt idx="1975">
                  <c:v>10782</c:v>
                </c:pt>
                <c:pt idx="1976">
                  <c:v>11594</c:v>
                </c:pt>
                <c:pt idx="1977">
                  <c:v>5569</c:v>
                </c:pt>
                <c:pt idx="1978">
                  <c:v>5563</c:v>
                </c:pt>
                <c:pt idx="1979">
                  <c:v>8857</c:v>
                </c:pt>
                <c:pt idx="1980">
                  <c:v>8632</c:v>
                </c:pt>
                <c:pt idx="1981">
                  <c:v>5767</c:v>
                </c:pt>
                <c:pt idx="1982">
                  <c:v>24960</c:v>
                </c:pt>
                <c:pt idx="1983">
                  <c:v>4799</c:v>
                </c:pt>
                <c:pt idx="1984">
                  <c:v>6456</c:v>
                </c:pt>
                <c:pt idx="1985">
                  <c:v>4835</c:v>
                </c:pt>
                <c:pt idx="1986">
                  <c:v>1586</c:v>
                </c:pt>
                <c:pt idx="1987">
                  <c:v>4893</c:v>
                </c:pt>
                <c:pt idx="1988">
                  <c:v>14495</c:v>
                </c:pt>
                <c:pt idx="1989">
                  <c:v>4388</c:v>
                </c:pt>
                <c:pt idx="1990">
                  <c:v>4330</c:v>
                </c:pt>
                <c:pt idx="1991">
                  <c:v>2150</c:v>
                </c:pt>
                <c:pt idx="1992">
                  <c:v>9491</c:v>
                </c:pt>
                <c:pt idx="1993">
                  <c:v>3732</c:v>
                </c:pt>
                <c:pt idx="1994">
                  <c:v>14729</c:v>
                </c:pt>
                <c:pt idx="1995">
                  <c:v>2469</c:v>
                </c:pt>
                <c:pt idx="1996">
                  <c:v>2222</c:v>
                </c:pt>
                <c:pt idx="1997">
                  <c:v>1507</c:v>
                </c:pt>
                <c:pt idx="1998">
                  <c:v>5618</c:v>
                </c:pt>
                <c:pt idx="1999">
                  <c:v>5920</c:v>
                </c:pt>
                <c:pt idx="2000">
                  <c:v>12733</c:v>
                </c:pt>
                <c:pt idx="2001">
                  <c:v>4216</c:v>
                </c:pt>
                <c:pt idx="2002">
                  <c:v>8721</c:v>
                </c:pt>
                <c:pt idx="2003">
                  <c:v>2323</c:v>
                </c:pt>
                <c:pt idx="2004">
                  <c:v>2638</c:v>
                </c:pt>
                <c:pt idx="2005">
                  <c:v>4046</c:v>
                </c:pt>
                <c:pt idx="2006">
                  <c:v>10850</c:v>
                </c:pt>
                <c:pt idx="2007">
                  <c:v>12032</c:v>
                </c:pt>
                <c:pt idx="2008">
                  <c:v>4820</c:v>
                </c:pt>
                <c:pt idx="2009">
                  <c:v>6210</c:v>
                </c:pt>
                <c:pt idx="2010">
                  <c:v>6984</c:v>
                </c:pt>
                <c:pt idx="2011">
                  <c:v>6342</c:v>
                </c:pt>
                <c:pt idx="2012">
                  <c:v>3262</c:v>
                </c:pt>
                <c:pt idx="2013">
                  <c:v>7770</c:v>
                </c:pt>
                <c:pt idx="2014">
                  <c:v>20165</c:v>
                </c:pt>
                <c:pt idx="2015">
                  <c:v>6877</c:v>
                </c:pt>
                <c:pt idx="2016">
                  <c:v>13595</c:v>
                </c:pt>
                <c:pt idx="2017">
                  <c:v>4264</c:v>
                </c:pt>
                <c:pt idx="2018">
                  <c:v>2691</c:v>
                </c:pt>
                <c:pt idx="2019">
                  <c:v>12878</c:v>
                </c:pt>
                <c:pt idx="2020">
                  <c:v>1744</c:v>
                </c:pt>
                <c:pt idx="2021">
                  <c:v>2804</c:v>
                </c:pt>
                <c:pt idx="2022">
                  <c:v>840</c:v>
                </c:pt>
                <c:pt idx="2023">
                  <c:v>20924</c:v>
                </c:pt>
                <c:pt idx="2024">
                  <c:v>4302</c:v>
                </c:pt>
                <c:pt idx="2025">
                  <c:v>805</c:v>
                </c:pt>
                <c:pt idx="2026">
                  <c:v>3813</c:v>
                </c:pt>
                <c:pt idx="2027">
                  <c:v>11255</c:v>
                </c:pt>
                <c:pt idx="2028">
                  <c:v>2294</c:v>
                </c:pt>
                <c:pt idx="2029">
                  <c:v>2198</c:v>
                </c:pt>
                <c:pt idx="2030">
                  <c:v>4977</c:v>
                </c:pt>
                <c:pt idx="2031">
                  <c:v>248</c:v>
                </c:pt>
                <c:pt idx="2032">
                  <c:v>11940</c:v>
                </c:pt>
                <c:pt idx="2033">
                  <c:v>22629</c:v>
                </c:pt>
                <c:pt idx="2034">
                  <c:v>2922</c:v>
                </c:pt>
                <c:pt idx="2035">
                  <c:v>28343</c:v>
                </c:pt>
                <c:pt idx="2036">
                  <c:v>8855</c:v>
                </c:pt>
                <c:pt idx="2037">
                  <c:v>20902</c:v>
                </c:pt>
                <c:pt idx="2038">
                  <c:v>2555</c:v>
                </c:pt>
                <c:pt idx="2039">
                  <c:v>7963</c:v>
                </c:pt>
                <c:pt idx="2040">
                  <c:v>6284</c:v>
                </c:pt>
                <c:pt idx="2041">
                  <c:v>10579</c:v>
                </c:pt>
                <c:pt idx="2042">
                  <c:v>2284</c:v>
                </c:pt>
                <c:pt idx="2043">
                  <c:v>3010</c:v>
                </c:pt>
                <c:pt idx="2044">
                  <c:v>2864</c:v>
                </c:pt>
                <c:pt idx="2045">
                  <c:v>15103</c:v>
                </c:pt>
                <c:pt idx="2046">
                  <c:v>8803</c:v>
                </c:pt>
                <c:pt idx="2047">
                  <c:v>17666</c:v>
                </c:pt>
                <c:pt idx="2048">
                  <c:v>14463</c:v>
                </c:pt>
                <c:pt idx="2049">
                  <c:v>1416</c:v>
                </c:pt>
                <c:pt idx="2050">
                  <c:v>10214</c:v>
                </c:pt>
                <c:pt idx="2051">
                  <c:v>18555</c:v>
                </c:pt>
                <c:pt idx="2052">
                  <c:v>2854</c:v>
                </c:pt>
                <c:pt idx="2053">
                  <c:v>1792</c:v>
                </c:pt>
                <c:pt idx="2054">
                  <c:v>2927</c:v>
                </c:pt>
                <c:pt idx="2055">
                  <c:v>2207</c:v>
                </c:pt>
                <c:pt idx="2056">
                  <c:v>4058</c:v>
                </c:pt>
                <c:pt idx="2057">
                  <c:v>3927</c:v>
                </c:pt>
                <c:pt idx="2058">
                  <c:v>3795</c:v>
                </c:pt>
                <c:pt idx="2059">
                  <c:v>13415</c:v>
                </c:pt>
                <c:pt idx="2060">
                  <c:v>2113</c:v>
                </c:pt>
                <c:pt idx="2061">
                  <c:v>4815</c:v>
                </c:pt>
                <c:pt idx="2062">
                  <c:v>463</c:v>
                </c:pt>
                <c:pt idx="2063">
                  <c:v>3543</c:v>
                </c:pt>
                <c:pt idx="2064">
                  <c:v>4580</c:v>
                </c:pt>
                <c:pt idx="2065">
                  <c:v>3024</c:v>
                </c:pt>
                <c:pt idx="2066">
                  <c:v>1910</c:v>
                </c:pt>
                <c:pt idx="2067">
                  <c:v>8464</c:v>
                </c:pt>
                <c:pt idx="2068">
                  <c:v>3818</c:v>
                </c:pt>
                <c:pt idx="2069">
                  <c:v>1403</c:v>
                </c:pt>
                <c:pt idx="2070">
                  <c:v>9523</c:v>
                </c:pt>
                <c:pt idx="2071">
                  <c:v>6683</c:v>
                </c:pt>
                <c:pt idx="2072">
                  <c:v>1690</c:v>
                </c:pt>
                <c:pt idx="2073">
                  <c:v>15669</c:v>
                </c:pt>
                <c:pt idx="2074">
                  <c:v>6597</c:v>
                </c:pt>
                <c:pt idx="2075">
                  <c:v>947</c:v>
                </c:pt>
                <c:pt idx="2076">
                  <c:v>2203</c:v>
                </c:pt>
                <c:pt idx="2077">
                  <c:v>4844</c:v>
                </c:pt>
                <c:pt idx="2078">
                  <c:v>4025</c:v>
                </c:pt>
                <c:pt idx="2079">
                  <c:v>156</c:v>
                </c:pt>
                <c:pt idx="2080">
                  <c:v>1762</c:v>
                </c:pt>
                <c:pt idx="2081">
                  <c:v>6530</c:v>
                </c:pt>
                <c:pt idx="2082">
                  <c:v>2103</c:v>
                </c:pt>
                <c:pt idx="2083">
                  <c:v>1967</c:v>
                </c:pt>
                <c:pt idx="2084">
                  <c:v>13067</c:v>
                </c:pt>
                <c:pt idx="2085">
                  <c:v>1839</c:v>
                </c:pt>
                <c:pt idx="2086">
                  <c:v>1450</c:v>
                </c:pt>
                <c:pt idx="2087">
                  <c:v>11846</c:v>
                </c:pt>
                <c:pt idx="2088">
                  <c:v>13149</c:v>
                </c:pt>
                <c:pt idx="2089">
                  <c:v>10754</c:v>
                </c:pt>
                <c:pt idx="2090">
                  <c:v>4907</c:v>
                </c:pt>
                <c:pt idx="2091">
                  <c:v>4917</c:v>
                </c:pt>
                <c:pt idx="2092">
                  <c:v>194</c:v>
                </c:pt>
                <c:pt idx="2093">
                  <c:v>207</c:v>
                </c:pt>
                <c:pt idx="2094">
                  <c:v>7168</c:v>
                </c:pt>
                <c:pt idx="2095">
                  <c:v>6402</c:v>
                </c:pt>
                <c:pt idx="2096">
                  <c:v>11431</c:v>
                </c:pt>
                <c:pt idx="2097">
                  <c:v>13239</c:v>
                </c:pt>
                <c:pt idx="2098">
                  <c:v>4406</c:v>
                </c:pt>
                <c:pt idx="2099">
                  <c:v>5663</c:v>
                </c:pt>
                <c:pt idx="2100">
                  <c:v>3810</c:v>
                </c:pt>
                <c:pt idx="2101">
                  <c:v>2496</c:v>
                </c:pt>
                <c:pt idx="2102">
                  <c:v>9088</c:v>
                </c:pt>
                <c:pt idx="2103">
                  <c:v>3792</c:v>
                </c:pt>
                <c:pt idx="2104">
                  <c:v>1328</c:v>
                </c:pt>
                <c:pt idx="2105">
                  <c:v>5563</c:v>
                </c:pt>
                <c:pt idx="2106">
                  <c:v>1427</c:v>
                </c:pt>
                <c:pt idx="2107">
                  <c:v>642</c:v>
                </c:pt>
                <c:pt idx="2108">
                  <c:v>176</c:v>
                </c:pt>
                <c:pt idx="2109">
                  <c:v>5545</c:v>
                </c:pt>
                <c:pt idx="2110">
                  <c:v>9015</c:v>
                </c:pt>
                <c:pt idx="2111">
                  <c:v>4593</c:v>
                </c:pt>
                <c:pt idx="2112">
                  <c:v>1487</c:v>
                </c:pt>
                <c:pt idx="2113">
                  <c:v>10430</c:v>
                </c:pt>
                <c:pt idx="2114">
                  <c:v>24795</c:v>
                </c:pt>
                <c:pt idx="2115">
                  <c:v>5885</c:v>
                </c:pt>
                <c:pt idx="2116">
                  <c:v>337</c:v>
                </c:pt>
                <c:pt idx="2117">
                  <c:v>1279</c:v>
                </c:pt>
                <c:pt idx="2118">
                  <c:v>4954</c:v>
                </c:pt>
                <c:pt idx="2119">
                  <c:v>403</c:v>
                </c:pt>
                <c:pt idx="2120">
                  <c:v>11868</c:v>
                </c:pt>
                <c:pt idx="2121">
                  <c:v>15943</c:v>
                </c:pt>
                <c:pt idx="2122">
                  <c:v>5702</c:v>
                </c:pt>
                <c:pt idx="2123">
                  <c:v>11248</c:v>
                </c:pt>
                <c:pt idx="2124">
                  <c:v>141</c:v>
                </c:pt>
                <c:pt idx="2125">
                  <c:v>2944</c:v>
                </c:pt>
                <c:pt idx="2126">
                  <c:v>2717</c:v>
                </c:pt>
                <c:pt idx="2127">
                  <c:v>7144</c:v>
                </c:pt>
                <c:pt idx="2128">
                  <c:v>5330</c:v>
                </c:pt>
                <c:pt idx="2129">
                  <c:v>19666</c:v>
                </c:pt>
                <c:pt idx="2130">
                  <c:v>219</c:v>
                </c:pt>
                <c:pt idx="2131">
                  <c:v>9500</c:v>
                </c:pt>
                <c:pt idx="2132">
                  <c:v>17316</c:v>
                </c:pt>
                <c:pt idx="2133">
                  <c:v>521</c:v>
                </c:pt>
                <c:pt idx="2134">
                  <c:v>1099</c:v>
                </c:pt>
                <c:pt idx="2135">
                  <c:v>24334</c:v>
                </c:pt>
                <c:pt idx="2136">
                  <c:v>4578</c:v>
                </c:pt>
                <c:pt idx="2137">
                  <c:v>164</c:v>
                </c:pt>
                <c:pt idx="2138">
                  <c:v>905</c:v>
                </c:pt>
                <c:pt idx="2139">
                  <c:v>2358</c:v>
                </c:pt>
                <c:pt idx="2140">
                  <c:v>10029</c:v>
                </c:pt>
                <c:pt idx="2141">
                  <c:v>2681</c:v>
                </c:pt>
                <c:pt idx="2142">
                  <c:v>5609</c:v>
                </c:pt>
                <c:pt idx="2143">
                  <c:v>5749</c:v>
                </c:pt>
                <c:pt idx="2144">
                  <c:v>226</c:v>
                </c:pt>
                <c:pt idx="2145">
                  <c:v>8048</c:v>
                </c:pt>
                <c:pt idx="2146">
                  <c:v>10032</c:v>
                </c:pt>
                <c:pt idx="2147">
                  <c:v>3996</c:v>
                </c:pt>
                <c:pt idx="2148">
                  <c:v>3262</c:v>
                </c:pt>
                <c:pt idx="2149">
                  <c:v>11550</c:v>
                </c:pt>
                <c:pt idx="2150">
                  <c:v>237</c:v>
                </c:pt>
                <c:pt idx="2151">
                  <c:v>568</c:v>
                </c:pt>
                <c:pt idx="2152">
                  <c:v>45</c:v>
                </c:pt>
                <c:pt idx="2153">
                  <c:v>14769</c:v>
                </c:pt>
                <c:pt idx="2154">
                  <c:v>1331</c:v>
                </c:pt>
                <c:pt idx="2155">
                  <c:v>15517</c:v>
                </c:pt>
                <c:pt idx="2156">
                  <c:v>6669</c:v>
                </c:pt>
                <c:pt idx="2157">
                  <c:v>2865</c:v>
                </c:pt>
                <c:pt idx="2158">
                  <c:v>13293</c:v>
                </c:pt>
                <c:pt idx="2159">
                  <c:v>6395</c:v>
                </c:pt>
                <c:pt idx="2160">
                  <c:v>10167</c:v>
                </c:pt>
                <c:pt idx="2161">
                  <c:v>24964</c:v>
                </c:pt>
                <c:pt idx="2162">
                  <c:v>23272</c:v>
                </c:pt>
                <c:pt idx="2163">
                  <c:v>14675</c:v>
                </c:pt>
                <c:pt idx="2164">
                  <c:v>2850</c:v>
                </c:pt>
                <c:pt idx="2165">
                  <c:v>10500</c:v>
                </c:pt>
                <c:pt idx="2166">
                  <c:v>2960</c:v>
                </c:pt>
                <c:pt idx="2167">
                  <c:v>13577</c:v>
                </c:pt>
                <c:pt idx="2168">
                  <c:v>1714</c:v>
                </c:pt>
                <c:pt idx="2169">
                  <c:v>8592</c:v>
                </c:pt>
                <c:pt idx="2170">
                  <c:v>1539</c:v>
                </c:pt>
                <c:pt idx="2171">
                  <c:v>3988</c:v>
                </c:pt>
                <c:pt idx="2172">
                  <c:v>3514</c:v>
                </c:pt>
                <c:pt idx="2173">
                  <c:v>749</c:v>
                </c:pt>
                <c:pt idx="2174">
                  <c:v>3524</c:v>
                </c:pt>
                <c:pt idx="2175">
                  <c:v>5713</c:v>
                </c:pt>
                <c:pt idx="2176">
                  <c:v>5275</c:v>
                </c:pt>
                <c:pt idx="2177">
                  <c:v>4685</c:v>
                </c:pt>
                <c:pt idx="2178">
                  <c:v>154</c:v>
                </c:pt>
                <c:pt idx="2179">
                  <c:v>15399</c:v>
                </c:pt>
                <c:pt idx="2180">
                  <c:v>10673</c:v>
                </c:pt>
                <c:pt idx="2181">
                  <c:v>4032</c:v>
                </c:pt>
                <c:pt idx="2182">
                  <c:v>4001</c:v>
                </c:pt>
                <c:pt idx="2183">
                  <c:v>20140</c:v>
                </c:pt>
                <c:pt idx="2184">
                  <c:v>25304</c:v>
                </c:pt>
                <c:pt idx="2185">
                  <c:v>5234</c:v>
                </c:pt>
                <c:pt idx="2186">
                  <c:v>3672</c:v>
                </c:pt>
                <c:pt idx="2187">
                  <c:v>10950</c:v>
                </c:pt>
                <c:pt idx="2188">
                  <c:v>4103</c:v>
                </c:pt>
                <c:pt idx="2189">
                  <c:v>11216</c:v>
                </c:pt>
                <c:pt idx="2190">
                  <c:v>10589</c:v>
                </c:pt>
                <c:pt idx="2191">
                  <c:v>2207</c:v>
                </c:pt>
                <c:pt idx="2192">
                  <c:v>4768</c:v>
                </c:pt>
                <c:pt idx="2193">
                  <c:v>3204</c:v>
                </c:pt>
                <c:pt idx="2194">
                  <c:v>1649</c:v>
                </c:pt>
                <c:pt idx="2195">
                  <c:v>4966</c:v>
                </c:pt>
                <c:pt idx="2196">
                  <c:v>20764</c:v>
                </c:pt>
                <c:pt idx="2197">
                  <c:v>17788</c:v>
                </c:pt>
                <c:pt idx="2198">
                  <c:v>1701</c:v>
                </c:pt>
                <c:pt idx="2199">
                  <c:v>4489</c:v>
                </c:pt>
                <c:pt idx="2200">
                  <c:v>2680</c:v>
                </c:pt>
                <c:pt idx="2201">
                  <c:v>3430</c:v>
                </c:pt>
                <c:pt idx="2202">
                  <c:v>7220</c:v>
                </c:pt>
                <c:pt idx="2203">
                  <c:v>10021</c:v>
                </c:pt>
                <c:pt idx="2204">
                  <c:v>5222</c:v>
                </c:pt>
                <c:pt idx="2205">
                  <c:v>7350</c:v>
                </c:pt>
                <c:pt idx="2206">
                  <c:v>10143</c:v>
                </c:pt>
                <c:pt idx="2207">
                  <c:v>11056</c:v>
                </c:pt>
                <c:pt idx="2208">
                  <c:v>8945</c:v>
                </c:pt>
                <c:pt idx="2209">
                  <c:v>4783</c:v>
                </c:pt>
                <c:pt idx="2210">
                  <c:v>569</c:v>
                </c:pt>
                <c:pt idx="2211">
                  <c:v>3917</c:v>
                </c:pt>
                <c:pt idx="2212">
                  <c:v>8051</c:v>
                </c:pt>
                <c:pt idx="2213">
                  <c:v>13823</c:v>
                </c:pt>
                <c:pt idx="2214">
                  <c:v>8066</c:v>
                </c:pt>
                <c:pt idx="2215">
                  <c:v>45</c:v>
                </c:pt>
                <c:pt idx="2216">
                  <c:v>6698</c:v>
                </c:pt>
                <c:pt idx="2217">
                  <c:v>3454</c:v>
                </c:pt>
                <c:pt idx="2218">
                  <c:v>2088</c:v>
                </c:pt>
                <c:pt idx="2219">
                  <c:v>124</c:v>
                </c:pt>
                <c:pt idx="2220">
                  <c:v>4162</c:v>
                </c:pt>
                <c:pt idx="2221">
                  <c:v>5062</c:v>
                </c:pt>
                <c:pt idx="2222">
                  <c:v>2648</c:v>
                </c:pt>
                <c:pt idx="2223">
                  <c:v>8827</c:v>
                </c:pt>
                <c:pt idx="2224">
                  <c:v>22454</c:v>
                </c:pt>
                <c:pt idx="2225">
                  <c:v>555</c:v>
                </c:pt>
                <c:pt idx="2226">
                  <c:v>1393</c:v>
                </c:pt>
                <c:pt idx="2227">
                  <c:v>692</c:v>
                </c:pt>
                <c:pt idx="2228">
                  <c:v>5159</c:v>
                </c:pt>
                <c:pt idx="2229">
                  <c:v>371</c:v>
                </c:pt>
                <c:pt idx="2230">
                  <c:v>4586</c:v>
                </c:pt>
                <c:pt idx="2231">
                  <c:v>4873</c:v>
                </c:pt>
                <c:pt idx="2232">
                  <c:v>3696</c:v>
                </c:pt>
                <c:pt idx="2233">
                  <c:v>17447</c:v>
                </c:pt>
                <c:pt idx="2234">
                  <c:v>529</c:v>
                </c:pt>
                <c:pt idx="2235">
                  <c:v>731</c:v>
                </c:pt>
                <c:pt idx="2236">
                  <c:v>3848</c:v>
                </c:pt>
                <c:pt idx="2237">
                  <c:v>268</c:v>
                </c:pt>
                <c:pt idx="2238">
                  <c:v>12</c:v>
                </c:pt>
                <c:pt idx="2239">
                  <c:v>530</c:v>
                </c:pt>
                <c:pt idx="2240">
                  <c:v>5539</c:v>
                </c:pt>
                <c:pt idx="2241">
                  <c:v>618</c:v>
                </c:pt>
                <c:pt idx="2242">
                  <c:v>38</c:v>
                </c:pt>
                <c:pt idx="2243">
                  <c:v>5140</c:v>
                </c:pt>
                <c:pt idx="2244">
                  <c:v>209</c:v>
                </c:pt>
                <c:pt idx="2245">
                  <c:v>105</c:v>
                </c:pt>
                <c:pt idx="2246">
                  <c:v>587</c:v>
                </c:pt>
                <c:pt idx="2247">
                  <c:v>167</c:v>
                </c:pt>
                <c:pt idx="2248">
                  <c:v>822</c:v>
                </c:pt>
                <c:pt idx="2249">
                  <c:v>13695</c:v>
                </c:pt>
                <c:pt idx="2250">
                  <c:v>15956</c:v>
                </c:pt>
                <c:pt idx="2251">
                  <c:v>353</c:v>
                </c:pt>
                <c:pt idx="2252">
                  <c:v>1062</c:v>
                </c:pt>
                <c:pt idx="2253">
                  <c:v>2292</c:v>
                </c:pt>
                <c:pt idx="2254">
                  <c:v>2470</c:v>
                </c:pt>
                <c:pt idx="2255">
                  <c:v>271</c:v>
                </c:pt>
                <c:pt idx="2256">
                  <c:v>247</c:v>
                </c:pt>
                <c:pt idx="2257">
                  <c:v>934</c:v>
                </c:pt>
                <c:pt idx="2258">
                  <c:v>294</c:v>
                </c:pt>
                <c:pt idx="2259">
                  <c:v>114</c:v>
                </c:pt>
                <c:pt idx="2260">
                  <c:v>139</c:v>
                </c:pt>
                <c:pt idx="2261">
                  <c:v>19225</c:v>
                </c:pt>
                <c:pt idx="2262">
                  <c:v>7905</c:v>
                </c:pt>
                <c:pt idx="2263">
                  <c:v>14061</c:v>
                </c:pt>
                <c:pt idx="2264">
                  <c:v>2542</c:v>
                </c:pt>
                <c:pt idx="2265">
                  <c:v>349</c:v>
                </c:pt>
                <c:pt idx="2266">
                  <c:v>4491</c:v>
                </c:pt>
                <c:pt idx="2267">
                  <c:v>2957</c:v>
                </c:pt>
                <c:pt idx="2268">
                  <c:v>6083</c:v>
                </c:pt>
                <c:pt idx="2269">
                  <c:v>9363</c:v>
                </c:pt>
                <c:pt idx="2270">
                  <c:v>2918</c:v>
                </c:pt>
                <c:pt idx="2271">
                  <c:v>444</c:v>
                </c:pt>
                <c:pt idx="2272">
                  <c:v>5502</c:v>
                </c:pt>
                <c:pt idx="2273">
                  <c:v>2514</c:v>
                </c:pt>
                <c:pt idx="2274">
                  <c:v>3944</c:v>
                </c:pt>
                <c:pt idx="2275">
                  <c:v>3187</c:v>
                </c:pt>
                <c:pt idx="2276">
                  <c:v>15247</c:v>
                </c:pt>
                <c:pt idx="2277">
                  <c:v>2834</c:v>
                </c:pt>
                <c:pt idx="2278">
                  <c:v>28191</c:v>
                </c:pt>
                <c:pt idx="2279">
                  <c:v>4376</c:v>
                </c:pt>
                <c:pt idx="2280">
                  <c:v>3581</c:v>
                </c:pt>
                <c:pt idx="2281">
                  <c:v>5816</c:v>
                </c:pt>
                <c:pt idx="2282">
                  <c:v>2841</c:v>
                </c:pt>
                <c:pt idx="2283">
                  <c:v>10769</c:v>
                </c:pt>
                <c:pt idx="2284">
                  <c:v>24186</c:v>
                </c:pt>
                <c:pt idx="2285">
                  <c:v>1554</c:v>
                </c:pt>
                <c:pt idx="2286">
                  <c:v>10025</c:v>
                </c:pt>
                <c:pt idx="2287">
                  <c:v>2955</c:v>
                </c:pt>
                <c:pt idx="2288">
                  <c:v>366</c:v>
                </c:pt>
                <c:pt idx="2289">
                  <c:v>2413</c:v>
                </c:pt>
                <c:pt idx="2290">
                  <c:v>456</c:v>
                </c:pt>
                <c:pt idx="2291">
                  <c:v>3410</c:v>
                </c:pt>
                <c:pt idx="2292">
                  <c:v>3050</c:v>
                </c:pt>
                <c:pt idx="2293">
                  <c:v>1748</c:v>
                </c:pt>
                <c:pt idx="2294">
                  <c:v>185</c:v>
                </c:pt>
                <c:pt idx="2295">
                  <c:v>1762</c:v>
                </c:pt>
                <c:pt idx="2296">
                  <c:v>4815</c:v>
                </c:pt>
                <c:pt idx="2297">
                  <c:v>16384</c:v>
                </c:pt>
                <c:pt idx="2298">
                  <c:v>12019</c:v>
                </c:pt>
                <c:pt idx="2299">
                  <c:v>15407</c:v>
                </c:pt>
                <c:pt idx="2300">
                  <c:v>12741</c:v>
                </c:pt>
                <c:pt idx="2301">
                  <c:v>5829</c:v>
                </c:pt>
                <c:pt idx="2302">
                  <c:v>4489</c:v>
                </c:pt>
                <c:pt idx="2303">
                  <c:v>6408</c:v>
                </c:pt>
                <c:pt idx="2304">
                  <c:v>10622</c:v>
                </c:pt>
                <c:pt idx="2305">
                  <c:v>16542</c:v>
                </c:pt>
                <c:pt idx="2306">
                  <c:v>10429</c:v>
                </c:pt>
                <c:pt idx="2307">
                  <c:v>8449</c:v>
                </c:pt>
                <c:pt idx="2308">
                  <c:v>34426</c:v>
                </c:pt>
                <c:pt idx="2309">
                  <c:v>391</c:v>
                </c:pt>
                <c:pt idx="2310">
                  <c:v>10802</c:v>
                </c:pt>
                <c:pt idx="2311">
                  <c:v>5517</c:v>
                </c:pt>
                <c:pt idx="2312">
                  <c:v>16378</c:v>
                </c:pt>
                <c:pt idx="2313">
                  <c:v>20201</c:v>
                </c:pt>
                <c:pt idx="2314">
                  <c:v>2308</c:v>
                </c:pt>
                <c:pt idx="2315">
                  <c:v>10293</c:v>
                </c:pt>
                <c:pt idx="2316">
                  <c:v>705</c:v>
                </c:pt>
                <c:pt idx="2317">
                  <c:v>1263</c:v>
                </c:pt>
                <c:pt idx="2318">
                  <c:v>3579</c:v>
                </c:pt>
                <c:pt idx="2319">
                  <c:v>1657</c:v>
                </c:pt>
                <c:pt idx="2320">
                  <c:v>7000</c:v>
                </c:pt>
                <c:pt idx="2321">
                  <c:v>603</c:v>
                </c:pt>
                <c:pt idx="2322">
                  <c:v>765</c:v>
                </c:pt>
                <c:pt idx="2323">
                  <c:v>1483</c:v>
                </c:pt>
                <c:pt idx="2324">
                  <c:v>14275</c:v>
                </c:pt>
                <c:pt idx="2325">
                  <c:v>1616</c:v>
                </c:pt>
                <c:pt idx="2326">
                  <c:v>1308</c:v>
                </c:pt>
                <c:pt idx="2327">
                  <c:v>1058</c:v>
                </c:pt>
                <c:pt idx="2328">
                  <c:v>33094</c:v>
                </c:pt>
                <c:pt idx="2329">
                  <c:v>11658</c:v>
                </c:pt>
                <c:pt idx="2330">
                  <c:v>12011</c:v>
                </c:pt>
                <c:pt idx="2331">
                  <c:v>3055</c:v>
                </c:pt>
                <c:pt idx="2332">
                  <c:v>9636</c:v>
                </c:pt>
                <c:pt idx="2333">
                  <c:v>3216</c:v>
                </c:pt>
                <c:pt idx="2334">
                  <c:v>2184</c:v>
                </c:pt>
                <c:pt idx="2335">
                  <c:v>1539</c:v>
                </c:pt>
                <c:pt idx="2336">
                  <c:v>7477</c:v>
                </c:pt>
                <c:pt idx="2337">
                  <c:v>19615</c:v>
                </c:pt>
                <c:pt idx="2338">
                  <c:v>3171</c:v>
                </c:pt>
                <c:pt idx="2339">
                  <c:v>4078</c:v>
                </c:pt>
                <c:pt idx="2340">
                  <c:v>7072</c:v>
                </c:pt>
                <c:pt idx="2341">
                  <c:v>24376</c:v>
                </c:pt>
                <c:pt idx="2342">
                  <c:v>23359</c:v>
                </c:pt>
                <c:pt idx="2343">
                  <c:v>19128</c:v>
                </c:pt>
                <c:pt idx="2344">
                  <c:v>268</c:v>
                </c:pt>
                <c:pt idx="2345">
                  <c:v>16478</c:v>
                </c:pt>
                <c:pt idx="2346">
                  <c:v>4887</c:v>
                </c:pt>
                <c:pt idx="2347">
                  <c:v>7069</c:v>
                </c:pt>
                <c:pt idx="2348">
                  <c:v>2553</c:v>
                </c:pt>
                <c:pt idx="2349">
                  <c:v>2853</c:v>
                </c:pt>
                <c:pt idx="2350">
                  <c:v>2063</c:v>
                </c:pt>
                <c:pt idx="2351">
                  <c:v>1362</c:v>
                </c:pt>
                <c:pt idx="2352">
                  <c:v>1882</c:v>
                </c:pt>
                <c:pt idx="2353">
                  <c:v>8994</c:v>
                </c:pt>
                <c:pt idx="2354">
                  <c:v>22503</c:v>
                </c:pt>
                <c:pt idx="2355">
                  <c:v>1635</c:v>
                </c:pt>
                <c:pt idx="2356">
                  <c:v>4458</c:v>
                </c:pt>
                <c:pt idx="2357">
                  <c:v>5690</c:v>
                </c:pt>
                <c:pt idx="2358">
                  <c:v>1927</c:v>
                </c:pt>
                <c:pt idx="2359">
                  <c:v>9369</c:v>
                </c:pt>
                <c:pt idx="2360">
                  <c:v>8840</c:v>
                </c:pt>
                <c:pt idx="2361">
                  <c:v>23851</c:v>
                </c:pt>
                <c:pt idx="2362">
                  <c:v>7501</c:v>
                </c:pt>
                <c:pt idx="2363">
                  <c:v>3920</c:v>
                </c:pt>
                <c:pt idx="2364">
                  <c:v>4451</c:v>
                </c:pt>
                <c:pt idx="2365">
                  <c:v>10037</c:v>
                </c:pt>
                <c:pt idx="2366">
                  <c:v>2962</c:v>
                </c:pt>
                <c:pt idx="2367">
                  <c:v>28641</c:v>
                </c:pt>
                <c:pt idx="2368">
                  <c:v>21536</c:v>
                </c:pt>
                <c:pt idx="2369">
                  <c:v>13251</c:v>
                </c:pt>
                <c:pt idx="2370">
                  <c:v>25584</c:v>
                </c:pt>
                <c:pt idx="2371">
                  <c:v>6589</c:v>
                </c:pt>
                <c:pt idx="2372">
                  <c:v>15157</c:v>
                </c:pt>
                <c:pt idx="2373">
                  <c:v>3059</c:v>
                </c:pt>
                <c:pt idx="2374">
                  <c:v>4493</c:v>
                </c:pt>
                <c:pt idx="2375">
                  <c:v>10258</c:v>
                </c:pt>
                <c:pt idx="2376">
                  <c:v>27923</c:v>
                </c:pt>
                <c:pt idx="2377">
                  <c:v>12653</c:v>
                </c:pt>
                <c:pt idx="2378">
                  <c:v>11879</c:v>
                </c:pt>
                <c:pt idx="2379">
                  <c:v>2610</c:v>
                </c:pt>
                <c:pt idx="2380">
                  <c:v>7397</c:v>
                </c:pt>
                <c:pt idx="2381">
                  <c:v>3785</c:v>
                </c:pt>
                <c:pt idx="2382">
                  <c:v>3968</c:v>
                </c:pt>
                <c:pt idx="2383">
                  <c:v>2922</c:v>
                </c:pt>
                <c:pt idx="2384">
                  <c:v>766</c:v>
                </c:pt>
                <c:pt idx="2385">
                  <c:v>4366</c:v>
                </c:pt>
                <c:pt idx="2386">
                  <c:v>22611</c:v>
                </c:pt>
                <c:pt idx="2387">
                  <c:v>21806</c:v>
                </c:pt>
                <c:pt idx="2388">
                  <c:v>7929</c:v>
                </c:pt>
                <c:pt idx="2389">
                  <c:v>16754</c:v>
                </c:pt>
                <c:pt idx="2390">
                  <c:v>32766</c:v>
                </c:pt>
                <c:pt idx="2391">
                  <c:v>32090</c:v>
                </c:pt>
                <c:pt idx="2392">
                  <c:v>31713</c:v>
                </c:pt>
                <c:pt idx="2393">
                  <c:v>19119</c:v>
                </c:pt>
                <c:pt idx="2394">
                  <c:v>32708</c:v>
                </c:pt>
                <c:pt idx="2395">
                  <c:v>19871</c:v>
                </c:pt>
                <c:pt idx="2396">
                  <c:v>37825</c:v>
                </c:pt>
                <c:pt idx="2397">
                  <c:v>10713</c:v>
                </c:pt>
                <c:pt idx="2398">
                  <c:v>5463</c:v>
                </c:pt>
                <c:pt idx="2399">
                  <c:v>27233</c:v>
                </c:pt>
                <c:pt idx="2400">
                  <c:v>23583</c:v>
                </c:pt>
                <c:pt idx="2401">
                  <c:v>19583</c:v>
                </c:pt>
                <c:pt idx="2402">
                  <c:v>36580</c:v>
                </c:pt>
                <c:pt idx="2403">
                  <c:v>34436</c:v>
                </c:pt>
                <c:pt idx="2404">
                  <c:v>49164</c:v>
                </c:pt>
                <c:pt idx="2405">
                  <c:v>20554</c:v>
                </c:pt>
                <c:pt idx="2406">
                  <c:v>29910</c:v>
                </c:pt>
                <c:pt idx="2407">
                  <c:v>28776</c:v>
                </c:pt>
                <c:pt idx="2408">
                  <c:v>30612</c:v>
                </c:pt>
                <c:pt idx="2409">
                  <c:v>14207</c:v>
                </c:pt>
                <c:pt idx="2410">
                  <c:v>32973</c:v>
                </c:pt>
                <c:pt idx="2411">
                  <c:v>29614</c:v>
                </c:pt>
                <c:pt idx="2412">
                  <c:v>30276</c:v>
                </c:pt>
                <c:pt idx="2413">
                  <c:v>21742</c:v>
                </c:pt>
                <c:pt idx="2414">
                  <c:v>13872</c:v>
                </c:pt>
                <c:pt idx="2415">
                  <c:v>19419</c:v>
                </c:pt>
                <c:pt idx="2416">
                  <c:v>11963</c:v>
                </c:pt>
                <c:pt idx="2417">
                  <c:v>11079</c:v>
                </c:pt>
                <c:pt idx="2418">
                  <c:v>20068</c:v>
                </c:pt>
                <c:pt idx="2419">
                  <c:v>5794</c:v>
                </c:pt>
                <c:pt idx="2420">
                  <c:v>17953</c:v>
                </c:pt>
                <c:pt idx="2421">
                  <c:v>12983</c:v>
                </c:pt>
                <c:pt idx="2422">
                  <c:v>32690</c:v>
                </c:pt>
                <c:pt idx="2423">
                  <c:v>6042</c:v>
                </c:pt>
                <c:pt idx="2424">
                  <c:v>17188</c:v>
                </c:pt>
                <c:pt idx="2425">
                  <c:v>7522</c:v>
                </c:pt>
                <c:pt idx="2426">
                  <c:v>11634</c:v>
                </c:pt>
                <c:pt idx="2427">
                  <c:v>18551</c:v>
                </c:pt>
                <c:pt idx="2428">
                  <c:v>19823</c:v>
                </c:pt>
                <c:pt idx="2429">
                  <c:v>24530</c:v>
                </c:pt>
                <c:pt idx="2430">
                  <c:v>6857</c:v>
                </c:pt>
                <c:pt idx="2431">
                  <c:v>14633</c:v>
                </c:pt>
                <c:pt idx="2432">
                  <c:v>16812</c:v>
                </c:pt>
                <c:pt idx="2433">
                  <c:v>11854</c:v>
                </c:pt>
                <c:pt idx="2434">
                  <c:v>28786</c:v>
                </c:pt>
                <c:pt idx="2435">
                  <c:v>41391</c:v>
                </c:pt>
                <c:pt idx="2436">
                  <c:v>19103</c:v>
                </c:pt>
                <c:pt idx="2437">
                  <c:v>30248</c:v>
                </c:pt>
                <c:pt idx="2438">
                  <c:v>31503</c:v>
                </c:pt>
                <c:pt idx="2439">
                  <c:v>12781</c:v>
                </c:pt>
                <c:pt idx="2440">
                  <c:v>15040</c:v>
                </c:pt>
                <c:pt idx="2441">
                  <c:v>31976</c:v>
                </c:pt>
                <c:pt idx="2442">
                  <c:v>28375</c:v>
                </c:pt>
                <c:pt idx="2443">
                  <c:v>33470</c:v>
                </c:pt>
                <c:pt idx="2444">
                  <c:v>20646</c:v>
                </c:pt>
                <c:pt idx="2445">
                  <c:v>22249</c:v>
                </c:pt>
                <c:pt idx="2446">
                  <c:v>23108</c:v>
                </c:pt>
                <c:pt idx="2447">
                  <c:v>35412</c:v>
                </c:pt>
                <c:pt idx="2448">
                  <c:v>31065</c:v>
                </c:pt>
                <c:pt idx="2449">
                  <c:v>2207</c:v>
                </c:pt>
                <c:pt idx="2450">
                  <c:v>20129</c:v>
                </c:pt>
                <c:pt idx="2451">
                  <c:v>32462</c:v>
                </c:pt>
                <c:pt idx="2452">
                  <c:v>41713</c:v>
                </c:pt>
                <c:pt idx="2453">
                  <c:v>32619</c:v>
                </c:pt>
                <c:pt idx="2454">
                  <c:v>31969</c:v>
                </c:pt>
                <c:pt idx="2455">
                  <c:v>8259</c:v>
                </c:pt>
                <c:pt idx="2456">
                  <c:v>9720</c:v>
                </c:pt>
                <c:pt idx="2457">
                  <c:v>22477</c:v>
                </c:pt>
                <c:pt idx="2458">
                  <c:v>23616</c:v>
                </c:pt>
                <c:pt idx="2459">
                  <c:v>3739</c:v>
                </c:pt>
                <c:pt idx="2460">
                  <c:v>18431</c:v>
                </c:pt>
                <c:pt idx="2461">
                  <c:v>634</c:v>
                </c:pt>
                <c:pt idx="2462">
                  <c:v>2668</c:v>
                </c:pt>
                <c:pt idx="2463">
                  <c:v>3982</c:v>
                </c:pt>
                <c:pt idx="2464">
                  <c:v>570</c:v>
                </c:pt>
                <c:pt idx="2465">
                  <c:v>2751</c:v>
                </c:pt>
                <c:pt idx="2466">
                  <c:v>10339</c:v>
                </c:pt>
                <c:pt idx="2467">
                  <c:v>5214</c:v>
                </c:pt>
                <c:pt idx="2468">
                  <c:v>1091</c:v>
                </c:pt>
                <c:pt idx="2469">
                  <c:v>11707</c:v>
                </c:pt>
                <c:pt idx="2470">
                  <c:v>6129</c:v>
                </c:pt>
                <c:pt idx="2471">
                  <c:v>2791</c:v>
                </c:pt>
                <c:pt idx="2472">
                  <c:v>281</c:v>
                </c:pt>
                <c:pt idx="2473">
                  <c:v>469</c:v>
                </c:pt>
                <c:pt idx="2474">
                  <c:v>6120</c:v>
                </c:pt>
                <c:pt idx="2475">
                  <c:v>5563</c:v>
                </c:pt>
                <c:pt idx="2476">
                  <c:v>5075</c:v>
                </c:pt>
                <c:pt idx="2477">
                  <c:v>37411</c:v>
                </c:pt>
                <c:pt idx="2478">
                  <c:v>2153</c:v>
                </c:pt>
                <c:pt idx="2479">
                  <c:v>1004</c:v>
                </c:pt>
                <c:pt idx="2480">
                  <c:v>393</c:v>
                </c:pt>
                <c:pt idx="2481">
                  <c:v>6490</c:v>
                </c:pt>
                <c:pt idx="2482">
                  <c:v>7002</c:v>
                </c:pt>
                <c:pt idx="2483">
                  <c:v>2395</c:v>
                </c:pt>
                <c:pt idx="2484">
                  <c:v>3707</c:v>
                </c:pt>
                <c:pt idx="2485">
                  <c:v>5402</c:v>
                </c:pt>
                <c:pt idx="2486">
                  <c:v>1469</c:v>
                </c:pt>
                <c:pt idx="2487">
                  <c:v>7978</c:v>
                </c:pt>
                <c:pt idx="2488">
                  <c:v>13919</c:v>
                </c:pt>
                <c:pt idx="2489">
                  <c:v>10956</c:v>
                </c:pt>
                <c:pt idx="2490">
                  <c:v>569</c:v>
                </c:pt>
                <c:pt idx="2491">
                  <c:v>3723</c:v>
                </c:pt>
                <c:pt idx="2492">
                  <c:v>1711</c:v>
                </c:pt>
                <c:pt idx="2493">
                  <c:v>7595</c:v>
                </c:pt>
                <c:pt idx="2494">
                  <c:v>18359</c:v>
                </c:pt>
                <c:pt idx="2495">
                  <c:v>11727</c:v>
                </c:pt>
                <c:pt idx="2496">
                  <c:v>5600</c:v>
                </c:pt>
                <c:pt idx="2497">
                  <c:v>2376</c:v>
                </c:pt>
                <c:pt idx="2498">
                  <c:v>17368</c:v>
                </c:pt>
                <c:pt idx="2499">
                  <c:v>13124</c:v>
                </c:pt>
                <c:pt idx="2500">
                  <c:v>10500</c:v>
                </c:pt>
                <c:pt idx="2501">
                  <c:v>6404</c:v>
                </c:pt>
                <c:pt idx="2502">
                  <c:v>20426</c:v>
                </c:pt>
                <c:pt idx="2503">
                  <c:v>2656</c:v>
                </c:pt>
                <c:pt idx="2504">
                  <c:v>2503</c:v>
                </c:pt>
                <c:pt idx="2505">
                  <c:v>782</c:v>
                </c:pt>
                <c:pt idx="2506">
                  <c:v>4322</c:v>
                </c:pt>
                <c:pt idx="2507">
                  <c:v>8101</c:v>
                </c:pt>
                <c:pt idx="2508">
                  <c:v>19558</c:v>
                </c:pt>
                <c:pt idx="2509">
                  <c:v>1808</c:v>
                </c:pt>
                <c:pt idx="2510">
                  <c:v>2855</c:v>
                </c:pt>
                <c:pt idx="2511">
                  <c:v>3758</c:v>
                </c:pt>
                <c:pt idx="2512">
                  <c:v>12133</c:v>
                </c:pt>
                <c:pt idx="2513">
                  <c:v>2697</c:v>
                </c:pt>
                <c:pt idx="2514">
                  <c:v>2566</c:v>
                </c:pt>
                <c:pt idx="2515">
                  <c:v>485</c:v>
                </c:pt>
                <c:pt idx="2516">
                  <c:v>325</c:v>
                </c:pt>
                <c:pt idx="2517">
                  <c:v>13841</c:v>
                </c:pt>
                <c:pt idx="2518">
                  <c:v>5931</c:v>
                </c:pt>
                <c:pt idx="2519">
                  <c:v>10194</c:v>
                </c:pt>
                <c:pt idx="2520">
                  <c:v>5764</c:v>
                </c:pt>
                <c:pt idx="2521">
                  <c:v>9804</c:v>
                </c:pt>
                <c:pt idx="2522">
                  <c:v>8406</c:v>
                </c:pt>
                <c:pt idx="2523">
                  <c:v>3810</c:v>
                </c:pt>
                <c:pt idx="2524">
                  <c:v>29541</c:v>
                </c:pt>
                <c:pt idx="2525">
                  <c:v>10851</c:v>
                </c:pt>
                <c:pt idx="2526">
                  <c:v>15861</c:v>
                </c:pt>
                <c:pt idx="2527">
                  <c:v>19223</c:v>
                </c:pt>
                <c:pt idx="2528">
                  <c:v>4749</c:v>
                </c:pt>
                <c:pt idx="2529">
                  <c:v>5447</c:v>
                </c:pt>
                <c:pt idx="2530">
                  <c:v>11045</c:v>
                </c:pt>
                <c:pt idx="2531">
                  <c:v>4779</c:v>
                </c:pt>
                <c:pt idx="2532">
                  <c:v>12846</c:v>
                </c:pt>
                <c:pt idx="2533">
                  <c:v>20287</c:v>
                </c:pt>
                <c:pt idx="2534">
                  <c:v>6031</c:v>
                </c:pt>
                <c:pt idx="2535">
                  <c:v>7361</c:v>
                </c:pt>
                <c:pt idx="2536">
                  <c:v>10204</c:v>
                </c:pt>
                <c:pt idx="2537">
                  <c:v>11663</c:v>
                </c:pt>
                <c:pt idx="2538">
                  <c:v>2673</c:v>
                </c:pt>
                <c:pt idx="2539">
                  <c:v>118</c:v>
                </c:pt>
                <c:pt idx="2540">
                  <c:v>2096</c:v>
                </c:pt>
                <c:pt idx="2541">
                  <c:v>879</c:v>
                </c:pt>
                <c:pt idx="2542">
                  <c:v>6719</c:v>
                </c:pt>
                <c:pt idx="2543">
                  <c:v>874</c:v>
                </c:pt>
                <c:pt idx="2544">
                  <c:v>4819</c:v>
                </c:pt>
                <c:pt idx="2545">
                  <c:v>2134</c:v>
                </c:pt>
                <c:pt idx="2546">
                  <c:v>635</c:v>
                </c:pt>
                <c:pt idx="2547">
                  <c:v>4001</c:v>
                </c:pt>
                <c:pt idx="2548">
                  <c:v>5937</c:v>
                </c:pt>
                <c:pt idx="2549">
                  <c:v>2258</c:v>
                </c:pt>
                <c:pt idx="2550">
                  <c:v>2014</c:v>
                </c:pt>
                <c:pt idx="2551">
                  <c:v>5328</c:v>
                </c:pt>
                <c:pt idx="2552">
                  <c:v>2625</c:v>
                </c:pt>
                <c:pt idx="2553">
                  <c:v>5252</c:v>
                </c:pt>
                <c:pt idx="2554">
                  <c:v>471</c:v>
                </c:pt>
                <c:pt idx="2555">
                  <c:v>151</c:v>
                </c:pt>
                <c:pt idx="2556">
                  <c:v>23086</c:v>
                </c:pt>
                <c:pt idx="2557">
                  <c:v>7823</c:v>
                </c:pt>
                <c:pt idx="2558">
                  <c:v>20218</c:v>
                </c:pt>
                <c:pt idx="2559">
                  <c:v>13137</c:v>
                </c:pt>
                <c:pt idx="2560">
                  <c:v>13520</c:v>
                </c:pt>
                <c:pt idx="2561">
                  <c:v>14701</c:v>
                </c:pt>
                <c:pt idx="2562">
                  <c:v>1475</c:v>
                </c:pt>
                <c:pt idx="2563">
                  <c:v>8245</c:v>
                </c:pt>
                <c:pt idx="2564">
                  <c:v>2532</c:v>
                </c:pt>
                <c:pt idx="2565">
                  <c:v>1474</c:v>
                </c:pt>
                <c:pt idx="2566">
                  <c:v>789</c:v>
                </c:pt>
                <c:pt idx="2567">
                  <c:v>7595</c:v>
                </c:pt>
                <c:pt idx="2568">
                  <c:v>1580</c:v>
                </c:pt>
                <c:pt idx="2569">
                  <c:v>578</c:v>
                </c:pt>
                <c:pt idx="2570">
                  <c:v>5307</c:v>
                </c:pt>
                <c:pt idx="2571">
                  <c:v>1335</c:v>
                </c:pt>
                <c:pt idx="2572">
                  <c:v>1405</c:v>
                </c:pt>
                <c:pt idx="2573">
                  <c:v>855</c:v>
                </c:pt>
                <c:pt idx="2574">
                  <c:v>26838</c:v>
                </c:pt>
                <c:pt idx="2575">
                  <c:v>6536</c:v>
                </c:pt>
                <c:pt idx="2576">
                  <c:v>2973</c:v>
                </c:pt>
                <c:pt idx="2577">
                  <c:v>1435</c:v>
                </c:pt>
                <c:pt idx="2578">
                  <c:v>1026</c:v>
                </c:pt>
                <c:pt idx="2579">
                  <c:v>1926</c:v>
                </c:pt>
                <c:pt idx="2580">
                  <c:v>372</c:v>
                </c:pt>
                <c:pt idx="2581">
                  <c:v>4051</c:v>
                </c:pt>
                <c:pt idx="2582">
                  <c:v>10578</c:v>
                </c:pt>
                <c:pt idx="2583">
                  <c:v>4245</c:v>
                </c:pt>
                <c:pt idx="2584">
                  <c:v>2374</c:v>
                </c:pt>
                <c:pt idx="2585">
                  <c:v>3073</c:v>
                </c:pt>
                <c:pt idx="2586">
                  <c:v>1784</c:v>
                </c:pt>
                <c:pt idx="2587">
                  <c:v>13443</c:v>
                </c:pt>
                <c:pt idx="2588">
                  <c:v>23139</c:v>
                </c:pt>
                <c:pt idx="2589">
                  <c:v>7689</c:v>
                </c:pt>
                <c:pt idx="2590">
                  <c:v>293</c:v>
                </c:pt>
                <c:pt idx="2591">
                  <c:v>13295</c:v>
                </c:pt>
                <c:pt idx="2592">
                  <c:v>3072</c:v>
                </c:pt>
                <c:pt idx="2593">
                  <c:v>9169</c:v>
                </c:pt>
                <c:pt idx="2594">
                  <c:v>3872</c:v>
                </c:pt>
                <c:pt idx="2595">
                  <c:v>2890</c:v>
                </c:pt>
                <c:pt idx="2596">
                  <c:v>7541</c:v>
                </c:pt>
                <c:pt idx="2597">
                  <c:v>20605</c:v>
                </c:pt>
                <c:pt idx="2598">
                  <c:v>14742</c:v>
                </c:pt>
                <c:pt idx="2599">
                  <c:v>3997</c:v>
                </c:pt>
                <c:pt idx="2600">
                  <c:v>18957</c:v>
                </c:pt>
                <c:pt idx="2601">
                  <c:v>15393</c:v>
                </c:pt>
                <c:pt idx="2602">
                  <c:v>21506</c:v>
                </c:pt>
                <c:pt idx="2603">
                  <c:v>14812</c:v>
                </c:pt>
                <c:pt idx="2604">
                  <c:v>20771</c:v>
                </c:pt>
                <c:pt idx="2605">
                  <c:v>21658</c:v>
                </c:pt>
                <c:pt idx="2606">
                  <c:v>3999</c:v>
                </c:pt>
                <c:pt idx="2607">
                  <c:v>39760</c:v>
                </c:pt>
                <c:pt idx="2608">
                  <c:v>36937</c:v>
                </c:pt>
                <c:pt idx="2609">
                  <c:v>32468</c:v>
                </c:pt>
                <c:pt idx="2610">
                  <c:v>21777</c:v>
                </c:pt>
                <c:pt idx="2611">
                  <c:v>37787</c:v>
                </c:pt>
                <c:pt idx="2612">
                  <c:v>38236</c:v>
                </c:pt>
                <c:pt idx="2613">
                  <c:v>42345</c:v>
                </c:pt>
                <c:pt idx="2614">
                  <c:v>35346</c:v>
                </c:pt>
                <c:pt idx="2615">
                  <c:v>28555</c:v>
                </c:pt>
                <c:pt idx="2616">
                  <c:v>35457</c:v>
                </c:pt>
                <c:pt idx="2617">
                  <c:v>27023</c:v>
                </c:pt>
                <c:pt idx="2618">
                  <c:v>29736</c:v>
                </c:pt>
                <c:pt idx="2619">
                  <c:v>40621</c:v>
                </c:pt>
                <c:pt idx="2620">
                  <c:v>41978</c:v>
                </c:pt>
                <c:pt idx="2621">
                  <c:v>35535</c:v>
                </c:pt>
                <c:pt idx="2622">
                  <c:v>23552</c:v>
                </c:pt>
                <c:pt idx="2623">
                  <c:v>33817</c:v>
                </c:pt>
                <c:pt idx="2624">
                  <c:v>30484</c:v>
                </c:pt>
                <c:pt idx="2625">
                  <c:v>40461</c:v>
                </c:pt>
                <c:pt idx="2626">
                  <c:v>46025</c:v>
                </c:pt>
                <c:pt idx="2627">
                  <c:v>25143</c:v>
                </c:pt>
                <c:pt idx="2628">
                  <c:v>32778</c:v>
                </c:pt>
                <c:pt idx="2629">
                  <c:v>15401</c:v>
                </c:pt>
                <c:pt idx="2630">
                  <c:v>30472</c:v>
                </c:pt>
                <c:pt idx="2631">
                  <c:v>50842</c:v>
                </c:pt>
                <c:pt idx="2632">
                  <c:v>19995</c:v>
                </c:pt>
                <c:pt idx="2633">
                  <c:v>36994</c:v>
                </c:pt>
                <c:pt idx="2634">
                  <c:v>37225</c:v>
                </c:pt>
                <c:pt idx="2635">
                  <c:v>20907</c:v>
                </c:pt>
                <c:pt idx="2636">
                  <c:v>13764</c:v>
                </c:pt>
                <c:pt idx="2637">
                  <c:v>42473</c:v>
                </c:pt>
                <c:pt idx="2638">
                  <c:v>37077</c:v>
                </c:pt>
                <c:pt idx="2639">
                  <c:v>46147</c:v>
                </c:pt>
                <c:pt idx="2640">
                  <c:v>27174</c:v>
                </c:pt>
                <c:pt idx="2641">
                  <c:v>34743</c:v>
                </c:pt>
                <c:pt idx="2642">
                  <c:v>5747</c:v>
                </c:pt>
                <c:pt idx="2643">
                  <c:v>20981</c:v>
                </c:pt>
                <c:pt idx="2644">
                  <c:v>24427</c:v>
                </c:pt>
                <c:pt idx="2645">
                  <c:v>34846</c:v>
                </c:pt>
                <c:pt idx="2646">
                  <c:v>11872</c:v>
                </c:pt>
                <c:pt idx="2647">
                  <c:v>18248</c:v>
                </c:pt>
                <c:pt idx="2648">
                  <c:v>16737</c:v>
                </c:pt>
                <c:pt idx="2649">
                  <c:v>8494</c:v>
                </c:pt>
                <c:pt idx="2650">
                  <c:v>14595</c:v>
                </c:pt>
                <c:pt idx="2651">
                  <c:v>8975</c:v>
                </c:pt>
                <c:pt idx="2652">
                  <c:v>3651</c:v>
                </c:pt>
                <c:pt idx="2653">
                  <c:v>18179</c:v>
                </c:pt>
                <c:pt idx="2654">
                  <c:v>20377</c:v>
                </c:pt>
                <c:pt idx="2655">
                  <c:v>6575</c:v>
                </c:pt>
                <c:pt idx="2656">
                  <c:v>18191</c:v>
                </c:pt>
                <c:pt idx="2657">
                  <c:v>56049</c:v>
                </c:pt>
                <c:pt idx="2658">
                  <c:v>13023</c:v>
                </c:pt>
                <c:pt idx="2659">
                  <c:v>9259</c:v>
                </c:pt>
                <c:pt idx="2660">
                  <c:v>32923</c:v>
                </c:pt>
                <c:pt idx="2661">
                  <c:v>50366</c:v>
                </c:pt>
                <c:pt idx="2662">
                  <c:v>23607</c:v>
                </c:pt>
                <c:pt idx="2663">
                  <c:v>38160</c:v>
                </c:pt>
                <c:pt idx="2664">
                  <c:v>43220</c:v>
                </c:pt>
                <c:pt idx="2665">
                  <c:v>18829</c:v>
                </c:pt>
                <c:pt idx="2666">
                  <c:v>19221</c:v>
                </c:pt>
                <c:pt idx="2667">
                  <c:v>55142</c:v>
                </c:pt>
                <c:pt idx="2668">
                  <c:v>10608</c:v>
                </c:pt>
                <c:pt idx="2669">
                  <c:v>20331</c:v>
                </c:pt>
                <c:pt idx="2670">
                  <c:v>21653</c:v>
                </c:pt>
                <c:pt idx="2671">
                  <c:v>12963</c:v>
                </c:pt>
                <c:pt idx="2672">
                  <c:v>10279</c:v>
                </c:pt>
                <c:pt idx="2673">
                  <c:v>12504</c:v>
                </c:pt>
                <c:pt idx="2674">
                  <c:v>14393</c:v>
                </c:pt>
                <c:pt idx="2675">
                  <c:v>18570</c:v>
                </c:pt>
                <c:pt idx="2676">
                  <c:v>24232</c:v>
                </c:pt>
                <c:pt idx="2677">
                  <c:v>24521</c:v>
                </c:pt>
                <c:pt idx="2678">
                  <c:v>19483</c:v>
                </c:pt>
                <c:pt idx="2679">
                  <c:v>16344</c:v>
                </c:pt>
                <c:pt idx="2680">
                  <c:v>14476</c:v>
                </c:pt>
                <c:pt idx="2681">
                  <c:v>10371</c:v>
                </c:pt>
                <c:pt idx="2682">
                  <c:v>11416</c:v>
                </c:pt>
                <c:pt idx="2683">
                  <c:v>10113</c:v>
                </c:pt>
                <c:pt idx="2684">
                  <c:v>14085</c:v>
                </c:pt>
                <c:pt idx="2685">
                  <c:v>28779</c:v>
                </c:pt>
                <c:pt idx="2686">
                  <c:v>16797</c:v>
                </c:pt>
                <c:pt idx="2687">
                  <c:v>29431</c:v>
                </c:pt>
                <c:pt idx="2688">
                  <c:v>28730</c:v>
                </c:pt>
                <c:pt idx="2689">
                  <c:v>10208</c:v>
                </c:pt>
                <c:pt idx="2690">
                  <c:v>12254</c:v>
                </c:pt>
                <c:pt idx="2691">
                  <c:v>3518</c:v>
                </c:pt>
                <c:pt idx="2692">
                  <c:v>803</c:v>
                </c:pt>
                <c:pt idx="2693">
                  <c:v>18655</c:v>
                </c:pt>
                <c:pt idx="2694">
                  <c:v>2646</c:v>
                </c:pt>
                <c:pt idx="2695">
                  <c:v>3656</c:v>
                </c:pt>
                <c:pt idx="2696">
                  <c:v>5075</c:v>
                </c:pt>
                <c:pt idx="2697">
                  <c:v>22474</c:v>
                </c:pt>
                <c:pt idx="2698">
                  <c:v>13340</c:v>
                </c:pt>
                <c:pt idx="2699">
                  <c:v>13525</c:v>
                </c:pt>
                <c:pt idx="2700">
                  <c:v>5592</c:v>
                </c:pt>
                <c:pt idx="2701">
                  <c:v>143</c:v>
                </c:pt>
                <c:pt idx="2702">
                  <c:v>778</c:v>
                </c:pt>
                <c:pt idx="2703">
                  <c:v>27854</c:v>
                </c:pt>
                <c:pt idx="2704">
                  <c:v>12451</c:v>
                </c:pt>
                <c:pt idx="2705">
                  <c:v>12861</c:v>
                </c:pt>
                <c:pt idx="2706">
                  <c:v>17651</c:v>
                </c:pt>
                <c:pt idx="2707">
                  <c:v>4014</c:v>
                </c:pt>
                <c:pt idx="2708">
                  <c:v>4187</c:v>
                </c:pt>
                <c:pt idx="2709">
                  <c:v>2800</c:v>
                </c:pt>
                <c:pt idx="2710">
                  <c:v>3264</c:v>
                </c:pt>
                <c:pt idx="2711">
                  <c:v>894</c:v>
                </c:pt>
                <c:pt idx="2712">
                  <c:v>22123</c:v>
                </c:pt>
                <c:pt idx="2713">
                  <c:v>11484</c:v>
                </c:pt>
                <c:pt idx="2714">
                  <c:v>5111</c:v>
                </c:pt>
                <c:pt idx="2715">
                  <c:v>17422</c:v>
                </c:pt>
                <c:pt idx="2716">
                  <c:v>564</c:v>
                </c:pt>
                <c:pt idx="2717">
                  <c:v>13900</c:v>
                </c:pt>
                <c:pt idx="2718">
                  <c:v>15170</c:v>
                </c:pt>
                <c:pt idx="2719">
                  <c:v>9370</c:v>
                </c:pt>
                <c:pt idx="2720">
                  <c:v>6649</c:v>
                </c:pt>
                <c:pt idx="2721">
                  <c:v>5631</c:v>
                </c:pt>
                <c:pt idx="2722">
                  <c:v>2228</c:v>
                </c:pt>
                <c:pt idx="2723">
                  <c:v>142</c:v>
                </c:pt>
                <c:pt idx="2724">
                  <c:v>23123</c:v>
                </c:pt>
                <c:pt idx="2725">
                  <c:v>11296</c:v>
                </c:pt>
                <c:pt idx="2726">
                  <c:v>24409</c:v>
                </c:pt>
                <c:pt idx="2727">
                  <c:v>4828</c:v>
                </c:pt>
                <c:pt idx="2728">
                  <c:v>6093</c:v>
                </c:pt>
                <c:pt idx="2729">
                  <c:v>26178</c:v>
                </c:pt>
                <c:pt idx="2730">
                  <c:v>9543</c:v>
                </c:pt>
                <c:pt idx="2731">
                  <c:v>5494</c:v>
                </c:pt>
                <c:pt idx="2732">
                  <c:v>9615</c:v>
                </c:pt>
                <c:pt idx="2733">
                  <c:v>1558</c:v>
                </c:pt>
                <c:pt idx="2734">
                  <c:v>14294</c:v>
                </c:pt>
                <c:pt idx="2735">
                  <c:v>8070</c:v>
                </c:pt>
                <c:pt idx="2736">
                  <c:v>8719</c:v>
                </c:pt>
                <c:pt idx="2737">
                  <c:v>21308</c:v>
                </c:pt>
                <c:pt idx="2738">
                  <c:v>4224</c:v>
                </c:pt>
                <c:pt idx="2739">
                  <c:v>33432</c:v>
                </c:pt>
                <c:pt idx="2740">
                  <c:v>3582</c:v>
                </c:pt>
                <c:pt idx="2741">
                  <c:v>18554</c:v>
                </c:pt>
                <c:pt idx="2742">
                  <c:v>4642</c:v>
                </c:pt>
                <c:pt idx="2743">
                  <c:v>11252</c:v>
                </c:pt>
                <c:pt idx="2744">
                  <c:v>1978</c:v>
                </c:pt>
                <c:pt idx="2745">
                  <c:v>5634</c:v>
                </c:pt>
                <c:pt idx="2746">
                  <c:v>33270</c:v>
                </c:pt>
                <c:pt idx="2747">
                  <c:v>1492</c:v>
                </c:pt>
                <c:pt idx="2748">
                  <c:v>1488</c:v>
                </c:pt>
                <c:pt idx="2749">
                  <c:v>14275</c:v>
                </c:pt>
                <c:pt idx="2750">
                  <c:v>3154</c:v>
                </c:pt>
                <c:pt idx="2751">
                  <c:v>18234</c:v>
                </c:pt>
                <c:pt idx="2752">
                  <c:v>1464</c:v>
                </c:pt>
                <c:pt idx="2753">
                  <c:v>14999</c:v>
                </c:pt>
                <c:pt idx="2754">
                  <c:v>10655</c:v>
                </c:pt>
                <c:pt idx="2755">
                  <c:v>15023</c:v>
                </c:pt>
                <c:pt idx="2756">
                  <c:v>14226</c:v>
                </c:pt>
                <c:pt idx="2757">
                  <c:v>6559</c:v>
                </c:pt>
                <c:pt idx="2758">
                  <c:v>16042</c:v>
                </c:pt>
                <c:pt idx="2759">
                  <c:v>1824</c:v>
                </c:pt>
                <c:pt idx="2760">
                  <c:v>8683</c:v>
                </c:pt>
                <c:pt idx="2761">
                  <c:v>17645</c:v>
                </c:pt>
                <c:pt idx="2762">
                  <c:v>10242</c:v>
                </c:pt>
                <c:pt idx="2763">
                  <c:v>4958</c:v>
                </c:pt>
                <c:pt idx="2764">
                  <c:v>14357</c:v>
                </c:pt>
                <c:pt idx="2765">
                  <c:v>6914</c:v>
                </c:pt>
                <c:pt idx="2766">
                  <c:v>21900</c:v>
                </c:pt>
                <c:pt idx="2767">
                  <c:v>34723</c:v>
                </c:pt>
                <c:pt idx="2768">
                  <c:v>9380</c:v>
                </c:pt>
                <c:pt idx="2769">
                  <c:v>2007</c:v>
                </c:pt>
                <c:pt idx="2770">
                  <c:v>7517</c:v>
                </c:pt>
                <c:pt idx="2771">
                  <c:v>5121</c:v>
                </c:pt>
                <c:pt idx="2772">
                  <c:v>5774</c:v>
                </c:pt>
                <c:pt idx="2773">
                  <c:v>8902</c:v>
                </c:pt>
                <c:pt idx="2774">
                  <c:v>5541</c:v>
                </c:pt>
                <c:pt idx="2775">
                  <c:v>23686</c:v>
                </c:pt>
                <c:pt idx="2776">
                  <c:v>23477</c:v>
                </c:pt>
                <c:pt idx="2777">
                  <c:v>27940</c:v>
                </c:pt>
                <c:pt idx="2778">
                  <c:v>11131</c:v>
                </c:pt>
                <c:pt idx="2779">
                  <c:v>14080</c:v>
                </c:pt>
                <c:pt idx="2780">
                  <c:v>5132</c:v>
                </c:pt>
                <c:pt idx="2781">
                  <c:v>5000</c:v>
                </c:pt>
                <c:pt idx="2782">
                  <c:v>7119</c:v>
                </c:pt>
                <c:pt idx="2783">
                  <c:v>10540</c:v>
                </c:pt>
                <c:pt idx="2784">
                  <c:v>4844</c:v>
                </c:pt>
                <c:pt idx="2785">
                  <c:v>78</c:v>
                </c:pt>
                <c:pt idx="2786">
                  <c:v>5041</c:v>
                </c:pt>
                <c:pt idx="2787">
                  <c:v>24298</c:v>
                </c:pt>
                <c:pt idx="2788">
                  <c:v>12005</c:v>
                </c:pt>
                <c:pt idx="2789">
                  <c:v>4495</c:v>
                </c:pt>
                <c:pt idx="2790">
                  <c:v>6491</c:v>
                </c:pt>
                <c:pt idx="2791">
                  <c:v>19937</c:v>
                </c:pt>
                <c:pt idx="2792">
                  <c:v>7833</c:v>
                </c:pt>
                <c:pt idx="2793">
                  <c:v>7528</c:v>
                </c:pt>
                <c:pt idx="2794">
                  <c:v>11427</c:v>
                </c:pt>
                <c:pt idx="2795">
                  <c:v>12680</c:v>
                </c:pt>
                <c:pt idx="2796">
                  <c:v>3081</c:v>
                </c:pt>
                <c:pt idx="2797">
                  <c:v>17363</c:v>
                </c:pt>
                <c:pt idx="2798">
                  <c:v>8522</c:v>
                </c:pt>
                <c:pt idx="2799">
                  <c:v>3830</c:v>
                </c:pt>
                <c:pt idx="2800">
                  <c:v>7975</c:v>
                </c:pt>
                <c:pt idx="2801">
                  <c:v>11819</c:v>
                </c:pt>
                <c:pt idx="2802">
                  <c:v>4844</c:v>
                </c:pt>
                <c:pt idx="2803">
                  <c:v>16175</c:v>
                </c:pt>
                <c:pt idx="2804">
                  <c:v>13862</c:v>
                </c:pt>
                <c:pt idx="2805">
                  <c:v>1983</c:v>
                </c:pt>
                <c:pt idx="2806">
                  <c:v>3682</c:v>
                </c:pt>
                <c:pt idx="2807">
                  <c:v>8515</c:v>
                </c:pt>
                <c:pt idx="2808">
                  <c:v>21253</c:v>
                </c:pt>
                <c:pt idx="2809">
                  <c:v>14934</c:v>
                </c:pt>
                <c:pt idx="2810">
                  <c:v>2271</c:v>
                </c:pt>
                <c:pt idx="2811">
                  <c:v>14034</c:v>
                </c:pt>
                <c:pt idx="2812">
                  <c:v>376</c:v>
                </c:pt>
                <c:pt idx="2813">
                  <c:v>452</c:v>
                </c:pt>
                <c:pt idx="2814">
                  <c:v>2957</c:v>
                </c:pt>
                <c:pt idx="2815">
                  <c:v>3957</c:v>
                </c:pt>
                <c:pt idx="2816">
                  <c:v>1368</c:v>
                </c:pt>
                <c:pt idx="2817">
                  <c:v>10734</c:v>
                </c:pt>
                <c:pt idx="2818">
                  <c:v>543</c:v>
                </c:pt>
                <c:pt idx="2819">
                  <c:v>2482</c:v>
                </c:pt>
                <c:pt idx="2820">
                  <c:v>1149</c:v>
                </c:pt>
                <c:pt idx="2821">
                  <c:v>2658</c:v>
                </c:pt>
                <c:pt idx="2822">
                  <c:v>2128</c:v>
                </c:pt>
                <c:pt idx="2823">
                  <c:v>8349</c:v>
                </c:pt>
                <c:pt idx="2824">
                  <c:v>6395</c:v>
                </c:pt>
                <c:pt idx="2825">
                  <c:v>7799</c:v>
                </c:pt>
                <c:pt idx="2826">
                  <c:v>6361</c:v>
                </c:pt>
                <c:pt idx="2827">
                  <c:v>2266</c:v>
                </c:pt>
                <c:pt idx="2828">
                  <c:v>7046</c:v>
                </c:pt>
                <c:pt idx="2829">
                  <c:v>2043</c:v>
                </c:pt>
                <c:pt idx="2830">
                  <c:v>1136</c:v>
                </c:pt>
                <c:pt idx="2831">
                  <c:v>120</c:v>
                </c:pt>
                <c:pt idx="2832">
                  <c:v>399</c:v>
                </c:pt>
                <c:pt idx="2833">
                  <c:v>244</c:v>
                </c:pt>
                <c:pt idx="2834">
                  <c:v>226</c:v>
                </c:pt>
                <c:pt idx="2835">
                  <c:v>456</c:v>
                </c:pt>
                <c:pt idx="2836">
                  <c:v>5722</c:v>
                </c:pt>
                <c:pt idx="2837">
                  <c:v>4165</c:v>
                </c:pt>
                <c:pt idx="2838">
                  <c:v>1382</c:v>
                </c:pt>
                <c:pt idx="2839">
                  <c:v>12836</c:v>
                </c:pt>
                <c:pt idx="2840">
                  <c:v>6672</c:v>
                </c:pt>
                <c:pt idx="2841">
                  <c:v>2712</c:v>
                </c:pt>
                <c:pt idx="2842">
                  <c:v>271</c:v>
                </c:pt>
                <c:pt idx="2843">
                  <c:v>1014</c:v>
                </c:pt>
                <c:pt idx="2844">
                  <c:v>1347</c:v>
                </c:pt>
                <c:pt idx="2845">
                  <c:v>1776</c:v>
                </c:pt>
                <c:pt idx="2846">
                  <c:v>2901</c:v>
                </c:pt>
                <c:pt idx="2847">
                  <c:v>263</c:v>
                </c:pt>
                <c:pt idx="2848">
                  <c:v>4184</c:v>
                </c:pt>
                <c:pt idx="2849">
                  <c:v>11803</c:v>
                </c:pt>
                <c:pt idx="2850">
                  <c:v>1743</c:v>
                </c:pt>
                <c:pt idx="2851">
                  <c:v>259</c:v>
                </c:pt>
                <c:pt idx="2852">
                  <c:v>3857</c:v>
                </c:pt>
                <c:pt idx="2853">
                  <c:v>7637</c:v>
                </c:pt>
                <c:pt idx="2854">
                  <c:v>17816</c:v>
                </c:pt>
                <c:pt idx="2855">
                  <c:v>458</c:v>
                </c:pt>
                <c:pt idx="2856">
                  <c:v>1156</c:v>
                </c:pt>
                <c:pt idx="2857">
                  <c:v>2578</c:v>
                </c:pt>
                <c:pt idx="2858">
                  <c:v>2052</c:v>
                </c:pt>
                <c:pt idx="2859">
                  <c:v>335</c:v>
                </c:pt>
                <c:pt idx="2860">
                  <c:v>426</c:v>
                </c:pt>
                <c:pt idx="2861">
                  <c:v>464</c:v>
                </c:pt>
                <c:pt idx="2862">
                  <c:v>82</c:v>
                </c:pt>
                <c:pt idx="2863">
                  <c:v>277</c:v>
                </c:pt>
                <c:pt idx="2864">
                  <c:v>3879</c:v>
                </c:pt>
                <c:pt idx="2865">
                  <c:v>172</c:v>
                </c:pt>
                <c:pt idx="2866">
                  <c:v>74</c:v>
                </c:pt>
                <c:pt idx="2867">
                  <c:v>2183</c:v>
                </c:pt>
                <c:pt idx="2868">
                  <c:v>450</c:v>
                </c:pt>
                <c:pt idx="2869">
                  <c:v>184</c:v>
                </c:pt>
                <c:pt idx="2870">
                  <c:v>3344</c:v>
                </c:pt>
                <c:pt idx="2871">
                  <c:v>288</c:v>
                </c:pt>
                <c:pt idx="2872">
                  <c:v>221</c:v>
                </c:pt>
                <c:pt idx="2873">
                  <c:v>10856</c:v>
                </c:pt>
                <c:pt idx="2874">
                  <c:v>1376</c:v>
                </c:pt>
                <c:pt idx="2875">
                  <c:v>1130</c:v>
                </c:pt>
                <c:pt idx="2876">
                  <c:v>1887</c:v>
                </c:pt>
                <c:pt idx="2877">
                  <c:v>8728</c:v>
                </c:pt>
                <c:pt idx="2878">
                  <c:v>1166</c:v>
                </c:pt>
                <c:pt idx="2879">
                  <c:v>1203</c:v>
                </c:pt>
                <c:pt idx="2880">
                  <c:v>393</c:v>
                </c:pt>
                <c:pt idx="2881">
                  <c:v>820</c:v>
                </c:pt>
                <c:pt idx="2882">
                  <c:v>891</c:v>
                </c:pt>
                <c:pt idx="2883">
                  <c:v>5205</c:v>
                </c:pt>
                <c:pt idx="2884">
                  <c:v>976</c:v>
                </c:pt>
                <c:pt idx="2885">
                  <c:v>171</c:v>
                </c:pt>
                <c:pt idx="2886">
                  <c:v>24264</c:v>
                </c:pt>
                <c:pt idx="2887">
                  <c:v>834</c:v>
                </c:pt>
                <c:pt idx="2888">
                  <c:v>743</c:v>
                </c:pt>
                <c:pt idx="2889">
                  <c:v>1153</c:v>
                </c:pt>
                <c:pt idx="2890">
                  <c:v>217</c:v>
                </c:pt>
                <c:pt idx="2891">
                  <c:v>1030</c:v>
                </c:pt>
                <c:pt idx="2892">
                  <c:v>83</c:v>
                </c:pt>
                <c:pt idx="2893">
                  <c:v>1273</c:v>
                </c:pt>
                <c:pt idx="2894">
                  <c:v>1500</c:v>
                </c:pt>
                <c:pt idx="2895">
                  <c:v>1081</c:v>
                </c:pt>
                <c:pt idx="2896">
                  <c:v>512</c:v>
                </c:pt>
                <c:pt idx="2897">
                  <c:v>3341</c:v>
                </c:pt>
                <c:pt idx="2898">
                  <c:v>9734</c:v>
                </c:pt>
                <c:pt idx="2899">
                  <c:v>2008</c:v>
                </c:pt>
                <c:pt idx="2900">
                  <c:v>2739</c:v>
                </c:pt>
                <c:pt idx="2901">
                  <c:v>705</c:v>
                </c:pt>
                <c:pt idx="2902">
                  <c:v>589</c:v>
                </c:pt>
                <c:pt idx="2903">
                  <c:v>2168</c:v>
                </c:pt>
                <c:pt idx="2904">
                  <c:v>733</c:v>
                </c:pt>
                <c:pt idx="2905">
                  <c:v>611</c:v>
                </c:pt>
                <c:pt idx="2906">
                  <c:v>1173</c:v>
                </c:pt>
                <c:pt idx="2907">
                  <c:v>6114</c:v>
                </c:pt>
                <c:pt idx="2908">
                  <c:v>1034</c:v>
                </c:pt>
                <c:pt idx="2909">
                  <c:v>197</c:v>
                </c:pt>
                <c:pt idx="2910">
                  <c:v>10573</c:v>
                </c:pt>
                <c:pt idx="2911">
                  <c:v>101</c:v>
                </c:pt>
                <c:pt idx="2912">
                  <c:v>678</c:v>
                </c:pt>
                <c:pt idx="2913">
                  <c:v>1323</c:v>
                </c:pt>
                <c:pt idx="2914">
                  <c:v>8401</c:v>
                </c:pt>
                <c:pt idx="2915">
                  <c:v>293</c:v>
                </c:pt>
                <c:pt idx="2916">
                  <c:v>1236</c:v>
                </c:pt>
                <c:pt idx="2917">
                  <c:v>1688</c:v>
                </c:pt>
                <c:pt idx="2918">
                  <c:v>2473</c:v>
                </c:pt>
                <c:pt idx="2919">
                  <c:v>598</c:v>
                </c:pt>
                <c:pt idx="2920">
                  <c:v>172</c:v>
                </c:pt>
                <c:pt idx="2921">
                  <c:v>55</c:v>
                </c:pt>
                <c:pt idx="2922">
                  <c:v>1779</c:v>
                </c:pt>
                <c:pt idx="2923">
                  <c:v>160</c:v>
                </c:pt>
                <c:pt idx="2924">
                  <c:v>383</c:v>
                </c:pt>
                <c:pt idx="2925">
                  <c:v>1153</c:v>
                </c:pt>
                <c:pt idx="2926">
                  <c:v>1343</c:v>
                </c:pt>
                <c:pt idx="2927">
                  <c:v>81</c:v>
                </c:pt>
                <c:pt idx="2928">
                  <c:v>865</c:v>
                </c:pt>
                <c:pt idx="2929">
                  <c:v>3161</c:v>
                </c:pt>
                <c:pt idx="2930">
                  <c:v>11444</c:v>
                </c:pt>
                <c:pt idx="2931">
                  <c:v>182</c:v>
                </c:pt>
                <c:pt idx="2932">
                  <c:v>2169</c:v>
                </c:pt>
                <c:pt idx="2933">
                  <c:v>1073</c:v>
                </c:pt>
                <c:pt idx="2934">
                  <c:v>306</c:v>
                </c:pt>
                <c:pt idx="2935">
                  <c:v>440</c:v>
                </c:pt>
                <c:pt idx="2936">
                  <c:v>322</c:v>
                </c:pt>
                <c:pt idx="2937">
                  <c:v>1476</c:v>
                </c:pt>
                <c:pt idx="2938">
                  <c:v>701</c:v>
                </c:pt>
                <c:pt idx="2939">
                  <c:v>430</c:v>
                </c:pt>
                <c:pt idx="2940">
                  <c:v>2018</c:v>
                </c:pt>
                <c:pt idx="2941">
                  <c:v>3462</c:v>
                </c:pt>
                <c:pt idx="2942">
                  <c:v>3941</c:v>
                </c:pt>
                <c:pt idx="2943">
                  <c:v>333</c:v>
                </c:pt>
                <c:pt idx="2944">
                  <c:v>197</c:v>
                </c:pt>
                <c:pt idx="2945">
                  <c:v>63</c:v>
                </c:pt>
                <c:pt idx="2946">
                  <c:v>664</c:v>
                </c:pt>
                <c:pt idx="2947">
                  <c:v>961</c:v>
                </c:pt>
                <c:pt idx="2948">
                  <c:v>811</c:v>
                </c:pt>
                <c:pt idx="2949">
                  <c:v>2766</c:v>
                </c:pt>
                <c:pt idx="2950">
                  <c:v>1005</c:v>
                </c:pt>
                <c:pt idx="2951">
                  <c:v>205</c:v>
                </c:pt>
                <c:pt idx="2952">
                  <c:v>296</c:v>
                </c:pt>
                <c:pt idx="2953">
                  <c:v>223</c:v>
                </c:pt>
                <c:pt idx="2954">
                  <c:v>269</c:v>
                </c:pt>
                <c:pt idx="2955">
                  <c:v>25650</c:v>
                </c:pt>
                <c:pt idx="2956">
                  <c:v>6399</c:v>
                </c:pt>
                <c:pt idx="2957">
                  <c:v>1238</c:v>
                </c:pt>
                <c:pt idx="2958">
                  <c:v>3298</c:v>
                </c:pt>
                <c:pt idx="2959">
                  <c:v>930</c:v>
                </c:pt>
                <c:pt idx="2960">
                  <c:v>3363</c:v>
                </c:pt>
                <c:pt idx="2961">
                  <c:v>211</c:v>
                </c:pt>
                <c:pt idx="2962">
                  <c:v>6368</c:v>
                </c:pt>
                <c:pt idx="2963">
                  <c:v>9525</c:v>
                </c:pt>
                <c:pt idx="2964">
                  <c:v>189</c:v>
                </c:pt>
                <c:pt idx="2965">
                  <c:v>1005</c:v>
                </c:pt>
                <c:pt idx="2966">
                  <c:v>805</c:v>
                </c:pt>
                <c:pt idx="2967">
                  <c:v>67</c:v>
                </c:pt>
                <c:pt idx="2968">
                  <c:v>1798</c:v>
                </c:pt>
                <c:pt idx="2969">
                  <c:v>1078</c:v>
                </c:pt>
                <c:pt idx="2970">
                  <c:v>3571</c:v>
                </c:pt>
                <c:pt idx="2971">
                  <c:v>4256</c:v>
                </c:pt>
                <c:pt idx="2972">
                  <c:v>16857</c:v>
                </c:pt>
                <c:pt idx="2973">
                  <c:v>4113</c:v>
                </c:pt>
                <c:pt idx="2974">
                  <c:v>13467</c:v>
                </c:pt>
                <c:pt idx="2975">
                  <c:v>6423</c:v>
                </c:pt>
                <c:pt idx="2976">
                  <c:v>941</c:v>
                </c:pt>
                <c:pt idx="2977">
                  <c:v>11465</c:v>
                </c:pt>
                <c:pt idx="2978">
                  <c:v>5531</c:v>
                </c:pt>
                <c:pt idx="2979">
                  <c:v>6186</c:v>
                </c:pt>
                <c:pt idx="2980">
                  <c:v>6578</c:v>
                </c:pt>
                <c:pt idx="2981">
                  <c:v>13155</c:v>
                </c:pt>
                <c:pt idx="2982">
                  <c:v>14017</c:v>
                </c:pt>
                <c:pt idx="2983">
                  <c:v>8849</c:v>
                </c:pt>
                <c:pt idx="2984">
                  <c:v>3431</c:v>
                </c:pt>
                <c:pt idx="2985">
                  <c:v>13338</c:v>
                </c:pt>
                <c:pt idx="2986">
                  <c:v>2754</c:v>
                </c:pt>
                <c:pt idx="2987">
                  <c:v>6474</c:v>
                </c:pt>
                <c:pt idx="2988">
                  <c:v>16321</c:v>
                </c:pt>
                <c:pt idx="2989">
                  <c:v>17152</c:v>
                </c:pt>
                <c:pt idx="2990">
                  <c:v>1695</c:v>
                </c:pt>
                <c:pt idx="2991">
                  <c:v>336</c:v>
                </c:pt>
                <c:pt idx="2992">
                  <c:v>329</c:v>
                </c:pt>
                <c:pt idx="2993">
                  <c:v>70</c:v>
                </c:pt>
                <c:pt idx="2994">
                  <c:v>501</c:v>
                </c:pt>
                <c:pt idx="2995">
                  <c:v>140</c:v>
                </c:pt>
                <c:pt idx="2996">
                  <c:v>211</c:v>
                </c:pt>
                <c:pt idx="2997">
                  <c:v>1707</c:v>
                </c:pt>
                <c:pt idx="2998">
                  <c:v>4475</c:v>
                </c:pt>
                <c:pt idx="2999">
                  <c:v>626</c:v>
                </c:pt>
                <c:pt idx="3000">
                  <c:v>154</c:v>
                </c:pt>
                <c:pt idx="3001">
                  <c:v>304</c:v>
                </c:pt>
                <c:pt idx="3002">
                  <c:v>128</c:v>
                </c:pt>
                <c:pt idx="3003">
                  <c:v>262</c:v>
                </c:pt>
                <c:pt idx="3004">
                  <c:v>481</c:v>
                </c:pt>
                <c:pt idx="3005">
                  <c:v>115</c:v>
                </c:pt>
                <c:pt idx="3006">
                  <c:v>471</c:v>
                </c:pt>
                <c:pt idx="3007">
                  <c:v>2639</c:v>
                </c:pt>
                <c:pt idx="3008">
                  <c:v>622</c:v>
                </c:pt>
                <c:pt idx="3009">
                  <c:v>803</c:v>
                </c:pt>
                <c:pt idx="3010">
                  <c:v>149</c:v>
                </c:pt>
                <c:pt idx="3011">
                  <c:v>241</c:v>
                </c:pt>
                <c:pt idx="3012">
                  <c:v>147</c:v>
                </c:pt>
                <c:pt idx="3013">
                  <c:v>825</c:v>
                </c:pt>
                <c:pt idx="3014">
                  <c:v>258</c:v>
                </c:pt>
                <c:pt idx="3015">
                  <c:v>2099</c:v>
                </c:pt>
                <c:pt idx="3016">
                  <c:v>239</c:v>
                </c:pt>
                <c:pt idx="3017">
                  <c:v>2625</c:v>
                </c:pt>
                <c:pt idx="3018">
                  <c:v>1325</c:v>
                </c:pt>
                <c:pt idx="3019">
                  <c:v>789</c:v>
                </c:pt>
                <c:pt idx="3020">
                  <c:v>166</c:v>
                </c:pt>
                <c:pt idx="3021">
                  <c:v>714</c:v>
                </c:pt>
                <c:pt idx="3022">
                  <c:v>377</c:v>
                </c:pt>
                <c:pt idx="3023">
                  <c:v>933</c:v>
                </c:pt>
                <c:pt idx="3024">
                  <c:v>84</c:v>
                </c:pt>
                <c:pt idx="3025">
                  <c:v>87</c:v>
                </c:pt>
                <c:pt idx="3026">
                  <c:v>646</c:v>
                </c:pt>
                <c:pt idx="3027">
                  <c:v>532</c:v>
                </c:pt>
                <c:pt idx="3028">
                  <c:v>503</c:v>
                </c:pt>
                <c:pt idx="3029">
                  <c:v>923</c:v>
                </c:pt>
                <c:pt idx="3030">
                  <c:v>607</c:v>
                </c:pt>
                <c:pt idx="3031">
                  <c:v>406</c:v>
                </c:pt>
                <c:pt idx="3032">
                  <c:v>417</c:v>
                </c:pt>
                <c:pt idx="3033">
                  <c:v>790</c:v>
                </c:pt>
                <c:pt idx="3034">
                  <c:v>287</c:v>
                </c:pt>
                <c:pt idx="3035">
                  <c:v>562</c:v>
                </c:pt>
                <c:pt idx="3036">
                  <c:v>197</c:v>
                </c:pt>
                <c:pt idx="3037">
                  <c:v>8798</c:v>
                </c:pt>
                <c:pt idx="3038">
                  <c:v>143</c:v>
                </c:pt>
                <c:pt idx="3039">
                  <c:v>634</c:v>
                </c:pt>
                <c:pt idx="3040">
                  <c:v>303</c:v>
                </c:pt>
                <c:pt idx="3041">
                  <c:v>1416</c:v>
                </c:pt>
                <c:pt idx="3042">
                  <c:v>446</c:v>
                </c:pt>
                <c:pt idx="3043">
                  <c:v>1131</c:v>
                </c:pt>
                <c:pt idx="3044">
                  <c:v>2307</c:v>
                </c:pt>
                <c:pt idx="3045">
                  <c:v>790</c:v>
                </c:pt>
                <c:pt idx="3046">
                  <c:v>428</c:v>
                </c:pt>
                <c:pt idx="3047">
                  <c:v>502</c:v>
                </c:pt>
                <c:pt idx="3048">
                  <c:v>1689</c:v>
                </c:pt>
                <c:pt idx="3049">
                  <c:v>1048</c:v>
                </c:pt>
                <c:pt idx="3050">
                  <c:v>618</c:v>
                </c:pt>
                <c:pt idx="3051">
                  <c:v>301</c:v>
                </c:pt>
                <c:pt idx="3052">
                  <c:v>132</c:v>
                </c:pt>
                <c:pt idx="3053">
                  <c:v>9162</c:v>
                </c:pt>
                <c:pt idx="3054">
                  <c:v>173</c:v>
                </c:pt>
                <c:pt idx="3055">
                  <c:v>1552</c:v>
                </c:pt>
                <c:pt idx="3056">
                  <c:v>863</c:v>
                </c:pt>
                <c:pt idx="3057">
                  <c:v>978</c:v>
                </c:pt>
                <c:pt idx="3058">
                  <c:v>197</c:v>
                </c:pt>
                <c:pt idx="3059">
                  <c:v>3171</c:v>
                </c:pt>
                <c:pt idx="3060">
                  <c:v>1678</c:v>
                </c:pt>
                <c:pt idx="3061">
                  <c:v>685</c:v>
                </c:pt>
                <c:pt idx="3062">
                  <c:v>2433</c:v>
                </c:pt>
                <c:pt idx="3063">
                  <c:v>853</c:v>
                </c:pt>
                <c:pt idx="3064">
                  <c:v>6924</c:v>
                </c:pt>
                <c:pt idx="3065">
                  <c:v>843</c:v>
                </c:pt>
                <c:pt idx="3066">
                  <c:v>1580</c:v>
                </c:pt>
                <c:pt idx="3067">
                  <c:v>6742</c:v>
                </c:pt>
                <c:pt idx="3068">
                  <c:v>956</c:v>
                </c:pt>
                <c:pt idx="3069">
                  <c:v>1052</c:v>
                </c:pt>
                <c:pt idx="3070">
                  <c:v>12812</c:v>
                </c:pt>
                <c:pt idx="3071">
                  <c:v>8576</c:v>
                </c:pt>
                <c:pt idx="3072">
                  <c:v>6465</c:v>
                </c:pt>
                <c:pt idx="3073">
                  <c:v>4563</c:v>
                </c:pt>
                <c:pt idx="3074">
                  <c:v>3135</c:v>
                </c:pt>
                <c:pt idx="3075">
                  <c:v>1693</c:v>
                </c:pt>
                <c:pt idx="3076">
                  <c:v>2017</c:v>
                </c:pt>
                <c:pt idx="3077">
                  <c:v>1278</c:v>
                </c:pt>
                <c:pt idx="3078">
                  <c:v>1669</c:v>
                </c:pt>
                <c:pt idx="3079">
                  <c:v>574</c:v>
                </c:pt>
                <c:pt idx="3080">
                  <c:v>5343</c:v>
                </c:pt>
                <c:pt idx="3081">
                  <c:v>25854</c:v>
                </c:pt>
                <c:pt idx="3082">
                  <c:v>13366</c:v>
                </c:pt>
                <c:pt idx="3083">
                  <c:v>8482</c:v>
                </c:pt>
                <c:pt idx="3084">
                  <c:v>3285</c:v>
                </c:pt>
                <c:pt idx="3085">
                  <c:v>3957</c:v>
                </c:pt>
                <c:pt idx="3086">
                  <c:v>536</c:v>
                </c:pt>
                <c:pt idx="3087">
                  <c:v>6729</c:v>
                </c:pt>
                <c:pt idx="3088">
                  <c:v>1259</c:v>
                </c:pt>
                <c:pt idx="3089">
                  <c:v>5571</c:v>
                </c:pt>
                <c:pt idx="3090">
                  <c:v>3331</c:v>
                </c:pt>
                <c:pt idx="3091">
                  <c:v>102</c:v>
                </c:pt>
                <c:pt idx="3092">
                  <c:v>4764</c:v>
                </c:pt>
                <c:pt idx="3093">
                  <c:v>3754</c:v>
                </c:pt>
                <c:pt idx="3094">
                  <c:v>199</c:v>
                </c:pt>
                <c:pt idx="3095">
                  <c:v>1239</c:v>
                </c:pt>
                <c:pt idx="3096">
                  <c:v>733</c:v>
                </c:pt>
                <c:pt idx="3097">
                  <c:v>1001</c:v>
                </c:pt>
                <c:pt idx="3098">
                  <c:v>2043</c:v>
                </c:pt>
                <c:pt idx="3099">
                  <c:v>1185</c:v>
                </c:pt>
                <c:pt idx="3100">
                  <c:v>2115</c:v>
                </c:pt>
                <c:pt idx="3101">
                  <c:v>944</c:v>
                </c:pt>
                <c:pt idx="3102">
                  <c:v>533</c:v>
                </c:pt>
                <c:pt idx="3103">
                  <c:v>5506</c:v>
                </c:pt>
                <c:pt idx="3104">
                  <c:v>8043</c:v>
                </c:pt>
                <c:pt idx="3105">
                  <c:v>19663</c:v>
                </c:pt>
                <c:pt idx="3106">
                  <c:v>568</c:v>
                </c:pt>
                <c:pt idx="3107">
                  <c:v>2011</c:v>
                </c:pt>
                <c:pt idx="3108">
                  <c:v>20599</c:v>
                </c:pt>
                <c:pt idx="3109">
                  <c:v>21118</c:v>
                </c:pt>
                <c:pt idx="3110">
                  <c:v>5244</c:v>
                </c:pt>
                <c:pt idx="3111">
                  <c:v>563</c:v>
                </c:pt>
                <c:pt idx="3112">
                  <c:v>3397</c:v>
                </c:pt>
                <c:pt idx="3113">
                  <c:v>691</c:v>
                </c:pt>
                <c:pt idx="3114">
                  <c:v>72</c:v>
                </c:pt>
                <c:pt idx="3115">
                  <c:v>563</c:v>
                </c:pt>
                <c:pt idx="3116">
                  <c:v>471</c:v>
                </c:pt>
                <c:pt idx="3117">
                  <c:v>312</c:v>
                </c:pt>
                <c:pt idx="3118">
                  <c:v>544</c:v>
                </c:pt>
                <c:pt idx="3119">
                  <c:v>872</c:v>
                </c:pt>
                <c:pt idx="3120">
                  <c:v>864</c:v>
                </c:pt>
                <c:pt idx="3121">
                  <c:v>132</c:v>
                </c:pt>
                <c:pt idx="3122">
                  <c:v>352</c:v>
                </c:pt>
                <c:pt idx="3123">
                  <c:v>763</c:v>
                </c:pt>
                <c:pt idx="3124">
                  <c:v>913</c:v>
                </c:pt>
                <c:pt idx="3125">
                  <c:v>258</c:v>
                </c:pt>
                <c:pt idx="3126">
                  <c:v>532</c:v>
                </c:pt>
                <c:pt idx="3127">
                  <c:v>169</c:v>
                </c:pt>
                <c:pt idx="3128">
                  <c:v>2651</c:v>
                </c:pt>
                <c:pt idx="3129">
                  <c:v>1618</c:v>
                </c:pt>
                <c:pt idx="3130">
                  <c:v>666</c:v>
                </c:pt>
                <c:pt idx="3131">
                  <c:v>155</c:v>
                </c:pt>
                <c:pt idx="3132">
                  <c:v>277</c:v>
                </c:pt>
                <c:pt idx="3133">
                  <c:v>753</c:v>
                </c:pt>
                <c:pt idx="3134">
                  <c:v>419</c:v>
                </c:pt>
                <c:pt idx="3135">
                  <c:v>213</c:v>
                </c:pt>
                <c:pt idx="3136">
                  <c:v>95</c:v>
                </c:pt>
                <c:pt idx="3137">
                  <c:v>125</c:v>
                </c:pt>
                <c:pt idx="3138">
                  <c:v>103</c:v>
                </c:pt>
                <c:pt idx="3139">
                  <c:v>6299</c:v>
                </c:pt>
                <c:pt idx="3140">
                  <c:v>939</c:v>
                </c:pt>
                <c:pt idx="3141">
                  <c:v>834</c:v>
                </c:pt>
                <c:pt idx="3142">
                  <c:v>528</c:v>
                </c:pt>
                <c:pt idx="3143">
                  <c:v>594</c:v>
                </c:pt>
                <c:pt idx="3144">
                  <c:v>846</c:v>
                </c:pt>
                <c:pt idx="3145">
                  <c:v>522</c:v>
                </c:pt>
                <c:pt idx="3146">
                  <c:v>573</c:v>
                </c:pt>
                <c:pt idx="3147">
                  <c:v>182</c:v>
                </c:pt>
                <c:pt idx="3148">
                  <c:v>953</c:v>
                </c:pt>
                <c:pt idx="3149">
                  <c:v>835</c:v>
                </c:pt>
                <c:pt idx="3150">
                  <c:v>1989</c:v>
                </c:pt>
                <c:pt idx="3151">
                  <c:v>192</c:v>
                </c:pt>
                <c:pt idx="3152">
                  <c:v>65</c:v>
                </c:pt>
                <c:pt idx="3153">
                  <c:v>7392</c:v>
                </c:pt>
                <c:pt idx="3154">
                  <c:v>3992</c:v>
                </c:pt>
                <c:pt idx="3155">
                  <c:v>13735</c:v>
                </c:pt>
                <c:pt idx="3156">
                  <c:v>97</c:v>
                </c:pt>
                <c:pt idx="3157">
                  <c:v>1590</c:v>
                </c:pt>
                <c:pt idx="3158">
                  <c:v>290</c:v>
                </c:pt>
                <c:pt idx="3159">
                  <c:v>39</c:v>
                </c:pt>
                <c:pt idx="3160">
                  <c:v>296</c:v>
                </c:pt>
                <c:pt idx="3161">
                  <c:v>697</c:v>
                </c:pt>
                <c:pt idx="3162">
                  <c:v>541</c:v>
                </c:pt>
                <c:pt idx="3163">
                  <c:v>2030</c:v>
                </c:pt>
                <c:pt idx="3164">
                  <c:v>934</c:v>
                </c:pt>
                <c:pt idx="3165">
                  <c:v>163</c:v>
                </c:pt>
                <c:pt idx="3166">
                  <c:v>2722</c:v>
                </c:pt>
                <c:pt idx="3167">
                  <c:v>299</c:v>
                </c:pt>
                <c:pt idx="3168">
                  <c:v>518</c:v>
                </c:pt>
                <c:pt idx="3169">
                  <c:v>1604</c:v>
                </c:pt>
                <c:pt idx="3170">
                  <c:v>5378</c:v>
                </c:pt>
                <c:pt idx="3171">
                  <c:v>1549</c:v>
                </c:pt>
                <c:pt idx="3172">
                  <c:v>9052</c:v>
                </c:pt>
                <c:pt idx="3173">
                  <c:v>2598</c:v>
                </c:pt>
                <c:pt idx="3174">
                  <c:v>2594</c:v>
                </c:pt>
                <c:pt idx="3175">
                  <c:v>3181</c:v>
                </c:pt>
                <c:pt idx="3176">
                  <c:v>1173</c:v>
                </c:pt>
                <c:pt idx="3177">
                  <c:v>192</c:v>
                </c:pt>
                <c:pt idx="3178">
                  <c:v>533</c:v>
                </c:pt>
                <c:pt idx="3179">
                  <c:v>281</c:v>
                </c:pt>
                <c:pt idx="3180">
                  <c:v>7072</c:v>
                </c:pt>
                <c:pt idx="3181">
                  <c:v>37</c:v>
                </c:pt>
                <c:pt idx="3182">
                  <c:v>317</c:v>
                </c:pt>
                <c:pt idx="3183">
                  <c:v>303</c:v>
                </c:pt>
                <c:pt idx="3184">
                  <c:v>89</c:v>
                </c:pt>
                <c:pt idx="3185">
                  <c:v>2161</c:v>
                </c:pt>
                <c:pt idx="3186">
                  <c:v>1604</c:v>
                </c:pt>
                <c:pt idx="3187">
                  <c:v>163</c:v>
                </c:pt>
                <c:pt idx="3188">
                  <c:v>1225</c:v>
                </c:pt>
                <c:pt idx="3189">
                  <c:v>183</c:v>
                </c:pt>
                <c:pt idx="3190">
                  <c:v>83</c:v>
                </c:pt>
                <c:pt idx="3191">
                  <c:v>507</c:v>
                </c:pt>
                <c:pt idx="3192">
                  <c:v>196</c:v>
                </c:pt>
                <c:pt idx="3193">
                  <c:v>258</c:v>
                </c:pt>
                <c:pt idx="3194">
                  <c:v>1024</c:v>
                </c:pt>
                <c:pt idx="3195">
                  <c:v>198</c:v>
                </c:pt>
                <c:pt idx="3196">
                  <c:v>235</c:v>
                </c:pt>
                <c:pt idx="3197">
                  <c:v>578</c:v>
                </c:pt>
                <c:pt idx="3198">
                  <c:v>1496</c:v>
                </c:pt>
                <c:pt idx="3199">
                  <c:v>20809</c:v>
                </c:pt>
                <c:pt idx="3200">
                  <c:v>703</c:v>
                </c:pt>
                <c:pt idx="3201">
                  <c:v>2309</c:v>
                </c:pt>
                <c:pt idx="3202">
                  <c:v>466</c:v>
                </c:pt>
                <c:pt idx="3203">
                  <c:v>253</c:v>
                </c:pt>
                <c:pt idx="3204">
                  <c:v>2182</c:v>
                </c:pt>
                <c:pt idx="3205">
                  <c:v>277</c:v>
                </c:pt>
                <c:pt idx="3206">
                  <c:v>2021</c:v>
                </c:pt>
                <c:pt idx="3207">
                  <c:v>1926</c:v>
                </c:pt>
                <c:pt idx="3208">
                  <c:v>15638</c:v>
                </c:pt>
                <c:pt idx="3209">
                  <c:v>636</c:v>
                </c:pt>
                <c:pt idx="3210">
                  <c:v>597</c:v>
                </c:pt>
                <c:pt idx="3211">
                  <c:v>722</c:v>
                </c:pt>
                <c:pt idx="3212">
                  <c:v>550</c:v>
                </c:pt>
                <c:pt idx="3213">
                  <c:v>381</c:v>
                </c:pt>
                <c:pt idx="3214">
                  <c:v>884</c:v>
                </c:pt>
                <c:pt idx="3215">
                  <c:v>548</c:v>
                </c:pt>
                <c:pt idx="3216">
                  <c:v>1418</c:v>
                </c:pt>
                <c:pt idx="3217">
                  <c:v>1200</c:v>
                </c:pt>
                <c:pt idx="3218">
                  <c:v>972</c:v>
                </c:pt>
                <c:pt idx="3219">
                  <c:v>1180</c:v>
                </c:pt>
                <c:pt idx="3220">
                  <c:v>190</c:v>
                </c:pt>
                <c:pt idx="3221">
                  <c:v>1047</c:v>
                </c:pt>
                <c:pt idx="3222">
                  <c:v>121</c:v>
                </c:pt>
                <c:pt idx="3223">
                  <c:v>932</c:v>
                </c:pt>
                <c:pt idx="3224">
                  <c:v>311</c:v>
                </c:pt>
                <c:pt idx="3225">
                  <c:v>338</c:v>
                </c:pt>
                <c:pt idx="3226">
                  <c:v>485</c:v>
                </c:pt>
                <c:pt idx="3227">
                  <c:v>401</c:v>
                </c:pt>
                <c:pt idx="3228">
                  <c:v>640</c:v>
                </c:pt>
                <c:pt idx="3229">
                  <c:v>267</c:v>
                </c:pt>
                <c:pt idx="3230">
                  <c:v>703</c:v>
                </c:pt>
                <c:pt idx="3231">
                  <c:v>100</c:v>
                </c:pt>
                <c:pt idx="3232">
                  <c:v>849</c:v>
                </c:pt>
                <c:pt idx="3233">
                  <c:v>303</c:v>
                </c:pt>
                <c:pt idx="3234">
                  <c:v>182</c:v>
                </c:pt>
                <c:pt idx="3235">
                  <c:v>1964</c:v>
                </c:pt>
                <c:pt idx="3236">
                  <c:v>204</c:v>
                </c:pt>
                <c:pt idx="3237">
                  <c:v>2436</c:v>
                </c:pt>
                <c:pt idx="3238">
                  <c:v>348</c:v>
                </c:pt>
                <c:pt idx="3239">
                  <c:v>120</c:v>
                </c:pt>
                <c:pt idx="3240">
                  <c:v>4856</c:v>
                </c:pt>
                <c:pt idx="3241">
                  <c:v>146</c:v>
                </c:pt>
                <c:pt idx="3242">
                  <c:v>374</c:v>
                </c:pt>
                <c:pt idx="3243">
                  <c:v>548</c:v>
                </c:pt>
                <c:pt idx="3244">
                  <c:v>900</c:v>
                </c:pt>
                <c:pt idx="3245">
                  <c:v>703</c:v>
                </c:pt>
                <c:pt idx="3246">
                  <c:v>252</c:v>
                </c:pt>
                <c:pt idx="3247">
                  <c:v>1966</c:v>
                </c:pt>
                <c:pt idx="3248">
                  <c:v>149</c:v>
                </c:pt>
                <c:pt idx="3249">
                  <c:v>1265</c:v>
                </c:pt>
                <c:pt idx="3250">
                  <c:v>603</c:v>
                </c:pt>
                <c:pt idx="3251">
                  <c:v>69</c:v>
                </c:pt>
                <c:pt idx="3252">
                  <c:v>313</c:v>
                </c:pt>
                <c:pt idx="3253">
                  <c:v>3485</c:v>
                </c:pt>
                <c:pt idx="3254">
                  <c:v>989</c:v>
                </c:pt>
                <c:pt idx="3255">
                  <c:v>97</c:v>
                </c:pt>
                <c:pt idx="3256">
                  <c:v>100</c:v>
                </c:pt>
                <c:pt idx="3257">
                  <c:v>940</c:v>
                </c:pt>
                <c:pt idx="3258">
                  <c:v>378</c:v>
                </c:pt>
                <c:pt idx="3259">
                  <c:v>1097</c:v>
                </c:pt>
                <c:pt idx="3260">
                  <c:v>3460</c:v>
                </c:pt>
                <c:pt idx="3261">
                  <c:v>356</c:v>
                </c:pt>
                <c:pt idx="3262">
                  <c:v>2316</c:v>
                </c:pt>
                <c:pt idx="3263">
                  <c:v>148</c:v>
                </c:pt>
                <c:pt idx="3264">
                  <c:v>409</c:v>
                </c:pt>
                <c:pt idx="3265">
                  <c:v>1791</c:v>
                </c:pt>
                <c:pt idx="3266">
                  <c:v>619</c:v>
                </c:pt>
                <c:pt idx="3267">
                  <c:v>1103</c:v>
                </c:pt>
                <c:pt idx="3268">
                  <c:v>703</c:v>
                </c:pt>
                <c:pt idx="3269">
                  <c:v>38</c:v>
                </c:pt>
                <c:pt idx="3270">
                  <c:v>16784</c:v>
                </c:pt>
                <c:pt idx="3271">
                  <c:v>975</c:v>
                </c:pt>
                <c:pt idx="3272">
                  <c:v>17546</c:v>
                </c:pt>
                <c:pt idx="3273">
                  <c:v>414</c:v>
                </c:pt>
                <c:pt idx="3274">
                  <c:v>3715</c:v>
                </c:pt>
                <c:pt idx="3275">
                  <c:v>1693</c:v>
                </c:pt>
                <c:pt idx="3276">
                  <c:v>7929</c:v>
                </c:pt>
                <c:pt idx="3277">
                  <c:v>5815</c:v>
                </c:pt>
                <c:pt idx="3278">
                  <c:v>1755</c:v>
                </c:pt>
                <c:pt idx="3279">
                  <c:v>979</c:v>
                </c:pt>
                <c:pt idx="3280">
                  <c:v>3939</c:v>
                </c:pt>
                <c:pt idx="3281">
                  <c:v>4912</c:v>
                </c:pt>
                <c:pt idx="3282">
                  <c:v>4282</c:v>
                </c:pt>
                <c:pt idx="3283">
                  <c:v>8883</c:v>
                </c:pt>
                <c:pt idx="3284">
                  <c:v>1231</c:v>
                </c:pt>
                <c:pt idx="3285">
                  <c:v>6132</c:v>
                </c:pt>
                <c:pt idx="3286">
                  <c:v>887</c:v>
                </c:pt>
                <c:pt idx="3287">
                  <c:v>13615</c:v>
                </c:pt>
                <c:pt idx="3288">
                  <c:v>893</c:v>
                </c:pt>
                <c:pt idx="3289">
                  <c:v>2320</c:v>
                </c:pt>
                <c:pt idx="3290">
                  <c:v>562</c:v>
                </c:pt>
                <c:pt idx="3291">
                  <c:v>7608</c:v>
                </c:pt>
                <c:pt idx="3292">
                  <c:v>1117</c:v>
                </c:pt>
                <c:pt idx="3293">
                  <c:v>389</c:v>
                </c:pt>
                <c:pt idx="3294">
                  <c:v>1062</c:v>
                </c:pt>
                <c:pt idx="3295">
                  <c:v>6461</c:v>
                </c:pt>
                <c:pt idx="3296">
                  <c:v>2189</c:v>
                </c:pt>
                <c:pt idx="3297">
                  <c:v>11264</c:v>
                </c:pt>
                <c:pt idx="3298">
                  <c:v>366</c:v>
                </c:pt>
                <c:pt idx="3299">
                  <c:v>424</c:v>
                </c:pt>
                <c:pt idx="3300">
                  <c:v>3186</c:v>
                </c:pt>
                <c:pt idx="3301">
                  <c:v>1865</c:v>
                </c:pt>
                <c:pt idx="3302">
                  <c:v>1225</c:v>
                </c:pt>
                <c:pt idx="3303">
                  <c:v>3587</c:v>
                </c:pt>
                <c:pt idx="3304">
                  <c:v>4843</c:v>
                </c:pt>
                <c:pt idx="3305">
                  <c:v>1648</c:v>
                </c:pt>
                <c:pt idx="3306">
                  <c:v>702</c:v>
                </c:pt>
                <c:pt idx="3307">
                  <c:v>2156</c:v>
                </c:pt>
                <c:pt idx="3308">
                  <c:v>982</c:v>
                </c:pt>
                <c:pt idx="3309">
                  <c:v>1629</c:v>
                </c:pt>
                <c:pt idx="3310">
                  <c:v>84</c:v>
                </c:pt>
                <c:pt idx="3311">
                  <c:v>11031</c:v>
                </c:pt>
                <c:pt idx="3312">
                  <c:v>15377</c:v>
                </c:pt>
                <c:pt idx="3313">
                  <c:v>1027</c:v>
                </c:pt>
                <c:pt idx="3314">
                  <c:v>1036</c:v>
                </c:pt>
                <c:pt idx="3315">
                  <c:v>8545</c:v>
                </c:pt>
                <c:pt idx="3316">
                  <c:v>2927</c:v>
                </c:pt>
                <c:pt idx="3317">
                  <c:v>1245</c:v>
                </c:pt>
                <c:pt idx="3318">
                  <c:v>669</c:v>
                </c:pt>
                <c:pt idx="3319">
                  <c:v>863</c:v>
                </c:pt>
                <c:pt idx="3320">
                  <c:v>3428</c:v>
                </c:pt>
                <c:pt idx="3321">
                  <c:v>120</c:v>
                </c:pt>
                <c:pt idx="3322">
                  <c:v>1632</c:v>
                </c:pt>
                <c:pt idx="3323">
                  <c:v>136</c:v>
                </c:pt>
                <c:pt idx="3324">
                  <c:v>2279</c:v>
                </c:pt>
                <c:pt idx="3325">
                  <c:v>887</c:v>
                </c:pt>
                <c:pt idx="3326">
                  <c:v>598</c:v>
                </c:pt>
                <c:pt idx="3327">
                  <c:v>62</c:v>
                </c:pt>
                <c:pt idx="3328">
                  <c:v>15202</c:v>
                </c:pt>
                <c:pt idx="3329">
                  <c:v>1395</c:v>
                </c:pt>
                <c:pt idx="3330">
                  <c:v>1796</c:v>
                </c:pt>
                <c:pt idx="3331">
                  <c:v>93</c:v>
                </c:pt>
                <c:pt idx="3332">
                  <c:v>2748</c:v>
                </c:pt>
                <c:pt idx="3333">
                  <c:v>105</c:v>
                </c:pt>
                <c:pt idx="3334">
                  <c:v>2061</c:v>
                </c:pt>
                <c:pt idx="3335">
                  <c:v>377</c:v>
                </c:pt>
                <c:pt idx="3336">
                  <c:v>2718</c:v>
                </c:pt>
                <c:pt idx="3337">
                  <c:v>1101</c:v>
                </c:pt>
                <c:pt idx="3338">
                  <c:v>472</c:v>
                </c:pt>
                <c:pt idx="3339">
                  <c:v>467</c:v>
                </c:pt>
                <c:pt idx="3340">
                  <c:v>933</c:v>
                </c:pt>
                <c:pt idx="3341">
                  <c:v>475</c:v>
                </c:pt>
                <c:pt idx="3342">
                  <c:v>5390</c:v>
                </c:pt>
                <c:pt idx="3343">
                  <c:v>3402</c:v>
                </c:pt>
                <c:pt idx="3344">
                  <c:v>271</c:v>
                </c:pt>
                <c:pt idx="3345">
                  <c:v>967</c:v>
                </c:pt>
                <c:pt idx="3346">
                  <c:v>99</c:v>
                </c:pt>
                <c:pt idx="3347">
                  <c:v>613</c:v>
                </c:pt>
                <c:pt idx="3348">
                  <c:v>2722</c:v>
                </c:pt>
                <c:pt idx="3349">
                  <c:v>1100</c:v>
                </c:pt>
                <c:pt idx="3350">
                  <c:v>114</c:v>
                </c:pt>
                <c:pt idx="3351">
                  <c:v>1043</c:v>
                </c:pt>
                <c:pt idx="3352">
                  <c:v>4529</c:v>
                </c:pt>
                <c:pt idx="3353">
                  <c:v>2883</c:v>
                </c:pt>
                <c:pt idx="3354">
                  <c:v>1564</c:v>
                </c:pt>
                <c:pt idx="3355">
                  <c:v>2492</c:v>
                </c:pt>
                <c:pt idx="3356">
                  <c:v>7235</c:v>
                </c:pt>
                <c:pt idx="3357">
                  <c:v>8127</c:v>
                </c:pt>
                <c:pt idx="3358">
                  <c:v>6342</c:v>
                </c:pt>
                <c:pt idx="3359">
                  <c:v>8465</c:v>
                </c:pt>
                <c:pt idx="3360">
                  <c:v>5325</c:v>
                </c:pt>
                <c:pt idx="3361">
                  <c:v>9158</c:v>
                </c:pt>
                <c:pt idx="3362">
                  <c:v>5997</c:v>
                </c:pt>
                <c:pt idx="3363">
                  <c:v>8777</c:v>
                </c:pt>
                <c:pt idx="3364">
                  <c:v>3276</c:v>
                </c:pt>
                <c:pt idx="3365">
                  <c:v>10531</c:v>
                </c:pt>
                <c:pt idx="3366">
                  <c:v>3662</c:v>
                </c:pt>
                <c:pt idx="3367">
                  <c:v>7307</c:v>
                </c:pt>
                <c:pt idx="3368">
                  <c:v>7800</c:v>
                </c:pt>
                <c:pt idx="3369">
                  <c:v>3873</c:v>
                </c:pt>
                <c:pt idx="3370">
                  <c:v>571</c:v>
                </c:pt>
                <c:pt idx="3371">
                  <c:v>611</c:v>
                </c:pt>
                <c:pt idx="3372">
                  <c:v>940</c:v>
                </c:pt>
                <c:pt idx="3373">
                  <c:v>91</c:v>
                </c:pt>
                <c:pt idx="3374">
                  <c:v>1940</c:v>
                </c:pt>
                <c:pt idx="3375">
                  <c:v>2759</c:v>
                </c:pt>
                <c:pt idx="3376">
                  <c:v>507</c:v>
                </c:pt>
                <c:pt idx="3377">
                  <c:v>115</c:v>
                </c:pt>
                <c:pt idx="3378">
                  <c:v>265</c:v>
                </c:pt>
                <c:pt idx="3379">
                  <c:v>45</c:v>
                </c:pt>
                <c:pt idx="3380">
                  <c:v>561</c:v>
                </c:pt>
                <c:pt idx="3381">
                  <c:v>2467</c:v>
                </c:pt>
                <c:pt idx="3382">
                  <c:v>1742</c:v>
                </c:pt>
                <c:pt idx="3383">
                  <c:v>569</c:v>
                </c:pt>
                <c:pt idx="3384">
                  <c:v>544</c:v>
                </c:pt>
                <c:pt idx="3385">
                  <c:v>924</c:v>
                </c:pt>
                <c:pt idx="3386">
                  <c:v>331</c:v>
                </c:pt>
                <c:pt idx="3387">
                  <c:v>579</c:v>
                </c:pt>
                <c:pt idx="3388">
                  <c:v>5327</c:v>
                </c:pt>
                <c:pt idx="3389">
                  <c:v>803</c:v>
                </c:pt>
                <c:pt idx="3390">
                  <c:v>483</c:v>
                </c:pt>
                <c:pt idx="3391">
                  <c:v>2212</c:v>
                </c:pt>
                <c:pt idx="3392">
                  <c:v>900</c:v>
                </c:pt>
                <c:pt idx="3393">
                  <c:v>837</c:v>
                </c:pt>
                <c:pt idx="3394">
                  <c:v>1641</c:v>
                </c:pt>
                <c:pt idx="3395">
                  <c:v>1110</c:v>
                </c:pt>
                <c:pt idx="3396">
                  <c:v>32</c:v>
                </c:pt>
                <c:pt idx="3397">
                  <c:v>479</c:v>
                </c:pt>
                <c:pt idx="3398">
                  <c:v>514</c:v>
                </c:pt>
                <c:pt idx="3399">
                  <c:v>398</c:v>
                </c:pt>
                <c:pt idx="3400">
                  <c:v>561</c:v>
                </c:pt>
                <c:pt idx="3401">
                  <c:v>2652</c:v>
                </c:pt>
                <c:pt idx="3402">
                  <c:v>3628</c:v>
                </c:pt>
                <c:pt idx="3403">
                  <c:v>124</c:v>
                </c:pt>
                <c:pt idx="3404">
                  <c:v>730</c:v>
                </c:pt>
                <c:pt idx="3405">
                  <c:v>77</c:v>
                </c:pt>
                <c:pt idx="3406">
                  <c:v>2441</c:v>
                </c:pt>
                <c:pt idx="3407">
                  <c:v>707</c:v>
                </c:pt>
                <c:pt idx="3408">
                  <c:v>4792</c:v>
                </c:pt>
                <c:pt idx="3409">
                  <c:v>1497</c:v>
                </c:pt>
                <c:pt idx="3410">
                  <c:v>668</c:v>
                </c:pt>
                <c:pt idx="3411">
                  <c:v>4350</c:v>
                </c:pt>
                <c:pt idx="3412">
                  <c:v>117</c:v>
                </c:pt>
                <c:pt idx="3413">
                  <c:v>345</c:v>
                </c:pt>
                <c:pt idx="3414">
                  <c:v>1115</c:v>
                </c:pt>
                <c:pt idx="3415">
                  <c:v>171</c:v>
                </c:pt>
                <c:pt idx="3416">
                  <c:v>3472</c:v>
                </c:pt>
                <c:pt idx="3417">
                  <c:v>4017</c:v>
                </c:pt>
                <c:pt idx="3418">
                  <c:v>548</c:v>
                </c:pt>
                <c:pt idx="3419">
                  <c:v>596</c:v>
                </c:pt>
                <c:pt idx="3420">
                  <c:v>2165</c:v>
                </c:pt>
                <c:pt idx="3421">
                  <c:v>51</c:v>
                </c:pt>
                <c:pt idx="3422">
                  <c:v>211</c:v>
                </c:pt>
                <c:pt idx="3423">
                  <c:v>2305</c:v>
                </c:pt>
                <c:pt idx="3424">
                  <c:v>1313</c:v>
                </c:pt>
                <c:pt idx="3425">
                  <c:v>1043</c:v>
                </c:pt>
                <c:pt idx="3426">
                  <c:v>223</c:v>
                </c:pt>
                <c:pt idx="3427">
                  <c:v>1221</c:v>
                </c:pt>
                <c:pt idx="3428">
                  <c:v>7991</c:v>
                </c:pt>
                <c:pt idx="3429">
                  <c:v>52</c:v>
                </c:pt>
                <c:pt idx="3430">
                  <c:v>1006</c:v>
                </c:pt>
                <c:pt idx="3431">
                  <c:v>1628</c:v>
                </c:pt>
                <c:pt idx="3432">
                  <c:v>77</c:v>
                </c:pt>
                <c:pt idx="3433">
                  <c:v>446</c:v>
                </c:pt>
                <c:pt idx="3434">
                  <c:v>5811</c:v>
                </c:pt>
                <c:pt idx="3435">
                  <c:v>1050</c:v>
                </c:pt>
                <c:pt idx="3436">
                  <c:v>934</c:v>
                </c:pt>
                <c:pt idx="3437">
                  <c:v>571</c:v>
                </c:pt>
                <c:pt idx="3438">
                  <c:v>889</c:v>
                </c:pt>
                <c:pt idx="3439">
                  <c:v>623</c:v>
                </c:pt>
                <c:pt idx="3440">
                  <c:v>120</c:v>
                </c:pt>
                <c:pt idx="3441">
                  <c:v>21</c:v>
                </c:pt>
                <c:pt idx="3442">
                  <c:v>125</c:v>
                </c:pt>
                <c:pt idx="3443">
                  <c:v>1320</c:v>
                </c:pt>
                <c:pt idx="3444">
                  <c:v>1769</c:v>
                </c:pt>
                <c:pt idx="3445">
                  <c:v>16955</c:v>
                </c:pt>
                <c:pt idx="3446">
                  <c:v>153</c:v>
                </c:pt>
                <c:pt idx="3447">
                  <c:v>2003</c:v>
                </c:pt>
                <c:pt idx="3448">
                  <c:v>461</c:v>
                </c:pt>
                <c:pt idx="3449">
                  <c:v>1991</c:v>
                </c:pt>
                <c:pt idx="3450">
                  <c:v>864</c:v>
                </c:pt>
                <c:pt idx="3451">
                  <c:v>2045</c:v>
                </c:pt>
                <c:pt idx="3452">
                  <c:v>1493</c:v>
                </c:pt>
                <c:pt idx="3453">
                  <c:v>613</c:v>
                </c:pt>
                <c:pt idx="3454">
                  <c:v>168</c:v>
                </c:pt>
                <c:pt idx="3455">
                  <c:v>634</c:v>
                </c:pt>
                <c:pt idx="3456">
                  <c:v>267</c:v>
                </c:pt>
                <c:pt idx="3457">
                  <c:v>1104</c:v>
                </c:pt>
                <c:pt idx="3458">
                  <c:v>505</c:v>
                </c:pt>
                <c:pt idx="3459">
                  <c:v>1616</c:v>
                </c:pt>
                <c:pt idx="3460">
                  <c:v>721</c:v>
                </c:pt>
                <c:pt idx="3461">
                  <c:v>1371</c:v>
                </c:pt>
                <c:pt idx="3462">
                  <c:v>1586</c:v>
                </c:pt>
                <c:pt idx="3463">
                  <c:v>320</c:v>
                </c:pt>
                <c:pt idx="3464">
                  <c:v>683</c:v>
                </c:pt>
                <c:pt idx="3465">
                  <c:v>247</c:v>
                </c:pt>
                <c:pt idx="3466">
                  <c:v>49</c:v>
                </c:pt>
                <c:pt idx="3467">
                  <c:v>197</c:v>
                </c:pt>
                <c:pt idx="3468">
                  <c:v>536</c:v>
                </c:pt>
                <c:pt idx="3469">
                  <c:v>1559</c:v>
                </c:pt>
                <c:pt idx="3470">
                  <c:v>5727</c:v>
                </c:pt>
                <c:pt idx="3471">
                  <c:v>981</c:v>
                </c:pt>
                <c:pt idx="3472">
                  <c:v>110</c:v>
                </c:pt>
                <c:pt idx="3473">
                  <c:v>850</c:v>
                </c:pt>
                <c:pt idx="3474">
                  <c:v>15362</c:v>
                </c:pt>
                <c:pt idx="3475">
                  <c:v>14602</c:v>
                </c:pt>
                <c:pt idx="3476">
                  <c:v>16859</c:v>
                </c:pt>
                <c:pt idx="3477">
                  <c:v>2295</c:v>
                </c:pt>
                <c:pt idx="3478">
                  <c:v>1311</c:v>
                </c:pt>
                <c:pt idx="3479">
                  <c:v>774</c:v>
                </c:pt>
                <c:pt idx="3480">
                  <c:v>761</c:v>
                </c:pt>
                <c:pt idx="3481">
                  <c:v>97</c:v>
                </c:pt>
                <c:pt idx="3482">
                  <c:v>1031</c:v>
                </c:pt>
                <c:pt idx="3483">
                  <c:v>1147</c:v>
                </c:pt>
                <c:pt idx="3484">
                  <c:v>152</c:v>
                </c:pt>
                <c:pt idx="3485">
                  <c:v>352</c:v>
                </c:pt>
                <c:pt idx="3486">
                  <c:v>1193</c:v>
                </c:pt>
                <c:pt idx="3487">
                  <c:v>4976</c:v>
                </c:pt>
                <c:pt idx="3488">
                  <c:v>646</c:v>
                </c:pt>
                <c:pt idx="3489">
                  <c:v>4690</c:v>
                </c:pt>
                <c:pt idx="3490">
                  <c:v>766</c:v>
                </c:pt>
                <c:pt idx="3491">
                  <c:v>144</c:v>
                </c:pt>
                <c:pt idx="3492">
                  <c:v>734</c:v>
                </c:pt>
                <c:pt idx="3493">
                  <c:v>2161</c:v>
                </c:pt>
                <c:pt idx="3494">
                  <c:v>689</c:v>
                </c:pt>
                <c:pt idx="3495">
                  <c:v>1115</c:v>
                </c:pt>
                <c:pt idx="3496">
                  <c:v>92</c:v>
                </c:pt>
                <c:pt idx="3497">
                  <c:v>567</c:v>
                </c:pt>
                <c:pt idx="3498">
                  <c:v>79</c:v>
                </c:pt>
                <c:pt idx="3499">
                  <c:v>1687</c:v>
                </c:pt>
                <c:pt idx="3500">
                  <c:v>382</c:v>
                </c:pt>
                <c:pt idx="3501">
                  <c:v>42</c:v>
                </c:pt>
                <c:pt idx="3502">
                  <c:v>2480</c:v>
                </c:pt>
                <c:pt idx="3503">
                  <c:v>3512</c:v>
                </c:pt>
                <c:pt idx="3504">
                  <c:v>903</c:v>
                </c:pt>
                <c:pt idx="3505">
                  <c:v>798</c:v>
                </c:pt>
                <c:pt idx="3506">
                  <c:v>521</c:v>
                </c:pt>
                <c:pt idx="3507">
                  <c:v>673</c:v>
                </c:pt>
                <c:pt idx="3508">
                  <c:v>1076</c:v>
                </c:pt>
                <c:pt idx="3509">
                  <c:v>552</c:v>
                </c:pt>
                <c:pt idx="3510">
                  <c:v>1159</c:v>
                </c:pt>
                <c:pt idx="3511">
                  <c:v>1164</c:v>
                </c:pt>
                <c:pt idx="3512">
                  <c:v>179</c:v>
                </c:pt>
                <c:pt idx="3513">
                  <c:v>836</c:v>
                </c:pt>
                <c:pt idx="3514">
                  <c:v>818</c:v>
                </c:pt>
                <c:pt idx="3515">
                  <c:v>7052</c:v>
                </c:pt>
                <c:pt idx="3516">
                  <c:v>146</c:v>
                </c:pt>
                <c:pt idx="3517">
                  <c:v>329</c:v>
                </c:pt>
                <c:pt idx="3518">
                  <c:v>97</c:v>
                </c:pt>
                <c:pt idx="3519">
                  <c:v>981</c:v>
                </c:pt>
                <c:pt idx="3520">
                  <c:v>1470</c:v>
                </c:pt>
                <c:pt idx="3521">
                  <c:v>5099</c:v>
                </c:pt>
                <c:pt idx="3522">
                  <c:v>89</c:v>
                </c:pt>
                <c:pt idx="3523">
                  <c:v>166</c:v>
                </c:pt>
                <c:pt idx="3524">
                  <c:v>1039</c:v>
                </c:pt>
                <c:pt idx="3525">
                  <c:v>5997</c:v>
                </c:pt>
                <c:pt idx="3526">
                  <c:v>620</c:v>
                </c:pt>
                <c:pt idx="3527">
                  <c:v>556</c:v>
                </c:pt>
                <c:pt idx="3528">
                  <c:v>341</c:v>
                </c:pt>
                <c:pt idx="3529">
                  <c:v>450</c:v>
                </c:pt>
                <c:pt idx="3530">
                  <c:v>427</c:v>
                </c:pt>
                <c:pt idx="3531">
                  <c:v>1025</c:v>
                </c:pt>
                <c:pt idx="3532">
                  <c:v>229</c:v>
                </c:pt>
                <c:pt idx="3533">
                  <c:v>206</c:v>
                </c:pt>
                <c:pt idx="3534">
                  <c:v>1647</c:v>
                </c:pt>
                <c:pt idx="3535">
                  <c:v>98</c:v>
                </c:pt>
                <c:pt idx="3536">
                  <c:v>475</c:v>
                </c:pt>
                <c:pt idx="3537">
                  <c:v>142</c:v>
                </c:pt>
                <c:pt idx="3538">
                  <c:v>988</c:v>
                </c:pt>
                <c:pt idx="3539">
                  <c:v>1220</c:v>
                </c:pt>
                <c:pt idx="3540">
                  <c:v>476</c:v>
                </c:pt>
                <c:pt idx="3541">
                  <c:v>3893</c:v>
                </c:pt>
                <c:pt idx="3542">
                  <c:v>2021</c:v>
                </c:pt>
                <c:pt idx="3543">
                  <c:v>1094</c:v>
                </c:pt>
                <c:pt idx="3544">
                  <c:v>943</c:v>
                </c:pt>
                <c:pt idx="3545">
                  <c:v>376</c:v>
                </c:pt>
                <c:pt idx="3546">
                  <c:v>202</c:v>
                </c:pt>
                <c:pt idx="3547">
                  <c:v>1584</c:v>
                </c:pt>
                <c:pt idx="3548">
                  <c:v>618</c:v>
                </c:pt>
                <c:pt idx="3549">
                  <c:v>690</c:v>
                </c:pt>
                <c:pt idx="3550">
                  <c:v>1528</c:v>
                </c:pt>
                <c:pt idx="3551">
                  <c:v>452</c:v>
                </c:pt>
                <c:pt idx="3552">
                  <c:v>428</c:v>
                </c:pt>
                <c:pt idx="3553">
                  <c:v>2296</c:v>
                </c:pt>
                <c:pt idx="3554">
                  <c:v>1089</c:v>
                </c:pt>
                <c:pt idx="3555">
                  <c:v>365</c:v>
                </c:pt>
                <c:pt idx="3556">
                  <c:v>181</c:v>
                </c:pt>
                <c:pt idx="3557">
                  <c:v>705</c:v>
                </c:pt>
                <c:pt idx="3558">
                  <c:v>20128</c:v>
                </c:pt>
                <c:pt idx="3559">
                  <c:v>858</c:v>
                </c:pt>
                <c:pt idx="3560">
                  <c:v>214</c:v>
                </c:pt>
                <c:pt idx="3561">
                  <c:v>245</c:v>
                </c:pt>
                <c:pt idx="3562">
                  <c:v>2350</c:v>
                </c:pt>
                <c:pt idx="3563">
                  <c:v>405</c:v>
                </c:pt>
                <c:pt idx="3564">
                  <c:v>276</c:v>
                </c:pt>
                <c:pt idx="3565">
                  <c:v>1060</c:v>
                </c:pt>
                <c:pt idx="3566">
                  <c:v>157</c:v>
                </c:pt>
                <c:pt idx="3567">
                  <c:v>1266</c:v>
                </c:pt>
                <c:pt idx="3568">
                  <c:v>498</c:v>
                </c:pt>
                <c:pt idx="3569">
                  <c:v>8002</c:v>
                </c:pt>
                <c:pt idx="3570">
                  <c:v>1585</c:v>
                </c:pt>
                <c:pt idx="3571">
                  <c:v>460</c:v>
                </c:pt>
                <c:pt idx="3572">
                  <c:v>902</c:v>
                </c:pt>
                <c:pt idx="3573">
                  <c:v>629</c:v>
                </c:pt>
                <c:pt idx="3574">
                  <c:v>550</c:v>
                </c:pt>
                <c:pt idx="3575">
                  <c:v>1820</c:v>
                </c:pt>
                <c:pt idx="3576">
                  <c:v>124</c:v>
                </c:pt>
                <c:pt idx="3577">
                  <c:v>93</c:v>
                </c:pt>
                <c:pt idx="3578">
                  <c:v>657</c:v>
                </c:pt>
                <c:pt idx="3579">
                  <c:v>626</c:v>
                </c:pt>
                <c:pt idx="3580">
                  <c:v>906</c:v>
                </c:pt>
                <c:pt idx="3581">
                  <c:v>683</c:v>
                </c:pt>
                <c:pt idx="3582">
                  <c:v>1728</c:v>
                </c:pt>
                <c:pt idx="3583">
                  <c:v>1175</c:v>
                </c:pt>
                <c:pt idx="3584">
                  <c:v>225</c:v>
                </c:pt>
                <c:pt idx="3585">
                  <c:v>5800</c:v>
                </c:pt>
                <c:pt idx="3586">
                  <c:v>9087</c:v>
                </c:pt>
                <c:pt idx="3587">
                  <c:v>1221</c:v>
                </c:pt>
                <c:pt idx="3588">
                  <c:v>4800</c:v>
                </c:pt>
                <c:pt idx="3589">
                  <c:v>2331</c:v>
                </c:pt>
                <c:pt idx="3590">
                  <c:v>176</c:v>
                </c:pt>
                <c:pt idx="3591">
                  <c:v>1567</c:v>
                </c:pt>
                <c:pt idx="3592">
                  <c:v>126</c:v>
                </c:pt>
                <c:pt idx="3593">
                  <c:v>536</c:v>
                </c:pt>
                <c:pt idx="3594">
                  <c:v>1345</c:v>
                </c:pt>
                <c:pt idx="3595">
                  <c:v>542</c:v>
                </c:pt>
                <c:pt idx="3596">
                  <c:v>241</c:v>
                </c:pt>
                <c:pt idx="3597">
                  <c:v>248</c:v>
                </c:pt>
                <c:pt idx="3598">
                  <c:v>931</c:v>
                </c:pt>
                <c:pt idx="3599">
                  <c:v>269</c:v>
                </c:pt>
                <c:pt idx="3600">
                  <c:v>177</c:v>
                </c:pt>
                <c:pt idx="3601">
                  <c:v>2193</c:v>
                </c:pt>
                <c:pt idx="3602">
                  <c:v>9943</c:v>
                </c:pt>
                <c:pt idx="3603">
                  <c:v>2631</c:v>
                </c:pt>
                <c:pt idx="3604">
                  <c:v>279</c:v>
                </c:pt>
                <c:pt idx="3605">
                  <c:v>1659</c:v>
                </c:pt>
                <c:pt idx="3606">
                  <c:v>210</c:v>
                </c:pt>
                <c:pt idx="3607">
                  <c:v>632</c:v>
                </c:pt>
                <c:pt idx="3608">
                  <c:v>2388</c:v>
                </c:pt>
                <c:pt idx="3609">
                  <c:v>8170</c:v>
                </c:pt>
                <c:pt idx="3610">
                  <c:v>8649</c:v>
                </c:pt>
                <c:pt idx="3611">
                  <c:v>3476</c:v>
                </c:pt>
                <c:pt idx="3612">
                  <c:v>12015</c:v>
                </c:pt>
                <c:pt idx="3613">
                  <c:v>4490</c:v>
                </c:pt>
                <c:pt idx="3614">
                  <c:v>4659</c:v>
                </c:pt>
                <c:pt idx="3615">
                  <c:v>990</c:v>
                </c:pt>
                <c:pt idx="3616">
                  <c:v>4268</c:v>
                </c:pt>
                <c:pt idx="3617">
                  <c:v>832</c:v>
                </c:pt>
                <c:pt idx="3618">
                  <c:v>2917</c:v>
                </c:pt>
                <c:pt idx="3619">
                  <c:v>2452</c:v>
                </c:pt>
                <c:pt idx="3620">
                  <c:v>1155</c:v>
                </c:pt>
                <c:pt idx="3621">
                  <c:v>737</c:v>
                </c:pt>
                <c:pt idx="3622">
                  <c:v>10741</c:v>
                </c:pt>
                <c:pt idx="3623">
                  <c:v>631</c:v>
                </c:pt>
                <c:pt idx="3624">
                  <c:v>2011</c:v>
                </c:pt>
                <c:pt idx="3625">
                  <c:v>273</c:v>
                </c:pt>
                <c:pt idx="3626">
                  <c:v>733</c:v>
                </c:pt>
                <c:pt idx="3627">
                  <c:v>801</c:v>
                </c:pt>
                <c:pt idx="3628">
                  <c:v>4645</c:v>
                </c:pt>
                <c:pt idx="3629">
                  <c:v>5466</c:v>
                </c:pt>
                <c:pt idx="3630">
                  <c:v>725</c:v>
                </c:pt>
                <c:pt idx="3631">
                  <c:v>928</c:v>
                </c:pt>
                <c:pt idx="3632">
                  <c:v>2647</c:v>
                </c:pt>
                <c:pt idx="3633">
                  <c:v>594</c:v>
                </c:pt>
                <c:pt idx="3634">
                  <c:v>818</c:v>
                </c:pt>
                <c:pt idx="3635">
                  <c:v>52</c:v>
                </c:pt>
                <c:pt idx="3636">
                  <c:v>188</c:v>
                </c:pt>
                <c:pt idx="3637">
                  <c:v>2044</c:v>
                </c:pt>
                <c:pt idx="3638">
                  <c:v>12747</c:v>
                </c:pt>
                <c:pt idx="3639">
                  <c:v>2940</c:v>
                </c:pt>
                <c:pt idx="3640">
                  <c:v>6386</c:v>
                </c:pt>
                <c:pt idx="3641">
                  <c:v>9911</c:v>
                </c:pt>
                <c:pt idx="3642">
                  <c:v>9596</c:v>
                </c:pt>
                <c:pt idx="3643">
                  <c:v>709</c:v>
                </c:pt>
                <c:pt idx="3644">
                  <c:v>610</c:v>
                </c:pt>
                <c:pt idx="3645">
                  <c:v>4078</c:v>
                </c:pt>
                <c:pt idx="3646">
                  <c:v>989</c:v>
                </c:pt>
                <c:pt idx="3647">
                  <c:v>4094</c:v>
                </c:pt>
                <c:pt idx="3648">
                  <c:v>201</c:v>
                </c:pt>
                <c:pt idx="3649">
                  <c:v>1372</c:v>
                </c:pt>
                <c:pt idx="3650">
                  <c:v>5929</c:v>
                </c:pt>
                <c:pt idx="3651">
                  <c:v>749</c:v>
                </c:pt>
                <c:pt idx="3652">
                  <c:v>616</c:v>
                </c:pt>
                <c:pt idx="3653">
                  <c:v>2311</c:v>
                </c:pt>
                <c:pt idx="3654">
                  <c:v>2958</c:v>
                </c:pt>
                <c:pt idx="3655">
                  <c:v>233</c:v>
                </c:pt>
                <c:pt idx="3656">
                  <c:v>2447</c:v>
                </c:pt>
                <c:pt idx="3657">
                  <c:v>11142</c:v>
                </c:pt>
                <c:pt idx="3658">
                  <c:v>22594</c:v>
                </c:pt>
                <c:pt idx="3659">
                  <c:v>1919</c:v>
                </c:pt>
                <c:pt idx="3660">
                  <c:v>957</c:v>
                </c:pt>
                <c:pt idx="3661">
                  <c:v>296</c:v>
                </c:pt>
                <c:pt idx="3662">
                  <c:v>3591</c:v>
                </c:pt>
                <c:pt idx="3663">
                  <c:v>18801</c:v>
                </c:pt>
                <c:pt idx="3664">
                  <c:v>601</c:v>
                </c:pt>
                <c:pt idx="3665">
                  <c:v>4648</c:v>
                </c:pt>
                <c:pt idx="3666">
                  <c:v>23986</c:v>
                </c:pt>
                <c:pt idx="3667">
                  <c:v>1332</c:v>
                </c:pt>
                <c:pt idx="3668">
                  <c:v>795</c:v>
                </c:pt>
                <c:pt idx="3669">
                  <c:v>792</c:v>
                </c:pt>
                <c:pt idx="3670">
                  <c:v>4642</c:v>
                </c:pt>
                <c:pt idx="3671">
                  <c:v>2136</c:v>
                </c:pt>
                <c:pt idx="3672">
                  <c:v>2501</c:v>
                </c:pt>
                <c:pt idx="3673">
                  <c:v>1765</c:v>
                </c:pt>
                <c:pt idx="3674">
                  <c:v>395</c:v>
                </c:pt>
                <c:pt idx="3675">
                  <c:v>22100</c:v>
                </c:pt>
                <c:pt idx="3676">
                  <c:v>1693</c:v>
                </c:pt>
                <c:pt idx="3677">
                  <c:v>342</c:v>
                </c:pt>
                <c:pt idx="3678">
                  <c:v>15333</c:v>
                </c:pt>
                <c:pt idx="3679">
                  <c:v>464</c:v>
                </c:pt>
                <c:pt idx="3680">
                  <c:v>37</c:v>
                </c:pt>
                <c:pt idx="3681">
                  <c:v>2537</c:v>
                </c:pt>
                <c:pt idx="3682">
                  <c:v>3215</c:v>
                </c:pt>
                <c:pt idx="3683">
                  <c:v>2152</c:v>
                </c:pt>
                <c:pt idx="3684">
                  <c:v>648</c:v>
                </c:pt>
                <c:pt idx="3685">
                  <c:v>765</c:v>
                </c:pt>
                <c:pt idx="3686">
                  <c:v>3671</c:v>
                </c:pt>
                <c:pt idx="3687">
                  <c:v>590</c:v>
                </c:pt>
                <c:pt idx="3688">
                  <c:v>664</c:v>
                </c:pt>
                <c:pt idx="3689">
                  <c:v>21262</c:v>
                </c:pt>
                <c:pt idx="3690">
                  <c:v>822</c:v>
                </c:pt>
                <c:pt idx="3691">
                  <c:v>1311</c:v>
                </c:pt>
                <c:pt idx="3692">
                  <c:v>804</c:v>
                </c:pt>
                <c:pt idx="3693">
                  <c:v>1271</c:v>
                </c:pt>
                <c:pt idx="3694">
                  <c:v>121</c:v>
                </c:pt>
                <c:pt idx="3695">
                  <c:v>2688</c:v>
                </c:pt>
                <c:pt idx="3696">
                  <c:v>5052</c:v>
                </c:pt>
                <c:pt idx="3697">
                  <c:v>2043</c:v>
                </c:pt>
                <c:pt idx="3698">
                  <c:v>1116</c:v>
                </c:pt>
                <c:pt idx="3699">
                  <c:v>2999</c:v>
                </c:pt>
                <c:pt idx="3700">
                  <c:v>9578</c:v>
                </c:pt>
                <c:pt idx="3701">
                  <c:v>9284</c:v>
                </c:pt>
                <c:pt idx="3702">
                  <c:v>4391</c:v>
                </c:pt>
                <c:pt idx="3703">
                  <c:v>4202</c:v>
                </c:pt>
                <c:pt idx="3704">
                  <c:v>6809</c:v>
                </c:pt>
                <c:pt idx="3705">
                  <c:v>7855</c:v>
                </c:pt>
                <c:pt idx="3706">
                  <c:v>4275</c:v>
                </c:pt>
                <c:pt idx="3707">
                  <c:v>11631</c:v>
                </c:pt>
                <c:pt idx="3708">
                  <c:v>9766</c:v>
                </c:pt>
                <c:pt idx="3709">
                  <c:v>16324</c:v>
                </c:pt>
                <c:pt idx="3710">
                  <c:v>13727</c:v>
                </c:pt>
                <c:pt idx="3711">
                  <c:v>11739</c:v>
                </c:pt>
                <c:pt idx="3712">
                  <c:v>9221</c:v>
                </c:pt>
                <c:pt idx="3713">
                  <c:v>5645</c:v>
                </c:pt>
                <c:pt idx="3714">
                  <c:v>11682</c:v>
                </c:pt>
                <c:pt idx="3715">
                  <c:v>26873</c:v>
                </c:pt>
                <c:pt idx="3716">
                  <c:v>9425</c:v>
                </c:pt>
                <c:pt idx="3717">
                  <c:v>11954</c:v>
                </c:pt>
                <c:pt idx="3718">
                  <c:v>21579</c:v>
                </c:pt>
                <c:pt idx="3719">
                  <c:v>18503</c:v>
                </c:pt>
                <c:pt idx="3720">
                  <c:v>15879</c:v>
                </c:pt>
                <c:pt idx="3721">
                  <c:v>10484</c:v>
                </c:pt>
                <c:pt idx="3722">
                  <c:v>11371</c:v>
                </c:pt>
                <c:pt idx="3723">
                  <c:v>4584</c:v>
                </c:pt>
                <c:pt idx="3724">
                  <c:v>2338</c:v>
                </c:pt>
                <c:pt idx="3725">
                  <c:v>13420</c:v>
                </c:pt>
                <c:pt idx="3726">
                  <c:v>7305</c:v>
                </c:pt>
                <c:pt idx="3727">
                  <c:v>4671</c:v>
                </c:pt>
                <c:pt idx="3728">
                  <c:v>3352</c:v>
                </c:pt>
                <c:pt idx="3729">
                  <c:v>83</c:v>
                </c:pt>
                <c:pt idx="3730">
                  <c:v>2137</c:v>
                </c:pt>
                <c:pt idx="3731">
                  <c:v>300</c:v>
                </c:pt>
                <c:pt idx="3732">
                  <c:v>9210</c:v>
                </c:pt>
                <c:pt idx="3733">
                  <c:v>910</c:v>
                </c:pt>
                <c:pt idx="3734">
                  <c:v>2566</c:v>
                </c:pt>
                <c:pt idx="3735">
                  <c:v>13612</c:v>
                </c:pt>
                <c:pt idx="3736">
                  <c:v>6593</c:v>
                </c:pt>
                <c:pt idx="3737">
                  <c:v>763</c:v>
                </c:pt>
                <c:pt idx="3738">
                  <c:v>3546</c:v>
                </c:pt>
                <c:pt idx="3739">
                  <c:v>2550</c:v>
                </c:pt>
                <c:pt idx="3740">
                  <c:v>1612</c:v>
                </c:pt>
                <c:pt idx="3741">
                  <c:v>1163</c:v>
                </c:pt>
                <c:pt idx="3742">
                  <c:v>3828</c:v>
                </c:pt>
                <c:pt idx="3743">
                  <c:v>118</c:v>
                </c:pt>
                <c:pt idx="3744">
                  <c:v>4069</c:v>
                </c:pt>
                <c:pt idx="3745">
                  <c:v>21811</c:v>
                </c:pt>
                <c:pt idx="3746">
                  <c:v>4419</c:v>
                </c:pt>
                <c:pt idx="3747">
                  <c:v>9287</c:v>
                </c:pt>
                <c:pt idx="3748">
                  <c:v>415</c:v>
                </c:pt>
                <c:pt idx="3749">
                  <c:v>3111</c:v>
                </c:pt>
                <c:pt idx="3750">
                  <c:v>797</c:v>
                </c:pt>
                <c:pt idx="3751">
                  <c:v>5084</c:v>
                </c:pt>
                <c:pt idx="3752">
                  <c:v>8684</c:v>
                </c:pt>
                <c:pt idx="3753">
                  <c:v>2798</c:v>
                </c:pt>
                <c:pt idx="3754">
                  <c:v>3713</c:v>
                </c:pt>
                <c:pt idx="3755">
                  <c:v>877</c:v>
                </c:pt>
                <c:pt idx="3756">
                  <c:v>1221</c:v>
                </c:pt>
                <c:pt idx="3757">
                  <c:v>4820</c:v>
                </c:pt>
                <c:pt idx="3758">
                  <c:v>176</c:v>
                </c:pt>
                <c:pt idx="3759">
                  <c:v>1128</c:v>
                </c:pt>
                <c:pt idx="3760">
                  <c:v>884</c:v>
                </c:pt>
                <c:pt idx="3761">
                  <c:v>666</c:v>
                </c:pt>
                <c:pt idx="3762">
                  <c:v>894</c:v>
                </c:pt>
                <c:pt idx="3763">
                  <c:v>4271</c:v>
                </c:pt>
                <c:pt idx="3764">
                  <c:v>2117</c:v>
                </c:pt>
                <c:pt idx="3765">
                  <c:v>185</c:v>
                </c:pt>
                <c:pt idx="3766">
                  <c:v>3046</c:v>
                </c:pt>
                <c:pt idx="3767">
                  <c:v>3350</c:v>
                </c:pt>
                <c:pt idx="3768">
                  <c:v>5346</c:v>
                </c:pt>
                <c:pt idx="3769">
                  <c:v>769</c:v>
                </c:pt>
                <c:pt idx="3770">
                  <c:v>2556</c:v>
                </c:pt>
                <c:pt idx="3771">
                  <c:v>376</c:v>
                </c:pt>
                <c:pt idx="3772">
                  <c:v>512</c:v>
                </c:pt>
                <c:pt idx="3773">
                  <c:v>2237</c:v>
                </c:pt>
                <c:pt idx="3774">
                  <c:v>191</c:v>
                </c:pt>
                <c:pt idx="3775">
                  <c:v>2172</c:v>
                </c:pt>
                <c:pt idx="3776">
                  <c:v>6194</c:v>
                </c:pt>
                <c:pt idx="3777">
                  <c:v>3047</c:v>
                </c:pt>
                <c:pt idx="3778">
                  <c:v>82</c:v>
                </c:pt>
                <c:pt idx="3779">
                  <c:v>871</c:v>
                </c:pt>
                <c:pt idx="3780">
                  <c:v>1108</c:v>
                </c:pt>
                <c:pt idx="3781">
                  <c:v>6444</c:v>
                </c:pt>
                <c:pt idx="3782">
                  <c:v>1189</c:v>
                </c:pt>
                <c:pt idx="3783">
                  <c:v>4837</c:v>
                </c:pt>
                <c:pt idx="3784">
                  <c:v>1317</c:v>
                </c:pt>
                <c:pt idx="3785">
                  <c:v>9576</c:v>
                </c:pt>
                <c:pt idx="3786">
                  <c:v>5681</c:v>
                </c:pt>
                <c:pt idx="3787">
                  <c:v>2851</c:v>
                </c:pt>
                <c:pt idx="3788">
                  <c:v>2017</c:v>
                </c:pt>
                <c:pt idx="3789">
                  <c:v>935</c:v>
                </c:pt>
                <c:pt idx="3790">
                  <c:v>15640</c:v>
                </c:pt>
                <c:pt idx="3791">
                  <c:v>282</c:v>
                </c:pt>
                <c:pt idx="3792">
                  <c:v>984</c:v>
                </c:pt>
                <c:pt idx="3793">
                  <c:v>1734</c:v>
                </c:pt>
                <c:pt idx="3794">
                  <c:v>926</c:v>
                </c:pt>
                <c:pt idx="3795">
                  <c:v>68</c:v>
                </c:pt>
                <c:pt idx="3796">
                  <c:v>2571</c:v>
                </c:pt>
                <c:pt idx="3797">
                  <c:v>2362</c:v>
                </c:pt>
                <c:pt idx="3798">
                  <c:v>668</c:v>
                </c:pt>
                <c:pt idx="3799">
                  <c:v>2736</c:v>
                </c:pt>
                <c:pt idx="3800">
                  <c:v>513</c:v>
                </c:pt>
                <c:pt idx="3801">
                  <c:v>67</c:v>
                </c:pt>
                <c:pt idx="3802">
                  <c:v>9367</c:v>
                </c:pt>
                <c:pt idx="3803">
                  <c:v>1360</c:v>
                </c:pt>
                <c:pt idx="3804">
                  <c:v>7914</c:v>
                </c:pt>
                <c:pt idx="3805">
                  <c:v>3297</c:v>
                </c:pt>
                <c:pt idx="3806">
                  <c:v>2942</c:v>
                </c:pt>
                <c:pt idx="3807">
                  <c:v>447</c:v>
                </c:pt>
                <c:pt idx="3808">
                  <c:v>2067</c:v>
                </c:pt>
                <c:pt idx="3809">
                  <c:v>27680</c:v>
                </c:pt>
                <c:pt idx="3810">
                  <c:v>6771</c:v>
                </c:pt>
                <c:pt idx="3811">
                  <c:v>3505</c:v>
                </c:pt>
                <c:pt idx="3812">
                  <c:v>1956</c:v>
                </c:pt>
                <c:pt idx="3813">
                  <c:v>776</c:v>
                </c:pt>
                <c:pt idx="3814">
                  <c:v>99</c:v>
                </c:pt>
                <c:pt idx="3815">
                  <c:v>3532</c:v>
                </c:pt>
                <c:pt idx="3816">
                  <c:v>12060</c:v>
                </c:pt>
                <c:pt idx="3817">
                  <c:v>11856</c:v>
                </c:pt>
                <c:pt idx="3818">
                  <c:v>4587</c:v>
                </c:pt>
                <c:pt idx="3819">
                  <c:v>20905</c:v>
                </c:pt>
                <c:pt idx="3820">
                  <c:v>7833</c:v>
                </c:pt>
                <c:pt idx="3821">
                  <c:v>6635</c:v>
                </c:pt>
                <c:pt idx="3822">
                  <c:v>18257</c:v>
                </c:pt>
                <c:pt idx="3823">
                  <c:v>5900</c:v>
                </c:pt>
                <c:pt idx="3824">
                  <c:v>8460</c:v>
                </c:pt>
                <c:pt idx="3825">
                  <c:v>13146</c:v>
                </c:pt>
                <c:pt idx="3826">
                  <c:v>11152</c:v>
                </c:pt>
                <c:pt idx="3827">
                  <c:v>11295</c:v>
                </c:pt>
                <c:pt idx="3828">
                  <c:v>6277</c:v>
                </c:pt>
                <c:pt idx="3829">
                  <c:v>13211</c:v>
                </c:pt>
                <c:pt idx="3830">
                  <c:v>10896</c:v>
                </c:pt>
                <c:pt idx="3831">
                  <c:v>6406</c:v>
                </c:pt>
                <c:pt idx="3832">
                  <c:v>11871</c:v>
                </c:pt>
                <c:pt idx="3833">
                  <c:v>20432</c:v>
                </c:pt>
                <c:pt idx="3834">
                  <c:v>5251</c:v>
                </c:pt>
                <c:pt idx="3835">
                  <c:v>15144</c:v>
                </c:pt>
                <c:pt idx="3836">
                  <c:v>16817</c:v>
                </c:pt>
                <c:pt idx="3837">
                  <c:v>2749</c:v>
                </c:pt>
                <c:pt idx="3838">
                  <c:v>92</c:v>
                </c:pt>
                <c:pt idx="3839">
                  <c:v>553</c:v>
                </c:pt>
                <c:pt idx="3840">
                  <c:v>1458</c:v>
                </c:pt>
                <c:pt idx="3841">
                  <c:v>874</c:v>
                </c:pt>
                <c:pt idx="3842">
                  <c:v>1223</c:v>
                </c:pt>
                <c:pt idx="3843">
                  <c:v>197</c:v>
                </c:pt>
                <c:pt idx="3844">
                  <c:v>1004</c:v>
                </c:pt>
                <c:pt idx="3845">
                  <c:v>669</c:v>
                </c:pt>
                <c:pt idx="3846">
                  <c:v>155</c:v>
                </c:pt>
                <c:pt idx="3847">
                  <c:v>851</c:v>
                </c:pt>
                <c:pt idx="3848">
                  <c:v>1378</c:v>
                </c:pt>
                <c:pt idx="3849">
                  <c:v>286</c:v>
                </c:pt>
                <c:pt idx="3850">
                  <c:v>526</c:v>
                </c:pt>
                <c:pt idx="3851">
                  <c:v>1087</c:v>
                </c:pt>
                <c:pt idx="3852">
                  <c:v>717</c:v>
                </c:pt>
                <c:pt idx="3853">
                  <c:v>2168</c:v>
                </c:pt>
                <c:pt idx="3854">
                  <c:v>483</c:v>
                </c:pt>
                <c:pt idx="3855">
                  <c:v>462</c:v>
                </c:pt>
                <c:pt idx="3856">
                  <c:v>584</c:v>
                </c:pt>
                <c:pt idx="3857">
                  <c:v>1456</c:v>
                </c:pt>
                <c:pt idx="3858">
                  <c:v>1017</c:v>
                </c:pt>
                <c:pt idx="3859">
                  <c:v>79</c:v>
                </c:pt>
                <c:pt idx="3860">
                  <c:v>1631</c:v>
                </c:pt>
                <c:pt idx="3861">
                  <c:v>1320</c:v>
                </c:pt>
                <c:pt idx="3862">
                  <c:v>993</c:v>
                </c:pt>
                <c:pt idx="3863">
                  <c:v>395</c:v>
                </c:pt>
                <c:pt idx="3864">
                  <c:v>885</c:v>
                </c:pt>
                <c:pt idx="3865">
                  <c:v>846</c:v>
                </c:pt>
                <c:pt idx="3866">
                  <c:v>853</c:v>
                </c:pt>
                <c:pt idx="3867">
                  <c:v>906</c:v>
                </c:pt>
                <c:pt idx="3868">
                  <c:v>199</c:v>
                </c:pt>
                <c:pt idx="3869">
                  <c:v>1952</c:v>
                </c:pt>
                <c:pt idx="3870">
                  <c:v>486</c:v>
                </c:pt>
                <c:pt idx="3871">
                  <c:v>188</c:v>
                </c:pt>
                <c:pt idx="3872">
                  <c:v>1208</c:v>
                </c:pt>
                <c:pt idx="3873">
                  <c:v>1237</c:v>
                </c:pt>
                <c:pt idx="3874">
                  <c:v>7622</c:v>
                </c:pt>
                <c:pt idx="3875">
                  <c:v>1017</c:v>
                </c:pt>
                <c:pt idx="3876">
                  <c:v>416</c:v>
                </c:pt>
                <c:pt idx="3877">
                  <c:v>1186</c:v>
                </c:pt>
                <c:pt idx="3878">
                  <c:v>1706</c:v>
                </c:pt>
                <c:pt idx="3879">
                  <c:v>96</c:v>
                </c:pt>
                <c:pt idx="3880">
                  <c:v>1141</c:v>
                </c:pt>
                <c:pt idx="3881">
                  <c:v>183</c:v>
                </c:pt>
                <c:pt idx="3882">
                  <c:v>2593</c:v>
                </c:pt>
                <c:pt idx="3883">
                  <c:v>763</c:v>
                </c:pt>
                <c:pt idx="3884">
                  <c:v>965</c:v>
                </c:pt>
                <c:pt idx="3885">
                  <c:v>46</c:v>
                </c:pt>
                <c:pt idx="3886">
                  <c:v>382</c:v>
                </c:pt>
                <c:pt idx="3887">
                  <c:v>1998</c:v>
                </c:pt>
                <c:pt idx="3888">
                  <c:v>2050</c:v>
                </c:pt>
                <c:pt idx="3889">
                  <c:v>1236</c:v>
                </c:pt>
                <c:pt idx="3890">
                  <c:v>577</c:v>
                </c:pt>
                <c:pt idx="3891">
                  <c:v>713</c:v>
                </c:pt>
                <c:pt idx="3892">
                  <c:v>362</c:v>
                </c:pt>
                <c:pt idx="3893">
                  <c:v>807</c:v>
                </c:pt>
                <c:pt idx="3894">
                  <c:v>1410</c:v>
                </c:pt>
                <c:pt idx="3895">
                  <c:v>207</c:v>
                </c:pt>
                <c:pt idx="3896">
                  <c:v>1363</c:v>
                </c:pt>
                <c:pt idx="3897">
                  <c:v>4393</c:v>
                </c:pt>
                <c:pt idx="3898">
                  <c:v>1480</c:v>
                </c:pt>
                <c:pt idx="3899">
                  <c:v>828</c:v>
                </c:pt>
                <c:pt idx="3900">
                  <c:v>919</c:v>
                </c:pt>
                <c:pt idx="3901">
                  <c:v>339</c:v>
                </c:pt>
                <c:pt idx="3902">
                  <c:v>213</c:v>
                </c:pt>
                <c:pt idx="3903">
                  <c:v>1621</c:v>
                </c:pt>
                <c:pt idx="3904">
                  <c:v>1127</c:v>
                </c:pt>
                <c:pt idx="3905">
                  <c:v>256</c:v>
                </c:pt>
                <c:pt idx="3906">
                  <c:v>318</c:v>
                </c:pt>
                <c:pt idx="3907">
                  <c:v>1386</c:v>
                </c:pt>
                <c:pt idx="3908">
                  <c:v>355</c:v>
                </c:pt>
                <c:pt idx="3909">
                  <c:v>1417</c:v>
                </c:pt>
                <c:pt idx="3910">
                  <c:v>338</c:v>
                </c:pt>
                <c:pt idx="3911">
                  <c:v>383</c:v>
                </c:pt>
                <c:pt idx="3912">
                  <c:v>904</c:v>
                </c:pt>
                <c:pt idx="3913">
                  <c:v>9613</c:v>
                </c:pt>
                <c:pt idx="3914">
                  <c:v>413</c:v>
                </c:pt>
                <c:pt idx="3915">
                  <c:v>2359</c:v>
                </c:pt>
                <c:pt idx="3916">
                  <c:v>869</c:v>
                </c:pt>
                <c:pt idx="3917">
                  <c:v>298</c:v>
                </c:pt>
                <c:pt idx="3918">
                  <c:v>1104</c:v>
                </c:pt>
                <c:pt idx="3919">
                  <c:v>315</c:v>
                </c:pt>
                <c:pt idx="3920">
                  <c:v>422</c:v>
                </c:pt>
                <c:pt idx="3921">
                  <c:v>5375</c:v>
                </c:pt>
                <c:pt idx="3922">
                  <c:v>9499</c:v>
                </c:pt>
                <c:pt idx="3923">
                  <c:v>383</c:v>
                </c:pt>
                <c:pt idx="3924">
                  <c:v>1103</c:v>
                </c:pt>
                <c:pt idx="3925">
                  <c:v>32594</c:v>
                </c:pt>
                <c:pt idx="3926">
                  <c:v>286</c:v>
                </c:pt>
                <c:pt idx="3927">
                  <c:v>585</c:v>
                </c:pt>
                <c:pt idx="3928">
                  <c:v>506</c:v>
                </c:pt>
                <c:pt idx="3929">
                  <c:v>513</c:v>
                </c:pt>
                <c:pt idx="3930">
                  <c:v>368</c:v>
                </c:pt>
                <c:pt idx="3931">
                  <c:v>532</c:v>
                </c:pt>
                <c:pt idx="3932">
                  <c:v>1016</c:v>
                </c:pt>
                <c:pt idx="3933">
                  <c:v>2793</c:v>
                </c:pt>
                <c:pt idx="3934">
                  <c:v>684</c:v>
                </c:pt>
                <c:pt idx="3935">
                  <c:v>4605</c:v>
                </c:pt>
                <c:pt idx="3936">
                  <c:v>1801</c:v>
                </c:pt>
                <c:pt idx="3937">
                  <c:v>129</c:v>
                </c:pt>
                <c:pt idx="3938">
                  <c:v>887</c:v>
                </c:pt>
                <c:pt idx="3939">
                  <c:v>65</c:v>
                </c:pt>
                <c:pt idx="3940">
                  <c:v>285</c:v>
                </c:pt>
                <c:pt idx="3941">
                  <c:v>250</c:v>
                </c:pt>
                <c:pt idx="3942">
                  <c:v>1034</c:v>
                </c:pt>
                <c:pt idx="3943">
                  <c:v>630</c:v>
                </c:pt>
                <c:pt idx="3944">
                  <c:v>2064</c:v>
                </c:pt>
                <c:pt idx="3945">
                  <c:v>2281</c:v>
                </c:pt>
                <c:pt idx="3946">
                  <c:v>113</c:v>
                </c:pt>
                <c:pt idx="3947">
                  <c:v>280</c:v>
                </c:pt>
                <c:pt idx="3948">
                  <c:v>3266</c:v>
                </c:pt>
                <c:pt idx="3949">
                  <c:v>590</c:v>
                </c:pt>
                <c:pt idx="3950">
                  <c:v>1855</c:v>
                </c:pt>
                <c:pt idx="3951">
                  <c:v>3599</c:v>
                </c:pt>
                <c:pt idx="3952">
                  <c:v>491</c:v>
                </c:pt>
                <c:pt idx="3953">
                  <c:v>4062</c:v>
                </c:pt>
                <c:pt idx="3954">
                  <c:v>267</c:v>
                </c:pt>
                <c:pt idx="3955">
                  <c:v>676</c:v>
                </c:pt>
                <c:pt idx="3956">
                  <c:v>4675</c:v>
                </c:pt>
                <c:pt idx="3957">
                  <c:v>3383</c:v>
                </c:pt>
                <c:pt idx="3958">
                  <c:v>6906</c:v>
                </c:pt>
                <c:pt idx="3959">
                  <c:v>4281</c:v>
                </c:pt>
                <c:pt idx="3960">
                  <c:v>15457</c:v>
                </c:pt>
                <c:pt idx="3961">
                  <c:v>6053</c:v>
                </c:pt>
                <c:pt idx="3962">
                  <c:v>240</c:v>
                </c:pt>
                <c:pt idx="3963">
                  <c:v>4811</c:v>
                </c:pt>
                <c:pt idx="3964">
                  <c:v>263</c:v>
                </c:pt>
                <c:pt idx="3965">
                  <c:v>6958</c:v>
                </c:pt>
                <c:pt idx="3966">
                  <c:v>12610</c:v>
                </c:pt>
                <c:pt idx="3967">
                  <c:v>6862</c:v>
                </c:pt>
                <c:pt idx="3968">
                  <c:v>1504</c:v>
                </c:pt>
                <c:pt idx="3969">
                  <c:v>572</c:v>
                </c:pt>
                <c:pt idx="3970">
                  <c:v>8383</c:v>
                </c:pt>
                <c:pt idx="3971">
                  <c:v>402</c:v>
                </c:pt>
                <c:pt idx="3972">
                  <c:v>686</c:v>
                </c:pt>
                <c:pt idx="3973">
                  <c:v>3085</c:v>
                </c:pt>
                <c:pt idx="3974">
                  <c:v>4461</c:v>
                </c:pt>
                <c:pt idx="3975">
                  <c:v>4564</c:v>
                </c:pt>
                <c:pt idx="3976">
                  <c:v>7668</c:v>
                </c:pt>
                <c:pt idx="3977">
                  <c:v>2029</c:v>
                </c:pt>
                <c:pt idx="3978">
                  <c:v>1075</c:v>
                </c:pt>
                <c:pt idx="3979">
                  <c:v>55</c:v>
                </c:pt>
                <c:pt idx="3980">
                  <c:v>507</c:v>
                </c:pt>
                <c:pt idx="3981">
                  <c:v>289</c:v>
                </c:pt>
                <c:pt idx="3982">
                  <c:v>1985</c:v>
                </c:pt>
                <c:pt idx="3983">
                  <c:v>698</c:v>
                </c:pt>
                <c:pt idx="3984">
                  <c:v>1039</c:v>
                </c:pt>
                <c:pt idx="3985">
                  <c:v>4753</c:v>
                </c:pt>
                <c:pt idx="3986">
                  <c:v>188</c:v>
                </c:pt>
                <c:pt idx="3987">
                  <c:v>3484</c:v>
                </c:pt>
                <c:pt idx="3988">
                  <c:v>1123</c:v>
                </c:pt>
                <c:pt idx="3989">
                  <c:v>13988</c:v>
                </c:pt>
                <c:pt idx="3990">
                  <c:v>2329</c:v>
                </c:pt>
                <c:pt idx="3991">
                  <c:v>1244</c:v>
                </c:pt>
                <c:pt idx="3992">
                  <c:v>410</c:v>
                </c:pt>
                <c:pt idx="3993">
                  <c:v>1099</c:v>
                </c:pt>
                <c:pt idx="3994">
                  <c:v>222</c:v>
                </c:pt>
                <c:pt idx="3995">
                  <c:v>1437</c:v>
                </c:pt>
                <c:pt idx="3996">
                  <c:v>185</c:v>
                </c:pt>
                <c:pt idx="3997">
                  <c:v>531</c:v>
                </c:pt>
                <c:pt idx="3998">
                  <c:v>550</c:v>
                </c:pt>
                <c:pt idx="3999">
                  <c:v>8595</c:v>
                </c:pt>
                <c:pt idx="4000">
                  <c:v>1860</c:v>
                </c:pt>
                <c:pt idx="4001">
                  <c:v>426</c:v>
                </c:pt>
                <c:pt idx="4002">
                  <c:v>5867</c:v>
                </c:pt>
                <c:pt idx="4003">
                  <c:v>3042</c:v>
                </c:pt>
                <c:pt idx="4004">
                  <c:v>5234</c:v>
                </c:pt>
                <c:pt idx="4005">
                  <c:v>5629</c:v>
                </c:pt>
                <c:pt idx="4006">
                  <c:v>5682</c:v>
                </c:pt>
                <c:pt idx="4007">
                  <c:v>1036</c:v>
                </c:pt>
                <c:pt idx="4008">
                  <c:v>17728</c:v>
                </c:pt>
                <c:pt idx="4009">
                  <c:v>6861</c:v>
                </c:pt>
                <c:pt idx="4010">
                  <c:v>3817</c:v>
                </c:pt>
                <c:pt idx="4011">
                  <c:v>357</c:v>
                </c:pt>
                <c:pt idx="4012">
                  <c:v>122</c:v>
                </c:pt>
                <c:pt idx="4013">
                  <c:v>195</c:v>
                </c:pt>
                <c:pt idx="4014">
                  <c:v>200</c:v>
                </c:pt>
                <c:pt idx="4015">
                  <c:v>498</c:v>
                </c:pt>
                <c:pt idx="4016">
                  <c:v>4760</c:v>
                </c:pt>
                <c:pt idx="4017">
                  <c:v>3940</c:v>
                </c:pt>
                <c:pt idx="4018">
                  <c:v>412</c:v>
                </c:pt>
                <c:pt idx="4019">
                  <c:v>228</c:v>
                </c:pt>
                <c:pt idx="4020">
                  <c:v>2911</c:v>
                </c:pt>
                <c:pt idx="4021">
                  <c:v>13123</c:v>
                </c:pt>
                <c:pt idx="4022">
                  <c:v>14013</c:v>
                </c:pt>
                <c:pt idx="4023">
                  <c:v>15437</c:v>
                </c:pt>
                <c:pt idx="4024">
                  <c:v>3068</c:v>
                </c:pt>
                <c:pt idx="4025">
                  <c:v>10462</c:v>
                </c:pt>
                <c:pt idx="4026">
                  <c:v>21664</c:v>
                </c:pt>
                <c:pt idx="4027">
                  <c:v>2190</c:v>
                </c:pt>
                <c:pt idx="4028">
                  <c:v>1548</c:v>
                </c:pt>
                <c:pt idx="4029">
                  <c:v>7193</c:v>
                </c:pt>
                <c:pt idx="4030">
                  <c:v>8533</c:v>
                </c:pt>
                <c:pt idx="4031">
                  <c:v>9083</c:v>
                </c:pt>
                <c:pt idx="4032">
                  <c:v>3900</c:v>
                </c:pt>
                <c:pt idx="4033">
                  <c:v>5632</c:v>
                </c:pt>
                <c:pt idx="4034">
                  <c:v>3675</c:v>
                </c:pt>
                <c:pt idx="4035">
                  <c:v>7912</c:v>
                </c:pt>
                <c:pt idx="4036">
                  <c:v>3168</c:v>
                </c:pt>
                <c:pt idx="4037">
                  <c:v>2762</c:v>
                </c:pt>
                <c:pt idx="4038">
                  <c:v>10252</c:v>
                </c:pt>
                <c:pt idx="4039">
                  <c:v>3834</c:v>
                </c:pt>
                <c:pt idx="4040">
                  <c:v>3432</c:v>
                </c:pt>
                <c:pt idx="4041">
                  <c:v>1150</c:v>
                </c:pt>
                <c:pt idx="4042">
                  <c:v>782</c:v>
                </c:pt>
                <c:pt idx="4043">
                  <c:v>10331</c:v>
                </c:pt>
                <c:pt idx="4044">
                  <c:v>2081</c:v>
                </c:pt>
                <c:pt idx="4045">
                  <c:v>3014</c:v>
                </c:pt>
                <c:pt idx="4046">
                  <c:v>14352</c:v>
                </c:pt>
                <c:pt idx="4047">
                  <c:v>7518</c:v>
                </c:pt>
                <c:pt idx="4048">
                  <c:v>890</c:v>
                </c:pt>
                <c:pt idx="4049">
                  <c:v>8539</c:v>
                </c:pt>
                <c:pt idx="4050">
                  <c:v>11618</c:v>
                </c:pt>
                <c:pt idx="4051">
                  <c:v>6664</c:v>
                </c:pt>
                <c:pt idx="4052">
                  <c:v>3342</c:v>
                </c:pt>
                <c:pt idx="4053">
                  <c:v>12955</c:v>
                </c:pt>
                <c:pt idx="4054">
                  <c:v>15980</c:v>
                </c:pt>
                <c:pt idx="4055">
                  <c:v>4136</c:v>
                </c:pt>
                <c:pt idx="4056">
                  <c:v>3865</c:v>
                </c:pt>
                <c:pt idx="4057">
                  <c:v>6654</c:v>
                </c:pt>
                <c:pt idx="4058">
                  <c:v>12650</c:v>
                </c:pt>
                <c:pt idx="4059">
                  <c:v>6750</c:v>
                </c:pt>
                <c:pt idx="4060">
                  <c:v>15058</c:v>
                </c:pt>
                <c:pt idx="4061">
                  <c:v>11321</c:v>
                </c:pt>
                <c:pt idx="4062">
                  <c:v>6740</c:v>
                </c:pt>
                <c:pt idx="4063">
                  <c:v>6151</c:v>
                </c:pt>
                <c:pt idx="4064">
                  <c:v>12972</c:v>
                </c:pt>
                <c:pt idx="4065">
                  <c:v>14112</c:v>
                </c:pt>
                <c:pt idx="4066">
                  <c:v>7789</c:v>
                </c:pt>
                <c:pt idx="4067">
                  <c:v>4360</c:v>
                </c:pt>
                <c:pt idx="4068">
                  <c:v>10219</c:v>
                </c:pt>
                <c:pt idx="4069">
                  <c:v>14147</c:v>
                </c:pt>
                <c:pt idx="4070">
                  <c:v>3745</c:v>
                </c:pt>
                <c:pt idx="4071">
                  <c:v>3707</c:v>
                </c:pt>
                <c:pt idx="4072">
                  <c:v>6797</c:v>
                </c:pt>
                <c:pt idx="4073">
                  <c:v>476</c:v>
                </c:pt>
                <c:pt idx="4074">
                  <c:v>6991</c:v>
                </c:pt>
                <c:pt idx="4075">
                  <c:v>15013</c:v>
                </c:pt>
                <c:pt idx="4076">
                  <c:v>9329</c:v>
                </c:pt>
                <c:pt idx="4077">
                  <c:v>8039</c:v>
                </c:pt>
                <c:pt idx="4078">
                  <c:v>7402</c:v>
                </c:pt>
                <c:pt idx="4079">
                  <c:v>1518</c:v>
                </c:pt>
                <c:pt idx="4080">
                  <c:v>7785</c:v>
                </c:pt>
                <c:pt idx="4081">
                  <c:v>17220</c:v>
                </c:pt>
                <c:pt idx="4082">
                  <c:v>15587</c:v>
                </c:pt>
                <c:pt idx="4083">
                  <c:v>21720</c:v>
                </c:pt>
                <c:pt idx="4084">
                  <c:v>5970</c:v>
                </c:pt>
                <c:pt idx="4085">
                  <c:v>11388</c:v>
                </c:pt>
                <c:pt idx="4086">
                  <c:v>10587</c:v>
                </c:pt>
                <c:pt idx="4087">
                  <c:v>6106</c:v>
                </c:pt>
                <c:pt idx="4088">
                  <c:v>23731</c:v>
                </c:pt>
                <c:pt idx="4089">
                  <c:v>60</c:v>
                </c:pt>
                <c:pt idx="4090">
                  <c:v>539</c:v>
                </c:pt>
                <c:pt idx="4091">
                  <c:v>1699</c:v>
                </c:pt>
                <c:pt idx="4092">
                  <c:v>190</c:v>
                </c:pt>
                <c:pt idx="4093">
                  <c:v>1394</c:v>
                </c:pt>
                <c:pt idx="4094">
                  <c:v>278</c:v>
                </c:pt>
                <c:pt idx="4095">
                  <c:v>22124</c:v>
                </c:pt>
                <c:pt idx="4096">
                  <c:v>2164</c:v>
                </c:pt>
                <c:pt idx="4097">
                  <c:v>983</c:v>
                </c:pt>
                <c:pt idx="4098">
                  <c:v>774</c:v>
                </c:pt>
                <c:pt idx="4099">
                  <c:v>1880</c:v>
                </c:pt>
                <c:pt idx="4100">
                  <c:v>307</c:v>
                </c:pt>
                <c:pt idx="4101">
                  <c:v>481</c:v>
                </c:pt>
                <c:pt idx="4102">
                  <c:v>696</c:v>
                </c:pt>
                <c:pt idx="4103">
                  <c:v>2545</c:v>
                </c:pt>
                <c:pt idx="4104">
                  <c:v>283</c:v>
                </c:pt>
                <c:pt idx="4105">
                  <c:v>4867</c:v>
                </c:pt>
                <c:pt idx="4106">
                  <c:v>809</c:v>
                </c:pt>
                <c:pt idx="4107">
                  <c:v>141</c:v>
                </c:pt>
                <c:pt idx="4108">
                  <c:v>1248</c:v>
                </c:pt>
                <c:pt idx="4109">
                  <c:v>213</c:v>
                </c:pt>
                <c:pt idx="4110">
                  <c:v>653</c:v>
                </c:pt>
                <c:pt idx="4111">
                  <c:v>433</c:v>
                </c:pt>
                <c:pt idx="4112">
                  <c:v>289</c:v>
                </c:pt>
                <c:pt idx="4113">
                  <c:v>2642</c:v>
                </c:pt>
                <c:pt idx="4114">
                  <c:v>580</c:v>
                </c:pt>
                <c:pt idx="4115">
                  <c:v>492</c:v>
                </c:pt>
                <c:pt idx="4116">
                  <c:v>202</c:v>
                </c:pt>
                <c:pt idx="4117">
                  <c:v>720</c:v>
                </c:pt>
                <c:pt idx="4118">
                  <c:v>330</c:v>
                </c:pt>
                <c:pt idx="4119">
                  <c:v>274</c:v>
                </c:pt>
                <c:pt idx="4120">
                  <c:v>27</c:v>
                </c:pt>
                <c:pt idx="4121">
                  <c:v>620</c:v>
                </c:pt>
                <c:pt idx="4122">
                  <c:v>678</c:v>
                </c:pt>
                <c:pt idx="4123">
                  <c:v>130</c:v>
                </c:pt>
                <c:pt idx="4124">
                  <c:v>797</c:v>
                </c:pt>
                <c:pt idx="4125">
                  <c:v>280</c:v>
                </c:pt>
                <c:pt idx="4126">
                  <c:v>341</c:v>
                </c:pt>
                <c:pt idx="4127">
                  <c:v>291</c:v>
                </c:pt>
                <c:pt idx="4128">
                  <c:v>108</c:v>
                </c:pt>
                <c:pt idx="4129">
                  <c:v>4720</c:v>
                </c:pt>
                <c:pt idx="4130">
                  <c:v>122</c:v>
                </c:pt>
                <c:pt idx="4131">
                  <c:v>4884</c:v>
                </c:pt>
                <c:pt idx="4132">
                  <c:v>671</c:v>
                </c:pt>
                <c:pt idx="4133">
                  <c:v>269</c:v>
                </c:pt>
                <c:pt idx="4134">
                  <c:v>38</c:v>
                </c:pt>
                <c:pt idx="4135">
                  <c:v>197</c:v>
                </c:pt>
                <c:pt idx="4136">
                  <c:v>12171</c:v>
                </c:pt>
                <c:pt idx="4137">
                  <c:v>470</c:v>
                </c:pt>
                <c:pt idx="4138">
                  <c:v>300</c:v>
                </c:pt>
                <c:pt idx="4139">
                  <c:v>101</c:v>
                </c:pt>
                <c:pt idx="4140">
                  <c:v>127</c:v>
                </c:pt>
                <c:pt idx="4141">
                  <c:v>245</c:v>
                </c:pt>
                <c:pt idx="4142">
                  <c:v>3312</c:v>
                </c:pt>
                <c:pt idx="4143">
                  <c:v>1818</c:v>
                </c:pt>
                <c:pt idx="4144">
                  <c:v>867</c:v>
                </c:pt>
                <c:pt idx="4145">
                  <c:v>788</c:v>
                </c:pt>
                <c:pt idx="4146">
                  <c:v>7814</c:v>
                </c:pt>
                <c:pt idx="4147">
                  <c:v>367</c:v>
                </c:pt>
                <c:pt idx="4148">
                  <c:v>894</c:v>
                </c:pt>
                <c:pt idx="4149">
                  <c:v>145</c:v>
                </c:pt>
                <c:pt idx="4150">
                  <c:v>1824</c:v>
                </c:pt>
                <c:pt idx="4151">
                  <c:v>201</c:v>
                </c:pt>
                <c:pt idx="4152">
                  <c:v>175</c:v>
                </c:pt>
                <c:pt idx="4153">
                  <c:v>91</c:v>
                </c:pt>
                <c:pt idx="4154">
                  <c:v>1187</c:v>
                </c:pt>
                <c:pt idx="4155">
                  <c:v>1246</c:v>
                </c:pt>
                <c:pt idx="4156">
                  <c:v>999</c:v>
                </c:pt>
                <c:pt idx="4157">
                  <c:v>64</c:v>
                </c:pt>
                <c:pt idx="4158">
                  <c:v>779</c:v>
                </c:pt>
                <c:pt idx="4159">
                  <c:v>1140</c:v>
                </c:pt>
                <c:pt idx="4160">
                  <c:v>89</c:v>
                </c:pt>
                <c:pt idx="4161">
                  <c:v>107</c:v>
                </c:pt>
                <c:pt idx="4162">
                  <c:v>88</c:v>
                </c:pt>
                <c:pt idx="4163">
                  <c:v>281</c:v>
                </c:pt>
                <c:pt idx="4164">
                  <c:v>300</c:v>
                </c:pt>
                <c:pt idx="4165">
                  <c:v>1019</c:v>
                </c:pt>
                <c:pt idx="4166">
                  <c:v>658</c:v>
                </c:pt>
                <c:pt idx="4167">
                  <c:v>47</c:v>
                </c:pt>
                <c:pt idx="4168">
                  <c:v>1368</c:v>
                </c:pt>
                <c:pt idx="4169">
                  <c:v>848</c:v>
                </c:pt>
                <c:pt idx="4170">
                  <c:v>163</c:v>
                </c:pt>
                <c:pt idx="4171">
                  <c:v>57</c:v>
                </c:pt>
                <c:pt idx="4172">
                  <c:v>1129</c:v>
                </c:pt>
                <c:pt idx="4173">
                  <c:v>712</c:v>
                </c:pt>
                <c:pt idx="4174">
                  <c:v>277</c:v>
                </c:pt>
                <c:pt idx="4175">
                  <c:v>1665</c:v>
                </c:pt>
                <c:pt idx="4176">
                  <c:v>932</c:v>
                </c:pt>
                <c:pt idx="4177">
                  <c:v>394</c:v>
                </c:pt>
                <c:pt idx="4178">
                  <c:v>375</c:v>
                </c:pt>
                <c:pt idx="4179">
                  <c:v>159</c:v>
                </c:pt>
                <c:pt idx="4180">
                  <c:v>2827</c:v>
                </c:pt>
                <c:pt idx="4181">
                  <c:v>1111</c:v>
                </c:pt>
                <c:pt idx="4182">
                  <c:v>504</c:v>
                </c:pt>
                <c:pt idx="4183">
                  <c:v>172</c:v>
                </c:pt>
                <c:pt idx="4184">
                  <c:v>844</c:v>
                </c:pt>
                <c:pt idx="4185">
                  <c:v>131</c:v>
                </c:pt>
                <c:pt idx="4186">
                  <c:v>119</c:v>
                </c:pt>
                <c:pt idx="4187">
                  <c:v>6483</c:v>
                </c:pt>
                <c:pt idx="4188">
                  <c:v>72</c:v>
                </c:pt>
                <c:pt idx="4189">
                  <c:v>846</c:v>
                </c:pt>
                <c:pt idx="4190">
                  <c:v>4974</c:v>
                </c:pt>
                <c:pt idx="4191">
                  <c:v>2117</c:v>
                </c:pt>
                <c:pt idx="4192">
                  <c:v>1503</c:v>
                </c:pt>
                <c:pt idx="4193">
                  <c:v>71</c:v>
                </c:pt>
                <c:pt idx="4194">
                  <c:v>575</c:v>
                </c:pt>
                <c:pt idx="4195">
                  <c:v>443</c:v>
                </c:pt>
                <c:pt idx="4196">
                  <c:v>984</c:v>
                </c:pt>
                <c:pt idx="4197">
                  <c:v>160</c:v>
                </c:pt>
                <c:pt idx="4198">
                  <c:v>3639</c:v>
                </c:pt>
                <c:pt idx="4199">
                  <c:v>278</c:v>
                </c:pt>
                <c:pt idx="4200">
                  <c:v>131</c:v>
                </c:pt>
                <c:pt idx="4201">
                  <c:v>1574</c:v>
                </c:pt>
                <c:pt idx="4202">
                  <c:v>443</c:v>
                </c:pt>
                <c:pt idx="4203">
                  <c:v>1237</c:v>
                </c:pt>
                <c:pt idx="4204">
                  <c:v>229</c:v>
                </c:pt>
                <c:pt idx="4205">
                  <c:v>541</c:v>
                </c:pt>
                <c:pt idx="4206">
                  <c:v>825</c:v>
                </c:pt>
                <c:pt idx="4207">
                  <c:v>248</c:v>
                </c:pt>
                <c:pt idx="4208">
                  <c:v>2888</c:v>
                </c:pt>
                <c:pt idx="4209">
                  <c:v>1175</c:v>
                </c:pt>
                <c:pt idx="4210">
                  <c:v>66</c:v>
                </c:pt>
                <c:pt idx="4211">
                  <c:v>1513</c:v>
                </c:pt>
                <c:pt idx="4212">
                  <c:v>1142</c:v>
                </c:pt>
                <c:pt idx="4213">
                  <c:v>195</c:v>
                </c:pt>
                <c:pt idx="4214">
                  <c:v>967</c:v>
                </c:pt>
                <c:pt idx="4215">
                  <c:v>79</c:v>
                </c:pt>
                <c:pt idx="4216">
                  <c:v>79</c:v>
                </c:pt>
                <c:pt idx="4217">
                  <c:v>199</c:v>
                </c:pt>
                <c:pt idx="4218">
                  <c:v>1261</c:v>
                </c:pt>
                <c:pt idx="4219">
                  <c:v>45</c:v>
                </c:pt>
                <c:pt idx="4220">
                  <c:v>26688</c:v>
                </c:pt>
                <c:pt idx="4221">
                  <c:v>1918</c:v>
                </c:pt>
                <c:pt idx="4222">
                  <c:v>151</c:v>
                </c:pt>
                <c:pt idx="4223">
                  <c:v>205</c:v>
                </c:pt>
                <c:pt idx="4224">
                  <c:v>6174</c:v>
                </c:pt>
                <c:pt idx="4225">
                  <c:v>216</c:v>
                </c:pt>
                <c:pt idx="4226">
                  <c:v>164</c:v>
                </c:pt>
                <c:pt idx="4227">
                  <c:v>1083</c:v>
                </c:pt>
                <c:pt idx="4228">
                  <c:v>194</c:v>
                </c:pt>
                <c:pt idx="4229">
                  <c:v>635</c:v>
                </c:pt>
                <c:pt idx="4230">
                  <c:v>505</c:v>
                </c:pt>
                <c:pt idx="4231">
                  <c:v>2410</c:v>
                </c:pt>
                <c:pt idx="4232">
                  <c:v>2824</c:v>
                </c:pt>
                <c:pt idx="4233">
                  <c:v>150</c:v>
                </c:pt>
                <c:pt idx="4234">
                  <c:v>350</c:v>
                </c:pt>
                <c:pt idx="4235">
                  <c:v>504</c:v>
                </c:pt>
                <c:pt idx="4236">
                  <c:v>4885</c:v>
                </c:pt>
                <c:pt idx="4237">
                  <c:v>2639</c:v>
                </c:pt>
                <c:pt idx="4238">
                  <c:v>818</c:v>
                </c:pt>
                <c:pt idx="4239">
                  <c:v>1161</c:v>
                </c:pt>
                <c:pt idx="4240">
                  <c:v>240</c:v>
                </c:pt>
                <c:pt idx="4241">
                  <c:v>248</c:v>
                </c:pt>
                <c:pt idx="4242">
                  <c:v>23779</c:v>
                </c:pt>
                <c:pt idx="4243">
                  <c:v>8706</c:v>
                </c:pt>
                <c:pt idx="4244">
                  <c:v>86</c:v>
                </c:pt>
                <c:pt idx="4245">
                  <c:v>12411</c:v>
                </c:pt>
                <c:pt idx="4246">
                  <c:v>71</c:v>
                </c:pt>
                <c:pt idx="4247">
                  <c:v>4454</c:v>
                </c:pt>
                <c:pt idx="4248">
                  <c:v>4311</c:v>
                </c:pt>
                <c:pt idx="4249">
                  <c:v>134</c:v>
                </c:pt>
                <c:pt idx="4250">
                  <c:v>375</c:v>
                </c:pt>
                <c:pt idx="4251">
                  <c:v>524</c:v>
                </c:pt>
                <c:pt idx="4252">
                  <c:v>275</c:v>
                </c:pt>
                <c:pt idx="4253">
                  <c:v>691</c:v>
                </c:pt>
                <c:pt idx="4254">
                  <c:v>6789</c:v>
                </c:pt>
                <c:pt idx="4255">
                  <c:v>6646</c:v>
                </c:pt>
                <c:pt idx="4256">
                  <c:v>1513</c:v>
                </c:pt>
                <c:pt idx="4257">
                  <c:v>262</c:v>
                </c:pt>
                <c:pt idx="4258">
                  <c:v>1669</c:v>
                </c:pt>
                <c:pt idx="4259">
                  <c:v>609</c:v>
                </c:pt>
                <c:pt idx="4260">
                  <c:v>175</c:v>
                </c:pt>
                <c:pt idx="4261">
                  <c:v>463</c:v>
                </c:pt>
                <c:pt idx="4262">
                  <c:v>354</c:v>
                </c:pt>
                <c:pt idx="4263">
                  <c:v>152</c:v>
                </c:pt>
                <c:pt idx="4264">
                  <c:v>373</c:v>
                </c:pt>
                <c:pt idx="4265">
                  <c:v>1168</c:v>
                </c:pt>
                <c:pt idx="4266">
                  <c:v>2050</c:v>
                </c:pt>
                <c:pt idx="4267">
                  <c:v>122</c:v>
                </c:pt>
                <c:pt idx="4268">
                  <c:v>3412</c:v>
                </c:pt>
                <c:pt idx="4269">
                  <c:v>143</c:v>
                </c:pt>
                <c:pt idx="4270">
                  <c:v>389</c:v>
                </c:pt>
                <c:pt idx="4271">
                  <c:v>480</c:v>
                </c:pt>
                <c:pt idx="4272">
                  <c:v>563</c:v>
                </c:pt>
                <c:pt idx="4273">
                  <c:v>4279</c:v>
                </c:pt>
                <c:pt idx="4274">
                  <c:v>307</c:v>
                </c:pt>
                <c:pt idx="4275">
                  <c:v>386</c:v>
                </c:pt>
                <c:pt idx="4276">
                  <c:v>161</c:v>
                </c:pt>
                <c:pt idx="4277">
                  <c:v>120</c:v>
                </c:pt>
                <c:pt idx="4278">
                  <c:v>1592</c:v>
                </c:pt>
                <c:pt idx="4279">
                  <c:v>13506</c:v>
                </c:pt>
                <c:pt idx="4280">
                  <c:v>107</c:v>
                </c:pt>
                <c:pt idx="4281">
                  <c:v>134</c:v>
                </c:pt>
                <c:pt idx="4282">
                  <c:v>1955</c:v>
                </c:pt>
                <c:pt idx="4283">
                  <c:v>227</c:v>
                </c:pt>
                <c:pt idx="4284">
                  <c:v>4522</c:v>
                </c:pt>
                <c:pt idx="4285">
                  <c:v>69</c:v>
                </c:pt>
                <c:pt idx="4286">
                  <c:v>1037</c:v>
                </c:pt>
                <c:pt idx="4287">
                  <c:v>1050</c:v>
                </c:pt>
                <c:pt idx="4288">
                  <c:v>569</c:v>
                </c:pt>
                <c:pt idx="4289">
                  <c:v>80</c:v>
                </c:pt>
                <c:pt idx="4290">
                  <c:v>1366</c:v>
                </c:pt>
                <c:pt idx="4291">
                  <c:v>530</c:v>
                </c:pt>
                <c:pt idx="4292">
                  <c:v>89</c:v>
                </c:pt>
                <c:pt idx="4293">
                  <c:v>695</c:v>
                </c:pt>
                <c:pt idx="4294">
                  <c:v>161</c:v>
                </c:pt>
                <c:pt idx="4295">
                  <c:v>140</c:v>
                </c:pt>
                <c:pt idx="4296">
                  <c:v>50</c:v>
                </c:pt>
                <c:pt idx="4297">
                  <c:v>52</c:v>
                </c:pt>
                <c:pt idx="4298">
                  <c:v>209</c:v>
                </c:pt>
                <c:pt idx="4299">
                  <c:v>26</c:v>
                </c:pt>
                <c:pt idx="4300">
                  <c:v>369</c:v>
                </c:pt>
                <c:pt idx="4301">
                  <c:v>122</c:v>
                </c:pt>
                <c:pt idx="4302">
                  <c:v>844</c:v>
                </c:pt>
                <c:pt idx="4303">
                  <c:v>3292</c:v>
                </c:pt>
                <c:pt idx="4304">
                  <c:v>148</c:v>
                </c:pt>
                <c:pt idx="4305">
                  <c:v>87</c:v>
                </c:pt>
                <c:pt idx="4306">
                  <c:v>515</c:v>
                </c:pt>
                <c:pt idx="4307">
                  <c:v>1258</c:v>
                </c:pt>
                <c:pt idx="4308">
                  <c:v>36</c:v>
                </c:pt>
                <c:pt idx="4309">
                  <c:v>66</c:v>
                </c:pt>
                <c:pt idx="4310">
                  <c:v>457</c:v>
                </c:pt>
                <c:pt idx="4311">
                  <c:v>717</c:v>
                </c:pt>
                <c:pt idx="4312">
                  <c:v>5736</c:v>
                </c:pt>
                <c:pt idx="4313">
                  <c:v>67</c:v>
                </c:pt>
                <c:pt idx="4314">
                  <c:v>387</c:v>
                </c:pt>
                <c:pt idx="4315">
                  <c:v>693</c:v>
                </c:pt>
                <c:pt idx="4316">
                  <c:v>124</c:v>
                </c:pt>
                <c:pt idx="4317">
                  <c:v>1401</c:v>
                </c:pt>
                <c:pt idx="4318">
                  <c:v>306</c:v>
                </c:pt>
                <c:pt idx="4319">
                  <c:v>123</c:v>
                </c:pt>
                <c:pt idx="4320">
                  <c:v>80</c:v>
                </c:pt>
                <c:pt idx="4321">
                  <c:v>50</c:v>
                </c:pt>
                <c:pt idx="4322">
                  <c:v>27</c:v>
                </c:pt>
                <c:pt idx="4323">
                  <c:v>48</c:v>
                </c:pt>
                <c:pt idx="4324">
                  <c:v>44</c:v>
                </c:pt>
                <c:pt idx="4325">
                  <c:v>9266</c:v>
                </c:pt>
                <c:pt idx="4326">
                  <c:v>40</c:v>
                </c:pt>
                <c:pt idx="4327">
                  <c:v>577</c:v>
                </c:pt>
                <c:pt idx="4328">
                  <c:v>2333</c:v>
                </c:pt>
                <c:pt idx="4329">
                  <c:v>4599</c:v>
                </c:pt>
                <c:pt idx="4330">
                  <c:v>227</c:v>
                </c:pt>
                <c:pt idx="4331">
                  <c:v>73</c:v>
                </c:pt>
                <c:pt idx="4332">
                  <c:v>593</c:v>
                </c:pt>
                <c:pt idx="4333">
                  <c:v>52</c:v>
                </c:pt>
                <c:pt idx="4334">
                  <c:v>1689</c:v>
                </c:pt>
                <c:pt idx="4335">
                  <c:v>829</c:v>
                </c:pt>
                <c:pt idx="4336">
                  <c:v>75</c:v>
                </c:pt>
                <c:pt idx="4337">
                  <c:v>1294</c:v>
                </c:pt>
                <c:pt idx="4338">
                  <c:v>1915</c:v>
                </c:pt>
                <c:pt idx="4339">
                  <c:v>28</c:v>
                </c:pt>
                <c:pt idx="4340">
                  <c:v>322</c:v>
                </c:pt>
                <c:pt idx="4341">
                  <c:v>567</c:v>
                </c:pt>
                <c:pt idx="4342">
                  <c:v>3036</c:v>
                </c:pt>
                <c:pt idx="4343">
                  <c:v>3040</c:v>
                </c:pt>
                <c:pt idx="4344">
                  <c:v>388</c:v>
                </c:pt>
                <c:pt idx="4345">
                  <c:v>6446</c:v>
                </c:pt>
                <c:pt idx="4346">
                  <c:v>487</c:v>
                </c:pt>
                <c:pt idx="4347">
                  <c:v>44</c:v>
                </c:pt>
                <c:pt idx="4348">
                  <c:v>58</c:v>
                </c:pt>
                <c:pt idx="4349">
                  <c:v>813</c:v>
                </c:pt>
                <c:pt idx="4350">
                  <c:v>449</c:v>
                </c:pt>
                <c:pt idx="4351">
                  <c:v>83</c:v>
                </c:pt>
                <c:pt idx="4352">
                  <c:v>750</c:v>
                </c:pt>
                <c:pt idx="4353">
                  <c:v>565</c:v>
                </c:pt>
                <c:pt idx="4354">
                  <c:v>1173</c:v>
                </c:pt>
                <c:pt idx="4355">
                  <c:v>4857</c:v>
                </c:pt>
                <c:pt idx="4356">
                  <c:v>7270</c:v>
                </c:pt>
                <c:pt idx="4357">
                  <c:v>8827</c:v>
                </c:pt>
                <c:pt idx="4358">
                  <c:v>3631</c:v>
                </c:pt>
                <c:pt idx="4359">
                  <c:v>2225</c:v>
                </c:pt>
                <c:pt idx="4360">
                  <c:v>242</c:v>
                </c:pt>
                <c:pt idx="4361">
                  <c:v>149</c:v>
                </c:pt>
                <c:pt idx="4362">
                  <c:v>601</c:v>
                </c:pt>
                <c:pt idx="4363">
                  <c:v>398</c:v>
                </c:pt>
                <c:pt idx="4364">
                  <c:v>70</c:v>
                </c:pt>
                <c:pt idx="4365">
                  <c:v>1218</c:v>
                </c:pt>
                <c:pt idx="4366">
                  <c:v>437</c:v>
                </c:pt>
                <c:pt idx="4367">
                  <c:v>935</c:v>
                </c:pt>
                <c:pt idx="4368">
                  <c:v>3617</c:v>
                </c:pt>
                <c:pt idx="4369">
                  <c:v>1290</c:v>
                </c:pt>
                <c:pt idx="4370">
                  <c:v>757</c:v>
                </c:pt>
                <c:pt idx="4371">
                  <c:v>957</c:v>
                </c:pt>
                <c:pt idx="4372">
                  <c:v>852</c:v>
                </c:pt>
                <c:pt idx="4373">
                  <c:v>918</c:v>
                </c:pt>
                <c:pt idx="4374">
                  <c:v>1736</c:v>
                </c:pt>
                <c:pt idx="4375">
                  <c:v>1190</c:v>
                </c:pt>
                <c:pt idx="4376">
                  <c:v>2947</c:v>
                </c:pt>
                <c:pt idx="4377">
                  <c:v>172</c:v>
                </c:pt>
                <c:pt idx="4378">
                  <c:v>587</c:v>
                </c:pt>
                <c:pt idx="4379">
                  <c:v>900</c:v>
                </c:pt>
                <c:pt idx="4380">
                  <c:v>956</c:v>
                </c:pt>
                <c:pt idx="4381">
                  <c:v>1236</c:v>
                </c:pt>
                <c:pt idx="4382">
                  <c:v>195</c:v>
                </c:pt>
                <c:pt idx="4383">
                  <c:v>1030</c:v>
                </c:pt>
                <c:pt idx="4384">
                  <c:v>109</c:v>
                </c:pt>
                <c:pt idx="4385">
                  <c:v>385</c:v>
                </c:pt>
                <c:pt idx="4386">
                  <c:v>158</c:v>
                </c:pt>
                <c:pt idx="4387">
                  <c:v>5047</c:v>
                </c:pt>
                <c:pt idx="4388">
                  <c:v>18981</c:v>
                </c:pt>
                <c:pt idx="4389">
                  <c:v>6982</c:v>
                </c:pt>
                <c:pt idx="4390">
                  <c:v>539</c:v>
                </c:pt>
                <c:pt idx="4391">
                  <c:v>132</c:v>
                </c:pt>
                <c:pt idx="4392">
                  <c:v>1709</c:v>
                </c:pt>
                <c:pt idx="4393">
                  <c:v>167</c:v>
                </c:pt>
                <c:pt idx="4394">
                  <c:v>2173</c:v>
                </c:pt>
                <c:pt idx="4395">
                  <c:v>164</c:v>
                </c:pt>
                <c:pt idx="4396">
                  <c:v>813</c:v>
                </c:pt>
                <c:pt idx="4397">
                  <c:v>468</c:v>
                </c:pt>
                <c:pt idx="4398">
                  <c:v>110</c:v>
                </c:pt>
                <c:pt idx="4399">
                  <c:v>3905</c:v>
                </c:pt>
                <c:pt idx="4400">
                  <c:v>1032</c:v>
                </c:pt>
                <c:pt idx="4401">
                  <c:v>115</c:v>
                </c:pt>
                <c:pt idx="4402">
                  <c:v>2398</c:v>
                </c:pt>
                <c:pt idx="4403">
                  <c:v>1663</c:v>
                </c:pt>
                <c:pt idx="4404">
                  <c:v>503</c:v>
                </c:pt>
                <c:pt idx="4405">
                  <c:v>892</c:v>
                </c:pt>
                <c:pt idx="4406">
                  <c:v>468</c:v>
                </c:pt>
                <c:pt idx="4407">
                  <c:v>9121</c:v>
                </c:pt>
                <c:pt idx="4408">
                  <c:v>1195</c:v>
                </c:pt>
                <c:pt idx="4409">
                  <c:v>480</c:v>
                </c:pt>
                <c:pt idx="4410">
                  <c:v>1669</c:v>
                </c:pt>
                <c:pt idx="4411">
                  <c:v>1255</c:v>
                </c:pt>
                <c:pt idx="4412">
                  <c:v>1871</c:v>
                </c:pt>
                <c:pt idx="4413">
                  <c:v>136</c:v>
                </c:pt>
                <c:pt idx="4414">
                  <c:v>3748</c:v>
                </c:pt>
                <c:pt idx="4415">
                  <c:v>2046</c:v>
                </c:pt>
                <c:pt idx="4416">
                  <c:v>6717</c:v>
                </c:pt>
                <c:pt idx="4417">
                  <c:v>4321</c:v>
                </c:pt>
                <c:pt idx="4418">
                  <c:v>1501</c:v>
                </c:pt>
                <c:pt idx="4419">
                  <c:v>4120</c:v>
                </c:pt>
                <c:pt idx="4420">
                  <c:v>17530</c:v>
                </c:pt>
                <c:pt idx="4421">
                  <c:v>13111</c:v>
                </c:pt>
                <c:pt idx="4422">
                  <c:v>2301</c:v>
                </c:pt>
                <c:pt idx="4423">
                  <c:v>7385</c:v>
                </c:pt>
                <c:pt idx="4424">
                  <c:v>261</c:v>
                </c:pt>
                <c:pt idx="4425">
                  <c:v>477</c:v>
                </c:pt>
                <c:pt idx="4426">
                  <c:v>747</c:v>
                </c:pt>
                <c:pt idx="4427">
                  <c:v>157</c:v>
                </c:pt>
                <c:pt idx="4428">
                  <c:v>269</c:v>
                </c:pt>
                <c:pt idx="4429">
                  <c:v>1499</c:v>
                </c:pt>
                <c:pt idx="4430">
                  <c:v>1174</c:v>
                </c:pt>
                <c:pt idx="4431">
                  <c:v>8038</c:v>
                </c:pt>
                <c:pt idx="4432">
                  <c:v>947</c:v>
                </c:pt>
                <c:pt idx="4433">
                  <c:v>1203</c:v>
                </c:pt>
                <c:pt idx="4434">
                  <c:v>1652</c:v>
                </c:pt>
                <c:pt idx="4435">
                  <c:v>707</c:v>
                </c:pt>
                <c:pt idx="4436">
                  <c:v>7443</c:v>
                </c:pt>
                <c:pt idx="4437">
                  <c:v>7022</c:v>
                </c:pt>
                <c:pt idx="4438">
                  <c:v>935</c:v>
                </c:pt>
                <c:pt idx="4439">
                  <c:v>396</c:v>
                </c:pt>
                <c:pt idx="4440">
                  <c:v>661</c:v>
                </c:pt>
                <c:pt idx="4441">
                  <c:v>1392</c:v>
                </c:pt>
                <c:pt idx="4442">
                  <c:v>339</c:v>
                </c:pt>
                <c:pt idx="4443">
                  <c:v>4822</c:v>
                </c:pt>
                <c:pt idx="4444">
                  <c:v>142</c:v>
                </c:pt>
                <c:pt idx="4445">
                  <c:v>709</c:v>
                </c:pt>
                <c:pt idx="4446">
                  <c:v>2350</c:v>
                </c:pt>
                <c:pt idx="4447">
                  <c:v>1081</c:v>
                </c:pt>
                <c:pt idx="4448">
                  <c:v>1211</c:v>
                </c:pt>
                <c:pt idx="4449">
                  <c:v>5444</c:v>
                </c:pt>
                <c:pt idx="4450">
                  <c:v>7258</c:v>
                </c:pt>
                <c:pt idx="4451">
                  <c:v>3316</c:v>
                </c:pt>
                <c:pt idx="4452">
                  <c:v>48</c:v>
                </c:pt>
                <c:pt idx="4453">
                  <c:v>1070</c:v>
                </c:pt>
                <c:pt idx="4454">
                  <c:v>875</c:v>
                </c:pt>
                <c:pt idx="4455">
                  <c:v>1388</c:v>
                </c:pt>
                <c:pt idx="4456">
                  <c:v>1357</c:v>
                </c:pt>
                <c:pt idx="4457">
                  <c:v>1821</c:v>
                </c:pt>
                <c:pt idx="4458">
                  <c:v>331</c:v>
                </c:pt>
                <c:pt idx="4459">
                  <c:v>305</c:v>
                </c:pt>
                <c:pt idx="4460">
                  <c:v>7613</c:v>
                </c:pt>
                <c:pt idx="4461">
                  <c:v>296</c:v>
                </c:pt>
                <c:pt idx="4462">
                  <c:v>32</c:v>
                </c:pt>
                <c:pt idx="4463">
                  <c:v>113</c:v>
                </c:pt>
                <c:pt idx="4464">
                  <c:v>44</c:v>
                </c:pt>
                <c:pt idx="4465">
                  <c:v>3983</c:v>
                </c:pt>
                <c:pt idx="4466">
                  <c:v>532</c:v>
                </c:pt>
                <c:pt idx="4467">
                  <c:v>1014</c:v>
                </c:pt>
                <c:pt idx="4468">
                  <c:v>47</c:v>
                </c:pt>
                <c:pt idx="4469">
                  <c:v>471</c:v>
                </c:pt>
                <c:pt idx="4470">
                  <c:v>3747</c:v>
                </c:pt>
                <c:pt idx="4471">
                  <c:v>156</c:v>
                </c:pt>
                <c:pt idx="4472">
                  <c:v>2516</c:v>
                </c:pt>
                <c:pt idx="4473">
                  <c:v>212</c:v>
                </c:pt>
                <c:pt idx="4474">
                  <c:v>1947</c:v>
                </c:pt>
                <c:pt idx="4475">
                  <c:v>473</c:v>
                </c:pt>
                <c:pt idx="4476">
                  <c:v>682</c:v>
                </c:pt>
                <c:pt idx="4477">
                  <c:v>163</c:v>
                </c:pt>
                <c:pt idx="4478">
                  <c:v>471</c:v>
                </c:pt>
                <c:pt idx="4479">
                  <c:v>681</c:v>
                </c:pt>
                <c:pt idx="4480">
                  <c:v>1882</c:v>
                </c:pt>
                <c:pt idx="4481">
                  <c:v>171</c:v>
                </c:pt>
                <c:pt idx="4482">
                  <c:v>128</c:v>
                </c:pt>
                <c:pt idx="4483">
                  <c:v>81</c:v>
                </c:pt>
                <c:pt idx="4484">
                  <c:v>1213</c:v>
                </c:pt>
                <c:pt idx="4485">
                  <c:v>925</c:v>
                </c:pt>
                <c:pt idx="4486">
                  <c:v>176</c:v>
                </c:pt>
                <c:pt idx="4487">
                  <c:v>72</c:v>
                </c:pt>
                <c:pt idx="4488">
                  <c:v>1584</c:v>
                </c:pt>
                <c:pt idx="4489">
                  <c:v>767</c:v>
                </c:pt>
                <c:pt idx="4490">
                  <c:v>586</c:v>
                </c:pt>
                <c:pt idx="4491">
                  <c:v>782</c:v>
                </c:pt>
                <c:pt idx="4492">
                  <c:v>965</c:v>
                </c:pt>
                <c:pt idx="4493">
                  <c:v>182</c:v>
                </c:pt>
                <c:pt idx="4494">
                  <c:v>1420</c:v>
                </c:pt>
                <c:pt idx="4495">
                  <c:v>6370</c:v>
                </c:pt>
                <c:pt idx="4496">
                  <c:v>200</c:v>
                </c:pt>
                <c:pt idx="4497">
                  <c:v>851</c:v>
                </c:pt>
                <c:pt idx="4498">
                  <c:v>2465</c:v>
                </c:pt>
                <c:pt idx="4499">
                  <c:v>1994</c:v>
                </c:pt>
                <c:pt idx="4500">
                  <c:v>560</c:v>
                </c:pt>
                <c:pt idx="4501">
                  <c:v>508</c:v>
                </c:pt>
                <c:pt idx="4502">
                  <c:v>38</c:v>
                </c:pt>
                <c:pt idx="4503">
                  <c:v>6493</c:v>
                </c:pt>
                <c:pt idx="4504">
                  <c:v>136</c:v>
                </c:pt>
                <c:pt idx="4505">
                  <c:v>1187</c:v>
                </c:pt>
                <c:pt idx="4506">
                  <c:v>92</c:v>
                </c:pt>
                <c:pt idx="4507">
                  <c:v>234</c:v>
                </c:pt>
                <c:pt idx="4508">
                  <c:v>30</c:v>
                </c:pt>
                <c:pt idx="4509">
                  <c:v>89</c:v>
                </c:pt>
                <c:pt idx="4510">
                  <c:v>196</c:v>
                </c:pt>
                <c:pt idx="4511">
                  <c:v>11736</c:v>
                </c:pt>
                <c:pt idx="4512">
                  <c:v>788</c:v>
                </c:pt>
                <c:pt idx="4513">
                  <c:v>748</c:v>
                </c:pt>
                <c:pt idx="4514">
                  <c:v>944</c:v>
                </c:pt>
                <c:pt idx="4515">
                  <c:v>202</c:v>
                </c:pt>
                <c:pt idx="4516">
                  <c:v>1844</c:v>
                </c:pt>
                <c:pt idx="4517">
                  <c:v>235</c:v>
                </c:pt>
                <c:pt idx="4518">
                  <c:v>1312</c:v>
                </c:pt>
                <c:pt idx="4519">
                  <c:v>747</c:v>
                </c:pt>
                <c:pt idx="4520">
                  <c:v>1001</c:v>
                </c:pt>
                <c:pt idx="4521">
                  <c:v>655</c:v>
                </c:pt>
                <c:pt idx="4522">
                  <c:v>63</c:v>
                </c:pt>
                <c:pt idx="4523">
                  <c:v>1089</c:v>
                </c:pt>
                <c:pt idx="4524">
                  <c:v>4251</c:v>
                </c:pt>
                <c:pt idx="4525">
                  <c:v>594</c:v>
                </c:pt>
                <c:pt idx="4526">
                  <c:v>338</c:v>
                </c:pt>
                <c:pt idx="4527">
                  <c:v>590</c:v>
                </c:pt>
                <c:pt idx="4528">
                  <c:v>8013</c:v>
                </c:pt>
                <c:pt idx="4529">
                  <c:v>68</c:v>
                </c:pt>
                <c:pt idx="4530">
                  <c:v>1204</c:v>
                </c:pt>
                <c:pt idx="4531">
                  <c:v>1386</c:v>
                </c:pt>
                <c:pt idx="4532">
                  <c:v>638</c:v>
                </c:pt>
                <c:pt idx="4533">
                  <c:v>1752</c:v>
                </c:pt>
                <c:pt idx="4534">
                  <c:v>295</c:v>
                </c:pt>
                <c:pt idx="4535">
                  <c:v>2665</c:v>
                </c:pt>
                <c:pt idx="4536">
                  <c:v>1233</c:v>
                </c:pt>
                <c:pt idx="4537">
                  <c:v>268</c:v>
                </c:pt>
                <c:pt idx="4538">
                  <c:v>1553</c:v>
                </c:pt>
                <c:pt idx="4539">
                  <c:v>4469</c:v>
                </c:pt>
                <c:pt idx="4540">
                  <c:v>935</c:v>
                </c:pt>
                <c:pt idx="4541">
                  <c:v>678</c:v>
                </c:pt>
                <c:pt idx="4542">
                  <c:v>4907</c:v>
                </c:pt>
                <c:pt idx="4543">
                  <c:v>4332</c:v>
                </c:pt>
                <c:pt idx="4544">
                  <c:v>4336</c:v>
                </c:pt>
                <c:pt idx="4545">
                  <c:v>183</c:v>
                </c:pt>
                <c:pt idx="4546">
                  <c:v>1321</c:v>
                </c:pt>
                <c:pt idx="4547">
                  <c:v>127</c:v>
                </c:pt>
                <c:pt idx="4548">
                  <c:v>1814</c:v>
                </c:pt>
                <c:pt idx="4549">
                  <c:v>1734</c:v>
                </c:pt>
                <c:pt idx="4550">
                  <c:v>1835</c:v>
                </c:pt>
                <c:pt idx="4551">
                  <c:v>78</c:v>
                </c:pt>
                <c:pt idx="4552">
                  <c:v>5739</c:v>
                </c:pt>
                <c:pt idx="4553">
                  <c:v>91</c:v>
                </c:pt>
                <c:pt idx="4554">
                  <c:v>2429</c:v>
                </c:pt>
                <c:pt idx="4555">
                  <c:v>1161</c:v>
                </c:pt>
                <c:pt idx="4556">
                  <c:v>784</c:v>
                </c:pt>
                <c:pt idx="4557">
                  <c:v>277</c:v>
                </c:pt>
                <c:pt idx="4558">
                  <c:v>3131</c:v>
                </c:pt>
                <c:pt idx="4559">
                  <c:v>366</c:v>
                </c:pt>
                <c:pt idx="4560">
                  <c:v>404</c:v>
                </c:pt>
                <c:pt idx="4561">
                  <c:v>4635</c:v>
                </c:pt>
                <c:pt idx="4562">
                  <c:v>1379</c:v>
                </c:pt>
                <c:pt idx="4563">
                  <c:v>559</c:v>
                </c:pt>
                <c:pt idx="4564">
                  <c:v>6607</c:v>
                </c:pt>
                <c:pt idx="4565">
                  <c:v>5436</c:v>
                </c:pt>
                <c:pt idx="4566">
                  <c:v>7194</c:v>
                </c:pt>
                <c:pt idx="4567">
                  <c:v>7788</c:v>
                </c:pt>
                <c:pt idx="4568">
                  <c:v>12301</c:v>
                </c:pt>
                <c:pt idx="4569">
                  <c:v>4191</c:v>
                </c:pt>
                <c:pt idx="4570">
                  <c:v>7540</c:v>
                </c:pt>
                <c:pt idx="4571">
                  <c:v>13673</c:v>
                </c:pt>
                <c:pt idx="4572">
                  <c:v>11090</c:v>
                </c:pt>
                <c:pt idx="4573">
                  <c:v>5154</c:v>
                </c:pt>
                <c:pt idx="4574">
                  <c:v>13359</c:v>
                </c:pt>
                <c:pt idx="4575">
                  <c:v>12563</c:v>
                </c:pt>
                <c:pt idx="4576">
                  <c:v>1160</c:v>
                </c:pt>
                <c:pt idx="4577">
                  <c:v>668</c:v>
                </c:pt>
                <c:pt idx="4578">
                  <c:v>37</c:v>
                </c:pt>
                <c:pt idx="4579">
                  <c:v>1273</c:v>
                </c:pt>
                <c:pt idx="4580">
                  <c:v>122</c:v>
                </c:pt>
                <c:pt idx="4581">
                  <c:v>151</c:v>
                </c:pt>
                <c:pt idx="4582">
                  <c:v>318</c:v>
                </c:pt>
                <c:pt idx="4583">
                  <c:v>25</c:v>
                </c:pt>
                <c:pt idx="4584">
                  <c:v>194</c:v>
                </c:pt>
                <c:pt idx="4585">
                  <c:v>98</c:v>
                </c:pt>
                <c:pt idx="4586">
                  <c:v>1744</c:v>
                </c:pt>
                <c:pt idx="4587">
                  <c:v>961</c:v>
                </c:pt>
                <c:pt idx="4588">
                  <c:v>2185</c:v>
                </c:pt>
                <c:pt idx="4589">
                  <c:v>108</c:v>
                </c:pt>
                <c:pt idx="4590">
                  <c:v>98</c:v>
                </c:pt>
                <c:pt idx="4591">
                  <c:v>277</c:v>
                </c:pt>
                <c:pt idx="4592">
                  <c:v>5883</c:v>
                </c:pt>
                <c:pt idx="4593">
                  <c:v>439</c:v>
                </c:pt>
                <c:pt idx="4594">
                  <c:v>1219</c:v>
                </c:pt>
                <c:pt idx="4595">
                  <c:v>29</c:v>
                </c:pt>
                <c:pt idx="4596">
                  <c:v>685</c:v>
                </c:pt>
                <c:pt idx="4597">
                  <c:v>334</c:v>
                </c:pt>
                <c:pt idx="4598">
                  <c:v>1103</c:v>
                </c:pt>
                <c:pt idx="4599">
                  <c:v>951</c:v>
                </c:pt>
                <c:pt idx="4600">
                  <c:v>328</c:v>
                </c:pt>
                <c:pt idx="4601">
                  <c:v>6756</c:v>
                </c:pt>
                <c:pt idx="4602">
                  <c:v>715</c:v>
                </c:pt>
                <c:pt idx="4603">
                  <c:v>1690</c:v>
                </c:pt>
                <c:pt idx="4604">
                  <c:v>6292</c:v>
                </c:pt>
                <c:pt idx="4605">
                  <c:v>631</c:v>
                </c:pt>
                <c:pt idx="4606">
                  <c:v>490</c:v>
                </c:pt>
                <c:pt idx="4607">
                  <c:v>599</c:v>
                </c:pt>
                <c:pt idx="4608">
                  <c:v>72</c:v>
                </c:pt>
                <c:pt idx="4609">
                  <c:v>345</c:v>
                </c:pt>
                <c:pt idx="4610">
                  <c:v>2360</c:v>
                </c:pt>
                <c:pt idx="4611">
                  <c:v>1001</c:v>
                </c:pt>
                <c:pt idx="4612">
                  <c:v>222</c:v>
                </c:pt>
                <c:pt idx="4613">
                  <c:v>1147</c:v>
                </c:pt>
                <c:pt idx="4614">
                  <c:v>562</c:v>
                </c:pt>
                <c:pt idx="4615">
                  <c:v>1514</c:v>
                </c:pt>
                <c:pt idx="4616">
                  <c:v>870</c:v>
                </c:pt>
                <c:pt idx="4617">
                  <c:v>30</c:v>
                </c:pt>
                <c:pt idx="4618">
                  <c:v>193</c:v>
                </c:pt>
                <c:pt idx="4619">
                  <c:v>105</c:v>
                </c:pt>
                <c:pt idx="4620">
                  <c:v>2750</c:v>
                </c:pt>
                <c:pt idx="4621">
                  <c:v>193</c:v>
                </c:pt>
                <c:pt idx="4622">
                  <c:v>143</c:v>
                </c:pt>
                <c:pt idx="4623">
                  <c:v>962</c:v>
                </c:pt>
                <c:pt idx="4624">
                  <c:v>177</c:v>
                </c:pt>
                <c:pt idx="4625">
                  <c:v>156</c:v>
                </c:pt>
                <c:pt idx="4626">
                  <c:v>146</c:v>
                </c:pt>
                <c:pt idx="4627">
                  <c:v>145</c:v>
                </c:pt>
                <c:pt idx="4628">
                  <c:v>6818</c:v>
                </c:pt>
                <c:pt idx="4629">
                  <c:v>158</c:v>
                </c:pt>
                <c:pt idx="4630">
                  <c:v>132</c:v>
                </c:pt>
                <c:pt idx="4631">
                  <c:v>366</c:v>
                </c:pt>
                <c:pt idx="4632">
                  <c:v>1878</c:v>
                </c:pt>
                <c:pt idx="4633">
                  <c:v>113</c:v>
                </c:pt>
                <c:pt idx="4634">
                  <c:v>476</c:v>
                </c:pt>
                <c:pt idx="4635">
                  <c:v>7523</c:v>
                </c:pt>
                <c:pt idx="4636">
                  <c:v>460</c:v>
                </c:pt>
                <c:pt idx="4637">
                  <c:v>199</c:v>
                </c:pt>
                <c:pt idx="4638">
                  <c:v>309</c:v>
                </c:pt>
                <c:pt idx="4639">
                  <c:v>967</c:v>
                </c:pt>
                <c:pt idx="4640">
                  <c:v>78</c:v>
                </c:pt>
                <c:pt idx="4641">
                  <c:v>34</c:v>
                </c:pt>
                <c:pt idx="4642">
                  <c:v>101</c:v>
                </c:pt>
                <c:pt idx="4643">
                  <c:v>2737</c:v>
                </c:pt>
                <c:pt idx="4644">
                  <c:v>543</c:v>
                </c:pt>
                <c:pt idx="4645">
                  <c:v>392</c:v>
                </c:pt>
                <c:pt idx="4646">
                  <c:v>1601</c:v>
                </c:pt>
                <c:pt idx="4647">
                  <c:v>122</c:v>
                </c:pt>
                <c:pt idx="4648">
                  <c:v>271</c:v>
                </c:pt>
                <c:pt idx="4649">
                  <c:v>473</c:v>
                </c:pt>
                <c:pt idx="4650">
                  <c:v>1090</c:v>
                </c:pt>
                <c:pt idx="4651">
                  <c:v>1517</c:v>
                </c:pt>
                <c:pt idx="4652">
                  <c:v>363</c:v>
                </c:pt>
                <c:pt idx="4653">
                  <c:v>20286</c:v>
                </c:pt>
                <c:pt idx="4654">
                  <c:v>12626</c:v>
                </c:pt>
                <c:pt idx="4655">
                  <c:v>613</c:v>
                </c:pt>
                <c:pt idx="4656">
                  <c:v>949</c:v>
                </c:pt>
                <c:pt idx="4657">
                  <c:v>13949</c:v>
                </c:pt>
                <c:pt idx="4658">
                  <c:v>190</c:v>
                </c:pt>
                <c:pt idx="4659">
                  <c:v>2343</c:v>
                </c:pt>
                <c:pt idx="4660">
                  <c:v>2190</c:v>
                </c:pt>
                <c:pt idx="4661">
                  <c:v>5466</c:v>
                </c:pt>
                <c:pt idx="4662">
                  <c:v>171</c:v>
                </c:pt>
                <c:pt idx="4663">
                  <c:v>2315</c:v>
                </c:pt>
                <c:pt idx="4664">
                  <c:v>389</c:v>
                </c:pt>
                <c:pt idx="4665">
                  <c:v>134</c:v>
                </c:pt>
                <c:pt idx="4666">
                  <c:v>490</c:v>
                </c:pt>
                <c:pt idx="4667">
                  <c:v>829</c:v>
                </c:pt>
                <c:pt idx="4668">
                  <c:v>161</c:v>
                </c:pt>
                <c:pt idx="4669">
                  <c:v>210</c:v>
                </c:pt>
                <c:pt idx="4670">
                  <c:v>3508</c:v>
                </c:pt>
                <c:pt idx="4671">
                  <c:v>239</c:v>
                </c:pt>
                <c:pt idx="4672">
                  <c:v>1306</c:v>
                </c:pt>
                <c:pt idx="4673">
                  <c:v>364</c:v>
                </c:pt>
                <c:pt idx="4674">
                  <c:v>285</c:v>
                </c:pt>
                <c:pt idx="4675">
                  <c:v>99</c:v>
                </c:pt>
                <c:pt idx="4676">
                  <c:v>565</c:v>
                </c:pt>
                <c:pt idx="4677">
                  <c:v>106</c:v>
                </c:pt>
                <c:pt idx="4678">
                  <c:v>387</c:v>
                </c:pt>
                <c:pt idx="4679">
                  <c:v>1599</c:v>
                </c:pt>
                <c:pt idx="4680">
                  <c:v>285</c:v>
                </c:pt>
                <c:pt idx="4681">
                  <c:v>237</c:v>
                </c:pt>
                <c:pt idx="4682">
                  <c:v>93</c:v>
                </c:pt>
                <c:pt idx="4683">
                  <c:v>239</c:v>
                </c:pt>
                <c:pt idx="4684">
                  <c:v>43</c:v>
                </c:pt>
                <c:pt idx="4685">
                  <c:v>612</c:v>
                </c:pt>
                <c:pt idx="4686">
                  <c:v>3777</c:v>
                </c:pt>
                <c:pt idx="4687">
                  <c:v>679</c:v>
                </c:pt>
                <c:pt idx="4688">
                  <c:v>3847</c:v>
                </c:pt>
                <c:pt idx="4689">
                  <c:v>51</c:v>
                </c:pt>
                <c:pt idx="4690">
                  <c:v>563</c:v>
                </c:pt>
                <c:pt idx="4691">
                  <c:v>587</c:v>
                </c:pt>
                <c:pt idx="4692">
                  <c:v>1875</c:v>
                </c:pt>
                <c:pt idx="4693">
                  <c:v>98</c:v>
                </c:pt>
                <c:pt idx="4694">
                  <c:v>982</c:v>
                </c:pt>
                <c:pt idx="4695">
                  <c:v>958</c:v>
                </c:pt>
                <c:pt idx="4696">
                  <c:v>187</c:v>
                </c:pt>
                <c:pt idx="4697">
                  <c:v>1240</c:v>
                </c:pt>
                <c:pt idx="4698">
                  <c:v>206</c:v>
                </c:pt>
                <c:pt idx="4699">
                  <c:v>4531</c:v>
                </c:pt>
                <c:pt idx="4700">
                  <c:v>35</c:v>
                </c:pt>
                <c:pt idx="4701">
                  <c:v>95</c:v>
                </c:pt>
                <c:pt idx="4702">
                  <c:v>1237</c:v>
                </c:pt>
                <c:pt idx="4703">
                  <c:v>1099</c:v>
                </c:pt>
                <c:pt idx="4704">
                  <c:v>2513</c:v>
                </c:pt>
                <c:pt idx="4705">
                  <c:v>502</c:v>
                </c:pt>
                <c:pt idx="4706">
                  <c:v>783</c:v>
                </c:pt>
                <c:pt idx="4707">
                  <c:v>207</c:v>
                </c:pt>
                <c:pt idx="4708">
                  <c:v>735</c:v>
                </c:pt>
                <c:pt idx="4709">
                  <c:v>524</c:v>
                </c:pt>
                <c:pt idx="4710">
                  <c:v>1284</c:v>
                </c:pt>
                <c:pt idx="4711">
                  <c:v>443</c:v>
                </c:pt>
                <c:pt idx="4712">
                  <c:v>180</c:v>
                </c:pt>
                <c:pt idx="4713">
                  <c:v>633</c:v>
                </c:pt>
                <c:pt idx="4714">
                  <c:v>1037</c:v>
                </c:pt>
                <c:pt idx="4715">
                  <c:v>511</c:v>
                </c:pt>
                <c:pt idx="4716">
                  <c:v>405</c:v>
                </c:pt>
                <c:pt idx="4717">
                  <c:v>2964</c:v>
                </c:pt>
                <c:pt idx="4718">
                  <c:v>519</c:v>
                </c:pt>
                <c:pt idx="4719">
                  <c:v>896</c:v>
                </c:pt>
                <c:pt idx="4720">
                  <c:v>437</c:v>
                </c:pt>
                <c:pt idx="4721">
                  <c:v>133</c:v>
                </c:pt>
                <c:pt idx="4722">
                  <c:v>32</c:v>
                </c:pt>
                <c:pt idx="4723">
                  <c:v>47</c:v>
                </c:pt>
                <c:pt idx="4724">
                  <c:v>294</c:v>
                </c:pt>
                <c:pt idx="4725">
                  <c:v>148</c:v>
                </c:pt>
                <c:pt idx="4726">
                  <c:v>1037</c:v>
                </c:pt>
                <c:pt idx="4727">
                  <c:v>1749</c:v>
                </c:pt>
                <c:pt idx="4728">
                  <c:v>647</c:v>
                </c:pt>
                <c:pt idx="4729">
                  <c:v>1323</c:v>
                </c:pt>
                <c:pt idx="4730">
                  <c:v>251</c:v>
                </c:pt>
                <c:pt idx="4731">
                  <c:v>6056</c:v>
                </c:pt>
                <c:pt idx="4732">
                  <c:v>1897</c:v>
                </c:pt>
                <c:pt idx="4733">
                  <c:v>152</c:v>
                </c:pt>
                <c:pt idx="4734">
                  <c:v>386</c:v>
                </c:pt>
                <c:pt idx="4735">
                  <c:v>2762</c:v>
                </c:pt>
                <c:pt idx="4736">
                  <c:v>923</c:v>
                </c:pt>
                <c:pt idx="4737">
                  <c:v>17067</c:v>
                </c:pt>
                <c:pt idx="4738">
                  <c:v>17072</c:v>
                </c:pt>
                <c:pt idx="4739">
                  <c:v>113</c:v>
                </c:pt>
                <c:pt idx="4740">
                  <c:v>12628</c:v>
                </c:pt>
                <c:pt idx="4741">
                  <c:v>686</c:v>
                </c:pt>
                <c:pt idx="4742">
                  <c:v>2005</c:v>
                </c:pt>
                <c:pt idx="4743">
                  <c:v>9550</c:v>
                </c:pt>
                <c:pt idx="4744">
                  <c:v>4244</c:v>
                </c:pt>
                <c:pt idx="4745">
                  <c:v>430</c:v>
                </c:pt>
                <c:pt idx="4746">
                  <c:v>15785</c:v>
                </c:pt>
                <c:pt idx="4747">
                  <c:v>1791</c:v>
                </c:pt>
                <c:pt idx="4748">
                  <c:v>942</c:v>
                </c:pt>
                <c:pt idx="4749">
                  <c:v>9568</c:v>
                </c:pt>
                <c:pt idx="4750">
                  <c:v>1763</c:v>
                </c:pt>
                <c:pt idx="4751">
                  <c:v>1190</c:v>
                </c:pt>
                <c:pt idx="4752">
                  <c:v>2174</c:v>
                </c:pt>
                <c:pt idx="4753">
                  <c:v>207</c:v>
                </c:pt>
                <c:pt idx="4754">
                  <c:v>3702</c:v>
                </c:pt>
                <c:pt idx="4755">
                  <c:v>9037</c:v>
                </c:pt>
                <c:pt idx="4756">
                  <c:v>1180</c:v>
                </c:pt>
                <c:pt idx="4757">
                  <c:v>286</c:v>
                </c:pt>
                <c:pt idx="4758">
                  <c:v>11770</c:v>
                </c:pt>
                <c:pt idx="4759">
                  <c:v>373</c:v>
                </c:pt>
                <c:pt idx="4760">
                  <c:v>4359</c:v>
                </c:pt>
                <c:pt idx="4761">
                  <c:v>1072</c:v>
                </c:pt>
                <c:pt idx="4762">
                  <c:v>18384</c:v>
                </c:pt>
                <c:pt idx="4763">
                  <c:v>3488</c:v>
                </c:pt>
                <c:pt idx="4764">
                  <c:v>9444</c:v>
                </c:pt>
                <c:pt idx="4765">
                  <c:v>1745</c:v>
                </c:pt>
                <c:pt idx="4766">
                  <c:v>14510</c:v>
                </c:pt>
                <c:pt idx="4767">
                  <c:v>1137</c:v>
                </c:pt>
                <c:pt idx="4768">
                  <c:v>1763</c:v>
                </c:pt>
                <c:pt idx="4769">
                  <c:v>1194</c:v>
                </c:pt>
                <c:pt idx="4770">
                  <c:v>20162</c:v>
                </c:pt>
                <c:pt idx="4771">
                  <c:v>2158</c:v>
                </c:pt>
                <c:pt idx="4772">
                  <c:v>735</c:v>
                </c:pt>
                <c:pt idx="4773">
                  <c:v>2778</c:v>
                </c:pt>
                <c:pt idx="4774">
                  <c:v>109</c:v>
                </c:pt>
                <c:pt idx="4775">
                  <c:v>20225</c:v>
                </c:pt>
                <c:pt idx="4776">
                  <c:v>12215</c:v>
                </c:pt>
                <c:pt idx="4777">
                  <c:v>718</c:v>
                </c:pt>
                <c:pt idx="4778">
                  <c:v>3664</c:v>
                </c:pt>
                <c:pt idx="4779">
                  <c:v>486</c:v>
                </c:pt>
                <c:pt idx="4780">
                  <c:v>3199</c:v>
                </c:pt>
                <c:pt idx="4781">
                  <c:v>2010</c:v>
                </c:pt>
                <c:pt idx="4782">
                  <c:v>1701</c:v>
                </c:pt>
                <c:pt idx="4783">
                  <c:v>368</c:v>
                </c:pt>
                <c:pt idx="4784">
                  <c:v>1964</c:v>
                </c:pt>
                <c:pt idx="4785">
                  <c:v>2342</c:v>
                </c:pt>
                <c:pt idx="4786">
                  <c:v>7036</c:v>
                </c:pt>
                <c:pt idx="4787">
                  <c:v>2074</c:v>
                </c:pt>
                <c:pt idx="4788">
                  <c:v>136</c:v>
                </c:pt>
                <c:pt idx="4789">
                  <c:v>8969</c:v>
                </c:pt>
                <c:pt idx="4790">
                  <c:v>61</c:v>
                </c:pt>
                <c:pt idx="4791">
                  <c:v>2682</c:v>
                </c:pt>
                <c:pt idx="4792">
                  <c:v>3614</c:v>
                </c:pt>
                <c:pt idx="4793">
                  <c:v>84</c:v>
                </c:pt>
                <c:pt idx="4794">
                  <c:v>11446</c:v>
                </c:pt>
                <c:pt idx="4795">
                  <c:v>130</c:v>
                </c:pt>
                <c:pt idx="4796">
                  <c:v>1511</c:v>
                </c:pt>
                <c:pt idx="4797">
                  <c:v>2218</c:v>
                </c:pt>
                <c:pt idx="4798">
                  <c:v>1021</c:v>
                </c:pt>
                <c:pt idx="4799">
                  <c:v>1265</c:v>
                </c:pt>
                <c:pt idx="4800">
                  <c:v>407</c:v>
                </c:pt>
                <c:pt idx="4801">
                  <c:v>2842</c:v>
                </c:pt>
                <c:pt idx="4802">
                  <c:v>504</c:v>
                </c:pt>
                <c:pt idx="4803">
                  <c:v>992</c:v>
                </c:pt>
                <c:pt idx="4804">
                  <c:v>349</c:v>
                </c:pt>
                <c:pt idx="4805">
                  <c:v>971</c:v>
                </c:pt>
                <c:pt idx="4806">
                  <c:v>569</c:v>
                </c:pt>
                <c:pt idx="4807">
                  <c:v>1450</c:v>
                </c:pt>
                <c:pt idx="4808">
                  <c:v>4526</c:v>
                </c:pt>
                <c:pt idx="4809">
                  <c:v>5173</c:v>
                </c:pt>
                <c:pt idx="4810">
                  <c:v>7857</c:v>
                </c:pt>
                <c:pt idx="4811">
                  <c:v>12826</c:v>
                </c:pt>
                <c:pt idx="4812">
                  <c:v>12978</c:v>
                </c:pt>
                <c:pt idx="4813">
                  <c:v>18923</c:v>
                </c:pt>
                <c:pt idx="4814">
                  <c:v>19326</c:v>
                </c:pt>
                <c:pt idx="4815">
                  <c:v>4777</c:v>
                </c:pt>
                <c:pt idx="4816">
                  <c:v>12679</c:v>
                </c:pt>
                <c:pt idx="4817">
                  <c:v>16220</c:v>
                </c:pt>
                <c:pt idx="4818">
                  <c:v>99</c:v>
                </c:pt>
                <c:pt idx="4819">
                  <c:v>166</c:v>
                </c:pt>
                <c:pt idx="4820">
                  <c:v>283</c:v>
                </c:pt>
                <c:pt idx="4821">
                  <c:v>291</c:v>
                </c:pt>
                <c:pt idx="4822">
                  <c:v>351</c:v>
                </c:pt>
                <c:pt idx="4823">
                  <c:v>103</c:v>
                </c:pt>
                <c:pt idx="4824">
                  <c:v>190</c:v>
                </c:pt>
                <c:pt idx="4825">
                  <c:v>267</c:v>
                </c:pt>
                <c:pt idx="4826">
                  <c:v>4182</c:v>
                </c:pt>
                <c:pt idx="4827">
                  <c:v>155</c:v>
                </c:pt>
                <c:pt idx="4828">
                  <c:v>1054</c:v>
                </c:pt>
                <c:pt idx="4829">
                  <c:v>10123</c:v>
                </c:pt>
                <c:pt idx="4830">
                  <c:v>507</c:v>
                </c:pt>
                <c:pt idx="4831">
                  <c:v>616</c:v>
                </c:pt>
                <c:pt idx="4832">
                  <c:v>2296</c:v>
                </c:pt>
                <c:pt idx="4833">
                  <c:v>258</c:v>
                </c:pt>
                <c:pt idx="4834">
                  <c:v>4281</c:v>
                </c:pt>
                <c:pt idx="4835">
                  <c:v>1023</c:v>
                </c:pt>
                <c:pt idx="4836">
                  <c:v>925</c:v>
                </c:pt>
                <c:pt idx="4837">
                  <c:v>95</c:v>
                </c:pt>
                <c:pt idx="4838">
                  <c:v>1779</c:v>
                </c:pt>
                <c:pt idx="4839">
                  <c:v>5459</c:v>
                </c:pt>
                <c:pt idx="4840">
                  <c:v>540</c:v>
                </c:pt>
                <c:pt idx="4841">
                  <c:v>981</c:v>
                </c:pt>
                <c:pt idx="4842">
                  <c:v>149</c:v>
                </c:pt>
                <c:pt idx="4843">
                  <c:v>40</c:v>
                </c:pt>
                <c:pt idx="4844">
                  <c:v>1971</c:v>
                </c:pt>
                <c:pt idx="4845">
                  <c:v>183</c:v>
                </c:pt>
                <c:pt idx="4846">
                  <c:v>81</c:v>
                </c:pt>
                <c:pt idx="4847">
                  <c:v>458</c:v>
                </c:pt>
                <c:pt idx="4848">
                  <c:v>13459</c:v>
                </c:pt>
                <c:pt idx="4849">
                  <c:v>332</c:v>
                </c:pt>
                <c:pt idx="4850">
                  <c:v>430</c:v>
                </c:pt>
                <c:pt idx="4851">
                  <c:v>912</c:v>
                </c:pt>
                <c:pt idx="4852">
                  <c:v>191</c:v>
                </c:pt>
                <c:pt idx="4853">
                  <c:v>253</c:v>
                </c:pt>
                <c:pt idx="4854">
                  <c:v>1305</c:v>
                </c:pt>
                <c:pt idx="4855">
                  <c:v>13201</c:v>
                </c:pt>
                <c:pt idx="4856">
                  <c:v>258</c:v>
                </c:pt>
                <c:pt idx="4857">
                  <c:v>2036</c:v>
                </c:pt>
                <c:pt idx="4858">
                  <c:v>1442</c:v>
                </c:pt>
                <c:pt idx="4859">
                  <c:v>181</c:v>
                </c:pt>
                <c:pt idx="4860">
                  <c:v>1600</c:v>
                </c:pt>
                <c:pt idx="4861">
                  <c:v>285</c:v>
                </c:pt>
                <c:pt idx="4862">
                  <c:v>2828</c:v>
                </c:pt>
                <c:pt idx="4863">
                  <c:v>834</c:v>
                </c:pt>
                <c:pt idx="4864">
                  <c:v>83</c:v>
                </c:pt>
                <c:pt idx="4865">
                  <c:v>5430</c:v>
                </c:pt>
                <c:pt idx="4866">
                  <c:v>2738</c:v>
                </c:pt>
                <c:pt idx="4867">
                  <c:v>13323</c:v>
                </c:pt>
                <c:pt idx="4868">
                  <c:v>4482</c:v>
                </c:pt>
                <c:pt idx="4869">
                  <c:v>240</c:v>
                </c:pt>
                <c:pt idx="4870">
                  <c:v>281</c:v>
                </c:pt>
                <c:pt idx="4871">
                  <c:v>6147</c:v>
                </c:pt>
                <c:pt idx="4872">
                  <c:v>4101</c:v>
                </c:pt>
                <c:pt idx="4873">
                  <c:v>1228</c:v>
                </c:pt>
                <c:pt idx="4874">
                  <c:v>3289</c:v>
                </c:pt>
                <c:pt idx="4875">
                  <c:v>64</c:v>
                </c:pt>
                <c:pt idx="4876">
                  <c:v>1751</c:v>
                </c:pt>
                <c:pt idx="4877">
                  <c:v>12868</c:v>
                </c:pt>
                <c:pt idx="4878">
                  <c:v>4079</c:v>
                </c:pt>
                <c:pt idx="4879">
                  <c:v>1356</c:v>
                </c:pt>
                <c:pt idx="4880">
                  <c:v>27225</c:v>
                </c:pt>
                <c:pt idx="4881">
                  <c:v>3295</c:v>
                </c:pt>
                <c:pt idx="4882">
                  <c:v>5587</c:v>
                </c:pt>
                <c:pt idx="4883">
                  <c:v>318</c:v>
                </c:pt>
                <c:pt idx="4884">
                  <c:v>1843</c:v>
                </c:pt>
                <c:pt idx="4885">
                  <c:v>4259</c:v>
                </c:pt>
                <c:pt idx="4886">
                  <c:v>3343</c:v>
                </c:pt>
                <c:pt idx="4887">
                  <c:v>4096</c:v>
                </c:pt>
                <c:pt idx="4888">
                  <c:v>6339</c:v>
                </c:pt>
                <c:pt idx="4889">
                  <c:v>825</c:v>
                </c:pt>
                <c:pt idx="4890">
                  <c:v>1378</c:v>
                </c:pt>
                <c:pt idx="4891">
                  <c:v>187</c:v>
                </c:pt>
                <c:pt idx="4892">
                  <c:v>11872</c:v>
                </c:pt>
                <c:pt idx="4893">
                  <c:v>3137</c:v>
                </c:pt>
                <c:pt idx="4894">
                  <c:v>2723</c:v>
                </c:pt>
                <c:pt idx="4895">
                  <c:v>7453</c:v>
                </c:pt>
                <c:pt idx="4896">
                  <c:v>4455</c:v>
                </c:pt>
                <c:pt idx="4897">
                  <c:v>1733</c:v>
                </c:pt>
                <c:pt idx="4898">
                  <c:v>1411</c:v>
                </c:pt>
                <c:pt idx="4899">
                  <c:v>3296</c:v>
                </c:pt>
                <c:pt idx="4900">
                  <c:v>3223</c:v>
                </c:pt>
                <c:pt idx="4901">
                  <c:v>3230</c:v>
                </c:pt>
                <c:pt idx="4902">
                  <c:v>198</c:v>
                </c:pt>
                <c:pt idx="4903">
                  <c:v>1761</c:v>
                </c:pt>
                <c:pt idx="4904">
                  <c:v>6976</c:v>
                </c:pt>
                <c:pt idx="4905">
                  <c:v>16373</c:v>
                </c:pt>
                <c:pt idx="4906">
                  <c:v>18454</c:v>
                </c:pt>
                <c:pt idx="4907">
                  <c:v>19284</c:v>
                </c:pt>
                <c:pt idx="4908">
                  <c:v>12554</c:v>
                </c:pt>
                <c:pt idx="4909">
                  <c:v>1395</c:v>
                </c:pt>
                <c:pt idx="4910">
                  <c:v>12186</c:v>
                </c:pt>
                <c:pt idx="4911">
                  <c:v>2453</c:v>
                </c:pt>
                <c:pt idx="4912">
                  <c:v>1456</c:v>
                </c:pt>
                <c:pt idx="4913">
                  <c:v>699</c:v>
                </c:pt>
                <c:pt idx="4914">
                  <c:v>345</c:v>
                </c:pt>
                <c:pt idx="4915">
                  <c:v>1910</c:v>
                </c:pt>
                <c:pt idx="4916">
                  <c:v>8720</c:v>
                </c:pt>
                <c:pt idx="4917">
                  <c:v>3014</c:v>
                </c:pt>
                <c:pt idx="4918">
                  <c:v>8715</c:v>
                </c:pt>
                <c:pt idx="4919">
                  <c:v>628</c:v>
                </c:pt>
                <c:pt idx="4920">
                  <c:v>3337</c:v>
                </c:pt>
                <c:pt idx="4921">
                  <c:v>2839</c:v>
                </c:pt>
                <c:pt idx="4922">
                  <c:v>17051</c:v>
                </c:pt>
                <c:pt idx="4923">
                  <c:v>3349</c:v>
                </c:pt>
                <c:pt idx="4924">
                  <c:v>1942</c:v>
                </c:pt>
                <c:pt idx="4925">
                  <c:v>1594</c:v>
                </c:pt>
                <c:pt idx="4926">
                  <c:v>1280</c:v>
                </c:pt>
                <c:pt idx="4927">
                  <c:v>1702</c:v>
                </c:pt>
                <c:pt idx="4928">
                  <c:v>3937</c:v>
                </c:pt>
                <c:pt idx="4929">
                  <c:v>5492</c:v>
                </c:pt>
                <c:pt idx="4930">
                  <c:v>22612</c:v>
                </c:pt>
                <c:pt idx="4931">
                  <c:v>11432</c:v>
                </c:pt>
                <c:pt idx="4932">
                  <c:v>4649</c:v>
                </c:pt>
                <c:pt idx="4933">
                  <c:v>267</c:v>
                </c:pt>
                <c:pt idx="4934">
                  <c:v>5319</c:v>
                </c:pt>
                <c:pt idx="4935">
                  <c:v>10449</c:v>
                </c:pt>
                <c:pt idx="4936">
                  <c:v>3881</c:v>
                </c:pt>
                <c:pt idx="4937">
                  <c:v>2831</c:v>
                </c:pt>
                <c:pt idx="4938">
                  <c:v>6799</c:v>
                </c:pt>
                <c:pt idx="4939">
                  <c:v>2621</c:v>
                </c:pt>
                <c:pt idx="4940">
                  <c:v>2218</c:v>
                </c:pt>
                <c:pt idx="4941">
                  <c:v>1546</c:v>
                </c:pt>
                <c:pt idx="4942">
                  <c:v>1225</c:v>
                </c:pt>
                <c:pt idx="4943">
                  <c:v>5459</c:v>
                </c:pt>
                <c:pt idx="4944">
                  <c:v>3105</c:v>
                </c:pt>
                <c:pt idx="4945">
                  <c:v>195</c:v>
                </c:pt>
                <c:pt idx="4946">
                  <c:v>1612</c:v>
                </c:pt>
                <c:pt idx="4947">
                  <c:v>3237</c:v>
                </c:pt>
                <c:pt idx="4948">
                  <c:v>2807</c:v>
                </c:pt>
                <c:pt idx="4949">
                  <c:v>839</c:v>
                </c:pt>
                <c:pt idx="4950">
                  <c:v>5215</c:v>
                </c:pt>
                <c:pt idx="4951">
                  <c:v>29325</c:v>
                </c:pt>
                <c:pt idx="4952">
                  <c:v>24504</c:v>
                </c:pt>
                <c:pt idx="4953">
                  <c:v>34255</c:v>
                </c:pt>
                <c:pt idx="4954">
                  <c:v>19536</c:v>
                </c:pt>
                <c:pt idx="4955">
                  <c:v>4985</c:v>
                </c:pt>
                <c:pt idx="4956">
                  <c:v>107</c:v>
                </c:pt>
                <c:pt idx="4957">
                  <c:v>753</c:v>
                </c:pt>
                <c:pt idx="4958">
                  <c:v>29</c:v>
                </c:pt>
                <c:pt idx="4959">
                  <c:v>1799</c:v>
                </c:pt>
                <c:pt idx="4960">
                  <c:v>2204</c:v>
                </c:pt>
                <c:pt idx="4961">
                  <c:v>33</c:v>
                </c:pt>
                <c:pt idx="4962">
                  <c:v>71</c:v>
                </c:pt>
                <c:pt idx="4963">
                  <c:v>3231</c:v>
                </c:pt>
                <c:pt idx="4964">
                  <c:v>5074</c:v>
                </c:pt>
                <c:pt idx="4965">
                  <c:v>1328</c:v>
                </c:pt>
                <c:pt idx="4966">
                  <c:v>8382</c:v>
                </c:pt>
                <c:pt idx="4967">
                  <c:v>1412</c:v>
                </c:pt>
                <c:pt idx="4968">
                  <c:v>60</c:v>
                </c:pt>
                <c:pt idx="4969">
                  <c:v>158</c:v>
                </c:pt>
                <c:pt idx="4970">
                  <c:v>3271</c:v>
                </c:pt>
                <c:pt idx="4971">
                  <c:v>1986</c:v>
                </c:pt>
                <c:pt idx="4972">
                  <c:v>5608</c:v>
                </c:pt>
                <c:pt idx="4973">
                  <c:v>5500</c:v>
                </c:pt>
                <c:pt idx="4974">
                  <c:v>418</c:v>
                </c:pt>
                <c:pt idx="4975">
                  <c:v>264</c:v>
                </c:pt>
                <c:pt idx="4976">
                  <c:v>262</c:v>
                </c:pt>
                <c:pt idx="4977">
                  <c:v>138</c:v>
                </c:pt>
                <c:pt idx="4978">
                  <c:v>843</c:v>
                </c:pt>
                <c:pt idx="4979">
                  <c:v>580</c:v>
                </c:pt>
                <c:pt idx="4980">
                  <c:v>194</c:v>
                </c:pt>
                <c:pt idx="4981">
                  <c:v>23</c:v>
                </c:pt>
                <c:pt idx="4982">
                  <c:v>1274</c:v>
                </c:pt>
                <c:pt idx="4983">
                  <c:v>1019</c:v>
                </c:pt>
                <c:pt idx="4984">
                  <c:v>488</c:v>
                </c:pt>
                <c:pt idx="4985">
                  <c:v>86</c:v>
                </c:pt>
                <c:pt idx="4986">
                  <c:v>3207</c:v>
                </c:pt>
                <c:pt idx="4987">
                  <c:v>7676</c:v>
                </c:pt>
                <c:pt idx="4988">
                  <c:v>912</c:v>
                </c:pt>
                <c:pt idx="4989">
                  <c:v>745</c:v>
                </c:pt>
                <c:pt idx="4990">
                  <c:v>884</c:v>
                </c:pt>
                <c:pt idx="4991">
                  <c:v>2308</c:v>
                </c:pt>
                <c:pt idx="4992">
                  <c:v>13301</c:v>
                </c:pt>
                <c:pt idx="4993">
                  <c:v>2527</c:v>
                </c:pt>
                <c:pt idx="4994">
                  <c:v>9004</c:v>
                </c:pt>
                <c:pt idx="4995">
                  <c:v>633</c:v>
                </c:pt>
                <c:pt idx="4996">
                  <c:v>1724</c:v>
                </c:pt>
                <c:pt idx="4997">
                  <c:v>391</c:v>
                </c:pt>
                <c:pt idx="4998">
                  <c:v>138</c:v>
                </c:pt>
                <c:pt idx="4999">
                  <c:v>937</c:v>
                </c:pt>
                <c:pt idx="5000">
                  <c:v>232</c:v>
                </c:pt>
                <c:pt idx="5001">
                  <c:v>1452</c:v>
                </c:pt>
                <c:pt idx="5002">
                  <c:v>84</c:v>
                </c:pt>
                <c:pt idx="5003">
                  <c:v>6894</c:v>
                </c:pt>
                <c:pt idx="5004">
                  <c:v>182</c:v>
                </c:pt>
                <c:pt idx="5005">
                  <c:v>2039</c:v>
                </c:pt>
                <c:pt idx="5006">
                  <c:v>4296</c:v>
                </c:pt>
                <c:pt idx="5007">
                  <c:v>4660</c:v>
                </c:pt>
                <c:pt idx="5008">
                  <c:v>844</c:v>
                </c:pt>
                <c:pt idx="5009">
                  <c:v>1756</c:v>
                </c:pt>
                <c:pt idx="5010">
                  <c:v>5848</c:v>
                </c:pt>
                <c:pt idx="5011">
                  <c:v>2922</c:v>
                </c:pt>
                <c:pt idx="5012">
                  <c:v>1544</c:v>
                </c:pt>
                <c:pt idx="5013">
                  <c:v>426</c:v>
                </c:pt>
                <c:pt idx="5014">
                  <c:v>1431</c:v>
                </c:pt>
                <c:pt idx="5015">
                  <c:v>3649</c:v>
                </c:pt>
                <c:pt idx="5016">
                  <c:v>47</c:v>
                </c:pt>
                <c:pt idx="5017">
                  <c:v>1285</c:v>
                </c:pt>
                <c:pt idx="5018">
                  <c:v>1282</c:v>
                </c:pt>
                <c:pt idx="5019">
                  <c:v>129</c:v>
                </c:pt>
                <c:pt idx="5020">
                  <c:v>166</c:v>
                </c:pt>
                <c:pt idx="5021">
                  <c:v>1000</c:v>
                </c:pt>
                <c:pt idx="5022">
                  <c:v>3166</c:v>
                </c:pt>
                <c:pt idx="5023">
                  <c:v>67</c:v>
                </c:pt>
                <c:pt idx="5024">
                  <c:v>510</c:v>
                </c:pt>
                <c:pt idx="5025">
                  <c:v>7259</c:v>
                </c:pt>
                <c:pt idx="5026">
                  <c:v>3951</c:v>
                </c:pt>
                <c:pt idx="5027">
                  <c:v>843</c:v>
                </c:pt>
                <c:pt idx="5028">
                  <c:v>588</c:v>
                </c:pt>
                <c:pt idx="5029">
                  <c:v>706</c:v>
                </c:pt>
                <c:pt idx="5030">
                  <c:v>85</c:v>
                </c:pt>
                <c:pt idx="5031">
                  <c:v>145</c:v>
                </c:pt>
                <c:pt idx="5032">
                  <c:v>594</c:v>
                </c:pt>
                <c:pt idx="5033">
                  <c:v>165</c:v>
                </c:pt>
                <c:pt idx="5034">
                  <c:v>1333</c:v>
                </c:pt>
                <c:pt idx="5035">
                  <c:v>10373</c:v>
                </c:pt>
                <c:pt idx="5036">
                  <c:v>124</c:v>
                </c:pt>
                <c:pt idx="5037">
                  <c:v>2590</c:v>
                </c:pt>
                <c:pt idx="5038">
                  <c:v>2518</c:v>
                </c:pt>
                <c:pt idx="5039">
                  <c:v>108</c:v>
                </c:pt>
                <c:pt idx="5040">
                  <c:v>130</c:v>
                </c:pt>
                <c:pt idx="5041">
                  <c:v>630</c:v>
                </c:pt>
                <c:pt idx="5042">
                  <c:v>124</c:v>
                </c:pt>
                <c:pt idx="5043">
                  <c:v>2285</c:v>
                </c:pt>
                <c:pt idx="5044">
                  <c:v>74</c:v>
                </c:pt>
                <c:pt idx="5045">
                  <c:v>603</c:v>
                </c:pt>
                <c:pt idx="5046">
                  <c:v>471</c:v>
                </c:pt>
                <c:pt idx="5047">
                  <c:v>1669</c:v>
                </c:pt>
                <c:pt idx="5048">
                  <c:v>365</c:v>
                </c:pt>
                <c:pt idx="5049">
                  <c:v>104</c:v>
                </c:pt>
                <c:pt idx="5050">
                  <c:v>129</c:v>
                </c:pt>
                <c:pt idx="5051">
                  <c:v>1514</c:v>
                </c:pt>
                <c:pt idx="5052">
                  <c:v>77</c:v>
                </c:pt>
                <c:pt idx="5053">
                  <c:v>93</c:v>
                </c:pt>
                <c:pt idx="5054">
                  <c:v>152</c:v>
                </c:pt>
                <c:pt idx="5055">
                  <c:v>1901</c:v>
                </c:pt>
                <c:pt idx="5056">
                  <c:v>212</c:v>
                </c:pt>
                <c:pt idx="5057">
                  <c:v>663</c:v>
                </c:pt>
                <c:pt idx="5058">
                  <c:v>1900</c:v>
                </c:pt>
                <c:pt idx="5059">
                  <c:v>3338</c:v>
                </c:pt>
                <c:pt idx="5060">
                  <c:v>4245</c:v>
                </c:pt>
                <c:pt idx="5061">
                  <c:v>317</c:v>
                </c:pt>
                <c:pt idx="5062">
                  <c:v>868</c:v>
                </c:pt>
                <c:pt idx="5063">
                  <c:v>977</c:v>
                </c:pt>
                <c:pt idx="5064">
                  <c:v>94</c:v>
                </c:pt>
                <c:pt idx="5065">
                  <c:v>1515</c:v>
                </c:pt>
                <c:pt idx="5066">
                  <c:v>5317</c:v>
                </c:pt>
                <c:pt idx="5067">
                  <c:v>2352</c:v>
                </c:pt>
                <c:pt idx="5068">
                  <c:v>280</c:v>
                </c:pt>
                <c:pt idx="5069">
                  <c:v>1274</c:v>
                </c:pt>
                <c:pt idx="5070">
                  <c:v>1251</c:v>
                </c:pt>
                <c:pt idx="5071">
                  <c:v>167</c:v>
                </c:pt>
                <c:pt idx="5072">
                  <c:v>660</c:v>
                </c:pt>
                <c:pt idx="5073">
                  <c:v>707</c:v>
                </c:pt>
                <c:pt idx="5074">
                  <c:v>2825</c:v>
                </c:pt>
                <c:pt idx="5075">
                  <c:v>9080</c:v>
                </c:pt>
                <c:pt idx="5076">
                  <c:v>5720</c:v>
                </c:pt>
                <c:pt idx="5077">
                  <c:v>13853</c:v>
                </c:pt>
                <c:pt idx="5078">
                  <c:v>18168</c:v>
                </c:pt>
                <c:pt idx="5079">
                  <c:v>15625</c:v>
                </c:pt>
                <c:pt idx="5080">
                  <c:v>10855</c:v>
                </c:pt>
                <c:pt idx="5081">
                  <c:v>273</c:v>
                </c:pt>
                <c:pt idx="5082">
                  <c:v>5429</c:v>
                </c:pt>
                <c:pt idx="5083">
                  <c:v>5180</c:v>
                </c:pt>
                <c:pt idx="5084">
                  <c:v>4732</c:v>
                </c:pt>
                <c:pt idx="5085">
                  <c:v>7518</c:v>
                </c:pt>
                <c:pt idx="5086">
                  <c:v>3719</c:v>
                </c:pt>
                <c:pt idx="5087">
                  <c:v>2156</c:v>
                </c:pt>
                <c:pt idx="5088">
                  <c:v>9210</c:v>
                </c:pt>
                <c:pt idx="5089">
                  <c:v>2948</c:v>
                </c:pt>
                <c:pt idx="5090">
                  <c:v>20907</c:v>
                </c:pt>
                <c:pt idx="5091">
                  <c:v>15744</c:v>
                </c:pt>
                <c:pt idx="5092">
                  <c:v>9706</c:v>
                </c:pt>
                <c:pt idx="5093">
                  <c:v>1577</c:v>
                </c:pt>
                <c:pt idx="5094">
                  <c:v>15961</c:v>
                </c:pt>
                <c:pt idx="5095">
                  <c:v>1376</c:v>
                </c:pt>
                <c:pt idx="5096">
                  <c:v>2637</c:v>
                </c:pt>
                <c:pt idx="5097">
                  <c:v>5311</c:v>
                </c:pt>
                <c:pt idx="5098">
                  <c:v>820</c:v>
                </c:pt>
                <c:pt idx="5099">
                  <c:v>4438</c:v>
                </c:pt>
                <c:pt idx="5100">
                  <c:v>546</c:v>
                </c:pt>
                <c:pt idx="5101">
                  <c:v>13127</c:v>
                </c:pt>
                <c:pt idx="5102">
                  <c:v>148</c:v>
                </c:pt>
                <c:pt idx="5103">
                  <c:v>12811</c:v>
                </c:pt>
                <c:pt idx="5104">
                  <c:v>3330</c:v>
                </c:pt>
                <c:pt idx="5105">
                  <c:v>9801</c:v>
                </c:pt>
                <c:pt idx="5106">
                  <c:v>3869</c:v>
                </c:pt>
                <c:pt idx="5107">
                  <c:v>118</c:v>
                </c:pt>
                <c:pt idx="5108">
                  <c:v>5686</c:v>
                </c:pt>
                <c:pt idx="5109">
                  <c:v>3374</c:v>
                </c:pt>
                <c:pt idx="5110">
                  <c:v>6062</c:v>
                </c:pt>
                <c:pt idx="5111">
                  <c:v>3070</c:v>
                </c:pt>
                <c:pt idx="5112">
                  <c:v>1624</c:v>
                </c:pt>
                <c:pt idx="5113">
                  <c:v>1258</c:v>
                </c:pt>
                <c:pt idx="5114">
                  <c:v>3752</c:v>
                </c:pt>
                <c:pt idx="5115">
                  <c:v>320</c:v>
                </c:pt>
                <c:pt idx="5116">
                  <c:v>5162</c:v>
                </c:pt>
                <c:pt idx="5117">
                  <c:v>421</c:v>
                </c:pt>
                <c:pt idx="5118">
                  <c:v>462</c:v>
                </c:pt>
                <c:pt idx="5119">
                  <c:v>133</c:v>
                </c:pt>
                <c:pt idx="5120">
                  <c:v>459</c:v>
                </c:pt>
                <c:pt idx="5121">
                  <c:v>4061</c:v>
                </c:pt>
                <c:pt idx="5122">
                  <c:v>2593</c:v>
                </c:pt>
                <c:pt idx="5123">
                  <c:v>1632</c:v>
                </c:pt>
                <c:pt idx="5124">
                  <c:v>1891</c:v>
                </c:pt>
                <c:pt idx="5125">
                  <c:v>20211</c:v>
                </c:pt>
                <c:pt idx="5126">
                  <c:v>24051</c:v>
                </c:pt>
                <c:pt idx="5127">
                  <c:v>21560</c:v>
                </c:pt>
                <c:pt idx="5128">
                  <c:v>3045</c:v>
                </c:pt>
                <c:pt idx="5129">
                  <c:v>7935</c:v>
                </c:pt>
                <c:pt idx="5130">
                  <c:v>13371</c:v>
                </c:pt>
                <c:pt idx="5131">
                  <c:v>5994</c:v>
                </c:pt>
                <c:pt idx="5132">
                  <c:v>3081</c:v>
                </c:pt>
                <c:pt idx="5133">
                  <c:v>378</c:v>
                </c:pt>
                <c:pt idx="5134">
                  <c:v>780</c:v>
                </c:pt>
                <c:pt idx="5135">
                  <c:v>506</c:v>
                </c:pt>
                <c:pt idx="5136">
                  <c:v>948</c:v>
                </c:pt>
                <c:pt idx="5137">
                  <c:v>616</c:v>
                </c:pt>
                <c:pt idx="5138">
                  <c:v>129</c:v>
                </c:pt>
                <c:pt idx="5139">
                  <c:v>5101</c:v>
                </c:pt>
                <c:pt idx="5140">
                  <c:v>2645</c:v>
                </c:pt>
                <c:pt idx="5141">
                  <c:v>4245</c:v>
                </c:pt>
                <c:pt idx="5142">
                  <c:v>56</c:v>
                </c:pt>
                <c:pt idx="5143">
                  <c:v>221</c:v>
                </c:pt>
                <c:pt idx="5144">
                  <c:v>1473</c:v>
                </c:pt>
                <c:pt idx="5145">
                  <c:v>9428</c:v>
                </c:pt>
                <c:pt idx="5146">
                  <c:v>1565</c:v>
                </c:pt>
                <c:pt idx="5147">
                  <c:v>1484</c:v>
                </c:pt>
                <c:pt idx="5148">
                  <c:v>129</c:v>
                </c:pt>
                <c:pt idx="5149">
                  <c:v>169</c:v>
                </c:pt>
                <c:pt idx="5150">
                  <c:v>189</c:v>
                </c:pt>
                <c:pt idx="5151">
                  <c:v>131</c:v>
                </c:pt>
                <c:pt idx="5152">
                  <c:v>177</c:v>
                </c:pt>
                <c:pt idx="5153">
                  <c:v>153</c:v>
                </c:pt>
                <c:pt idx="5154">
                  <c:v>1917</c:v>
                </c:pt>
                <c:pt idx="5155">
                  <c:v>1451</c:v>
                </c:pt>
                <c:pt idx="5156">
                  <c:v>5434</c:v>
                </c:pt>
                <c:pt idx="5157">
                  <c:v>400</c:v>
                </c:pt>
                <c:pt idx="5158">
                  <c:v>1786</c:v>
                </c:pt>
                <c:pt idx="5159">
                  <c:v>14309</c:v>
                </c:pt>
                <c:pt idx="5160">
                  <c:v>8512</c:v>
                </c:pt>
                <c:pt idx="5161">
                  <c:v>552</c:v>
                </c:pt>
                <c:pt idx="5162">
                  <c:v>1452</c:v>
                </c:pt>
                <c:pt idx="5163">
                  <c:v>4421</c:v>
                </c:pt>
                <c:pt idx="5164">
                  <c:v>1647</c:v>
                </c:pt>
                <c:pt idx="5165">
                  <c:v>1801</c:v>
                </c:pt>
                <c:pt idx="5166">
                  <c:v>313</c:v>
                </c:pt>
                <c:pt idx="5167">
                  <c:v>3426</c:v>
                </c:pt>
                <c:pt idx="5168">
                  <c:v>4338</c:v>
                </c:pt>
                <c:pt idx="5169">
                  <c:v>1849</c:v>
                </c:pt>
                <c:pt idx="5170">
                  <c:v>2537</c:v>
                </c:pt>
                <c:pt idx="5171">
                  <c:v>510</c:v>
                </c:pt>
                <c:pt idx="5172">
                  <c:v>1790</c:v>
                </c:pt>
                <c:pt idx="5173">
                  <c:v>7179</c:v>
                </c:pt>
                <c:pt idx="5174">
                  <c:v>311</c:v>
                </c:pt>
                <c:pt idx="5175">
                  <c:v>2484</c:v>
                </c:pt>
                <c:pt idx="5176">
                  <c:v>1854</c:v>
                </c:pt>
                <c:pt idx="5177">
                  <c:v>1082</c:v>
                </c:pt>
                <c:pt idx="5178">
                  <c:v>1136</c:v>
                </c:pt>
                <c:pt idx="5179">
                  <c:v>238</c:v>
                </c:pt>
                <c:pt idx="5180">
                  <c:v>180</c:v>
                </c:pt>
                <c:pt idx="5181">
                  <c:v>5657</c:v>
                </c:pt>
                <c:pt idx="5182">
                  <c:v>703</c:v>
                </c:pt>
                <c:pt idx="5183">
                  <c:v>588</c:v>
                </c:pt>
                <c:pt idx="5184">
                  <c:v>12831</c:v>
                </c:pt>
                <c:pt idx="5185">
                  <c:v>502</c:v>
                </c:pt>
                <c:pt idx="5186">
                  <c:v>1393</c:v>
                </c:pt>
                <c:pt idx="5187">
                  <c:v>3790</c:v>
                </c:pt>
                <c:pt idx="5188">
                  <c:v>1084</c:v>
                </c:pt>
                <c:pt idx="5189">
                  <c:v>6249</c:v>
                </c:pt>
                <c:pt idx="5190">
                  <c:v>11037</c:v>
                </c:pt>
                <c:pt idx="5191">
                  <c:v>2688</c:v>
                </c:pt>
                <c:pt idx="5192">
                  <c:v>625</c:v>
                </c:pt>
                <c:pt idx="5193">
                  <c:v>375</c:v>
                </c:pt>
                <c:pt idx="5194">
                  <c:v>1831</c:v>
                </c:pt>
                <c:pt idx="5195">
                  <c:v>87</c:v>
                </c:pt>
                <c:pt idx="5196">
                  <c:v>2164</c:v>
                </c:pt>
                <c:pt idx="5197">
                  <c:v>2330</c:v>
                </c:pt>
                <c:pt idx="5198">
                  <c:v>407</c:v>
                </c:pt>
                <c:pt idx="5199">
                  <c:v>1421</c:v>
                </c:pt>
                <c:pt idx="5200">
                  <c:v>5273</c:v>
                </c:pt>
                <c:pt idx="5201">
                  <c:v>5732</c:v>
                </c:pt>
                <c:pt idx="5202">
                  <c:v>3628</c:v>
                </c:pt>
                <c:pt idx="5203">
                  <c:v>1484</c:v>
                </c:pt>
                <c:pt idx="5204">
                  <c:v>292</c:v>
                </c:pt>
                <c:pt idx="5205">
                  <c:v>5255</c:v>
                </c:pt>
                <c:pt idx="5206">
                  <c:v>47</c:v>
                </c:pt>
                <c:pt idx="5207">
                  <c:v>457</c:v>
                </c:pt>
                <c:pt idx="5208">
                  <c:v>222</c:v>
                </c:pt>
                <c:pt idx="5209">
                  <c:v>168</c:v>
                </c:pt>
                <c:pt idx="5210">
                  <c:v>159</c:v>
                </c:pt>
                <c:pt idx="5211">
                  <c:v>6633</c:v>
                </c:pt>
                <c:pt idx="5212">
                  <c:v>703</c:v>
                </c:pt>
                <c:pt idx="5213">
                  <c:v>1586</c:v>
                </c:pt>
                <c:pt idx="5214">
                  <c:v>5224</c:v>
                </c:pt>
                <c:pt idx="5215">
                  <c:v>205</c:v>
                </c:pt>
                <c:pt idx="5216">
                  <c:v>2061</c:v>
                </c:pt>
                <c:pt idx="5217">
                  <c:v>467</c:v>
                </c:pt>
                <c:pt idx="5218">
                  <c:v>120</c:v>
                </c:pt>
                <c:pt idx="5219">
                  <c:v>1453</c:v>
                </c:pt>
                <c:pt idx="5220">
                  <c:v>99</c:v>
                </c:pt>
                <c:pt idx="5221">
                  <c:v>291</c:v>
                </c:pt>
                <c:pt idx="5222">
                  <c:v>132</c:v>
                </c:pt>
                <c:pt idx="5223">
                  <c:v>698</c:v>
                </c:pt>
                <c:pt idx="5224">
                  <c:v>493</c:v>
                </c:pt>
                <c:pt idx="5225">
                  <c:v>7332</c:v>
                </c:pt>
                <c:pt idx="5226">
                  <c:v>109</c:v>
                </c:pt>
                <c:pt idx="5227">
                  <c:v>905</c:v>
                </c:pt>
                <c:pt idx="5228">
                  <c:v>301</c:v>
                </c:pt>
                <c:pt idx="5229">
                  <c:v>1940</c:v>
                </c:pt>
                <c:pt idx="5230">
                  <c:v>9479</c:v>
                </c:pt>
                <c:pt idx="5231">
                  <c:v>9222</c:v>
                </c:pt>
                <c:pt idx="5232">
                  <c:v>2699</c:v>
                </c:pt>
                <c:pt idx="5233">
                  <c:v>4791</c:v>
                </c:pt>
                <c:pt idx="5234">
                  <c:v>5733</c:v>
                </c:pt>
                <c:pt idx="5235">
                  <c:v>5909</c:v>
                </c:pt>
                <c:pt idx="5236">
                  <c:v>6333</c:v>
                </c:pt>
                <c:pt idx="5237">
                  <c:v>2372</c:v>
                </c:pt>
                <c:pt idx="5238">
                  <c:v>4161</c:v>
                </c:pt>
                <c:pt idx="5239">
                  <c:v>2517</c:v>
                </c:pt>
                <c:pt idx="5240">
                  <c:v>162</c:v>
                </c:pt>
                <c:pt idx="5241">
                  <c:v>9225</c:v>
                </c:pt>
                <c:pt idx="5242">
                  <c:v>1467</c:v>
                </c:pt>
                <c:pt idx="5243">
                  <c:v>7435</c:v>
                </c:pt>
                <c:pt idx="5244">
                  <c:v>755</c:v>
                </c:pt>
                <c:pt idx="5245">
                  <c:v>825</c:v>
                </c:pt>
                <c:pt idx="5246">
                  <c:v>293</c:v>
                </c:pt>
                <c:pt idx="5247">
                  <c:v>676</c:v>
                </c:pt>
                <c:pt idx="5248">
                  <c:v>1881</c:v>
                </c:pt>
                <c:pt idx="5249">
                  <c:v>47</c:v>
                </c:pt>
                <c:pt idx="5250">
                  <c:v>2374</c:v>
                </c:pt>
                <c:pt idx="5251">
                  <c:v>1048</c:v>
                </c:pt>
                <c:pt idx="5252">
                  <c:v>175</c:v>
                </c:pt>
                <c:pt idx="5253">
                  <c:v>67</c:v>
                </c:pt>
                <c:pt idx="5254">
                  <c:v>165</c:v>
                </c:pt>
                <c:pt idx="5255">
                  <c:v>78</c:v>
                </c:pt>
                <c:pt idx="5256">
                  <c:v>746</c:v>
                </c:pt>
                <c:pt idx="5257">
                  <c:v>1183</c:v>
                </c:pt>
                <c:pt idx="5258">
                  <c:v>486</c:v>
                </c:pt>
                <c:pt idx="5259">
                  <c:v>312</c:v>
                </c:pt>
                <c:pt idx="5260">
                  <c:v>5820</c:v>
                </c:pt>
                <c:pt idx="5261">
                  <c:v>1812</c:v>
                </c:pt>
                <c:pt idx="5262">
                  <c:v>638</c:v>
                </c:pt>
                <c:pt idx="5263">
                  <c:v>7505</c:v>
                </c:pt>
                <c:pt idx="5264">
                  <c:v>3522</c:v>
                </c:pt>
                <c:pt idx="5265">
                  <c:v>2037</c:v>
                </c:pt>
                <c:pt idx="5266">
                  <c:v>6280</c:v>
                </c:pt>
                <c:pt idx="5267">
                  <c:v>3961</c:v>
                </c:pt>
                <c:pt idx="5268">
                  <c:v>3985</c:v>
                </c:pt>
                <c:pt idx="5269">
                  <c:v>2455</c:v>
                </c:pt>
                <c:pt idx="5270">
                  <c:v>987</c:v>
                </c:pt>
                <c:pt idx="5271">
                  <c:v>5132</c:v>
                </c:pt>
                <c:pt idx="5272">
                  <c:v>1624</c:v>
                </c:pt>
                <c:pt idx="5273">
                  <c:v>2126</c:v>
                </c:pt>
                <c:pt idx="5274">
                  <c:v>1176</c:v>
                </c:pt>
                <c:pt idx="5275">
                  <c:v>18707</c:v>
                </c:pt>
                <c:pt idx="5276">
                  <c:v>15213</c:v>
                </c:pt>
                <c:pt idx="5277">
                  <c:v>7675</c:v>
                </c:pt>
                <c:pt idx="5278">
                  <c:v>6800</c:v>
                </c:pt>
                <c:pt idx="5279">
                  <c:v>8727</c:v>
                </c:pt>
                <c:pt idx="5280">
                  <c:v>4529</c:v>
                </c:pt>
                <c:pt idx="5281">
                  <c:v>1432</c:v>
                </c:pt>
                <c:pt idx="5282">
                  <c:v>3639</c:v>
                </c:pt>
                <c:pt idx="5283">
                  <c:v>2758</c:v>
                </c:pt>
                <c:pt idx="5284">
                  <c:v>827</c:v>
                </c:pt>
                <c:pt idx="5285">
                  <c:v>93</c:v>
                </c:pt>
                <c:pt idx="5286">
                  <c:v>38</c:v>
                </c:pt>
                <c:pt idx="5287">
                  <c:v>589</c:v>
                </c:pt>
                <c:pt idx="5288">
                  <c:v>478</c:v>
                </c:pt>
                <c:pt idx="5289">
                  <c:v>1336</c:v>
                </c:pt>
                <c:pt idx="5290">
                  <c:v>24</c:v>
                </c:pt>
                <c:pt idx="5291">
                  <c:v>539</c:v>
                </c:pt>
                <c:pt idx="5292">
                  <c:v>68</c:v>
                </c:pt>
                <c:pt idx="5293">
                  <c:v>615</c:v>
                </c:pt>
                <c:pt idx="5294">
                  <c:v>99</c:v>
                </c:pt>
                <c:pt idx="5295">
                  <c:v>344</c:v>
                </c:pt>
                <c:pt idx="5296">
                  <c:v>216</c:v>
                </c:pt>
                <c:pt idx="5297">
                  <c:v>402</c:v>
                </c:pt>
                <c:pt idx="5298">
                  <c:v>761</c:v>
                </c:pt>
                <c:pt idx="5299">
                  <c:v>905</c:v>
                </c:pt>
                <c:pt idx="5300">
                  <c:v>1420</c:v>
                </c:pt>
                <c:pt idx="5301">
                  <c:v>1218</c:v>
                </c:pt>
                <c:pt idx="5302">
                  <c:v>5025</c:v>
                </c:pt>
                <c:pt idx="5303">
                  <c:v>60</c:v>
                </c:pt>
                <c:pt idx="5304">
                  <c:v>79</c:v>
                </c:pt>
                <c:pt idx="5305">
                  <c:v>703</c:v>
                </c:pt>
                <c:pt idx="5306">
                  <c:v>121</c:v>
                </c:pt>
                <c:pt idx="5307">
                  <c:v>206</c:v>
                </c:pt>
                <c:pt idx="5308">
                  <c:v>1951</c:v>
                </c:pt>
                <c:pt idx="5309">
                  <c:v>3318</c:v>
                </c:pt>
                <c:pt idx="5310">
                  <c:v>860</c:v>
                </c:pt>
                <c:pt idx="5311">
                  <c:v>274</c:v>
                </c:pt>
                <c:pt idx="5312">
                  <c:v>1845</c:v>
                </c:pt>
                <c:pt idx="5313">
                  <c:v>741</c:v>
                </c:pt>
                <c:pt idx="5314">
                  <c:v>13255</c:v>
                </c:pt>
                <c:pt idx="5315">
                  <c:v>11317</c:v>
                </c:pt>
                <c:pt idx="5316">
                  <c:v>112</c:v>
                </c:pt>
                <c:pt idx="5317">
                  <c:v>12237</c:v>
                </c:pt>
                <c:pt idx="5318">
                  <c:v>564</c:v>
                </c:pt>
                <c:pt idx="5319">
                  <c:v>1242</c:v>
                </c:pt>
                <c:pt idx="5320">
                  <c:v>645</c:v>
                </c:pt>
                <c:pt idx="5321">
                  <c:v>3411</c:v>
                </c:pt>
                <c:pt idx="5322">
                  <c:v>5330</c:v>
                </c:pt>
                <c:pt idx="5323">
                  <c:v>1197</c:v>
                </c:pt>
                <c:pt idx="5324">
                  <c:v>62</c:v>
                </c:pt>
                <c:pt idx="5325">
                  <c:v>288</c:v>
                </c:pt>
                <c:pt idx="5326">
                  <c:v>162</c:v>
                </c:pt>
                <c:pt idx="5327">
                  <c:v>6836</c:v>
                </c:pt>
                <c:pt idx="5328">
                  <c:v>15524</c:v>
                </c:pt>
                <c:pt idx="5329">
                  <c:v>1133</c:v>
                </c:pt>
                <c:pt idx="5330">
                  <c:v>15392</c:v>
                </c:pt>
                <c:pt idx="5331">
                  <c:v>276</c:v>
                </c:pt>
                <c:pt idx="5332">
                  <c:v>3413</c:v>
                </c:pt>
                <c:pt idx="5333">
                  <c:v>18503</c:v>
                </c:pt>
                <c:pt idx="5334">
                  <c:v>4970</c:v>
                </c:pt>
                <c:pt idx="5335">
                  <c:v>779</c:v>
                </c:pt>
                <c:pt idx="5336">
                  <c:v>6448</c:v>
                </c:pt>
                <c:pt idx="5337">
                  <c:v>159</c:v>
                </c:pt>
                <c:pt idx="5338">
                  <c:v>7262</c:v>
                </c:pt>
                <c:pt idx="5339">
                  <c:v>18896</c:v>
                </c:pt>
                <c:pt idx="5340">
                  <c:v>8508</c:v>
                </c:pt>
                <c:pt idx="5341">
                  <c:v>410</c:v>
                </c:pt>
                <c:pt idx="5342">
                  <c:v>1653</c:v>
                </c:pt>
                <c:pt idx="5343">
                  <c:v>21637</c:v>
                </c:pt>
                <c:pt idx="5344">
                  <c:v>10881</c:v>
                </c:pt>
                <c:pt idx="5345">
                  <c:v>2369</c:v>
                </c:pt>
                <c:pt idx="5346">
                  <c:v>9007</c:v>
                </c:pt>
                <c:pt idx="5347">
                  <c:v>15940</c:v>
                </c:pt>
                <c:pt idx="5348">
                  <c:v>7685</c:v>
                </c:pt>
                <c:pt idx="5349">
                  <c:v>4467</c:v>
                </c:pt>
                <c:pt idx="5350">
                  <c:v>11023</c:v>
                </c:pt>
                <c:pt idx="5351">
                  <c:v>11587</c:v>
                </c:pt>
                <c:pt idx="5352">
                  <c:v>10208</c:v>
                </c:pt>
                <c:pt idx="5353">
                  <c:v>523</c:v>
                </c:pt>
                <c:pt idx="5354">
                  <c:v>9964</c:v>
                </c:pt>
                <c:pt idx="5355">
                  <c:v>3487</c:v>
                </c:pt>
                <c:pt idx="5356">
                  <c:v>12467</c:v>
                </c:pt>
                <c:pt idx="5357">
                  <c:v>10998</c:v>
                </c:pt>
                <c:pt idx="5358">
                  <c:v>8525</c:v>
                </c:pt>
                <c:pt idx="5359">
                  <c:v>11898</c:v>
                </c:pt>
                <c:pt idx="5360">
                  <c:v>29957</c:v>
                </c:pt>
                <c:pt idx="5361">
                  <c:v>4732</c:v>
                </c:pt>
                <c:pt idx="5362">
                  <c:v>1503</c:v>
                </c:pt>
                <c:pt idx="5363">
                  <c:v>9157</c:v>
                </c:pt>
                <c:pt idx="5364">
                  <c:v>3274</c:v>
                </c:pt>
                <c:pt idx="5365">
                  <c:v>16622</c:v>
                </c:pt>
                <c:pt idx="5366">
                  <c:v>10194</c:v>
                </c:pt>
                <c:pt idx="5367">
                  <c:v>1930</c:v>
                </c:pt>
                <c:pt idx="5368">
                  <c:v>6317</c:v>
                </c:pt>
                <c:pt idx="5369">
                  <c:v>2135</c:v>
                </c:pt>
                <c:pt idx="5370">
                  <c:v>2749</c:v>
                </c:pt>
                <c:pt idx="5371">
                  <c:v>4039</c:v>
                </c:pt>
                <c:pt idx="5372">
                  <c:v>3486</c:v>
                </c:pt>
                <c:pt idx="5373">
                  <c:v>1813</c:v>
                </c:pt>
                <c:pt idx="5374">
                  <c:v>6930</c:v>
                </c:pt>
                <c:pt idx="5375">
                  <c:v>16787</c:v>
                </c:pt>
                <c:pt idx="5376">
                  <c:v>11630</c:v>
                </c:pt>
                <c:pt idx="5377">
                  <c:v>2906</c:v>
                </c:pt>
                <c:pt idx="5378">
                  <c:v>1239</c:v>
                </c:pt>
                <c:pt idx="5379">
                  <c:v>9972</c:v>
                </c:pt>
                <c:pt idx="5380">
                  <c:v>8971</c:v>
                </c:pt>
                <c:pt idx="5381">
                  <c:v>17441</c:v>
                </c:pt>
                <c:pt idx="5382">
                  <c:v>15028</c:v>
                </c:pt>
                <c:pt idx="5383">
                  <c:v>315</c:v>
                </c:pt>
                <c:pt idx="5384">
                  <c:v>14891</c:v>
                </c:pt>
                <c:pt idx="5385">
                  <c:v>9703</c:v>
                </c:pt>
                <c:pt idx="5386">
                  <c:v>7043</c:v>
                </c:pt>
                <c:pt idx="5387">
                  <c:v>8030</c:v>
                </c:pt>
                <c:pt idx="5388">
                  <c:v>9833</c:v>
                </c:pt>
                <c:pt idx="5389">
                  <c:v>5629</c:v>
                </c:pt>
                <c:pt idx="5390">
                  <c:v>9859</c:v>
                </c:pt>
                <c:pt idx="5391">
                  <c:v>19607</c:v>
                </c:pt>
                <c:pt idx="5392">
                  <c:v>12553</c:v>
                </c:pt>
                <c:pt idx="5393">
                  <c:v>2571</c:v>
                </c:pt>
                <c:pt idx="5394">
                  <c:v>28012</c:v>
                </c:pt>
                <c:pt idx="5395">
                  <c:v>3805</c:v>
                </c:pt>
                <c:pt idx="5396">
                  <c:v>5901</c:v>
                </c:pt>
                <c:pt idx="5397">
                  <c:v>10000</c:v>
                </c:pt>
                <c:pt idx="5398">
                  <c:v>3071</c:v>
                </c:pt>
                <c:pt idx="5399">
                  <c:v>4187</c:v>
                </c:pt>
                <c:pt idx="5400">
                  <c:v>3801</c:v>
                </c:pt>
                <c:pt idx="5401">
                  <c:v>5953</c:v>
                </c:pt>
                <c:pt idx="5402">
                  <c:v>3880</c:v>
                </c:pt>
                <c:pt idx="5403">
                  <c:v>5043</c:v>
                </c:pt>
                <c:pt idx="5404">
                  <c:v>21418</c:v>
                </c:pt>
                <c:pt idx="5405">
                  <c:v>18764</c:v>
                </c:pt>
                <c:pt idx="5406">
                  <c:v>3657</c:v>
                </c:pt>
                <c:pt idx="5407">
                  <c:v>6381</c:v>
                </c:pt>
                <c:pt idx="5408">
                  <c:v>17305</c:v>
                </c:pt>
                <c:pt idx="5409">
                  <c:v>10433</c:v>
                </c:pt>
                <c:pt idx="5410">
                  <c:v>2079</c:v>
                </c:pt>
                <c:pt idx="5411">
                  <c:v>4007</c:v>
                </c:pt>
                <c:pt idx="5412">
                  <c:v>6841</c:v>
                </c:pt>
                <c:pt idx="5413">
                  <c:v>3808</c:v>
                </c:pt>
                <c:pt idx="5414">
                  <c:v>16415</c:v>
                </c:pt>
                <c:pt idx="5415">
                  <c:v>21582</c:v>
                </c:pt>
                <c:pt idx="5416">
                  <c:v>9038</c:v>
                </c:pt>
                <c:pt idx="5417">
                  <c:v>9212</c:v>
                </c:pt>
                <c:pt idx="5418">
                  <c:v>30886</c:v>
                </c:pt>
                <c:pt idx="5419">
                  <c:v>15106</c:v>
                </c:pt>
                <c:pt idx="5420">
                  <c:v>15650</c:v>
                </c:pt>
                <c:pt idx="5421">
                  <c:v>14959</c:v>
                </c:pt>
                <c:pt idx="5422">
                  <c:v>5525</c:v>
                </c:pt>
                <c:pt idx="5423">
                  <c:v>14279</c:v>
                </c:pt>
                <c:pt idx="5424">
                  <c:v>27887</c:v>
                </c:pt>
                <c:pt idx="5425">
                  <c:v>13721</c:v>
                </c:pt>
                <c:pt idx="5426">
                  <c:v>9553</c:v>
                </c:pt>
                <c:pt idx="5427">
                  <c:v>11725</c:v>
                </c:pt>
                <c:pt idx="5428">
                  <c:v>25766</c:v>
                </c:pt>
                <c:pt idx="5429">
                  <c:v>16057</c:v>
                </c:pt>
                <c:pt idx="5430">
                  <c:v>7463</c:v>
                </c:pt>
                <c:pt idx="5431">
                  <c:v>4190</c:v>
                </c:pt>
                <c:pt idx="5432">
                  <c:v>23327</c:v>
                </c:pt>
                <c:pt idx="5433">
                  <c:v>5995</c:v>
                </c:pt>
                <c:pt idx="5434">
                  <c:v>19725</c:v>
                </c:pt>
                <c:pt idx="5435">
                  <c:v>16680</c:v>
                </c:pt>
                <c:pt idx="5436">
                  <c:v>10632</c:v>
                </c:pt>
                <c:pt idx="5437">
                  <c:v>8483</c:v>
                </c:pt>
                <c:pt idx="5438">
                  <c:v>21497</c:v>
                </c:pt>
                <c:pt idx="5439">
                  <c:v>14599</c:v>
                </c:pt>
                <c:pt idx="5440">
                  <c:v>13853</c:v>
                </c:pt>
                <c:pt idx="5441">
                  <c:v>3444</c:v>
                </c:pt>
                <c:pt idx="5442">
                  <c:v>13630</c:v>
                </c:pt>
                <c:pt idx="5443">
                  <c:v>17359</c:v>
                </c:pt>
                <c:pt idx="5444">
                  <c:v>16806</c:v>
                </c:pt>
                <c:pt idx="5445">
                  <c:v>11997</c:v>
                </c:pt>
                <c:pt idx="5446">
                  <c:v>12113</c:v>
                </c:pt>
                <c:pt idx="5447">
                  <c:v>27265</c:v>
                </c:pt>
                <c:pt idx="5448">
                  <c:v>19308</c:v>
                </c:pt>
                <c:pt idx="5449">
                  <c:v>21682</c:v>
                </c:pt>
                <c:pt idx="5450">
                  <c:v>23922</c:v>
                </c:pt>
                <c:pt idx="5451">
                  <c:v>23769</c:v>
                </c:pt>
                <c:pt idx="5452">
                  <c:v>24339</c:v>
                </c:pt>
                <c:pt idx="5453">
                  <c:v>25919</c:v>
                </c:pt>
                <c:pt idx="5454">
                  <c:v>10089</c:v>
                </c:pt>
                <c:pt idx="5455">
                  <c:v>14258</c:v>
                </c:pt>
                <c:pt idx="5456">
                  <c:v>15365</c:v>
                </c:pt>
                <c:pt idx="5457">
                  <c:v>5989</c:v>
                </c:pt>
                <c:pt idx="5458">
                  <c:v>16205</c:v>
                </c:pt>
                <c:pt idx="5459">
                  <c:v>3442</c:v>
                </c:pt>
                <c:pt idx="5460">
                  <c:v>1422</c:v>
                </c:pt>
                <c:pt idx="5461">
                  <c:v>5510</c:v>
                </c:pt>
                <c:pt idx="5462">
                  <c:v>5526</c:v>
                </c:pt>
                <c:pt idx="5463">
                  <c:v>5420</c:v>
                </c:pt>
                <c:pt idx="5464">
                  <c:v>187</c:v>
                </c:pt>
                <c:pt idx="5465">
                  <c:v>27547</c:v>
                </c:pt>
                <c:pt idx="5466">
                  <c:v>2759</c:v>
                </c:pt>
                <c:pt idx="5467">
                  <c:v>3697</c:v>
                </c:pt>
                <c:pt idx="5468">
                  <c:v>27998</c:v>
                </c:pt>
                <c:pt idx="5469">
                  <c:v>10448</c:v>
                </c:pt>
                <c:pt idx="5470">
                  <c:v>9020</c:v>
                </c:pt>
                <c:pt idx="5471">
                  <c:v>4024</c:v>
                </c:pt>
                <c:pt idx="5472">
                  <c:v>5680</c:v>
                </c:pt>
                <c:pt idx="5473">
                  <c:v>11215</c:v>
                </c:pt>
                <c:pt idx="5474">
                  <c:v>5924</c:v>
                </c:pt>
                <c:pt idx="5475">
                  <c:v>5719</c:v>
                </c:pt>
                <c:pt idx="5476">
                  <c:v>14903</c:v>
                </c:pt>
                <c:pt idx="5477">
                  <c:v>168</c:v>
                </c:pt>
                <c:pt idx="5478">
                  <c:v>2870</c:v>
                </c:pt>
                <c:pt idx="5479">
                  <c:v>8232</c:v>
                </c:pt>
                <c:pt idx="5480">
                  <c:v>4100</c:v>
                </c:pt>
                <c:pt idx="5481">
                  <c:v>1177</c:v>
                </c:pt>
                <c:pt idx="5482">
                  <c:v>1252</c:v>
                </c:pt>
                <c:pt idx="5483">
                  <c:v>372</c:v>
                </c:pt>
                <c:pt idx="5484">
                  <c:v>27073</c:v>
                </c:pt>
                <c:pt idx="5485">
                  <c:v>27285</c:v>
                </c:pt>
                <c:pt idx="5486">
                  <c:v>6165</c:v>
                </c:pt>
                <c:pt idx="5487">
                  <c:v>21408</c:v>
                </c:pt>
                <c:pt idx="5488">
                  <c:v>23082</c:v>
                </c:pt>
                <c:pt idx="5489">
                  <c:v>2808</c:v>
                </c:pt>
                <c:pt idx="5490">
                  <c:v>15998</c:v>
                </c:pt>
                <c:pt idx="5491">
                  <c:v>9337</c:v>
                </c:pt>
                <c:pt idx="5492">
                  <c:v>8817</c:v>
                </c:pt>
                <c:pt idx="5493">
                  <c:v>20432</c:v>
                </c:pt>
                <c:pt idx="5494">
                  <c:v>13024</c:v>
                </c:pt>
                <c:pt idx="5495">
                  <c:v>502</c:v>
                </c:pt>
                <c:pt idx="5496">
                  <c:v>13671</c:v>
                </c:pt>
                <c:pt idx="5497">
                  <c:v>11218</c:v>
                </c:pt>
                <c:pt idx="5498">
                  <c:v>5904</c:v>
                </c:pt>
                <c:pt idx="5499">
                  <c:v>31150</c:v>
                </c:pt>
                <c:pt idx="5500">
                  <c:v>1021</c:v>
                </c:pt>
                <c:pt idx="5501">
                  <c:v>14402</c:v>
                </c:pt>
                <c:pt idx="5502">
                  <c:v>23872</c:v>
                </c:pt>
                <c:pt idx="5503">
                  <c:v>8461</c:v>
                </c:pt>
                <c:pt idx="5504">
                  <c:v>24614</c:v>
                </c:pt>
                <c:pt idx="5505">
                  <c:v>9792</c:v>
                </c:pt>
                <c:pt idx="5506">
                  <c:v>14978</c:v>
                </c:pt>
                <c:pt idx="5507">
                  <c:v>8975</c:v>
                </c:pt>
                <c:pt idx="5508">
                  <c:v>323</c:v>
                </c:pt>
                <c:pt idx="5509">
                  <c:v>6084</c:v>
                </c:pt>
                <c:pt idx="5510">
                  <c:v>182</c:v>
                </c:pt>
                <c:pt idx="5511">
                  <c:v>587</c:v>
                </c:pt>
                <c:pt idx="5512">
                  <c:v>608</c:v>
                </c:pt>
                <c:pt idx="5513">
                  <c:v>2479</c:v>
                </c:pt>
                <c:pt idx="5514">
                  <c:v>1869</c:v>
                </c:pt>
                <c:pt idx="5515">
                  <c:v>3526</c:v>
                </c:pt>
                <c:pt idx="5516">
                  <c:v>2015</c:v>
                </c:pt>
                <c:pt idx="5517">
                  <c:v>8073</c:v>
                </c:pt>
                <c:pt idx="5518">
                  <c:v>5160</c:v>
                </c:pt>
                <c:pt idx="5519">
                  <c:v>8739</c:v>
                </c:pt>
                <c:pt idx="5520">
                  <c:v>95</c:v>
                </c:pt>
                <c:pt idx="5521">
                  <c:v>7922</c:v>
                </c:pt>
                <c:pt idx="5522">
                  <c:v>3057</c:v>
                </c:pt>
                <c:pt idx="5523">
                  <c:v>7059</c:v>
                </c:pt>
                <c:pt idx="5524">
                  <c:v>8838</c:v>
                </c:pt>
                <c:pt idx="5525">
                  <c:v>5677</c:v>
                </c:pt>
                <c:pt idx="5526">
                  <c:v>1495</c:v>
                </c:pt>
                <c:pt idx="5527">
                  <c:v>7468</c:v>
                </c:pt>
                <c:pt idx="5528">
                  <c:v>3174</c:v>
                </c:pt>
                <c:pt idx="5529">
                  <c:v>883</c:v>
                </c:pt>
                <c:pt idx="5530">
                  <c:v>283</c:v>
                </c:pt>
                <c:pt idx="5531">
                  <c:v>2449</c:v>
                </c:pt>
                <c:pt idx="5532">
                  <c:v>5974</c:v>
                </c:pt>
                <c:pt idx="5533">
                  <c:v>2234</c:v>
                </c:pt>
                <c:pt idx="5534">
                  <c:v>3140</c:v>
                </c:pt>
                <c:pt idx="5535">
                  <c:v>66</c:v>
                </c:pt>
                <c:pt idx="5536">
                  <c:v>414</c:v>
                </c:pt>
                <c:pt idx="5537">
                  <c:v>2466</c:v>
                </c:pt>
                <c:pt idx="5538">
                  <c:v>150</c:v>
                </c:pt>
                <c:pt idx="5539">
                  <c:v>182</c:v>
                </c:pt>
                <c:pt idx="5540">
                  <c:v>2283</c:v>
                </c:pt>
                <c:pt idx="5541">
                  <c:v>174</c:v>
                </c:pt>
                <c:pt idx="5542">
                  <c:v>1746</c:v>
                </c:pt>
                <c:pt idx="5543">
                  <c:v>123</c:v>
                </c:pt>
                <c:pt idx="5544">
                  <c:v>4780</c:v>
                </c:pt>
                <c:pt idx="5545">
                  <c:v>1263</c:v>
                </c:pt>
                <c:pt idx="5546">
                  <c:v>4122</c:v>
                </c:pt>
                <c:pt idx="5547">
                  <c:v>2597</c:v>
                </c:pt>
                <c:pt idx="5548">
                  <c:v>13134</c:v>
                </c:pt>
                <c:pt idx="5549">
                  <c:v>6536</c:v>
                </c:pt>
                <c:pt idx="5550">
                  <c:v>12702</c:v>
                </c:pt>
                <c:pt idx="5551">
                  <c:v>10331</c:v>
                </c:pt>
                <c:pt idx="5552">
                  <c:v>18037</c:v>
                </c:pt>
                <c:pt idx="5553">
                  <c:v>11794</c:v>
                </c:pt>
                <c:pt idx="5554">
                  <c:v>12782</c:v>
                </c:pt>
                <c:pt idx="5555">
                  <c:v>5643</c:v>
                </c:pt>
                <c:pt idx="5556">
                  <c:v>7269</c:v>
                </c:pt>
                <c:pt idx="5557">
                  <c:v>4358</c:v>
                </c:pt>
                <c:pt idx="5558">
                  <c:v>22575</c:v>
                </c:pt>
                <c:pt idx="5559">
                  <c:v>30024</c:v>
                </c:pt>
                <c:pt idx="5560">
                  <c:v>8030</c:v>
                </c:pt>
                <c:pt idx="5561">
                  <c:v>808</c:v>
                </c:pt>
                <c:pt idx="5562">
                  <c:v>7607</c:v>
                </c:pt>
                <c:pt idx="5563">
                  <c:v>22191</c:v>
                </c:pt>
                <c:pt idx="5564">
                  <c:v>24945</c:v>
                </c:pt>
                <c:pt idx="5565">
                  <c:v>15138</c:v>
                </c:pt>
                <c:pt idx="5566">
                  <c:v>30434</c:v>
                </c:pt>
                <c:pt idx="5567">
                  <c:v>228</c:v>
                </c:pt>
                <c:pt idx="5568">
                  <c:v>135</c:v>
                </c:pt>
                <c:pt idx="5569">
                  <c:v>6860</c:v>
                </c:pt>
                <c:pt idx="5570">
                  <c:v>7133</c:v>
                </c:pt>
                <c:pt idx="5571">
                  <c:v>11861</c:v>
                </c:pt>
                <c:pt idx="5572">
                  <c:v>10015</c:v>
                </c:pt>
                <c:pt idx="5573">
                  <c:v>9067</c:v>
                </c:pt>
                <c:pt idx="5574">
                  <c:v>18891</c:v>
                </c:pt>
                <c:pt idx="5575">
                  <c:v>6001</c:v>
                </c:pt>
                <c:pt idx="5576">
                  <c:v>3464</c:v>
                </c:pt>
                <c:pt idx="5577">
                  <c:v>20204</c:v>
                </c:pt>
                <c:pt idx="5578">
                  <c:v>7418</c:v>
                </c:pt>
                <c:pt idx="5579">
                  <c:v>12350</c:v>
                </c:pt>
                <c:pt idx="5580">
                  <c:v>15938</c:v>
                </c:pt>
                <c:pt idx="5581">
                  <c:v>17369</c:v>
                </c:pt>
                <c:pt idx="5582">
                  <c:v>928</c:v>
                </c:pt>
                <c:pt idx="5583">
                  <c:v>120</c:v>
                </c:pt>
                <c:pt idx="5584">
                  <c:v>4112</c:v>
                </c:pt>
                <c:pt idx="5585">
                  <c:v>6315</c:v>
                </c:pt>
                <c:pt idx="5586">
                  <c:v>161</c:v>
                </c:pt>
                <c:pt idx="5587">
                  <c:v>4225</c:v>
                </c:pt>
                <c:pt idx="5588">
                  <c:v>3560</c:v>
                </c:pt>
                <c:pt idx="5589">
                  <c:v>2729</c:v>
                </c:pt>
                <c:pt idx="5590">
                  <c:v>1182</c:v>
                </c:pt>
                <c:pt idx="5591">
                  <c:v>5795</c:v>
                </c:pt>
                <c:pt idx="5592">
                  <c:v>190</c:v>
                </c:pt>
                <c:pt idx="5593">
                  <c:v>3640</c:v>
                </c:pt>
                <c:pt idx="5594">
                  <c:v>2242</c:v>
                </c:pt>
                <c:pt idx="5595">
                  <c:v>8207</c:v>
                </c:pt>
                <c:pt idx="5596">
                  <c:v>3613</c:v>
                </c:pt>
                <c:pt idx="5597">
                  <c:v>945</c:v>
                </c:pt>
                <c:pt idx="5598">
                  <c:v>4817</c:v>
                </c:pt>
                <c:pt idx="5599">
                  <c:v>2519</c:v>
                </c:pt>
                <c:pt idx="5600">
                  <c:v>694</c:v>
                </c:pt>
                <c:pt idx="5601">
                  <c:v>79</c:v>
                </c:pt>
                <c:pt idx="5602">
                  <c:v>6482</c:v>
                </c:pt>
                <c:pt idx="5603">
                  <c:v>11124</c:v>
                </c:pt>
                <c:pt idx="5604">
                  <c:v>3383</c:v>
                </c:pt>
                <c:pt idx="5605">
                  <c:v>5320</c:v>
                </c:pt>
                <c:pt idx="5606">
                  <c:v>9240</c:v>
                </c:pt>
                <c:pt idx="5607">
                  <c:v>462</c:v>
                </c:pt>
                <c:pt idx="5608">
                  <c:v>13892</c:v>
                </c:pt>
                <c:pt idx="5609">
                  <c:v>454</c:v>
                </c:pt>
                <c:pt idx="5610">
                  <c:v>5542</c:v>
                </c:pt>
                <c:pt idx="5611">
                  <c:v>2428</c:v>
                </c:pt>
                <c:pt idx="5612">
                  <c:v>6396</c:v>
                </c:pt>
                <c:pt idx="5613">
                  <c:v>11988</c:v>
                </c:pt>
                <c:pt idx="5614">
                  <c:v>4019</c:v>
                </c:pt>
                <c:pt idx="5615">
                  <c:v>11285</c:v>
                </c:pt>
                <c:pt idx="5616">
                  <c:v>397</c:v>
                </c:pt>
                <c:pt idx="5617">
                  <c:v>31029</c:v>
                </c:pt>
                <c:pt idx="5618">
                  <c:v>41817</c:v>
                </c:pt>
                <c:pt idx="5619">
                  <c:v>21253</c:v>
                </c:pt>
                <c:pt idx="5620">
                  <c:v>1359</c:v>
                </c:pt>
                <c:pt idx="5621">
                  <c:v>10107</c:v>
                </c:pt>
                <c:pt idx="5622">
                  <c:v>14639</c:v>
                </c:pt>
                <c:pt idx="5623">
                  <c:v>19330</c:v>
                </c:pt>
                <c:pt idx="5624">
                  <c:v>37039</c:v>
                </c:pt>
                <c:pt idx="5625">
                  <c:v>21364</c:v>
                </c:pt>
                <c:pt idx="5626">
                  <c:v>34388</c:v>
                </c:pt>
                <c:pt idx="5627">
                  <c:v>9089</c:v>
                </c:pt>
                <c:pt idx="5628">
                  <c:v>8018</c:v>
                </c:pt>
                <c:pt idx="5629">
                  <c:v>16788</c:v>
                </c:pt>
                <c:pt idx="5630">
                  <c:v>10014</c:v>
                </c:pt>
                <c:pt idx="5631">
                  <c:v>9569</c:v>
                </c:pt>
                <c:pt idx="5632">
                  <c:v>23845</c:v>
                </c:pt>
                <c:pt idx="5633">
                  <c:v>19929</c:v>
                </c:pt>
                <c:pt idx="5634">
                  <c:v>9685</c:v>
                </c:pt>
                <c:pt idx="5635">
                  <c:v>16545</c:v>
                </c:pt>
                <c:pt idx="5636">
                  <c:v>3603</c:v>
                </c:pt>
                <c:pt idx="5637">
                  <c:v>7169</c:v>
                </c:pt>
                <c:pt idx="5638">
                  <c:v>15102</c:v>
                </c:pt>
                <c:pt idx="5639">
                  <c:v>1917</c:v>
                </c:pt>
                <c:pt idx="5640">
                  <c:v>23855</c:v>
                </c:pt>
                <c:pt idx="5641">
                  <c:v>25923</c:v>
                </c:pt>
                <c:pt idx="5642">
                  <c:v>19965</c:v>
                </c:pt>
                <c:pt idx="5643">
                  <c:v>14566</c:v>
                </c:pt>
                <c:pt idx="5644">
                  <c:v>4352</c:v>
                </c:pt>
                <c:pt idx="5645">
                  <c:v>1466</c:v>
                </c:pt>
                <c:pt idx="5646">
                  <c:v>2133</c:v>
                </c:pt>
                <c:pt idx="5647">
                  <c:v>23496</c:v>
                </c:pt>
                <c:pt idx="5648">
                  <c:v>16117</c:v>
                </c:pt>
                <c:pt idx="5649">
                  <c:v>7919</c:v>
                </c:pt>
                <c:pt idx="5650">
                  <c:v>408</c:v>
                </c:pt>
                <c:pt idx="5651">
                  <c:v>130</c:v>
                </c:pt>
                <c:pt idx="5652">
                  <c:v>9177</c:v>
                </c:pt>
                <c:pt idx="5653">
                  <c:v>1851</c:v>
                </c:pt>
                <c:pt idx="5654">
                  <c:v>17045</c:v>
                </c:pt>
                <c:pt idx="5655">
                  <c:v>952</c:v>
                </c:pt>
                <c:pt idx="5656">
                  <c:v>4066</c:v>
                </c:pt>
                <c:pt idx="5657">
                  <c:v>319</c:v>
                </c:pt>
                <c:pt idx="5658">
                  <c:v>817</c:v>
                </c:pt>
                <c:pt idx="5659">
                  <c:v>35219</c:v>
                </c:pt>
                <c:pt idx="5660">
                  <c:v>32201</c:v>
                </c:pt>
                <c:pt idx="5661">
                  <c:v>11898</c:v>
                </c:pt>
                <c:pt idx="5662">
                  <c:v>19522</c:v>
                </c:pt>
                <c:pt idx="5663">
                  <c:v>18168</c:v>
                </c:pt>
                <c:pt idx="5664">
                  <c:v>2345</c:v>
                </c:pt>
                <c:pt idx="5665">
                  <c:v>23395</c:v>
                </c:pt>
                <c:pt idx="5666">
                  <c:v>18942</c:v>
                </c:pt>
                <c:pt idx="5667">
                  <c:v>7838</c:v>
                </c:pt>
                <c:pt idx="5668">
                  <c:v>13366</c:v>
                </c:pt>
                <c:pt idx="5669">
                  <c:v>25068</c:v>
                </c:pt>
                <c:pt idx="5670">
                  <c:v>28407</c:v>
                </c:pt>
                <c:pt idx="5671">
                  <c:v>18051</c:v>
                </c:pt>
                <c:pt idx="5672">
                  <c:v>26658</c:v>
                </c:pt>
                <c:pt idx="5673">
                  <c:v>3823</c:v>
                </c:pt>
                <c:pt idx="5674">
                  <c:v>4776</c:v>
                </c:pt>
                <c:pt idx="5675">
                  <c:v>7705</c:v>
                </c:pt>
                <c:pt idx="5676">
                  <c:v>9049</c:v>
                </c:pt>
                <c:pt idx="5677">
                  <c:v>12704</c:v>
                </c:pt>
                <c:pt idx="5678">
                  <c:v>16580</c:v>
                </c:pt>
                <c:pt idx="5679">
                  <c:v>7549</c:v>
                </c:pt>
                <c:pt idx="5680">
                  <c:v>1097</c:v>
                </c:pt>
                <c:pt idx="5681">
                  <c:v>965</c:v>
                </c:pt>
                <c:pt idx="5682">
                  <c:v>13506</c:v>
                </c:pt>
                <c:pt idx="5683">
                  <c:v>14725</c:v>
                </c:pt>
                <c:pt idx="5684">
                  <c:v>16992</c:v>
                </c:pt>
                <c:pt idx="5685">
                  <c:v>6233</c:v>
                </c:pt>
                <c:pt idx="5686">
                  <c:v>229</c:v>
                </c:pt>
                <c:pt idx="5687">
                  <c:v>693</c:v>
                </c:pt>
                <c:pt idx="5688">
                  <c:v>666</c:v>
                </c:pt>
                <c:pt idx="5689">
                  <c:v>7948</c:v>
                </c:pt>
                <c:pt idx="5690">
                  <c:v>422</c:v>
                </c:pt>
                <c:pt idx="5691">
                  <c:v>3514</c:v>
                </c:pt>
                <c:pt idx="5692">
                  <c:v>266</c:v>
                </c:pt>
                <c:pt idx="5693">
                  <c:v>326</c:v>
                </c:pt>
                <c:pt idx="5694">
                  <c:v>6670</c:v>
                </c:pt>
                <c:pt idx="5695">
                  <c:v>683</c:v>
                </c:pt>
                <c:pt idx="5696">
                  <c:v>422</c:v>
                </c:pt>
                <c:pt idx="5697">
                  <c:v>2546</c:v>
                </c:pt>
                <c:pt idx="5698">
                  <c:v>1394</c:v>
                </c:pt>
                <c:pt idx="5699">
                  <c:v>557</c:v>
                </c:pt>
                <c:pt idx="5700">
                  <c:v>676</c:v>
                </c:pt>
                <c:pt idx="5701">
                  <c:v>288</c:v>
                </c:pt>
                <c:pt idx="5702">
                  <c:v>326</c:v>
                </c:pt>
                <c:pt idx="5703">
                  <c:v>203</c:v>
                </c:pt>
                <c:pt idx="5704">
                  <c:v>199</c:v>
                </c:pt>
                <c:pt idx="5705">
                  <c:v>4751</c:v>
                </c:pt>
                <c:pt idx="5706">
                  <c:v>5120</c:v>
                </c:pt>
                <c:pt idx="5707">
                  <c:v>2985</c:v>
                </c:pt>
                <c:pt idx="5708">
                  <c:v>7738</c:v>
                </c:pt>
                <c:pt idx="5709">
                  <c:v>5489</c:v>
                </c:pt>
                <c:pt idx="5710">
                  <c:v>294</c:v>
                </c:pt>
                <c:pt idx="5711">
                  <c:v>9897</c:v>
                </c:pt>
                <c:pt idx="5712">
                  <c:v>6972</c:v>
                </c:pt>
                <c:pt idx="5713">
                  <c:v>14263</c:v>
                </c:pt>
                <c:pt idx="5714">
                  <c:v>11107</c:v>
                </c:pt>
                <c:pt idx="5715">
                  <c:v>385</c:v>
                </c:pt>
                <c:pt idx="5716">
                  <c:v>11514</c:v>
                </c:pt>
                <c:pt idx="5717">
                  <c:v>809</c:v>
                </c:pt>
                <c:pt idx="5718">
                  <c:v>1466</c:v>
                </c:pt>
                <c:pt idx="5719">
                  <c:v>330</c:v>
                </c:pt>
                <c:pt idx="5720">
                  <c:v>764</c:v>
                </c:pt>
                <c:pt idx="5721">
                  <c:v>1620</c:v>
                </c:pt>
                <c:pt idx="5722">
                  <c:v>1172</c:v>
                </c:pt>
                <c:pt idx="5723">
                  <c:v>6612</c:v>
                </c:pt>
                <c:pt idx="5724">
                  <c:v>321</c:v>
                </c:pt>
                <c:pt idx="5725">
                  <c:v>488</c:v>
                </c:pt>
                <c:pt idx="5726">
                  <c:v>3734</c:v>
                </c:pt>
                <c:pt idx="5727">
                  <c:v>242</c:v>
                </c:pt>
                <c:pt idx="5728">
                  <c:v>410</c:v>
                </c:pt>
                <c:pt idx="5729">
                  <c:v>1289</c:v>
                </c:pt>
                <c:pt idx="5730">
                  <c:v>416</c:v>
                </c:pt>
                <c:pt idx="5731">
                  <c:v>360</c:v>
                </c:pt>
                <c:pt idx="5732">
                  <c:v>532</c:v>
                </c:pt>
                <c:pt idx="5733">
                  <c:v>6245</c:v>
                </c:pt>
                <c:pt idx="5734">
                  <c:v>14776</c:v>
                </c:pt>
                <c:pt idx="5735">
                  <c:v>21622</c:v>
                </c:pt>
                <c:pt idx="5736">
                  <c:v>19460</c:v>
                </c:pt>
                <c:pt idx="5737">
                  <c:v>14449</c:v>
                </c:pt>
                <c:pt idx="5738">
                  <c:v>4068</c:v>
                </c:pt>
                <c:pt idx="5739">
                  <c:v>3414</c:v>
                </c:pt>
                <c:pt idx="5740">
                  <c:v>5511</c:v>
                </c:pt>
                <c:pt idx="5741">
                  <c:v>2024</c:v>
                </c:pt>
                <c:pt idx="5742">
                  <c:v>13962</c:v>
                </c:pt>
                <c:pt idx="5743">
                  <c:v>12363</c:v>
                </c:pt>
                <c:pt idx="5744">
                  <c:v>13727</c:v>
                </c:pt>
                <c:pt idx="5745">
                  <c:v>17125</c:v>
                </c:pt>
                <c:pt idx="5746">
                  <c:v>3197</c:v>
                </c:pt>
                <c:pt idx="5747">
                  <c:v>18647</c:v>
                </c:pt>
                <c:pt idx="5748">
                  <c:v>9855</c:v>
                </c:pt>
                <c:pt idx="5749">
                  <c:v>5498</c:v>
                </c:pt>
                <c:pt idx="5750">
                  <c:v>1408</c:v>
                </c:pt>
                <c:pt idx="5751">
                  <c:v>20762</c:v>
                </c:pt>
                <c:pt idx="5752">
                  <c:v>5135</c:v>
                </c:pt>
                <c:pt idx="5753">
                  <c:v>11730</c:v>
                </c:pt>
                <c:pt idx="5754">
                  <c:v>18589</c:v>
                </c:pt>
                <c:pt idx="5755">
                  <c:v>19190</c:v>
                </c:pt>
                <c:pt idx="5756">
                  <c:v>28880</c:v>
                </c:pt>
                <c:pt idx="5757">
                  <c:v>16389</c:v>
                </c:pt>
                <c:pt idx="5758">
                  <c:v>15403</c:v>
                </c:pt>
                <c:pt idx="5759">
                  <c:v>21335</c:v>
                </c:pt>
                <c:pt idx="5760">
                  <c:v>20126</c:v>
                </c:pt>
                <c:pt idx="5761">
                  <c:v>1182</c:v>
                </c:pt>
                <c:pt idx="5762">
                  <c:v>3402</c:v>
                </c:pt>
                <c:pt idx="5763">
                  <c:v>5773</c:v>
                </c:pt>
                <c:pt idx="5764">
                  <c:v>220</c:v>
                </c:pt>
                <c:pt idx="5765">
                  <c:v>3162</c:v>
                </c:pt>
                <c:pt idx="5766">
                  <c:v>1459</c:v>
                </c:pt>
                <c:pt idx="5767">
                  <c:v>2007</c:v>
                </c:pt>
                <c:pt idx="5768">
                  <c:v>233</c:v>
                </c:pt>
                <c:pt idx="5769">
                  <c:v>3543</c:v>
                </c:pt>
                <c:pt idx="5770">
                  <c:v>15458</c:v>
                </c:pt>
                <c:pt idx="5771">
                  <c:v>28526</c:v>
                </c:pt>
                <c:pt idx="5772">
                  <c:v>27550</c:v>
                </c:pt>
                <c:pt idx="5773">
                  <c:v>1292</c:v>
                </c:pt>
                <c:pt idx="5774">
                  <c:v>1798</c:v>
                </c:pt>
                <c:pt idx="5775">
                  <c:v>1304</c:v>
                </c:pt>
                <c:pt idx="5776">
                  <c:v>476</c:v>
                </c:pt>
                <c:pt idx="5777">
                  <c:v>6576</c:v>
                </c:pt>
                <c:pt idx="5778">
                  <c:v>18715</c:v>
                </c:pt>
                <c:pt idx="5779">
                  <c:v>24298</c:v>
                </c:pt>
                <c:pt idx="5780">
                  <c:v>15922</c:v>
                </c:pt>
                <c:pt idx="5781">
                  <c:v>20461</c:v>
                </c:pt>
                <c:pt idx="5782">
                  <c:v>5794</c:v>
                </c:pt>
                <c:pt idx="5783">
                  <c:v>134</c:v>
                </c:pt>
                <c:pt idx="5784">
                  <c:v>16646</c:v>
                </c:pt>
                <c:pt idx="5785">
                  <c:v>15839</c:v>
                </c:pt>
                <c:pt idx="5786">
                  <c:v>8348</c:v>
                </c:pt>
                <c:pt idx="5787">
                  <c:v>18996</c:v>
                </c:pt>
                <c:pt idx="5788">
                  <c:v>1145</c:v>
                </c:pt>
                <c:pt idx="5789">
                  <c:v>13769</c:v>
                </c:pt>
                <c:pt idx="5790">
                  <c:v>4253</c:v>
                </c:pt>
                <c:pt idx="5791">
                  <c:v>3428</c:v>
                </c:pt>
                <c:pt idx="5792">
                  <c:v>152</c:v>
                </c:pt>
                <c:pt idx="5793">
                  <c:v>4915</c:v>
                </c:pt>
                <c:pt idx="5794">
                  <c:v>986</c:v>
                </c:pt>
                <c:pt idx="5795">
                  <c:v>321</c:v>
                </c:pt>
                <c:pt idx="5796">
                  <c:v>27073</c:v>
                </c:pt>
                <c:pt idx="5797">
                  <c:v>8743</c:v>
                </c:pt>
                <c:pt idx="5798">
                  <c:v>27462</c:v>
                </c:pt>
                <c:pt idx="5799">
                  <c:v>16498</c:v>
                </c:pt>
                <c:pt idx="5800">
                  <c:v>23555</c:v>
                </c:pt>
                <c:pt idx="5801">
                  <c:v>9160</c:v>
                </c:pt>
                <c:pt idx="5802">
                  <c:v>1555</c:v>
                </c:pt>
                <c:pt idx="5803">
                  <c:v>229</c:v>
                </c:pt>
                <c:pt idx="5804">
                  <c:v>9167</c:v>
                </c:pt>
                <c:pt idx="5805">
                  <c:v>312</c:v>
                </c:pt>
                <c:pt idx="5806">
                  <c:v>13465</c:v>
                </c:pt>
                <c:pt idx="5807">
                  <c:v>7226</c:v>
                </c:pt>
                <c:pt idx="5808">
                  <c:v>34211</c:v>
                </c:pt>
                <c:pt idx="5809">
                  <c:v>13707</c:v>
                </c:pt>
                <c:pt idx="5810">
                  <c:v>18447</c:v>
                </c:pt>
                <c:pt idx="5811">
                  <c:v>35941</c:v>
                </c:pt>
                <c:pt idx="5812">
                  <c:v>14519</c:v>
                </c:pt>
                <c:pt idx="5813">
                  <c:v>402</c:v>
                </c:pt>
                <c:pt idx="5814">
                  <c:v>7394</c:v>
                </c:pt>
                <c:pt idx="5815">
                  <c:v>18225</c:v>
                </c:pt>
                <c:pt idx="5816">
                  <c:v>9951</c:v>
                </c:pt>
                <c:pt idx="5817">
                  <c:v>413</c:v>
                </c:pt>
                <c:pt idx="5818">
                  <c:v>19383</c:v>
                </c:pt>
                <c:pt idx="5819">
                  <c:v>26607</c:v>
                </c:pt>
                <c:pt idx="5820">
                  <c:v>12576</c:v>
                </c:pt>
                <c:pt idx="5821">
                  <c:v>26780</c:v>
                </c:pt>
                <c:pt idx="5822">
                  <c:v>8793</c:v>
                </c:pt>
                <c:pt idx="5823">
                  <c:v>34555</c:v>
                </c:pt>
                <c:pt idx="5824">
                  <c:v>27767</c:v>
                </c:pt>
                <c:pt idx="5825">
                  <c:v>13484</c:v>
                </c:pt>
                <c:pt idx="5826">
                  <c:v>12524</c:v>
                </c:pt>
                <c:pt idx="5827">
                  <c:v>18282</c:v>
                </c:pt>
                <c:pt idx="5828">
                  <c:v>11846</c:v>
                </c:pt>
                <c:pt idx="5829">
                  <c:v>2807</c:v>
                </c:pt>
                <c:pt idx="5830">
                  <c:v>18335</c:v>
                </c:pt>
                <c:pt idx="5831">
                  <c:v>15806</c:v>
                </c:pt>
                <c:pt idx="5832">
                  <c:v>3510</c:v>
                </c:pt>
                <c:pt idx="5833">
                  <c:v>1203</c:v>
                </c:pt>
                <c:pt idx="5834">
                  <c:v>7122</c:v>
                </c:pt>
                <c:pt idx="5835">
                  <c:v>14077</c:v>
                </c:pt>
                <c:pt idx="5836">
                  <c:v>3750</c:v>
                </c:pt>
                <c:pt idx="5837">
                  <c:v>1454</c:v>
                </c:pt>
                <c:pt idx="5838">
                  <c:v>4268</c:v>
                </c:pt>
                <c:pt idx="5839">
                  <c:v>911</c:v>
                </c:pt>
                <c:pt idx="5840">
                  <c:v>11073</c:v>
                </c:pt>
                <c:pt idx="5841">
                  <c:v>11915</c:v>
                </c:pt>
                <c:pt idx="5842">
                  <c:v>21384</c:v>
                </c:pt>
                <c:pt idx="5843">
                  <c:v>24460</c:v>
                </c:pt>
                <c:pt idx="5844">
                  <c:v>23984</c:v>
                </c:pt>
                <c:pt idx="5845">
                  <c:v>21045</c:v>
                </c:pt>
                <c:pt idx="5846">
                  <c:v>8347</c:v>
                </c:pt>
                <c:pt idx="5847">
                  <c:v>6694</c:v>
                </c:pt>
                <c:pt idx="5848">
                  <c:v>5106</c:v>
                </c:pt>
                <c:pt idx="5849">
                  <c:v>9237</c:v>
                </c:pt>
                <c:pt idx="5850">
                  <c:v>99</c:v>
                </c:pt>
                <c:pt idx="5851">
                  <c:v>308</c:v>
                </c:pt>
                <c:pt idx="5852">
                  <c:v>1664</c:v>
                </c:pt>
                <c:pt idx="5853">
                  <c:v>7323</c:v>
                </c:pt>
                <c:pt idx="5854">
                  <c:v>135</c:v>
                </c:pt>
                <c:pt idx="5855">
                  <c:v>2274</c:v>
                </c:pt>
                <c:pt idx="5856">
                  <c:v>20996</c:v>
                </c:pt>
                <c:pt idx="5857">
                  <c:v>29410</c:v>
                </c:pt>
                <c:pt idx="5858">
                  <c:v>241</c:v>
                </c:pt>
                <c:pt idx="5859">
                  <c:v>8344</c:v>
                </c:pt>
                <c:pt idx="5860">
                  <c:v>18820</c:v>
                </c:pt>
                <c:pt idx="5861">
                  <c:v>12006</c:v>
                </c:pt>
                <c:pt idx="5862">
                  <c:v>10462</c:v>
                </c:pt>
                <c:pt idx="5863">
                  <c:v>352</c:v>
                </c:pt>
                <c:pt idx="5864">
                  <c:v>3387</c:v>
                </c:pt>
                <c:pt idx="5865">
                  <c:v>8866</c:v>
                </c:pt>
                <c:pt idx="5866">
                  <c:v>2904</c:v>
                </c:pt>
                <c:pt idx="5867">
                  <c:v>4943</c:v>
                </c:pt>
                <c:pt idx="5868">
                  <c:v>19656</c:v>
                </c:pt>
                <c:pt idx="5869">
                  <c:v>6689</c:v>
                </c:pt>
                <c:pt idx="5870">
                  <c:v>3074</c:v>
                </c:pt>
                <c:pt idx="5871">
                  <c:v>8959</c:v>
                </c:pt>
                <c:pt idx="5872">
                  <c:v>2332</c:v>
                </c:pt>
                <c:pt idx="5873">
                  <c:v>19954</c:v>
                </c:pt>
                <c:pt idx="5874">
                  <c:v>13443</c:v>
                </c:pt>
                <c:pt idx="5875">
                  <c:v>31644</c:v>
                </c:pt>
                <c:pt idx="5876">
                  <c:v>3563</c:v>
                </c:pt>
                <c:pt idx="5877">
                  <c:v>33705</c:v>
                </c:pt>
                <c:pt idx="5878">
                  <c:v>7591</c:v>
                </c:pt>
                <c:pt idx="5879">
                  <c:v>3416</c:v>
                </c:pt>
                <c:pt idx="5880">
                  <c:v>1514</c:v>
                </c:pt>
                <c:pt idx="5881">
                  <c:v>15426</c:v>
                </c:pt>
                <c:pt idx="5882">
                  <c:v>17897</c:v>
                </c:pt>
                <c:pt idx="5883">
                  <c:v>1997</c:v>
                </c:pt>
                <c:pt idx="5884">
                  <c:v>18751</c:v>
                </c:pt>
                <c:pt idx="5885">
                  <c:v>14472</c:v>
                </c:pt>
                <c:pt idx="5886">
                  <c:v>3645</c:v>
                </c:pt>
                <c:pt idx="5887">
                  <c:v>277</c:v>
                </c:pt>
                <c:pt idx="5888">
                  <c:v>3507</c:v>
                </c:pt>
                <c:pt idx="5889">
                  <c:v>1678</c:v>
                </c:pt>
                <c:pt idx="5890">
                  <c:v>158</c:v>
                </c:pt>
                <c:pt idx="5891">
                  <c:v>20328</c:v>
                </c:pt>
                <c:pt idx="5892">
                  <c:v>11321</c:v>
                </c:pt>
                <c:pt idx="5893">
                  <c:v>1720</c:v>
                </c:pt>
                <c:pt idx="5894">
                  <c:v>3354</c:v>
                </c:pt>
                <c:pt idx="5895">
                  <c:v>2493</c:v>
                </c:pt>
                <c:pt idx="5896">
                  <c:v>3144</c:v>
                </c:pt>
                <c:pt idx="5897">
                  <c:v>9477</c:v>
                </c:pt>
                <c:pt idx="5898">
                  <c:v>10265</c:v>
                </c:pt>
                <c:pt idx="5899">
                  <c:v>10082</c:v>
                </c:pt>
                <c:pt idx="5900">
                  <c:v>4468</c:v>
                </c:pt>
                <c:pt idx="5901">
                  <c:v>25149</c:v>
                </c:pt>
                <c:pt idx="5902">
                  <c:v>23802</c:v>
                </c:pt>
                <c:pt idx="5903">
                  <c:v>17652</c:v>
                </c:pt>
                <c:pt idx="5904">
                  <c:v>13913</c:v>
                </c:pt>
                <c:pt idx="5905">
                  <c:v>7262</c:v>
                </c:pt>
                <c:pt idx="5906">
                  <c:v>10335</c:v>
                </c:pt>
                <c:pt idx="5907">
                  <c:v>16800</c:v>
                </c:pt>
                <c:pt idx="5908">
                  <c:v>11560</c:v>
                </c:pt>
                <c:pt idx="5909">
                  <c:v>10672</c:v>
                </c:pt>
                <c:pt idx="5910">
                  <c:v>20918</c:v>
                </c:pt>
                <c:pt idx="5911">
                  <c:v>10635</c:v>
                </c:pt>
                <c:pt idx="5912">
                  <c:v>12271</c:v>
                </c:pt>
                <c:pt idx="5913">
                  <c:v>21419</c:v>
                </c:pt>
                <c:pt idx="5914">
                  <c:v>4543</c:v>
                </c:pt>
                <c:pt idx="5915">
                  <c:v>21770</c:v>
                </c:pt>
                <c:pt idx="5916">
                  <c:v>20674</c:v>
                </c:pt>
                <c:pt idx="5917">
                  <c:v>26536</c:v>
                </c:pt>
                <c:pt idx="5918">
                  <c:v>7415</c:v>
                </c:pt>
                <c:pt idx="5919">
                  <c:v>25726</c:v>
                </c:pt>
                <c:pt idx="5920">
                  <c:v>13751</c:v>
                </c:pt>
                <c:pt idx="5921">
                  <c:v>2810</c:v>
                </c:pt>
                <c:pt idx="5922">
                  <c:v>17432</c:v>
                </c:pt>
                <c:pt idx="5923">
                  <c:v>24528</c:v>
                </c:pt>
                <c:pt idx="5924">
                  <c:v>19023</c:v>
                </c:pt>
                <c:pt idx="5925">
                  <c:v>19384</c:v>
                </c:pt>
                <c:pt idx="5926">
                  <c:v>9489</c:v>
                </c:pt>
                <c:pt idx="5927">
                  <c:v>32695</c:v>
                </c:pt>
                <c:pt idx="5928">
                  <c:v>20082</c:v>
                </c:pt>
                <c:pt idx="5929">
                  <c:v>16412</c:v>
                </c:pt>
                <c:pt idx="5930">
                  <c:v>14843</c:v>
                </c:pt>
                <c:pt idx="5931">
                  <c:v>19793</c:v>
                </c:pt>
                <c:pt idx="5932">
                  <c:v>10646</c:v>
                </c:pt>
                <c:pt idx="5933">
                  <c:v>19959</c:v>
                </c:pt>
                <c:pt idx="5934">
                  <c:v>17439</c:v>
                </c:pt>
                <c:pt idx="5935">
                  <c:v>10267</c:v>
                </c:pt>
                <c:pt idx="5936">
                  <c:v>15610</c:v>
                </c:pt>
                <c:pt idx="5937">
                  <c:v>928</c:v>
                </c:pt>
                <c:pt idx="5938">
                  <c:v>607</c:v>
                </c:pt>
                <c:pt idx="5939">
                  <c:v>271</c:v>
                </c:pt>
                <c:pt idx="5940">
                  <c:v>761</c:v>
                </c:pt>
                <c:pt idx="5941">
                  <c:v>921</c:v>
                </c:pt>
                <c:pt idx="5942">
                  <c:v>5304</c:v>
                </c:pt>
                <c:pt idx="5943">
                  <c:v>1660</c:v>
                </c:pt>
                <c:pt idx="5944">
                  <c:v>958</c:v>
                </c:pt>
                <c:pt idx="5945">
                  <c:v>16</c:v>
                </c:pt>
                <c:pt idx="5946">
                  <c:v>739</c:v>
                </c:pt>
                <c:pt idx="5947">
                  <c:v>65</c:v>
                </c:pt>
                <c:pt idx="5948">
                  <c:v>137</c:v>
                </c:pt>
                <c:pt idx="5949">
                  <c:v>756</c:v>
                </c:pt>
                <c:pt idx="5950">
                  <c:v>6800</c:v>
                </c:pt>
                <c:pt idx="5951">
                  <c:v>539</c:v>
                </c:pt>
                <c:pt idx="5952">
                  <c:v>597</c:v>
                </c:pt>
                <c:pt idx="5953">
                  <c:v>949</c:v>
                </c:pt>
                <c:pt idx="5954">
                  <c:v>1049</c:v>
                </c:pt>
                <c:pt idx="5955">
                  <c:v>10482</c:v>
                </c:pt>
                <c:pt idx="5956">
                  <c:v>266</c:v>
                </c:pt>
                <c:pt idx="5957">
                  <c:v>157</c:v>
                </c:pt>
                <c:pt idx="5958">
                  <c:v>397</c:v>
                </c:pt>
                <c:pt idx="5959">
                  <c:v>7766</c:v>
                </c:pt>
                <c:pt idx="5960">
                  <c:v>5263</c:v>
                </c:pt>
                <c:pt idx="5961">
                  <c:v>3044</c:v>
                </c:pt>
                <c:pt idx="5962">
                  <c:v>5522</c:v>
                </c:pt>
                <c:pt idx="5963">
                  <c:v>261</c:v>
                </c:pt>
                <c:pt idx="5964">
                  <c:v>1290</c:v>
                </c:pt>
                <c:pt idx="5965">
                  <c:v>1197</c:v>
                </c:pt>
                <c:pt idx="5966">
                  <c:v>37</c:v>
                </c:pt>
                <c:pt idx="5967">
                  <c:v>195</c:v>
                </c:pt>
                <c:pt idx="5968">
                  <c:v>4667</c:v>
                </c:pt>
                <c:pt idx="5969">
                  <c:v>1153</c:v>
                </c:pt>
                <c:pt idx="5970">
                  <c:v>2796</c:v>
                </c:pt>
                <c:pt idx="5971">
                  <c:v>130</c:v>
                </c:pt>
                <c:pt idx="5972">
                  <c:v>937</c:v>
                </c:pt>
                <c:pt idx="5973">
                  <c:v>494</c:v>
                </c:pt>
                <c:pt idx="5974">
                  <c:v>2565</c:v>
                </c:pt>
                <c:pt idx="5975">
                  <c:v>2142</c:v>
                </c:pt>
                <c:pt idx="5976">
                  <c:v>737</c:v>
                </c:pt>
                <c:pt idx="5977">
                  <c:v>67</c:v>
                </c:pt>
                <c:pt idx="5978">
                  <c:v>2538</c:v>
                </c:pt>
                <c:pt idx="5979">
                  <c:v>525</c:v>
                </c:pt>
                <c:pt idx="5980">
                  <c:v>225</c:v>
                </c:pt>
                <c:pt idx="5981">
                  <c:v>793</c:v>
                </c:pt>
                <c:pt idx="5982">
                  <c:v>1378</c:v>
                </c:pt>
                <c:pt idx="5983">
                  <c:v>436</c:v>
                </c:pt>
                <c:pt idx="5984">
                  <c:v>2679</c:v>
                </c:pt>
                <c:pt idx="5985">
                  <c:v>634</c:v>
                </c:pt>
                <c:pt idx="5986">
                  <c:v>1908</c:v>
                </c:pt>
                <c:pt idx="5987">
                  <c:v>585</c:v>
                </c:pt>
                <c:pt idx="5988">
                  <c:v>1956</c:v>
                </c:pt>
                <c:pt idx="5989">
                  <c:v>1266</c:v>
                </c:pt>
                <c:pt idx="5990">
                  <c:v>340</c:v>
                </c:pt>
                <c:pt idx="5991">
                  <c:v>1435</c:v>
                </c:pt>
                <c:pt idx="5992">
                  <c:v>326</c:v>
                </c:pt>
                <c:pt idx="5993">
                  <c:v>61</c:v>
                </c:pt>
                <c:pt idx="5994">
                  <c:v>7022</c:v>
                </c:pt>
                <c:pt idx="5995">
                  <c:v>145</c:v>
                </c:pt>
                <c:pt idx="5996">
                  <c:v>831</c:v>
                </c:pt>
                <c:pt idx="5997">
                  <c:v>67</c:v>
                </c:pt>
                <c:pt idx="5998">
                  <c:v>402</c:v>
                </c:pt>
                <c:pt idx="5999">
                  <c:v>65</c:v>
                </c:pt>
                <c:pt idx="6000">
                  <c:v>1446</c:v>
                </c:pt>
                <c:pt idx="6001">
                  <c:v>141</c:v>
                </c:pt>
                <c:pt idx="6002">
                  <c:v>228</c:v>
                </c:pt>
                <c:pt idx="6003">
                  <c:v>966</c:v>
                </c:pt>
                <c:pt idx="6004">
                  <c:v>103</c:v>
                </c:pt>
                <c:pt idx="6005">
                  <c:v>22058</c:v>
                </c:pt>
                <c:pt idx="6006">
                  <c:v>22050</c:v>
                </c:pt>
                <c:pt idx="6007">
                  <c:v>21649</c:v>
                </c:pt>
                <c:pt idx="6008">
                  <c:v>8627</c:v>
                </c:pt>
                <c:pt idx="6009">
                  <c:v>2562</c:v>
                </c:pt>
                <c:pt idx="6010">
                  <c:v>644</c:v>
                </c:pt>
                <c:pt idx="6011">
                  <c:v>4641</c:v>
                </c:pt>
                <c:pt idx="6012">
                  <c:v>197</c:v>
                </c:pt>
                <c:pt idx="6013">
                  <c:v>3453</c:v>
                </c:pt>
                <c:pt idx="6014">
                  <c:v>66</c:v>
                </c:pt>
                <c:pt idx="6015">
                  <c:v>556</c:v>
                </c:pt>
                <c:pt idx="6016">
                  <c:v>3197</c:v>
                </c:pt>
                <c:pt idx="6017">
                  <c:v>467</c:v>
                </c:pt>
                <c:pt idx="6018">
                  <c:v>2794</c:v>
                </c:pt>
                <c:pt idx="6019">
                  <c:v>476</c:v>
                </c:pt>
                <c:pt idx="6020">
                  <c:v>439</c:v>
                </c:pt>
                <c:pt idx="6021">
                  <c:v>1266</c:v>
                </c:pt>
                <c:pt idx="6022">
                  <c:v>2013</c:v>
                </c:pt>
                <c:pt idx="6023">
                  <c:v>27275</c:v>
                </c:pt>
                <c:pt idx="6024">
                  <c:v>15744</c:v>
                </c:pt>
                <c:pt idx="6025">
                  <c:v>1740</c:v>
                </c:pt>
                <c:pt idx="6026">
                  <c:v>3474</c:v>
                </c:pt>
                <c:pt idx="6027">
                  <c:v>2843</c:v>
                </c:pt>
                <c:pt idx="6028">
                  <c:v>1548</c:v>
                </c:pt>
                <c:pt idx="6029">
                  <c:v>1254</c:v>
                </c:pt>
                <c:pt idx="6030">
                  <c:v>2315</c:v>
                </c:pt>
                <c:pt idx="6031">
                  <c:v>213</c:v>
                </c:pt>
                <c:pt idx="6032">
                  <c:v>296</c:v>
                </c:pt>
                <c:pt idx="6033">
                  <c:v>6186</c:v>
                </c:pt>
                <c:pt idx="6034">
                  <c:v>3696</c:v>
                </c:pt>
                <c:pt idx="6035">
                  <c:v>17114</c:v>
                </c:pt>
                <c:pt idx="6036">
                  <c:v>2738</c:v>
                </c:pt>
                <c:pt idx="6037">
                  <c:v>7805</c:v>
                </c:pt>
                <c:pt idx="6038">
                  <c:v>3252</c:v>
                </c:pt>
                <c:pt idx="6039">
                  <c:v>1102</c:v>
                </c:pt>
                <c:pt idx="6040">
                  <c:v>269</c:v>
                </c:pt>
                <c:pt idx="6041">
                  <c:v>947</c:v>
                </c:pt>
                <c:pt idx="6042">
                  <c:v>1055</c:v>
                </c:pt>
                <c:pt idx="6043">
                  <c:v>2063</c:v>
                </c:pt>
                <c:pt idx="6044">
                  <c:v>4965</c:v>
                </c:pt>
                <c:pt idx="6045">
                  <c:v>19191</c:v>
                </c:pt>
                <c:pt idx="6046">
                  <c:v>4925</c:v>
                </c:pt>
                <c:pt idx="6047">
                  <c:v>366</c:v>
                </c:pt>
                <c:pt idx="6048">
                  <c:v>6427</c:v>
                </c:pt>
                <c:pt idx="6049">
                  <c:v>2432</c:v>
                </c:pt>
                <c:pt idx="6050">
                  <c:v>5677</c:v>
                </c:pt>
                <c:pt idx="6051">
                  <c:v>1077</c:v>
                </c:pt>
                <c:pt idx="6052">
                  <c:v>4790</c:v>
                </c:pt>
                <c:pt idx="6053">
                  <c:v>4133</c:v>
                </c:pt>
                <c:pt idx="6054">
                  <c:v>1214</c:v>
                </c:pt>
                <c:pt idx="6055">
                  <c:v>13202</c:v>
                </c:pt>
                <c:pt idx="6056">
                  <c:v>19442</c:v>
                </c:pt>
                <c:pt idx="6057">
                  <c:v>10288</c:v>
                </c:pt>
                <c:pt idx="6058">
                  <c:v>1421</c:v>
                </c:pt>
                <c:pt idx="6059">
                  <c:v>1695</c:v>
                </c:pt>
                <c:pt idx="6060">
                  <c:v>280</c:v>
                </c:pt>
                <c:pt idx="6061">
                  <c:v>1003</c:v>
                </c:pt>
                <c:pt idx="6062">
                  <c:v>2444</c:v>
                </c:pt>
                <c:pt idx="6063">
                  <c:v>163</c:v>
                </c:pt>
                <c:pt idx="6064">
                  <c:v>2836</c:v>
                </c:pt>
                <c:pt idx="6065">
                  <c:v>1607</c:v>
                </c:pt>
                <c:pt idx="6066">
                  <c:v>990</c:v>
                </c:pt>
                <c:pt idx="6067">
                  <c:v>265</c:v>
                </c:pt>
                <c:pt idx="6068">
                  <c:v>493</c:v>
                </c:pt>
                <c:pt idx="6069">
                  <c:v>5511</c:v>
                </c:pt>
                <c:pt idx="6070">
                  <c:v>2032</c:v>
                </c:pt>
                <c:pt idx="6071">
                  <c:v>1768</c:v>
                </c:pt>
                <c:pt idx="6072">
                  <c:v>3418</c:v>
                </c:pt>
                <c:pt idx="6073">
                  <c:v>4448</c:v>
                </c:pt>
                <c:pt idx="6074">
                  <c:v>303</c:v>
                </c:pt>
                <c:pt idx="6075">
                  <c:v>394</c:v>
                </c:pt>
                <c:pt idx="6076">
                  <c:v>2014</c:v>
                </c:pt>
                <c:pt idx="6077">
                  <c:v>224</c:v>
                </c:pt>
                <c:pt idx="6078">
                  <c:v>526</c:v>
                </c:pt>
                <c:pt idx="6079">
                  <c:v>757</c:v>
                </c:pt>
                <c:pt idx="6080">
                  <c:v>973</c:v>
                </c:pt>
                <c:pt idx="6081">
                  <c:v>3326</c:v>
                </c:pt>
                <c:pt idx="6082">
                  <c:v>9412</c:v>
                </c:pt>
                <c:pt idx="6083">
                  <c:v>2849</c:v>
                </c:pt>
                <c:pt idx="6084">
                  <c:v>3205</c:v>
                </c:pt>
                <c:pt idx="6085">
                  <c:v>5283</c:v>
                </c:pt>
                <c:pt idx="6086">
                  <c:v>497</c:v>
                </c:pt>
                <c:pt idx="6087">
                  <c:v>457</c:v>
                </c:pt>
                <c:pt idx="6088">
                  <c:v>256</c:v>
                </c:pt>
                <c:pt idx="6089">
                  <c:v>1381</c:v>
                </c:pt>
                <c:pt idx="6090">
                  <c:v>873</c:v>
                </c:pt>
                <c:pt idx="6091">
                  <c:v>1976</c:v>
                </c:pt>
                <c:pt idx="6092">
                  <c:v>1736</c:v>
                </c:pt>
                <c:pt idx="6093">
                  <c:v>295</c:v>
                </c:pt>
                <c:pt idx="6094">
                  <c:v>20990</c:v>
                </c:pt>
                <c:pt idx="6095">
                  <c:v>30423</c:v>
                </c:pt>
                <c:pt idx="6096">
                  <c:v>23044</c:v>
                </c:pt>
                <c:pt idx="6097">
                  <c:v>9320</c:v>
                </c:pt>
                <c:pt idx="6098">
                  <c:v>9315</c:v>
                </c:pt>
                <c:pt idx="6099">
                  <c:v>897</c:v>
                </c:pt>
                <c:pt idx="6100">
                  <c:v>31782</c:v>
                </c:pt>
                <c:pt idx="6101">
                  <c:v>21599</c:v>
                </c:pt>
                <c:pt idx="6102">
                  <c:v>15824</c:v>
                </c:pt>
                <c:pt idx="6103">
                  <c:v>21983</c:v>
                </c:pt>
                <c:pt idx="6104">
                  <c:v>8275</c:v>
                </c:pt>
                <c:pt idx="6105">
                  <c:v>14325</c:v>
                </c:pt>
                <c:pt idx="6106">
                  <c:v>19151</c:v>
                </c:pt>
                <c:pt idx="6107">
                  <c:v>13430</c:v>
                </c:pt>
                <c:pt idx="6108">
                  <c:v>6908</c:v>
                </c:pt>
                <c:pt idx="6109">
                  <c:v>9917</c:v>
                </c:pt>
                <c:pt idx="6110">
                  <c:v>3673</c:v>
                </c:pt>
                <c:pt idx="6111">
                  <c:v>7862</c:v>
                </c:pt>
                <c:pt idx="6112">
                  <c:v>19781</c:v>
                </c:pt>
                <c:pt idx="6113">
                  <c:v>14446</c:v>
                </c:pt>
                <c:pt idx="6114">
                  <c:v>15719</c:v>
                </c:pt>
                <c:pt idx="6115">
                  <c:v>9136</c:v>
                </c:pt>
                <c:pt idx="6116">
                  <c:v>632</c:v>
                </c:pt>
                <c:pt idx="6117">
                  <c:v>5646</c:v>
                </c:pt>
                <c:pt idx="6118">
                  <c:v>13877</c:v>
                </c:pt>
                <c:pt idx="6119">
                  <c:v>8964</c:v>
                </c:pt>
                <c:pt idx="6120">
                  <c:v>15227</c:v>
                </c:pt>
                <c:pt idx="6121">
                  <c:v>16711</c:v>
                </c:pt>
                <c:pt idx="6122">
                  <c:v>6169</c:v>
                </c:pt>
                <c:pt idx="6123">
                  <c:v>14078</c:v>
                </c:pt>
                <c:pt idx="6124">
                  <c:v>7779</c:v>
                </c:pt>
                <c:pt idx="6125">
                  <c:v>13731</c:v>
                </c:pt>
                <c:pt idx="6126">
                  <c:v>40133</c:v>
                </c:pt>
                <c:pt idx="6127">
                  <c:v>30597</c:v>
                </c:pt>
                <c:pt idx="6128">
                  <c:v>42947</c:v>
                </c:pt>
                <c:pt idx="6129">
                  <c:v>28257</c:v>
                </c:pt>
                <c:pt idx="6130">
                  <c:v>19117</c:v>
                </c:pt>
                <c:pt idx="6131">
                  <c:v>16162</c:v>
                </c:pt>
                <c:pt idx="6132">
                  <c:v>31540</c:v>
                </c:pt>
                <c:pt idx="6133">
                  <c:v>9776</c:v>
                </c:pt>
                <c:pt idx="6134">
                  <c:v>14278</c:v>
                </c:pt>
                <c:pt idx="6135">
                  <c:v>16928</c:v>
                </c:pt>
                <c:pt idx="6136">
                  <c:v>8633</c:v>
                </c:pt>
                <c:pt idx="6137">
                  <c:v>2415</c:v>
                </c:pt>
                <c:pt idx="6138">
                  <c:v>9114</c:v>
                </c:pt>
                <c:pt idx="6139">
                  <c:v>11556</c:v>
                </c:pt>
                <c:pt idx="6140">
                  <c:v>10595</c:v>
                </c:pt>
                <c:pt idx="6141">
                  <c:v>30519</c:v>
                </c:pt>
                <c:pt idx="6142">
                  <c:v>10595</c:v>
                </c:pt>
                <c:pt idx="6143">
                  <c:v>16267</c:v>
                </c:pt>
                <c:pt idx="6144">
                  <c:v>5240</c:v>
                </c:pt>
                <c:pt idx="6145">
                  <c:v>6255</c:v>
                </c:pt>
                <c:pt idx="6146">
                  <c:v>19151</c:v>
                </c:pt>
                <c:pt idx="6147">
                  <c:v>16243</c:v>
                </c:pt>
                <c:pt idx="6148">
                  <c:v>11397</c:v>
                </c:pt>
                <c:pt idx="6149">
                  <c:v>16144</c:v>
                </c:pt>
                <c:pt idx="6150">
                  <c:v>22963</c:v>
                </c:pt>
                <c:pt idx="6151">
                  <c:v>17082</c:v>
                </c:pt>
                <c:pt idx="6152">
                  <c:v>15167</c:v>
                </c:pt>
                <c:pt idx="6153">
                  <c:v>16487</c:v>
                </c:pt>
                <c:pt idx="6154">
                  <c:v>12383</c:v>
                </c:pt>
                <c:pt idx="6155">
                  <c:v>29270</c:v>
                </c:pt>
                <c:pt idx="6156">
                  <c:v>16661</c:v>
                </c:pt>
                <c:pt idx="6157">
                  <c:v>3121</c:v>
                </c:pt>
                <c:pt idx="6158">
                  <c:v>819</c:v>
                </c:pt>
                <c:pt idx="6159">
                  <c:v>296</c:v>
                </c:pt>
                <c:pt idx="6160">
                  <c:v>291</c:v>
                </c:pt>
                <c:pt idx="6161">
                  <c:v>4193</c:v>
                </c:pt>
                <c:pt idx="6162">
                  <c:v>779</c:v>
                </c:pt>
                <c:pt idx="6163">
                  <c:v>729</c:v>
                </c:pt>
                <c:pt idx="6164">
                  <c:v>651</c:v>
                </c:pt>
                <c:pt idx="6165">
                  <c:v>1936</c:v>
                </c:pt>
                <c:pt idx="6166">
                  <c:v>229</c:v>
                </c:pt>
                <c:pt idx="6167">
                  <c:v>974</c:v>
                </c:pt>
                <c:pt idx="6168">
                  <c:v>13122</c:v>
                </c:pt>
                <c:pt idx="6169">
                  <c:v>1346</c:v>
                </c:pt>
                <c:pt idx="6170">
                  <c:v>174</c:v>
                </c:pt>
                <c:pt idx="6171">
                  <c:v>6300</c:v>
                </c:pt>
                <c:pt idx="6172">
                  <c:v>373</c:v>
                </c:pt>
                <c:pt idx="6173">
                  <c:v>989</c:v>
                </c:pt>
                <c:pt idx="6174">
                  <c:v>1791</c:v>
                </c:pt>
                <c:pt idx="6175">
                  <c:v>1458</c:v>
                </c:pt>
                <c:pt idx="6176">
                  <c:v>198</c:v>
                </c:pt>
                <c:pt idx="6177">
                  <c:v>750</c:v>
                </c:pt>
                <c:pt idx="6178">
                  <c:v>1123</c:v>
                </c:pt>
                <c:pt idx="6179">
                  <c:v>8177</c:v>
                </c:pt>
                <c:pt idx="6180">
                  <c:v>9565</c:v>
                </c:pt>
                <c:pt idx="6181">
                  <c:v>8623</c:v>
                </c:pt>
                <c:pt idx="6182">
                  <c:v>30801</c:v>
                </c:pt>
                <c:pt idx="6183">
                  <c:v>15721</c:v>
                </c:pt>
                <c:pt idx="6184">
                  <c:v>2684</c:v>
                </c:pt>
                <c:pt idx="6185">
                  <c:v>1764</c:v>
                </c:pt>
                <c:pt idx="6186">
                  <c:v>2590</c:v>
                </c:pt>
                <c:pt idx="6187">
                  <c:v>684</c:v>
                </c:pt>
                <c:pt idx="6188">
                  <c:v>1072</c:v>
                </c:pt>
                <c:pt idx="6189">
                  <c:v>2686</c:v>
                </c:pt>
                <c:pt idx="6190">
                  <c:v>15268</c:v>
                </c:pt>
                <c:pt idx="6191">
                  <c:v>15453</c:v>
                </c:pt>
                <c:pt idx="6192">
                  <c:v>6917</c:v>
                </c:pt>
                <c:pt idx="6193">
                  <c:v>725</c:v>
                </c:pt>
                <c:pt idx="6194">
                  <c:v>4398</c:v>
                </c:pt>
                <c:pt idx="6195">
                  <c:v>1197</c:v>
                </c:pt>
                <c:pt idx="6196">
                  <c:v>432</c:v>
                </c:pt>
                <c:pt idx="6197">
                  <c:v>1732</c:v>
                </c:pt>
                <c:pt idx="6198">
                  <c:v>1740</c:v>
                </c:pt>
                <c:pt idx="6199">
                  <c:v>246</c:v>
                </c:pt>
                <c:pt idx="6200">
                  <c:v>15952</c:v>
                </c:pt>
                <c:pt idx="6201">
                  <c:v>935</c:v>
                </c:pt>
                <c:pt idx="6202">
                  <c:v>287</c:v>
                </c:pt>
                <c:pt idx="6203">
                  <c:v>203</c:v>
                </c:pt>
                <c:pt idx="6204">
                  <c:v>114</c:v>
                </c:pt>
                <c:pt idx="6205">
                  <c:v>2324</c:v>
                </c:pt>
                <c:pt idx="6206">
                  <c:v>1163</c:v>
                </c:pt>
                <c:pt idx="6207">
                  <c:v>2197</c:v>
                </c:pt>
                <c:pt idx="6208">
                  <c:v>265</c:v>
                </c:pt>
                <c:pt idx="6209">
                  <c:v>701</c:v>
                </c:pt>
                <c:pt idx="6210">
                  <c:v>361</c:v>
                </c:pt>
                <c:pt idx="6211">
                  <c:v>11372</c:v>
                </c:pt>
                <c:pt idx="6212">
                  <c:v>2274</c:v>
                </c:pt>
                <c:pt idx="6213">
                  <c:v>5187</c:v>
                </c:pt>
                <c:pt idx="6214">
                  <c:v>880</c:v>
                </c:pt>
                <c:pt idx="6215">
                  <c:v>461</c:v>
                </c:pt>
                <c:pt idx="6216">
                  <c:v>4544</c:v>
                </c:pt>
                <c:pt idx="6217">
                  <c:v>17779</c:v>
                </c:pt>
                <c:pt idx="6218">
                  <c:v>536</c:v>
                </c:pt>
                <c:pt idx="6219">
                  <c:v>4767</c:v>
                </c:pt>
                <c:pt idx="6220">
                  <c:v>923</c:v>
                </c:pt>
                <c:pt idx="6221">
                  <c:v>430</c:v>
                </c:pt>
                <c:pt idx="6222">
                  <c:v>783</c:v>
                </c:pt>
                <c:pt idx="6223">
                  <c:v>610</c:v>
                </c:pt>
                <c:pt idx="6224">
                  <c:v>254</c:v>
                </c:pt>
                <c:pt idx="6225">
                  <c:v>144</c:v>
                </c:pt>
                <c:pt idx="6226">
                  <c:v>546</c:v>
                </c:pt>
                <c:pt idx="6227">
                  <c:v>1210</c:v>
                </c:pt>
                <c:pt idx="6228">
                  <c:v>502</c:v>
                </c:pt>
                <c:pt idx="6229">
                  <c:v>2529</c:v>
                </c:pt>
                <c:pt idx="6230">
                  <c:v>1503</c:v>
                </c:pt>
                <c:pt idx="6231">
                  <c:v>864</c:v>
                </c:pt>
                <c:pt idx="6232">
                  <c:v>2131</c:v>
                </c:pt>
                <c:pt idx="6233">
                  <c:v>1084</c:v>
                </c:pt>
                <c:pt idx="6234">
                  <c:v>216</c:v>
                </c:pt>
                <c:pt idx="6235">
                  <c:v>1768</c:v>
                </c:pt>
                <c:pt idx="6236">
                  <c:v>614</c:v>
                </c:pt>
                <c:pt idx="6237">
                  <c:v>404</c:v>
                </c:pt>
                <c:pt idx="6238">
                  <c:v>654</c:v>
                </c:pt>
                <c:pt idx="6239">
                  <c:v>425</c:v>
                </c:pt>
                <c:pt idx="6240">
                  <c:v>458</c:v>
                </c:pt>
                <c:pt idx="6241">
                  <c:v>18289</c:v>
                </c:pt>
                <c:pt idx="6242">
                  <c:v>14686</c:v>
                </c:pt>
                <c:pt idx="6243">
                  <c:v>196</c:v>
                </c:pt>
                <c:pt idx="6244">
                  <c:v>243</c:v>
                </c:pt>
                <c:pt idx="6245">
                  <c:v>4486</c:v>
                </c:pt>
                <c:pt idx="6246">
                  <c:v>5072</c:v>
                </c:pt>
                <c:pt idx="6247">
                  <c:v>110</c:v>
                </c:pt>
                <c:pt idx="6248">
                  <c:v>2996</c:v>
                </c:pt>
                <c:pt idx="6249">
                  <c:v>2720</c:v>
                </c:pt>
                <c:pt idx="6250">
                  <c:v>5273</c:v>
                </c:pt>
                <c:pt idx="6251">
                  <c:v>932</c:v>
                </c:pt>
                <c:pt idx="6252">
                  <c:v>436</c:v>
                </c:pt>
                <c:pt idx="6253">
                  <c:v>514</c:v>
                </c:pt>
                <c:pt idx="6254">
                  <c:v>675</c:v>
                </c:pt>
                <c:pt idx="6255">
                  <c:v>5827</c:v>
                </c:pt>
                <c:pt idx="6256">
                  <c:v>2285</c:v>
                </c:pt>
                <c:pt idx="6257">
                  <c:v>1819</c:v>
                </c:pt>
                <c:pt idx="6258">
                  <c:v>2700</c:v>
                </c:pt>
                <c:pt idx="6259">
                  <c:v>1516</c:v>
                </c:pt>
                <c:pt idx="6260">
                  <c:v>2200</c:v>
                </c:pt>
                <c:pt idx="6261">
                  <c:v>819</c:v>
                </c:pt>
                <c:pt idx="6262">
                  <c:v>321</c:v>
                </c:pt>
                <c:pt idx="6263">
                  <c:v>2050</c:v>
                </c:pt>
                <c:pt idx="6264">
                  <c:v>715</c:v>
                </c:pt>
                <c:pt idx="6265">
                  <c:v>2503</c:v>
                </c:pt>
                <c:pt idx="6266">
                  <c:v>2364</c:v>
                </c:pt>
                <c:pt idx="6267">
                  <c:v>75</c:v>
                </c:pt>
                <c:pt idx="6268">
                  <c:v>17914</c:v>
                </c:pt>
                <c:pt idx="6269">
                  <c:v>14249</c:v>
                </c:pt>
                <c:pt idx="6270">
                  <c:v>19705</c:v>
                </c:pt>
                <c:pt idx="6271">
                  <c:v>9051</c:v>
                </c:pt>
                <c:pt idx="6272">
                  <c:v>2281</c:v>
                </c:pt>
                <c:pt idx="6273">
                  <c:v>1001</c:v>
                </c:pt>
                <c:pt idx="6274">
                  <c:v>3549</c:v>
                </c:pt>
                <c:pt idx="6275">
                  <c:v>139</c:v>
                </c:pt>
                <c:pt idx="6276">
                  <c:v>3683</c:v>
                </c:pt>
                <c:pt idx="6277">
                  <c:v>230</c:v>
                </c:pt>
                <c:pt idx="6278">
                  <c:v>3056</c:v>
                </c:pt>
                <c:pt idx="6279">
                  <c:v>1130</c:v>
                </c:pt>
                <c:pt idx="6280">
                  <c:v>518</c:v>
                </c:pt>
                <c:pt idx="6281">
                  <c:v>2593</c:v>
                </c:pt>
                <c:pt idx="6282">
                  <c:v>377</c:v>
                </c:pt>
                <c:pt idx="6283">
                  <c:v>5137</c:v>
                </c:pt>
                <c:pt idx="6284">
                  <c:v>344</c:v>
                </c:pt>
                <c:pt idx="6285">
                  <c:v>58</c:v>
                </c:pt>
                <c:pt idx="6286">
                  <c:v>1995</c:v>
                </c:pt>
                <c:pt idx="6287">
                  <c:v>405</c:v>
                </c:pt>
                <c:pt idx="6288">
                  <c:v>798</c:v>
                </c:pt>
                <c:pt idx="6289">
                  <c:v>564</c:v>
                </c:pt>
                <c:pt idx="6290">
                  <c:v>944</c:v>
                </c:pt>
                <c:pt idx="6291">
                  <c:v>4639</c:v>
                </c:pt>
                <c:pt idx="6292">
                  <c:v>7830</c:v>
                </c:pt>
                <c:pt idx="6293">
                  <c:v>249</c:v>
                </c:pt>
                <c:pt idx="6294">
                  <c:v>958</c:v>
                </c:pt>
                <c:pt idx="6295">
                  <c:v>5535</c:v>
                </c:pt>
                <c:pt idx="6296">
                  <c:v>821</c:v>
                </c:pt>
                <c:pt idx="6297">
                  <c:v>981</c:v>
                </c:pt>
                <c:pt idx="6298">
                  <c:v>2666</c:v>
                </c:pt>
                <c:pt idx="6299">
                  <c:v>1950</c:v>
                </c:pt>
                <c:pt idx="6300">
                  <c:v>186</c:v>
                </c:pt>
                <c:pt idx="6301">
                  <c:v>16002</c:v>
                </c:pt>
                <c:pt idx="6302">
                  <c:v>4819</c:v>
                </c:pt>
                <c:pt idx="6303">
                  <c:v>547</c:v>
                </c:pt>
                <c:pt idx="6304">
                  <c:v>8867</c:v>
                </c:pt>
                <c:pt idx="6305">
                  <c:v>3886</c:v>
                </c:pt>
                <c:pt idx="6306">
                  <c:v>532</c:v>
                </c:pt>
                <c:pt idx="6307">
                  <c:v>2233</c:v>
                </c:pt>
                <c:pt idx="6308">
                  <c:v>537</c:v>
                </c:pt>
                <c:pt idx="6309">
                  <c:v>174</c:v>
                </c:pt>
                <c:pt idx="6310">
                  <c:v>4671</c:v>
                </c:pt>
                <c:pt idx="6311">
                  <c:v>774</c:v>
                </c:pt>
                <c:pt idx="6312">
                  <c:v>2211</c:v>
                </c:pt>
                <c:pt idx="6313">
                  <c:v>103</c:v>
                </c:pt>
                <c:pt idx="6314">
                  <c:v>697</c:v>
                </c:pt>
                <c:pt idx="6315">
                  <c:v>846</c:v>
                </c:pt>
                <c:pt idx="6316">
                  <c:v>714</c:v>
                </c:pt>
                <c:pt idx="6317">
                  <c:v>2091</c:v>
                </c:pt>
                <c:pt idx="6318">
                  <c:v>546</c:v>
                </c:pt>
                <c:pt idx="6319">
                  <c:v>713</c:v>
                </c:pt>
                <c:pt idx="6320">
                  <c:v>239</c:v>
                </c:pt>
                <c:pt idx="6321">
                  <c:v>491</c:v>
                </c:pt>
                <c:pt idx="6322">
                  <c:v>20056</c:v>
                </c:pt>
                <c:pt idx="6323">
                  <c:v>18977</c:v>
                </c:pt>
                <c:pt idx="6324">
                  <c:v>11111</c:v>
                </c:pt>
                <c:pt idx="6325">
                  <c:v>1011</c:v>
                </c:pt>
                <c:pt idx="6326">
                  <c:v>1681</c:v>
                </c:pt>
                <c:pt idx="6327">
                  <c:v>823</c:v>
                </c:pt>
                <c:pt idx="6328">
                  <c:v>311</c:v>
                </c:pt>
                <c:pt idx="6329">
                  <c:v>1587</c:v>
                </c:pt>
                <c:pt idx="6330">
                  <c:v>359</c:v>
                </c:pt>
                <c:pt idx="6331">
                  <c:v>742</c:v>
                </c:pt>
                <c:pt idx="6332">
                  <c:v>5834</c:v>
                </c:pt>
                <c:pt idx="6333">
                  <c:v>4324</c:v>
                </c:pt>
                <c:pt idx="6334">
                  <c:v>226</c:v>
                </c:pt>
                <c:pt idx="6335">
                  <c:v>1171</c:v>
                </c:pt>
                <c:pt idx="6336">
                  <c:v>607</c:v>
                </c:pt>
                <c:pt idx="6337">
                  <c:v>271</c:v>
                </c:pt>
                <c:pt idx="6338">
                  <c:v>1817</c:v>
                </c:pt>
                <c:pt idx="6339">
                  <c:v>2534</c:v>
                </c:pt>
                <c:pt idx="6340">
                  <c:v>275</c:v>
                </c:pt>
                <c:pt idx="6341">
                  <c:v>6303</c:v>
                </c:pt>
                <c:pt idx="6342">
                  <c:v>1721</c:v>
                </c:pt>
                <c:pt idx="6343">
                  <c:v>2840</c:v>
                </c:pt>
                <c:pt idx="6344">
                  <c:v>602</c:v>
                </c:pt>
                <c:pt idx="6345">
                  <c:v>867</c:v>
                </c:pt>
                <c:pt idx="6346">
                  <c:v>515</c:v>
                </c:pt>
                <c:pt idx="6347">
                  <c:v>19158</c:v>
                </c:pt>
                <c:pt idx="6348">
                  <c:v>28238</c:v>
                </c:pt>
                <c:pt idx="6349">
                  <c:v>12048</c:v>
                </c:pt>
                <c:pt idx="6350">
                  <c:v>11074</c:v>
                </c:pt>
                <c:pt idx="6351">
                  <c:v>17896</c:v>
                </c:pt>
                <c:pt idx="6352">
                  <c:v>4581</c:v>
                </c:pt>
                <c:pt idx="6353">
                  <c:v>7045</c:v>
                </c:pt>
                <c:pt idx="6354">
                  <c:v>719</c:v>
                </c:pt>
                <c:pt idx="6355">
                  <c:v>2756</c:v>
                </c:pt>
                <c:pt idx="6356">
                  <c:v>237</c:v>
                </c:pt>
                <c:pt idx="6357">
                  <c:v>33</c:v>
                </c:pt>
                <c:pt idx="6358">
                  <c:v>414</c:v>
                </c:pt>
                <c:pt idx="6359">
                  <c:v>13668</c:v>
                </c:pt>
                <c:pt idx="6360">
                  <c:v>3087</c:v>
                </c:pt>
                <c:pt idx="6361">
                  <c:v>3990</c:v>
                </c:pt>
                <c:pt idx="6362">
                  <c:v>1724</c:v>
                </c:pt>
                <c:pt idx="6363">
                  <c:v>664</c:v>
                </c:pt>
                <c:pt idx="6364">
                  <c:v>1376</c:v>
                </c:pt>
                <c:pt idx="6365">
                  <c:v>6571</c:v>
                </c:pt>
                <c:pt idx="6366">
                  <c:v>621</c:v>
                </c:pt>
                <c:pt idx="6367">
                  <c:v>496</c:v>
                </c:pt>
                <c:pt idx="6368">
                  <c:v>4107</c:v>
                </c:pt>
                <c:pt idx="6369">
                  <c:v>319</c:v>
                </c:pt>
                <c:pt idx="6370">
                  <c:v>932</c:v>
                </c:pt>
                <c:pt idx="6371">
                  <c:v>114</c:v>
                </c:pt>
                <c:pt idx="6372">
                  <c:v>457</c:v>
                </c:pt>
                <c:pt idx="6373">
                  <c:v>291</c:v>
                </c:pt>
                <c:pt idx="6374">
                  <c:v>2948</c:v>
                </c:pt>
                <c:pt idx="6375">
                  <c:v>24321</c:v>
                </c:pt>
                <c:pt idx="6376">
                  <c:v>18895</c:v>
                </c:pt>
                <c:pt idx="6377">
                  <c:v>3527</c:v>
                </c:pt>
                <c:pt idx="6378">
                  <c:v>2727</c:v>
                </c:pt>
                <c:pt idx="6379">
                  <c:v>18944</c:v>
                </c:pt>
                <c:pt idx="6380">
                  <c:v>9659</c:v>
                </c:pt>
                <c:pt idx="6381">
                  <c:v>13778</c:v>
                </c:pt>
                <c:pt idx="6382">
                  <c:v>27530</c:v>
                </c:pt>
                <c:pt idx="6383">
                  <c:v>18278</c:v>
                </c:pt>
                <c:pt idx="6384">
                  <c:v>22616</c:v>
                </c:pt>
                <c:pt idx="6385">
                  <c:v>9381</c:v>
                </c:pt>
                <c:pt idx="6386">
                  <c:v>12843</c:v>
                </c:pt>
                <c:pt idx="6387">
                  <c:v>20250</c:v>
                </c:pt>
                <c:pt idx="6388">
                  <c:v>16871</c:v>
                </c:pt>
                <c:pt idx="6389">
                  <c:v>4833</c:v>
                </c:pt>
                <c:pt idx="6390">
                  <c:v>19085</c:v>
                </c:pt>
                <c:pt idx="6391">
                  <c:v>15782</c:v>
                </c:pt>
                <c:pt idx="6392">
                  <c:v>21230</c:v>
                </c:pt>
                <c:pt idx="6393">
                  <c:v>17824</c:v>
                </c:pt>
                <c:pt idx="6394">
                  <c:v>13514</c:v>
                </c:pt>
                <c:pt idx="6395">
                  <c:v>13557</c:v>
                </c:pt>
                <c:pt idx="6396">
                  <c:v>13564</c:v>
                </c:pt>
                <c:pt idx="6397">
                  <c:v>11027</c:v>
                </c:pt>
                <c:pt idx="6398">
                  <c:v>692</c:v>
                </c:pt>
                <c:pt idx="6399">
                  <c:v>621</c:v>
                </c:pt>
                <c:pt idx="6400">
                  <c:v>167</c:v>
                </c:pt>
                <c:pt idx="6401">
                  <c:v>1214</c:v>
                </c:pt>
                <c:pt idx="6402">
                  <c:v>2135</c:v>
                </c:pt>
                <c:pt idx="6403">
                  <c:v>4846</c:v>
                </c:pt>
                <c:pt idx="6404">
                  <c:v>522</c:v>
                </c:pt>
                <c:pt idx="6405">
                  <c:v>31102</c:v>
                </c:pt>
                <c:pt idx="6406">
                  <c:v>18958</c:v>
                </c:pt>
                <c:pt idx="6407">
                  <c:v>31775</c:v>
                </c:pt>
                <c:pt idx="6408">
                  <c:v>20789</c:v>
                </c:pt>
                <c:pt idx="6409">
                  <c:v>9528</c:v>
                </c:pt>
                <c:pt idx="6410">
                  <c:v>9356</c:v>
                </c:pt>
                <c:pt idx="6411">
                  <c:v>1316</c:v>
                </c:pt>
                <c:pt idx="6412">
                  <c:v>1311</c:v>
                </c:pt>
                <c:pt idx="6413">
                  <c:v>110</c:v>
                </c:pt>
                <c:pt idx="6414">
                  <c:v>423</c:v>
                </c:pt>
                <c:pt idx="6415">
                  <c:v>256</c:v>
                </c:pt>
                <c:pt idx="6416">
                  <c:v>374</c:v>
                </c:pt>
                <c:pt idx="6417">
                  <c:v>319</c:v>
                </c:pt>
                <c:pt idx="6418">
                  <c:v>729</c:v>
                </c:pt>
                <c:pt idx="6419">
                  <c:v>273</c:v>
                </c:pt>
                <c:pt idx="6420">
                  <c:v>939</c:v>
                </c:pt>
                <c:pt idx="6421">
                  <c:v>1626</c:v>
                </c:pt>
                <c:pt idx="6422">
                  <c:v>395</c:v>
                </c:pt>
                <c:pt idx="6423">
                  <c:v>1089</c:v>
                </c:pt>
                <c:pt idx="6424">
                  <c:v>1808</c:v>
                </c:pt>
                <c:pt idx="6425">
                  <c:v>119</c:v>
                </c:pt>
                <c:pt idx="6426">
                  <c:v>90</c:v>
                </c:pt>
                <c:pt idx="6427">
                  <c:v>8671</c:v>
                </c:pt>
                <c:pt idx="6428">
                  <c:v>694</c:v>
                </c:pt>
                <c:pt idx="6429">
                  <c:v>531</c:v>
                </c:pt>
                <c:pt idx="6430">
                  <c:v>22146</c:v>
                </c:pt>
                <c:pt idx="6431">
                  <c:v>17637</c:v>
                </c:pt>
                <c:pt idx="6432">
                  <c:v>492</c:v>
                </c:pt>
                <c:pt idx="6433">
                  <c:v>2236</c:v>
                </c:pt>
                <c:pt idx="6434">
                  <c:v>942</c:v>
                </c:pt>
                <c:pt idx="6435">
                  <c:v>580</c:v>
                </c:pt>
                <c:pt idx="6436">
                  <c:v>23903</c:v>
                </c:pt>
                <c:pt idx="6437">
                  <c:v>30186</c:v>
                </c:pt>
                <c:pt idx="6438">
                  <c:v>19137</c:v>
                </c:pt>
                <c:pt idx="6439">
                  <c:v>31142</c:v>
                </c:pt>
                <c:pt idx="6440">
                  <c:v>26230</c:v>
                </c:pt>
                <c:pt idx="6441">
                  <c:v>30143</c:v>
                </c:pt>
                <c:pt idx="6442">
                  <c:v>2044</c:v>
                </c:pt>
                <c:pt idx="6443">
                  <c:v>36029</c:v>
                </c:pt>
                <c:pt idx="6444">
                  <c:v>40182</c:v>
                </c:pt>
                <c:pt idx="6445">
                  <c:v>85</c:v>
                </c:pt>
                <c:pt idx="6446">
                  <c:v>2828</c:v>
                </c:pt>
                <c:pt idx="6447">
                  <c:v>10814</c:v>
                </c:pt>
                <c:pt idx="6448">
                  <c:v>17592</c:v>
                </c:pt>
                <c:pt idx="6449">
                  <c:v>9257</c:v>
                </c:pt>
                <c:pt idx="6450">
                  <c:v>14417</c:v>
                </c:pt>
                <c:pt idx="6451">
                  <c:v>3738</c:v>
                </c:pt>
                <c:pt idx="6452">
                  <c:v>10302</c:v>
                </c:pt>
                <c:pt idx="6453">
                  <c:v>6617</c:v>
                </c:pt>
                <c:pt idx="6454">
                  <c:v>4613</c:v>
                </c:pt>
                <c:pt idx="6455">
                  <c:v>15545</c:v>
                </c:pt>
                <c:pt idx="6456">
                  <c:v>2593</c:v>
                </c:pt>
                <c:pt idx="6457">
                  <c:v>15115</c:v>
                </c:pt>
                <c:pt idx="6458">
                  <c:v>2611</c:v>
                </c:pt>
                <c:pt idx="6459">
                  <c:v>13052</c:v>
                </c:pt>
                <c:pt idx="6460">
                  <c:v>21623</c:v>
                </c:pt>
                <c:pt idx="6461">
                  <c:v>1915</c:v>
                </c:pt>
                <c:pt idx="6462">
                  <c:v>6540</c:v>
                </c:pt>
                <c:pt idx="6463">
                  <c:v>14510</c:v>
                </c:pt>
                <c:pt idx="6464">
                  <c:v>10312</c:v>
                </c:pt>
                <c:pt idx="6465">
                  <c:v>21606</c:v>
                </c:pt>
                <c:pt idx="6466">
                  <c:v>6280</c:v>
                </c:pt>
                <c:pt idx="6467">
                  <c:v>6334</c:v>
                </c:pt>
                <c:pt idx="6468">
                  <c:v>6100</c:v>
                </c:pt>
                <c:pt idx="6469">
                  <c:v>5200</c:v>
                </c:pt>
                <c:pt idx="6470">
                  <c:v>28308</c:v>
                </c:pt>
                <c:pt idx="6471">
                  <c:v>17854</c:v>
                </c:pt>
                <c:pt idx="6472">
                  <c:v>2903</c:v>
                </c:pt>
                <c:pt idx="6473">
                  <c:v>8533</c:v>
                </c:pt>
                <c:pt idx="6474">
                  <c:v>12394</c:v>
                </c:pt>
                <c:pt idx="6475">
                  <c:v>1911</c:v>
                </c:pt>
                <c:pt idx="6476">
                  <c:v>10754</c:v>
                </c:pt>
                <c:pt idx="6477">
                  <c:v>5442</c:v>
                </c:pt>
                <c:pt idx="6478">
                  <c:v>13626</c:v>
                </c:pt>
                <c:pt idx="6479">
                  <c:v>7716</c:v>
                </c:pt>
                <c:pt idx="6480">
                  <c:v>6355</c:v>
                </c:pt>
                <c:pt idx="6481">
                  <c:v>17864</c:v>
                </c:pt>
                <c:pt idx="6482">
                  <c:v>10459</c:v>
                </c:pt>
                <c:pt idx="6483">
                  <c:v>822</c:v>
                </c:pt>
                <c:pt idx="6484">
                  <c:v>2759</c:v>
                </c:pt>
                <c:pt idx="6485">
                  <c:v>544</c:v>
                </c:pt>
                <c:pt idx="6486">
                  <c:v>368</c:v>
                </c:pt>
                <c:pt idx="6487">
                  <c:v>622</c:v>
                </c:pt>
                <c:pt idx="6488">
                  <c:v>650</c:v>
                </c:pt>
                <c:pt idx="6489">
                  <c:v>17484</c:v>
                </c:pt>
                <c:pt idx="6490">
                  <c:v>19657</c:v>
                </c:pt>
                <c:pt idx="6491">
                  <c:v>971</c:v>
                </c:pt>
                <c:pt idx="6492">
                  <c:v>13665</c:v>
                </c:pt>
                <c:pt idx="6493">
                  <c:v>7250</c:v>
                </c:pt>
                <c:pt idx="6494">
                  <c:v>2040</c:v>
                </c:pt>
                <c:pt idx="6495">
                  <c:v>8278</c:v>
                </c:pt>
                <c:pt idx="6496">
                  <c:v>522</c:v>
                </c:pt>
                <c:pt idx="6497">
                  <c:v>944</c:v>
                </c:pt>
                <c:pt idx="6498">
                  <c:v>1707</c:v>
                </c:pt>
                <c:pt idx="6499">
                  <c:v>3838</c:v>
                </c:pt>
                <c:pt idx="6500">
                  <c:v>135</c:v>
                </c:pt>
                <c:pt idx="6501">
                  <c:v>365</c:v>
                </c:pt>
                <c:pt idx="6502">
                  <c:v>5534</c:v>
                </c:pt>
                <c:pt idx="6503">
                  <c:v>572</c:v>
                </c:pt>
                <c:pt idx="6504">
                  <c:v>5361</c:v>
                </c:pt>
                <c:pt idx="6505">
                  <c:v>509</c:v>
                </c:pt>
                <c:pt idx="6506">
                  <c:v>11810</c:v>
                </c:pt>
                <c:pt idx="6507">
                  <c:v>765</c:v>
                </c:pt>
                <c:pt idx="6508">
                  <c:v>782</c:v>
                </c:pt>
                <c:pt idx="6509">
                  <c:v>1932</c:v>
                </c:pt>
                <c:pt idx="6510">
                  <c:v>1137</c:v>
                </c:pt>
                <c:pt idx="6511">
                  <c:v>393</c:v>
                </c:pt>
                <c:pt idx="6512">
                  <c:v>6458</c:v>
                </c:pt>
                <c:pt idx="6513">
                  <c:v>83</c:v>
                </c:pt>
                <c:pt idx="6514">
                  <c:v>855</c:v>
                </c:pt>
                <c:pt idx="6515">
                  <c:v>310</c:v>
                </c:pt>
                <c:pt idx="6516">
                  <c:v>730</c:v>
                </c:pt>
                <c:pt idx="6517">
                  <c:v>710</c:v>
                </c:pt>
                <c:pt idx="6518">
                  <c:v>885</c:v>
                </c:pt>
                <c:pt idx="6519">
                  <c:v>1116</c:v>
                </c:pt>
                <c:pt idx="6520">
                  <c:v>1201</c:v>
                </c:pt>
                <c:pt idx="6521">
                  <c:v>154</c:v>
                </c:pt>
                <c:pt idx="6522">
                  <c:v>2342</c:v>
                </c:pt>
                <c:pt idx="6523">
                  <c:v>264</c:v>
                </c:pt>
                <c:pt idx="6524">
                  <c:v>155</c:v>
                </c:pt>
                <c:pt idx="6525">
                  <c:v>328</c:v>
                </c:pt>
                <c:pt idx="6526">
                  <c:v>1460</c:v>
                </c:pt>
                <c:pt idx="6527">
                  <c:v>167</c:v>
                </c:pt>
                <c:pt idx="6528">
                  <c:v>6049</c:v>
                </c:pt>
                <c:pt idx="6529">
                  <c:v>619</c:v>
                </c:pt>
                <c:pt idx="6530">
                  <c:v>1381</c:v>
                </c:pt>
                <c:pt idx="6531">
                  <c:v>671</c:v>
                </c:pt>
                <c:pt idx="6532">
                  <c:v>1454</c:v>
                </c:pt>
                <c:pt idx="6533">
                  <c:v>850</c:v>
                </c:pt>
                <c:pt idx="6534">
                  <c:v>967</c:v>
                </c:pt>
                <c:pt idx="6535">
                  <c:v>861</c:v>
                </c:pt>
                <c:pt idx="6536">
                  <c:v>2532</c:v>
                </c:pt>
                <c:pt idx="6537">
                  <c:v>1430</c:v>
                </c:pt>
                <c:pt idx="6538">
                  <c:v>2175</c:v>
                </c:pt>
                <c:pt idx="6539">
                  <c:v>255</c:v>
                </c:pt>
                <c:pt idx="6540">
                  <c:v>2124</c:v>
                </c:pt>
                <c:pt idx="6541">
                  <c:v>838</c:v>
                </c:pt>
                <c:pt idx="6542">
                  <c:v>103</c:v>
                </c:pt>
                <c:pt idx="6543">
                  <c:v>553</c:v>
                </c:pt>
                <c:pt idx="6544">
                  <c:v>1321</c:v>
                </c:pt>
                <c:pt idx="6545">
                  <c:v>1375</c:v>
                </c:pt>
                <c:pt idx="6546">
                  <c:v>1293</c:v>
                </c:pt>
                <c:pt idx="6547">
                  <c:v>1018</c:v>
                </c:pt>
                <c:pt idx="6548">
                  <c:v>930</c:v>
                </c:pt>
                <c:pt idx="6549">
                  <c:v>568</c:v>
                </c:pt>
                <c:pt idx="6550">
                  <c:v>990</c:v>
                </c:pt>
                <c:pt idx="6551">
                  <c:v>132</c:v>
                </c:pt>
                <c:pt idx="6552">
                  <c:v>368</c:v>
                </c:pt>
                <c:pt idx="6553">
                  <c:v>929</c:v>
                </c:pt>
                <c:pt idx="6554">
                  <c:v>453</c:v>
                </c:pt>
                <c:pt idx="6555">
                  <c:v>305</c:v>
                </c:pt>
                <c:pt idx="6556">
                  <c:v>3486</c:v>
                </c:pt>
                <c:pt idx="6557">
                  <c:v>1623</c:v>
                </c:pt>
                <c:pt idx="6558">
                  <c:v>546</c:v>
                </c:pt>
                <c:pt idx="6559">
                  <c:v>13900</c:v>
                </c:pt>
                <c:pt idx="6560">
                  <c:v>3664</c:v>
                </c:pt>
                <c:pt idx="6561">
                  <c:v>7578</c:v>
                </c:pt>
                <c:pt idx="6562">
                  <c:v>8293</c:v>
                </c:pt>
                <c:pt idx="6563">
                  <c:v>4285</c:v>
                </c:pt>
                <c:pt idx="6564">
                  <c:v>10288</c:v>
                </c:pt>
                <c:pt idx="6565">
                  <c:v>19030</c:v>
                </c:pt>
                <c:pt idx="6566">
                  <c:v>14256</c:v>
                </c:pt>
                <c:pt idx="6567">
                  <c:v>1373</c:v>
                </c:pt>
                <c:pt idx="6568">
                  <c:v>2388</c:v>
                </c:pt>
                <c:pt idx="6569">
                  <c:v>3948</c:v>
                </c:pt>
                <c:pt idx="6570">
                  <c:v>444</c:v>
                </c:pt>
                <c:pt idx="6571">
                  <c:v>20942</c:v>
                </c:pt>
                <c:pt idx="6572">
                  <c:v>2505</c:v>
                </c:pt>
                <c:pt idx="6573">
                  <c:v>2830</c:v>
                </c:pt>
                <c:pt idx="6574">
                  <c:v>2104</c:v>
                </c:pt>
                <c:pt idx="6575">
                  <c:v>1092</c:v>
                </c:pt>
                <c:pt idx="6576">
                  <c:v>655</c:v>
                </c:pt>
                <c:pt idx="6577">
                  <c:v>860</c:v>
                </c:pt>
                <c:pt idx="6578">
                  <c:v>635</c:v>
                </c:pt>
                <c:pt idx="6579">
                  <c:v>15102</c:v>
                </c:pt>
                <c:pt idx="6580">
                  <c:v>408</c:v>
                </c:pt>
                <c:pt idx="6581">
                  <c:v>417</c:v>
                </c:pt>
                <c:pt idx="6582">
                  <c:v>3369</c:v>
                </c:pt>
                <c:pt idx="6583">
                  <c:v>826</c:v>
                </c:pt>
                <c:pt idx="6584">
                  <c:v>193</c:v>
                </c:pt>
                <c:pt idx="6585">
                  <c:v>1679</c:v>
                </c:pt>
                <c:pt idx="6586">
                  <c:v>4242</c:v>
                </c:pt>
                <c:pt idx="6587">
                  <c:v>1001</c:v>
                </c:pt>
                <c:pt idx="6588">
                  <c:v>92</c:v>
                </c:pt>
                <c:pt idx="6589">
                  <c:v>1882</c:v>
                </c:pt>
                <c:pt idx="6590">
                  <c:v>1975</c:v>
                </c:pt>
                <c:pt idx="6591">
                  <c:v>1024</c:v>
                </c:pt>
                <c:pt idx="6592">
                  <c:v>2544</c:v>
                </c:pt>
                <c:pt idx="6593">
                  <c:v>3948</c:v>
                </c:pt>
                <c:pt idx="6594">
                  <c:v>1995</c:v>
                </c:pt>
                <c:pt idx="6595">
                  <c:v>43</c:v>
                </c:pt>
                <c:pt idx="6596">
                  <c:v>1882</c:v>
                </c:pt>
                <c:pt idx="6597">
                  <c:v>2445</c:v>
                </c:pt>
                <c:pt idx="6598">
                  <c:v>678</c:v>
                </c:pt>
                <c:pt idx="6599">
                  <c:v>1125</c:v>
                </c:pt>
                <c:pt idx="6600">
                  <c:v>190</c:v>
                </c:pt>
                <c:pt idx="6601">
                  <c:v>12184</c:v>
                </c:pt>
                <c:pt idx="6602">
                  <c:v>646</c:v>
                </c:pt>
                <c:pt idx="6603">
                  <c:v>3993</c:v>
                </c:pt>
                <c:pt idx="6604">
                  <c:v>597</c:v>
                </c:pt>
                <c:pt idx="6605">
                  <c:v>1928</c:v>
                </c:pt>
                <c:pt idx="6606">
                  <c:v>1536</c:v>
                </c:pt>
                <c:pt idx="6607">
                  <c:v>935</c:v>
                </c:pt>
                <c:pt idx="6608">
                  <c:v>959</c:v>
                </c:pt>
                <c:pt idx="6609">
                  <c:v>2487</c:v>
                </c:pt>
                <c:pt idx="6610">
                  <c:v>1453</c:v>
                </c:pt>
                <c:pt idx="6611">
                  <c:v>1348</c:v>
                </c:pt>
                <c:pt idx="6612">
                  <c:v>707</c:v>
                </c:pt>
                <c:pt idx="6613">
                  <c:v>164</c:v>
                </c:pt>
                <c:pt idx="6614">
                  <c:v>10291</c:v>
                </c:pt>
                <c:pt idx="6615">
                  <c:v>528</c:v>
                </c:pt>
                <c:pt idx="6616">
                  <c:v>3183</c:v>
                </c:pt>
                <c:pt idx="6617">
                  <c:v>1694</c:v>
                </c:pt>
                <c:pt idx="6618">
                  <c:v>348</c:v>
                </c:pt>
                <c:pt idx="6619">
                  <c:v>7998</c:v>
                </c:pt>
                <c:pt idx="6620">
                  <c:v>18289</c:v>
                </c:pt>
                <c:pt idx="6621">
                  <c:v>125</c:v>
                </c:pt>
                <c:pt idx="6622">
                  <c:v>1269</c:v>
                </c:pt>
                <c:pt idx="6623">
                  <c:v>513</c:v>
                </c:pt>
                <c:pt idx="6624">
                  <c:v>3583</c:v>
                </c:pt>
                <c:pt idx="6625">
                  <c:v>1353</c:v>
                </c:pt>
                <c:pt idx="6626">
                  <c:v>3745</c:v>
                </c:pt>
                <c:pt idx="6627">
                  <c:v>532</c:v>
                </c:pt>
                <c:pt idx="6628">
                  <c:v>9032</c:v>
                </c:pt>
                <c:pt idx="6629">
                  <c:v>1410</c:v>
                </c:pt>
                <c:pt idx="6630">
                  <c:v>425</c:v>
                </c:pt>
                <c:pt idx="6631">
                  <c:v>6980</c:v>
                </c:pt>
                <c:pt idx="6632">
                  <c:v>5896</c:v>
                </c:pt>
                <c:pt idx="6633">
                  <c:v>7578</c:v>
                </c:pt>
                <c:pt idx="6634">
                  <c:v>4626</c:v>
                </c:pt>
                <c:pt idx="6635">
                  <c:v>604</c:v>
                </c:pt>
                <c:pt idx="6636">
                  <c:v>4226</c:v>
                </c:pt>
                <c:pt idx="6637">
                  <c:v>328</c:v>
                </c:pt>
                <c:pt idx="6638">
                  <c:v>202</c:v>
                </c:pt>
                <c:pt idx="6639">
                  <c:v>1741</c:v>
                </c:pt>
                <c:pt idx="6640">
                  <c:v>589</c:v>
                </c:pt>
                <c:pt idx="6641">
                  <c:v>527</c:v>
                </c:pt>
                <c:pt idx="6642">
                  <c:v>1828</c:v>
                </c:pt>
                <c:pt idx="6643">
                  <c:v>2258</c:v>
                </c:pt>
                <c:pt idx="6644">
                  <c:v>999</c:v>
                </c:pt>
                <c:pt idx="6645">
                  <c:v>582</c:v>
                </c:pt>
                <c:pt idx="6646">
                  <c:v>1778</c:v>
                </c:pt>
                <c:pt idx="6647">
                  <c:v>636</c:v>
                </c:pt>
                <c:pt idx="6648">
                  <c:v>305</c:v>
                </c:pt>
                <c:pt idx="6649">
                  <c:v>1031</c:v>
                </c:pt>
                <c:pt idx="6650">
                  <c:v>307</c:v>
                </c:pt>
                <c:pt idx="6651">
                  <c:v>3430</c:v>
                </c:pt>
                <c:pt idx="6652">
                  <c:v>1047</c:v>
                </c:pt>
                <c:pt idx="6653">
                  <c:v>425</c:v>
                </c:pt>
                <c:pt idx="6654">
                  <c:v>1209</c:v>
                </c:pt>
                <c:pt idx="6655">
                  <c:v>1639</c:v>
                </c:pt>
                <c:pt idx="6656">
                  <c:v>246</c:v>
                </c:pt>
                <c:pt idx="6657">
                  <c:v>3248</c:v>
                </c:pt>
                <c:pt idx="6658">
                  <c:v>184</c:v>
                </c:pt>
                <c:pt idx="6659">
                  <c:v>830</c:v>
                </c:pt>
                <c:pt idx="6660">
                  <c:v>92</c:v>
                </c:pt>
                <c:pt idx="6661">
                  <c:v>2402</c:v>
                </c:pt>
                <c:pt idx="6662">
                  <c:v>1439</c:v>
                </c:pt>
                <c:pt idx="6663">
                  <c:v>1465</c:v>
                </c:pt>
                <c:pt idx="6664">
                  <c:v>430</c:v>
                </c:pt>
                <c:pt idx="6665">
                  <c:v>905</c:v>
                </c:pt>
                <c:pt idx="6666">
                  <c:v>569</c:v>
                </c:pt>
                <c:pt idx="6667">
                  <c:v>847</c:v>
                </c:pt>
                <c:pt idx="6668">
                  <c:v>168</c:v>
                </c:pt>
                <c:pt idx="6669">
                  <c:v>3347</c:v>
                </c:pt>
                <c:pt idx="6670">
                  <c:v>6437</c:v>
                </c:pt>
                <c:pt idx="6671">
                  <c:v>745</c:v>
                </c:pt>
                <c:pt idx="6672">
                  <c:v>454</c:v>
                </c:pt>
                <c:pt idx="6673">
                  <c:v>337</c:v>
                </c:pt>
                <c:pt idx="6674">
                  <c:v>542</c:v>
                </c:pt>
                <c:pt idx="6675">
                  <c:v>1187</c:v>
                </c:pt>
                <c:pt idx="6676">
                  <c:v>1435</c:v>
                </c:pt>
                <c:pt idx="6677">
                  <c:v>212</c:v>
                </c:pt>
                <c:pt idx="6678">
                  <c:v>2406</c:v>
                </c:pt>
                <c:pt idx="6679">
                  <c:v>592</c:v>
                </c:pt>
                <c:pt idx="6680">
                  <c:v>1109</c:v>
                </c:pt>
                <c:pt idx="6681">
                  <c:v>574</c:v>
                </c:pt>
                <c:pt idx="6682">
                  <c:v>200</c:v>
                </c:pt>
                <c:pt idx="6683">
                  <c:v>1167</c:v>
                </c:pt>
                <c:pt idx="6684">
                  <c:v>8406</c:v>
                </c:pt>
                <c:pt idx="6685">
                  <c:v>2230</c:v>
                </c:pt>
                <c:pt idx="6686">
                  <c:v>3416</c:v>
                </c:pt>
                <c:pt idx="6687">
                  <c:v>796</c:v>
                </c:pt>
                <c:pt idx="6688">
                  <c:v>1512</c:v>
                </c:pt>
                <c:pt idx="6689">
                  <c:v>661</c:v>
                </c:pt>
                <c:pt idx="6690">
                  <c:v>573</c:v>
                </c:pt>
                <c:pt idx="6691">
                  <c:v>5912</c:v>
                </c:pt>
                <c:pt idx="6692">
                  <c:v>2458</c:v>
                </c:pt>
                <c:pt idx="6693">
                  <c:v>2033</c:v>
                </c:pt>
                <c:pt idx="6694">
                  <c:v>511</c:v>
                </c:pt>
                <c:pt idx="6695">
                  <c:v>181</c:v>
                </c:pt>
                <c:pt idx="6696">
                  <c:v>2314</c:v>
                </c:pt>
                <c:pt idx="6697">
                  <c:v>2080</c:v>
                </c:pt>
                <c:pt idx="6698">
                  <c:v>212</c:v>
                </c:pt>
                <c:pt idx="6699">
                  <c:v>777</c:v>
                </c:pt>
                <c:pt idx="6700">
                  <c:v>224</c:v>
                </c:pt>
                <c:pt idx="6701">
                  <c:v>338</c:v>
                </c:pt>
                <c:pt idx="6702">
                  <c:v>1259</c:v>
                </c:pt>
                <c:pt idx="6703">
                  <c:v>1428</c:v>
                </c:pt>
                <c:pt idx="6704">
                  <c:v>6196</c:v>
                </c:pt>
                <c:pt idx="6705">
                  <c:v>17079</c:v>
                </c:pt>
                <c:pt idx="6706">
                  <c:v>132</c:v>
                </c:pt>
                <c:pt idx="6707">
                  <c:v>4178</c:v>
                </c:pt>
                <c:pt idx="6708">
                  <c:v>2077</c:v>
                </c:pt>
                <c:pt idx="6709">
                  <c:v>2148</c:v>
                </c:pt>
                <c:pt idx="6710">
                  <c:v>5791</c:v>
                </c:pt>
                <c:pt idx="6711">
                  <c:v>621</c:v>
                </c:pt>
                <c:pt idx="6712">
                  <c:v>1181</c:v>
                </c:pt>
                <c:pt idx="6713">
                  <c:v>203</c:v>
                </c:pt>
                <c:pt idx="6714">
                  <c:v>43</c:v>
                </c:pt>
                <c:pt idx="6715">
                  <c:v>718</c:v>
                </c:pt>
                <c:pt idx="6716">
                  <c:v>554</c:v>
                </c:pt>
                <c:pt idx="6717">
                  <c:v>389</c:v>
                </c:pt>
                <c:pt idx="6718">
                  <c:v>1592</c:v>
                </c:pt>
                <c:pt idx="6719">
                  <c:v>3259</c:v>
                </c:pt>
                <c:pt idx="6720">
                  <c:v>1057</c:v>
                </c:pt>
                <c:pt idx="6721">
                  <c:v>142</c:v>
                </c:pt>
                <c:pt idx="6722">
                  <c:v>6610</c:v>
                </c:pt>
                <c:pt idx="6723">
                  <c:v>183</c:v>
                </c:pt>
                <c:pt idx="6724">
                  <c:v>99</c:v>
                </c:pt>
                <c:pt idx="6725">
                  <c:v>364</c:v>
                </c:pt>
                <c:pt idx="6726">
                  <c:v>426</c:v>
                </c:pt>
                <c:pt idx="6727">
                  <c:v>403</c:v>
                </c:pt>
                <c:pt idx="6728">
                  <c:v>1502</c:v>
                </c:pt>
                <c:pt idx="6729">
                  <c:v>879</c:v>
                </c:pt>
                <c:pt idx="6730">
                  <c:v>892</c:v>
                </c:pt>
                <c:pt idx="6731">
                  <c:v>316</c:v>
                </c:pt>
                <c:pt idx="6732">
                  <c:v>5482</c:v>
                </c:pt>
                <c:pt idx="6733">
                  <c:v>956</c:v>
                </c:pt>
                <c:pt idx="6734">
                  <c:v>2143</c:v>
                </c:pt>
                <c:pt idx="6735">
                  <c:v>458</c:v>
                </c:pt>
                <c:pt idx="6736">
                  <c:v>230</c:v>
                </c:pt>
                <c:pt idx="6737">
                  <c:v>174</c:v>
                </c:pt>
                <c:pt idx="6738">
                  <c:v>1854</c:v>
                </c:pt>
                <c:pt idx="6739">
                  <c:v>238</c:v>
                </c:pt>
                <c:pt idx="6740">
                  <c:v>303</c:v>
                </c:pt>
                <c:pt idx="6741">
                  <c:v>12252</c:v>
                </c:pt>
                <c:pt idx="6742">
                  <c:v>20689</c:v>
                </c:pt>
                <c:pt idx="6743">
                  <c:v>8760</c:v>
                </c:pt>
                <c:pt idx="6744">
                  <c:v>4017</c:v>
                </c:pt>
                <c:pt idx="6745">
                  <c:v>1982</c:v>
                </c:pt>
                <c:pt idx="6746">
                  <c:v>975</c:v>
                </c:pt>
                <c:pt idx="6747">
                  <c:v>4355</c:v>
                </c:pt>
                <c:pt idx="6748">
                  <c:v>4210</c:v>
                </c:pt>
                <c:pt idx="6749">
                  <c:v>9743</c:v>
                </c:pt>
                <c:pt idx="6750">
                  <c:v>590</c:v>
                </c:pt>
                <c:pt idx="6751">
                  <c:v>1519</c:v>
                </c:pt>
                <c:pt idx="6752">
                  <c:v>1374</c:v>
                </c:pt>
                <c:pt idx="6753">
                  <c:v>558</c:v>
                </c:pt>
                <c:pt idx="6754">
                  <c:v>3280</c:v>
                </c:pt>
                <c:pt idx="6755">
                  <c:v>664</c:v>
                </c:pt>
                <c:pt idx="6756">
                  <c:v>2335</c:v>
                </c:pt>
                <c:pt idx="6757">
                  <c:v>13059</c:v>
                </c:pt>
                <c:pt idx="6758">
                  <c:v>11306</c:v>
                </c:pt>
                <c:pt idx="6759">
                  <c:v>1790</c:v>
                </c:pt>
                <c:pt idx="6760">
                  <c:v>3842</c:v>
                </c:pt>
                <c:pt idx="6761">
                  <c:v>12932</c:v>
                </c:pt>
                <c:pt idx="6762">
                  <c:v>1021</c:v>
                </c:pt>
                <c:pt idx="6763">
                  <c:v>1437</c:v>
                </c:pt>
                <c:pt idx="6764">
                  <c:v>951</c:v>
                </c:pt>
                <c:pt idx="6765">
                  <c:v>1335</c:v>
                </c:pt>
                <c:pt idx="6766">
                  <c:v>3051</c:v>
                </c:pt>
                <c:pt idx="6767">
                  <c:v>2166</c:v>
                </c:pt>
                <c:pt idx="6768">
                  <c:v>170</c:v>
                </c:pt>
                <c:pt idx="6769">
                  <c:v>2189</c:v>
                </c:pt>
                <c:pt idx="6770">
                  <c:v>335</c:v>
                </c:pt>
                <c:pt idx="6771">
                  <c:v>623</c:v>
                </c:pt>
                <c:pt idx="6772">
                  <c:v>285</c:v>
                </c:pt>
                <c:pt idx="6773">
                  <c:v>907</c:v>
                </c:pt>
                <c:pt idx="6774">
                  <c:v>7296</c:v>
                </c:pt>
                <c:pt idx="6775">
                  <c:v>2316</c:v>
                </c:pt>
                <c:pt idx="6776">
                  <c:v>1740</c:v>
                </c:pt>
                <c:pt idx="6777">
                  <c:v>388</c:v>
                </c:pt>
                <c:pt idx="6778">
                  <c:v>414</c:v>
                </c:pt>
                <c:pt idx="6779">
                  <c:v>295</c:v>
                </c:pt>
                <c:pt idx="6780">
                  <c:v>2075</c:v>
                </c:pt>
                <c:pt idx="6781">
                  <c:v>4625</c:v>
                </c:pt>
                <c:pt idx="6782">
                  <c:v>1146</c:v>
                </c:pt>
                <c:pt idx="6783">
                  <c:v>3914</c:v>
                </c:pt>
                <c:pt idx="6784">
                  <c:v>5439</c:v>
                </c:pt>
                <c:pt idx="6785">
                  <c:v>1477</c:v>
                </c:pt>
                <c:pt idx="6786">
                  <c:v>902</c:v>
                </c:pt>
                <c:pt idx="6787">
                  <c:v>370</c:v>
                </c:pt>
                <c:pt idx="6788">
                  <c:v>812</c:v>
                </c:pt>
                <c:pt idx="6789">
                  <c:v>143</c:v>
                </c:pt>
                <c:pt idx="6790">
                  <c:v>3377</c:v>
                </c:pt>
                <c:pt idx="6791">
                  <c:v>2229</c:v>
                </c:pt>
                <c:pt idx="6792">
                  <c:v>2379</c:v>
                </c:pt>
                <c:pt idx="6793">
                  <c:v>720</c:v>
                </c:pt>
                <c:pt idx="6794">
                  <c:v>156</c:v>
                </c:pt>
                <c:pt idx="6795">
                  <c:v>2575</c:v>
                </c:pt>
                <c:pt idx="6796">
                  <c:v>601</c:v>
                </c:pt>
                <c:pt idx="6797">
                  <c:v>163</c:v>
                </c:pt>
                <c:pt idx="6798">
                  <c:v>62</c:v>
                </c:pt>
                <c:pt idx="6799">
                  <c:v>1481</c:v>
                </c:pt>
                <c:pt idx="6800">
                  <c:v>978</c:v>
                </c:pt>
                <c:pt idx="6801">
                  <c:v>1812</c:v>
                </c:pt>
                <c:pt idx="6802">
                  <c:v>125</c:v>
                </c:pt>
                <c:pt idx="6803">
                  <c:v>588</c:v>
                </c:pt>
                <c:pt idx="6804">
                  <c:v>2167</c:v>
                </c:pt>
                <c:pt idx="6805">
                  <c:v>863</c:v>
                </c:pt>
                <c:pt idx="6806">
                  <c:v>6085</c:v>
                </c:pt>
                <c:pt idx="6807">
                  <c:v>815</c:v>
                </c:pt>
                <c:pt idx="6808">
                  <c:v>227</c:v>
                </c:pt>
                <c:pt idx="6809">
                  <c:v>351</c:v>
                </c:pt>
                <c:pt idx="6810">
                  <c:v>5541</c:v>
                </c:pt>
                <c:pt idx="6811">
                  <c:v>7003</c:v>
                </c:pt>
                <c:pt idx="6812">
                  <c:v>1112</c:v>
                </c:pt>
                <c:pt idx="6813">
                  <c:v>904</c:v>
                </c:pt>
                <c:pt idx="6814">
                  <c:v>152</c:v>
                </c:pt>
                <c:pt idx="6815">
                  <c:v>491</c:v>
                </c:pt>
                <c:pt idx="6816">
                  <c:v>188</c:v>
                </c:pt>
                <c:pt idx="6817">
                  <c:v>500</c:v>
                </c:pt>
                <c:pt idx="6818">
                  <c:v>362</c:v>
                </c:pt>
                <c:pt idx="6819">
                  <c:v>95</c:v>
                </c:pt>
                <c:pt idx="6820">
                  <c:v>198</c:v>
                </c:pt>
                <c:pt idx="6821">
                  <c:v>172</c:v>
                </c:pt>
                <c:pt idx="6822">
                  <c:v>182</c:v>
                </c:pt>
                <c:pt idx="6823">
                  <c:v>138</c:v>
                </c:pt>
                <c:pt idx="6824">
                  <c:v>123</c:v>
                </c:pt>
                <c:pt idx="6825">
                  <c:v>392</c:v>
                </c:pt>
                <c:pt idx="6826">
                  <c:v>139</c:v>
                </c:pt>
                <c:pt idx="6827">
                  <c:v>172</c:v>
                </c:pt>
                <c:pt idx="6828">
                  <c:v>396</c:v>
                </c:pt>
                <c:pt idx="6829">
                  <c:v>186</c:v>
                </c:pt>
                <c:pt idx="6830">
                  <c:v>523</c:v>
                </c:pt>
                <c:pt idx="6831">
                  <c:v>226</c:v>
                </c:pt>
                <c:pt idx="6832">
                  <c:v>43</c:v>
                </c:pt>
                <c:pt idx="6833">
                  <c:v>3899</c:v>
                </c:pt>
                <c:pt idx="6834">
                  <c:v>1432</c:v>
                </c:pt>
                <c:pt idx="6835">
                  <c:v>190</c:v>
                </c:pt>
                <c:pt idx="6836">
                  <c:v>285</c:v>
                </c:pt>
                <c:pt idx="6837">
                  <c:v>546</c:v>
                </c:pt>
                <c:pt idx="6838">
                  <c:v>227</c:v>
                </c:pt>
                <c:pt idx="6839">
                  <c:v>553</c:v>
                </c:pt>
                <c:pt idx="6840">
                  <c:v>75</c:v>
                </c:pt>
                <c:pt idx="6841">
                  <c:v>566</c:v>
                </c:pt>
                <c:pt idx="6842">
                  <c:v>304</c:v>
                </c:pt>
                <c:pt idx="6843">
                  <c:v>54</c:v>
                </c:pt>
                <c:pt idx="6844">
                  <c:v>191</c:v>
                </c:pt>
                <c:pt idx="6845">
                  <c:v>246</c:v>
                </c:pt>
                <c:pt idx="6846">
                  <c:v>532</c:v>
                </c:pt>
                <c:pt idx="6847">
                  <c:v>1128</c:v>
                </c:pt>
                <c:pt idx="6848">
                  <c:v>258</c:v>
                </c:pt>
                <c:pt idx="6849">
                  <c:v>1304</c:v>
                </c:pt>
                <c:pt idx="6850">
                  <c:v>468</c:v>
                </c:pt>
                <c:pt idx="6851">
                  <c:v>2043</c:v>
                </c:pt>
                <c:pt idx="6852">
                  <c:v>148</c:v>
                </c:pt>
                <c:pt idx="6853">
                  <c:v>344</c:v>
                </c:pt>
                <c:pt idx="6854">
                  <c:v>552</c:v>
                </c:pt>
                <c:pt idx="6855">
                  <c:v>1625</c:v>
                </c:pt>
                <c:pt idx="6856">
                  <c:v>244</c:v>
                </c:pt>
                <c:pt idx="6857">
                  <c:v>700</c:v>
                </c:pt>
                <c:pt idx="6858">
                  <c:v>361</c:v>
                </c:pt>
                <c:pt idx="6859">
                  <c:v>288</c:v>
                </c:pt>
                <c:pt idx="6860">
                  <c:v>1148</c:v>
                </c:pt>
                <c:pt idx="6861">
                  <c:v>149</c:v>
                </c:pt>
                <c:pt idx="6862">
                  <c:v>260</c:v>
                </c:pt>
                <c:pt idx="6863">
                  <c:v>741</c:v>
                </c:pt>
                <c:pt idx="6864">
                  <c:v>235</c:v>
                </c:pt>
                <c:pt idx="6865">
                  <c:v>384</c:v>
                </c:pt>
                <c:pt idx="6866">
                  <c:v>312</c:v>
                </c:pt>
                <c:pt idx="6867">
                  <c:v>1188</c:v>
                </c:pt>
                <c:pt idx="6868">
                  <c:v>180</c:v>
                </c:pt>
                <c:pt idx="6869">
                  <c:v>1181</c:v>
                </c:pt>
                <c:pt idx="6870">
                  <c:v>97</c:v>
                </c:pt>
                <c:pt idx="6871">
                  <c:v>233</c:v>
                </c:pt>
                <c:pt idx="6872">
                  <c:v>466</c:v>
                </c:pt>
                <c:pt idx="6873">
                  <c:v>4407</c:v>
                </c:pt>
                <c:pt idx="6874">
                  <c:v>397</c:v>
                </c:pt>
                <c:pt idx="6875">
                  <c:v>731</c:v>
                </c:pt>
                <c:pt idx="6876">
                  <c:v>4369</c:v>
                </c:pt>
                <c:pt idx="6877">
                  <c:v>54</c:v>
                </c:pt>
                <c:pt idx="6878">
                  <c:v>597</c:v>
                </c:pt>
                <c:pt idx="6879">
                  <c:v>651</c:v>
                </c:pt>
                <c:pt idx="6880">
                  <c:v>218</c:v>
                </c:pt>
                <c:pt idx="6881">
                  <c:v>325</c:v>
                </c:pt>
                <c:pt idx="6882">
                  <c:v>324</c:v>
                </c:pt>
                <c:pt idx="6883">
                  <c:v>80</c:v>
                </c:pt>
                <c:pt idx="6884">
                  <c:v>192</c:v>
                </c:pt>
                <c:pt idx="6885">
                  <c:v>267</c:v>
                </c:pt>
                <c:pt idx="6886">
                  <c:v>131</c:v>
                </c:pt>
                <c:pt idx="6887">
                  <c:v>138</c:v>
                </c:pt>
                <c:pt idx="6888">
                  <c:v>288</c:v>
                </c:pt>
                <c:pt idx="6889">
                  <c:v>868</c:v>
                </c:pt>
                <c:pt idx="6890">
                  <c:v>573</c:v>
                </c:pt>
                <c:pt idx="6891">
                  <c:v>342</c:v>
                </c:pt>
                <c:pt idx="6892">
                  <c:v>1235</c:v>
                </c:pt>
                <c:pt idx="6893">
                  <c:v>191</c:v>
                </c:pt>
                <c:pt idx="6894">
                  <c:v>484</c:v>
                </c:pt>
                <c:pt idx="6895">
                  <c:v>3791</c:v>
                </c:pt>
                <c:pt idx="6896">
                  <c:v>141</c:v>
                </c:pt>
                <c:pt idx="6897">
                  <c:v>210</c:v>
                </c:pt>
                <c:pt idx="6898">
                  <c:v>1719</c:v>
                </c:pt>
                <c:pt idx="6899">
                  <c:v>113</c:v>
                </c:pt>
                <c:pt idx="6900">
                  <c:v>307</c:v>
                </c:pt>
                <c:pt idx="6901">
                  <c:v>285</c:v>
                </c:pt>
                <c:pt idx="6902">
                  <c:v>1544</c:v>
                </c:pt>
                <c:pt idx="6903">
                  <c:v>9839</c:v>
                </c:pt>
                <c:pt idx="6904">
                  <c:v>393</c:v>
                </c:pt>
                <c:pt idx="6905">
                  <c:v>269</c:v>
                </c:pt>
                <c:pt idx="6906">
                  <c:v>394</c:v>
                </c:pt>
                <c:pt idx="6907">
                  <c:v>117</c:v>
                </c:pt>
                <c:pt idx="6908">
                  <c:v>604</c:v>
                </c:pt>
                <c:pt idx="6909">
                  <c:v>157</c:v>
                </c:pt>
                <c:pt idx="6910">
                  <c:v>224</c:v>
                </c:pt>
                <c:pt idx="6911">
                  <c:v>3115</c:v>
                </c:pt>
                <c:pt idx="6912">
                  <c:v>190</c:v>
                </c:pt>
                <c:pt idx="6913">
                  <c:v>254</c:v>
                </c:pt>
                <c:pt idx="6914">
                  <c:v>467</c:v>
                </c:pt>
                <c:pt idx="6915">
                  <c:v>743</c:v>
                </c:pt>
                <c:pt idx="6916">
                  <c:v>171</c:v>
                </c:pt>
                <c:pt idx="6917">
                  <c:v>235</c:v>
                </c:pt>
                <c:pt idx="6918">
                  <c:v>245</c:v>
                </c:pt>
                <c:pt idx="6919">
                  <c:v>173</c:v>
                </c:pt>
                <c:pt idx="6920">
                  <c:v>1194</c:v>
                </c:pt>
                <c:pt idx="6921">
                  <c:v>397</c:v>
                </c:pt>
                <c:pt idx="6922">
                  <c:v>219</c:v>
                </c:pt>
                <c:pt idx="6923">
                  <c:v>810</c:v>
                </c:pt>
                <c:pt idx="6924">
                  <c:v>162</c:v>
                </c:pt>
                <c:pt idx="6925">
                  <c:v>487</c:v>
                </c:pt>
                <c:pt idx="6926">
                  <c:v>483</c:v>
                </c:pt>
                <c:pt idx="6927">
                  <c:v>137</c:v>
                </c:pt>
                <c:pt idx="6928">
                  <c:v>615</c:v>
                </c:pt>
                <c:pt idx="6929">
                  <c:v>407</c:v>
                </c:pt>
                <c:pt idx="6930">
                  <c:v>163</c:v>
                </c:pt>
                <c:pt idx="6931">
                  <c:v>3337</c:v>
                </c:pt>
                <c:pt idx="6932">
                  <c:v>676</c:v>
                </c:pt>
                <c:pt idx="6933">
                  <c:v>1944</c:v>
                </c:pt>
                <c:pt idx="6934">
                  <c:v>386</c:v>
                </c:pt>
                <c:pt idx="6935">
                  <c:v>243</c:v>
                </c:pt>
                <c:pt idx="6936">
                  <c:v>801</c:v>
                </c:pt>
                <c:pt idx="6937">
                  <c:v>6074</c:v>
                </c:pt>
                <c:pt idx="6938">
                  <c:v>3695</c:v>
                </c:pt>
                <c:pt idx="6939">
                  <c:v>4091</c:v>
                </c:pt>
                <c:pt idx="6940">
                  <c:v>2997</c:v>
                </c:pt>
                <c:pt idx="6941">
                  <c:v>5501</c:v>
                </c:pt>
                <c:pt idx="6942">
                  <c:v>4727</c:v>
                </c:pt>
                <c:pt idx="6943">
                  <c:v>3975</c:v>
                </c:pt>
                <c:pt idx="6944">
                  <c:v>5306</c:v>
                </c:pt>
                <c:pt idx="6945">
                  <c:v>7076</c:v>
                </c:pt>
                <c:pt idx="6946">
                  <c:v>1255</c:v>
                </c:pt>
                <c:pt idx="6947">
                  <c:v>1675</c:v>
                </c:pt>
                <c:pt idx="6948">
                  <c:v>2097</c:v>
                </c:pt>
                <c:pt idx="6949">
                  <c:v>6426</c:v>
                </c:pt>
                <c:pt idx="6950">
                  <c:v>7201</c:v>
                </c:pt>
                <c:pt idx="6951">
                  <c:v>10995</c:v>
                </c:pt>
                <c:pt idx="6952">
                  <c:v>7764</c:v>
                </c:pt>
                <c:pt idx="6953">
                  <c:v>4983</c:v>
                </c:pt>
                <c:pt idx="6954">
                  <c:v>4044</c:v>
                </c:pt>
                <c:pt idx="6955">
                  <c:v>9303</c:v>
                </c:pt>
                <c:pt idx="6956">
                  <c:v>5844</c:v>
                </c:pt>
                <c:pt idx="6957">
                  <c:v>2410</c:v>
                </c:pt>
                <c:pt idx="6958">
                  <c:v>412</c:v>
                </c:pt>
                <c:pt idx="6959">
                  <c:v>6703</c:v>
                </c:pt>
                <c:pt idx="6960">
                  <c:v>7160</c:v>
                </c:pt>
                <c:pt idx="6961">
                  <c:v>7683</c:v>
                </c:pt>
                <c:pt idx="6962">
                  <c:v>3524</c:v>
                </c:pt>
                <c:pt idx="6963">
                  <c:v>219</c:v>
                </c:pt>
                <c:pt idx="6964">
                  <c:v>36</c:v>
                </c:pt>
                <c:pt idx="6965">
                  <c:v>1167</c:v>
                </c:pt>
                <c:pt idx="6966">
                  <c:v>3368</c:v>
                </c:pt>
                <c:pt idx="6967">
                  <c:v>1411</c:v>
                </c:pt>
                <c:pt idx="6968">
                  <c:v>3653</c:v>
                </c:pt>
                <c:pt idx="6969">
                  <c:v>589</c:v>
                </c:pt>
                <c:pt idx="6970">
                  <c:v>285</c:v>
                </c:pt>
                <c:pt idx="6971">
                  <c:v>299</c:v>
                </c:pt>
                <c:pt idx="6972">
                  <c:v>6201</c:v>
                </c:pt>
                <c:pt idx="6973">
                  <c:v>1312</c:v>
                </c:pt>
                <c:pt idx="6974">
                  <c:v>343</c:v>
                </c:pt>
                <c:pt idx="6975">
                  <c:v>2898</c:v>
                </c:pt>
                <c:pt idx="6976">
                  <c:v>2271</c:v>
                </c:pt>
                <c:pt idx="6977">
                  <c:v>260</c:v>
                </c:pt>
                <c:pt idx="6978">
                  <c:v>1042</c:v>
                </c:pt>
                <c:pt idx="6979">
                  <c:v>468</c:v>
                </c:pt>
                <c:pt idx="6980">
                  <c:v>298</c:v>
                </c:pt>
                <c:pt idx="6981">
                  <c:v>636</c:v>
                </c:pt>
                <c:pt idx="6982">
                  <c:v>336</c:v>
                </c:pt>
                <c:pt idx="6983">
                  <c:v>990</c:v>
                </c:pt>
                <c:pt idx="6984">
                  <c:v>699</c:v>
                </c:pt>
                <c:pt idx="6985">
                  <c:v>10854</c:v>
                </c:pt>
                <c:pt idx="6986">
                  <c:v>163</c:v>
                </c:pt>
                <c:pt idx="6987">
                  <c:v>2561</c:v>
                </c:pt>
                <c:pt idx="6988">
                  <c:v>1344</c:v>
                </c:pt>
                <c:pt idx="6989">
                  <c:v>549</c:v>
                </c:pt>
                <c:pt idx="6990">
                  <c:v>4050</c:v>
                </c:pt>
                <c:pt idx="6991">
                  <c:v>1976</c:v>
                </c:pt>
                <c:pt idx="6992">
                  <c:v>3391</c:v>
                </c:pt>
                <c:pt idx="6993">
                  <c:v>720</c:v>
                </c:pt>
                <c:pt idx="6994">
                  <c:v>445</c:v>
                </c:pt>
                <c:pt idx="6995">
                  <c:v>476</c:v>
                </c:pt>
                <c:pt idx="6996">
                  <c:v>57</c:v>
                </c:pt>
                <c:pt idx="6997">
                  <c:v>3874</c:v>
                </c:pt>
                <c:pt idx="6998">
                  <c:v>493</c:v>
                </c:pt>
                <c:pt idx="6999">
                  <c:v>127</c:v>
                </c:pt>
                <c:pt idx="7000">
                  <c:v>1340</c:v>
                </c:pt>
                <c:pt idx="7001">
                  <c:v>856</c:v>
                </c:pt>
                <c:pt idx="7002">
                  <c:v>1878</c:v>
                </c:pt>
                <c:pt idx="7003">
                  <c:v>321</c:v>
                </c:pt>
                <c:pt idx="7004">
                  <c:v>157</c:v>
                </c:pt>
                <c:pt idx="7005">
                  <c:v>433</c:v>
                </c:pt>
                <c:pt idx="7006">
                  <c:v>235</c:v>
                </c:pt>
                <c:pt idx="7007">
                  <c:v>473</c:v>
                </c:pt>
                <c:pt idx="7008">
                  <c:v>129</c:v>
                </c:pt>
                <c:pt idx="7009">
                  <c:v>137</c:v>
                </c:pt>
                <c:pt idx="7010">
                  <c:v>464</c:v>
                </c:pt>
                <c:pt idx="7011">
                  <c:v>133</c:v>
                </c:pt>
                <c:pt idx="7012">
                  <c:v>1300</c:v>
                </c:pt>
                <c:pt idx="7013">
                  <c:v>1029</c:v>
                </c:pt>
                <c:pt idx="7014">
                  <c:v>232</c:v>
                </c:pt>
                <c:pt idx="7015">
                  <c:v>481</c:v>
                </c:pt>
                <c:pt idx="7016">
                  <c:v>251</c:v>
                </c:pt>
                <c:pt idx="7017">
                  <c:v>326</c:v>
                </c:pt>
                <c:pt idx="7018">
                  <c:v>103</c:v>
                </c:pt>
                <c:pt idx="7019">
                  <c:v>467</c:v>
                </c:pt>
                <c:pt idx="7020">
                  <c:v>362</c:v>
                </c:pt>
                <c:pt idx="7021">
                  <c:v>8456</c:v>
                </c:pt>
                <c:pt idx="7022">
                  <c:v>2780</c:v>
                </c:pt>
                <c:pt idx="7023">
                  <c:v>2390</c:v>
                </c:pt>
                <c:pt idx="7024">
                  <c:v>5955</c:v>
                </c:pt>
                <c:pt idx="7025">
                  <c:v>9347</c:v>
                </c:pt>
                <c:pt idx="7026">
                  <c:v>12334</c:v>
                </c:pt>
                <c:pt idx="7027">
                  <c:v>601</c:v>
                </c:pt>
                <c:pt idx="7028">
                  <c:v>2204</c:v>
                </c:pt>
                <c:pt idx="7029">
                  <c:v>1026</c:v>
                </c:pt>
                <c:pt idx="7030">
                  <c:v>69</c:v>
                </c:pt>
                <c:pt idx="7031">
                  <c:v>730</c:v>
                </c:pt>
                <c:pt idx="7032">
                  <c:v>535</c:v>
                </c:pt>
                <c:pt idx="7033">
                  <c:v>1704</c:v>
                </c:pt>
                <c:pt idx="7034">
                  <c:v>186</c:v>
                </c:pt>
                <c:pt idx="7035">
                  <c:v>2727</c:v>
                </c:pt>
                <c:pt idx="7036">
                  <c:v>138</c:v>
                </c:pt>
                <c:pt idx="7037">
                  <c:v>432</c:v>
                </c:pt>
                <c:pt idx="7038">
                  <c:v>379</c:v>
                </c:pt>
                <c:pt idx="7039">
                  <c:v>456</c:v>
                </c:pt>
                <c:pt idx="7040">
                  <c:v>316</c:v>
                </c:pt>
                <c:pt idx="7041">
                  <c:v>185</c:v>
                </c:pt>
                <c:pt idx="7042">
                  <c:v>207</c:v>
                </c:pt>
                <c:pt idx="7043">
                  <c:v>384</c:v>
                </c:pt>
                <c:pt idx="7044">
                  <c:v>338</c:v>
                </c:pt>
                <c:pt idx="7045">
                  <c:v>348</c:v>
                </c:pt>
                <c:pt idx="7046">
                  <c:v>301</c:v>
                </c:pt>
                <c:pt idx="7047">
                  <c:v>2075</c:v>
                </c:pt>
                <c:pt idx="7048">
                  <c:v>991</c:v>
                </c:pt>
                <c:pt idx="7049">
                  <c:v>3890</c:v>
                </c:pt>
                <c:pt idx="7050">
                  <c:v>122</c:v>
                </c:pt>
                <c:pt idx="7051">
                  <c:v>601</c:v>
                </c:pt>
                <c:pt idx="7052">
                  <c:v>1964</c:v>
                </c:pt>
                <c:pt idx="7053">
                  <c:v>675</c:v>
                </c:pt>
                <c:pt idx="7054">
                  <c:v>99</c:v>
                </c:pt>
                <c:pt idx="7055">
                  <c:v>460</c:v>
                </c:pt>
                <c:pt idx="7056">
                  <c:v>1677</c:v>
                </c:pt>
                <c:pt idx="7057">
                  <c:v>196</c:v>
                </c:pt>
                <c:pt idx="7058">
                  <c:v>1051</c:v>
                </c:pt>
                <c:pt idx="7059">
                  <c:v>557</c:v>
                </c:pt>
                <c:pt idx="7060">
                  <c:v>541</c:v>
                </c:pt>
                <c:pt idx="7061">
                  <c:v>720</c:v>
                </c:pt>
                <c:pt idx="7062">
                  <c:v>153</c:v>
                </c:pt>
                <c:pt idx="7063">
                  <c:v>124</c:v>
                </c:pt>
                <c:pt idx="7064">
                  <c:v>110</c:v>
                </c:pt>
                <c:pt idx="7065">
                  <c:v>715</c:v>
                </c:pt>
                <c:pt idx="7066">
                  <c:v>117</c:v>
                </c:pt>
                <c:pt idx="7067">
                  <c:v>109</c:v>
                </c:pt>
                <c:pt idx="7068">
                  <c:v>17775</c:v>
                </c:pt>
                <c:pt idx="7069">
                  <c:v>289</c:v>
                </c:pt>
                <c:pt idx="7070">
                  <c:v>754</c:v>
                </c:pt>
                <c:pt idx="7071">
                  <c:v>424</c:v>
                </c:pt>
                <c:pt idx="7072">
                  <c:v>567</c:v>
                </c:pt>
                <c:pt idx="7073">
                  <c:v>1996</c:v>
                </c:pt>
                <c:pt idx="7074">
                  <c:v>382</c:v>
                </c:pt>
                <c:pt idx="7075">
                  <c:v>346</c:v>
                </c:pt>
                <c:pt idx="7076">
                  <c:v>3069</c:v>
                </c:pt>
                <c:pt idx="7077">
                  <c:v>1634</c:v>
                </c:pt>
                <c:pt idx="7078">
                  <c:v>714</c:v>
                </c:pt>
                <c:pt idx="7079">
                  <c:v>5908</c:v>
                </c:pt>
                <c:pt idx="7080">
                  <c:v>2504</c:v>
                </c:pt>
                <c:pt idx="7081">
                  <c:v>394</c:v>
                </c:pt>
                <c:pt idx="7082">
                  <c:v>453</c:v>
                </c:pt>
                <c:pt idx="7083">
                  <c:v>1369</c:v>
                </c:pt>
                <c:pt idx="7084">
                  <c:v>971</c:v>
                </c:pt>
                <c:pt idx="7085">
                  <c:v>9235</c:v>
                </c:pt>
                <c:pt idx="7086">
                  <c:v>3402</c:v>
                </c:pt>
                <c:pt idx="7087">
                  <c:v>647</c:v>
                </c:pt>
                <c:pt idx="7088">
                  <c:v>156</c:v>
                </c:pt>
                <c:pt idx="7089">
                  <c:v>11130</c:v>
                </c:pt>
                <c:pt idx="7090">
                  <c:v>6919</c:v>
                </c:pt>
                <c:pt idx="7091">
                  <c:v>5521</c:v>
                </c:pt>
                <c:pt idx="7092">
                  <c:v>534</c:v>
                </c:pt>
                <c:pt idx="7093">
                  <c:v>299</c:v>
                </c:pt>
                <c:pt idx="7094">
                  <c:v>106</c:v>
                </c:pt>
                <c:pt idx="7095">
                  <c:v>178</c:v>
                </c:pt>
                <c:pt idx="7096">
                  <c:v>205</c:v>
                </c:pt>
                <c:pt idx="7097">
                  <c:v>902</c:v>
                </c:pt>
                <c:pt idx="7098">
                  <c:v>1687</c:v>
                </c:pt>
                <c:pt idx="7099">
                  <c:v>308</c:v>
                </c:pt>
                <c:pt idx="7100">
                  <c:v>478</c:v>
                </c:pt>
                <c:pt idx="7101">
                  <c:v>118</c:v>
                </c:pt>
                <c:pt idx="7102">
                  <c:v>595</c:v>
                </c:pt>
                <c:pt idx="7103">
                  <c:v>2630</c:v>
                </c:pt>
                <c:pt idx="7104">
                  <c:v>232</c:v>
                </c:pt>
                <c:pt idx="7105">
                  <c:v>2860</c:v>
                </c:pt>
                <c:pt idx="7106">
                  <c:v>1030</c:v>
                </c:pt>
                <c:pt idx="7107">
                  <c:v>348</c:v>
                </c:pt>
                <c:pt idx="7108">
                  <c:v>184</c:v>
                </c:pt>
                <c:pt idx="7109">
                  <c:v>2668</c:v>
                </c:pt>
                <c:pt idx="7110">
                  <c:v>193</c:v>
                </c:pt>
                <c:pt idx="7111">
                  <c:v>411</c:v>
                </c:pt>
                <c:pt idx="7112">
                  <c:v>2548</c:v>
                </c:pt>
                <c:pt idx="7113">
                  <c:v>1113</c:v>
                </c:pt>
                <c:pt idx="7114">
                  <c:v>868</c:v>
                </c:pt>
                <c:pt idx="7115">
                  <c:v>2688</c:v>
                </c:pt>
                <c:pt idx="7116">
                  <c:v>1194</c:v>
                </c:pt>
                <c:pt idx="7117">
                  <c:v>2715</c:v>
                </c:pt>
                <c:pt idx="7118">
                  <c:v>7869</c:v>
                </c:pt>
                <c:pt idx="7119">
                  <c:v>1292</c:v>
                </c:pt>
                <c:pt idx="7120">
                  <c:v>756</c:v>
                </c:pt>
                <c:pt idx="7121">
                  <c:v>234</c:v>
                </c:pt>
                <c:pt idx="7122">
                  <c:v>1065</c:v>
                </c:pt>
                <c:pt idx="7123">
                  <c:v>139</c:v>
                </c:pt>
                <c:pt idx="7124">
                  <c:v>397</c:v>
                </c:pt>
                <c:pt idx="7125">
                  <c:v>5620</c:v>
                </c:pt>
                <c:pt idx="7126">
                  <c:v>2092</c:v>
                </c:pt>
                <c:pt idx="7127">
                  <c:v>1443</c:v>
                </c:pt>
                <c:pt idx="7128">
                  <c:v>492</c:v>
                </c:pt>
                <c:pt idx="7129">
                  <c:v>565</c:v>
                </c:pt>
                <c:pt idx="7130">
                  <c:v>961</c:v>
                </c:pt>
                <c:pt idx="7131">
                  <c:v>241</c:v>
                </c:pt>
                <c:pt idx="7132">
                  <c:v>473</c:v>
                </c:pt>
                <c:pt idx="7133">
                  <c:v>146</c:v>
                </c:pt>
                <c:pt idx="7134">
                  <c:v>203</c:v>
                </c:pt>
                <c:pt idx="7135">
                  <c:v>288</c:v>
                </c:pt>
                <c:pt idx="7136">
                  <c:v>171</c:v>
                </c:pt>
                <c:pt idx="7137">
                  <c:v>388</c:v>
                </c:pt>
                <c:pt idx="7138">
                  <c:v>261</c:v>
                </c:pt>
                <c:pt idx="7139">
                  <c:v>281</c:v>
                </c:pt>
                <c:pt idx="7140">
                  <c:v>504</c:v>
                </c:pt>
                <c:pt idx="7141">
                  <c:v>1314</c:v>
                </c:pt>
                <c:pt idx="7142">
                  <c:v>1115</c:v>
                </c:pt>
                <c:pt idx="7143">
                  <c:v>194</c:v>
                </c:pt>
                <c:pt idx="7144">
                  <c:v>273</c:v>
                </c:pt>
                <c:pt idx="7145">
                  <c:v>182</c:v>
                </c:pt>
                <c:pt idx="7146">
                  <c:v>12017</c:v>
                </c:pt>
                <c:pt idx="7147">
                  <c:v>290</c:v>
                </c:pt>
                <c:pt idx="7148">
                  <c:v>130</c:v>
                </c:pt>
                <c:pt idx="7149">
                  <c:v>7530</c:v>
                </c:pt>
                <c:pt idx="7150">
                  <c:v>718</c:v>
                </c:pt>
                <c:pt idx="7151">
                  <c:v>395</c:v>
                </c:pt>
                <c:pt idx="7152">
                  <c:v>375</c:v>
                </c:pt>
                <c:pt idx="7153">
                  <c:v>203</c:v>
                </c:pt>
                <c:pt idx="7154">
                  <c:v>194</c:v>
                </c:pt>
                <c:pt idx="7155">
                  <c:v>912</c:v>
                </c:pt>
                <c:pt idx="7156">
                  <c:v>1389</c:v>
                </c:pt>
                <c:pt idx="7157">
                  <c:v>3998</c:v>
                </c:pt>
                <c:pt idx="7158">
                  <c:v>940</c:v>
                </c:pt>
                <c:pt idx="7159">
                  <c:v>316</c:v>
                </c:pt>
                <c:pt idx="7160">
                  <c:v>381</c:v>
                </c:pt>
                <c:pt idx="7161">
                  <c:v>542</c:v>
                </c:pt>
                <c:pt idx="7162">
                  <c:v>234</c:v>
                </c:pt>
                <c:pt idx="7163">
                  <c:v>1877</c:v>
                </c:pt>
                <c:pt idx="7164">
                  <c:v>196</c:v>
                </c:pt>
                <c:pt idx="7165">
                  <c:v>1330</c:v>
                </c:pt>
                <c:pt idx="7166">
                  <c:v>1350</c:v>
                </c:pt>
                <c:pt idx="7167">
                  <c:v>256</c:v>
                </c:pt>
                <c:pt idx="7168">
                  <c:v>1269</c:v>
                </c:pt>
                <c:pt idx="7169">
                  <c:v>346</c:v>
                </c:pt>
                <c:pt idx="7170">
                  <c:v>409</c:v>
                </c:pt>
                <c:pt idx="7171">
                  <c:v>182</c:v>
                </c:pt>
                <c:pt idx="7172">
                  <c:v>1180</c:v>
                </c:pt>
                <c:pt idx="7173">
                  <c:v>2624</c:v>
                </c:pt>
                <c:pt idx="7174">
                  <c:v>151</c:v>
                </c:pt>
                <c:pt idx="7175">
                  <c:v>193</c:v>
                </c:pt>
                <c:pt idx="7176">
                  <c:v>363</c:v>
                </c:pt>
                <c:pt idx="7177">
                  <c:v>2870</c:v>
                </c:pt>
                <c:pt idx="7178">
                  <c:v>71</c:v>
                </c:pt>
                <c:pt idx="7179">
                  <c:v>2432</c:v>
                </c:pt>
                <c:pt idx="7180">
                  <c:v>200</c:v>
                </c:pt>
                <c:pt idx="7181">
                  <c:v>448</c:v>
                </c:pt>
                <c:pt idx="7182">
                  <c:v>220</c:v>
                </c:pt>
                <c:pt idx="7183">
                  <c:v>1544</c:v>
                </c:pt>
                <c:pt idx="7184">
                  <c:v>316</c:v>
                </c:pt>
                <c:pt idx="7185">
                  <c:v>487</c:v>
                </c:pt>
                <c:pt idx="7186">
                  <c:v>272</c:v>
                </c:pt>
                <c:pt idx="7187">
                  <c:v>3487</c:v>
                </c:pt>
                <c:pt idx="7188">
                  <c:v>1362</c:v>
                </c:pt>
                <c:pt idx="7189">
                  <c:v>11131</c:v>
                </c:pt>
                <c:pt idx="7190">
                  <c:v>18180</c:v>
                </c:pt>
                <c:pt idx="7191">
                  <c:v>19131</c:v>
                </c:pt>
                <c:pt idx="7192">
                  <c:v>801</c:v>
                </c:pt>
                <c:pt idx="7193">
                  <c:v>368</c:v>
                </c:pt>
                <c:pt idx="7194">
                  <c:v>2068</c:v>
                </c:pt>
                <c:pt idx="7195">
                  <c:v>335</c:v>
                </c:pt>
                <c:pt idx="7196">
                  <c:v>2377</c:v>
                </c:pt>
                <c:pt idx="7197">
                  <c:v>2200</c:v>
                </c:pt>
                <c:pt idx="7198">
                  <c:v>794</c:v>
                </c:pt>
                <c:pt idx="7199">
                  <c:v>1385</c:v>
                </c:pt>
                <c:pt idx="7200">
                  <c:v>18889</c:v>
                </c:pt>
                <c:pt idx="7201">
                  <c:v>640</c:v>
                </c:pt>
                <c:pt idx="7202">
                  <c:v>200</c:v>
                </c:pt>
                <c:pt idx="7203">
                  <c:v>202</c:v>
                </c:pt>
                <c:pt idx="7204">
                  <c:v>1298</c:v>
                </c:pt>
                <c:pt idx="7205">
                  <c:v>811</c:v>
                </c:pt>
                <c:pt idx="7206">
                  <c:v>156</c:v>
                </c:pt>
                <c:pt idx="7207">
                  <c:v>187</c:v>
                </c:pt>
                <c:pt idx="7208">
                  <c:v>431</c:v>
                </c:pt>
                <c:pt idx="7209">
                  <c:v>1505</c:v>
                </c:pt>
                <c:pt idx="7210">
                  <c:v>221</c:v>
                </c:pt>
                <c:pt idx="7211">
                  <c:v>110</c:v>
                </c:pt>
                <c:pt idx="7212">
                  <c:v>1395</c:v>
                </c:pt>
                <c:pt idx="7213">
                  <c:v>734</c:v>
                </c:pt>
                <c:pt idx="7214">
                  <c:v>1011</c:v>
                </c:pt>
                <c:pt idx="7215">
                  <c:v>140</c:v>
                </c:pt>
                <c:pt idx="7216">
                  <c:v>219</c:v>
                </c:pt>
                <c:pt idx="7217">
                  <c:v>1014</c:v>
                </c:pt>
                <c:pt idx="7218">
                  <c:v>3539</c:v>
                </c:pt>
                <c:pt idx="7219">
                  <c:v>460</c:v>
                </c:pt>
                <c:pt idx="7220">
                  <c:v>508</c:v>
                </c:pt>
                <c:pt idx="7221">
                  <c:v>504</c:v>
                </c:pt>
                <c:pt idx="7222">
                  <c:v>259</c:v>
                </c:pt>
                <c:pt idx="7223">
                  <c:v>1501</c:v>
                </c:pt>
                <c:pt idx="7224">
                  <c:v>108</c:v>
                </c:pt>
                <c:pt idx="7225">
                  <c:v>1186</c:v>
                </c:pt>
                <c:pt idx="7226">
                  <c:v>1136</c:v>
                </c:pt>
                <c:pt idx="7227">
                  <c:v>534</c:v>
                </c:pt>
                <c:pt idx="7228">
                  <c:v>353</c:v>
                </c:pt>
                <c:pt idx="7229">
                  <c:v>1172</c:v>
                </c:pt>
                <c:pt idx="7230">
                  <c:v>5540</c:v>
                </c:pt>
                <c:pt idx="7231">
                  <c:v>79</c:v>
                </c:pt>
                <c:pt idx="7232">
                  <c:v>322</c:v>
                </c:pt>
                <c:pt idx="7233">
                  <c:v>594</c:v>
                </c:pt>
                <c:pt idx="7234">
                  <c:v>340</c:v>
                </c:pt>
                <c:pt idx="7235">
                  <c:v>2305</c:v>
                </c:pt>
                <c:pt idx="7236">
                  <c:v>141</c:v>
                </c:pt>
                <c:pt idx="7237">
                  <c:v>2613</c:v>
                </c:pt>
                <c:pt idx="7238">
                  <c:v>256</c:v>
                </c:pt>
                <c:pt idx="7239">
                  <c:v>288</c:v>
                </c:pt>
                <c:pt idx="7240">
                  <c:v>1831</c:v>
                </c:pt>
                <c:pt idx="7241">
                  <c:v>298</c:v>
                </c:pt>
                <c:pt idx="7242">
                  <c:v>270</c:v>
                </c:pt>
                <c:pt idx="7243">
                  <c:v>265</c:v>
                </c:pt>
                <c:pt idx="7244">
                  <c:v>174</c:v>
                </c:pt>
                <c:pt idx="7245">
                  <c:v>928</c:v>
                </c:pt>
                <c:pt idx="7246">
                  <c:v>326</c:v>
                </c:pt>
                <c:pt idx="7247">
                  <c:v>241</c:v>
                </c:pt>
                <c:pt idx="7248">
                  <c:v>539</c:v>
                </c:pt>
                <c:pt idx="7249">
                  <c:v>200</c:v>
                </c:pt>
                <c:pt idx="7250">
                  <c:v>270</c:v>
                </c:pt>
                <c:pt idx="7251">
                  <c:v>544</c:v>
                </c:pt>
                <c:pt idx="7252">
                  <c:v>943</c:v>
                </c:pt>
                <c:pt idx="7253">
                  <c:v>2871</c:v>
                </c:pt>
                <c:pt idx="7254">
                  <c:v>443</c:v>
                </c:pt>
                <c:pt idx="7255">
                  <c:v>2577</c:v>
                </c:pt>
                <c:pt idx="7256">
                  <c:v>903</c:v>
                </c:pt>
                <c:pt idx="7257">
                  <c:v>550</c:v>
                </c:pt>
                <c:pt idx="7258">
                  <c:v>363</c:v>
                </c:pt>
                <c:pt idx="7259">
                  <c:v>312</c:v>
                </c:pt>
                <c:pt idx="7260">
                  <c:v>148</c:v>
                </c:pt>
                <c:pt idx="7261">
                  <c:v>91</c:v>
                </c:pt>
                <c:pt idx="7262">
                  <c:v>7188</c:v>
                </c:pt>
                <c:pt idx="7263">
                  <c:v>1075</c:v>
                </c:pt>
                <c:pt idx="7264">
                  <c:v>1563</c:v>
                </c:pt>
                <c:pt idx="7265">
                  <c:v>2254</c:v>
                </c:pt>
                <c:pt idx="7266">
                  <c:v>13349</c:v>
                </c:pt>
                <c:pt idx="7267">
                  <c:v>2386</c:v>
                </c:pt>
                <c:pt idx="7268">
                  <c:v>320</c:v>
                </c:pt>
                <c:pt idx="7269">
                  <c:v>728</c:v>
                </c:pt>
                <c:pt idx="7270">
                  <c:v>4204</c:v>
                </c:pt>
                <c:pt idx="7271">
                  <c:v>3445</c:v>
                </c:pt>
                <c:pt idx="7272">
                  <c:v>1559</c:v>
                </c:pt>
                <c:pt idx="7273">
                  <c:v>2576</c:v>
                </c:pt>
                <c:pt idx="7274">
                  <c:v>7748</c:v>
                </c:pt>
                <c:pt idx="7275">
                  <c:v>552</c:v>
                </c:pt>
                <c:pt idx="7276">
                  <c:v>6048</c:v>
                </c:pt>
                <c:pt idx="7277">
                  <c:v>1084</c:v>
                </c:pt>
                <c:pt idx="7278">
                  <c:v>4668</c:v>
                </c:pt>
                <c:pt idx="7279">
                  <c:v>1619</c:v>
                </c:pt>
                <c:pt idx="7280">
                  <c:v>11328</c:v>
                </c:pt>
                <c:pt idx="7281">
                  <c:v>15244</c:v>
                </c:pt>
                <c:pt idx="7282">
                  <c:v>5882</c:v>
                </c:pt>
                <c:pt idx="7283">
                  <c:v>3424</c:v>
                </c:pt>
                <c:pt idx="7284">
                  <c:v>75</c:v>
                </c:pt>
                <c:pt idx="7285">
                  <c:v>2398</c:v>
                </c:pt>
                <c:pt idx="7286">
                  <c:v>5180</c:v>
                </c:pt>
                <c:pt idx="7287">
                  <c:v>1059</c:v>
                </c:pt>
                <c:pt idx="7288">
                  <c:v>730</c:v>
                </c:pt>
                <c:pt idx="7289">
                  <c:v>3760</c:v>
                </c:pt>
                <c:pt idx="7290">
                  <c:v>1945</c:v>
                </c:pt>
                <c:pt idx="7291">
                  <c:v>3069</c:v>
                </c:pt>
                <c:pt idx="7292">
                  <c:v>4765</c:v>
                </c:pt>
                <c:pt idx="7293">
                  <c:v>1298</c:v>
                </c:pt>
                <c:pt idx="7294">
                  <c:v>1034</c:v>
                </c:pt>
                <c:pt idx="7295">
                  <c:v>6464</c:v>
                </c:pt>
                <c:pt idx="7296">
                  <c:v>9233</c:v>
                </c:pt>
                <c:pt idx="7297">
                  <c:v>18083</c:v>
                </c:pt>
                <c:pt idx="7298">
                  <c:v>14634</c:v>
                </c:pt>
                <c:pt idx="7299">
                  <c:v>14979</c:v>
                </c:pt>
                <c:pt idx="7300">
                  <c:v>22340</c:v>
                </c:pt>
                <c:pt idx="7301">
                  <c:v>22165</c:v>
                </c:pt>
                <c:pt idx="7302">
                  <c:v>20817</c:v>
                </c:pt>
                <c:pt idx="7303">
                  <c:v>39</c:v>
                </c:pt>
                <c:pt idx="7304">
                  <c:v>9085</c:v>
                </c:pt>
                <c:pt idx="7305">
                  <c:v>15803</c:v>
                </c:pt>
                <c:pt idx="7306">
                  <c:v>2077</c:v>
                </c:pt>
                <c:pt idx="7307">
                  <c:v>613</c:v>
                </c:pt>
                <c:pt idx="7308">
                  <c:v>1718</c:v>
                </c:pt>
                <c:pt idx="7309">
                  <c:v>506</c:v>
                </c:pt>
                <c:pt idx="7310">
                  <c:v>7604</c:v>
                </c:pt>
                <c:pt idx="7311">
                  <c:v>21775</c:v>
                </c:pt>
                <c:pt idx="7312">
                  <c:v>17303</c:v>
                </c:pt>
                <c:pt idx="7313">
                  <c:v>1435</c:v>
                </c:pt>
                <c:pt idx="7314">
                  <c:v>1057</c:v>
                </c:pt>
                <c:pt idx="7315">
                  <c:v>1585</c:v>
                </c:pt>
                <c:pt idx="7316">
                  <c:v>2240</c:v>
                </c:pt>
                <c:pt idx="7317">
                  <c:v>3543</c:v>
                </c:pt>
                <c:pt idx="7318">
                  <c:v>545</c:v>
                </c:pt>
                <c:pt idx="7319">
                  <c:v>2752</c:v>
                </c:pt>
                <c:pt idx="7320">
                  <c:v>5639</c:v>
                </c:pt>
                <c:pt idx="7321">
                  <c:v>1699</c:v>
                </c:pt>
                <c:pt idx="7322">
                  <c:v>5911</c:v>
                </c:pt>
                <c:pt idx="7323">
                  <c:v>901</c:v>
                </c:pt>
                <c:pt idx="7324">
                  <c:v>14544</c:v>
                </c:pt>
                <c:pt idx="7325">
                  <c:v>3781</c:v>
                </c:pt>
                <c:pt idx="7326">
                  <c:v>9375</c:v>
                </c:pt>
                <c:pt idx="7327">
                  <c:v>11579</c:v>
                </c:pt>
                <c:pt idx="7328">
                  <c:v>10301</c:v>
                </c:pt>
                <c:pt idx="7329">
                  <c:v>24838</c:v>
                </c:pt>
                <c:pt idx="7330">
                  <c:v>13494</c:v>
                </c:pt>
                <c:pt idx="7331">
                  <c:v>1317</c:v>
                </c:pt>
                <c:pt idx="7332">
                  <c:v>7831</c:v>
                </c:pt>
                <c:pt idx="7333">
                  <c:v>1610</c:v>
                </c:pt>
                <c:pt idx="7334">
                  <c:v>27920</c:v>
                </c:pt>
                <c:pt idx="7335">
                  <c:v>10292</c:v>
                </c:pt>
                <c:pt idx="7336">
                  <c:v>680</c:v>
                </c:pt>
                <c:pt idx="7337">
                  <c:v>16813</c:v>
                </c:pt>
                <c:pt idx="7338">
                  <c:v>17280</c:v>
                </c:pt>
                <c:pt idx="7339">
                  <c:v>4878</c:v>
                </c:pt>
                <c:pt idx="7340">
                  <c:v>2293</c:v>
                </c:pt>
                <c:pt idx="7341">
                  <c:v>4858</c:v>
                </c:pt>
                <c:pt idx="7342">
                  <c:v>16271</c:v>
                </c:pt>
                <c:pt idx="7343">
                  <c:v>841</c:v>
                </c:pt>
                <c:pt idx="7344">
                  <c:v>2400</c:v>
                </c:pt>
                <c:pt idx="7345">
                  <c:v>3780</c:v>
                </c:pt>
                <c:pt idx="7346">
                  <c:v>1018</c:v>
                </c:pt>
                <c:pt idx="7347">
                  <c:v>10880</c:v>
                </c:pt>
                <c:pt idx="7348">
                  <c:v>3220</c:v>
                </c:pt>
                <c:pt idx="7349">
                  <c:v>399</c:v>
                </c:pt>
                <c:pt idx="7350">
                  <c:v>747</c:v>
                </c:pt>
                <c:pt idx="7351">
                  <c:v>3294</c:v>
                </c:pt>
                <c:pt idx="7352">
                  <c:v>7811</c:v>
                </c:pt>
                <c:pt idx="7353">
                  <c:v>15560</c:v>
                </c:pt>
                <c:pt idx="7354">
                  <c:v>3199</c:v>
                </c:pt>
                <c:pt idx="7355">
                  <c:v>1460</c:v>
                </c:pt>
                <c:pt idx="7356">
                  <c:v>18241</c:v>
                </c:pt>
                <c:pt idx="7357">
                  <c:v>14671</c:v>
                </c:pt>
                <c:pt idx="7358">
                  <c:v>1821</c:v>
                </c:pt>
                <c:pt idx="7359">
                  <c:v>7699</c:v>
                </c:pt>
                <c:pt idx="7360">
                  <c:v>3090</c:v>
                </c:pt>
                <c:pt idx="7361">
                  <c:v>2631</c:v>
                </c:pt>
                <c:pt idx="7362">
                  <c:v>1029</c:v>
                </c:pt>
                <c:pt idx="7363">
                  <c:v>1073</c:v>
                </c:pt>
                <c:pt idx="7364">
                  <c:v>4677</c:v>
                </c:pt>
                <c:pt idx="7365">
                  <c:v>7207</c:v>
                </c:pt>
                <c:pt idx="7366">
                  <c:v>19630</c:v>
                </c:pt>
                <c:pt idx="7367">
                  <c:v>7115</c:v>
                </c:pt>
                <c:pt idx="7368">
                  <c:v>3082</c:v>
                </c:pt>
                <c:pt idx="7369">
                  <c:v>3334</c:v>
                </c:pt>
                <c:pt idx="7370">
                  <c:v>4646</c:v>
                </c:pt>
                <c:pt idx="7371">
                  <c:v>1614</c:v>
                </c:pt>
                <c:pt idx="7372">
                  <c:v>9229</c:v>
                </c:pt>
                <c:pt idx="7373">
                  <c:v>10664</c:v>
                </c:pt>
                <c:pt idx="7374">
                  <c:v>22125</c:v>
                </c:pt>
                <c:pt idx="7375">
                  <c:v>29507</c:v>
                </c:pt>
                <c:pt idx="7376">
                  <c:v>27206</c:v>
                </c:pt>
                <c:pt idx="7377">
                  <c:v>8403</c:v>
                </c:pt>
                <c:pt idx="7378">
                  <c:v>8701</c:v>
                </c:pt>
                <c:pt idx="7379">
                  <c:v>28617</c:v>
                </c:pt>
                <c:pt idx="7380">
                  <c:v>14312</c:v>
                </c:pt>
                <c:pt idx="7381">
                  <c:v>10575</c:v>
                </c:pt>
                <c:pt idx="7382">
                  <c:v>23558</c:v>
                </c:pt>
                <c:pt idx="7383">
                  <c:v>1452</c:v>
                </c:pt>
                <c:pt idx="7384">
                  <c:v>7406</c:v>
                </c:pt>
                <c:pt idx="7385">
                  <c:v>3488</c:v>
                </c:pt>
                <c:pt idx="7386">
                  <c:v>727</c:v>
                </c:pt>
                <c:pt idx="7387">
                  <c:v>875</c:v>
                </c:pt>
                <c:pt idx="7388">
                  <c:v>1675</c:v>
                </c:pt>
                <c:pt idx="7389">
                  <c:v>8588</c:v>
                </c:pt>
                <c:pt idx="7390">
                  <c:v>17145</c:v>
                </c:pt>
                <c:pt idx="7391">
                  <c:v>27410</c:v>
                </c:pt>
                <c:pt idx="7392">
                  <c:v>14000</c:v>
                </c:pt>
                <c:pt idx="7393">
                  <c:v>21054</c:v>
                </c:pt>
                <c:pt idx="7394">
                  <c:v>12379</c:v>
                </c:pt>
                <c:pt idx="7395">
                  <c:v>10390</c:v>
                </c:pt>
                <c:pt idx="7396">
                  <c:v>29892</c:v>
                </c:pt>
                <c:pt idx="7397">
                  <c:v>23464</c:v>
                </c:pt>
                <c:pt idx="7398">
                  <c:v>2826</c:v>
                </c:pt>
                <c:pt idx="7399">
                  <c:v>6419</c:v>
                </c:pt>
                <c:pt idx="7400">
                  <c:v>7566</c:v>
                </c:pt>
                <c:pt idx="7401">
                  <c:v>6045</c:v>
                </c:pt>
                <c:pt idx="7402">
                  <c:v>6708</c:v>
                </c:pt>
                <c:pt idx="7403">
                  <c:v>26958</c:v>
                </c:pt>
                <c:pt idx="7404">
                  <c:v>15283</c:v>
                </c:pt>
                <c:pt idx="7405">
                  <c:v>26897</c:v>
                </c:pt>
                <c:pt idx="7406">
                  <c:v>15903</c:v>
                </c:pt>
                <c:pt idx="7407">
                  <c:v>13666</c:v>
                </c:pt>
                <c:pt idx="7408">
                  <c:v>6058</c:v>
                </c:pt>
                <c:pt idx="7409">
                  <c:v>10241</c:v>
                </c:pt>
                <c:pt idx="7410">
                  <c:v>12663</c:v>
                </c:pt>
                <c:pt idx="7411">
                  <c:v>20744</c:v>
                </c:pt>
                <c:pt idx="7412">
                  <c:v>1698</c:v>
                </c:pt>
                <c:pt idx="7413">
                  <c:v>4677</c:v>
                </c:pt>
                <c:pt idx="7414">
                  <c:v>2296</c:v>
                </c:pt>
                <c:pt idx="7415">
                  <c:v>17729</c:v>
                </c:pt>
                <c:pt idx="7416">
                  <c:v>8443</c:v>
                </c:pt>
                <c:pt idx="7417">
                  <c:v>10235</c:v>
                </c:pt>
                <c:pt idx="7418">
                  <c:v>809</c:v>
                </c:pt>
                <c:pt idx="7419">
                  <c:v>366</c:v>
                </c:pt>
                <c:pt idx="7420">
                  <c:v>178</c:v>
                </c:pt>
                <c:pt idx="7421">
                  <c:v>3485</c:v>
                </c:pt>
                <c:pt idx="7422">
                  <c:v>1217</c:v>
                </c:pt>
                <c:pt idx="7423">
                  <c:v>21335</c:v>
                </c:pt>
                <c:pt idx="7424">
                  <c:v>1511</c:v>
                </c:pt>
                <c:pt idx="7425">
                  <c:v>2122</c:v>
                </c:pt>
                <c:pt idx="7426">
                  <c:v>10589</c:v>
                </c:pt>
                <c:pt idx="7427">
                  <c:v>605</c:v>
                </c:pt>
                <c:pt idx="7428">
                  <c:v>4301</c:v>
                </c:pt>
                <c:pt idx="7429">
                  <c:v>3389</c:v>
                </c:pt>
                <c:pt idx="7430">
                  <c:v>3590</c:v>
                </c:pt>
                <c:pt idx="7431">
                  <c:v>4538</c:v>
                </c:pt>
                <c:pt idx="7432">
                  <c:v>7149</c:v>
                </c:pt>
                <c:pt idx="7433">
                  <c:v>8740</c:v>
                </c:pt>
                <c:pt idx="7434">
                  <c:v>10450</c:v>
                </c:pt>
                <c:pt idx="7435">
                  <c:v>1833</c:v>
                </c:pt>
                <c:pt idx="7436">
                  <c:v>133</c:v>
                </c:pt>
                <c:pt idx="7437">
                  <c:v>3077</c:v>
                </c:pt>
                <c:pt idx="7438">
                  <c:v>39722</c:v>
                </c:pt>
                <c:pt idx="7439">
                  <c:v>2439</c:v>
                </c:pt>
                <c:pt idx="7440">
                  <c:v>12391</c:v>
                </c:pt>
                <c:pt idx="7441">
                  <c:v>8336</c:v>
                </c:pt>
                <c:pt idx="7442">
                  <c:v>9221</c:v>
                </c:pt>
                <c:pt idx="7443">
                  <c:v>13145</c:v>
                </c:pt>
                <c:pt idx="7444">
                  <c:v>5610</c:v>
                </c:pt>
                <c:pt idx="7445">
                  <c:v>29648</c:v>
                </c:pt>
                <c:pt idx="7446">
                  <c:v>24754</c:v>
                </c:pt>
                <c:pt idx="7447">
                  <c:v>4123</c:v>
                </c:pt>
                <c:pt idx="7448">
                  <c:v>26616</c:v>
                </c:pt>
                <c:pt idx="7449">
                  <c:v>12638</c:v>
                </c:pt>
                <c:pt idx="7450">
                  <c:v>5986</c:v>
                </c:pt>
                <c:pt idx="7451">
                  <c:v>19831</c:v>
                </c:pt>
                <c:pt idx="7452">
                  <c:v>37262</c:v>
                </c:pt>
                <c:pt idx="7453">
                  <c:v>21842</c:v>
                </c:pt>
                <c:pt idx="7454">
                  <c:v>23547</c:v>
                </c:pt>
                <c:pt idx="7455">
                  <c:v>16577</c:v>
                </c:pt>
                <c:pt idx="7456">
                  <c:v>24351</c:v>
                </c:pt>
                <c:pt idx="7457">
                  <c:v>28951</c:v>
                </c:pt>
                <c:pt idx="7458">
                  <c:v>11716</c:v>
                </c:pt>
                <c:pt idx="7459">
                  <c:v>12733</c:v>
                </c:pt>
                <c:pt idx="7460">
                  <c:v>30055</c:v>
                </c:pt>
                <c:pt idx="7461">
                  <c:v>19792</c:v>
                </c:pt>
                <c:pt idx="7462">
                  <c:v>23224</c:v>
                </c:pt>
                <c:pt idx="7463">
                  <c:v>25544</c:v>
                </c:pt>
                <c:pt idx="7464">
                  <c:v>10510</c:v>
                </c:pt>
                <c:pt idx="7465">
                  <c:v>31469</c:v>
                </c:pt>
                <c:pt idx="7466">
                  <c:v>7453</c:v>
                </c:pt>
                <c:pt idx="7467">
                  <c:v>8535</c:v>
                </c:pt>
                <c:pt idx="7468">
                  <c:v>13087</c:v>
                </c:pt>
                <c:pt idx="7469">
                  <c:v>1520</c:v>
                </c:pt>
                <c:pt idx="7470">
                  <c:v>709</c:v>
                </c:pt>
                <c:pt idx="7471">
                  <c:v>2754</c:v>
                </c:pt>
                <c:pt idx="7472">
                  <c:v>1018</c:v>
                </c:pt>
                <c:pt idx="7473">
                  <c:v>2211</c:v>
                </c:pt>
                <c:pt idx="7474">
                  <c:v>1330</c:v>
                </c:pt>
                <c:pt idx="7475">
                  <c:v>1102</c:v>
                </c:pt>
                <c:pt idx="7476">
                  <c:v>419</c:v>
                </c:pt>
                <c:pt idx="7477">
                  <c:v>590</c:v>
                </c:pt>
                <c:pt idx="7478">
                  <c:v>774</c:v>
                </c:pt>
                <c:pt idx="7479">
                  <c:v>2954</c:v>
                </c:pt>
                <c:pt idx="7480">
                  <c:v>420</c:v>
                </c:pt>
                <c:pt idx="7481">
                  <c:v>132</c:v>
                </c:pt>
                <c:pt idx="7482">
                  <c:v>857</c:v>
                </c:pt>
                <c:pt idx="7483">
                  <c:v>3467</c:v>
                </c:pt>
                <c:pt idx="7484">
                  <c:v>2173</c:v>
                </c:pt>
                <c:pt idx="7485">
                  <c:v>60</c:v>
                </c:pt>
                <c:pt idx="7486">
                  <c:v>114</c:v>
                </c:pt>
                <c:pt idx="7487">
                  <c:v>3829</c:v>
                </c:pt>
                <c:pt idx="7488">
                  <c:v>425</c:v>
                </c:pt>
                <c:pt idx="7489">
                  <c:v>1854</c:v>
                </c:pt>
                <c:pt idx="7490">
                  <c:v>374</c:v>
                </c:pt>
                <c:pt idx="7491">
                  <c:v>1039</c:v>
                </c:pt>
                <c:pt idx="7492">
                  <c:v>845</c:v>
                </c:pt>
                <c:pt idx="7493">
                  <c:v>25419</c:v>
                </c:pt>
                <c:pt idx="7494">
                  <c:v>2840</c:v>
                </c:pt>
                <c:pt idx="7495">
                  <c:v>1233</c:v>
                </c:pt>
                <c:pt idx="7496">
                  <c:v>71</c:v>
                </c:pt>
                <c:pt idx="7497">
                  <c:v>555</c:v>
                </c:pt>
                <c:pt idx="7498">
                  <c:v>341</c:v>
                </c:pt>
                <c:pt idx="7499">
                  <c:v>1194</c:v>
                </c:pt>
                <c:pt idx="7500">
                  <c:v>850</c:v>
                </c:pt>
                <c:pt idx="7501">
                  <c:v>1207</c:v>
                </c:pt>
                <c:pt idx="7502">
                  <c:v>438</c:v>
                </c:pt>
                <c:pt idx="7503">
                  <c:v>2630</c:v>
                </c:pt>
                <c:pt idx="7504">
                  <c:v>1927</c:v>
                </c:pt>
                <c:pt idx="7505">
                  <c:v>1191</c:v>
                </c:pt>
                <c:pt idx="7506">
                  <c:v>1942</c:v>
                </c:pt>
                <c:pt idx="7507">
                  <c:v>7658</c:v>
                </c:pt>
                <c:pt idx="7508">
                  <c:v>571</c:v>
                </c:pt>
                <c:pt idx="7509">
                  <c:v>27101</c:v>
                </c:pt>
                <c:pt idx="7510">
                  <c:v>707</c:v>
                </c:pt>
                <c:pt idx="7511">
                  <c:v>48</c:v>
                </c:pt>
                <c:pt idx="7512">
                  <c:v>223</c:v>
                </c:pt>
                <c:pt idx="7513">
                  <c:v>6328</c:v>
                </c:pt>
                <c:pt idx="7514">
                  <c:v>1876</c:v>
                </c:pt>
                <c:pt idx="7515">
                  <c:v>1148</c:v>
                </c:pt>
                <c:pt idx="7516">
                  <c:v>261</c:v>
                </c:pt>
                <c:pt idx="7517">
                  <c:v>584</c:v>
                </c:pt>
                <c:pt idx="7518">
                  <c:v>9354</c:v>
                </c:pt>
                <c:pt idx="7519">
                  <c:v>1571</c:v>
                </c:pt>
                <c:pt idx="7520">
                  <c:v>122</c:v>
                </c:pt>
                <c:pt idx="7521">
                  <c:v>1239</c:v>
                </c:pt>
                <c:pt idx="7522">
                  <c:v>361</c:v>
                </c:pt>
                <c:pt idx="7523">
                  <c:v>403</c:v>
                </c:pt>
                <c:pt idx="7524">
                  <c:v>120</c:v>
                </c:pt>
                <c:pt idx="7525">
                  <c:v>1803</c:v>
                </c:pt>
                <c:pt idx="7526">
                  <c:v>3198</c:v>
                </c:pt>
                <c:pt idx="7527">
                  <c:v>1704</c:v>
                </c:pt>
                <c:pt idx="7528">
                  <c:v>821</c:v>
                </c:pt>
                <c:pt idx="7529">
                  <c:v>455</c:v>
                </c:pt>
                <c:pt idx="7530">
                  <c:v>7566</c:v>
                </c:pt>
                <c:pt idx="7531">
                  <c:v>1065</c:v>
                </c:pt>
                <c:pt idx="7532">
                  <c:v>10128</c:v>
                </c:pt>
                <c:pt idx="7533">
                  <c:v>708</c:v>
                </c:pt>
                <c:pt idx="7534">
                  <c:v>2113</c:v>
                </c:pt>
                <c:pt idx="7535">
                  <c:v>5419</c:v>
                </c:pt>
                <c:pt idx="7536">
                  <c:v>15383</c:v>
                </c:pt>
                <c:pt idx="7537">
                  <c:v>9446</c:v>
                </c:pt>
                <c:pt idx="7538">
                  <c:v>619</c:v>
                </c:pt>
                <c:pt idx="7539">
                  <c:v>18365</c:v>
                </c:pt>
                <c:pt idx="7540">
                  <c:v>4639</c:v>
                </c:pt>
                <c:pt idx="7541">
                  <c:v>452</c:v>
                </c:pt>
                <c:pt idx="7542">
                  <c:v>245</c:v>
                </c:pt>
                <c:pt idx="7543">
                  <c:v>394</c:v>
                </c:pt>
                <c:pt idx="7544">
                  <c:v>781</c:v>
                </c:pt>
                <c:pt idx="7545">
                  <c:v>2183</c:v>
                </c:pt>
                <c:pt idx="7546">
                  <c:v>284</c:v>
                </c:pt>
                <c:pt idx="7547">
                  <c:v>249</c:v>
                </c:pt>
                <c:pt idx="7548">
                  <c:v>1519</c:v>
                </c:pt>
                <c:pt idx="7549">
                  <c:v>1175</c:v>
                </c:pt>
                <c:pt idx="7550">
                  <c:v>721</c:v>
                </c:pt>
                <c:pt idx="7551">
                  <c:v>507</c:v>
                </c:pt>
                <c:pt idx="7552">
                  <c:v>712</c:v>
                </c:pt>
                <c:pt idx="7553">
                  <c:v>1185</c:v>
                </c:pt>
                <c:pt idx="7554">
                  <c:v>4502</c:v>
                </c:pt>
                <c:pt idx="7555">
                  <c:v>721</c:v>
                </c:pt>
                <c:pt idx="7556">
                  <c:v>337</c:v>
                </c:pt>
                <c:pt idx="7557">
                  <c:v>1221</c:v>
                </c:pt>
                <c:pt idx="7558">
                  <c:v>633</c:v>
                </c:pt>
                <c:pt idx="7559">
                  <c:v>1294</c:v>
                </c:pt>
                <c:pt idx="7560">
                  <c:v>122</c:v>
                </c:pt>
                <c:pt idx="7561">
                  <c:v>171</c:v>
                </c:pt>
                <c:pt idx="7562">
                  <c:v>234</c:v>
                </c:pt>
                <c:pt idx="7563">
                  <c:v>4448</c:v>
                </c:pt>
                <c:pt idx="7564">
                  <c:v>675</c:v>
                </c:pt>
                <c:pt idx="7565">
                  <c:v>714</c:v>
                </c:pt>
                <c:pt idx="7566">
                  <c:v>6750</c:v>
                </c:pt>
                <c:pt idx="7567">
                  <c:v>3436</c:v>
                </c:pt>
                <c:pt idx="7568">
                  <c:v>1164</c:v>
                </c:pt>
                <c:pt idx="7569">
                  <c:v>406</c:v>
                </c:pt>
                <c:pt idx="7570">
                  <c:v>3341</c:v>
                </c:pt>
                <c:pt idx="7571">
                  <c:v>437</c:v>
                </c:pt>
                <c:pt idx="7572">
                  <c:v>6182</c:v>
                </c:pt>
                <c:pt idx="7573">
                  <c:v>1599</c:v>
                </c:pt>
                <c:pt idx="7574">
                  <c:v>280</c:v>
                </c:pt>
                <c:pt idx="7575">
                  <c:v>2563</c:v>
                </c:pt>
                <c:pt idx="7576">
                  <c:v>515</c:v>
                </c:pt>
                <c:pt idx="7577">
                  <c:v>271</c:v>
                </c:pt>
                <c:pt idx="7578">
                  <c:v>380</c:v>
                </c:pt>
                <c:pt idx="7579">
                  <c:v>50</c:v>
                </c:pt>
                <c:pt idx="7580">
                  <c:v>957</c:v>
                </c:pt>
                <c:pt idx="7581">
                  <c:v>670</c:v>
                </c:pt>
                <c:pt idx="7582">
                  <c:v>367</c:v>
                </c:pt>
                <c:pt idx="7583">
                  <c:v>2186</c:v>
                </c:pt>
                <c:pt idx="7584">
                  <c:v>112</c:v>
                </c:pt>
                <c:pt idx="7585">
                  <c:v>473</c:v>
                </c:pt>
                <c:pt idx="7586">
                  <c:v>889</c:v>
                </c:pt>
                <c:pt idx="7587">
                  <c:v>1077</c:v>
                </c:pt>
                <c:pt idx="7588">
                  <c:v>2351</c:v>
                </c:pt>
                <c:pt idx="7589">
                  <c:v>64</c:v>
                </c:pt>
                <c:pt idx="7590">
                  <c:v>446</c:v>
                </c:pt>
                <c:pt idx="7591">
                  <c:v>11108</c:v>
                </c:pt>
                <c:pt idx="7592">
                  <c:v>406</c:v>
                </c:pt>
                <c:pt idx="7593">
                  <c:v>473</c:v>
                </c:pt>
                <c:pt idx="7594">
                  <c:v>400</c:v>
                </c:pt>
                <c:pt idx="7595">
                  <c:v>12447</c:v>
                </c:pt>
                <c:pt idx="7596">
                  <c:v>6082</c:v>
                </c:pt>
                <c:pt idx="7597">
                  <c:v>1720</c:v>
                </c:pt>
                <c:pt idx="7598">
                  <c:v>1065</c:v>
                </c:pt>
                <c:pt idx="7599">
                  <c:v>5951</c:v>
                </c:pt>
                <c:pt idx="7600">
                  <c:v>6770</c:v>
                </c:pt>
                <c:pt idx="7601">
                  <c:v>26815</c:v>
                </c:pt>
                <c:pt idx="7602">
                  <c:v>39020</c:v>
                </c:pt>
                <c:pt idx="7603">
                  <c:v>14310</c:v>
                </c:pt>
                <c:pt idx="7604">
                  <c:v>1593</c:v>
                </c:pt>
                <c:pt idx="7605">
                  <c:v>1361</c:v>
                </c:pt>
                <c:pt idx="7606">
                  <c:v>8738</c:v>
                </c:pt>
                <c:pt idx="7607">
                  <c:v>10260</c:v>
                </c:pt>
                <c:pt idx="7608">
                  <c:v>10957</c:v>
                </c:pt>
                <c:pt idx="7609">
                  <c:v>3330</c:v>
                </c:pt>
                <c:pt idx="7610">
                  <c:v>94</c:v>
                </c:pt>
                <c:pt idx="7611">
                  <c:v>8179</c:v>
                </c:pt>
                <c:pt idx="7612">
                  <c:v>14181</c:v>
                </c:pt>
                <c:pt idx="7613">
                  <c:v>18707</c:v>
                </c:pt>
                <c:pt idx="7614">
                  <c:v>17808</c:v>
                </c:pt>
                <c:pt idx="7615">
                  <c:v>1433</c:v>
                </c:pt>
                <c:pt idx="7616">
                  <c:v>366</c:v>
                </c:pt>
                <c:pt idx="7617">
                  <c:v>2403</c:v>
                </c:pt>
                <c:pt idx="7618">
                  <c:v>10204</c:v>
                </c:pt>
                <c:pt idx="7619">
                  <c:v>104</c:v>
                </c:pt>
                <c:pt idx="7620">
                  <c:v>34138</c:v>
                </c:pt>
                <c:pt idx="7621">
                  <c:v>20453</c:v>
                </c:pt>
                <c:pt idx="7622">
                  <c:v>3657</c:v>
                </c:pt>
                <c:pt idx="7623">
                  <c:v>13669</c:v>
                </c:pt>
                <c:pt idx="7624">
                  <c:v>10735</c:v>
                </c:pt>
                <c:pt idx="7625">
                  <c:v>12569</c:v>
                </c:pt>
                <c:pt idx="7626">
                  <c:v>1156</c:v>
                </c:pt>
                <c:pt idx="7627">
                  <c:v>2691</c:v>
                </c:pt>
                <c:pt idx="7628">
                  <c:v>612</c:v>
                </c:pt>
                <c:pt idx="7629">
                  <c:v>19426</c:v>
                </c:pt>
                <c:pt idx="7630">
                  <c:v>3286</c:v>
                </c:pt>
                <c:pt idx="7631">
                  <c:v>1666</c:v>
                </c:pt>
                <c:pt idx="7632">
                  <c:v>465</c:v>
                </c:pt>
                <c:pt idx="7633">
                  <c:v>39</c:v>
                </c:pt>
                <c:pt idx="7634">
                  <c:v>5169</c:v>
                </c:pt>
                <c:pt idx="7635">
                  <c:v>16844</c:v>
                </c:pt>
                <c:pt idx="7636">
                  <c:v>23046</c:v>
                </c:pt>
                <c:pt idx="7637">
                  <c:v>4360</c:v>
                </c:pt>
                <c:pt idx="7638">
                  <c:v>102</c:v>
                </c:pt>
                <c:pt idx="7639">
                  <c:v>26465</c:v>
                </c:pt>
                <c:pt idx="7640">
                  <c:v>12663</c:v>
                </c:pt>
                <c:pt idx="7641">
                  <c:v>3088</c:v>
                </c:pt>
                <c:pt idx="7642">
                  <c:v>20527</c:v>
                </c:pt>
                <c:pt idx="7643">
                  <c:v>22999</c:v>
                </c:pt>
                <c:pt idx="7644">
                  <c:v>959</c:v>
                </c:pt>
                <c:pt idx="7645">
                  <c:v>11609</c:v>
                </c:pt>
                <c:pt idx="7646">
                  <c:v>3102</c:v>
                </c:pt>
                <c:pt idx="7647">
                  <c:v>1503</c:v>
                </c:pt>
                <c:pt idx="7648">
                  <c:v>2857</c:v>
                </c:pt>
                <c:pt idx="7649">
                  <c:v>3393</c:v>
                </c:pt>
                <c:pt idx="7650">
                  <c:v>2944</c:v>
                </c:pt>
                <c:pt idx="7651">
                  <c:v>1118</c:v>
                </c:pt>
                <c:pt idx="7652">
                  <c:v>5818</c:v>
                </c:pt>
                <c:pt idx="7653">
                  <c:v>1557</c:v>
                </c:pt>
                <c:pt idx="7654">
                  <c:v>1387</c:v>
                </c:pt>
                <c:pt idx="7655">
                  <c:v>4848</c:v>
                </c:pt>
                <c:pt idx="7656">
                  <c:v>7372</c:v>
                </c:pt>
                <c:pt idx="7657">
                  <c:v>10168</c:v>
                </c:pt>
                <c:pt idx="7658">
                  <c:v>14343</c:v>
                </c:pt>
                <c:pt idx="7659">
                  <c:v>11529</c:v>
                </c:pt>
                <c:pt idx="7660">
                  <c:v>10916</c:v>
                </c:pt>
                <c:pt idx="7661">
                  <c:v>10601</c:v>
                </c:pt>
                <c:pt idx="7662">
                  <c:v>1267</c:v>
                </c:pt>
                <c:pt idx="7663">
                  <c:v>1561</c:v>
                </c:pt>
                <c:pt idx="7664">
                  <c:v>2909</c:v>
                </c:pt>
                <c:pt idx="7665">
                  <c:v>7133</c:v>
                </c:pt>
                <c:pt idx="7666">
                  <c:v>5047</c:v>
                </c:pt>
                <c:pt idx="7667">
                  <c:v>1146</c:v>
                </c:pt>
                <c:pt idx="7668">
                  <c:v>4550</c:v>
                </c:pt>
                <c:pt idx="7669">
                  <c:v>56</c:v>
                </c:pt>
                <c:pt idx="7670">
                  <c:v>4434</c:v>
                </c:pt>
                <c:pt idx="7671">
                  <c:v>29454</c:v>
                </c:pt>
                <c:pt idx="7672">
                  <c:v>3737</c:v>
                </c:pt>
                <c:pt idx="7673">
                  <c:v>10740</c:v>
                </c:pt>
                <c:pt idx="7674">
                  <c:v>13309</c:v>
                </c:pt>
                <c:pt idx="7675">
                  <c:v>5922</c:v>
                </c:pt>
                <c:pt idx="7676">
                  <c:v>30048</c:v>
                </c:pt>
                <c:pt idx="7677">
                  <c:v>6271</c:v>
                </c:pt>
                <c:pt idx="7678">
                  <c:v>4498</c:v>
                </c:pt>
                <c:pt idx="7679">
                  <c:v>18753</c:v>
                </c:pt>
                <c:pt idx="7680">
                  <c:v>14621</c:v>
                </c:pt>
                <c:pt idx="7681">
                  <c:v>26151</c:v>
                </c:pt>
                <c:pt idx="7682">
                  <c:v>15201</c:v>
                </c:pt>
                <c:pt idx="7683">
                  <c:v>22102</c:v>
                </c:pt>
                <c:pt idx="7684">
                  <c:v>23567</c:v>
                </c:pt>
                <c:pt idx="7685">
                  <c:v>21467</c:v>
                </c:pt>
                <c:pt idx="7686">
                  <c:v>29663</c:v>
                </c:pt>
                <c:pt idx="7687">
                  <c:v>27084</c:v>
                </c:pt>
                <c:pt idx="7688">
                  <c:v>16185</c:v>
                </c:pt>
                <c:pt idx="7689">
                  <c:v>19844</c:v>
                </c:pt>
                <c:pt idx="7690">
                  <c:v>29188</c:v>
                </c:pt>
                <c:pt idx="7691">
                  <c:v>24759</c:v>
                </c:pt>
                <c:pt idx="7692">
                  <c:v>41569</c:v>
                </c:pt>
                <c:pt idx="7693">
                  <c:v>16571</c:v>
                </c:pt>
                <c:pt idx="7694">
                  <c:v>25405</c:v>
                </c:pt>
                <c:pt idx="7695">
                  <c:v>36303</c:v>
                </c:pt>
                <c:pt idx="7696">
                  <c:v>18704</c:v>
                </c:pt>
                <c:pt idx="7697">
                  <c:v>6105</c:v>
                </c:pt>
                <c:pt idx="7698">
                  <c:v>13337</c:v>
                </c:pt>
                <c:pt idx="7699">
                  <c:v>15913</c:v>
                </c:pt>
                <c:pt idx="7700">
                  <c:v>2759</c:v>
                </c:pt>
                <c:pt idx="7701">
                  <c:v>18065</c:v>
                </c:pt>
                <c:pt idx="7702">
                  <c:v>7886</c:v>
                </c:pt>
                <c:pt idx="7703">
                  <c:v>15622</c:v>
                </c:pt>
                <c:pt idx="7704">
                  <c:v>8177</c:v>
                </c:pt>
                <c:pt idx="7705">
                  <c:v>27779</c:v>
                </c:pt>
                <c:pt idx="7706">
                  <c:v>6232</c:v>
                </c:pt>
                <c:pt idx="7707">
                  <c:v>1677</c:v>
                </c:pt>
                <c:pt idx="7708">
                  <c:v>3494</c:v>
                </c:pt>
                <c:pt idx="7709">
                  <c:v>1996</c:v>
                </c:pt>
                <c:pt idx="7710">
                  <c:v>215</c:v>
                </c:pt>
                <c:pt idx="7711">
                  <c:v>10659</c:v>
                </c:pt>
                <c:pt idx="7712">
                  <c:v>8761</c:v>
                </c:pt>
                <c:pt idx="7713">
                  <c:v>10351</c:v>
                </c:pt>
                <c:pt idx="7714">
                  <c:v>326</c:v>
                </c:pt>
                <c:pt idx="7715">
                  <c:v>3863</c:v>
                </c:pt>
                <c:pt idx="7716">
                  <c:v>9127</c:v>
                </c:pt>
                <c:pt idx="7717">
                  <c:v>3030</c:v>
                </c:pt>
                <c:pt idx="7718">
                  <c:v>1823</c:v>
                </c:pt>
                <c:pt idx="7719">
                  <c:v>2969</c:v>
                </c:pt>
                <c:pt idx="7720">
                  <c:v>3108</c:v>
                </c:pt>
                <c:pt idx="7721">
                  <c:v>2458</c:v>
                </c:pt>
                <c:pt idx="7722">
                  <c:v>1483</c:v>
                </c:pt>
                <c:pt idx="7723">
                  <c:v>49</c:v>
                </c:pt>
                <c:pt idx="7724">
                  <c:v>629</c:v>
                </c:pt>
                <c:pt idx="7725">
                  <c:v>1390</c:v>
                </c:pt>
                <c:pt idx="7726">
                  <c:v>4705</c:v>
                </c:pt>
                <c:pt idx="7727">
                  <c:v>839</c:v>
                </c:pt>
                <c:pt idx="7728">
                  <c:v>16536</c:v>
                </c:pt>
                <c:pt idx="7729">
                  <c:v>1572</c:v>
                </c:pt>
                <c:pt idx="7730">
                  <c:v>1536</c:v>
                </c:pt>
                <c:pt idx="7731">
                  <c:v>8454</c:v>
                </c:pt>
                <c:pt idx="7732">
                  <c:v>2106</c:v>
                </c:pt>
                <c:pt idx="7733">
                  <c:v>1116</c:v>
                </c:pt>
                <c:pt idx="7734">
                  <c:v>12935</c:v>
                </c:pt>
                <c:pt idx="7735">
                  <c:v>5749</c:v>
                </c:pt>
                <c:pt idx="7736">
                  <c:v>367</c:v>
                </c:pt>
                <c:pt idx="7737">
                  <c:v>4862</c:v>
                </c:pt>
                <c:pt idx="7738">
                  <c:v>7138</c:v>
                </c:pt>
                <c:pt idx="7739">
                  <c:v>2344</c:v>
                </c:pt>
                <c:pt idx="7740">
                  <c:v>852</c:v>
                </c:pt>
                <c:pt idx="7741">
                  <c:v>2084</c:v>
                </c:pt>
                <c:pt idx="7742">
                  <c:v>4192</c:v>
                </c:pt>
                <c:pt idx="7743">
                  <c:v>1265</c:v>
                </c:pt>
                <c:pt idx="7744">
                  <c:v>6748</c:v>
                </c:pt>
                <c:pt idx="7745">
                  <c:v>85</c:v>
                </c:pt>
                <c:pt idx="7746">
                  <c:v>1464</c:v>
                </c:pt>
                <c:pt idx="7747">
                  <c:v>17906</c:v>
                </c:pt>
                <c:pt idx="7748">
                  <c:v>3851</c:v>
                </c:pt>
                <c:pt idx="7749">
                  <c:v>9956</c:v>
                </c:pt>
                <c:pt idx="7750">
                  <c:v>3416</c:v>
                </c:pt>
                <c:pt idx="7751">
                  <c:v>2327</c:v>
                </c:pt>
                <c:pt idx="7752">
                  <c:v>3705</c:v>
                </c:pt>
                <c:pt idx="7753">
                  <c:v>852</c:v>
                </c:pt>
                <c:pt idx="7754">
                  <c:v>1904</c:v>
                </c:pt>
                <c:pt idx="7755">
                  <c:v>7286</c:v>
                </c:pt>
                <c:pt idx="7756">
                  <c:v>10486</c:v>
                </c:pt>
                <c:pt idx="7757">
                  <c:v>2742</c:v>
                </c:pt>
                <c:pt idx="7758">
                  <c:v>800</c:v>
                </c:pt>
                <c:pt idx="7759">
                  <c:v>755</c:v>
                </c:pt>
                <c:pt idx="7760">
                  <c:v>2373</c:v>
                </c:pt>
                <c:pt idx="7761">
                  <c:v>974</c:v>
                </c:pt>
                <c:pt idx="7762">
                  <c:v>1042</c:v>
                </c:pt>
                <c:pt idx="7763">
                  <c:v>2952</c:v>
                </c:pt>
                <c:pt idx="7764">
                  <c:v>10185</c:v>
                </c:pt>
                <c:pt idx="7765">
                  <c:v>21214</c:v>
                </c:pt>
                <c:pt idx="7766">
                  <c:v>16254</c:v>
                </c:pt>
                <c:pt idx="7767">
                  <c:v>16587</c:v>
                </c:pt>
                <c:pt idx="7768">
                  <c:v>18257</c:v>
                </c:pt>
                <c:pt idx="7769">
                  <c:v>20491</c:v>
                </c:pt>
                <c:pt idx="7770">
                  <c:v>1428</c:v>
                </c:pt>
                <c:pt idx="7771">
                  <c:v>713</c:v>
                </c:pt>
                <c:pt idx="7772">
                  <c:v>897</c:v>
                </c:pt>
                <c:pt idx="7773">
                  <c:v>3838</c:v>
                </c:pt>
                <c:pt idx="7774">
                  <c:v>3330</c:v>
                </c:pt>
                <c:pt idx="7775">
                  <c:v>3755</c:v>
                </c:pt>
                <c:pt idx="7776">
                  <c:v>900</c:v>
                </c:pt>
                <c:pt idx="7777">
                  <c:v>2193</c:v>
                </c:pt>
                <c:pt idx="7778">
                  <c:v>571</c:v>
                </c:pt>
                <c:pt idx="7779">
                  <c:v>1404</c:v>
                </c:pt>
                <c:pt idx="7780">
                  <c:v>314</c:v>
                </c:pt>
                <c:pt idx="7781">
                  <c:v>710</c:v>
                </c:pt>
                <c:pt idx="7782">
                  <c:v>834</c:v>
                </c:pt>
                <c:pt idx="7783">
                  <c:v>271</c:v>
                </c:pt>
                <c:pt idx="7784">
                  <c:v>366</c:v>
                </c:pt>
                <c:pt idx="7785">
                  <c:v>1364</c:v>
                </c:pt>
                <c:pt idx="7786">
                  <c:v>616</c:v>
                </c:pt>
                <c:pt idx="7787">
                  <c:v>11081</c:v>
                </c:pt>
                <c:pt idx="7788">
                  <c:v>1130</c:v>
                </c:pt>
                <c:pt idx="7789">
                  <c:v>4799</c:v>
                </c:pt>
                <c:pt idx="7790">
                  <c:v>810</c:v>
                </c:pt>
                <c:pt idx="7791">
                  <c:v>224</c:v>
                </c:pt>
                <c:pt idx="7792">
                  <c:v>1070</c:v>
                </c:pt>
                <c:pt idx="7793">
                  <c:v>705</c:v>
                </c:pt>
                <c:pt idx="7794">
                  <c:v>16891</c:v>
                </c:pt>
                <c:pt idx="7795">
                  <c:v>212</c:v>
                </c:pt>
                <c:pt idx="7796">
                  <c:v>1668</c:v>
                </c:pt>
                <c:pt idx="7797">
                  <c:v>910</c:v>
                </c:pt>
                <c:pt idx="7798">
                  <c:v>1431</c:v>
                </c:pt>
                <c:pt idx="7799">
                  <c:v>5272</c:v>
                </c:pt>
                <c:pt idx="7800">
                  <c:v>2079</c:v>
                </c:pt>
                <c:pt idx="7801">
                  <c:v>5147</c:v>
                </c:pt>
                <c:pt idx="7802">
                  <c:v>7181</c:v>
                </c:pt>
                <c:pt idx="7803">
                  <c:v>5274</c:v>
                </c:pt>
                <c:pt idx="7804">
                  <c:v>2294</c:v>
                </c:pt>
                <c:pt idx="7805">
                  <c:v>635</c:v>
                </c:pt>
                <c:pt idx="7806">
                  <c:v>3314</c:v>
                </c:pt>
                <c:pt idx="7807">
                  <c:v>3089</c:v>
                </c:pt>
                <c:pt idx="7808">
                  <c:v>4119</c:v>
                </c:pt>
                <c:pt idx="7809">
                  <c:v>1293</c:v>
                </c:pt>
                <c:pt idx="7810">
                  <c:v>2628</c:v>
                </c:pt>
                <c:pt idx="7811">
                  <c:v>4229</c:v>
                </c:pt>
                <c:pt idx="7812">
                  <c:v>6726</c:v>
                </c:pt>
                <c:pt idx="7813">
                  <c:v>2166</c:v>
                </c:pt>
                <c:pt idx="7814">
                  <c:v>3145</c:v>
                </c:pt>
                <c:pt idx="7815">
                  <c:v>1379</c:v>
                </c:pt>
                <c:pt idx="7816">
                  <c:v>6437</c:v>
                </c:pt>
                <c:pt idx="7817">
                  <c:v>8368</c:v>
                </c:pt>
                <c:pt idx="7818">
                  <c:v>989</c:v>
                </c:pt>
                <c:pt idx="7819">
                  <c:v>586</c:v>
                </c:pt>
                <c:pt idx="7820">
                  <c:v>221</c:v>
                </c:pt>
                <c:pt idx="7821">
                  <c:v>1318</c:v>
                </c:pt>
                <c:pt idx="7822">
                  <c:v>3956</c:v>
                </c:pt>
                <c:pt idx="7823">
                  <c:v>869</c:v>
                </c:pt>
                <c:pt idx="7824">
                  <c:v>4645</c:v>
                </c:pt>
                <c:pt idx="7825">
                  <c:v>2782</c:v>
                </c:pt>
                <c:pt idx="7826">
                  <c:v>141</c:v>
                </c:pt>
                <c:pt idx="7827">
                  <c:v>715</c:v>
                </c:pt>
                <c:pt idx="7828">
                  <c:v>1128</c:v>
                </c:pt>
                <c:pt idx="7829">
                  <c:v>1234</c:v>
                </c:pt>
                <c:pt idx="7830">
                  <c:v>981</c:v>
                </c:pt>
                <c:pt idx="7831">
                  <c:v>441</c:v>
                </c:pt>
                <c:pt idx="7832">
                  <c:v>229</c:v>
                </c:pt>
                <c:pt idx="7833">
                  <c:v>793</c:v>
                </c:pt>
                <c:pt idx="7834">
                  <c:v>2645</c:v>
                </c:pt>
                <c:pt idx="7835">
                  <c:v>545</c:v>
                </c:pt>
                <c:pt idx="7836">
                  <c:v>9209</c:v>
                </c:pt>
                <c:pt idx="7837">
                  <c:v>1361</c:v>
                </c:pt>
                <c:pt idx="7838">
                  <c:v>7661</c:v>
                </c:pt>
                <c:pt idx="7839">
                  <c:v>24113</c:v>
                </c:pt>
                <c:pt idx="7840">
                  <c:v>3318</c:v>
                </c:pt>
                <c:pt idx="7841">
                  <c:v>22995</c:v>
                </c:pt>
                <c:pt idx="7842">
                  <c:v>6638</c:v>
                </c:pt>
                <c:pt idx="7843">
                  <c:v>234</c:v>
                </c:pt>
                <c:pt idx="7844">
                  <c:v>2351</c:v>
                </c:pt>
                <c:pt idx="7845">
                  <c:v>332</c:v>
                </c:pt>
                <c:pt idx="7846">
                  <c:v>7002</c:v>
                </c:pt>
                <c:pt idx="7847">
                  <c:v>11318</c:v>
                </c:pt>
                <c:pt idx="7848">
                  <c:v>17155</c:v>
                </c:pt>
                <c:pt idx="7849">
                  <c:v>9827</c:v>
                </c:pt>
                <c:pt idx="7850">
                  <c:v>659</c:v>
                </c:pt>
                <c:pt idx="7851">
                  <c:v>2951</c:v>
                </c:pt>
                <c:pt idx="7852">
                  <c:v>665</c:v>
                </c:pt>
                <c:pt idx="7853">
                  <c:v>8098</c:v>
                </c:pt>
                <c:pt idx="7854">
                  <c:v>113</c:v>
                </c:pt>
                <c:pt idx="7855">
                  <c:v>2319</c:v>
                </c:pt>
                <c:pt idx="7856">
                  <c:v>432</c:v>
                </c:pt>
                <c:pt idx="7857">
                  <c:v>3935</c:v>
                </c:pt>
                <c:pt idx="7858">
                  <c:v>861</c:v>
                </c:pt>
                <c:pt idx="7859">
                  <c:v>6186</c:v>
                </c:pt>
                <c:pt idx="7860">
                  <c:v>1414</c:v>
                </c:pt>
                <c:pt idx="7861">
                  <c:v>2725</c:v>
                </c:pt>
                <c:pt idx="7862">
                  <c:v>56</c:v>
                </c:pt>
                <c:pt idx="7863">
                  <c:v>12661</c:v>
                </c:pt>
                <c:pt idx="7864">
                  <c:v>1589</c:v>
                </c:pt>
                <c:pt idx="7865">
                  <c:v>25051</c:v>
                </c:pt>
                <c:pt idx="7866">
                  <c:v>13591</c:v>
                </c:pt>
                <c:pt idx="7867">
                  <c:v>3269</c:v>
                </c:pt>
                <c:pt idx="7868">
                  <c:v>2058</c:v>
                </c:pt>
                <c:pt idx="7869">
                  <c:v>723</c:v>
                </c:pt>
                <c:pt idx="7870">
                  <c:v>14849</c:v>
                </c:pt>
                <c:pt idx="7871">
                  <c:v>2593</c:v>
                </c:pt>
                <c:pt idx="7872">
                  <c:v>5627</c:v>
                </c:pt>
                <c:pt idx="7873">
                  <c:v>5195</c:v>
                </c:pt>
                <c:pt idx="7874">
                  <c:v>10173</c:v>
                </c:pt>
                <c:pt idx="7875">
                  <c:v>782</c:v>
                </c:pt>
                <c:pt idx="7876">
                  <c:v>869</c:v>
                </c:pt>
                <c:pt idx="7877">
                  <c:v>1284</c:v>
                </c:pt>
                <c:pt idx="7878">
                  <c:v>240</c:v>
                </c:pt>
                <c:pt idx="7879">
                  <c:v>4876</c:v>
                </c:pt>
                <c:pt idx="7880">
                  <c:v>907</c:v>
                </c:pt>
                <c:pt idx="7881">
                  <c:v>580</c:v>
                </c:pt>
                <c:pt idx="7882">
                  <c:v>555</c:v>
                </c:pt>
                <c:pt idx="7883">
                  <c:v>17297</c:v>
                </c:pt>
                <c:pt idx="7884">
                  <c:v>1481</c:v>
                </c:pt>
                <c:pt idx="7885">
                  <c:v>521</c:v>
                </c:pt>
                <c:pt idx="7886">
                  <c:v>9097</c:v>
                </c:pt>
                <c:pt idx="7887">
                  <c:v>402</c:v>
                </c:pt>
                <c:pt idx="7888">
                  <c:v>2219</c:v>
                </c:pt>
                <c:pt idx="7889">
                  <c:v>1137</c:v>
                </c:pt>
                <c:pt idx="7890">
                  <c:v>1597</c:v>
                </c:pt>
                <c:pt idx="7891">
                  <c:v>667</c:v>
                </c:pt>
                <c:pt idx="7892">
                  <c:v>5485</c:v>
                </c:pt>
                <c:pt idx="7893">
                  <c:v>2201</c:v>
                </c:pt>
                <c:pt idx="7894">
                  <c:v>2459</c:v>
                </c:pt>
                <c:pt idx="7895">
                  <c:v>1664</c:v>
                </c:pt>
                <c:pt idx="7896">
                  <c:v>591</c:v>
                </c:pt>
                <c:pt idx="7897">
                  <c:v>19350</c:v>
                </c:pt>
                <c:pt idx="7898">
                  <c:v>208</c:v>
                </c:pt>
                <c:pt idx="7899">
                  <c:v>518</c:v>
                </c:pt>
                <c:pt idx="7900">
                  <c:v>5265</c:v>
                </c:pt>
                <c:pt idx="7901">
                  <c:v>2389</c:v>
                </c:pt>
                <c:pt idx="7902">
                  <c:v>1473</c:v>
                </c:pt>
                <c:pt idx="7903">
                  <c:v>23504</c:v>
                </c:pt>
                <c:pt idx="7904">
                  <c:v>3463</c:v>
                </c:pt>
                <c:pt idx="7905">
                  <c:v>12161</c:v>
                </c:pt>
                <c:pt idx="7906">
                  <c:v>8792</c:v>
                </c:pt>
                <c:pt idx="7907">
                  <c:v>1206</c:v>
                </c:pt>
                <c:pt idx="7908">
                  <c:v>1214</c:v>
                </c:pt>
                <c:pt idx="7909">
                  <c:v>67</c:v>
                </c:pt>
                <c:pt idx="7910">
                  <c:v>1239</c:v>
                </c:pt>
                <c:pt idx="7911">
                  <c:v>1318</c:v>
                </c:pt>
                <c:pt idx="7912">
                  <c:v>116</c:v>
                </c:pt>
                <c:pt idx="7913">
                  <c:v>2935</c:v>
                </c:pt>
                <c:pt idx="7914">
                  <c:v>2487</c:v>
                </c:pt>
                <c:pt idx="7915">
                  <c:v>1332</c:v>
                </c:pt>
                <c:pt idx="7916">
                  <c:v>16480</c:v>
                </c:pt>
                <c:pt idx="7917">
                  <c:v>3022</c:v>
                </c:pt>
                <c:pt idx="7918">
                  <c:v>1153</c:v>
                </c:pt>
                <c:pt idx="7919">
                  <c:v>11147</c:v>
                </c:pt>
                <c:pt idx="7920">
                  <c:v>620</c:v>
                </c:pt>
                <c:pt idx="7921">
                  <c:v>459</c:v>
                </c:pt>
                <c:pt idx="7922">
                  <c:v>735</c:v>
                </c:pt>
                <c:pt idx="7923">
                  <c:v>632</c:v>
                </c:pt>
                <c:pt idx="7924">
                  <c:v>1260</c:v>
                </c:pt>
                <c:pt idx="7925">
                  <c:v>4334</c:v>
                </c:pt>
                <c:pt idx="7926">
                  <c:v>2295</c:v>
                </c:pt>
                <c:pt idx="7927">
                  <c:v>667</c:v>
                </c:pt>
                <c:pt idx="7928">
                  <c:v>3143</c:v>
                </c:pt>
                <c:pt idx="7929">
                  <c:v>5507</c:v>
                </c:pt>
                <c:pt idx="7930">
                  <c:v>1418</c:v>
                </c:pt>
                <c:pt idx="7931">
                  <c:v>2597</c:v>
                </c:pt>
                <c:pt idx="7932">
                  <c:v>248</c:v>
                </c:pt>
                <c:pt idx="7933">
                  <c:v>10835</c:v>
                </c:pt>
                <c:pt idx="7934">
                  <c:v>2880</c:v>
                </c:pt>
                <c:pt idx="7935">
                  <c:v>191</c:v>
                </c:pt>
                <c:pt idx="7936">
                  <c:v>898</c:v>
                </c:pt>
                <c:pt idx="7937">
                  <c:v>4888</c:v>
                </c:pt>
                <c:pt idx="7938">
                  <c:v>8152</c:v>
                </c:pt>
                <c:pt idx="7939">
                  <c:v>3681</c:v>
                </c:pt>
                <c:pt idx="7940">
                  <c:v>6798</c:v>
                </c:pt>
                <c:pt idx="7941">
                  <c:v>13583</c:v>
                </c:pt>
                <c:pt idx="7942">
                  <c:v>7614</c:v>
                </c:pt>
                <c:pt idx="7943">
                  <c:v>653</c:v>
                </c:pt>
                <c:pt idx="7944">
                  <c:v>224</c:v>
                </c:pt>
                <c:pt idx="7945">
                  <c:v>2200</c:v>
                </c:pt>
                <c:pt idx="7946">
                  <c:v>4832</c:v>
                </c:pt>
                <c:pt idx="7947">
                  <c:v>2975</c:v>
                </c:pt>
                <c:pt idx="7948">
                  <c:v>4578</c:v>
                </c:pt>
                <c:pt idx="7949">
                  <c:v>2004</c:v>
                </c:pt>
                <c:pt idx="7950">
                  <c:v>1685</c:v>
                </c:pt>
                <c:pt idx="7951">
                  <c:v>4075</c:v>
                </c:pt>
                <c:pt idx="7952">
                  <c:v>3773</c:v>
                </c:pt>
                <c:pt idx="7953">
                  <c:v>8387</c:v>
                </c:pt>
                <c:pt idx="7954">
                  <c:v>11621</c:v>
                </c:pt>
                <c:pt idx="7955">
                  <c:v>430</c:v>
                </c:pt>
                <c:pt idx="7956">
                  <c:v>9043</c:v>
                </c:pt>
                <c:pt idx="7957">
                  <c:v>536</c:v>
                </c:pt>
                <c:pt idx="7958">
                  <c:v>1510</c:v>
                </c:pt>
                <c:pt idx="7959">
                  <c:v>1443</c:v>
                </c:pt>
                <c:pt idx="7960">
                  <c:v>1022</c:v>
                </c:pt>
                <c:pt idx="7961">
                  <c:v>169</c:v>
                </c:pt>
                <c:pt idx="7962">
                  <c:v>825</c:v>
                </c:pt>
                <c:pt idx="7963">
                  <c:v>847</c:v>
                </c:pt>
                <c:pt idx="7964">
                  <c:v>5484</c:v>
                </c:pt>
                <c:pt idx="7965">
                  <c:v>1313</c:v>
                </c:pt>
                <c:pt idx="7966">
                  <c:v>12868</c:v>
                </c:pt>
                <c:pt idx="7967">
                  <c:v>4172</c:v>
                </c:pt>
                <c:pt idx="7968">
                  <c:v>4033</c:v>
                </c:pt>
                <c:pt idx="7969">
                  <c:v>1464</c:v>
                </c:pt>
                <c:pt idx="7970">
                  <c:v>3501</c:v>
                </c:pt>
                <c:pt idx="7971">
                  <c:v>3016</c:v>
                </c:pt>
                <c:pt idx="7972">
                  <c:v>2717</c:v>
                </c:pt>
                <c:pt idx="7973">
                  <c:v>1266</c:v>
                </c:pt>
                <c:pt idx="7974">
                  <c:v>475</c:v>
                </c:pt>
                <c:pt idx="7975">
                  <c:v>2793</c:v>
                </c:pt>
                <c:pt idx="7976">
                  <c:v>2822</c:v>
                </c:pt>
                <c:pt idx="7977">
                  <c:v>615</c:v>
                </c:pt>
                <c:pt idx="7978">
                  <c:v>1252</c:v>
                </c:pt>
                <c:pt idx="7979">
                  <c:v>606</c:v>
                </c:pt>
                <c:pt idx="7980">
                  <c:v>182</c:v>
                </c:pt>
                <c:pt idx="7981">
                  <c:v>3574</c:v>
                </c:pt>
                <c:pt idx="7982">
                  <c:v>5037</c:v>
                </c:pt>
                <c:pt idx="7983">
                  <c:v>8070</c:v>
                </c:pt>
                <c:pt idx="7984">
                  <c:v>371</c:v>
                </c:pt>
                <c:pt idx="7985">
                  <c:v>2610</c:v>
                </c:pt>
                <c:pt idx="7986">
                  <c:v>610</c:v>
                </c:pt>
                <c:pt idx="7987">
                  <c:v>3730</c:v>
                </c:pt>
                <c:pt idx="7988">
                  <c:v>9143</c:v>
                </c:pt>
                <c:pt idx="7989">
                  <c:v>10453</c:v>
                </c:pt>
                <c:pt idx="7990">
                  <c:v>53</c:v>
                </c:pt>
                <c:pt idx="7991">
                  <c:v>2466</c:v>
                </c:pt>
                <c:pt idx="7992">
                  <c:v>1570</c:v>
                </c:pt>
                <c:pt idx="7993">
                  <c:v>7494</c:v>
                </c:pt>
                <c:pt idx="7994">
                  <c:v>16450</c:v>
                </c:pt>
                <c:pt idx="7995">
                  <c:v>7596</c:v>
                </c:pt>
                <c:pt idx="7996">
                  <c:v>16332</c:v>
                </c:pt>
                <c:pt idx="7997">
                  <c:v>11374</c:v>
                </c:pt>
                <c:pt idx="7998">
                  <c:v>10203</c:v>
                </c:pt>
                <c:pt idx="7999">
                  <c:v>24043</c:v>
                </c:pt>
                <c:pt idx="8000">
                  <c:v>2054</c:v>
                </c:pt>
                <c:pt idx="8001">
                  <c:v>3902</c:v>
                </c:pt>
                <c:pt idx="8002">
                  <c:v>1274</c:v>
                </c:pt>
                <c:pt idx="8003">
                  <c:v>7321</c:v>
                </c:pt>
                <c:pt idx="8004">
                  <c:v>258</c:v>
                </c:pt>
                <c:pt idx="8005">
                  <c:v>687</c:v>
                </c:pt>
                <c:pt idx="8006">
                  <c:v>1843</c:v>
                </c:pt>
                <c:pt idx="8007">
                  <c:v>3707</c:v>
                </c:pt>
                <c:pt idx="8008">
                  <c:v>934</c:v>
                </c:pt>
                <c:pt idx="8009">
                  <c:v>3936</c:v>
                </c:pt>
                <c:pt idx="8010">
                  <c:v>745</c:v>
                </c:pt>
                <c:pt idx="8011">
                  <c:v>705</c:v>
                </c:pt>
                <c:pt idx="8012">
                  <c:v>13193</c:v>
                </c:pt>
                <c:pt idx="8013">
                  <c:v>1517</c:v>
                </c:pt>
                <c:pt idx="8014">
                  <c:v>8690</c:v>
                </c:pt>
                <c:pt idx="8015">
                  <c:v>1161</c:v>
                </c:pt>
                <c:pt idx="8016">
                  <c:v>1019</c:v>
                </c:pt>
                <c:pt idx="8017">
                  <c:v>2191</c:v>
                </c:pt>
                <c:pt idx="8018">
                  <c:v>6249</c:v>
                </c:pt>
                <c:pt idx="8019">
                  <c:v>11484</c:v>
                </c:pt>
                <c:pt idx="8020">
                  <c:v>319</c:v>
                </c:pt>
                <c:pt idx="8021">
                  <c:v>983</c:v>
                </c:pt>
                <c:pt idx="8022">
                  <c:v>2095</c:v>
                </c:pt>
                <c:pt idx="8023">
                  <c:v>4539</c:v>
                </c:pt>
                <c:pt idx="8024">
                  <c:v>1678</c:v>
                </c:pt>
                <c:pt idx="8025">
                  <c:v>2358</c:v>
                </c:pt>
                <c:pt idx="8026">
                  <c:v>12919</c:v>
                </c:pt>
                <c:pt idx="8027">
                  <c:v>915</c:v>
                </c:pt>
                <c:pt idx="8028">
                  <c:v>1725</c:v>
                </c:pt>
                <c:pt idx="8029">
                  <c:v>119</c:v>
                </c:pt>
                <c:pt idx="8030">
                  <c:v>8917</c:v>
                </c:pt>
                <c:pt idx="8031">
                  <c:v>4266</c:v>
                </c:pt>
                <c:pt idx="8032">
                  <c:v>1450</c:v>
                </c:pt>
                <c:pt idx="8033">
                  <c:v>810</c:v>
                </c:pt>
                <c:pt idx="8034">
                  <c:v>2398</c:v>
                </c:pt>
                <c:pt idx="8035">
                  <c:v>1850</c:v>
                </c:pt>
                <c:pt idx="8036">
                  <c:v>5926</c:v>
                </c:pt>
                <c:pt idx="8037">
                  <c:v>20606</c:v>
                </c:pt>
                <c:pt idx="8038">
                  <c:v>269</c:v>
                </c:pt>
                <c:pt idx="8039">
                  <c:v>4188</c:v>
                </c:pt>
                <c:pt idx="8040">
                  <c:v>1725</c:v>
                </c:pt>
                <c:pt idx="8041">
                  <c:v>6661</c:v>
                </c:pt>
                <c:pt idx="8042">
                  <c:v>32389</c:v>
                </c:pt>
                <c:pt idx="8043">
                  <c:v>23087</c:v>
                </c:pt>
                <c:pt idx="8044">
                  <c:v>86</c:v>
                </c:pt>
                <c:pt idx="8045">
                  <c:v>1280</c:v>
                </c:pt>
                <c:pt idx="8046">
                  <c:v>7015</c:v>
                </c:pt>
                <c:pt idx="8047">
                  <c:v>1016</c:v>
                </c:pt>
                <c:pt idx="8048">
                  <c:v>420</c:v>
                </c:pt>
                <c:pt idx="8049">
                  <c:v>160</c:v>
                </c:pt>
                <c:pt idx="8050">
                  <c:v>1092</c:v>
                </c:pt>
                <c:pt idx="8051">
                  <c:v>6028</c:v>
                </c:pt>
                <c:pt idx="8052">
                  <c:v>519</c:v>
                </c:pt>
                <c:pt idx="8053">
                  <c:v>357</c:v>
                </c:pt>
                <c:pt idx="8054">
                  <c:v>1074</c:v>
                </c:pt>
                <c:pt idx="8055">
                  <c:v>9088</c:v>
                </c:pt>
                <c:pt idx="8056">
                  <c:v>865</c:v>
                </c:pt>
                <c:pt idx="8057">
                  <c:v>1330</c:v>
                </c:pt>
                <c:pt idx="8058">
                  <c:v>403</c:v>
                </c:pt>
                <c:pt idx="8059">
                  <c:v>574</c:v>
                </c:pt>
                <c:pt idx="8060">
                  <c:v>9519</c:v>
                </c:pt>
                <c:pt idx="8061">
                  <c:v>6375</c:v>
                </c:pt>
                <c:pt idx="8062">
                  <c:v>3713</c:v>
                </c:pt>
                <c:pt idx="8063">
                  <c:v>1192</c:v>
                </c:pt>
                <c:pt idx="8064">
                  <c:v>1330</c:v>
                </c:pt>
                <c:pt idx="8065">
                  <c:v>3824</c:v>
                </c:pt>
                <c:pt idx="8066">
                  <c:v>1477</c:v>
                </c:pt>
                <c:pt idx="8067">
                  <c:v>2025</c:v>
                </c:pt>
                <c:pt idx="8068">
                  <c:v>2996</c:v>
                </c:pt>
                <c:pt idx="8069">
                  <c:v>287</c:v>
                </c:pt>
                <c:pt idx="8070">
                  <c:v>3867</c:v>
                </c:pt>
                <c:pt idx="8071">
                  <c:v>718</c:v>
                </c:pt>
                <c:pt idx="8072">
                  <c:v>4160</c:v>
                </c:pt>
                <c:pt idx="8073">
                  <c:v>1906</c:v>
                </c:pt>
                <c:pt idx="8074">
                  <c:v>258</c:v>
                </c:pt>
                <c:pt idx="8075">
                  <c:v>531</c:v>
                </c:pt>
                <c:pt idx="8076">
                  <c:v>1716</c:v>
                </c:pt>
                <c:pt idx="8077">
                  <c:v>15807</c:v>
                </c:pt>
                <c:pt idx="8078">
                  <c:v>6800</c:v>
                </c:pt>
                <c:pt idx="8079">
                  <c:v>13302</c:v>
                </c:pt>
                <c:pt idx="8080">
                  <c:v>2964</c:v>
                </c:pt>
                <c:pt idx="8081">
                  <c:v>4557</c:v>
                </c:pt>
                <c:pt idx="8082">
                  <c:v>949</c:v>
                </c:pt>
                <c:pt idx="8083">
                  <c:v>555</c:v>
                </c:pt>
                <c:pt idx="8084">
                  <c:v>1946</c:v>
                </c:pt>
                <c:pt idx="8085">
                  <c:v>330</c:v>
                </c:pt>
                <c:pt idx="8086">
                  <c:v>1467</c:v>
                </c:pt>
                <c:pt idx="8087">
                  <c:v>11283</c:v>
                </c:pt>
                <c:pt idx="8088">
                  <c:v>11437</c:v>
                </c:pt>
                <c:pt idx="8089">
                  <c:v>3969</c:v>
                </c:pt>
                <c:pt idx="8090">
                  <c:v>181</c:v>
                </c:pt>
                <c:pt idx="8091">
                  <c:v>1419</c:v>
                </c:pt>
                <c:pt idx="8092">
                  <c:v>4765</c:v>
                </c:pt>
                <c:pt idx="8093">
                  <c:v>11109</c:v>
                </c:pt>
                <c:pt idx="8094">
                  <c:v>17444</c:v>
                </c:pt>
                <c:pt idx="8095">
                  <c:v>7651</c:v>
                </c:pt>
                <c:pt idx="8096">
                  <c:v>12392</c:v>
                </c:pt>
                <c:pt idx="8097">
                  <c:v>9257</c:v>
                </c:pt>
                <c:pt idx="8098">
                  <c:v>17574</c:v>
                </c:pt>
                <c:pt idx="8099">
                  <c:v>19465</c:v>
                </c:pt>
                <c:pt idx="8100">
                  <c:v>13977</c:v>
                </c:pt>
                <c:pt idx="8101">
                  <c:v>25543</c:v>
                </c:pt>
                <c:pt idx="8102">
                  <c:v>23966</c:v>
                </c:pt>
                <c:pt idx="8103">
                  <c:v>16706</c:v>
                </c:pt>
                <c:pt idx="8104">
                  <c:v>8125</c:v>
                </c:pt>
                <c:pt idx="8105">
                  <c:v>11788</c:v>
                </c:pt>
                <c:pt idx="8106">
                  <c:v>6387</c:v>
                </c:pt>
                <c:pt idx="8107">
                  <c:v>8404</c:v>
                </c:pt>
                <c:pt idx="8108">
                  <c:v>14704</c:v>
                </c:pt>
                <c:pt idx="8109">
                  <c:v>1059</c:v>
                </c:pt>
                <c:pt idx="8110">
                  <c:v>3987</c:v>
                </c:pt>
                <c:pt idx="8111">
                  <c:v>6609</c:v>
                </c:pt>
                <c:pt idx="8112">
                  <c:v>5641</c:v>
                </c:pt>
                <c:pt idx="8113">
                  <c:v>119</c:v>
                </c:pt>
                <c:pt idx="8114">
                  <c:v>4374</c:v>
                </c:pt>
                <c:pt idx="8115">
                  <c:v>1200</c:v>
                </c:pt>
                <c:pt idx="8116">
                  <c:v>8182</c:v>
                </c:pt>
                <c:pt idx="8117">
                  <c:v>1973</c:v>
                </c:pt>
                <c:pt idx="8118">
                  <c:v>8233</c:v>
                </c:pt>
                <c:pt idx="8119">
                  <c:v>8396</c:v>
                </c:pt>
                <c:pt idx="8120">
                  <c:v>167</c:v>
                </c:pt>
                <c:pt idx="8121">
                  <c:v>15756</c:v>
                </c:pt>
                <c:pt idx="8122">
                  <c:v>565</c:v>
                </c:pt>
                <c:pt idx="8123">
                  <c:v>1794</c:v>
                </c:pt>
                <c:pt idx="8124">
                  <c:v>473</c:v>
                </c:pt>
                <c:pt idx="8125">
                  <c:v>3365</c:v>
                </c:pt>
                <c:pt idx="8126">
                  <c:v>8908</c:v>
                </c:pt>
                <c:pt idx="8127">
                  <c:v>169</c:v>
                </c:pt>
                <c:pt idx="8128">
                  <c:v>6244</c:v>
                </c:pt>
                <c:pt idx="8129">
                  <c:v>7426</c:v>
                </c:pt>
                <c:pt idx="8130">
                  <c:v>310</c:v>
                </c:pt>
                <c:pt idx="8131">
                  <c:v>1841</c:v>
                </c:pt>
                <c:pt idx="8132">
                  <c:v>1496</c:v>
                </c:pt>
                <c:pt idx="8133">
                  <c:v>4759</c:v>
                </c:pt>
                <c:pt idx="8134">
                  <c:v>6424</c:v>
                </c:pt>
                <c:pt idx="8135">
                  <c:v>1606</c:v>
                </c:pt>
                <c:pt idx="8136">
                  <c:v>3246</c:v>
                </c:pt>
                <c:pt idx="8137">
                  <c:v>7996</c:v>
                </c:pt>
                <c:pt idx="8138">
                  <c:v>4399</c:v>
                </c:pt>
                <c:pt idx="8139">
                  <c:v>11525</c:v>
                </c:pt>
                <c:pt idx="8140">
                  <c:v>13669</c:v>
                </c:pt>
                <c:pt idx="8141">
                  <c:v>15126</c:v>
                </c:pt>
                <c:pt idx="8142">
                  <c:v>19853</c:v>
                </c:pt>
                <c:pt idx="8143">
                  <c:v>10295</c:v>
                </c:pt>
                <c:pt idx="8144">
                  <c:v>23187</c:v>
                </c:pt>
                <c:pt idx="8145">
                  <c:v>24609</c:v>
                </c:pt>
                <c:pt idx="8146">
                  <c:v>11807</c:v>
                </c:pt>
                <c:pt idx="8147">
                  <c:v>11484</c:v>
                </c:pt>
                <c:pt idx="8148">
                  <c:v>565</c:v>
                </c:pt>
                <c:pt idx="8149">
                  <c:v>2101</c:v>
                </c:pt>
                <c:pt idx="8150">
                  <c:v>1997</c:v>
                </c:pt>
                <c:pt idx="8151">
                  <c:v>993</c:v>
                </c:pt>
                <c:pt idx="8152">
                  <c:v>2097</c:v>
                </c:pt>
                <c:pt idx="8153">
                  <c:v>1822</c:v>
                </c:pt>
                <c:pt idx="8154">
                  <c:v>1215</c:v>
                </c:pt>
                <c:pt idx="8155">
                  <c:v>943</c:v>
                </c:pt>
                <c:pt idx="8156">
                  <c:v>488</c:v>
                </c:pt>
                <c:pt idx="8157">
                  <c:v>10744</c:v>
                </c:pt>
                <c:pt idx="8158">
                  <c:v>31026</c:v>
                </c:pt>
                <c:pt idx="8159">
                  <c:v>494</c:v>
                </c:pt>
                <c:pt idx="8160">
                  <c:v>1291</c:v>
                </c:pt>
                <c:pt idx="8161">
                  <c:v>3398</c:v>
                </c:pt>
                <c:pt idx="8162">
                  <c:v>1143</c:v>
                </c:pt>
                <c:pt idx="8163">
                  <c:v>1831</c:v>
                </c:pt>
                <c:pt idx="8164">
                  <c:v>62</c:v>
                </c:pt>
                <c:pt idx="8165">
                  <c:v>498</c:v>
                </c:pt>
                <c:pt idx="8166">
                  <c:v>13268</c:v>
                </c:pt>
                <c:pt idx="8167">
                  <c:v>15948</c:v>
                </c:pt>
                <c:pt idx="8168">
                  <c:v>942</c:v>
                </c:pt>
                <c:pt idx="8169">
                  <c:v>19534</c:v>
                </c:pt>
                <c:pt idx="8170">
                  <c:v>27963</c:v>
                </c:pt>
                <c:pt idx="8171">
                  <c:v>18393</c:v>
                </c:pt>
                <c:pt idx="8172">
                  <c:v>696</c:v>
                </c:pt>
                <c:pt idx="8173">
                  <c:v>340</c:v>
                </c:pt>
                <c:pt idx="8174">
                  <c:v>2657</c:v>
                </c:pt>
                <c:pt idx="8175">
                  <c:v>566</c:v>
                </c:pt>
                <c:pt idx="8176">
                  <c:v>3882</c:v>
                </c:pt>
                <c:pt idx="8177">
                  <c:v>603</c:v>
                </c:pt>
                <c:pt idx="8178">
                  <c:v>679</c:v>
                </c:pt>
                <c:pt idx="8179">
                  <c:v>2838</c:v>
                </c:pt>
                <c:pt idx="8180">
                  <c:v>2571</c:v>
                </c:pt>
                <c:pt idx="8181">
                  <c:v>495</c:v>
                </c:pt>
                <c:pt idx="8182">
                  <c:v>25761</c:v>
                </c:pt>
                <c:pt idx="8183">
                  <c:v>28213</c:v>
                </c:pt>
                <c:pt idx="8184">
                  <c:v>19394</c:v>
                </c:pt>
                <c:pt idx="8185">
                  <c:v>1201</c:v>
                </c:pt>
                <c:pt idx="8186">
                  <c:v>8964</c:v>
                </c:pt>
                <c:pt idx="8187">
                  <c:v>10857</c:v>
                </c:pt>
                <c:pt idx="8188">
                  <c:v>68</c:v>
                </c:pt>
                <c:pt idx="8189">
                  <c:v>20922</c:v>
                </c:pt>
                <c:pt idx="8190">
                  <c:v>11621</c:v>
                </c:pt>
                <c:pt idx="8191">
                  <c:v>8332</c:v>
                </c:pt>
                <c:pt idx="8192">
                  <c:v>3886</c:v>
                </c:pt>
                <c:pt idx="8193">
                  <c:v>2757</c:v>
                </c:pt>
                <c:pt idx="8194">
                  <c:v>5799</c:v>
                </c:pt>
                <c:pt idx="8195">
                  <c:v>317</c:v>
                </c:pt>
                <c:pt idx="8196">
                  <c:v>5166</c:v>
                </c:pt>
                <c:pt idx="8197">
                  <c:v>639</c:v>
                </c:pt>
                <c:pt idx="8198">
                  <c:v>19275</c:v>
                </c:pt>
                <c:pt idx="8199">
                  <c:v>10932</c:v>
                </c:pt>
                <c:pt idx="8200">
                  <c:v>8054</c:v>
                </c:pt>
                <c:pt idx="8201">
                  <c:v>6162</c:v>
                </c:pt>
                <c:pt idx="8202">
                  <c:v>1596</c:v>
                </c:pt>
                <c:pt idx="8203">
                  <c:v>3766</c:v>
                </c:pt>
                <c:pt idx="8204">
                  <c:v>126</c:v>
                </c:pt>
                <c:pt idx="8205">
                  <c:v>2587</c:v>
                </c:pt>
                <c:pt idx="8206">
                  <c:v>570</c:v>
                </c:pt>
                <c:pt idx="8207">
                  <c:v>1086</c:v>
                </c:pt>
                <c:pt idx="8208">
                  <c:v>1061</c:v>
                </c:pt>
                <c:pt idx="8209">
                  <c:v>11861</c:v>
                </c:pt>
                <c:pt idx="8210">
                  <c:v>3170</c:v>
                </c:pt>
                <c:pt idx="8211">
                  <c:v>2145</c:v>
                </c:pt>
                <c:pt idx="8212">
                  <c:v>4509</c:v>
                </c:pt>
                <c:pt idx="8213">
                  <c:v>5641</c:v>
                </c:pt>
                <c:pt idx="8214">
                  <c:v>658</c:v>
                </c:pt>
                <c:pt idx="8215">
                  <c:v>410</c:v>
                </c:pt>
                <c:pt idx="8216">
                  <c:v>2799</c:v>
                </c:pt>
                <c:pt idx="8217">
                  <c:v>7797</c:v>
                </c:pt>
                <c:pt idx="8218">
                  <c:v>173</c:v>
                </c:pt>
                <c:pt idx="8219">
                  <c:v>6576</c:v>
                </c:pt>
                <c:pt idx="8220">
                  <c:v>6479</c:v>
                </c:pt>
                <c:pt idx="8221">
                  <c:v>1059</c:v>
                </c:pt>
                <c:pt idx="8222">
                  <c:v>4951</c:v>
                </c:pt>
                <c:pt idx="8223">
                  <c:v>4444</c:v>
                </c:pt>
                <c:pt idx="8224">
                  <c:v>3407</c:v>
                </c:pt>
                <c:pt idx="8225">
                  <c:v>7568</c:v>
                </c:pt>
                <c:pt idx="8226">
                  <c:v>12643</c:v>
                </c:pt>
                <c:pt idx="8227">
                  <c:v>15937</c:v>
                </c:pt>
                <c:pt idx="8228">
                  <c:v>21545</c:v>
                </c:pt>
                <c:pt idx="8229">
                  <c:v>608</c:v>
                </c:pt>
                <c:pt idx="8230">
                  <c:v>1653</c:v>
                </c:pt>
                <c:pt idx="8231">
                  <c:v>7887</c:v>
                </c:pt>
                <c:pt idx="8232">
                  <c:v>2164</c:v>
                </c:pt>
                <c:pt idx="8233">
                  <c:v>1077</c:v>
                </c:pt>
                <c:pt idx="8234">
                  <c:v>6354</c:v>
                </c:pt>
                <c:pt idx="8235">
                  <c:v>22657</c:v>
                </c:pt>
                <c:pt idx="8236">
                  <c:v>1120</c:v>
                </c:pt>
                <c:pt idx="8237">
                  <c:v>2021</c:v>
                </c:pt>
                <c:pt idx="8238">
                  <c:v>214</c:v>
                </c:pt>
                <c:pt idx="8239">
                  <c:v>736</c:v>
                </c:pt>
                <c:pt idx="8240">
                  <c:v>44</c:v>
                </c:pt>
                <c:pt idx="8241">
                  <c:v>633</c:v>
                </c:pt>
                <c:pt idx="8242">
                  <c:v>6757</c:v>
                </c:pt>
                <c:pt idx="8243">
                  <c:v>17874</c:v>
                </c:pt>
                <c:pt idx="8244">
                  <c:v>23081</c:v>
                </c:pt>
                <c:pt idx="8245">
                  <c:v>13919</c:v>
                </c:pt>
                <c:pt idx="8246">
                  <c:v>14349</c:v>
                </c:pt>
                <c:pt idx="8247">
                  <c:v>20515</c:v>
                </c:pt>
                <c:pt idx="8248">
                  <c:v>12552</c:v>
                </c:pt>
                <c:pt idx="8249">
                  <c:v>4928</c:v>
                </c:pt>
                <c:pt idx="8250">
                  <c:v>20339</c:v>
                </c:pt>
                <c:pt idx="8251">
                  <c:v>5297</c:v>
                </c:pt>
                <c:pt idx="8252">
                  <c:v>12844</c:v>
                </c:pt>
                <c:pt idx="8253">
                  <c:v>5605</c:v>
                </c:pt>
                <c:pt idx="8254">
                  <c:v>7191</c:v>
                </c:pt>
                <c:pt idx="8255">
                  <c:v>870</c:v>
                </c:pt>
                <c:pt idx="8256">
                  <c:v>7408</c:v>
                </c:pt>
                <c:pt idx="8257">
                  <c:v>7441</c:v>
                </c:pt>
                <c:pt idx="8258">
                  <c:v>425</c:v>
                </c:pt>
                <c:pt idx="8259">
                  <c:v>1499</c:v>
                </c:pt>
                <c:pt idx="8260">
                  <c:v>586</c:v>
                </c:pt>
                <c:pt idx="8261">
                  <c:v>14938</c:v>
                </c:pt>
                <c:pt idx="8262">
                  <c:v>16259</c:v>
                </c:pt>
                <c:pt idx="8263">
                  <c:v>1045</c:v>
                </c:pt>
                <c:pt idx="8264">
                  <c:v>9601</c:v>
                </c:pt>
                <c:pt idx="8265">
                  <c:v>4621</c:v>
                </c:pt>
                <c:pt idx="8266">
                  <c:v>11105</c:v>
                </c:pt>
                <c:pt idx="8267">
                  <c:v>12227</c:v>
                </c:pt>
                <c:pt idx="8268">
                  <c:v>18747</c:v>
                </c:pt>
                <c:pt idx="8269">
                  <c:v>24116</c:v>
                </c:pt>
                <c:pt idx="8270">
                  <c:v>1537</c:v>
                </c:pt>
                <c:pt idx="8271">
                  <c:v>3798</c:v>
                </c:pt>
                <c:pt idx="8272">
                  <c:v>2834</c:v>
                </c:pt>
                <c:pt idx="8273">
                  <c:v>7251</c:v>
                </c:pt>
                <c:pt idx="8274">
                  <c:v>2076</c:v>
                </c:pt>
                <c:pt idx="8275">
                  <c:v>7765</c:v>
                </c:pt>
                <c:pt idx="8276">
                  <c:v>814</c:v>
                </c:pt>
                <c:pt idx="8277">
                  <c:v>2476</c:v>
                </c:pt>
                <c:pt idx="8278">
                  <c:v>74</c:v>
                </c:pt>
                <c:pt idx="8279">
                  <c:v>4648</c:v>
                </c:pt>
                <c:pt idx="8280">
                  <c:v>4871</c:v>
                </c:pt>
                <c:pt idx="8281">
                  <c:v>9009</c:v>
                </c:pt>
                <c:pt idx="8282">
                  <c:v>4894</c:v>
                </c:pt>
                <c:pt idx="8283">
                  <c:v>14193</c:v>
                </c:pt>
                <c:pt idx="8284">
                  <c:v>2018</c:v>
                </c:pt>
                <c:pt idx="8285">
                  <c:v>10248</c:v>
                </c:pt>
                <c:pt idx="8286">
                  <c:v>17803</c:v>
                </c:pt>
                <c:pt idx="8287">
                  <c:v>31650</c:v>
                </c:pt>
                <c:pt idx="8288">
                  <c:v>1745</c:v>
                </c:pt>
                <c:pt idx="8289">
                  <c:v>2334</c:v>
                </c:pt>
                <c:pt idx="8290">
                  <c:v>827</c:v>
                </c:pt>
                <c:pt idx="8291">
                  <c:v>382</c:v>
                </c:pt>
                <c:pt idx="8292">
                  <c:v>21043</c:v>
                </c:pt>
                <c:pt idx="8293">
                  <c:v>1560</c:v>
                </c:pt>
                <c:pt idx="8294">
                  <c:v>11119</c:v>
                </c:pt>
                <c:pt idx="8295">
                  <c:v>4745</c:v>
                </c:pt>
                <c:pt idx="8296">
                  <c:v>1908</c:v>
                </c:pt>
                <c:pt idx="8297">
                  <c:v>5332</c:v>
                </c:pt>
                <c:pt idx="8298">
                  <c:v>2263</c:v>
                </c:pt>
                <c:pt idx="8299">
                  <c:v>6963</c:v>
                </c:pt>
                <c:pt idx="8300">
                  <c:v>3915</c:v>
                </c:pt>
                <c:pt idx="8301">
                  <c:v>1524</c:v>
                </c:pt>
                <c:pt idx="8302">
                  <c:v>7876</c:v>
                </c:pt>
                <c:pt idx="8303">
                  <c:v>13609</c:v>
                </c:pt>
                <c:pt idx="8304">
                  <c:v>21055</c:v>
                </c:pt>
                <c:pt idx="8305">
                  <c:v>2373</c:v>
                </c:pt>
                <c:pt idx="8306">
                  <c:v>17371</c:v>
                </c:pt>
                <c:pt idx="8307">
                  <c:v>966</c:v>
                </c:pt>
                <c:pt idx="8308">
                  <c:v>1250</c:v>
                </c:pt>
                <c:pt idx="8309">
                  <c:v>18731</c:v>
                </c:pt>
                <c:pt idx="8310">
                  <c:v>635</c:v>
                </c:pt>
                <c:pt idx="8311">
                  <c:v>1583</c:v>
                </c:pt>
                <c:pt idx="8312">
                  <c:v>22471</c:v>
                </c:pt>
                <c:pt idx="8313">
                  <c:v>784</c:v>
                </c:pt>
                <c:pt idx="8314">
                  <c:v>939</c:v>
                </c:pt>
                <c:pt idx="8315">
                  <c:v>3864</c:v>
                </c:pt>
                <c:pt idx="8316">
                  <c:v>903</c:v>
                </c:pt>
                <c:pt idx="8317">
                  <c:v>27551</c:v>
                </c:pt>
                <c:pt idx="8318">
                  <c:v>29406</c:v>
                </c:pt>
                <c:pt idx="8319">
                  <c:v>942</c:v>
                </c:pt>
                <c:pt idx="8320">
                  <c:v>925</c:v>
                </c:pt>
                <c:pt idx="8321">
                  <c:v>1105</c:v>
                </c:pt>
                <c:pt idx="8322">
                  <c:v>15433</c:v>
                </c:pt>
                <c:pt idx="8323">
                  <c:v>12248</c:v>
                </c:pt>
                <c:pt idx="8324">
                  <c:v>16647</c:v>
                </c:pt>
                <c:pt idx="8325">
                  <c:v>2235</c:v>
                </c:pt>
                <c:pt idx="8326">
                  <c:v>1186</c:v>
                </c:pt>
                <c:pt idx="8327">
                  <c:v>280</c:v>
                </c:pt>
                <c:pt idx="8328">
                  <c:v>1233</c:v>
                </c:pt>
                <c:pt idx="8329">
                  <c:v>4112</c:v>
                </c:pt>
                <c:pt idx="8330">
                  <c:v>301</c:v>
                </c:pt>
                <c:pt idx="8331">
                  <c:v>1706</c:v>
                </c:pt>
                <c:pt idx="8332">
                  <c:v>887</c:v>
                </c:pt>
                <c:pt idx="8333">
                  <c:v>442</c:v>
                </c:pt>
                <c:pt idx="8334">
                  <c:v>3066</c:v>
                </c:pt>
                <c:pt idx="8335">
                  <c:v>1157</c:v>
                </c:pt>
                <c:pt idx="8336">
                  <c:v>225</c:v>
                </c:pt>
                <c:pt idx="8337">
                  <c:v>4673</c:v>
                </c:pt>
                <c:pt idx="8338">
                  <c:v>1745</c:v>
                </c:pt>
                <c:pt idx="8339">
                  <c:v>2394</c:v>
                </c:pt>
                <c:pt idx="8340">
                  <c:v>1939</c:v>
                </c:pt>
                <c:pt idx="8341">
                  <c:v>245</c:v>
                </c:pt>
                <c:pt idx="8342">
                  <c:v>15238</c:v>
                </c:pt>
                <c:pt idx="8343">
                  <c:v>3153</c:v>
                </c:pt>
                <c:pt idx="8344">
                  <c:v>436</c:v>
                </c:pt>
                <c:pt idx="8345">
                  <c:v>58</c:v>
                </c:pt>
                <c:pt idx="8346">
                  <c:v>574</c:v>
                </c:pt>
                <c:pt idx="8347">
                  <c:v>2034</c:v>
                </c:pt>
                <c:pt idx="8348">
                  <c:v>303</c:v>
                </c:pt>
                <c:pt idx="8349">
                  <c:v>160</c:v>
                </c:pt>
                <c:pt idx="8350">
                  <c:v>3908</c:v>
                </c:pt>
                <c:pt idx="8351">
                  <c:v>2649</c:v>
                </c:pt>
                <c:pt idx="8352">
                  <c:v>1144</c:v>
                </c:pt>
                <c:pt idx="8353">
                  <c:v>7605</c:v>
                </c:pt>
                <c:pt idx="8354">
                  <c:v>8635</c:v>
                </c:pt>
                <c:pt idx="8355">
                  <c:v>12052</c:v>
                </c:pt>
                <c:pt idx="8356">
                  <c:v>6445</c:v>
                </c:pt>
                <c:pt idx="8357">
                  <c:v>5127</c:v>
                </c:pt>
                <c:pt idx="8358">
                  <c:v>23327</c:v>
                </c:pt>
                <c:pt idx="8359">
                  <c:v>524</c:v>
                </c:pt>
                <c:pt idx="8360">
                  <c:v>660</c:v>
                </c:pt>
                <c:pt idx="8361">
                  <c:v>1622</c:v>
                </c:pt>
                <c:pt idx="8362">
                  <c:v>3479</c:v>
                </c:pt>
                <c:pt idx="8363">
                  <c:v>190</c:v>
                </c:pt>
                <c:pt idx="8364">
                  <c:v>175</c:v>
                </c:pt>
                <c:pt idx="8365">
                  <c:v>1822</c:v>
                </c:pt>
                <c:pt idx="8366">
                  <c:v>10474</c:v>
                </c:pt>
                <c:pt idx="8367">
                  <c:v>4404</c:v>
                </c:pt>
                <c:pt idx="8368">
                  <c:v>5937</c:v>
                </c:pt>
                <c:pt idx="8369">
                  <c:v>482</c:v>
                </c:pt>
                <c:pt idx="8370">
                  <c:v>58</c:v>
                </c:pt>
                <c:pt idx="8371">
                  <c:v>294</c:v>
                </c:pt>
                <c:pt idx="8372">
                  <c:v>2040</c:v>
                </c:pt>
                <c:pt idx="8373">
                  <c:v>5718</c:v>
                </c:pt>
                <c:pt idx="8374">
                  <c:v>91</c:v>
                </c:pt>
                <c:pt idx="8375">
                  <c:v>1775</c:v>
                </c:pt>
                <c:pt idx="8376">
                  <c:v>1716</c:v>
                </c:pt>
                <c:pt idx="8377">
                  <c:v>2306</c:v>
                </c:pt>
                <c:pt idx="8378">
                  <c:v>3221</c:v>
                </c:pt>
                <c:pt idx="8379">
                  <c:v>34618</c:v>
                </c:pt>
                <c:pt idx="8380">
                  <c:v>21241</c:v>
                </c:pt>
                <c:pt idx="8381">
                  <c:v>15093</c:v>
                </c:pt>
                <c:pt idx="8382">
                  <c:v>10425</c:v>
                </c:pt>
                <c:pt idx="8383">
                  <c:v>8422</c:v>
                </c:pt>
                <c:pt idx="8384">
                  <c:v>14669</c:v>
                </c:pt>
                <c:pt idx="8385">
                  <c:v>11443</c:v>
                </c:pt>
                <c:pt idx="8386">
                  <c:v>18248</c:v>
                </c:pt>
                <c:pt idx="8387">
                  <c:v>27623</c:v>
                </c:pt>
                <c:pt idx="8388">
                  <c:v>12507</c:v>
                </c:pt>
                <c:pt idx="8389">
                  <c:v>38</c:v>
                </c:pt>
                <c:pt idx="8390">
                  <c:v>21514</c:v>
                </c:pt>
                <c:pt idx="8391">
                  <c:v>10335</c:v>
                </c:pt>
                <c:pt idx="8392">
                  <c:v>33140</c:v>
                </c:pt>
                <c:pt idx="8393">
                  <c:v>42855</c:v>
                </c:pt>
                <c:pt idx="8394">
                  <c:v>5352</c:v>
                </c:pt>
                <c:pt idx="8395">
                  <c:v>16647</c:v>
                </c:pt>
                <c:pt idx="8396">
                  <c:v>15199</c:v>
                </c:pt>
                <c:pt idx="8397">
                  <c:v>19605</c:v>
                </c:pt>
                <c:pt idx="8398">
                  <c:v>16704</c:v>
                </c:pt>
                <c:pt idx="8399">
                  <c:v>19645</c:v>
                </c:pt>
                <c:pt idx="8400">
                  <c:v>9539</c:v>
                </c:pt>
                <c:pt idx="8401">
                  <c:v>20441</c:v>
                </c:pt>
                <c:pt idx="8402">
                  <c:v>23488</c:v>
                </c:pt>
                <c:pt idx="8403">
                  <c:v>36993</c:v>
                </c:pt>
                <c:pt idx="8404">
                  <c:v>35349</c:v>
                </c:pt>
                <c:pt idx="8405">
                  <c:v>42575</c:v>
                </c:pt>
                <c:pt idx="8406">
                  <c:v>47288</c:v>
                </c:pt>
                <c:pt idx="8407">
                  <c:v>21263</c:v>
                </c:pt>
                <c:pt idx="8408">
                  <c:v>18397</c:v>
                </c:pt>
                <c:pt idx="8409">
                  <c:v>28716</c:v>
                </c:pt>
                <c:pt idx="8410">
                  <c:v>35255</c:v>
                </c:pt>
                <c:pt idx="8411">
                  <c:v>5310</c:v>
                </c:pt>
                <c:pt idx="8412">
                  <c:v>1491</c:v>
                </c:pt>
                <c:pt idx="8413">
                  <c:v>1039</c:v>
                </c:pt>
                <c:pt idx="8414">
                  <c:v>30410</c:v>
                </c:pt>
                <c:pt idx="8415">
                  <c:v>18598</c:v>
                </c:pt>
                <c:pt idx="8416">
                  <c:v>30997</c:v>
                </c:pt>
                <c:pt idx="8417">
                  <c:v>23856</c:v>
                </c:pt>
                <c:pt idx="8418">
                  <c:v>31311</c:v>
                </c:pt>
                <c:pt idx="8419">
                  <c:v>24362</c:v>
                </c:pt>
                <c:pt idx="8420">
                  <c:v>16315</c:v>
                </c:pt>
                <c:pt idx="8421">
                  <c:v>11786</c:v>
                </c:pt>
                <c:pt idx="8422">
                  <c:v>387</c:v>
                </c:pt>
                <c:pt idx="8423">
                  <c:v>28878</c:v>
                </c:pt>
                <c:pt idx="8424">
                  <c:v>23472</c:v>
                </c:pt>
                <c:pt idx="8425">
                  <c:v>19486</c:v>
                </c:pt>
                <c:pt idx="8426">
                  <c:v>1868</c:v>
                </c:pt>
                <c:pt idx="8427">
                  <c:v>31269</c:v>
                </c:pt>
                <c:pt idx="8428">
                  <c:v>14582</c:v>
                </c:pt>
                <c:pt idx="8429">
                  <c:v>28815</c:v>
                </c:pt>
                <c:pt idx="8430">
                  <c:v>18983</c:v>
                </c:pt>
                <c:pt idx="8431">
                  <c:v>18873</c:v>
                </c:pt>
                <c:pt idx="8432">
                  <c:v>14832</c:v>
                </c:pt>
                <c:pt idx="8433">
                  <c:v>19112</c:v>
                </c:pt>
                <c:pt idx="8434">
                  <c:v>26007</c:v>
                </c:pt>
                <c:pt idx="8435">
                  <c:v>15551</c:v>
                </c:pt>
                <c:pt idx="8436">
                  <c:v>35094</c:v>
                </c:pt>
                <c:pt idx="8437">
                  <c:v>22985</c:v>
                </c:pt>
                <c:pt idx="8438">
                  <c:v>30379</c:v>
                </c:pt>
                <c:pt idx="8439">
                  <c:v>22736</c:v>
                </c:pt>
                <c:pt idx="8440">
                  <c:v>6748</c:v>
                </c:pt>
                <c:pt idx="8441">
                  <c:v>2298</c:v>
                </c:pt>
                <c:pt idx="8442">
                  <c:v>900</c:v>
                </c:pt>
                <c:pt idx="8443">
                  <c:v>11614</c:v>
                </c:pt>
                <c:pt idx="8444">
                  <c:v>8235</c:v>
                </c:pt>
                <c:pt idx="8445">
                  <c:v>3328</c:v>
                </c:pt>
                <c:pt idx="8446">
                  <c:v>6943</c:v>
                </c:pt>
                <c:pt idx="8447">
                  <c:v>2091</c:v>
                </c:pt>
                <c:pt idx="8448">
                  <c:v>26776</c:v>
                </c:pt>
                <c:pt idx="8449">
                  <c:v>24381</c:v>
                </c:pt>
                <c:pt idx="8450">
                  <c:v>10988</c:v>
                </c:pt>
                <c:pt idx="8451">
                  <c:v>16116</c:v>
                </c:pt>
                <c:pt idx="8452">
                  <c:v>18642</c:v>
                </c:pt>
                <c:pt idx="8453">
                  <c:v>12276</c:v>
                </c:pt>
                <c:pt idx="8454">
                  <c:v>14123</c:v>
                </c:pt>
                <c:pt idx="8455">
                  <c:v>1314</c:v>
                </c:pt>
                <c:pt idx="8456">
                  <c:v>9623</c:v>
                </c:pt>
                <c:pt idx="8457">
                  <c:v>21822</c:v>
                </c:pt>
                <c:pt idx="8458">
                  <c:v>35558</c:v>
                </c:pt>
                <c:pt idx="8459">
                  <c:v>22514</c:v>
                </c:pt>
                <c:pt idx="8460">
                  <c:v>20009</c:v>
                </c:pt>
                <c:pt idx="8461">
                  <c:v>31074</c:v>
                </c:pt>
                <c:pt idx="8462">
                  <c:v>967</c:v>
                </c:pt>
                <c:pt idx="8463">
                  <c:v>2113</c:v>
                </c:pt>
                <c:pt idx="8464">
                  <c:v>11814</c:v>
                </c:pt>
                <c:pt idx="8465">
                  <c:v>11138</c:v>
                </c:pt>
                <c:pt idx="8466">
                  <c:v>31244</c:v>
                </c:pt>
                <c:pt idx="8467">
                  <c:v>4128</c:v>
                </c:pt>
                <c:pt idx="8468">
                  <c:v>2191</c:v>
                </c:pt>
                <c:pt idx="8469">
                  <c:v>540</c:v>
                </c:pt>
                <c:pt idx="8470">
                  <c:v>22901</c:v>
                </c:pt>
                <c:pt idx="8471">
                  <c:v>7654</c:v>
                </c:pt>
                <c:pt idx="8472">
                  <c:v>23639</c:v>
                </c:pt>
                <c:pt idx="8473">
                  <c:v>13260</c:v>
                </c:pt>
                <c:pt idx="8474">
                  <c:v>18209</c:v>
                </c:pt>
                <c:pt idx="8475">
                  <c:v>12542</c:v>
                </c:pt>
                <c:pt idx="8476">
                  <c:v>1359</c:v>
                </c:pt>
                <c:pt idx="8477">
                  <c:v>1199</c:v>
                </c:pt>
                <c:pt idx="8478">
                  <c:v>3046</c:v>
                </c:pt>
                <c:pt idx="8479">
                  <c:v>2677</c:v>
                </c:pt>
                <c:pt idx="8480">
                  <c:v>3227</c:v>
                </c:pt>
                <c:pt idx="8481">
                  <c:v>578</c:v>
                </c:pt>
                <c:pt idx="8482">
                  <c:v>1602</c:v>
                </c:pt>
                <c:pt idx="8483">
                  <c:v>9308</c:v>
                </c:pt>
                <c:pt idx="8484">
                  <c:v>18448</c:v>
                </c:pt>
                <c:pt idx="8485">
                  <c:v>1352</c:v>
                </c:pt>
                <c:pt idx="8486">
                  <c:v>2991</c:v>
                </c:pt>
                <c:pt idx="8487">
                  <c:v>2764</c:v>
                </c:pt>
                <c:pt idx="8488">
                  <c:v>1848</c:v>
                </c:pt>
                <c:pt idx="8489">
                  <c:v>3617</c:v>
                </c:pt>
                <c:pt idx="8490">
                  <c:v>33992</c:v>
                </c:pt>
                <c:pt idx="8491">
                  <c:v>22255</c:v>
                </c:pt>
                <c:pt idx="8492">
                  <c:v>5680</c:v>
                </c:pt>
                <c:pt idx="8493">
                  <c:v>1490</c:v>
                </c:pt>
                <c:pt idx="8494">
                  <c:v>1815</c:v>
                </c:pt>
                <c:pt idx="8495">
                  <c:v>20966</c:v>
                </c:pt>
                <c:pt idx="8496">
                  <c:v>14710</c:v>
                </c:pt>
                <c:pt idx="8497">
                  <c:v>17561</c:v>
                </c:pt>
                <c:pt idx="8498">
                  <c:v>857</c:v>
                </c:pt>
                <c:pt idx="8499">
                  <c:v>3482</c:v>
                </c:pt>
                <c:pt idx="8500">
                  <c:v>637</c:v>
                </c:pt>
                <c:pt idx="8501">
                  <c:v>2469</c:v>
                </c:pt>
                <c:pt idx="8502">
                  <c:v>2040</c:v>
                </c:pt>
                <c:pt idx="8503">
                  <c:v>14187</c:v>
                </c:pt>
                <c:pt idx="8504">
                  <c:v>12809</c:v>
                </c:pt>
                <c:pt idx="8505">
                  <c:v>20972</c:v>
                </c:pt>
                <c:pt idx="8506">
                  <c:v>4046</c:v>
                </c:pt>
                <c:pt idx="8507">
                  <c:v>9723</c:v>
                </c:pt>
                <c:pt idx="8508">
                  <c:v>419</c:v>
                </c:pt>
                <c:pt idx="8509">
                  <c:v>658</c:v>
                </c:pt>
                <c:pt idx="8510">
                  <c:v>24671</c:v>
                </c:pt>
                <c:pt idx="8511">
                  <c:v>18351</c:v>
                </c:pt>
                <c:pt idx="8512">
                  <c:v>13667</c:v>
                </c:pt>
                <c:pt idx="8513">
                  <c:v>10551</c:v>
                </c:pt>
                <c:pt idx="8514">
                  <c:v>14592</c:v>
                </c:pt>
                <c:pt idx="8515">
                  <c:v>684</c:v>
                </c:pt>
                <c:pt idx="8516">
                  <c:v>22567</c:v>
                </c:pt>
                <c:pt idx="8517">
                  <c:v>27415</c:v>
                </c:pt>
                <c:pt idx="8518">
                  <c:v>919</c:v>
                </c:pt>
                <c:pt idx="8519">
                  <c:v>1508</c:v>
                </c:pt>
                <c:pt idx="8520">
                  <c:v>1243</c:v>
                </c:pt>
                <c:pt idx="8521">
                  <c:v>1802</c:v>
                </c:pt>
                <c:pt idx="8522">
                  <c:v>11672</c:v>
                </c:pt>
                <c:pt idx="8523">
                  <c:v>28627</c:v>
                </c:pt>
                <c:pt idx="8524">
                  <c:v>17794</c:v>
                </c:pt>
                <c:pt idx="8525">
                  <c:v>4851</c:v>
                </c:pt>
                <c:pt idx="8526">
                  <c:v>17591</c:v>
                </c:pt>
                <c:pt idx="8527">
                  <c:v>8050</c:v>
                </c:pt>
                <c:pt idx="8528">
                  <c:v>15549</c:v>
                </c:pt>
                <c:pt idx="8529">
                  <c:v>9166</c:v>
                </c:pt>
                <c:pt idx="8530">
                  <c:v>11206</c:v>
                </c:pt>
                <c:pt idx="8531">
                  <c:v>34532</c:v>
                </c:pt>
                <c:pt idx="8532">
                  <c:v>9541</c:v>
                </c:pt>
                <c:pt idx="8533">
                  <c:v>4690</c:v>
                </c:pt>
                <c:pt idx="8534">
                  <c:v>4219</c:v>
                </c:pt>
                <c:pt idx="8535">
                  <c:v>12129</c:v>
                </c:pt>
                <c:pt idx="8536">
                  <c:v>2375</c:v>
                </c:pt>
                <c:pt idx="8537">
                  <c:v>825</c:v>
                </c:pt>
                <c:pt idx="8538">
                  <c:v>20352</c:v>
                </c:pt>
                <c:pt idx="8539">
                  <c:v>2170</c:v>
                </c:pt>
                <c:pt idx="8540">
                  <c:v>12151</c:v>
                </c:pt>
                <c:pt idx="8541">
                  <c:v>11082</c:v>
                </c:pt>
                <c:pt idx="8542">
                  <c:v>1585</c:v>
                </c:pt>
                <c:pt idx="8543">
                  <c:v>15222</c:v>
                </c:pt>
                <c:pt idx="8544">
                  <c:v>219</c:v>
                </c:pt>
                <c:pt idx="8545">
                  <c:v>14185</c:v>
                </c:pt>
                <c:pt idx="8546">
                  <c:v>13169</c:v>
                </c:pt>
                <c:pt idx="8547">
                  <c:v>15635</c:v>
                </c:pt>
                <c:pt idx="8548">
                  <c:v>19227</c:v>
                </c:pt>
                <c:pt idx="8549">
                  <c:v>12265</c:v>
                </c:pt>
                <c:pt idx="8550">
                  <c:v>13415</c:v>
                </c:pt>
                <c:pt idx="8551">
                  <c:v>14238</c:v>
                </c:pt>
                <c:pt idx="8552">
                  <c:v>5314</c:v>
                </c:pt>
                <c:pt idx="8553">
                  <c:v>7857</c:v>
                </c:pt>
                <c:pt idx="8554">
                  <c:v>13049</c:v>
                </c:pt>
                <c:pt idx="8555">
                  <c:v>19539</c:v>
                </c:pt>
                <c:pt idx="8556">
                  <c:v>7888</c:v>
                </c:pt>
                <c:pt idx="8557">
                  <c:v>29303</c:v>
                </c:pt>
                <c:pt idx="8558">
                  <c:v>25538</c:v>
                </c:pt>
                <c:pt idx="8559">
                  <c:v>20494</c:v>
                </c:pt>
                <c:pt idx="8560">
                  <c:v>5083</c:v>
                </c:pt>
                <c:pt idx="8561">
                  <c:v>11533</c:v>
                </c:pt>
                <c:pt idx="8562">
                  <c:v>20427</c:v>
                </c:pt>
                <c:pt idx="8563">
                  <c:v>15184</c:v>
                </c:pt>
                <c:pt idx="8564">
                  <c:v>29224</c:v>
                </c:pt>
                <c:pt idx="8565">
                  <c:v>5945</c:v>
                </c:pt>
                <c:pt idx="8566">
                  <c:v>19037</c:v>
                </c:pt>
                <c:pt idx="8567">
                  <c:v>23102</c:v>
                </c:pt>
                <c:pt idx="8568">
                  <c:v>14810</c:v>
                </c:pt>
                <c:pt idx="8569">
                  <c:v>17861</c:v>
                </c:pt>
                <c:pt idx="8570">
                  <c:v>20308</c:v>
                </c:pt>
                <c:pt idx="8571">
                  <c:v>17184</c:v>
                </c:pt>
                <c:pt idx="8572">
                  <c:v>15242</c:v>
                </c:pt>
                <c:pt idx="8573">
                  <c:v>3617</c:v>
                </c:pt>
                <c:pt idx="8574">
                  <c:v>38744</c:v>
                </c:pt>
                <c:pt idx="8575">
                  <c:v>22896</c:v>
                </c:pt>
                <c:pt idx="8576">
                  <c:v>7129</c:v>
                </c:pt>
                <c:pt idx="8577">
                  <c:v>8065</c:v>
                </c:pt>
                <c:pt idx="8578">
                  <c:v>2350</c:v>
                </c:pt>
                <c:pt idx="8579">
                  <c:v>4686</c:v>
                </c:pt>
                <c:pt idx="8580">
                  <c:v>711</c:v>
                </c:pt>
                <c:pt idx="8581">
                  <c:v>1662</c:v>
                </c:pt>
                <c:pt idx="8582">
                  <c:v>35</c:v>
                </c:pt>
                <c:pt idx="8583">
                  <c:v>779</c:v>
                </c:pt>
                <c:pt idx="8584">
                  <c:v>2759</c:v>
                </c:pt>
                <c:pt idx="8585">
                  <c:v>4450</c:v>
                </c:pt>
                <c:pt idx="8586">
                  <c:v>569</c:v>
                </c:pt>
                <c:pt idx="8587">
                  <c:v>1282</c:v>
                </c:pt>
                <c:pt idx="8588">
                  <c:v>567</c:v>
                </c:pt>
                <c:pt idx="8589">
                  <c:v>329</c:v>
                </c:pt>
                <c:pt idx="8590">
                  <c:v>4125</c:v>
                </c:pt>
                <c:pt idx="8591">
                  <c:v>1329</c:v>
                </c:pt>
                <c:pt idx="8592">
                  <c:v>1959</c:v>
                </c:pt>
                <c:pt idx="8593">
                  <c:v>4475</c:v>
                </c:pt>
                <c:pt idx="8594">
                  <c:v>4237</c:v>
                </c:pt>
                <c:pt idx="8595">
                  <c:v>724</c:v>
                </c:pt>
                <c:pt idx="8596">
                  <c:v>3216</c:v>
                </c:pt>
                <c:pt idx="8597">
                  <c:v>919</c:v>
                </c:pt>
                <c:pt idx="8598">
                  <c:v>743</c:v>
                </c:pt>
                <c:pt idx="8599">
                  <c:v>809</c:v>
                </c:pt>
                <c:pt idx="8600">
                  <c:v>632</c:v>
                </c:pt>
                <c:pt idx="8601">
                  <c:v>2379</c:v>
                </c:pt>
                <c:pt idx="8602">
                  <c:v>145</c:v>
                </c:pt>
                <c:pt idx="8603">
                  <c:v>799</c:v>
                </c:pt>
                <c:pt idx="8604">
                  <c:v>1593</c:v>
                </c:pt>
                <c:pt idx="8605">
                  <c:v>20089</c:v>
                </c:pt>
                <c:pt idx="8606">
                  <c:v>7343</c:v>
                </c:pt>
                <c:pt idx="8607">
                  <c:v>4737</c:v>
                </c:pt>
                <c:pt idx="8608">
                  <c:v>1670</c:v>
                </c:pt>
                <c:pt idx="8609">
                  <c:v>1071</c:v>
                </c:pt>
                <c:pt idx="8610">
                  <c:v>6662</c:v>
                </c:pt>
                <c:pt idx="8611">
                  <c:v>1122</c:v>
                </c:pt>
                <c:pt idx="8612">
                  <c:v>15078</c:v>
                </c:pt>
                <c:pt idx="8613">
                  <c:v>11937</c:v>
                </c:pt>
                <c:pt idx="8614">
                  <c:v>21979</c:v>
                </c:pt>
                <c:pt idx="8615">
                  <c:v>13080</c:v>
                </c:pt>
                <c:pt idx="8616">
                  <c:v>3023</c:v>
                </c:pt>
                <c:pt idx="8617">
                  <c:v>1706</c:v>
                </c:pt>
                <c:pt idx="8618">
                  <c:v>8385</c:v>
                </c:pt>
                <c:pt idx="8619">
                  <c:v>4682</c:v>
                </c:pt>
                <c:pt idx="8620">
                  <c:v>1168</c:v>
                </c:pt>
                <c:pt idx="8621">
                  <c:v>8292</c:v>
                </c:pt>
                <c:pt idx="8622">
                  <c:v>26524</c:v>
                </c:pt>
                <c:pt idx="8623">
                  <c:v>27699</c:v>
                </c:pt>
                <c:pt idx="8624">
                  <c:v>2214</c:v>
                </c:pt>
                <c:pt idx="8625">
                  <c:v>2281</c:v>
                </c:pt>
                <c:pt idx="8626">
                  <c:v>205</c:v>
                </c:pt>
                <c:pt idx="8627">
                  <c:v>5703</c:v>
                </c:pt>
                <c:pt idx="8628">
                  <c:v>2914</c:v>
                </c:pt>
                <c:pt idx="8629">
                  <c:v>2096</c:v>
                </c:pt>
                <c:pt idx="8630">
                  <c:v>10668</c:v>
                </c:pt>
                <c:pt idx="8631">
                  <c:v>5193</c:v>
                </c:pt>
                <c:pt idx="8632">
                  <c:v>3647</c:v>
                </c:pt>
                <c:pt idx="8633">
                  <c:v>4984</c:v>
                </c:pt>
                <c:pt idx="8634">
                  <c:v>11976</c:v>
                </c:pt>
                <c:pt idx="8635">
                  <c:v>15086</c:v>
                </c:pt>
                <c:pt idx="8636">
                  <c:v>3646</c:v>
                </c:pt>
                <c:pt idx="8637">
                  <c:v>4031</c:v>
                </c:pt>
                <c:pt idx="8638">
                  <c:v>406</c:v>
                </c:pt>
                <c:pt idx="8639">
                  <c:v>1528</c:v>
                </c:pt>
                <c:pt idx="8640">
                  <c:v>7879</c:v>
                </c:pt>
                <c:pt idx="8641">
                  <c:v>366</c:v>
                </c:pt>
                <c:pt idx="8642">
                  <c:v>20126</c:v>
                </c:pt>
                <c:pt idx="8643">
                  <c:v>2703</c:v>
                </c:pt>
                <c:pt idx="8644">
                  <c:v>350</c:v>
                </c:pt>
                <c:pt idx="8645">
                  <c:v>2777</c:v>
                </c:pt>
                <c:pt idx="8646">
                  <c:v>1390</c:v>
                </c:pt>
                <c:pt idx="8647">
                  <c:v>10786</c:v>
                </c:pt>
                <c:pt idx="8648">
                  <c:v>13267</c:v>
                </c:pt>
                <c:pt idx="8649">
                  <c:v>531</c:v>
                </c:pt>
                <c:pt idx="8650">
                  <c:v>3333</c:v>
                </c:pt>
                <c:pt idx="8651">
                  <c:v>3943</c:v>
                </c:pt>
                <c:pt idx="8652">
                  <c:v>1179</c:v>
                </c:pt>
                <c:pt idx="8653">
                  <c:v>1998</c:v>
                </c:pt>
                <c:pt idx="8654">
                  <c:v>1914</c:v>
                </c:pt>
                <c:pt idx="8655">
                  <c:v>1690</c:v>
                </c:pt>
                <c:pt idx="8656">
                  <c:v>1657</c:v>
                </c:pt>
                <c:pt idx="8657">
                  <c:v>322</c:v>
                </c:pt>
                <c:pt idx="8658">
                  <c:v>2699</c:v>
                </c:pt>
                <c:pt idx="8659">
                  <c:v>2066</c:v>
                </c:pt>
                <c:pt idx="8660">
                  <c:v>1936</c:v>
                </c:pt>
                <c:pt idx="8661">
                  <c:v>4518</c:v>
                </c:pt>
                <c:pt idx="8662">
                  <c:v>1591</c:v>
                </c:pt>
                <c:pt idx="8663">
                  <c:v>694</c:v>
                </c:pt>
                <c:pt idx="8664">
                  <c:v>1305</c:v>
                </c:pt>
                <c:pt idx="8665">
                  <c:v>274</c:v>
                </c:pt>
                <c:pt idx="8666">
                  <c:v>855</c:v>
                </c:pt>
                <c:pt idx="8667">
                  <c:v>1248</c:v>
                </c:pt>
                <c:pt idx="8668">
                  <c:v>9344</c:v>
                </c:pt>
                <c:pt idx="8669">
                  <c:v>1930</c:v>
                </c:pt>
                <c:pt idx="8670">
                  <c:v>10321</c:v>
                </c:pt>
                <c:pt idx="8671">
                  <c:v>20870</c:v>
                </c:pt>
                <c:pt idx="8672">
                  <c:v>24038</c:v>
                </c:pt>
                <c:pt idx="8673">
                  <c:v>5068</c:v>
                </c:pt>
                <c:pt idx="8674">
                  <c:v>633</c:v>
                </c:pt>
                <c:pt idx="8675">
                  <c:v>5713</c:v>
                </c:pt>
                <c:pt idx="8676">
                  <c:v>2772</c:v>
                </c:pt>
                <c:pt idx="8677">
                  <c:v>5585</c:v>
                </c:pt>
                <c:pt idx="8678">
                  <c:v>1910</c:v>
                </c:pt>
                <c:pt idx="8679">
                  <c:v>1056</c:v>
                </c:pt>
                <c:pt idx="8680">
                  <c:v>1195</c:v>
                </c:pt>
                <c:pt idx="8681">
                  <c:v>3116</c:v>
                </c:pt>
                <c:pt idx="8682">
                  <c:v>2063</c:v>
                </c:pt>
                <c:pt idx="8683">
                  <c:v>1155</c:v>
                </c:pt>
                <c:pt idx="8684">
                  <c:v>674</c:v>
                </c:pt>
                <c:pt idx="8685">
                  <c:v>3427</c:v>
                </c:pt>
                <c:pt idx="8686">
                  <c:v>541</c:v>
                </c:pt>
                <c:pt idx="8687">
                  <c:v>6226</c:v>
                </c:pt>
                <c:pt idx="8688">
                  <c:v>776</c:v>
                </c:pt>
                <c:pt idx="8689">
                  <c:v>5277</c:v>
                </c:pt>
                <c:pt idx="8690">
                  <c:v>6063</c:v>
                </c:pt>
                <c:pt idx="8691">
                  <c:v>3159</c:v>
                </c:pt>
                <c:pt idx="8692">
                  <c:v>1194</c:v>
                </c:pt>
                <c:pt idx="8693">
                  <c:v>6233</c:v>
                </c:pt>
                <c:pt idx="8694">
                  <c:v>11029</c:v>
                </c:pt>
                <c:pt idx="8695">
                  <c:v>8438</c:v>
                </c:pt>
                <c:pt idx="8696">
                  <c:v>400</c:v>
                </c:pt>
                <c:pt idx="8697">
                  <c:v>3384</c:v>
                </c:pt>
                <c:pt idx="8698">
                  <c:v>1236</c:v>
                </c:pt>
                <c:pt idx="8699">
                  <c:v>4862</c:v>
                </c:pt>
                <c:pt idx="8700">
                  <c:v>387</c:v>
                </c:pt>
                <c:pt idx="8701">
                  <c:v>813</c:v>
                </c:pt>
                <c:pt idx="8702">
                  <c:v>1237</c:v>
                </c:pt>
                <c:pt idx="8703">
                  <c:v>3023</c:v>
                </c:pt>
                <c:pt idx="8704">
                  <c:v>9730</c:v>
                </c:pt>
                <c:pt idx="8705">
                  <c:v>445</c:v>
                </c:pt>
                <c:pt idx="8706">
                  <c:v>22775</c:v>
                </c:pt>
                <c:pt idx="8707">
                  <c:v>3735</c:v>
                </c:pt>
                <c:pt idx="8708">
                  <c:v>18885</c:v>
                </c:pt>
                <c:pt idx="8709">
                  <c:v>14422</c:v>
                </c:pt>
                <c:pt idx="8710">
                  <c:v>8561</c:v>
                </c:pt>
                <c:pt idx="8711">
                  <c:v>153</c:v>
                </c:pt>
                <c:pt idx="8712">
                  <c:v>3103</c:v>
                </c:pt>
                <c:pt idx="8713">
                  <c:v>1508</c:v>
                </c:pt>
                <c:pt idx="8714">
                  <c:v>12486</c:v>
                </c:pt>
                <c:pt idx="8715">
                  <c:v>23512</c:v>
                </c:pt>
                <c:pt idx="8716">
                  <c:v>2188</c:v>
                </c:pt>
                <c:pt idx="8717">
                  <c:v>7795</c:v>
                </c:pt>
                <c:pt idx="8718">
                  <c:v>734</c:v>
                </c:pt>
                <c:pt idx="8719">
                  <c:v>959</c:v>
                </c:pt>
                <c:pt idx="8720">
                  <c:v>773</c:v>
                </c:pt>
                <c:pt idx="8721">
                  <c:v>1358</c:v>
                </c:pt>
                <c:pt idx="8722">
                  <c:v>2959</c:v>
                </c:pt>
                <c:pt idx="8723">
                  <c:v>21166</c:v>
                </c:pt>
                <c:pt idx="8724">
                  <c:v>1484</c:v>
                </c:pt>
                <c:pt idx="8725">
                  <c:v>2992</c:v>
                </c:pt>
                <c:pt idx="8726">
                  <c:v>3731</c:v>
                </c:pt>
                <c:pt idx="8727">
                  <c:v>12384</c:v>
                </c:pt>
                <c:pt idx="8728">
                  <c:v>3120</c:v>
                </c:pt>
                <c:pt idx="8729">
                  <c:v>503</c:v>
                </c:pt>
                <c:pt idx="8730">
                  <c:v>5516</c:v>
                </c:pt>
                <c:pt idx="8731">
                  <c:v>2057</c:v>
                </c:pt>
                <c:pt idx="8732">
                  <c:v>3888</c:v>
                </c:pt>
                <c:pt idx="8733">
                  <c:v>2867</c:v>
                </c:pt>
                <c:pt idx="8734">
                  <c:v>4371</c:v>
                </c:pt>
                <c:pt idx="8735">
                  <c:v>559</c:v>
                </c:pt>
                <c:pt idx="8736">
                  <c:v>2584</c:v>
                </c:pt>
                <c:pt idx="8737">
                  <c:v>502</c:v>
                </c:pt>
                <c:pt idx="8738">
                  <c:v>915</c:v>
                </c:pt>
                <c:pt idx="8739">
                  <c:v>1697</c:v>
                </c:pt>
                <c:pt idx="8740">
                  <c:v>24078</c:v>
                </c:pt>
                <c:pt idx="8741">
                  <c:v>867</c:v>
                </c:pt>
                <c:pt idx="8742">
                  <c:v>21359</c:v>
                </c:pt>
                <c:pt idx="8743">
                  <c:v>5290</c:v>
                </c:pt>
                <c:pt idx="8744">
                  <c:v>19280</c:v>
                </c:pt>
                <c:pt idx="8745">
                  <c:v>810</c:v>
                </c:pt>
                <c:pt idx="8746">
                  <c:v>2900</c:v>
                </c:pt>
                <c:pt idx="8747">
                  <c:v>336</c:v>
                </c:pt>
                <c:pt idx="8748">
                  <c:v>327</c:v>
                </c:pt>
                <c:pt idx="8749">
                  <c:v>624</c:v>
                </c:pt>
                <c:pt idx="8750">
                  <c:v>7091</c:v>
                </c:pt>
                <c:pt idx="8751">
                  <c:v>1433</c:v>
                </c:pt>
                <c:pt idx="8752">
                  <c:v>6331</c:v>
                </c:pt>
                <c:pt idx="8753">
                  <c:v>1297</c:v>
                </c:pt>
                <c:pt idx="8754">
                  <c:v>752</c:v>
                </c:pt>
                <c:pt idx="8755">
                  <c:v>5253</c:v>
                </c:pt>
                <c:pt idx="8756">
                  <c:v>12992</c:v>
                </c:pt>
                <c:pt idx="8757">
                  <c:v>23520</c:v>
                </c:pt>
                <c:pt idx="8758">
                  <c:v>24389</c:v>
                </c:pt>
                <c:pt idx="8759">
                  <c:v>20581</c:v>
                </c:pt>
                <c:pt idx="8760">
                  <c:v>829</c:v>
                </c:pt>
                <c:pt idx="8761">
                  <c:v>1431</c:v>
                </c:pt>
                <c:pt idx="8762">
                  <c:v>10278</c:v>
                </c:pt>
                <c:pt idx="8763">
                  <c:v>1692</c:v>
                </c:pt>
                <c:pt idx="8764">
                  <c:v>288</c:v>
                </c:pt>
                <c:pt idx="8765">
                  <c:v>9123</c:v>
                </c:pt>
                <c:pt idx="8766">
                  <c:v>587</c:v>
                </c:pt>
                <c:pt idx="8767">
                  <c:v>224</c:v>
                </c:pt>
                <c:pt idx="8768">
                  <c:v>532</c:v>
                </c:pt>
                <c:pt idx="8769">
                  <c:v>4594</c:v>
                </c:pt>
                <c:pt idx="8770">
                  <c:v>7546</c:v>
                </c:pt>
                <c:pt idx="8771">
                  <c:v>822</c:v>
                </c:pt>
                <c:pt idx="8772">
                  <c:v>610</c:v>
                </c:pt>
                <c:pt idx="8773">
                  <c:v>454</c:v>
                </c:pt>
                <c:pt idx="8774">
                  <c:v>1384</c:v>
                </c:pt>
                <c:pt idx="8775">
                  <c:v>530</c:v>
                </c:pt>
                <c:pt idx="8776">
                  <c:v>10222</c:v>
                </c:pt>
                <c:pt idx="8777">
                  <c:v>761</c:v>
                </c:pt>
                <c:pt idx="8778">
                  <c:v>5388</c:v>
                </c:pt>
                <c:pt idx="8779">
                  <c:v>8241</c:v>
                </c:pt>
                <c:pt idx="8780">
                  <c:v>595</c:v>
                </c:pt>
                <c:pt idx="8781">
                  <c:v>4143</c:v>
                </c:pt>
                <c:pt idx="8782">
                  <c:v>2663</c:v>
                </c:pt>
                <c:pt idx="8783">
                  <c:v>7339</c:v>
                </c:pt>
                <c:pt idx="8784">
                  <c:v>6733</c:v>
                </c:pt>
                <c:pt idx="8785">
                  <c:v>2276</c:v>
                </c:pt>
                <c:pt idx="8786">
                  <c:v>6866</c:v>
                </c:pt>
                <c:pt idx="8787">
                  <c:v>763</c:v>
                </c:pt>
                <c:pt idx="8788">
                  <c:v>485</c:v>
                </c:pt>
                <c:pt idx="8789">
                  <c:v>3615</c:v>
                </c:pt>
                <c:pt idx="8790">
                  <c:v>890</c:v>
                </c:pt>
                <c:pt idx="8791">
                  <c:v>476</c:v>
                </c:pt>
                <c:pt idx="8792">
                  <c:v>239</c:v>
                </c:pt>
                <c:pt idx="8793">
                  <c:v>572</c:v>
                </c:pt>
                <c:pt idx="8794">
                  <c:v>868</c:v>
                </c:pt>
                <c:pt idx="8795">
                  <c:v>1648</c:v>
                </c:pt>
                <c:pt idx="8796">
                  <c:v>8140</c:v>
                </c:pt>
                <c:pt idx="8797">
                  <c:v>613</c:v>
                </c:pt>
                <c:pt idx="8798">
                  <c:v>197</c:v>
                </c:pt>
                <c:pt idx="8799">
                  <c:v>4053</c:v>
                </c:pt>
                <c:pt idx="8800">
                  <c:v>599</c:v>
                </c:pt>
                <c:pt idx="8801">
                  <c:v>1667</c:v>
                </c:pt>
                <c:pt idx="8802">
                  <c:v>639</c:v>
                </c:pt>
                <c:pt idx="8803">
                  <c:v>636</c:v>
                </c:pt>
                <c:pt idx="8804">
                  <c:v>668</c:v>
                </c:pt>
                <c:pt idx="8805">
                  <c:v>16223</c:v>
                </c:pt>
                <c:pt idx="8806">
                  <c:v>2005</c:v>
                </c:pt>
                <c:pt idx="8807">
                  <c:v>3681</c:v>
                </c:pt>
                <c:pt idx="8808">
                  <c:v>588</c:v>
                </c:pt>
                <c:pt idx="8809">
                  <c:v>605</c:v>
                </c:pt>
                <c:pt idx="8810">
                  <c:v>86</c:v>
                </c:pt>
                <c:pt idx="8811">
                  <c:v>1008</c:v>
                </c:pt>
                <c:pt idx="8812">
                  <c:v>10604</c:v>
                </c:pt>
                <c:pt idx="8813">
                  <c:v>523</c:v>
                </c:pt>
                <c:pt idx="8814">
                  <c:v>499</c:v>
                </c:pt>
                <c:pt idx="8815">
                  <c:v>430</c:v>
                </c:pt>
                <c:pt idx="8816">
                  <c:v>882</c:v>
                </c:pt>
                <c:pt idx="8817">
                  <c:v>974</c:v>
                </c:pt>
                <c:pt idx="8818">
                  <c:v>601</c:v>
                </c:pt>
                <c:pt idx="8819">
                  <c:v>1150</c:v>
                </c:pt>
                <c:pt idx="8820">
                  <c:v>1173</c:v>
                </c:pt>
                <c:pt idx="8821">
                  <c:v>3821</c:v>
                </c:pt>
                <c:pt idx="8822">
                  <c:v>104</c:v>
                </c:pt>
                <c:pt idx="8823">
                  <c:v>445</c:v>
                </c:pt>
                <c:pt idx="8824">
                  <c:v>2390</c:v>
                </c:pt>
                <c:pt idx="8825">
                  <c:v>28676</c:v>
                </c:pt>
                <c:pt idx="8826">
                  <c:v>1717</c:v>
                </c:pt>
                <c:pt idx="8827">
                  <c:v>429</c:v>
                </c:pt>
                <c:pt idx="8828">
                  <c:v>1335</c:v>
                </c:pt>
                <c:pt idx="8829">
                  <c:v>1757</c:v>
                </c:pt>
                <c:pt idx="8830">
                  <c:v>10528</c:v>
                </c:pt>
                <c:pt idx="8831">
                  <c:v>232</c:v>
                </c:pt>
                <c:pt idx="8832">
                  <c:v>2466</c:v>
                </c:pt>
                <c:pt idx="8833">
                  <c:v>519</c:v>
                </c:pt>
                <c:pt idx="8834">
                  <c:v>2017</c:v>
                </c:pt>
                <c:pt idx="8835">
                  <c:v>2536</c:v>
                </c:pt>
                <c:pt idx="8836">
                  <c:v>11832</c:v>
                </c:pt>
                <c:pt idx="8837">
                  <c:v>8876</c:v>
                </c:pt>
                <c:pt idx="8838">
                  <c:v>16271</c:v>
                </c:pt>
                <c:pt idx="8839">
                  <c:v>6107</c:v>
                </c:pt>
                <c:pt idx="8840">
                  <c:v>7487</c:v>
                </c:pt>
                <c:pt idx="8841">
                  <c:v>5874</c:v>
                </c:pt>
                <c:pt idx="8842">
                  <c:v>7718</c:v>
                </c:pt>
                <c:pt idx="8843">
                  <c:v>1840</c:v>
                </c:pt>
                <c:pt idx="8844">
                  <c:v>2991</c:v>
                </c:pt>
                <c:pt idx="8845">
                  <c:v>1114</c:v>
                </c:pt>
                <c:pt idx="8846">
                  <c:v>2080</c:v>
                </c:pt>
                <c:pt idx="8847">
                  <c:v>824</c:v>
                </c:pt>
                <c:pt idx="8848">
                  <c:v>3435</c:v>
                </c:pt>
                <c:pt idx="8849">
                  <c:v>174</c:v>
                </c:pt>
                <c:pt idx="8850">
                  <c:v>10638</c:v>
                </c:pt>
                <c:pt idx="8851">
                  <c:v>18132</c:v>
                </c:pt>
                <c:pt idx="8852">
                  <c:v>5211</c:v>
                </c:pt>
                <c:pt idx="8853">
                  <c:v>3908</c:v>
                </c:pt>
                <c:pt idx="8854">
                  <c:v>3180</c:v>
                </c:pt>
                <c:pt idx="8855">
                  <c:v>14723</c:v>
                </c:pt>
                <c:pt idx="8856">
                  <c:v>615</c:v>
                </c:pt>
                <c:pt idx="8857">
                  <c:v>15771</c:v>
                </c:pt>
                <c:pt idx="8858">
                  <c:v>11344</c:v>
                </c:pt>
                <c:pt idx="8859">
                  <c:v>1307</c:v>
                </c:pt>
                <c:pt idx="8860">
                  <c:v>4202</c:v>
                </c:pt>
                <c:pt idx="8861">
                  <c:v>2573</c:v>
                </c:pt>
                <c:pt idx="8862">
                  <c:v>8933</c:v>
                </c:pt>
                <c:pt idx="8863">
                  <c:v>15120</c:v>
                </c:pt>
                <c:pt idx="8864">
                  <c:v>17065</c:v>
                </c:pt>
                <c:pt idx="8865">
                  <c:v>17427</c:v>
                </c:pt>
                <c:pt idx="8866">
                  <c:v>12393</c:v>
                </c:pt>
                <c:pt idx="8867">
                  <c:v>4364</c:v>
                </c:pt>
                <c:pt idx="8868">
                  <c:v>11780</c:v>
                </c:pt>
                <c:pt idx="8869">
                  <c:v>2659</c:v>
                </c:pt>
                <c:pt idx="8870">
                  <c:v>4665</c:v>
                </c:pt>
                <c:pt idx="8871">
                  <c:v>28961</c:v>
                </c:pt>
                <c:pt idx="8872">
                  <c:v>5001</c:v>
                </c:pt>
                <c:pt idx="8873">
                  <c:v>7815</c:v>
                </c:pt>
                <c:pt idx="8874">
                  <c:v>3563</c:v>
                </c:pt>
                <c:pt idx="8875">
                  <c:v>1062</c:v>
                </c:pt>
                <c:pt idx="8876">
                  <c:v>5987</c:v>
                </c:pt>
                <c:pt idx="8877">
                  <c:v>6429</c:v>
                </c:pt>
                <c:pt idx="8878">
                  <c:v>374</c:v>
                </c:pt>
                <c:pt idx="8879">
                  <c:v>1481</c:v>
                </c:pt>
                <c:pt idx="8880">
                  <c:v>8579</c:v>
                </c:pt>
                <c:pt idx="8881">
                  <c:v>7738</c:v>
                </c:pt>
                <c:pt idx="8882">
                  <c:v>6948</c:v>
                </c:pt>
                <c:pt idx="8883">
                  <c:v>14085</c:v>
                </c:pt>
                <c:pt idx="8884">
                  <c:v>340</c:v>
                </c:pt>
                <c:pt idx="8885">
                  <c:v>148</c:v>
                </c:pt>
                <c:pt idx="8886">
                  <c:v>6576</c:v>
                </c:pt>
                <c:pt idx="8887">
                  <c:v>5472</c:v>
                </c:pt>
                <c:pt idx="8888">
                  <c:v>3740</c:v>
                </c:pt>
                <c:pt idx="8889">
                  <c:v>5570</c:v>
                </c:pt>
                <c:pt idx="8890">
                  <c:v>848</c:v>
                </c:pt>
                <c:pt idx="8891">
                  <c:v>1391</c:v>
                </c:pt>
                <c:pt idx="8892">
                  <c:v>216</c:v>
                </c:pt>
                <c:pt idx="8893">
                  <c:v>5993</c:v>
                </c:pt>
                <c:pt idx="8894">
                  <c:v>2489</c:v>
                </c:pt>
                <c:pt idx="8895">
                  <c:v>11066</c:v>
                </c:pt>
                <c:pt idx="8896">
                  <c:v>638</c:v>
                </c:pt>
                <c:pt idx="8897">
                  <c:v>326</c:v>
                </c:pt>
                <c:pt idx="8898">
                  <c:v>341</c:v>
                </c:pt>
                <c:pt idx="8899">
                  <c:v>285</c:v>
                </c:pt>
                <c:pt idx="8900">
                  <c:v>1631</c:v>
                </c:pt>
                <c:pt idx="8901">
                  <c:v>2260</c:v>
                </c:pt>
                <c:pt idx="8902">
                  <c:v>1261</c:v>
                </c:pt>
                <c:pt idx="8903">
                  <c:v>1469</c:v>
                </c:pt>
                <c:pt idx="8904">
                  <c:v>9399</c:v>
                </c:pt>
                <c:pt idx="8905">
                  <c:v>1109</c:v>
                </c:pt>
                <c:pt idx="8906">
                  <c:v>939</c:v>
                </c:pt>
                <c:pt idx="8907">
                  <c:v>702</c:v>
                </c:pt>
                <c:pt idx="8908">
                  <c:v>1122</c:v>
                </c:pt>
                <c:pt idx="8909">
                  <c:v>1508</c:v>
                </c:pt>
                <c:pt idx="8910">
                  <c:v>477</c:v>
                </c:pt>
                <c:pt idx="8911">
                  <c:v>214</c:v>
                </c:pt>
                <c:pt idx="8912">
                  <c:v>2360</c:v>
                </c:pt>
                <c:pt idx="8913">
                  <c:v>12467</c:v>
                </c:pt>
                <c:pt idx="8914">
                  <c:v>16166</c:v>
                </c:pt>
                <c:pt idx="8915">
                  <c:v>10535</c:v>
                </c:pt>
                <c:pt idx="8916">
                  <c:v>1580</c:v>
                </c:pt>
                <c:pt idx="8917">
                  <c:v>5374</c:v>
                </c:pt>
                <c:pt idx="8918">
                  <c:v>766</c:v>
                </c:pt>
                <c:pt idx="8919">
                  <c:v>637</c:v>
                </c:pt>
                <c:pt idx="8920">
                  <c:v>646</c:v>
                </c:pt>
                <c:pt idx="8921">
                  <c:v>1654</c:v>
                </c:pt>
                <c:pt idx="8922">
                  <c:v>96</c:v>
                </c:pt>
                <c:pt idx="8923">
                  <c:v>148</c:v>
                </c:pt>
                <c:pt idx="8924">
                  <c:v>229</c:v>
                </c:pt>
                <c:pt idx="8925">
                  <c:v>6601</c:v>
                </c:pt>
                <c:pt idx="8926">
                  <c:v>1841</c:v>
                </c:pt>
                <c:pt idx="8927">
                  <c:v>2447</c:v>
                </c:pt>
                <c:pt idx="8928">
                  <c:v>4346</c:v>
                </c:pt>
                <c:pt idx="8929">
                  <c:v>1295</c:v>
                </c:pt>
                <c:pt idx="8930">
                  <c:v>418</c:v>
                </c:pt>
                <c:pt idx="8931">
                  <c:v>3976</c:v>
                </c:pt>
                <c:pt idx="8932">
                  <c:v>786</c:v>
                </c:pt>
                <c:pt idx="8933">
                  <c:v>1892</c:v>
                </c:pt>
                <c:pt idx="8934">
                  <c:v>3584</c:v>
                </c:pt>
                <c:pt idx="8935">
                  <c:v>1839</c:v>
                </c:pt>
                <c:pt idx="8936">
                  <c:v>1161</c:v>
                </c:pt>
                <c:pt idx="8937">
                  <c:v>311</c:v>
                </c:pt>
                <c:pt idx="8938">
                  <c:v>453</c:v>
                </c:pt>
                <c:pt idx="8939">
                  <c:v>1530</c:v>
                </c:pt>
                <c:pt idx="8940">
                  <c:v>6507</c:v>
                </c:pt>
                <c:pt idx="8941">
                  <c:v>10443</c:v>
                </c:pt>
                <c:pt idx="8942">
                  <c:v>10467</c:v>
                </c:pt>
                <c:pt idx="8943">
                  <c:v>6614</c:v>
                </c:pt>
                <c:pt idx="8944">
                  <c:v>207</c:v>
                </c:pt>
                <c:pt idx="8945">
                  <c:v>596</c:v>
                </c:pt>
                <c:pt idx="8946">
                  <c:v>2480</c:v>
                </c:pt>
                <c:pt idx="8947">
                  <c:v>1259</c:v>
                </c:pt>
                <c:pt idx="8948">
                  <c:v>3151</c:v>
                </c:pt>
                <c:pt idx="8949">
                  <c:v>109</c:v>
                </c:pt>
                <c:pt idx="8950">
                  <c:v>9324</c:v>
                </c:pt>
                <c:pt idx="8951">
                  <c:v>355</c:v>
                </c:pt>
                <c:pt idx="8952">
                  <c:v>3132</c:v>
                </c:pt>
                <c:pt idx="8953">
                  <c:v>496</c:v>
                </c:pt>
                <c:pt idx="8954">
                  <c:v>158</c:v>
                </c:pt>
                <c:pt idx="8955">
                  <c:v>1046</c:v>
                </c:pt>
                <c:pt idx="8956">
                  <c:v>1368</c:v>
                </c:pt>
                <c:pt idx="8957">
                  <c:v>924</c:v>
                </c:pt>
                <c:pt idx="8958">
                  <c:v>7782</c:v>
                </c:pt>
                <c:pt idx="8959">
                  <c:v>583</c:v>
                </c:pt>
                <c:pt idx="8960">
                  <c:v>5283</c:v>
                </c:pt>
                <c:pt idx="8961">
                  <c:v>12773</c:v>
                </c:pt>
                <c:pt idx="8962">
                  <c:v>984</c:v>
                </c:pt>
                <c:pt idx="8963">
                  <c:v>790</c:v>
                </c:pt>
                <c:pt idx="8964">
                  <c:v>8758</c:v>
                </c:pt>
                <c:pt idx="8965">
                  <c:v>3373</c:v>
                </c:pt>
                <c:pt idx="8966">
                  <c:v>282</c:v>
                </c:pt>
                <c:pt idx="8967">
                  <c:v>2051</c:v>
                </c:pt>
                <c:pt idx="8968">
                  <c:v>2704</c:v>
                </c:pt>
                <c:pt idx="8969">
                  <c:v>1260</c:v>
                </c:pt>
                <c:pt idx="8970">
                  <c:v>1099</c:v>
                </c:pt>
                <c:pt idx="8971">
                  <c:v>2764</c:v>
                </c:pt>
                <c:pt idx="8972">
                  <c:v>743</c:v>
                </c:pt>
                <c:pt idx="8973">
                  <c:v>435</c:v>
                </c:pt>
                <c:pt idx="8974">
                  <c:v>300</c:v>
                </c:pt>
                <c:pt idx="8975">
                  <c:v>488</c:v>
                </c:pt>
                <c:pt idx="8976">
                  <c:v>4070</c:v>
                </c:pt>
                <c:pt idx="8977">
                  <c:v>604</c:v>
                </c:pt>
                <c:pt idx="8978">
                  <c:v>858</c:v>
                </c:pt>
                <c:pt idx="8979">
                  <c:v>4990</c:v>
                </c:pt>
                <c:pt idx="8980">
                  <c:v>10473</c:v>
                </c:pt>
                <c:pt idx="8981">
                  <c:v>4591</c:v>
                </c:pt>
                <c:pt idx="8982">
                  <c:v>11436</c:v>
                </c:pt>
                <c:pt idx="8983">
                  <c:v>601</c:v>
                </c:pt>
                <c:pt idx="8984">
                  <c:v>501</c:v>
                </c:pt>
                <c:pt idx="8985">
                  <c:v>615</c:v>
                </c:pt>
                <c:pt idx="8986">
                  <c:v>946</c:v>
                </c:pt>
                <c:pt idx="8987">
                  <c:v>1924</c:v>
                </c:pt>
                <c:pt idx="8988">
                  <c:v>2968</c:v>
                </c:pt>
                <c:pt idx="8989">
                  <c:v>738</c:v>
                </c:pt>
                <c:pt idx="8990">
                  <c:v>1896</c:v>
                </c:pt>
                <c:pt idx="8991">
                  <c:v>1181</c:v>
                </c:pt>
                <c:pt idx="8992">
                  <c:v>4156</c:v>
                </c:pt>
                <c:pt idx="8993">
                  <c:v>59</c:v>
                </c:pt>
                <c:pt idx="8994">
                  <c:v>2611</c:v>
                </c:pt>
                <c:pt idx="8995">
                  <c:v>249</c:v>
                </c:pt>
                <c:pt idx="8996">
                  <c:v>577</c:v>
                </c:pt>
                <c:pt idx="8997">
                  <c:v>1846</c:v>
                </c:pt>
                <c:pt idx="8998">
                  <c:v>5928</c:v>
                </c:pt>
                <c:pt idx="8999">
                  <c:v>2502</c:v>
                </c:pt>
                <c:pt idx="9000">
                  <c:v>314</c:v>
                </c:pt>
                <c:pt idx="9001">
                  <c:v>318</c:v>
                </c:pt>
                <c:pt idx="9002">
                  <c:v>1109</c:v>
                </c:pt>
                <c:pt idx="9003">
                  <c:v>757</c:v>
                </c:pt>
                <c:pt idx="9004">
                  <c:v>970</c:v>
                </c:pt>
                <c:pt idx="9005">
                  <c:v>872</c:v>
                </c:pt>
                <c:pt idx="9006">
                  <c:v>1020</c:v>
                </c:pt>
                <c:pt idx="9007">
                  <c:v>1474</c:v>
                </c:pt>
                <c:pt idx="9008">
                  <c:v>2729</c:v>
                </c:pt>
                <c:pt idx="9009">
                  <c:v>227</c:v>
                </c:pt>
                <c:pt idx="9010">
                  <c:v>2548</c:v>
                </c:pt>
                <c:pt idx="9011">
                  <c:v>6525</c:v>
                </c:pt>
                <c:pt idx="9012">
                  <c:v>15480</c:v>
                </c:pt>
                <c:pt idx="9013">
                  <c:v>7946</c:v>
                </c:pt>
                <c:pt idx="9014">
                  <c:v>25787</c:v>
                </c:pt>
                <c:pt idx="9015">
                  <c:v>18146</c:v>
                </c:pt>
                <c:pt idx="9016">
                  <c:v>13947</c:v>
                </c:pt>
                <c:pt idx="9017">
                  <c:v>2122</c:v>
                </c:pt>
                <c:pt idx="9018">
                  <c:v>1784</c:v>
                </c:pt>
                <c:pt idx="9019">
                  <c:v>6555</c:v>
                </c:pt>
                <c:pt idx="9020">
                  <c:v>7922</c:v>
                </c:pt>
                <c:pt idx="9021">
                  <c:v>8316</c:v>
                </c:pt>
                <c:pt idx="9022">
                  <c:v>2155</c:v>
                </c:pt>
                <c:pt idx="9023">
                  <c:v>16517</c:v>
                </c:pt>
                <c:pt idx="9024">
                  <c:v>3925</c:v>
                </c:pt>
                <c:pt idx="9025">
                  <c:v>3593</c:v>
                </c:pt>
                <c:pt idx="9026">
                  <c:v>13192</c:v>
                </c:pt>
                <c:pt idx="9027">
                  <c:v>4370</c:v>
                </c:pt>
                <c:pt idx="9028">
                  <c:v>2102</c:v>
                </c:pt>
                <c:pt idx="9029">
                  <c:v>1108</c:v>
                </c:pt>
                <c:pt idx="9030">
                  <c:v>3735</c:v>
                </c:pt>
                <c:pt idx="9031">
                  <c:v>5812</c:v>
                </c:pt>
                <c:pt idx="9032">
                  <c:v>2090</c:v>
                </c:pt>
                <c:pt idx="9033">
                  <c:v>1205</c:v>
                </c:pt>
                <c:pt idx="9034">
                  <c:v>8261</c:v>
                </c:pt>
                <c:pt idx="9035">
                  <c:v>171</c:v>
                </c:pt>
                <c:pt idx="9036">
                  <c:v>719</c:v>
                </c:pt>
                <c:pt idx="9037">
                  <c:v>5763</c:v>
                </c:pt>
                <c:pt idx="9038">
                  <c:v>2893</c:v>
                </c:pt>
                <c:pt idx="9039">
                  <c:v>18124</c:v>
                </c:pt>
                <c:pt idx="9040">
                  <c:v>2542</c:v>
                </c:pt>
                <c:pt idx="9041">
                  <c:v>27336</c:v>
                </c:pt>
                <c:pt idx="9042">
                  <c:v>1178</c:v>
                </c:pt>
                <c:pt idx="9043">
                  <c:v>20528</c:v>
                </c:pt>
                <c:pt idx="9044">
                  <c:v>9253</c:v>
                </c:pt>
                <c:pt idx="9045">
                  <c:v>7831</c:v>
                </c:pt>
                <c:pt idx="9046">
                  <c:v>12991</c:v>
                </c:pt>
                <c:pt idx="9047">
                  <c:v>564</c:v>
                </c:pt>
                <c:pt idx="9048">
                  <c:v>16335</c:v>
                </c:pt>
                <c:pt idx="9049">
                  <c:v>15526</c:v>
                </c:pt>
                <c:pt idx="9050">
                  <c:v>1522</c:v>
                </c:pt>
                <c:pt idx="9051">
                  <c:v>6540</c:v>
                </c:pt>
                <c:pt idx="9052">
                  <c:v>19981</c:v>
                </c:pt>
                <c:pt idx="9053">
                  <c:v>1394</c:v>
                </c:pt>
                <c:pt idx="9054">
                  <c:v>6773</c:v>
                </c:pt>
                <c:pt idx="9055">
                  <c:v>805</c:v>
                </c:pt>
                <c:pt idx="9056">
                  <c:v>9933</c:v>
                </c:pt>
                <c:pt idx="9057">
                  <c:v>763</c:v>
                </c:pt>
                <c:pt idx="9058">
                  <c:v>3610</c:v>
                </c:pt>
                <c:pt idx="9059">
                  <c:v>2766</c:v>
                </c:pt>
                <c:pt idx="9060">
                  <c:v>1733</c:v>
                </c:pt>
                <c:pt idx="9061">
                  <c:v>14251</c:v>
                </c:pt>
                <c:pt idx="9062">
                  <c:v>12967</c:v>
                </c:pt>
                <c:pt idx="9063">
                  <c:v>7665</c:v>
                </c:pt>
                <c:pt idx="9064">
                  <c:v>9751</c:v>
                </c:pt>
                <c:pt idx="9065">
                  <c:v>2388</c:v>
                </c:pt>
                <c:pt idx="9066">
                  <c:v>12371</c:v>
                </c:pt>
                <c:pt idx="9067">
                  <c:v>8917</c:v>
                </c:pt>
                <c:pt idx="9068">
                  <c:v>11228</c:v>
                </c:pt>
                <c:pt idx="9069">
                  <c:v>1983</c:v>
                </c:pt>
                <c:pt idx="9070">
                  <c:v>1798</c:v>
                </c:pt>
                <c:pt idx="9071">
                  <c:v>3338</c:v>
                </c:pt>
                <c:pt idx="9072">
                  <c:v>530</c:v>
                </c:pt>
                <c:pt idx="9073">
                  <c:v>2037</c:v>
                </c:pt>
                <c:pt idx="9074">
                  <c:v>2723</c:v>
                </c:pt>
                <c:pt idx="9075">
                  <c:v>17390</c:v>
                </c:pt>
                <c:pt idx="9076">
                  <c:v>152</c:v>
                </c:pt>
                <c:pt idx="9077">
                  <c:v>760</c:v>
                </c:pt>
                <c:pt idx="9078">
                  <c:v>8098</c:v>
                </c:pt>
                <c:pt idx="9079">
                  <c:v>2251</c:v>
                </c:pt>
                <c:pt idx="9080">
                  <c:v>878</c:v>
                </c:pt>
                <c:pt idx="9081">
                  <c:v>3257</c:v>
                </c:pt>
                <c:pt idx="9082">
                  <c:v>189</c:v>
                </c:pt>
                <c:pt idx="9083">
                  <c:v>8148</c:v>
                </c:pt>
                <c:pt idx="9084">
                  <c:v>4962</c:v>
                </c:pt>
                <c:pt idx="9085">
                  <c:v>3576</c:v>
                </c:pt>
                <c:pt idx="9086">
                  <c:v>20887</c:v>
                </c:pt>
                <c:pt idx="9087">
                  <c:v>12179</c:v>
                </c:pt>
                <c:pt idx="9088">
                  <c:v>3845</c:v>
                </c:pt>
                <c:pt idx="9089">
                  <c:v>21289</c:v>
                </c:pt>
                <c:pt idx="9090">
                  <c:v>5986</c:v>
                </c:pt>
                <c:pt idx="9091">
                  <c:v>8494</c:v>
                </c:pt>
                <c:pt idx="9092">
                  <c:v>3295</c:v>
                </c:pt>
                <c:pt idx="9093">
                  <c:v>1891</c:v>
                </c:pt>
                <c:pt idx="9094">
                  <c:v>1099</c:v>
                </c:pt>
                <c:pt idx="9095">
                  <c:v>392</c:v>
                </c:pt>
                <c:pt idx="9096">
                  <c:v>1710</c:v>
                </c:pt>
                <c:pt idx="9097">
                  <c:v>559</c:v>
                </c:pt>
                <c:pt idx="9098">
                  <c:v>273</c:v>
                </c:pt>
                <c:pt idx="9099">
                  <c:v>1285</c:v>
                </c:pt>
                <c:pt idx="9100">
                  <c:v>1672</c:v>
                </c:pt>
                <c:pt idx="9101">
                  <c:v>4474</c:v>
                </c:pt>
                <c:pt idx="9102">
                  <c:v>16480</c:v>
                </c:pt>
                <c:pt idx="9103">
                  <c:v>6842</c:v>
                </c:pt>
                <c:pt idx="9104">
                  <c:v>18882</c:v>
                </c:pt>
                <c:pt idx="9105">
                  <c:v>12254</c:v>
                </c:pt>
                <c:pt idx="9106">
                  <c:v>12351</c:v>
                </c:pt>
                <c:pt idx="9107">
                  <c:v>31650</c:v>
                </c:pt>
                <c:pt idx="9108">
                  <c:v>16776</c:v>
                </c:pt>
                <c:pt idx="9109">
                  <c:v>19816</c:v>
                </c:pt>
                <c:pt idx="9110">
                  <c:v>10299</c:v>
                </c:pt>
                <c:pt idx="9111">
                  <c:v>30771</c:v>
                </c:pt>
                <c:pt idx="9112">
                  <c:v>4124</c:v>
                </c:pt>
                <c:pt idx="9113">
                  <c:v>5349</c:v>
                </c:pt>
                <c:pt idx="9114">
                  <c:v>6007</c:v>
                </c:pt>
                <c:pt idx="9115">
                  <c:v>13782</c:v>
                </c:pt>
                <c:pt idx="9116">
                  <c:v>8054</c:v>
                </c:pt>
                <c:pt idx="9117">
                  <c:v>12614</c:v>
                </c:pt>
                <c:pt idx="9118">
                  <c:v>21608</c:v>
                </c:pt>
                <c:pt idx="9119">
                  <c:v>28182</c:v>
                </c:pt>
                <c:pt idx="9120">
                  <c:v>8339</c:v>
                </c:pt>
                <c:pt idx="9121">
                  <c:v>13654</c:v>
                </c:pt>
                <c:pt idx="9122">
                  <c:v>3712</c:v>
                </c:pt>
                <c:pt idx="9123">
                  <c:v>30888</c:v>
                </c:pt>
                <c:pt idx="9124">
                  <c:v>30620</c:v>
                </c:pt>
                <c:pt idx="9125">
                  <c:v>15956</c:v>
                </c:pt>
                <c:pt idx="9126">
                  <c:v>5263</c:v>
                </c:pt>
                <c:pt idx="9127">
                  <c:v>28081</c:v>
                </c:pt>
                <c:pt idx="9128">
                  <c:v>21346</c:v>
                </c:pt>
                <c:pt idx="9129">
                  <c:v>20920</c:v>
                </c:pt>
                <c:pt idx="9130">
                  <c:v>29771</c:v>
                </c:pt>
                <c:pt idx="9131">
                  <c:v>4205</c:v>
                </c:pt>
                <c:pt idx="9132">
                  <c:v>16393</c:v>
                </c:pt>
                <c:pt idx="9133">
                  <c:v>17286</c:v>
                </c:pt>
                <c:pt idx="9134">
                  <c:v>28480</c:v>
                </c:pt>
                <c:pt idx="9135">
                  <c:v>22034</c:v>
                </c:pt>
                <c:pt idx="9136">
                  <c:v>8669</c:v>
                </c:pt>
                <c:pt idx="9137">
                  <c:v>11372</c:v>
                </c:pt>
                <c:pt idx="9138">
                  <c:v>16118</c:v>
                </c:pt>
                <c:pt idx="9139">
                  <c:v>6091</c:v>
                </c:pt>
                <c:pt idx="9140">
                  <c:v>11556</c:v>
                </c:pt>
                <c:pt idx="9141">
                  <c:v>16487</c:v>
                </c:pt>
                <c:pt idx="9142">
                  <c:v>6860</c:v>
                </c:pt>
                <c:pt idx="9143">
                  <c:v>1729</c:v>
                </c:pt>
                <c:pt idx="9144">
                  <c:v>1833</c:v>
                </c:pt>
                <c:pt idx="9145">
                  <c:v>748</c:v>
                </c:pt>
                <c:pt idx="9146">
                  <c:v>1548</c:v>
                </c:pt>
                <c:pt idx="9147">
                  <c:v>13526</c:v>
                </c:pt>
                <c:pt idx="9148">
                  <c:v>1545</c:v>
                </c:pt>
                <c:pt idx="9149">
                  <c:v>243</c:v>
                </c:pt>
                <c:pt idx="9150">
                  <c:v>1428</c:v>
                </c:pt>
                <c:pt idx="9151">
                  <c:v>345</c:v>
                </c:pt>
                <c:pt idx="9152">
                  <c:v>5078</c:v>
                </c:pt>
                <c:pt idx="9153">
                  <c:v>709</c:v>
                </c:pt>
                <c:pt idx="9154">
                  <c:v>444</c:v>
                </c:pt>
                <c:pt idx="9155">
                  <c:v>3311</c:v>
                </c:pt>
                <c:pt idx="9156">
                  <c:v>1636</c:v>
                </c:pt>
                <c:pt idx="9157">
                  <c:v>4803</c:v>
                </c:pt>
                <c:pt idx="9158">
                  <c:v>631</c:v>
                </c:pt>
                <c:pt idx="9159">
                  <c:v>2719</c:v>
                </c:pt>
                <c:pt idx="9160">
                  <c:v>3412</c:v>
                </c:pt>
                <c:pt idx="9161">
                  <c:v>483</c:v>
                </c:pt>
                <c:pt idx="9162">
                  <c:v>5907</c:v>
                </c:pt>
                <c:pt idx="9163">
                  <c:v>1874</c:v>
                </c:pt>
                <c:pt idx="9164">
                  <c:v>89</c:v>
                </c:pt>
                <c:pt idx="9165">
                  <c:v>461</c:v>
                </c:pt>
                <c:pt idx="9166">
                  <c:v>377</c:v>
                </c:pt>
                <c:pt idx="9167">
                  <c:v>213</c:v>
                </c:pt>
                <c:pt idx="9168">
                  <c:v>7987</c:v>
                </c:pt>
                <c:pt idx="9169">
                  <c:v>17488</c:v>
                </c:pt>
                <c:pt idx="9170">
                  <c:v>13931</c:v>
                </c:pt>
                <c:pt idx="9171">
                  <c:v>7972</c:v>
                </c:pt>
                <c:pt idx="9172">
                  <c:v>9954</c:v>
                </c:pt>
                <c:pt idx="9173">
                  <c:v>4234</c:v>
                </c:pt>
                <c:pt idx="9174">
                  <c:v>221</c:v>
                </c:pt>
                <c:pt idx="9175">
                  <c:v>7540</c:v>
                </c:pt>
                <c:pt idx="9176">
                  <c:v>1004</c:v>
                </c:pt>
                <c:pt idx="9177">
                  <c:v>1477</c:v>
                </c:pt>
                <c:pt idx="9178">
                  <c:v>365</c:v>
                </c:pt>
                <c:pt idx="9179">
                  <c:v>2040</c:v>
                </c:pt>
                <c:pt idx="9180">
                  <c:v>4644</c:v>
                </c:pt>
                <c:pt idx="9181">
                  <c:v>225</c:v>
                </c:pt>
                <c:pt idx="9182">
                  <c:v>416</c:v>
                </c:pt>
                <c:pt idx="9183">
                  <c:v>5909</c:v>
                </c:pt>
                <c:pt idx="9184">
                  <c:v>487</c:v>
                </c:pt>
                <c:pt idx="9185">
                  <c:v>1794</c:v>
                </c:pt>
                <c:pt idx="9186">
                  <c:v>7201</c:v>
                </c:pt>
                <c:pt idx="9187">
                  <c:v>2760</c:v>
                </c:pt>
                <c:pt idx="9188">
                  <c:v>259</c:v>
                </c:pt>
                <c:pt idx="9189">
                  <c:v>1811</c:v>
                </c:pt>
                <c:pt idx="9190">
                  <c:v>6511</c:v>
                </c:pt>
                <c:pt idx="9191">
                  <c:v>2455</c:v>
                </c:pt>
                <c:pt idx="9192">
                  <c:v>1332</c:v>
                </c:pt>
                <c:pt idx="9193">
                  <c:v>945</c:v>
                </c:pt>
                <c:pt idx="9194">
                  <c:v>10086</c:v>
                </c:pt>
                <c:pt idx="9195">
                  <c:v>438</c:v>
                </c:pt>
                <c:pt idx="9196">
                  <c:v>4595</c:v>
                </c:pt>
                <c:pt idx="9197">
                  <c:v>2545</c:v>
                </c:pt>
                <c:pt idx="9198">
                  <c:v>1646</c:v>
                </c:pt>
                <c:pt idx="9199">
                  <c:v>3316</c:v>
                </c:pt>
                <c:pt idx="9200">
                  <c:v>9581</c:v>
                </c:pt>
                <c:pt idx="9201">
                  <c:v>1380</c:v>
                </c:pt>
                <c:pt idx="9202">
                  <c:v>844</c:v>
                </c:pt>
                <c:pt idx="9203">
                  <c:v>1287</c:v>
                </c:pt>
                <c:pt idx="9204">
                  <c:v>93</c:v>
                </c:pt>
                <c:pt idx="9205">
                  <c:v>1696</c:v>
                </c:pt>
                <c:pt idx="9206">
                  <c:v>2104</c:v>
                </c:pt>
                <c:pt idx="9207">
                  <c:v>2106</c:v>
                </c:pt>
                <c:pt idx="9208">
                  <c:v>3807</c:v>
                </c:pt>
                <c:pt idx="9209">
                  <c:v>1959</c:v>
                </c:pt>
                <c:pt idx="9210">
                  <c:v>16162</c:v>
                </c:pt>
                <c:pt idx="9211">
                  <c:v>9919</c:v>
                </c:pt>
                <c:pt idx="9212">
                  <c:v>10647</c:v>
                </c:pt>
                <c:pt idx="9213">
                  <c:v>16348</c:v>
                </c:pt>
                <c:pt idx="9214">
                  <c:v>14997</c:v>
                </c:pt>
                <c:pt idx="9215">
                  <c:v>20158</c:v>
                </c:pt>
                <c:pt idx="9216">
                  <c:v>17606</c:v>
                </c:pt>
                <c:pt idx="9217">
                  <c:v>2894</c:v>
                </c:pt>
                <c:pt idx="9218">
                  <c:v>13555</c:v>
                </c:pt>
                <c:pt idx="9219">
                  <c:v>7769</c:v>
                </c:pt>
                <c:pt idx="9220">
                  <c:v>1608</c:v>
                </c:pt>
                <c:pt idx="9221">
                  <c:v>11564</c:v>
                </c:pt>
                <c:pt idx="9222">
                  <c:v>13362</c:v>
                </c:pt>
                <c:pt idx="9223">
                  <c:v>11084</c:v>
                </c:pt>
                <c:pt idx="9224">
                  <c:v>17177</c:v>
                </c:pt>
                <c:pt idx="9225">
                  <c:v>11814</c:v>
                </c:pt>
                <c:pt idx="9226">
                  <c:v>3605</c:v>
                </c:pt>
                <c:pt idx="9227">
                  <c:v>3961</c:v>
                </c:pt>
                <c:pt idx="9228">
                  <c:v>13390</c:v>
                </c:pt>
                <c:pt idx="9229">
                  <c:v>917</c:v>
                </c:pt>
                <c:pt idx="9230">
                  <c:v>2239</c:v>
                </c:pt>
                <c:pt idx="9231">
                  <c:v>19605</c:v>
                </c:pt>
                <c:pt idx="9232">
                  <c:v>1551</c:v>
                </c:pt>
                <c:pt idx="9233">
                  <c:v>1410</c:v>
                </c:pt>
                <c:pt idx="9234">
                  <c:v>6511</c:v>
                </c:pt>
                <c:pt idx="9235">
                  <c:v>14552</c:v>
                </c:pt>
                <c:pt idx="9236">
                  <c:v>16041</c:v>
                </c:pt>
                <c:pt idx="9237">
                  <c:v>1969</c:v>
                </c:pt>
                <c:pt idx="9238">
                  <c:v>15814</c:v>
                </c:pt>
                <c:pt idx="9239">
                  <c:v>5109</c:v>
                </c:pt>
                <c:pt idx="9240">
                  <c:v>2040</c:v>
                </c:pt>
                <c:pt idx="9241">
                  <c:v>11990</c:v>
                </c:pt>
                <c:pt idx="9242">
                  <c:v>10750</c:v>
                </c:pt>
                <c:pt idx="9243">
                  <c:v>2011</c:v>
                </c:pt>
                <c:pt idx="9244">
                  <c:v>14779</c:v>
                </c:pt>
                <c:pt idx="9245">
                  <c:v>11888</c:v>
                </c:pt>
                <c:pt idx="9246">
                  <c:v>16157</c:v>
                </c:pt>
                <c:pt idx="9247">
                  <c:v>25687</c:v>
                </c:pt>
                <c:pt idx="9248">
                  <c:v>8352</c:v>
                </c:pt>
                <c:pt idx="9249">
                  <c:v>6991</c:v>
                </c:pt>
                <c:pt idx="9250">
                  <c:v>1522</c:v>
                </c:pt>
                <c:pt idx="9251">
                  <c:v>3996</c:v>
                </c:pt>
                <c:pt idx="9252">
                  <c:v>2494</c:v>
                </c:pt>
                <c:pt idx="9253">
                  <c:v>1785</c:v>
                </c:pt>
                <c:pt idx="9254">
                  <c:v>662</c:v>
                </c:pt>
                <c:pt idx="9255">
                  <c:v>631</c:v>
                </c:pt>
                <c:pt idx="9256">
                  <c:v>2886</c:v>
                </c:pt>
                <c:pt idx="9257">
                  <c:v>1396</c:v>
                </c:pt>
                <c:pt idx="9258">
                  <c:v>3697</c:v>
                </c:pt>
                <c:pt idx="9259">
                  <c:v>6482</c:v>
                </c:pt>
                <c:pt idx="9260">
                  <c:v>4914</c:v>
                </c:pt>
                <c:pt idx="9261">
                  <c:v>142</c:v>
                </c:pt>
                <c:pt idx="9262">
                  <c:v>7150</c:v>
                </c:pt>
                <c:pt idx="9263">
                  <c:v>5534</c:v>
                </c:pt>
                <c:pt idx="9264">
                  <c:v>187</c:v>
                </c:pt>
                <c:pt idx="9265">
                  <c:v>104</c:v>
                </c:pt>
                <c:pt idx="9266">
                  <c:v>2692</c:v>
                </c:pt>
                <c:pt idx="9267">
                  <c:v>1798</c:v>
                </c:pt>
                <c:pt idx="9268">
                  <c:v>2319</c:v>
                </c:pt>
                <c:pt idx="9269">
                  <c:v>6808</c:v>
                </c:pt>
                <c:pt idx="9270">
                  <c:v>3621</c:v>
                </c:pt>
                <c:pt idx="9271">
                  <c:v>2207</c:v>
                </c:pt>
                <c:pt idx="9272">
                  <c:v>4147</c:v>
                </c:pt>
                <c:pt idx="9273">
                  <c:v>792</c:v>
                </c:pt>
                <c:pt idx="9274">
                  <c:v>5766</c:v>
                </c:pt>
                <c:pt idx="9275">
                  <c:v>71</c:v>
                </c:pt>
                <c:pt idx="9276">
                  <c:v>13576</c:v>
                </c:pt>
                <c:pt idx="9277">
                  <c:v>842</c:v>
                </c:pt>
                <c:pt idx="9278">
                  <c:v>25802</c:v>
                </c:pt>
                <c:pt idx="9279">
                  <c:v>19546</c:v>
                </c:pt>
                <c:pt idx="9280">
                  <c:v>25251</c:v>
                </c:pt>
                <c:pt idx="9281">
                  <c:v>725</c:v>
                </c:pt>
                <c:pt idx="9282">
                  <c:v>24476</c:v>
                </c:pt>
                <c:pt idx="9283">
                  <c:v>10530</c:v>
                </c:pt>
                <c:pt idx="9284">
                  <c:v>20065</c:v>
                </c:pt>
                <c:pt idx="9285">
                  <c:v>14534</c:v>
                </c:pt>
                <c:pt idx="9286">
                  <c:v>16146</c:v>
                </c:pt>
                <c:pt idx="9287">
                  <c:v>21863</c:v>
                </c:pt>
                <c:pt idx="9288">
                  <c:v>10940</c:v>
                </c:pt>
                <c:pt idx="9289">
                  <c:v>3430</c:v>
                </c:pt>
                <c:pt idx="9290">
                  <c:v>3056</c:v>
                </c:pt>
                <c:pt idx="9291">
                  <c:v>2068</c:v>
                </c:pt>
                <c:pt idx="9292">
                  <c:v>5893</c:v>
                </c:pt>
                <c:pt idx="9293">
                  <c:v>22253</c:v>
                </c:pt>
                <c:pt idx="9294">
                  <c:v>1443</c:v>
                </c:pt>
                <c:pt idx="9295">
                  <c:v>23844</c:v>
                </c:pt>
                <c:pt idx="9296">
                  <c:v>12870</c:v>
                </c:pt>
                <c:pt idx="9297">
                  <c:v>12041</c:v>
                </c:pt>
                <c:pt idx="9298">
                  <c:v>4631</c:v>
                </c:pt>
                <c:pt idx="9299">
                  <c:v>12242</c:v>
                </c:pt>
                <c:pt idx="9300">
                  <c:v>802</c:v>
                </c:pt>
                <c:pt idx="9301">
                  <c:v>11105</c:v>
                </c:pt>
                <c:pt idx="9302">
                  <c:v>1259</c:v>
                </c:pt>
                <c:pt idx="9303">
                  <c:v>31611</c:v>
                </c:pt>
                <c:pt idx="9304">
                  <c:v>8162</c:v>
                </c:pt>
                <c:pt idx="9305">
                  <c:v>1348</c:v>
                </c:pt>
                <c:pt idx="9306">
                  <c:v>27655</c:v>
                </c:pt>
                <c:pt idx="9307">
                  <c:v>15099</c:v>
                </c:pt>
                <c:pt idx="9308">
                  <c:v>6096</c:v>
                </c:pt>
                <c:pt idx="9309">
                  <c:v>8497</c:v>
                </c:pt>
                <c:pt idx="9310">
                  <c:v>14236</c:v>
                </c:pt>
                <c:pt idx="9311">
                  <c:v>15564</c:v>
                </c:pt>
                <c:pt idx="9312">
                  <c:v>4486</c:v>
                </c:pt>
                <c:pt idx="9313">
                  <c:v>12352</c:v>
                </c:pt>
                <c:pt idx="9314">
                  <c:v>26598</c:v>
                </c:pt>
                <c:pt idx="9315">
                  <c:v>8281</c:v>
                </c:pt>
                <c:pt idx="9316">
                  <c:v>750</c:v>
                </c:pt>
                <c:pt idx="9317">
                  <c:v>8440</c:v>
                </c:pt>
                <c:pt idx="9318">
                  <c:v>14737</c:v>
                </c:pt>
                <c:pt idx="9319">
                  <c:v>11874</c:v>
                </c:pt>
                <c:pt idx="9320">
                  <c:v>8374</c:v>
                </c:pt>
                <c:pt idx="9321">
                  <c:v>15537</c:v>
                </c:pt>
                <c:pt idx="9322">
                  <c:v>18627</c:v>
                </c:pt>
                <c:pt idx="9323">
                  <c:v>28069</c:v>
                </c:pt>
                <c:pt idx="9324">
                  <c:v>13618</c:v>
                </c:pt>
                <c:pt idx="9325">
                  <c:v>20440</c:v>
                </c:pt>
                <c:pt idx="9326">
                  <c:v>20004</c:v>
                </c:pt>
                <c:pt idx="9327">
                  <c:v>19186</c:v>
                </c:pt>
                <c:pt idx="9328">
                  <c:v>5472</c:v>
                </c:pt>
                <c:pt idx="9329">
                  <c:v>18005</c:v>
                </c:pt>
                <c:pt idx="9330">
                  <c:v>29847</c:v>
                </c:pt>
                <c:pt idx="9331">
                  <c:v>13825</c:v>
                </c:pt>
                <c:pt idx="9332">
                  <c:v>5771</c:v>
                </c:pt>
                <c:pt idx="9333">
                  <c:v>12330</c:v>
                </c:pt>
                <c:pt idx="9334">
                  <c:v>32646</c:v>
                </c:pt>
                <c:pt idx="9335">
                  <c:v>27550</c:v>
                </c:pt>
                <c:pt idx="9336">
                  <c:v>32672</c:v>
                </c:pt>
                <c:pt idx="9337">
                  <c:v>12587</c:v>
                </c:pt>
                <c:pt idx="9338">
                  <c:v>7651</c:v>
                </c:pt>
                <c:pt idx="9339">
                  <c:v>36496</c:v>
                </c:pt>
                <c:pt idx="9340">
                  <c:v>9949</c:v>
                </c:pt>
                <c:pt idx="9341">
                  <c:v>36</c:v>
                </c:pt>
                <c:pt idx="9342">
                  <c:v>13932</c:v>
                </c:pt>
                <c:pt idx="9343">
                  <c:v>4793</c:v>
                </c:pt>
                <c:pt idx="9344">
                  <c:v>26153</c:v>
                </c:pt>
                <c:pt idx="9345">
                  <c:v>11227</c:v>
                </c:pt>
                <c:pt idx="9346">
                  <c:v>25356</c:v>
                </c:pt>
                <c:pt idx="9347">
                  <c:v>25462</c:v>
                </c:pt>
                <c:pt idx="9348">
                  <c:v>9633</c:v>
                </c:pt>
                <c:pt idx="9349">
                  <c:v>6322</c:v>
                </c:pt>
                <c:pt idx="9350">
                  <c:v>16074</c:v>
                </c:pt>
                <c:pt idx="9351">
                  <c:v>10852</c:v>
                </c:pt>
                <c:pt idx="9352">
                  <c:v>20296</c:v>
                </c:pt>
                <c:pt idx="9353">
                  <c:v>6769</c:v>
                </c:pt>
                <c:pt idx="9354">
                  <c:v>15266</c:v>
                </c:pt>
                <c:pt idx="9355">
                  <c:v>4837</c:v>
                </c:pt>
                <c:pt idx="9356">
                  <c:v>6809</c:v>
                </c:pt>
                <c:pt idx="9357">
                  <c:v>10343</c:v>
                </c:pt>
                <c:pt idx="9358">
                  <c:v>13340</c:v>
                </c:pt>
                <c:pt idx="9359">
                  <c:v>5572</c:v>
                </c:pt>
                <c:pt idx="9360">
                  <c:v>8011</c:v>
                </c:pt>
                <c:pt idx="9361">
                  <c:v>20818</c:v>
                </c:pt>
                <c:pt idx="9362">
                  <c:v>11575</c:v>
                </c:pt>
                <c:pt idx="9363">
                  <c:v>18948</c:v>
                </c:pt>
                <c:pt idx="9364">
                  <c:v>2667</c:v>
                </c:pt>
                <c:pt idx="9365">
                  <c:v>1060</c:v>
                </c:pt>
                <c:pt idx="9366">
                  <c:v>2126</c:v>
                </c:pt>
                <c:pt idx="9367">
                  <c:v>4059</c:v>
                </c:pt>
                <c:pt idx="9368">
                  <c:v>9415</c:v>
                </c:pt>
                <c:pt idx="9369">
                  <c:v>10344</c:v>
                </c:pt>
                <c:pt idx="9370">
                  <c:v>19200</c:v>
                </c:pt>
                <c:pt idx="9371">
                  <c:v>10993</c:v>
                </c:pt>
                <c:pt idx="9372">
                  <c:v>10569</c:v>
                </c:pt>
                <c:pt idx="9373">
                  <c:v>10801</c:v>
                </c:pt>
                <c:pt idx="9374">
                  <c:v>4445</c:v>
                </c:pt>
                <c:pt idx="9375">
                  <c:v>6382</c:v>
                </c:pt>
                <c:pt idx="9376">
                  <c:v>8111</c:v>
                </c:pt>
                <c:pt idx="9377">
                  <c:v>7348</c:v>
                </c:pt>
                <c:pt idx="9378">
                  <c:v>2449</c:v>
                </c:pt>
                <c:pt idx="9379">
                  <c:v>7419</c:v>
                </c:pt>
                <c:pt idx="9380">
                  <c:v>19878</c:v>
                </c:pt>
                <c:pt idx="9381">
                  <c:v>20243</c:v>
                </c:pt>
                <c:pt idx="9382">
                  <c:v>32401</c:v>
                </c:pt>
                <c:pt idx="9383">
                  <c:v>15317</c:v>
                </c:pt>
                <c:pt idx="9384">
                  <c:v>21492</c:v>
                </c:pt>
                <c:pt idx="9385">
                  <c:v>36581</c:v>
                </c:pt>
                <c:pt idx="9386">
                  <c:v>23078</c:v>
                </c:pt>
                <c:pt idx="9387">
                  <c:v>30567</c:v>
                </c:pt>
                <c:pt idx="9388">
                  <c:v>6061</c:v>
                </c:pt>
                <c:pt idx="9389">
                  <c:v>24792</c:v>
                </c:pt>
                <c:pt idx="9390">
                  <c:v>24960</c:v>
                </c:pt>
                <c:pt idx="9391">
                  <c:v>35345</c:v>
                </c:pt>
                <c:pt idx="9392">
                  <c:v>37289</c:v>
                </c:pt>
                <c:pt idx="9393">
                  <c:v>38508</c:v>
                </c:pt>
                <c:pt idx="9394">
                  <c:v>15756</c:v>
                </c:pt>
                <c:pt idx="9395">
                  <c:v>29046</c:v>
                </c:pt>
                <c:pt idx="9396">
                  <c:v>15113</c:v>
                </c:pt>
                <c:pt idx="9397">
                  <c:v>23591</c:v>
                </c:pt>
                <c:pt idx="9398">
                  <c:v>15180</c:v>
                </c:pt>
                <c:pt idx="9399">
                  <c:v>4001</c:v>
                </c:pt>
                <c:pt idx="9400">
                  <c:v>25561</c:v>
                </c:pt>
                <c:pt idx="9401">
                  <c:v>29350</c:v>
                </c:pt>
                <c:pt idx="9402">
                  <c:v>6621</c:v>
                </c:pt>
                <c:pt idx="9403">
                  <c:v>8200</c:v>
                </c:pt>
                <c:pt idx="9404">
                  <c:v>1822</c:v>
                </c:pt>
                <c:pt idx="9405">
                  <c:v>5504</c:v>
                </c:pt>
                <c:pt idx="9406">
                  <c:v>21749</c:v>
                </c:pt>
                <c:pt idx="9407">
                  <c:v>3655</c:v>
                </c:pt>
                <c:pt idx="9408">
                  <c:v>2209</c:v>
                </c:pt>
                <c:pt idx="9409">
                  <c:v>5418</c:v>
                </c:pt>
                <c:pt idx="9410">
                  <c:v>293</c:v>
                </c:pt>
                <c:pt idx="9411">
                  <c:v>12430</c:v>
                </c:pt>
                <c:pt idx="9412">
                  <c:v>16918</c:v>
                </c:pt>
                <c:pt idx="9413">
                  <c:v>15446</c:v>
                </c:pt>
                <c:pt idx="9414">
                  <c:v>17278</c:v>
                </c:pt>
                <c:pt idx="9415">
                  <c:v>10680</c:v>
                </c:pt>
                <c:pt idx="9416">
                  <c:v>29435</c:v>
                </c:pt>
                <c:pt idx="9417">
                  <c:v>32302</c:v>
                </c:pt>
                <c:pt idx="9418">
                  <c:v>29053</c:v>
                </c:pt>
                <c:pt idx="9419">
                  <c:v>6935</c:v>
                </c:pt>
                <c:pt idx="9420">
                  <c:v>13443</c:v>
                </c:pt>
                <c:pt idx="9421">
                  <c:v>28206</c:v>
                </c:pt>
                <c:pt idx="9422">
                  <c:v>11228</c:v>
                </c:pt>
                <c:pt idx="9423">
                  <c:v>2868</c:v>
                </c:pt>
                <c:pt idx="9424">
                  <c:v>20159</c:v>
                </c:pt>
                <c:pt idx="9425">
                  <c:v>18009</c:v>
                </c:pt>
                <c:pt idx="9426">
                  <c:v>18514</c:v>
                </c:pt>
                <c:pt idx="9427">
                  <c:v>898</c:v>
                </c:pt>
                <c:pt idx="9428">
                  <c:v>25687</c:v>
                </c:pt>
                <c:pt idx="9429">
                  <c:v>25422</c:v>
                </c:pt>
                <c:pt idx="9430">
                  <c:v>11575</c:v>
                </c:pt>
                <c:pt idx="9431">
                  <c:v>8487</c:v>
                </c:pt>
                <c:pt idx="9432">
                  <c:v>19167</c:v>
                </c:pt>
                <c:pt idx="9433">
                  <c:v>15488</c:v>
                </c:pt>
                <c:pt idx="9434">
                  <c:v>10351</c:v>
                </c:pt>
                <c:pt idx="9435">
                  <c:v>17766</c:v>
                </c:pt>
                <c:pt idx="9436">
                  <c:v>20125</c:v>
                </c:pt>
                <c:pt idx="9437">
                  <c:v>16986</c:v>
                </c:pt>
                <c:pt idx="9438">
                  <c:v>7250</c:v>
                </c:pt>
                <c:pt idx="9439">
                  <c:v>13760</c:v>
                </c:pt>
                <c:pt idx="9440">
                  <c:v>15645</c:v>
                </c:pt>
                <c:pt idx="9441">
                  <c:v>20463</c:v>
                </c:pt>
                <c:pt idx="9442">
                  <c:v>10224</c:v>
                </c:pt>
                <c:pt idx="9443">
                  <c:v>20679</c:v>
                </c:pt>
                <c:pt idx="9444">
                  <c:v>23882</c:v>
                </c:pt>
                <c:pt idx="9445">
                  <c:v>14981</c:v>
                </c:pt>
                <c:pt idx="9446">
                  <c:v>14209</c:v>
                </c:pt>
                <c:pt idx="9447">
                  <c:v>14812</c:v>
                </c:pt>
                <c:pt idx="9448">
                  <c:v>6665</c:v>
                </c:pt>
                <c:pt idx="9449">
                  <c:v>18103</c:v>
                </c:pt>
                <c:pt idx="9450">
                  <c:v>6019</c:v>
                </c:pt>
                <c:pt idx="9451">
                  <c:v>12534</c:v>
                </c:pt>
                <c:pt idx="9452">
                  <c:v>6458</c:v>
                </c:pt>
                <c:pt idx="9453">
                  <c:v>23223</c:v>
                </c:pt>
                <c:pt idx="9454">
                  <c:v>15765</c:v>
                </c:pt>
                <c:pt idx="9455">
                  <c:v>32924</c:v>
                </c:pt>
                <c:pt idx="9456">
                  <c:v>2614</c:v>
                </c:pt>
                <c:pt idx="9457">
                  <c:v>19021</c:v>
                </c:pt>
                <c:pt idx="9458">
                  <c:v>25332</c:v>
                </c:pt>
                <c:pt idx="9459">
                  <c:v>21958</c:v>
                </c:pt>
                <c:pt idx="9460">
                  <c:v>26589</c:v>
                </c:pt>
                <c:pt idx="9461">
                  <c:v>13749</c:v>
                </c:pt>
                <c:pt idx="9462">
                  <c:v>9868</c:v>
                </c:pt>
                <c:pt idx="9463">
                  <c:v>11077</c:v>
                </c:pt>
                <c:pt idx="9464">
                  <c:v>18853</c:v>
                </c:pt>
                <c:pt idx="9465">
                  <c:v>6143</c:v>
                </c:pt>
                <c:pt idx="9466">
                  <c:v>22412</c:v>
                </c:pt>
                <c:pt idx="9467">
                  <c:v>16660</c:v>
                </c:pt>
                <c:pt idx="9468">
                  <c:v>15888</c:v>
                </c:pt>
                <c:pt idx="9469">
                  <c:v>26782</c:v>
                </c:pt>
                <c:pt idx="9470">
                  <c:v>26949</c:v>
                </c:pt>
                <c:pt idx="9471">
                  <c:v>26213</c:v>
                </c:pt>
                <c:pt idx="9472">
                  <c:v>30534</c:v>
                </c:pt>
                <c:pt idx="9473">
                  <c:v>24068</c:v>
                </c:pt>
                <c:pt idx="9474">
                  <c:v>15270</c:v>
                </c:pt>
                <c:pt idx="9475">
                  <c:v>10264</c:v>
                </c:pt>
                <c:pt idx="9476">
                  <c:v>6606</c:v>
                </c:pt>
                <c:pt idx="9477">
                  <c:v>17169</c:v>
                </c:pt>
                <c:pt idx="9478">
                  <c:v>11322</c:v>
                </c:pt>
                <c:pt idx="9479">
                  <c:v>14439</c:v>
                </c:pt>
                <c:pt idx="9480">
                  <c:v>33421</c:v>
                </c:pt>
                <c:pt idx="9481">
                  <c:v>9613</c:v>
                </c:pt>
                <c:pt idx="9482">
                  <c:v>11531</c:v>
                </c:pt>
                <c:pt idx="9483">
                  <c:v>8333</c:v>
                </c:pt>
                <c:pt idx="9484">
                  <c:v>24594</c:v>
                </c:pt>
                <c:pt idx="9485">
                  <c:v>4004</c:v>
                </c:pt>
                <c:pt idx="9486">
                  <c:v>27101</c:v>
                </c:pt>
                <c:pt idx="9487">
                  <c:v>10334</c:v>
                </c:pt>
                <c:pt idx="9488">
                  <c:v>10082</c:v>
                </c:pt>
                <c:pt idx="9489">
                  <c:v>7230</c:v>
                </c:pt>
                <c:pt idx="9490">
                  <c:v>1903</c:v>
                </c:pt>
                <c:pt idx="9491">
                  <c:v>13266</c:v>
                </c:pt>
                <c:pt idx="9492">
                  <c:v>21652</c:v>
                </c:pt>
                <c:pt idx="9493">
                  <c:v>28844</c:v>
                </c:pt>
                <c:pt idx="9494">
                  <c:v>25307</c:v>
                </c:pt>
                <c:pt idx="9495">
                  <c:v>28082</c:v>
                </c:pt>
                <c:pt idx="9496">
                  <c:v>14919</c:v>
                </c:pt>
                <c:pt idx="9497">
                  <c:v>7556</c:v>
                </c:pt>
                <c:pt idx="9498">
                  <c:v>5974</c:v>
                </c:pt>
                <c:pt idx="9499">
                  <c:v>18452</c:v>
                </c:pt>
                <c:pt idx="9500">
                  <c:v>25400</c:v>
                </c:pt>
                <c:pt idx="9501">
                  <c:v>23307</c:v>
                </c:pt>
                <c:pt idx="9502">
                  <c:v>18878</c:v>
                </c:pt>
                <c:pt idx="9503">
                  <c:v>13261</c:v>
                </c:pt>
                <c:pt idx="9504">
                  <c:v>25364</c:v>
                </c:pt>
                <c:pt idx="9505">
                  <c:v>16331</c:v>
                </c:pt>
                <c:pt idx="9506">
                  <c:v>15545</c:v>
                </c:pt>
                <c:pt idx="9507">
                  <c:v>9957</c:v>
                </c:pt>
                <c:pt idx="9508">
                  <c:v>15079</c:v>
                </c:pt>
                <c:pt idx="9509">
                  <c:v>7089</c:v>
                </c:pt>
                <c:pt idx="9510">
                  <c:v>12264</c:v>
                </c:pt>
                <c:pt idx="9511">
                  <c:v>5381</c:v>
                </c:pt>
                <c:pt idx="9512">
                  <c:v>15864</c:v>
                </c:pt>
                <c:pt idx="9513">
                  <c:v>18970</c:v>
                </c:pt>
                <c:pt idx="9514">
                  <c:v>15021</c:v>
                </c:pt>
                <c:pt idx="9515">
                  <c:v>7065</c:v>
                </c:pt>
                <c:pt idx="9516">
                  <c:v>13021</c:v>
                </c:pt>
                <c:pt idx="9517">
                  <c:v>11059</c:v>
                </c:pt>
                <c:pt idx="9518">
                  <c:v>12891</c:v>
                </c:pt>
                <c:pt idx="9519">
                  <c:v>15004</c:v>
                </c:pt>
                <c:pt idx="9520">
                  <c:v>8317</c:v>
                </c:pt>
                <c:pt idx="9521">
                  <c:v>16672</c:v>
                </c:pt>
                <c:pt idx="9522">
                  <c:v>17579</c:v>
                </c:pt>
                <c:pt idx="9523">
                  <c:v>35774</c:v>
                </c:pt>
                <c:pt idx="9524">
                  <c:v>7368</c:v>
                </c:pt>
                <c:pt idx="9525">
                  <c:v>8396</c:v>
                </c:pt>
                <c:pt idx="9526">
                  <c:v>27987</c:v>
                </c:pt>
                <c:pt idx="9527">
                  <c:v>24228</c:v>
                </c:pt>
                <c:pt idx="9528">
                  <c:v>16052</c:v>
                </c:pt>
                <c:pt idx="9529">
                  <c:v>19276</c:v>
                </c:pt>
                <c:pt idx="9530">
                  <c:v>12413</c:v>
                </c:pt>
                <c:pt idx="9531">
                  <c:v>21326</c:v>
                </c:pt>
                <c:pt idx="9532">
                  <c:v>7054</c:v>
                </c:pt>
                <c:pt idx="9533">
                  <c:v>9035</c:v>
                </c:pt>
                <c:pt idx="9534">
                  <c:v>9978</c:v>
                </c:pt>
                <c:pt idx="9535">
                  <c:v>17777</c:v>
                </c:pt>
                <c:pt idx="9536">
                  <c:v>6971</c:v>
                </c:pt>
                <c:pt idx="9537">
                  <c:v>17721</c:v>
                </c:pt>
                <c:pt idx="9538">
                  <c:v>21983</c:v>
                </c:pt>
                <c:pt idx="9539">
                  <c:v>12734</c:v>
                </c:pt>
                <c:pt idx="9540">
                  <c:v>203</c:v>
                </c:pt>
                <c:pt idx="9541">
                  <c:v>8926</c:v>
                </c:pt>
                <c:pt idx="9542">
                  <c:v>14442</c:v>
                </c:pt>
                <c:pt idx="9543">
                  <c:v>13962</c:v>
                </c:pt>
                <c:pt idx="9544">
                  <c:v>12571</c:v>
                </c:pt>
                <c:pt idx="9545">
                  <c:v>14424</c:v>
                </c:pt>
                <c:pt idx="9546">
                  <c:v>7421</c:v>
                </c:pt>
                <c:pt idx="9547">
                  <c:v>4339</c:v>
                </c:pt>
                <c:pt idx="9548">
                  <c:v>8272</c:v>
                </c:pt>
                <c:pt idx="9549">
                  <c:v>28743</c:v>
                </c:pt>
                <c:pt idx="9550">
                  <c:v>16883</c:v>
                </c:pt>
                <c:pt idx="9551">
                  <c:v>24073</c:v>
                </c:pt>
                <c:pt idx="9552">
                  <c:v>16787</c:v>
                </c:pt>
                <c:pt idx="9553">
                  <c:v>32494</c:v>
                </c:pt>
                <c:pt idx="9554">
                  <c:v>24356</c:v>
                </c:pt>
                <c:pt idx="9555">
                  <c:v>5838</c:v>
                </c:pt>
                <c:pt idx="9556">
                  <c:v>14862</c:v>
                </c:pt>
                <c:pt idx="9557">
                  <c:v>1567</c:v>
                </c:pt>
                <c:pt idx="9558">
                  <c:v>7386</c:v>
                </c:pt>
                <c:pt idx="9559">
                  <c:v>4237</c:v>
                </c:pt>
                <c:pt idx="9560">
                  <c:v>1917</c:v>
                </c:pt>
                <c:pt idx="9561">
                  <c:v>4201</c:v>
                </c:pt>
                <c:pt idx="9562">
                  <c:v>7710</c:v>
                </c:pt>
                <c:pt idx="9563">
                  <c:v>3286</c:v>
                </c:pt>
                <c:pt idx="9564">
                  <c:v>6200</c:v>
                </c:pt>
                <c:pt idx="9565">
                  <c:v>8519</c:v>
                </c:pt>
                <c:pt idx="9566">
                  <c:v>10455</c:v>
                </c:pt>
                <c:pt idx="9567">
                  <c:v>9370</c:v>
                </c:pt>
                <c:pt idx="9568">
                  <c:v>1187</c:v>
                </c:pt>
                <c:pt idx="9569">
                  <c:v>8808</c:v>
                </c:pt>
                <c:pt idx="9570">
                  <c:v>7578</c:v>
                </c:pt>
                <c:pt idx="9571">
                  <c:v>183</c:v>
                </c:pt>
                <c:pt idx="9572">
                  <c:v>14648</c:v>
                </c:pt>
                <c:pt idx="9573">
                  <c:v>28719</c:v>
                </c:pt>
                <c:pt idx="9574">
                  <c:v>3439</c:v>
                </c:pt>
                <c:pt idx="9575">
                  <c:v>973</c:v>
                </c:pt>
                <c:pt idx="9576">
                  <c:v>197</c:v>
                </c:pt>
                <c:pt idx="9577">
                  <c:v>7947</c:v>
                </c:pt>
                <c:pt idx="9578">
                  <c:v>7064</c:v>
                </c:pt>
                <c:pt idx="9579">
                  <c:v>7636</c:v>
                </c:pt>
                <c:pt idx="9580">
                  <c:v>8318</c:v>
                </c:pt>
                <c:pt idx="9581">
                  <c:v>1929</c:v>
                </c:pt>
                <c:pt idx="9582">
                  <c:v>3413</c:v>
                </c:pt>
                <c:pt idx="9583">
                  <c:v>6341</c:v>
                </c:pt>
                <c:pt idx="9584">
                  <c:v>7564</c:v>
                </c:pt>
                <c:pt idx="9585">
                  <c:v>476</c:v>
                </c:pt>
                <c:pt idx="9586">
                  <c:v>15774</c:v>
                </c:pt>
                <c:pt idx="9587">
                  <c:v>14357</c:v>
                </c:pt>
                <c:pt idx="9588">
                  <c:v>12464</c:v>
                </c:pt>
                <c:pt idx="9589">
                  <c:v>12826</c:v>
                </c:pt>
                <c:pt idx="9590">
                  <c:v>3793</c:v>
                </c:pt>
                <c:pt idx="9591">
                  <c:v>9011</c:v>
                </c:pt>
                <c:pt idx="9592">
                  <c:v>13219</c:v>
                </c:pt>
                <c:pt idx="9593">
                  <c:v>13058</c:v>
                </c:pt>
                <c:pt idx="9594">
                  <c:v>9606</c:v>
                </c:pt>
                <c:pt idx="9595">
                  <c:v>13220</c:v>
                </c:pt>
                <c:pt idx="9596">
                  <c:v>7284</c:v>
                </c:pt>
                <c:pt idx="9597">
                  <c:v>10666</c:v>
                </c:pt>
                <c:pt idx="9598">
                  <c:v>6327</c:v>
                </c:pt>
                <c:pt idx="9599">
                  <c:v>12948</c:v>
                </c:pt>
                <c:pt idx="9600">
                  <c:v>13348</c:v>
                </c:pt>
                <c:pt idx="9601">
                  <c:v>11417</c:v>
                </c:pt>
                <c:pt idx="9602">
                  <c:v>6146</c:v>
                </c:pt>
                <c:pt idx="9603">
                  <c:v>1556</c:v>
                </c:pt>
                <c:pt idx="9604">
                  <c:v>29044</c:v>
                </c:pt>
                <c:pt idx="9605">
                  <c:v>19796</c:v>
                </c:pt>
                <c:pt idx="9606">
                  <c:v>11632</c:v>
                </c:pt>
                <c:pt idx="9607">
                  <c:v>466</c:v>
                </c:pt>
                <c:pt idx="9608">
                  <c:v>4744</c:v>
                </c:pt>
                <c:pt idx="9609">
                  <c:v>19065</c:v>
                </c:pt>
                <c:pt idx="9610">
                  <c:v>15488</c:v>
                </c:pt>
                <c:pt idx="9611">
                  <c:v>3842</c:v>
                </c:pt>
                <c:pt idx="9612">
                  <c:v>10178</c:v>
                </c:pt>
                <c:pt idx="9613">
                  <c:v>9844</c:v>
                </c:pt>
                <c:pt idx="9614">
                  <c:v>11213</c:v>
                </c:pt>
                <c:pt idx="9615">
                  <c:v>19109</c:v>
                </c:pt>
                <c:pt idx="9616">
                  <c:v>6676</c:v>
                </c:pt>
                <c:pt idx="9617">
                  <c:v>11646</c:v>
                </c:pt>
                <c:pt idx="9618">
                  <c:v>12958</c:v>
                </c:pt>
                <c:pt idx="9619">
                  <c:v>10128</c:v>
                </c:pt>
                <c:pt idx="9620">
                  <c:v>19298</c:v>
                </c:pt>
                <c:pt idx="9621">
                  <c:v>18275</c:v>
                </c:pt>
                <c:pt idx="9622">
                  <c:v>21052</c:v>
                </c:pt>
                <c:pt idx="9623">
                  <c:v>18288</c:v>
                </c:pt>
                <c:pt idx="9624">
                  <c:v>25077</c:v>
                </c:pt>
                <c:pt idx="9625">
                  <c:v>26430</c:v>
                </c:pt>
                <c:pt idx="9626">
                  <c:v>8006</c:v>
                </c:pt>
                <c:pt idx="9627">
                  <c:v>23154</c:v>
                </c:pt>
                <c:pt idx="9628">
                  <c:v>14229</c:v>
                </c:pt>
                <c:pt idx="9629">
                  <c:v>17995</c:v>
                </c:pt>
                <c:pt idx="9630">
                  <c:v>21791</c:v>
                </c:pt>
                <c:pt idx="9631">
                  <c:v>15115</c:v>
                </c:pt>
                <c:pt idx="9632">
                  <c:v>15436</c:v>
                </c:pt>
                <c:pt idx="9633">
                  <c:v>12771</c:v>
                </c:pt>
                <c:pt idx="9634">
                  <c:v>12029</c:v>
                </c:pt>
                <c:pt idx="9635">
                  <c:v>10670</c:v>
                </c:pt>
                <c:pt idx="9636">
                  <c:v>9507</c:v>
                </c:pt>
                <c:pt idx="9637">
                  <c:v>36430</c:v>
                </c:pt>
                <c:pt idx="9638">
                  <c:v>8937</c:v>
                </c:pt>
                <c:pt idx="9639">
                  <c:v>16215</c:v>
                </c:pt>
                <c:pt idx="9640">
                  <c:v>13984</c:v>
                </c:pt>
                <c:pt idx="9641">
                  <c:v>9285</c:v>
                </c:pt>
                <c:pt idx="9642">
                  <c:v>13066</c:v>
                </c:pt>
                <c:pt idx="9643">
                  <c:v>6747</c:v>
                </c:pt>
                <c:pt idx="9644">
                  <c:v>10707</c:v>
                </c:pt>
                <c:pt idx="9645">
                  <c:v>6129</c:v>
                </c:pt>
                <c:pt idx="9646">
                  <c:v>10409</c:v>
                </c:pt>
                <c:pt idx="9647">
                  <c:v>17830</c:v>
                </c:pt>
                <c:pt idx="9648">
                  <c:v>7509</c:v>
                </c:pt>
                <c:pt idx="9649">
                  <c:v>11139</c:v>
                </c:pt>
                <c:pt idx="9650">
                  <c:v>17553</c:v>
                </c:pt>
                <c:pt idx="9651">
                  <c:v>8933</c:v>
                </c:pt>
                <c:pt idx="9652">
                  <c:v>2730</c:v>
                </c:pt>
                <c:pt idx="9653">
                  <c:v>12056</c:v>
                </c:pt>
                <c:pt idx="9654">
                  <c:v>13265</c:v>
                </c:pt>
                <c:pt idx="9655">
                  <c:v>14458</c:v>
                </c:pt>
                <c:pt idx="9656">
                  <c:v>7692</c:v>
                </c:pt>
                <c:pt idx="9657">
                  <c:v>9918</c:v>
                </c:pt>
                <c:pt idx="9658">
                  <c:v>8028</c:v>
                </c:pt>
                <c:pt idx="9659">
                  <c:v>3090</c:v>
                </c:pt>
                <c:pt idx="9660">
                  <c:v>8148</c:v>
                </c:pt>
                <c:pt idx="9661">
                  <c:v>13416</c:v>
                </c:pt>
                <c:pt idx="9662">
                  <c:v>7832</c:v>
                </c:pt>
                <c:pt idx="9663">
                  <c:v>2539</c:v>
                </c:pt>
                <c:pt idx="9664">
                  <c:v>12341</c:v>
                </c:pt>
                <c:pt idx="9665">
                  <c:v>12325</c:v>
                </c:pt>
                <c:pt idx="9666">
                  <c:v>11357</c:v>
                </c:pt>
                <c:pt idx="9667">
                  <c:v>9285</c:v>
                </c:pt>
                <c:pt idx="9668">
                  <c:v>8723</c:v>
                </c:pt>
                <c:pt idx="9669">
                  <c:v>5992</c:v>
                </c:pt>
                <c:pt idx="9670">
                  <c:v>8814</c:v>
                </c:pt>
                <c:pt idx="9671">
                  <c:v>7383</c:v>
                </c:pt>
                <c:pt idx="9672">
                  <c:v>12989</c:v>
                </c:pt>
                <c:pt idx="9673">
                  <c:v>9922</c:v>
                </c:pt>
                <c:pt idx="9674">
                  <c:v>2427</c:v>
                </c:pt>
                <c:pt idx="9675">
                  <c:v>645</c:v>
                </c:pt>
                <c:pt idx="9676">
                  <c:v>12125</c:v>
                </c:pt>
                <c:pt idx="9677">
                  <c:v>13561</c:v>
                </c:pt>
                <c:pt idx="9678">
                  <c:v>9752</c:v>
                </c:pt>
                <c:pt idx="9679">
                  <c:v>13780</c:v>
                </c:pt>
                <c:pt idx="9680">
                  <c:v>22755</c:v>
                </c:pt>
                <c:pt idx="9681">
                  <c:v>11839</c:v>
                </c:pt>
                <c:pt idx="9682">
                  <c:v>7363</c:v>
                </c:pt>
                <c:pt idx="9683">
                  <c:v>17698</c:v>
                </c:pt>
                <c:pt idx="9684">
                  <c:v>5273</c:v>
                </c:pt>
                <c:pt idx="9685">
                  <c:v>15798</c:v>
                </c:pt>
                <c:pt idx="9686">
                  <c:v>8022</c:v>
                </c:pt>
                <c:pt idx="9687">
                  <c:v>1039</c:v>
                </c:pt>
                <c:pt idx="9688">
                  <c:v>13035</c:v>
                </c:pt>
                <c:pt idx="9689">
                  <c:v>2049</c:v>
                </c:pt>
                <c:pt idx="9690">
                  <c:v>13746</c:v>
                </c:pt>
                <c:pt idx="9691">
                  <c:v>1895</c:v>
                </c:pt>
                <c:pt idx="9692">
                  <c:v>1998</c:v>
                </c:pt>
                <c:pt idx="9693">
                  <c:v>3000</c:v>
                </c:pt>
                <c:pt idx="9694">
                  <c:v>3258</c:v>
                </c:pt>
                <c:pt idx="9695">
                  <c:v>19131</c:v>
                </c:pt>
                <c:pt idx="9696">
                  <c:v>122</c:v>
                </c:pt>
                <c:pt idx="9697">
                  <c:v>3513</c:v>
                </c:pt>
                <c:pt idx="9698">
                  <c:v>288</c:v>
                </c:pt>
                <c:pt idx="9699">
                  <c:v>7059</c:v>
                </c:pt>
                <c:pt idx="9700">
                  <c:v>4352</c:v>
                </c:pt>
                <c:pt idx="9701">
                  <c:v>136</c:v>
                </c:pt>
                <c:pt idx="9702">
                  <c:v>466</c:v>
                </c:pt>
                <c:pt idx="9703">
                  <c:v>3867</c:v>
                </c:pt>
                <c:pt idx="9704">
                  <c:v>11974</c:v>
                </c:pt>
                <c:pt idx="9705">
                  <c:v>431</c:v>
                </c:pt>
                <c:pt idx="9706">
                  <c:v>4547</c:v>
                </c:pt>
                <c:pt idx="9707">
                  <c:v>8103</c:v>
                </c:pt>
                <c:pt idx="9708">
                  <c:v>3930</c:v>
                </c:pt>
                <c:pt idx="9709">
                  <c:v>4617</c:v>
                </c:pt>
                <c:pt idx="9710">
                  <c:v>3806</c:v>
                </c:pt>
                <c:pt idx="9711">
                  <c:v>1889</c:v>
                </c:pt>
                <c:pt idx="9712">
                  <c:v>18749</c:v>
                </c:pt>
                <c:pt idx="9713">
                  <c:v>12153</c:v>
                </c:pt>
                <c:pt idx="9714">
                  <c:v>15656</c:v>
                </c:pt>
                <c:pt idx="9715">
                  <c:v>1848</c:v>
                </c:pt>
                <c:pt idx="9716">
                  <c:v>10294</c:v>
                </c:pt>
                <c:pt idx="9717">
                  <c:v>12955</c:v>
                </c:pt>
                <c:pt idx="9718">
                  <c:v>5770</c:v>
                </c:pt>
                <c:pt idx="9719">
                  <c:v>9578</c:v>
                </c:pt>
                <c:pt idx="9720">
                  <c:v>7492</c:v>
                </c:pt>
                <c:pt idx="9721">
                  <c:v>12711</c:v>
                </c:pt>
                <c:pt idx="9722">
                  <c:v>16103</c:v>
                </c:pt>
                <c:pt idx="9723">
                  <c:v>12496</c:v>
                </c:pt>
                <c:pt idx="9724">
                  <c:v>12505</c:v>
                </c:pt>
                <c:pt idx="9725">
                  <c:v>16134</c:v>
                </c:pt>
                <c:pt idx="9726">
                  <c:v>7642</c:v>
                </c:pt>
                <c:pt idx="9727">
                  <c:v>10157</c:v>
                </c:pt>
                <c:pt idx="9728">
                  <c:v>20388</c:v>
                </c:pt>
                <c:pt idx="9729">
                  <c:v>11095</c:v>
                </c:pt>
                <c:pt idx="9730">
                  <c:v>11508</c:v>
                </c:pt>
                <c:pt idx="9731">
                  <c:v>12463</c:v>
                </c:pt>
                <c:pt idx="9732">
                  <c:v>2722</c:v>
                </c:pt>
                <c:pt idx="9733">
                  <c:v>1273</c:v>
                </c:pt>
                <c:pt idx="9734">
                  <c:v>10274</c:v>
                </c:pt>
                <c:pt idx="9735">
                  <c:v>2593</c:v>
                </c:pt>
                <c:pt idx="9736">
                  <c:v>9388</c:v>
                </c:pt>
                <c:pt idx="9737">
                  <c:v>10772</c:v>
                </c:pt>
                <c:pt idx="9738">
                  <c:v>1156</c:v>
                </c:pt>
                <c:pt idx="9739">
                  <c:v>2986</c:v>
                </c:pt>
                <c:pt idx="9740">
                  <c:v>6396</c:v>
                </c:pt>
                <c:pt idx="9741">
                  <c:v>7156</c:v>
                </c:pt>
                <c:pt idx="9742">
                  <c:v>13380</c:v>
                </c:pt>
                <c:pt idx="9743">
                  <c:v>2203</c:v>
                </c:pt>
                <c:pt idx="9744">
                  <c:v>4830</c:v>
                </c:pt>
                <c:pt idx="9745">
                  <c:v>3312</c:v>
                </c:pt>
                <c:pt idx="9746">
                  <c:v>1097</c:v>
                </c:pt>
                <c:pt idx="9747">
                  <c:v>2222</c:v>
                </c:pt>
                <c:pt idx="9748">
                  <c:v>236</c:v>
                </c:pt>
                <c:pt idx="9749">
                  <c:v>4332</c:v>
                </c:pt>
                <c:pt idx="9750">
                  <c:v>14271</c:v>
                </c:pt>
                <c:pt idx="9751">
                  <c:v>13098</c:v>
                </c:pt>
                <c:pt idx="9752">
                  <c:v>5964</c:v>
                </c:pt>
                <c:pt idx="9753">
                  <c:v>5688</c:v>
                </c:pt>
                <c:pt idx="9754">
                  <c:v>8622</c:v>
                </c:pt>
                <c:pt idx="9755">
                  <c:v>8355</c:v>
                </c:pt>
                <c:pt idx="9756">
                  <c:v>4068</c:v>
                </c:pt>
                <c:pt idx="9757">
                  <c:v>4264</c:v>
                </c:pt>
                <c:pt idx="9758">
                  <c:v>3300</c:v>
                </c:pt>
                <c:pt idx="9759">
                  <c:v>5965</c:v>
                </c:pt>
                <c:pt idx="9760">
                  <c:v>16875</c:v>
                </c:pt>
                <c:pt idx="9761">
                  <c:v>10694</c:v>
                </c:pt>
                <c:pt idx="9762">
                  <c:v>13461</c:v>
                </c:pt>
                <c:pt idx="9763">
                  <c:v>3884</c:v>
                </c:pt>
                <c:pt idx="9764">
                  <c:v>4388</c:v>
                </c:pt>
                <c:pt idx="9765">
                  <c:v>9466</c:v>
                </c:pt>
                <c:pt idx="9766">
                  <c:v>7240</c:v>
                </c:pt>
                <c:pt idx="9767">
                  <c:v>5551</c:v>
                </c:pt>
                <c:pt idx="9768">
                  <c:v>9995</c:v>
                </c:pt>
                <c:pt idx="9769">
                  <c:v>9159</c:v>
                </c:pt>
                <c:pt idx="9770">
                  <c:v>10038</c:v>
                </c:pt>
                <c:pt idx="9771">
                  <c:v>9824</c:v>
                </c:pt>
                <c:pt idx="9772">
                  <c:v>6171</c:v>
                </c:pt>
                <c:pt idx="9773">
                  <c:v>19280</c:v>
                </c:pt>
                <c:pt idx="9774">
                  <c:v>9362</c:v>
                </c:pt>
                <c:pt idx="9775">
                  <c:v>12277</c:v>
                </c:pt>
                <c:pt idx="9776">
                  <c:v>18908</c:v>
                </c:pt>
                <c:pt idx="9777">
                  <c:v>4492</c:v>
                </c:pt>
                <c:pt idx="9778">
                  <c:v>18752</c:v>
                </c:pt>
                <c:pt idx="9779">
                  <c:v>65</c:v>
                </c:pt>
                <c:pt idx="9780">
                  <c:v>14561</c:v>
                </c:pt>
                <c:pt idx="9781">
                  <c:v>4758</c:v>
                </c:pt>
                <c:pt idx="9782">
                  <c:v>1051</c:v>
                </c:pt>
                <c:pt idx="9783">
                  <c:v>10501</c:v>
                </c:pt>
                <c:pt idx="9784">
                  <c:v>16306</c:v>
                </c:pt>
                <c:pt idx="9785">
                  <c:v>14134</c:v>
                </c:pt>
                <c:pt idx="9786">
                  <c:v>14277</c:v>
                </c:pt>
                <c:pt idx="9787">
                  <c:v>16911</c:v>
                </c:pt>
                <c:pt idx="9788">
                  <c:v>14655</c:v>
                </c:pt>
                <c:pt idx="9789">
                  <c:v>6390</c:v>
                </c:pt>
                <c:pt idx="9790">
                  <c:v>5999</c:v>
                </c:pt>
                <c:pt idx="9791">
                  <c:v>10110</c:v>
                </c:pt>
                <c:pt idx="9792">
                  <c:v>253</c:v>
                </c:pt>
                <c:pt idx="9793">
                  <c:v>308</c:v>
                </c:pt>
                <c:pt idx="9794">
                  <c:v>1379</c:v>
                </c:pt>
                <c:pt idx="9795">
                  <c:v>11929</c:v>
                </c:pt>
                <c:pt idx="9796">
                  <c:v>21056</c:v>
                </c:pt>
                <c:pt idx="9797">
                  <c:v>4800</c:v>
                </c:pt>
                <c:pt idx="9798">
                  <c:v>5114</c:v>
                </c:pt>
                <c:pt idx="9799">
                  <c:v>5178</c:v>
                </c:pt>
                <c:pt idx="9800">
                  <c:v>1416</c:v>
                </c:pt>
                <c:pt idx="9801">
                  <c:v>2878</c:v>
                </c:pt>
                <c:pt idx="9802">
                  <c:v>14326</c:v>
                </c:pt>
                <c:pt idx="9803">
                  <c:v>17996</c:v>
                </c:pt>
                <c:pt idx="9804">
                  <c:v>9215</c:v>
                </c:pt>
                <c:pt idx="9805">
                  <c:v>8706</c:v>
                </c:pt>
                <c:pt idx="9806">
                  <c:v>6364</c:v>
                </c:pt>
                <c:pt idx="9807">
                  <c:v>4307</c:v>
                </c:pt>
                <c:pt idx="9808">
                  <c:v>9246</c:v>
                </c:pt>
                <c:pt idx="9809">
                  <c:v>7479</c:v>
                </c:pt>
                <c:pt idx="9810">
                  <c:v>6889</c:v>
                </c:pt>
                <c:pt idx="9811">
                  <c:v>5772</c:v>
                </c:pt>
                <c:pt idx="9812">
                  <c:v>6682</c:v>
                </c:pt>
                <c:pt idx="9813">
                  <c:v>2420</c:v>
                </c:pt>
                <c:pt idx="9814">
                  <c:v>14311</c:v>
                </c:pt>
                <c:pt idx="9815">
                  <c:v>3779</c:v>
                </c:pt>
                <c:pt idx="9816">
                  <c:v>9975</c:v>
                </c:pt>
                <c:pt idx="9817">
                  <c:v>145</c:v>
                </c:pt>
                <c:pt idx="9818">
                  <c:v>1723</c:v>
                </c:pt>
                <c:pt idx="9819">
                  <c:v>7276</c:v>
                </c:pt>
                <c:pt idx="9820">
                  <c:v>5729</c:v>
                </c:pt>
                <c:pt idx="9821">
                  <c:v>9240</c:v>
                </c:pt>
                <c:pt idx="9822">
                  <c:v>9332</c:v>
                </c:pt>
                <c:pt idx="9823">
                  <c:v>6504</c:v>
                </c:pt>
                <c:pt idx="9824">
                  <c:v>2432</c:v>
                </c:pt>
                <c:pt idx="9825">
                  <c:v>3491</c:v>
                </c:pt>
                <c:pt idx="9826">
                  <c:v>4467</c:v>
                </c:pt>
                <c:pt idx="9827">
                  <c:v>17188</c:v>
                </c:pt>
                <c:pt idx="9828">
                  <c:v>7466</c:v>
                </c:pt>
                <c:pt idx="9829">
                  <c:v>3408</c:v>
                </c:pt>
                <c:pt idx="9830">
                  <c:v>2616</c:v>
                </c:pt>
                <c:pt idx="9831">
                  <c:v>2493</c:v>
                </c:pt>
                <c:pt idx="9832">
                  <c:v>3695</c:v>
                </c:pt>
                <c:pt idx="9833">
                  <c:v>2846</c:v>
                </c:pt>
                <c:pt idx="9834">
                  <c:v>3335</c:v>
                </c:pt>
                <c:pt idx="9835">
                  <c:v>2389</c:v>
                </c:pt>
                <c:pt idx="9836">
                  <c:v>4154</c:v>
                </c:pt>
                <c:pt idx="9837">
                  <c:v>381</c:v>
                </c:pt>
                <c:pt idx="9838">
                  <c:v>4163</c:v>
                </c:pt>
                <c:pt idx="9839">
                  <c:v>3379</c:v>
                </c:pt>
                <c:pt idx="9840">
                  <c:v>1370</c:v>
                </c:pt>
                <c:pt idx="9841">
                  <c:v>3045</c:v>
                </c:pt>
                <c:pt idx="9842">
                  <c:v>5251</c:v>
                </c:pt>
                <c:pt idx="9843">
                  <c:v>3084</c:v>
                </c:pt>
                <c:pt idx="9844">
                  <c:v>3925</c:v>
                </c:pt>
                <c:pt idx="9845">
                  <c:v>5817</c:v>
                </c:pt>
                <c:pt idx="9846">
                  <c:v>8488</c:v>
                </c:pt>
                <c:pt idx="9847">
                  <c:v>11343</c:v>
                </c:pt>
                <c:pt idx="9848">
                  <c:v>12989</c:v>
                </c:pt>
                <c:pt idx="9849">
                  <c:v>9561</c:v>
                </c:pt>
                <c:pt idx="9850">
                  <c:v>7862</c:v>
                </c:pt>
                <c:pt idx="9851">
                  <c:v>4231</c:v>
                </c:pt>
                <c:pt idx="9852">
                  <c:v>8017</c:v>
                </c:pt>
                <c:pt idx="9853">
                  <c:v>6223</c:v>
                </c:pt>
                <c:pt idx="9854">
                  <c:v>10459</c:v>
                </c:pt>
                <c:pt idx="9855">
                  <c:v>4759</c:v>
                </c:pt>
                <c:pt idx="9856">
                  <c:v>6144</c:v>
                </c:pt>
                <c:pt idx="9857">
                  <c:v>2564</c:v>
                </c:pt>
                <c:pt idx="9858">
                  <c:v>4652</c:v>
                </c:pt>
                <c:pt idx="9859">
                  <c:v>9849</c:v>
                </c:pt>
                <c:pt idx="9860">
                  <c:v>147</c:v>
                </c:pt>
                <c:pt idx="9861">
                  <c:v>8503</c:v>
                </c:pt>
                <c:pt idx="9862">
                  <c:v>3639</c:v>
                </c:pt>
                <c:pt idx="9863">
                  <c:v>5506</c:v>
                </c:pt>
                <c:pt idx="9864">
                  <c:v>10127</c:v>
                </c:pt>
                <c:pt idx="9865">
                  <c:v>2967</c:v>
                </c:pt>
                <c:pt idx="9866">
                  <c:v>14649</c:v>
                </c:pt>
                <c:pt idx="9867">
                  <c:v>17118</c:v>
                </c:pt>
                <c:pt idx="9868">
                  <c:v>7345</c:v>
                </c:pt>
                <c:pt idx="9869">
                  <c:v>5136</c:v>
                </c:pt>
                <c:pt idx="9870">
                  <c:v>3618</c:v>
                </c:pt>
                <c:pt idx="9871">
                  <c:v>3479</c:v>
                </c:pt>
                <c:pt idx="9872">
                  <c:v>15606</c:v>
                </c:pt>
                <c:pt idx="9873">
                  <c:v>14958</c:v>
                </c:pt>
                <c:pt idx="9874">
                  <c:v>10705</c:v>
                </c:pt>
                <c:pt idx="9875">
                  <c:v>12902</c:v>
                </c:pt>
                <c:pt idx="9876">
                  <c:v>9490</c:v>
                </c:pt>
                <c:pt idx="9877">
                  <c:v>19708</c:v>
                </c:pt>
                <c:pt idx="9878">
                  <c:v>10358</c:v>
                </c:pt>
                <c:pt idx="9879">
                  <c:v>18918</c:v>
                </c:pt>
                <c:pt idx="9880">
                  <c:v>5299</c:v>
                </c:pt>
                <c:pt idx="9881">
                  <c:v>10959</c:v>
                </c:pt>
                <c:pt idx="9882">
                  <c:v>30</c:v>
                </c:pt>
                <c:pt idx="9883">
                  <c:v>17546</c:v>
                </c:pt>
                <c:pt idx="9884">
                  <c:v>12254</c:v>
                </c:pt>
                <c:pt idx="9885">
                  <c:v>7636</c:v>
                </c:pt>
                <c:pt idx="9886">
                  <c:v>3606</c:v>
                </c:pt>
                <c:pt idx="9887">
                  <c:v>9</c:v>
                </c:pt>
                <c:pt idx="9888">
                  <c:v>10932</c:v>
                </c:pt>
                <c:pt idx="9889">
                  <c:v>4479</c:v>
                </c:pt>
                <c:pt idx="9890">
                  <c:v>8563</c:v>
                </c:pt>
                <c:pt idx="9891">
                  <c:v>8744</c:v>
                </c:pt>
                <c:pt idx="9892">
                  <c:v>16963</c:v>
                </c:pt>
                <c:pt idx="9893">
                  <c:v>1274</c:v>
                </c:pt>
                <c:pt idx="9894">
                  <c:v>28879</c:v>
                </c:pt>
                <c:pt idx="9895">
                  <c:v>11721</c:v>
                </c:pt>
                <c:pt idx="9896">
                  <c:v>10825</c:v>
                </c:pt>
                <c:pt idx="9897">
                  <c:v>4817</c:v>
                </c:pt>
                <c:pt idx="9898">
                  <c:v>1998</c:v>
                </c:pt>
                <c:pt idx="9899">
                  <c:v>10891</c:v>
                </c:pt>
                <c:pt idx="9900">
                  <c:v>1989</c:v>
                </c:pt>
                <c:pt idx="9901">
                  <c:v>356</c:v>
                </c:pt>
                <c:pt idx="9902">
                  <c:v>24055</c:v>
                </c:pt>
                <c:pt idx="9903">
                  <c:v>23916</c:v>
                </c:pt>
                <c:pt idx="9904">
                  <c:v>29741</c:v>
                </c:pt>
                <c:pt idx="9905">
                  <c:v>22563</c:v>
                </c:pt>
                <c:pt idx="9906">
                  <c:v>11233</c:v>
                </c:pt>
                <c:pt idx="9907">
                  <c:v>12970</c:v>
                </c:pt>
                <c:pt idx="9908">
                  <c:v>3172</c:v>
                </c:pt>
                <c:pt idx="9909">
                  <c:v>1650</c:v>
                </c:pt>
                <c:pt idx="9910">
                  <c:v>19656</c:v>
                </c:pt>
                <c:pt idx="9911">
                  <c:v>14400</c:v>
                </c:pt>
                <c:pt idx="9912">
                  <c:v>439</c:v>
                </c:pt>
                <c:pt idx="9913">
                  <c:v>23135</c:v>
                </c:pt>
                <c:pt idx="9914">
                  <c:v>12273</c:v>
                </c:pt>
                <c:pt idx="9915">
                  <c:v>11093</c:v>
                </c:pt>
                <c:pt idx="9916">
                  <c:v>13696</c:v>
                </c:pt>
                <c:pt idx="9917">
                  <c:v>1198</c:v>
                </c:pt>
                <c:pt idx="9918">
                  <c:v>5093</c:v>
                </c:pt>
                <c:pt idx="9919">
                  <c:v>22560</c:v>
                </c:pt>
                <c:pt idx="9920">
                  <c:v>39952</c:v>
                </c:pt>
                <c:pt idx="9921">
                  <c:v>8275</c:v>
                </c:pt>
                <c:pt idx="9922">
                  <c:v>479</c:v>
                </c:pt>
                <c:pt idx="9923">
                  <c:v>1416</c:v>
                </c:pt>
                <c:pt idx="9924">
                  <c:v>2699</c:v>
                </c:pt>
                <c:pt idx="9925">
                  <c:v>5414</c:v>
                </c:pt>
                <c:pt idx="9926">
                  <c:v>3145</c:v>
                </c:pt>
                <c:pt idx="9927">
                  <c:v>5968</c:v>
                </c:pt>
                <c:pt idx="9928">
                  <c:v>6254</c:v>
                </c:pt>
                <c:pt idx="9929">
                  <c:v>18189</c:v>
                </c:pt>
                <c:pt idx="9930">
                  <c:v>37603</c:v>
                </c:pt>
                <c:pt idx="9931">
                  <c:v>3602</c:v>
                </c:pt>
                <c:pt idx="9932">
                  <c:v>8383</c:v>
                </c:pt>
                <c:pt idx="9933">
                  <c:v>7184</c:v>
                </c:pt>
                <c:pt idx="9934">
                  <c:v>8159</c:v>
                </c:pt>
                <c:pt idx="9935">
                  <c:v>2926</c:v>
                </c:pt>
                <c:pt idx="9936">
                  <c:v>11167</c:v>
                </c:pt>
                <c:pt idx="9937">
                  <c:v>20766</c:v>
                </c:pt>
                <c:pt idx="9938">
                  <c:v>8280</c:v>
                </c:pt>
                <c:pt idx="9939">
                  <c:v>8868</c:v>
                </c:pt>
                <c:pt idx="9940">
                  <c:v>4500</c:v>
                </c:pt>
                <c:pt idx="9941">
                  <c:v>12734</c:v>
                </c:pt>
                <c:pt idx="9942">
                  <c:v>7178</c:v>
                </c:pt>
                <c:pt idx="9943">
                  <c:v>4025</c:v>
                </c:pt>
                <c:pt idx="9944">
                  <c:v>19772</c:v>
                </c:pt>
                <c:pt idx="9945">
                  <c:v>5282</c:v>
                </c:pt>
                <c:pt idx="9946">
                  <c:v>3421</c:v>
                </c:pt>
                <c:pt idx="9947">
                  <c:v>1483</c:v>
                </c:pt>
                <c:pt idx="9948">
                  <c:v>13774</c:v>
                </c:pt>
                <c:pt idx="9949">
                  <c:v>8450</c:v>
                </c:pt>
                <c:pt idx="9950">
                  <c:v>1595</c:v>
                </c:pt>
                <c:pt idx="9951">
                  <c:v>7035</c:v>
                </c:pt>
                <c:pt idx="9952">
                  <c:v>985</c:v>
                </c:pt>
                <c:pt idx="9953">
                  <c:v>8823</c:v>
                </c:pt>
                <c:pt idx="9954">
                  <c:v>10391</c:v>
                </c:pt>
                <c:pt idx="9955">
                  <c:v>10586</c:v>
                </c:pt>
                <c:pt idx="9956">
                  <c:v>3173</c:v>
                </c:pt>
                <c:pt idx="9957">
                  <c:v>13</c:v>
                </c:pt>
                <c:pt idx="9958">
                  <c:v>1177</c:v>
                </c:pt>
                <c:pt idx="9959">
                  <c:v>1091</c:v>
                </c:pt>
                <c:pt idx="9960">
                  <c:v>384</c:v>
                </c:pt>
                <c:pt idx="9961">
                  <c:v>9890</c:v>
                </c:pt>
                <c:pt idx="9962">
                  <c:v>2755</c:v>
                </c:pt>
                <c:pt idx="9963">
                  <c:v>6153</c:v>
                </c:pt>
                <c:pt idx="9964">
                  <c:v>3146</c:v>
                </c:pt>
                <c:pt idx="9965">
                  <c:v>5667</c:v>
                </c:pt>
                <c:pt idx="9966">
                  <c:v>2017</c:v>
                </c:pt>
                <c:pt idx="9967">
                  <c:v>1627</c:v>
                </c:pt>
                <c:pt idx="9968">
                  <c:v>3508</c:v>
                </c:pt>
                <c:pt idx="9969">
                  <c:v>1015</c:v>
                </c:pt>
                <c:pt idx="9970">
                  <c:v>1718</c:v>
                </c:pt>
                <c:pt idx="9971">
                  <c:v>10409</c:v>
                </c:pt>
                <c:pt idx="9972">
                  <c:v>6714</c:v>
                </c:pt>
                <c:pt idx="9973">
                  <c:v>4763</c:v>
                </c:pt>
                <c:pt idx="9974">
                  <c:v>804</c:v>
                </c:pt>
                <c:pt idx="9975">
                  <c:v>3366</c:v>
                </c:pt>
                <c:pt idx="9976">
                  <c:v>1213</c:v>
                </c:pt>
                <c:pt idx="9977">
                  <c:v>4228</c:v>
                </c:pt>
                <c:pt idx="9978">
                  <c:v>4001</c:v>
                </c:pt>
                <c:pt idx="9979">
                  <c:v>28</c:v>
                </c:pt>
                <c:pt idx="9980">
                  <c:v>8271</c:v>
                </c:pt>
                <c:pt idx="9981">
                  <c:v>1516</c:v>
                </c:pt>
                <c:pt idx="9982">
                  <c:v>1348</c:v>
                </c:pt>
                <c:pt idx="9983">
                  <c:v>5297</c:v>
                </c:pt>
                <c:pt idx="9984">
                  <c:v>855</c:v>
                </c:pt>
                <c:pt idx="9985">
                  <c:v>3923</c:v>
                </c:pt>
                <c:pt idx="9986">
                  <c:v>9707</c:v>
                </c:pt>
                <c:pt idx="9987">
                  <c:v>1770</c:v>
                </c:pt>
                <c:pt idx="9988">
                  <c:v>3728</c:v>
                </c:pt>
                <c:pt idx="9989">
                  <c:v>1248</c:v>
                </c:pt>
                <c:pt idx="9990">
                  <c:v>1619</c:v>
                </c:pt>
                <c:pt idx="9991">
                  <c:v>7377</c:v>
                </c:pt>
                <c:pt idx="9992">
                  <c:v>3952</c:v>
                </c:pt>
                <c:pt idx="9993">
                  <c:v>742</c:v>
                </c:pt>
                <c:pt idx="9994">
                  <c:v>8200</c:v>
                </c:pt>
                <c:pt idx="9995">
                  <c:v>4072</c:v>
                </c:pt>
                <c:pt idx="9996">
                  <c:v>7309</c:v>
                </c:pt>
                <c:pt idx="9997">
                  <c:v>2409</c:v>
                </c:pt>
                <c:pt idx="9998">
                  <c:v>2942</c:v>
                </c:pt>
                <c:pt idx="9999">
                  <c:v>1081</c:v>
                </c:pt>
                <c:pt idx="10000">
                  <c:v>8584</c:v>
                </c:pt>
                <c:pt idx="10001">
                  <c:v>6093</c:v>
                </c:pt>
                <c:pt idx="10002">
                  <c:v>13404</c:v>
                </c:pt>
                <c:pt idx="10003">
                  <c:v>4460</c:v>
                </c:pt>
                <c:pt idx="10004">
                  <c:v>10664</c:v>
                </c:pt>
                <c:pt idx="10005">
                  <c:v>4592</c:v>
                </c:pt>
                <c:pt idx="10006">
                  <c:v>4952</c:v>
                </c:pt>
                <c:pt idx="10007">
                  <c:v>1009</c:v>
                </c:pt>
                <c:pt idx="10008">
                  <c:v>1106</c:v>
                </c:pt>
                <c:pt idx="10009">
                  <c:v>1138</c:v>
                </c:pt>
                <c:pt idx="10010">
                  <c:v>892</c:v>
                </c:pt>
                <c:pt idx="10011">
                  <c:v>829</c:v>
                </c:pt>
                <c:pt idx="10012">
                  <c:v>1515</c:v>
                </c:pt>
                <c:pt idx="10013">
                  <c:v>4860</c:v>
                </c:pt>
                <c:pt idx="10014">
                  <c:v>2936</c:v>
                </c:pt>
                <c:pt idx="10015">
                  <c:v>1128</c:v>
                </c:pt>
                <c:pt idx="10016">
                  <c:v>6075</c:v>
                </c:pt>
                <c:pt idx="10017">
                  <c:v>3498</c:v>
                </c:pt>
                <c:pt idx="10018">
                  <c:v>8872</c:v>
                </c:pt>
                <c:pt idx="10019">
                  <c:v>1124</c:v>
                </c:pt>
                <c:pt idx="10020">
                  <c:v>1114</c:v>
                </c:pt>
                <c:pt idx="10021">
                  <c:v>14447</c:v>
                </c:pt>
                <c:pt idx="10022">
                  <c:v>2115</c:v>
                </c:pt>
                <c:pt idx="10023">
                  <c:v>198</c:v>
                </c:pt>
                <c:pt idx="10024">
                  <c:v>850</c:v>
                </c:pt>
                <c:pt idx="10025">
                  <c:v>3806</c:v>
                </c:pt>
                <c:pt idx="10026">
                  <c:v>5653</c:v>
                </c:pt>
                <c:pt idx="10027">
                  <c:v>405</c:v>
                </c:pt>
                <c:pt idx="10028">
                  <c:v>2320</c:v>
                </c:pt>
                <c:pt idx="10029">
                  <c:v>2194</c:v>
                </c:pt>
                <c:pt idx="10030">
                  <c:v>882</c:v>
                </c:pt>
                <c:pt idx="10031">
                  <c:v>1174</c:v>
                </c:pt>
                <c:pt idx="10032">
                  <c:v>2738</c:v>
                </c:pt>
                <c:pt idx="10033">
                  <c:v>10579</c:v>
                </c:pt>
                <c:pt idx="10034">
                  <c:v>6340</c:v>
                </c:pt>
                <c:pt idx="10035">
                  <c:v>2369</c:v>
                </c:pt>
                <c:pt idx="10036">
                  <c:v>4927</c:v>
                </c:pt>
                <c:pt idx="10037">
                  <c:v>15746</c:v>
                </c:pt>
                <c:pt idx="10038">
                  <c:v>6858</c:v>
                </c:pt>
                <c:pt idx="10039">
                  <c:v>10057</c:v>
                </c:pt>
                <c:pt idx="10040">
                  <c:v>4152</c:v>
                </c:pt>
                <c:pt idx="10041">
                  <c:v>7774</c:v>
                </c:pt>
                <c:pt idx="10042">
                  <c:v>7896</c:v>
                </c:pt>
                <c:pt idx="10043">
                  <c:v>18193</c:v>
                </c:pt>
                <c:pt idx="10044">
                  <c:v>19775</c:v>
                </c:pt>
                <c:pt idx="10045">
                  <c:v>4964</c:v>
                </c:pt>
                <c:pt idx="10046">
                  <c:v>2723</c:v>
                </c:pt>
                <c:pt idx="10047">
                  <c:v>1220</c:v>
                </c:pt>
                <c:pt idx="10048">
                  <c:v>4648</c:v>
                </c:pt>
                <c:pt idx="10049">
                  <c:v>5182</c:v>
                </c:pt>
                <c:pt idx="10050">
                  <c:v>2033</c:v>
                </c:pt>
                <c:pt idx="10051">
                  <c:v>19679</c:v>
                </c:pt>
                <c:pt idx="10052">
                  <c:v>4493</c:v>
                </c:pt>
                <c:pt idx="10053">
                  <c:v>1625</c:v>
                </c:pt>
                <c:pt idx="10054">
                  <c:v>1545</c:v>
                </c:pt>
                <c:pt idx="10055">
                  <c:v>8985</c:v>
                </c:pt>
                <c:pt idx="10056">
                  <c:v>30151</c:v>
                </c:pt>
                <c:pt idx="10057">
                  <c:v>9531</c:v>
                </c:pt>
                <c:pt idx="10058">
                  <c:v>18778</c:v>
                </c:pt>
                <c:pt idx="10059">
                  <c:v>12871</c:v>
                </c:pt>
                <c:pt idx="10060">
                  <c:v>10461</c:v>
                </c:pt>
                <c:pt idx="10061">
                  <c:v>24922</c:v>
                </c:pt>
                <c:pt idx="10062">
                  <c:v>8522</c:v>
                </c:pt>
                <c:pt idx="10063">
                  <c:v>528</c:v>
                </c:pt>
                <c:pt idx="10064">
                  <c:v>1447</c:v>
                </c:pt>
                <c:pt idx="10065">
                  <c:v>143</c:v>
                </c:pt>
                <c:pt idx="10066">
                  <c:v>1952</c:v>
                </c:pt>
                <c:pt idx="10067">
                  <c:v>871</c:v>
                </c:pt>
                <c:pt idx="10068">
                  <c:v>1117</c:v>
                </c:pt>
                <c:pt idx="10069">
                  <c:v>1692</c:v>
                </c:pt>
                <c:pt idx="10070">
                  <c:v>5424</c:v>
                </c:pt>
                <c:pt idx="10071">
                  <c:v>2088</c:v>
                </c:pt>
                <c:pt idx="10072">
                  <c:v>355</c:v>
                </c:pt>
                <c:pt idx="10073">
                  <c:v>156</c:v>
                </c:pt>
                <c:pt idx="10074">
                  <c:v>805</c:v>
                </c:pt>
                <c:pt idx="10075">
                  <c:v>1179</c:v>
                </c:pt>
                <c:pt idx="10076">
                  <c:v>1202</c:v>
                </c:pt>
                <c:pt idx="10077">
                  <c:v>2092</c:v>
                </c:pt>
                <c:pt idx="10078">
                  <c:v>127</c:v>
                </c:pt>
                <c:pt idx="10079">
                  <c:v>1816</c:v>
                </c:pt>
                <c:pt idx="10080">
                  <c:v>9472</c:v>
                </c:pt>
                <c:pt idx="10081">
                  <c:v>3338</c:v>
                </c:pt>
                <c:pt idx="10082">
                  <c:v>9302</c:v>
                </c:pt>
                <c:pt idx="10083">
                  <c:v>3787</c:v>
                </c:pt>
                <c:pt idx="10084">
                  <c:v>725</c:v>
                </c:pt>
                <c:pt idx="10085">
                  <c:v>1349</c:v>
                </c:pt>
                <c:pt idx="10086">
                  <c:v>2858</c:v>
                </c:pt>
                <c:pt idx="10087">
                  <c:v>3812</c:v>
                </c:pt>
                <c:pt idx="10088">
                  <c:v>4102</c:v>
                </c:pt>
                <c:pt idx="10089">
                  <c:v>5653</c:v>
                </c:pt>
                <c:pt idx="10090">
                  <c:v>1022</c:v>
                </c:pt>
                <c:pt idx="10091">
                  <c:v>1353</c:v>
                </c:pt>
                <c:pt idx="10092">
                  <c:v>293</c:v>
                </c:pt>
                <c:pt idx="10093">
                  <c:v>296</c:v>
                </c:pt>
                <c:pt idx="10094">
                  <c:v>49</c:v>
                </c:pt>
                <c:pt idx="10095">
                  <c:v>1404</c:v>
                </c:pt>
                <c:pt idx="10096">
                  <c:v>904</c:v>
                </c:pt>
                <c:pt idx="10097">
                  <c:v>1350</c:v>
                </c:pt>
                <c:pt idx="10098">
                  <c:v>1662</c:v>
                </c:pt>
                <c:pt idx="10099">
                  <c:v>697</c:v>
                </c:pt>
                <c:pt idx="10100">
                  <c:v>1804</c:v>
                </c:pt>
                <c:pt idx="10101">
                  <c:v>432</c:v>
                </c:pt>
                <c:pt idx="10102">
                  <c:v>3667</c:v>
                </c:pt>
                <c:pt idx="10103">
                  <c:v>1469</c:v>
                </c:pt>
                <c:pt idx="10104">
                  <c:v>691</c:v>
                </c:pt>
                <c:pt idx="10105">
                  <c:v>4487</c:v>
                </c:pt>
                <c:pt idx="10106">
                  <c:v>4004</c:v>
                </c:pt>
                <c:pt idx="10107">
                  <c:v>292</c:v>
                </c:pt>
                <c:pt idx="10108">
                  <c:v>683</c:v>
                </c:pt>
                <c:pt idx="10109">
                  <c:v>495</c:v>
                </c:pt>
                <c:pt idx="10110">
                  <c:v>386</c:v>
                </c:pt>
                <c:pt idx="10111">
                  <c:v>1431</c:v>
                </c:pt>
                <c:pt idx="10112">
                  <c:v>1701</c:v>
                </c:pt>
                <c:pt idx="10113">
                  <c:v>1079</c:v>
                </c:pt>
                <c:pt idx="10114">
                  <c:v>1554</c:v>
                </c:pt>
                <c:pt idx="10115">
                  <c:v>1998</c:v>
                </c:pt>
                <c:pt idx="10116">
                  <c:v>1816</c:v>
                </c:pt>
                <c:pt idx="10117">
                  <c:v>47</c:v>
                </c:pt>
                <c:pt idx="10118">
                  <c:v>533</c:v>
                </c:pt>
                <c:pt idx="10119">
                  <c:v>1518</c:v>
                </c:pt>
                <c:pt idx="10120">
                  <c:v>1298</c:v>
                </c:pt>
                <c:pt idx="10121">
                  <c:v>754</c:v>
                </c:pt>
                <c:pt idx="10122">
                  <c:v>3075</c:v>
                </c:pt>
                <c:pt idx="10123">
                  <c:v>14581</c:v>
                </c:pt>
                <c:pt idx="10124">
                  <c:v>14312</c:v>
                </c:pt>
                <c:pt idx="10125">
                  <c:v>929</c:v>
                </c:pt>
                <c:pt idx="10126">
                  <c:v>11638</c:v>
                </c:pt>
                <c:pt idx="10127">
                  <c:v>9650</c:v>
                </c:pt>
                <c:pt idx="10128">
                  <c:v>2789</c:v>
                </c:pt>
                <c:pt idx="10129">
                  <c:v>1482</c:v>
                </c:pt>
                <c:pt idx="10130">
                  <c:v>662</c:v>
                </c:pt>
                <c:pt idx="10131">
                  <c:v>1935</c:v>
                </c:pt>
                <c:pt idx="10132">
                  <c:v>5956</c:v>
                </c:pt>
                <c:pt idx="10133">
                  <c:v>1293</c:v>
                </c:pt>
                <c:pt idx="10134">
                  <c:v>2727</c:v>
                </c:pt>
                <c:pt idx="10135">
                  <c:v>13933</c:v>
                </c:pt>
                <c:pt idx="10136">
                  <c:v>9051</c:v>
                </c:pt>
                <c:pt idx="10137">
                  <c:v>4575</c:v>
                </c:pt>
                <c:pt idx="10138">
                  <c:v>11950</c:v>
                </c:pt>
                <c:pt idx="10139">
                  <c:v>1766</c:v>
                </c:pt>
                <c:pt idx="10140">
                  <c:v>6296</c:v>
                </c:pt>
                <c:pt idx="10141">
                  <c:v>1741</c:v>
                </c:pt>
                <c:pt idx="10142">
                  <c:v>514</c:v>
                </c:pt>
                <c:pt idx="10143">
                  <c:v>1443</c:v>
                </c:pt>
                <c:pt idx="10144">
                  <c:v>33</c:v>
                </c:pt>
                <c:pt idx="10145">
                  <c:v>5182</c:v>
                </c:pt>
                <c:pt idx="10146">
                  <c:v>592</c:v>
                </c:pt>
                <c:pt idx="10147">
                  <c:v>4268</c:v>
                </c:pt>
                <c:pt idx="10148">
                  <c:v>5079</c:v>
                </c:pt>
                <c:pt idx="10149">
                  <c:v>3012</c:v>
                </c:pt>
                <c:pt idx="10150">
                  <c:v>3740</c:v>
                </c:pt>
                <c:pt idx="10151">
                  <c:v>8812</c:v>
                </c:pt>
                <c:pt idx="10152">
                  <c:v>2888</c:v>
                </c:pt>
                <c:pt idx="10153">
                  <c:v>740</c:v>
                </c:pt>
                <c:pt idx="10154">
                  <c:v>2079</c:v>
                </c:pt>
                <c:pt idx="10155">
                  <c:v>3431</c:v>
                </c:pt>
                <c:pt idx="10156">
                  <c:v>8584</c:v>
                </c:pt>
                <c:pt idx="10157">
                  <c:v>2208</c:v>
                </c:pt>
                <c:pt idx="10158">
                  <c:v>1148</c:v>
                </c:pt>
                <c:pt idx="10159">
                  <c:v>1959</c:v>
                </c:pt>
                <c:pt idx="10160">
                  <c:v>896</c:v>
                </c:pt>
                <c:pt idx="10161">
                  <c:v>2816</c:v>
                </c:pt>
                <c:pt idx="10162">
                  <c:v>3444</c:v>
                </c:pt>
                <c:pt idx="10163">
                  <c:v>12896</c:v>
                </c:pt>
                <c:pt idx="10164">
                  <c:v>6312</c:v>
                </c:pt>
                <c:pt idx="10165">
                  <c:v>139</c:v>
                </c:pt>
                <c:pt idx="10166">
                  <c:v>801</c:v>
                </c:pt>
                <c:pt idx="10167">
                  <c:v>2593</c:v>
                </c:pt>
                <c:pt idx="10168">
                  <c:v>10312</c:v>
                </c:pt>
                <c:pt idx="10169">
                  <c:v>9029</c:v>
                </c:pt>
                <c:pt idx="10170">
                  <c:v>23138</c:v>
                </c:pt>
                <c:pt idx="10171">
                  <c:v>5222</c:v>
                </c:pt>
                <c:pt idx="10172">
                  <c:v>2138</c:v>
                </c:pt>
                <c:pt idx="10173">
                  <c:v>6274</c:v>
                </c:pt>
                <c:pt idx="10174">
                  <c:v>8759</c:v>
                </c:pt>
                <c:pt idx="10175">
                  <c:v>195</c:v>
                </c:pt>
                <c:pt idx="10176">
                  <c:v>1641</c:v>
                </c:pt>
                <c:pt idx="10177">
                  <c:v>131</c:v>
                </c:pt>
                <c:pt idx="10178">
                  <c:v>4622</c:v>
                </c:pt>
                <c:pt idx="10179">
                  <c:v>4133</c:v>
                </c:pt>
                <c:pt idx="10180">
                  <c:v>1232</c:v>
                </c:pt>
                <c:pt idx="10181">
                  <c:v>1629</c:v>
                </c:pt>
                <c:pt idx="10182">
                  <c:v>6983</c:v>
                </c:pt>
                <c:pt idx="10183">
                  <c:v>217</c:v>
                </c:pt>
                <c:pt idx="10184">
                  <c:v>1280</c:v>
                </c:pt>
                <c:pt idx="10185">
                  <c:v>12141</c:v>
                </c:pt>
                <c:pt idx="10186">
                  <c:v>11569</c:v>
                </c:pt>
                <c:pt idx="10187">
                  <c:v>13095</c:v>
                </c:pt>
                <c:pt idx="10188">
                  <c:v>8724</c:v>
                </c:pt>
                <c:pt idx="10189">
                  <c:v>15527</c:v>
                </c:pt>
                <c:pt idx="10190">
                  <c:v>12590</c:v>
                </c:pt>
                <c:pt idx="10191">
                  <c:v>13995</c:v>
                </c:pt>
                <c:pt idx="10192">
                  <c:v>6827</c:v>
                </c:pt>
                <c:pt idx="10193">
                  <c:v>5630</c:v>
                </c:pt>
                <c:pt idx="10194">
                  <c:v>7224</c:v>
                </c:pt>
                <c:pt idx="10195">
                  <c:v>8743</c:v>
                </c:pt>
                <c:pt idx="10196">
                  <c:v>4716</c:v>
                </c:pt>
                <c:pt idx="10197">
                  <c:v>2526</c:v>
                </c:pt>
                <c:pt idx="10198">
                  <c:v>4189</c:v>
                </c:pt>
                <c:pt idx="10199">
                  <c:v>4110</c:v>
                </c:pt>
                <c:pt idx="10200">
                  <c:v>8656</c:v>
                </c:pt>
                <c:pt idx="10201">
                  <c:v>5240</c:v>
                </c:pt>
                <c:pt idx="10202">
                  <c:v>3606</c:v>
                </c:pt>
                <c:pt idx="10203">
                  <c:v>2590</c:v>
                </c:pt>
                <c:pt idx="10204">
                  <c:v>5234</c:v>
                </c:pt>
                <c:pt idx="10205">
                  <c:v>3393</c:v>
                </c:pt>
                <c:pt idx="10206">
                  <c:v>6518</c:v>
                </c:pt>
                <c:pt idx="10207">
                  <c:v>1143</c:v>
                </c:pt>
                <c:pt idx="10208">
                  <c:v>1451</c:v>
                </c:pt>
                <c:pt idx="10209">
                  <c:v>3325</c:v>
                </c:pt>
                <c:pt idx="10210">
                  <c:v>2538</c:v>
                </c:pt>
                <c:pt idx="10211">
                  <c:v>3618</c:v>
                </c:pt>
                <c:pt idx="10212">
                  <c:v>1254</c:v>
                </c:pt>
                <c:pt idx="10213">
                  <c:v>6562</c:v>
                </c:pt>
                <c:pt idx="10214">
                  <c:v>2158</c:v>
                </c:pt>
                <c:pt idx="10215">
                  <c:v>2070</c:v>
                </c:pt>
                <c:pt idx="10216">
                  <c:v>370</c:v>
                </c:pt>
                <c:pt idx="10217">
                  <c:v>1306</c:v>
                </c:pt>
                <c:pt idx="10218">
                  <c:v>873</c:v>
                </c:pt>
                <c:pt idx="10219">
                  <c:v>563</c:v>
                </c:pt>
                <c:pt idx="10220">
                  <c:v>6888</c:v>
                </c:pt>
                <c:pt idx="10221">
                  <c:v>2136</c:v>
                </c:pt>
                <c:pt idx="10222">
                  <c:v>2363</c:v>
                </c:pt>
                <c:pt idx="10223">
                  <c:v>774</c:v>
                </c:pt>
                <c:pt idx="10224">
                  <c:v>1590</c:v>
                </c:pt>
                <c:pt idx="10225">
                  <c:v>562</c:v>
                </c:pt>
                <c:pt idx="10226">
                  <c:v>3564</c:v>
                </c:pt>
                <c:pt idx="10227">
                  <c:v>1018</c:v>
                </c:pt>
                <c:pt idx="10228">
                  <c:v>1163</c:v>
                </c:pt>
                <c:pt idx="10229">
                  <c:v>1296</c:v>
                </c:pt>
                <c:pt idx="10230">
                  <c:v>654</c:v>
                </c:pt>
                <c:pt idx="10231">
                  <c:v>607</c:v>
                </c:pt>
                <c:pt idx="10232">
                  <c:v>761</c:v>
                </c:pt>
                <c:pt idx="10233">
                  <c:v>872</c:v>
                </c:pt>
                <c:pt idx="10234">
                  <c:v>1923</c:v>
                </c:pt>
                <c:pt idx="10235">
                  <c:v>156</c:v>
                </c:pt>
                <c:pt idx="10236">
                  <c:v>1534</c:v>
                </c:pt>
                <c:pt idx="10237">
                  <c:v>715</c:v>
                </c:pt>
                <c:pt idx="10238">
                  <c:v>431</c:v>
                </c:pt>
                <c:pt idx="10239">
                  <c:v>7358</c:v>
                </c:pt>
                <c:pt idx="10240">
                  <c:v>2203</c:v>
                </c:pt>
                <c:pt idx="10241">
                  <c:v>1895</c:v>
                </c:pt>
                <c:pt idx="10242">
                  <c:v>522</c:v>
                </c:pt>
                <c:pt idx="10243">
                  <c:v>5323</c:v>
                </c:pt>
                <c:pt idx="10244">
                  <c:v>522</c:v>
                </c:pt>
                <c:pt idx="10245">
                  <c:v>609</c:v>
                </c:pt>
                <c:pt idx="10246">
                  <c:v>138</c:v>
                </c:pt>
                <c:pt idx="10247">
                  <c:v>676</c:v>
                </c:pt>
                <c:pt idx="10248">
                  <c:v>1267</c:v>
                </c:pt>
                <c:pt idx="10249">
                  <c:v>384</c:v>
                </c:pt>
                <c:pt idx="10250">
                  <c:v>812</c:v>
                </c:pt>
                <c:pt idx="10251">
                  <c:v>728</c:v>
                </c:pt>
                <c:pt idx="10252">
                  <c:v>5410</c:v>
                </c:pt>
                <c:pt idx="10253">
                  <c:v>1301</c:v>
                </c:pt>
                <c:pt idx="10254">
                  <c:v>498</c:v>
                </c:pt>
                <c:pt idx="10255">
                  <c:v>512</c:v>
                </c:pt>
                <c:pt idx="10256">
                  <c:v>1654</c:v>
                </c:pt>
                <c:pt idx="10257">
                  <c:v>663</c:v>
                </c:pt>
                <c:pt idx="10258">
                  <c:v>6877</c:v>
                </c:pt>
                <c:pt idx="10259">
                  <c:v>390</c:v>
                </c:pt>
                <c:pt idx="10260">
                  <c:v>2540</c:v>
                </c:pt>
                <c:pt idx="10261">
                  <c:v>1531</c:v>
                </c:pt>
                <c:pt idx="10262">
                  <c:v>392</c:v>
                </c:pt>
                <c:pt idx="10263">
                  <c:v>855</c:v>
                </c:pt>
                <c:pt idx="10264">
                  <c:v>6547</c:v>
                </c:pt>
                <c:pt idx="10265">
                  <c:v>6280</c:v>
                </c:pt>
                <c:pt idx="10266">
                  <c:v>10550</c:v>
                </c:pt>
                <c:pt idx="10267">
                  <c:v>12135</c:v>
                </c:pt>
                <c:pt idx="10268">
                  <c:v>853</c:v>
                </c:pt>
                <c:pt idx="10269">
                  <c:v>110</c:v>
                </c:pt>
                <c:pt idx="10270">
                  <c:v>433</c:v>
                </c:pt>
                <c:pt idx="10271">
                  <c:v>557</c:v>
                </c:pt>
                <c:pt idx="10272">
                  <c:v>5521</c:v>
                </c:pt>
                <c:pt idx="10273">
                  <c:v>4164</c:v>
                </c:pt>
                <c:pt idx="10274">
                  <c:v>988</c:v>
                </c:pt>
                <c:pt idx="10275">
                  <c:v>6178</c:v>
                </c:pt>
                <c:pt idx="10276">
                  <c:v>3379</c:v>
                </c:pt>
                <c:pt idx="10277">
                  <c:v>1388</c:v>
                </c:pt>
                <c:pt idx="10278">
                  <c:v>2427</c:v>
                </c:pt>
                <c:pt idx="10279">
                  <c:v>1310</c:v>
                </c:pt>
                <c:pt idx="10280">
                  <c:v>8411</c:v>
                </c:pt>
                <c:pt idx="10281">
                  <c:v>6056</c:v>
                </c:pt>
                <c:pt idx="10282">
                  <c:v>3372</c:v>
                </c:pt>
                <c:pt idx="10283">
                  <c:v>3820</c:v>
                </c:pt>
                <c:pt idx="10284">
                  <c:v>7162</c:v>
                </c:pt>
                <c:pt idx="10285">
                  <c:v>2724</c:v>
                </c:pt>
                <c:pt idx="10286">
                  <c:v>5199</c:v>
                </c:pt>
                <c:pt idx="10287">
                  <c:v>11251</c:v>
                </c:pt>
                <c:pt idx="10288">
                  <c:v>4038</c:v>
                </c:pt>
                <c:pt idx="10289">
                  <c:v>5372</c:v>
                </c:pt>
                <c:pt idx="10290">
                  <c:v>19252</c:v>
                </c:pt>
                <c:pt idx="10291">
                  <c:v>25522</c:v>
                </c:pt>
                <c:pt idx="10292">
                  <c:v>8781</c:v>
                </c:pt>
                <c:pt idx="10293">
                  <c:v>291</c:v>
                </c:pt>
                <c:pt idx="10294">
                  <c:v>4742</c:v>
                </c:pt>
                <c:pt idx="10295">
                  <c:v>8253</c:v>
                </c:pt>
                <c:pt idx="10296">
                  <c:v>2285</c:v>
                </c:pt>
                <c:pt idx="10297">
                  <c:v>2393</c:v>
                </c:pt>
                <c:pt idx="10298">
                  <c:v>413</c:v>
                </c:pt>
                <c:pt idx="10299">
                  <c:v>540</c:v>
                </c:pt>
                <c:pt idx="10300">
                  <c:v>438</c:v>
                </c:pt>
                <c:pt idx="10301">
                  <c:v>1491</c:v>
                </c:pt>
                <c:pt idx="10302">
                  <c:v>518</c:v>
                </c:pt>
                <c:pt idx="10303">
                  <c:v>187</c:v>
                </c:pt>
                <c:pt idx="10304">
                  <c:v>3198</c:v>
                </c:pt>
                <c:pt idx="10305">
                  <c:v>9506</c:v>
                </c:pt>
                <c:pt idx="10306">
                  <c:v>2299</c:v>
                </c:pt>
                <c:pt idx="10307">
                  <c:v>2359</c:v>
                </c:pt>
                <c:pt idx="10308">
                  <c:v>593</c:v>
                </c:pt>
                <c:pt idx="10309">
                  <c:v>2268</c:v>
                </c:pt>
                <c:pt idx="10310">
                  <c:v>5270</c:v>
                </c:pt>
                <c:pt idx="10311">
                  <c:v>1158</c:v>
                </c:pt>
                <c:pt idx="10312">
                  <c:v>3850</c:v>
                </c:pt>
                <c:pt idx="10313">
                  <c:v>1035</c:v>
                </c:pt>
                <c:pt idx="10314">
                  <c:v>2093</c:v>
                </c:pt>
                <c:pt idx="10315">
                  <c:v>1248</c:v>
                </c:pt>
                <c:pt idx="10316">
                  <c:v>1122</c:v>
                </c:pt>
                <c:pt idx="10317">
                  <c:v>1791</c:v>
                </c:pt>
                <c:pt idx="10318">
                  <c:v>15850</c:v>
                </c:pt>
                <c:pt idx="10319">
                  <c:v>12636</c:v>
                </c:pt>
                <c:pt idx="10320">
                  <c:v>7815</c:v>
                </c:pt>
                <c:pt idx="10321">
                  <c:v>1981</c:v>
                </c:pt>
                <c:pt idx="10322">
                  <c:v>907</c:v>
                </c:pt>
                <c:pt idx="10323">
                  <c:v>2527</c:v>
                </c:pt>
                <c:pt idx="10324">
                  <c:v>209</c:v>
                </c:pt>
                <c:pt idx="10325">
                  <c:v>1011</c:v>
                </c:pt>
                <c:pt idx="10326">
                  <c:v>276</c:v>
                </c:pt>
                <c:pt idx="10327">
                  <c:v>556</c:v>
                </c:pt>
                <c:pt idx="10328">
                  <c:v>930</c:v>
                </c:pt>
                <c:pt idx="10329">
                  <c:v>1266</c:v>
                </c:pt>
                <c:pt idx="10330">
                  <c:v>797</c:v>
                </c:pt>
                <c:pt idx="10331">
                  <c:v>3812</c:v>
                </c:pt>
                <c:pt idx="10332">
                  <c:v>3001</c:v>
                </c:pt>
                <c:pt idx="10333">
                  <c:v>16482</c:v>
                </c:pt>
                <c:pt idx="10334">
                  <c:v>1573</c:v>
                </c:pt>
                <c:pt idx="10335">
                  <c:v>398</c:v>
                </c:pt>
                <c:pt idx="10336">
                  <c:v>2450</c:v>
                </c:pt>
                <c:pt idx="10337">
                  <c:v>3886</c:v>
                </c:pt>
                <c:pt idx="10338">
                  <c:v>473</c:v>
                </c:pt>
                <c:pt idx="10339">
                  <c:v>3253</c:v>
                </c:pt>
                <c:pt idx="10340">
                  <c:v>1564</c:v>
                </c:pt>
                <c:pt idx="10341">
                  <c:v>2471</c:v>
                </c:pt>
                <c:pt idx="10342">
                  <c:v>711</c:v>
                </c:pt>
                <c:pt idx="10343">
                  <c:v>6418</c:v>
                </c:pt>
                <c:pt idx="10344">
                  <c:v>364</c:v>
                </c:pt>
                <c:pt idx="10345">
                  <c:v>203</c:v>
                </c:pt>
                <c:pt idx="10346">
                  <c:v>284</c:v>
                </c:pt>
                <c:pt idx="10347">
                  <c:v>272</c:v>
                </c:pt>
                <c:pt idx="10348">
                  <c:v>2750</c:v>
                </c:pt>
                <c:pt idx="10349">
                  <c:v>905</c:v>
                </c:pt>
                <c:pt idx="10350">
                  <c:v>2447</c:v>
                </c:pt>
                <c:pt idx="10351">
                  <c:v>4077</c:v>
                </c:pt>
                <c:pt idx="10352">
                  <c:v>3747</c:v>
                </c:pt>
                <c:pt idx="10353">
                  <c:v>231</c:v>
                </c:pt>
                <c:pt idx="10354">
                  <c:v>5960</c:v>
                </c:pt>
                <c:pt idx="10355">
                  <c:v>815</c:v>
                </c:pt>
                <c:pt idx="10356">
                  <c:v>180</c:v>
                </c:pt>
                <c:pt idx="10357">
                  <c:v>282</c:v>
                </c:pt>
                <c:pt idx="10358">
                  <c:v>25</c:v>
                </c:pt>
                <c:pt idx="10359">
                  <c:v>1340</c:v>
                </c:pt>
                <c:pt idx="10360">
                  <c:v>1367</c:v>
                </c:pt>
                <c:pt idx="10361">
                  <c:v>191</c:v>
                </c:pt>
                <c:pt idx="10362">
                  <c:v>1676</c:v>
                </c:pt>
                <c:pt idx="10363">
                  <c:v>165</c:v>
                </c:pt>
                <c:pt idx="10364">
                  <c:v>1679</c:v>
                </c:pt>
                <c:pt idx="10365">
                  <c:v>928</c:v>
                </c:pt>
                <c:pt idx="10366">
                  <c:v>87</c:v>
                </c:pt>
                <c:pt idx="10367">
                  <c:v>524</c:v>
                </c:pt>
                <c:pt idx="10368">
                  <c:v>3253</c:v>
                </c:pt>
                <c:pt idx="10369">
                  <c:v>4137</c:v>
                </c:pt>
                <c:pt idx="10370">
                  <c:v>150</c:v>
                </c:pt>
                <c:pt idx="10371">
                  <c:v>1152</c:v>
                </c:pt>
                <c:pt idx="10372">
                  <c:v>720</c:v>
                </c:pt>
                <c:pt idx="10373">
                  <c:v>1446</c:v>
                </c:pt>
                <c:pt idx="10374">
                  <c:v>561</c:v>
                </c:pt>
                <c:pt idx="10375">
                  <c:v>210</c:v>
                </c:pt>
                <c:pt idx="10376">
                  <c:v>5511</c:v>
                </c:pt>
                <c:pt idx="10377">
                  <c:v>289</c:v>
                </c:pt>
                <c:pt idx="10378">
                  <c:v>8697</c:v>
                </c:pt>
                <c:pt idx="10379">
                  <c:v>692</c:v>
                </c:pt>
                <c:pt idx="10380">
                  <c:v>937</c:v>
                </c:pt>
                <c:pt idx="10381">
                  <c:v>2291</c:v>
                </c:pt>
                <c:pt idx="10382">
                  <c:v>2536</c:v>
                </c:pt>
                <c:pt idx="10383">
                  <c:v>928</c:v>
                </c:pt>
                <c:pt idx="10384">
                  <c:v>325</c:v>
                </c:pt>
                <c:pt idx="10385">
                  <c:v>843</c:v>
                </c:pt>
                <c:pt idx="10386">
                  <c:v>16281</c:v>
                </c:pt>
                <c:pt idx="10387">
                  <c:v>7702</c:v>
                </c:pt>
                <c:pt idx="10388">
                  <c:v>614</c:v>
                </c:pt>
                <c:pt idx="10389">
                  <c:v>3055</c:v>
                </c:pt>
                <c:pt idx="10390">
                  <c:v>15122</c:v>
                </c:pt>
                <c:pt idx="10391">
                  <c:v>16723</c:v>
                </c:pt>
                <c:pt idx="10392">
                  <c:v>169</c:v>
                </c:pt>
                <c:pt idx="10393">
                  <c:v>6001</c:v>
                </c:pt>
                <c:pt idx="10394">
                  <c:v>8784</c:v>
                </c:pt>
                <c:pt idx="10395">
                  <c:v>5026</c:v>
                </c:pt>
                <c:pt idx="10396">
                  <c:v>2877</c:v>
                </c:pt>
                <c:pt idx="10397">
                  <c:v>297</c:v>
                </c:pt>
                <c:pt idx="10398">
                  <c:v>2086</c:v>
                </c:pt>
                <c:pt idx="10399">
                  <c:v>6125</c:v>
                </c:pt>
                <c:pt idx="10400">
                  <c:v>1196</c:v>
                </c:pt>
                <c:pt idx="10401">
                  <c:v>639</c:v>
                </c:pt>
                <c:pt idx="10402">
                  <c:v>1351</c:v>
                </c:pt>
                <c:pt idx="10403">
                  <c:v>1024</c:v>
                </c:pt>
                <c:pt idx="10404">
                  <c:v>4366</c:v>
                </c:pt>
                <c:pt idx="10405">
                  <c:v>468</c:v>
                </c:pt>
                <c:pt idx="10406">
                  <c:v>5952</c:v>
                </c:pt>
                <c:pt idx="10407">
                  <c:v>7038</c:v>
                </c:pt>
                <c:pt idx="10408">
                  <c:v>2990</c:v>
                </c:pt>
                <c:pt idx="10409">
                  <c:v>450</c:v>
                </c:pt>
                <c:pt idx="10410">
                  <c:v>9898</c:v>
                </c:pt>
                <c:pt idx="10411">
                  <c:v>2330</c:v>
                </c:pt>
                <c:pt idx="10412">
                  <c:v>674</c:v>
                </c:pt>
                <c:pt idx="10413">
                  <c:v>499</c:v>
                </c:pt>
                <c:pt idx="10414">
                  <c:v>2181</c:v>
                </c:pt>
                <c:pt idx="10415">
                  <c:v>10135</c:v>
                </c:pt>
                <c:pt idx="10416">
                  <c:v>343</c:v>
                </c:pt>
                <c:pt idx="10417">
                  <c:v>132</c:v>
                </c:pt>
                <c:pt idx="10418">
                  <c:v>391</c:v>
                </c:pt>
                <c:pt idx="10419">
                  <c:v>4271</c:v>
                </c:pt>
                <c:pt idx="10420">
                  <c:v>341</c:v>
                </c:pt>
                <c:pt idx="10421">
                  <c:v>2012</c:v>
                </c:pt>
                <c:pt idx="10422">
                  <c:v>4423</c:v>
                </c:pt>
                <c:pt idx="10423">
                  <c:v>10179</c:v>
                </c:pt>
                <c:pt idx="10424">
                  <c:v>8567</c:v>
                </c:pt>
                <c:pt idx="10425">
                  <c:v>2530</c:v>
                </c:pt>
                <c:pt idx="10426">
                  <c:v>16569</c:v>
                </c:pt>
                <c:pt idx="10427">
                  <c:v>11131</c:v>
                </c:pt>
                <c:pt idx="10428">
                  <c:v>2857</c:v>
                </c:pt>
                <c:pt idx="10429">
                  <c:v>2618</c:v>
                </c:pt>
                <c:pt idx="10430">
                  <c:v>1033</c:v>
                </c:pt>
                <c:pt idx="10431">
                  <c:v>4601</c:v>
                </c:pt>
                <c:pt idx="10432">
                  <c:v>4000</c:v>
                </c:pt>
                <c:pt idx="10433">
                  <c:v>7954</c:v>
                </c:pt>
                <c:pt idx="10434">
                  <c:v>6293</c:v>
                </c:pt>
                <c:pt idx="10435">
                  <c:v>8918</c:v>
                </c:pt>
                <c:pt idx="10436">
                  <c:v>24448</c:v>
                </c:pt>
                <c:pt idx="10437">
                  <c:v>8727</c:v>
                </c:pt>
                <c:pt idx="10438">
                  <c:v>4317</c:v>
                </c:pt>
                <c:pt idx="10439">
                  <c:v>117</c:v>
                </c:pt>
                <c:pt idx="10440">
                  <c:v>1383</c:v>
                </c:pt>
                <c:pt idx="10441">
                  <c:v>3044</c:v>
                </c:pt>
                <c:pt idx="10442">
                  <c:v>482</c:v>
                </c:pt>
                <c:pt idx="10443">
                  <c:v>190</c:v>
                </c:pt>
                <c:pt idx="10444">
                  <c:v>298</c:v>
                </c:pt>
                <c:pt idx="10445">
                  <c:v>1040</c:v>
                </c:pt>
                <c:pt idx="10446">
                  <c:v>2012</c:v>
                </c:pt>
                <c:pt idx="10447">
                  <c:v>890</c:v>
                </c:pt>
                <c:pt idx="10448">
                  <c:v>175</c:v>
                </c:pt>
                <c:pt idx="10449">
                  <c:v>861</c:v>
                </c:pt>
                <c:pt idx="10450">
                  <c:v>167</c:v>
                </c:pt>
                <c:pt idx="10451">
                  <c:v>403</c:v>
                </c:pt>
                <c:pt idx="10452">
                  <c:v>1067</c:v>
                </c:pt>
                <c:pt idx="10453">
                  <c:v>515</c:v>
                </c:pt>
                <c:pt idx="10454">
                  <c:v>627</c:v>
                </c:pt>
                <c:pt idx="10455">
                  <c:v>130</c:v>
                </c:pt>
                <c:pt idx="10456">
                  <c:v>78</c:v>
                </c:pt>
                <c:pt idx="10457">
                  <c:v>535</c:v>
                </c:pt>
                <c:pt idx="10458">
                  <c:v>330</c:v>
                </c:pt>
                <c:pt idx="10459">
                  <c:v>415</c:v>
                </c:pt>
                <c:pt idx="10460">
                  <c:v>566</c:v>
                </c:pt>
                <c:pt idx="10461">
                  <c:v>309</c:v>
                </c:pt>
                <c:pt idx="10462">
                  <c:v>776</c:v>
                </c:pt>
                <c:pt idx="10463">
                  <c:v>849</c:v>
                </c:pt>
                <c:pt idx="10464">
                  <c:v>213</c:v>
                </c:pt>
                <c:pt idx="10465">
                  <c:v>2218</c:v>
                </c:pt>
                <c:pt idx="10466">
                  <c:v>377</c:v>
                </c:pt>
                <c:pt idx="10467">
                  <c:v>675</c:v>
                </c:pt>
                <c:pt idx="10468">
                  <c:v>472</c:v>
                </c:pt>
                <c:pt idx="10469">
                  <c:v>10512</c:v>
                </c:pt>
                <c:pt idx="10470">
                  <c:v>7773</c:v>
                </c:pt>
                <c:pt idx="10471">
                  <c:v>23369</c:v>
                </c:pt>
                <c:pt idx="10472">
                  <c:v>12544</c:v>
                </c:pt>
                <c:pt idx="10473">
                  <c:v>865</c:v>
                </c:pt>
                <c:pt idx="10474">
                  <c:v>1098</c:v>
                </c:pt>
                <c:pt idx="10475">
                  <c:v>2740</c:v>
                </c:pt>
                <c:pt idx="10476">
                  <c:v>7601</c:v>
                </c:pt>
                <c:pt idx="10477">
                  <c:v>646</c:v>
                </c:pt>
                <c:pt idx="10478">
                  <c:v>2842</c:v>
                </c:pt>
                <c:pt idx="10479">
                  <c:v>158</c:v>
                </c:pt>
                <c:pt idx="10480">
                  <c:v>768</c:v>
                </c:pt>
                <c:pt idx="10481">
                  <c:v>1280</c:v>
                </c:pt>
                <c:pt idx="10482">
                  <c:v>1874</c:v>
                </c:pt>
                <c:pt idx="10483">
                  <c:v>5312</c:v>
                </c:pt>
                <c:pt idx="10484">
                  <c:v>566</c:v>
                </c:pt>
                <c:pt idx="10485">
                  <c:v>254</c:v>
                </c:pt>
                <c:pt idx="10486">
                  <c:v>785</c:v>
                </c:pt>
                <c:pt idx="10487">
                  <c:v>83</c:v>
                </c:pt>
                <c:pt idx="10488">
                  <c:v>1286</c:v>
                </c:pt>
                <c:pt idx="10489">
                  <c:v>7487</c:v>
                </c:pt>
                <c:pt idx="10490">
                  <c:v>2749</c:v>
                </c:pt>
                <c:pt idx="10491">
                  <c:v>571</c:v>
                </c:pt>
                <c:pt idx="10492">
                  <c:v>118</c:v>
                </c:pt>
                <c:pt idx="10493">
                  <c:v>1735</c:v>
                </c:pt>
                <c:pt idx="10494">
                  <c:v>9161</c:v>
                </c:pt>
                <c:pt idx="10495">
                  <c:v>9475</c:v>
                </c:pt>
                <c:pt idx="10496">
                  <c:v>9449</c:v>
                </c:pt>
                <c:pt idx="10497">
                  <c:v>326</c:v>
                </c:pt>
                <c:pt idx="10498">
                  <c:v>3983</c:v>
                </c:pt>
                <c:pt idx="10499">
                  <c:v>1556</c:v>
                </c:pt>
                <c:pt idx="10500">
                  <c:v>5779</c:v>
                </c:pt>
                <c:pt idx="10501">
                  <c:v>1250</c:v>
                </c:pt>
                <c:pt idx="10502">
                  <c:v>1534</c:v>
                </c:pt>
                <c:pt idx="10503">
                  <c:v>460</c:v>
                </c:pt>
                <c:pt idx="10504">
                  <c:v>737</c:v>
                </c:pt>
                <c:pt idx="10505">
                  <c:v>510</c:v>
                </c:pt>
                <c:pt idx="10506">
                  <c:v>324</c:v>
                </c:pt>
                <c:pt idx="10507">
                  <c:v>219</c:v>
                </c:pt>
                <c:pt idx="10508">
                  <c:v>492</c:v>
                </c:pt>
                <c:pt idx="10509">
                  <c:v>265</c:v>
                </c:pt>
                <c:pt idx="10510">
                  <c:v>183</c:v>
                </c:pt>
                <c:pt idx="10511">
                  <c:v>1084</c:v>
                </c:pt>
                <c:pt idx="10512">
                  <c:v>2793</c:v>
                </c:pt>
                <c:pt idx="10513">
                  <c:v>1078</c:v>
                </c:pt>
                <c:pt idx="10514">
                  <c:v>52343</c:v>
                </c:pt>
                <c:pt idx="10515">
                  <c:v>1187</c:v>
                </c:pt>
                <c:pt idx="10516">
                  <c:v>8727</c:v>
                </c:pt>
                <c:pt idx="10517">
                  <c:v>451</c:v>
                </c:pt>
                <c:pt idx="10518">
                  <c:v>898</c:v>
                </c:pt>
                <c:pt idx="10519">
                  <c:v>312</c:v>
                </c:pt>
                <c:pt idx="10520">
                  <c:v>2443</c:v>
                </c:pt>
                <c:pt idx="10521">
                  <c:v>2767</c:v>
                </c:pt>
                <c:pt idx="10522">
                  <c:v>577</c:v>
                </c:pt>
                <c:pt idx="10523">
                  <c:v>2374</c:v>
                </c:pt>
                <c:pt idx="10524">
                  <c:v>978</c:v>
                </c:pt>
                <c:pt idx="10525">
                  <c:v>31842</c:v>
                </c:pt>
                <c:pt idx="10526">
                  <c:v>3571</c:v>
                </c:pt>
                <c:pt idx="10527">
                  <c:v>3356</c:v>
                </c:pt>
                <c:pt idx="10528">
                  <c:v>2300</c:v>
                </c:pt>
                <c:pt idx="10529">
                  <c:v>2359</c:v>
                </c:pt>
                <c:pt idx="10530">
                  <c:v>3044</c:v>
                </c:pt>
                <c:pt idx="10531">
                  <c:v>3644</c:v>
                </c:pt>
                <c:pt idx="10532">
                  <c:v>1860</c:v>
                </c:pt>
                <c:pt idx="10533">
                  <c:v>2202</c:v>
                </c:pt>
                <c:pt idx="10534">
                  <c:v>4574</c:v>
                </c:pt>
                <c:pt idx="10535">
                  <c:v>26124</c:v>
                </c:pt>
                <c:pt idx="10536">
                  <c:v>38558</c:v>
                </c:pt>
                <c:pt idx="10537">
                  <c:v>25738</c:v>
                </c:pt>
                <c:pt idx="10538">
                  <c:v>3065</c:v>
                </c:pt>
                <c:pt idx="10539">
                  <c:v>947</c:v>
                </c:pt>
                <c:pt idx="10540">
                  <c:v>3358</c:v>
                </c:pt>
                <c:pt idx="10541">
                  <c:v>2135</c:v>
                </c:pt>
                <c:pt idx="10542">
                  <c:v>669</c:v>
                </c:pt>
                <c:pt idx="10543">
                  <c:v>1683</c:v>
                </c:pt>
                <c:pt idx="10544">
                  <c:v>674</c:v>
                </c:pt>
                <c:pt idx="10545">
                  <c:v>12861</c:v>
                </c:pt>
                <c:pt idx="10546">
                  <c:v>190</c:v>
                </c:pt>
                <c:pt idx="10547">
                  <c:v>2816</c:v>
                </c:pt>
                <c:pt idx="10548">
                  <c:v>557</c:v>
                </c:pt>
                <c:pt idx="10549">
                  <c:v>1131</c:v>
                </c:pt>
                <c:pt idx="10550">
                  <c:v>2011</c:v>
                </c:pt>
                <c:pt idx="10551">
                  <c:v>6741</c:v>
                </c:pt>
                <c:pt idx="10552">
                  <c:v>31049</c:v>
                </c:pt>
                <c:pt idx="10553">
                  <c:v>27719</c:v>
                </c:pt>
                <c:pt idx="10554">
                  <c:v>17584</c:v>
                </c:pt>
                <c:pt idx="10555">
                  <c:v>10224</c:v>
                </c:pt>
                <c:pt idx="10556">
                  <c:v>16435</c:v>
                </c:pt>
                <c:pt idx="10557">
                  <c:v>6708</c:v>
                </c:pt>
                <c:pt idx="10558">
                  <c:v>4067</c:v>
                </c:pt>
                <c:pt idx="10559">
                  <c:v>36794</c:v>
                </c:pt>
                <c:pt idx="10560">
                  <c:v>21127</c:v>
                </c:pt>
                <c:pt idx="10561">
                  <c:v>278</c:v>
                </c:pt>
                <c:pt idx="10562">
                  <c:v>1457</c:v>
                </c:pt>
                <c:pt idx="10563">
                  <c:v>3260</c:v>
                </c:pt>
                <c:pt idx="10564">
                  <c:v>2964</c:v>
                </c:pt>
                <c:pt idx="10565">
                  <c:v>7274</c:v>
                </c:pt>
                <c:pt idx="10566">
                  <c:v>2797</c:v>
                </c:pt>
                <c:pt idx="10567">
                  <c:v>19156</c:v>
                </c:pt>
                <c:pt idx="10568">
                  <c:v>24753</c:v>
                </c:pt>
                <c:pt idx="10569">
                  <c:v>7889</c:v>
                </c:pt>
                <c:pt idx="10570">
                  <c:v>9956</c:v>
                </c:pt>
                <c:pt idx="10571">
                  <c:v>1016</c:v>
                </c:pt>
                <c:pt idx="10572">
                  <c:v>2090</c:v>
                </c:pt>
                <c:pt idx="10573">
                  <c:v>738</c:v>
                </c:pt>
                <c:pt idx="10574">
                  <c:v>3042</c:v>
                </c:pt>
                <c:pt idx="10575">
                  <c:v>2759</c:v>
                </c:pt>
                <c:pt idx="10576">
                  <c:v>13882</c:v>
                </c:pt>
                <c:pt idx="10577">
                  <c:v>20945</c:v>
                </c:pt>
                <c:pt idx="10578">
                  <c:v>658</c:v>
                </c:pt>
                <c:pt idx="10579">
                  <c:v>31525</c:v>
                </c:pt>
                <c:pt idx="10580">
                  <c:v>9953</c:v>
                </c:pt>
                <c:pt idx="10581">
                  <c:v>37139</c:v>
                </c:pt>
                <c:pt idx="10582">
                  <c:v>31341</c:v>
                </c:pt>
                <c:pt idx="10583">
                  <c:v>31393</c:v>
                </c:pt>
                <c:pt idx="10584">
                  <c:v>1269</c:v>
                </c:pt>
                <c:pt idx="10585">
                  <c:v>10973</c:v>
                </c:pt>
                <c:pt idx="10586">
                  <c:v>1045</c:v>
                </c:pt>
                <c:pt idx="10587">
                  <c:v>12606</c:v>
                </c:pt>
                <c:pt idx="10588">
                  <c:v>506</c:v>
                </c:pt>
                <c:pt idx="10589">
                  <c:v>947</c:v>
                </c:pt>
                <c:pt idx="10590">
                  <c:v>2011</c:v>
                </c:pt>
                <c:pt idx="10591">
                  <c:v>1650</c:v>
                </c:pt>
                <c:pt idx="10592">
                  <c:v>1330</c:v>
                </c:pt>
                <c:pt idx="10593">
                  <c:v>4154</c:v>
                </c:pt>
                <c:pt idx="10594">
                  <c:v>11864</c:v>
                </c:pt>
                <c:pt idx="10595">
                  <c:v>1082</c:v>
                </c:pt>
                <c:pt idx="10596">
                  <c:v>1261</c:v>
                </c:pt>
                <c:pt idx="10597">
                  <c:v>221</c:v>
                </c:pt>
                <c:pt idx="10598">
                  <c:v>2332</c:v>
                </c:pt>
                <c:pt idx="10599">
                  <c:v>15607</c:v>
                </c:pt>
                <c:pt idx="10600">
                  <c:v>15</c:v>
                </c:pt>
                <c:pt idx="10601">
                  <c:v>5921</c:v>
                </c:pt>
                <c:pt idx="10602">
                  <c:v>31587</c:v>
                </c:pt>
                <c:pt idx="10603">
                  <c:v>14117</c:v>
                </c:pt>
                <c:pt idx="10604">
                  <c:v>23440</c:v>
                </c:pt>
                <c:pt idx="10605">
                  <c:v>229</c:v>
                </c:pt>
                <c:pt idx="10606">
                  <c:v>853</c:v>
                </c:pt>
                <c:pt idx="10607">
                  <c:v>7888</c:v>
                </c:pt>
                <c:pt idx="10608">
                  <c:v>1843</c:v>
                </c:pt>
                <c:pt idx="10609">
                  <c:v>745</c:v>
                </c:pt>
                <c:pt idx="10610">
                  <c:v>1264</c:v>
                </c:pt>
                <c:pt idx="10611">
                  <c:v>3047</c:v>
                </c:pt>
                <c:pt idx="10612">
                  <c:v>3522</c:v>
                </c:pt>
                <c:pt idx="10613">
                  <c:v>4621</c:v>
                </c:pt>
                <c:pt idx="10614">
                  <c:v>3887</c:v>
                </c:pt>
                <c:pt idx="10615">
                  <c:v>8967</c:v>
                </c:pt>
                <c:pt idx="10616">
                  <c:v>2258</c:v>
                </c:pt>
                <c:pt idx="10617">
                  <c:v>3859</c:v>
                </c:pt>
                <c:pt idx="10618">
                  <c:v>1983</c:v>
                </c:pt>
                <c:pt idx="10619">
                  <c:v>977</c:v>
                </c:pt>
                <c:pt idx="10620">
                  <c:v>11898</c:v>
                </c:pt>
                <c:pt idx="10621">
                  <c:v>10944</c:v>
                </c:pt>
                <c:pt idx="10622">
                  <c:v>13554</c:v>
                </c:pt>
                <c:pt idx="10623">
                  <c:v>17417</c:v>
                </c:pt>
                <c:pt idx="10624">
                  <c:v>20507</c:v>
                </c:pt>
                <c:pt idx="10625">
                  <c:v>10032</c:v>
                </c:pt>
                <c:pt idx="10626">
                  <c:v>22443</c:v>
                </c:pt>
                <c:pt idx="10627">
                  <c:v>8193</c:v>
                </c:pt>
                <c:pt idx="10628">
                  <c:v>40061</c:v>
                </c:pt>
                <c:pt idx="10629">
                  <c:v>11236</c:v>
                </c:pt>
                <c:pt idx="10630">
                  <c:v>18136</c:v>
                </c:pt>
                <c:pt idx="10631">
                  <c:v>11760</c:v>
                </c:pt>
                <c:pt idx="10632">
                  <c:v>11692</c:v>
                </c:pt>
                <c:pt idx="10633">
                  <c:v>17731</c:v>
                </c:pt>
                <c:pt idx="10634">
                  <c:v>6128</c:v>
                </c:pt>
                <c:pt idx="10635">
                  <c:v>1246</c:v>
                </c:pt>
                <c:pt idx="10636">
                  <c:v>3335</c:v>
                </c:pt>
                <c:pt idx="10637">
                  <c:v>24034</c:v>
                </c:pt>
                <c:pt idx="10638">
                  <c:v>346</c:v>
                </c:pt>
                <c:pt idx="10639">
                  <c:v>2470</c:v>
                </c:pt>
                <c:pt idx="10640">
                  <c:v>10990</c:v>
                </c:pt>
                <c:pt idx="10641">
                  <c:v>762</c:v>
                </c:pt>
                <c:pt idx="10642">
                  <c:v>2282</c:v>
                </c:pt>
                <c:pt idx="10643">
                  <c:v>1115</c:v>
                </c:pt>
                <c:pt idx="10644">
                  <c:v>781</c:v>
                </c:pt>
                <c:pt idx="10645">
                  <c:v>1329</c:v>
                </c:pt>
                <c:pt idx="10646">
                  <c:v>13408</c:v>
                </c:pt>
                <c:pt idx="10647">
                  <c:v>17212</c:v>
                </c:pt>
                <c:pt idx="10648">
                  <c:v>457</c:v>
                </c:pt>
                <c:pt idx="10649">
                  <c:v>1364</c:v>
                </c:pt>
                <c:pt idx="10650">
                  <c:v>590</c:v>
                </c:pt>
                <c:pt idx="10651">
                  <c:v>7844</c:v>
                </c:pt>
                <c:pt idx="10652">
                  <c:v>3002</c:v>
                </c:pt>
                <c:pt idx="10653">
                  <c:v>14354</c:v>
                </c:pt>
                <c:pt idx="10654">
                  <c:v>2387</c:v>
                </c:pt>
                <c:pt idx="10655">
                  <c:v>747</c:v>
                </c:pt>
                <c:pt idx="10656">
                  <c:v>135</c:v>
                </c:pt>
                <c:pt idx="10657">
                  <c:v>4712</c:v>
                </c:pt>
                <c:pt idx="10658">
                  <c:v>448</c:v>
                </c:pt>
                <c:pt idx="10659">
                  <c:v>2627</c:v>
                </c:pt>
                <c:pt idx="10660">
                  <c:v>2928</c:v>
                </c:pt>
                <c:pt idx="10661">
                  <c:v>2467</c:v>
                </c:pt>
                <c:pt idx="10662">
                  <c:v>921</c:v>
                </c:pt>
                <c:pt idx="10663">
                  <c:v>155</c:v>
                </c:pt>
                <c:pt idx="10664">
                  <c:v>10590</c:v>
                </c:pt>
                <c:pt idx="10665">
                  <c:v>1261</c:v>
                </c:pt>
                <c:pt idx="10666">
                  <c:v>2071</c:v>
                </c:pt>
                <c:pt idx="10667">
                  <c:v>1125</c:v>
                </c:pt>
                <c:pt idx="10668">
                  <c:v>577</c:v>
                </c:pt>
                <c:pt idx="10669">
                  <c:v>6676</c:v>
                </c:pt>
                <c:pt idx="10670">
                  <c:v>1609</c:v>
                </c:pt>
                <c:pt idx="10671">
                  <c:v>19997</c:v>
                </c:pt>
                <c:pt idx="10672">
                  <c:v>1055</c:v>
                </c:pt>
                <c:pt idx="10673">
                  <c:v>3347</c:v>
                </c:pt>
                <c:pt idx="10674">
                  <c:v>881</c:v>
                </c:pt>
                <c:pt idx="10675">
                  <c:v>115</c:v>
                </c:pt>
                <c:pt idx="10676">
                  <c:v>1322</c:v>
                </c:pt>
                <c:pt idx="10677">
                  <c:v>2050</c:v>
                </c:pt>
                <c:pt idx="10678">
                  <c:v>6348</c:v>
                </c:pt>
                <c:pt idx="10679">
                  <c:v>12692</c:v>
                </c:pt>
                <c:pt idx="10680">
                  <c:v>1009</c:v>
                </c:pt>
                <c:pt idx="10681">
                  <c:v>2623</c:v>
                </c:pt>
                <c:pt idx="10682">
                  <c:v>544</c:v>
                </c:pt>
                <c:pt idx="10683">
                  <c:v>1129</c:v>
                </c:pt>
                <c:pt idx="10684">
                  <c:v>553</c:v>
                </c:pt>
                <c:pt idx="10685">
                  <c:v>1253</c:v>
                </c:pt>
                <c:pt idx="10686">
                  <c:v>18859</c:v>
                </c:pt>
                <c:pt idx="10687">
                  <c:v>606</c:v>
                </c:pt>
                <c:pt idx="10688">
                  <c:v>511</c:v>
                </c:pt>
                <c:pt idx="10689">
                  <c:v>4887</c:v>
                </c:pt>
                <c:pt idx="10690">
                  <c:v>157</c:v>
                </c:pt>
                <c:pt idx="10691">
                  <c:v>2149</c:v>
                </c:pt>
                <c:pt idx="10692">
                  <c:v>1063</c:v>
                </c:pt>
                <c:pt idx="10693">
                  <c:v>853</c:v>
                </c:pt>
                <c:pt idx="10694">
                  <c:v>1851</c:v>
                </c:pt>
                <c:pt idx="10695">
                  <c:v>180</c:v>
                </c:pt>
                <c:pt idx="10696">
                  <c:v>6542</c:v>
                </c:pt>
                <c:pt idx="10697">
                  <c:v>12475</c:v>
                </c:pt>
                <c:pt idx="10698">
                  <c:v>2230</c:v>
                </c:pt>
                <c:pt idx="10699">
                  <c:v>3424</c:v>
                </c:pt>
                <c:pt idx="10700">
                  <c:v>3196</c:v>
                </c:pt>
                <c:pt idx="10701">
                  <c:v>1486</c:v>
                </c:pt>
                <c:pt idx="10702">
                  <c:v>11695</c:v>
                </c:pt>
                <c:pt idx="10703">
                  <c:v>645</c:v>
                </c:pt>
                <c:pt idx="10704">
                  <c:v>25</c:v>
                </c:pt>
                <c:pt idx="10705">
                  <c:v>67</c:v>
                </c:pt>
                <c:pt idx="10706">
                  <c:v>4484</c:v>
                </c:pt>
                <c:pt idx="10707">
                  <c:v>6611</c:v>
                </c:pt>
                <c:pt idx="10708">
                  <c:v>1524</c:v>
                </c:pt>
                <c:pt idx="10709">
                  <c:v>3795</c:v>
                </c:pt>
                <c:pt idx="10710">
                  <c:v>6024</c:v>
                </c:pt>
                <c:pt idx="10711">
                  <c:v>10668</c:v>
                </c:pt>
                <c:pt idx="10712">
                  <c:v>4853</c:v>
                </c:pt>
                <c:pt idx="10713">
                  <c:v>3221</c:v>
                </c:pt>
                <c:pt idx="10714">
                  <c:v>1209</c:v>
                </c:pt>
                <c:pt idx="10715">
                  <c:v>1623</c:v>
                </c:pt>
                <c:pt idx="10716">
                  <c:v>1098</c:v>
                </c:pt>
                <c:pt idx="10717">
                  <c:v>8649</c:v>
                </c:pt>
                <c:pt idx="10718">
                  <c:v>11476</c:v>
                </c:pt>
                <c:pt idx="10719">
                  <c:v>12717</c:v>
                </c:pt>
                <c:pt idx="10720">
                  <c:v>7776</c:v>
                </c:pt>
                <c:pt idx="10721">
                  <c:v>2888</c:v>
                </c:pt>
                <c:pt idx="10722">
                  <c:v>27032</c:v>
                </c:pt>
                <c:pt idx="10723">
                  <c:v>16128</c:v>
                </c:pt>
                <c:pt idx="10724">
                  <c:v>16973</c:v>
                </c:pt>
                <c:pt idx="10725">
                  <c:v>10704</c:v>
                </c:pt>
                <c:pt idx="10726">
                  <c:v>2045</c:v>
                </c:pt>
                <c:pt idx="10727">
                  <c:v>6474</c:v>
                </c:pt>
                <c:pt idx="10728">
                  <c:v>5042</c:v>
                </c:pt>
                <c:pt idx="10729">
                  <c:v>16047</c:v>
                </c:pt>
                <c:pt idx="10730">
                  <c:v>1270</c:v>
                </c:pt>
                <c:pt idx="10731">
                  <c:v>3957</c:v>
                </c:pt>
                <c:pt idx="10732">
                  <c:v>6173</c:v>
                </c:pt>
                <c:pt idx="10733">
                  <c:v>13549</c:v>
                </c:pt>
                <c:pt idx="10734">
                  <c:v>2295</c:v>
                </c:pt>
                <c:pt idx="10735">
                  <c:v>5344</c:v>
                </c:pt>
                <c:pt idx="10736">
                  <c:v>1600</c:v>
                </c:pt>
                <c:pt idx="10737">
                  <c:v>292</c:v>
                </c:pt>
                <c:pt idx="10738">
                  <c:v>1362</c:v>
                </c:pt>
                <c:pt idx="10739">
                  <c:v>12762</c:v>
                </c:pt>
                <c:pt idx="10740">
                  <c:v>15330</c:v>
                </c:pt>
                <c:pt idx="10741">
                  <c:v>6517</c:v>
                </c:pt>
                <c:pt idx="10742">
                  <c:v>11416</c:v>
                </c:pt>
                <c:pt idx="10743">
                  <c:v>1865</c:v>
                </c:pt>
                <c:pt idx="10744">
                  <c:v>2648</c:v>
                </c:pt>
                <c:pt idx="10745">
                  <c:v>4346</c:v>
                </c:pt>
                <c:pt idx="10746">
                  <c:v>4302</c:v>
                </c:pt>
                <c:pt idx="10747">
                  <c:v>1693</c:v>
                </c:pt>
                <c:pt idx="10748">
                  <c:v>387</c:v>
                </c:pt>
                <c:pt idx="10749">
                  <c:v>2942</c:v>
                </c:pt>
                <c:pt idx="10750">
                  <c:v>2350</c:v>
                </c:pt>
                <c:pt idx="10751">
                  <c:v>732</c:v>
                </c:pt>
                <c:pt idx="10752">
                  <c:v>4235</c:v>
                </c:pt>
                <c:pt idx="10753">
                  <c:v>2348</c:v>
                </c:pt>
                <c:pt idx="10754">
                  <c:v>2537</c:v>
                </c:pt>
                <c:pt idx="10755">
                  <c:v>1749</c:v>
                </c:pt>
                <c:pt idx="10756">
                  <c:v>425</c:v>
                </c:pt>
                <c:pt idx="10757">
                  <c:v>1961</c:v>
                </c:pt>
                <c:pt idx="10758">
                  <c:v>615</c:v>
                </c:pt>
                <c:pt idx="10759">
                  <c:v>1556</c:v>
                </c:pt>
                <c:pt idx="10760">
                  <c:v>177</c:v>
                </c:pt>
                <c:pt idx="10761">
                  <c:v>10760</c:v>
                </c:pt>
                <c:pt idx="10762">
                  <c:v>6709</c:v>
                </c:pt>
                <c:pt idx="10763">
                  <c:v>2480</c:v>
                </c:pt>
                <c:pt idx="10764">
                  <c:v>398</c:v>
                </c:pt>
                <c:pt idx="10765">
                  <c:v>903</c:v>
                </c:pt>
                <c:pt idx="10766">
                  <c:v>7572</c:v>
                </c:pt>
                <c:pt idx="10767">
                  <c:v>618</c:v>
                </c:pt>
                <c:pt idx="10768">
                  <c:v>796</c:v>
                </c:pt>
                <c:pt idx="10769">
                  <c:v>448</c:v>
                </c:pt>
                <c:pt idx="10770">
                  <c:v>3227</c:v>
                </c:pt>
                <c:pt idx="10771">
                  <c:v>2231</c:v>
                </c:pt>
                <c:pt idx="10772">
                  <c:v>3041</c:v>
                </c:pt>
                <c:pt idx="10773">
                  <c:v>9783</c:v>
                </c:pt>
                <c:pt idx="10774">
                  <c:v>7808</c:v>
                </c:pt>
                <c:pt idx="10775">
                  <c:v>7272</c:v>
                </c:pt>
                <c:pt idx="10776">
                  <c:v>2724</c:v>
                </c:pt>
                <c:pt idx="10777">
                  <c:v>511</c:v>
                </c:pt>
                <c:pt idx="10778">
                  <c:v>1649</c:v>
                </c:pt>
                <c:pt idx="10779">
                  <c:v>1013</c:v>
                </c:pt>
                <c:pt idx="10780">
                  <c:v>1184</c:v>
                </c:pt>
                <c:pt idx="10781">
                  <c:v>4472</c:v>
                </c:pt>
                <c:pt idx="10782">
                  <c:v>5523</c:v>
                </c:pt>
                <c:pt idx="10783">
                  <c:v>751</c:v>
                </c:pt>
                <c:pt idx="10784">
                  <c:v>7138</c:v>
                </c:pt>
                <c:pt idx="10785">
                  <c:v>4718</c:v>
                </c:pt>
                <c:pt idx="10786">
                  <c:v>244</c:v>
                </c:pt>
                <c:pt idx="10787">
                  <c:v>6316</c:v>
                </c:pt>
                <c:pt idx="10788">
                  <c:v>2628</c:v>
                </c:pt>
                <c:pt idx="10789">
                  <c:v>977</c:v>
                </c:pt>
                <c:pt idx="10790">
                  <c:v>8485</c:v>
                </c:pt>
                <c:pt idx="10791">
                  <c:v>6441</c:v>
                </c:pt>
                <c:pt idx="10792">
                  <c:v>7302</c:v>
                </c:pt>
                <c:pt idx="10793">
                  <c:v>6860</c:v>
                </c:pt>
                <c:pt idx="10794">
                  <c:v>1425</c:v>
                </c:pt>
                <c:pt idx="10795">
                  <c:v>12278</c:v>
                </c:pt>
                <c:pt idx="10796">
                  <c:v>15130</c:v>
                </c:pt>
                <c:pt idx="10797">
                  <c:v>12487</c:v>
                </c:pt>
                <c:pt idx="10798">
                  <c:v>1461</c:v>
                </c:pt>
                <c:pt idx="10799">
                  <c:v>4334</c:v>
                </c:pt>
                <c:pt idx="10800">
                  <c:v>924</c:v>
                </c:pt>
                <c:pt idx="10801">
                  <c:v>629</c:v>
                </c:pt>
                <c:pt idx="10802">
                  <c:v>1672</c:v>
                </c:pt>
                <c:pt idx="10803">
                  <c:v>6726</c:v>
                </c:pt>
                <c:pt idx="10804">
                  <c:v>14490</c:v>
                </c:pt>
                <c:pt idx="10805">
                  <c:v>1910</c:v>
                </c:pt>
                <c:pt idx="10806">
                  <c:v>266</c:v>
                </c:pt>
                <c:pt idx="10807">
                  <c:v>3666</c:v>
                </c:pt>
                <c:pt idx="10808">
                  <c:v>8464</c:v>
                </c:pt>
                <c:pt idx="10809">
                  <c:v>4122</c:v>
                </c:pt>
                <c:pt idx="10810">
                  <c:v>1901</c:v>
                </c:pt>
                <c:pt idx="10811">
                  <c:v>617</c:v>
                </c:pt>
                <c:pt idx="10812">
                  <c:v>889</c:v>
                </c:pt>
                <c:pt idx="10813">
                  <c:v>13335</c:v>
                </c:pt>
                <c:pt idx="10814">
                  <c:v>4391</c:v>
                </c:pt>
                <c:pt idx="10815">
                  <c:v>3621</c:v>
                </c:pt>
                <c:pt idx="10816">
                  <c:v>1860</c:v>
                </c:pt>
                <c:pt idx="10817">
                  <c:v>1794</c:v>
                </c:pt>
                <c:pt idx="10818">
                  <c:v>943</c:v>
                </c:pt>
                <c:pt idx="10819">
                  <c:v>14640</c:v>
                </c:pt>
                <c:pt idx="10820">
                  <c:v>983</c:v>
                </c:pt>
                <c:pt idx="10821">
                  <c:v>1534</c:v>
                </c:pt>
                <c:pt idx="10822">
                  <c:v>4415</c:v>
                </c:pt>
                <c:pt idx="10823">
                  <c:v>6977</c:v>
                </c:pt>
                <c:pt idx="10824">
                  <c:v>2012</c:v>
                </c:pt>
                <c:pt idx="10825">
                  <c:v>3147</c:v>
                </c:pt>
                <c:pt idx="10826">
                  <c:v>10538</c:v>
                </c:pt>
                <c:pt idx="10827">
                  <c:v>3331</c:v>
                </c:pt>
                <c:pt idx="10828">
                  <c:v>11990</c:v>
                </c:pt>
                <c:pt idx="10829">
                  <c:v>774</c:v>
                </c:pt>
                <c:pt idx="10830">
                  <c:v>1473</c:v>
                </c:pt>
                <c:pt idx="10831">
                  <c:v>1491</c:v>
                </c:pt>
                <c:pt idx="10832">
                  <c:v>4402</c:v>
                </c:pt>
                <c:pt idx="10833">
                  <c:v>563</c:v>
                </c:pt>
                <c:pt idx="10834">
                  <c:v>1570</c:v>
                </c:pt>
                <c:pt idx="10835">
                  <c:v>6150</c:v>
                </c:pt>
                <c:pt idx="10836">
                  <c:v>14271</c:v>
                </c:pt>
                <c:pt idx="10837">
                  <c:v>4252</c:v>
                </c:pt>
                <c:pt idx="10838">
                  <c:v>163</c:v>
                </c:pt>
                <c:pt idx="10839">
                  <c:v>4052</c:v>
                </c:pt>
                <c:pt idx="10840">
                  <c:v>1046</c:v>
                </c:pt>
                <c:pt idx="10841">
                  <c:v>599</c:v>
                </c:pt>
                <c:pt idx="10842">
                  <c:v>939</c:v>
                </c:pt>
                <c:pt idx="10843">
                  <c:v>2207</c:v>
                </c:pt>
                <c:pt idx="10844">
                  <c:v>1888</c:v>
                </c:pt>
                <c:pt idx="10845">
                  <c:v>1748</c:v>
                </c:pt>
                <c:pt idx="10846">
                  <c:v>1168</c:v>
                </c:pt>
                <c:pt idx="10847">
                  <c:v>3027</c:v>
                </c:pt>
                <c:pt idx="10848">
                  <c:v>1196</c:v>
                </c:pt>
                <c:pt idx="10849">
                  <c:v>801</c:v>
                </c:pt>
                <c:pt idx="10850">
                  <c:v>1459</c:v>
                </c:pt>
                <c:pt idx="10851">
                  <c:v>8836</c:v>
                </c:pt>
                <c:pt idx="10852">
                  <c:v>10530</c:v>
                </c:pt>
                <c:pt idx="10853">
                  <c:v>9107</c:v>
                </c:pt>
                <c:pt idx="10854">
                  <c:v>1894</c:v>
                </c:pt>
                <c:pt idx="10855">
                  <c:v>4797</c:v>
                </c:pt>
                <c:pt idx="10856">
                  <c:v>12627</c:v>
                </c:pt>
                <c:pt idx="10857">
                  <c:v>22829</c:v>
                </c:pt>
                <c:pt idx="10858">
                  <c:v>15267</c:v>
                </c:pt>
                <c:pt idx="10859">
                  <c:v>21249</c:v>
                </c:pt>
                <c:pt idx="10860">
                  <c:v>13379</c:v>
                </c:pt>
                <c:pt idx="10861">
                  <c:v>19188</c:v>
                </c:pt>
                <c:pt idx="10862">
                  <c:v>16678</c:v>
                </c:pt>
                <c:pt idx="10863">
                  <c:v>6811</c:v>
                </c:pt>
                <c:pt idx="10864">
                  <c:v>15440</c:v>
                </c:pt>
                <c:pt idx="10865">
                  <c:v>10214</c:v>
                </c:pt>
                <c:pt idx="10866">
                  <c:v>13340</c:v>
                </c:pt>
                <c:pt idx="10867">
                  <c:v>8325</c:v>
                </c:pt>
                <c:pt idx="10868">
                  <c:v>1788</c:v>
                </c:pt>
                <c:pt idx="10869">
                  <c:v>20531</c:v>
                </c:pt>
                <c:pt idx="10870">
                  <c:v>5272</c:v>
                </c:pt>
                <c:pt idx="10871">
                  <c:v>2323</c:v>
                </c:pt>
                <c:pt idx="10872">
                  <c:v>3252</c:v>
                </c:pt>
                <c:pt idx="10873">
                  <c:v>4695</c:v>
                </c:pt>
                <c:pt idx="10874">
                  <c:v>5381</c:v>
                </c:pt>
                <c:pt idx="10875">
                  <c:v>911</c:v>
                </c:pt>
                <c:pt idx="10876">
                  <c:v>23620</c:v>
                </c:pt>
                <c:pt idx="10877">
                  <c:v>27623</c:v>
                </c:pt>
                <c:pt idx="10878">
                  <c:v>20522</c:v>
                </c:pt>
                <c:pt idx="10879">
                  <c:v>6413</c:v>
                </c:pt>
                <c:pt idx="10880">
                  <c:v>2525</c:v>
                </c:pt>
                <c:pt idx="10881">
                  <c:v>11673</c:v>
                </c:pt>
                <c:pt idx="10882">
                  <c:v>3599</c:v>
                </c:pt>
                <c:pt idx="10883">
                  <c:v>199</c:v>
                </c:pt>
                <c:pt idx="10884">
                  <c:v>1565</c:v>
                </c:pt>
                <c:pt idx="10885">
                  <c:v>439</c:v>
                </c:pt>
                <c:pt idx="10886">
                  <c:v>377</c:v>
                </c:pt>
                <c:pt idx="10887">
                  <c:v>1808</c:v>
                </c:pt>
                <c:pt idx="10888">
                  <c:v>1002</c:v>
                </c:pt>
                <c:pt idx="10889">
                  <c:v>274</c:v>
                </c:pt>
                <c:pt idx="10890">
                  <c:v>196</c:v>
                </c:pt>
                <c:pt idx="10891">
                  <c:v>1714</c:v>
                </c:pt>
                <c:pt idx="10892">
                  <c:v>236</c:v>
                </c:pt>
                <c:pt idx="10893">
                  <c:v>1532</c:v>
                </c:pt>
                <c:pt idx="10894">
                  <c:v>10755</c:v>
                </c:pt>
                <c:pt idx="10895">
                  <c:v>1232</c:v>
                </c:pt>
                <c:pt idx="10896">
                  <c:v>4946</c:v>
                </c:pt>
                <c:pt idx="10897">
                  <c:v>3192</c:v>
                </c:pt>
                <c:pt idx="10898">
                  <c:v>4928</c:v>
                </c:pt>
                <c:pt idx="10899">
                  <c:v>549</c:v>
                </c:pt>
                <c:pt idx="10900">
                  <c:v>6140</c:v>
                </c:pt>
                <c:pt idx="10901">
                  <c:v>1345</c:v>
                </c:pt>
                <c:pt idx="10902">
                  <c:v>540</c:v>
                </c:pt>
                <c:pt idx="10903">
                  <c:v>4533</c:v>
                </c:pt>
                <c:pt idx="10904">
                  <c:v>1083</c:v>
                </c:pt>
                <c:pt idx="10905">
                  <c:v>1368</c:v>
                </c:pt>
                <c:pt idx="10906">
                  <c:v>392</c:v>
                </c:pt>
                <c:pt idx="10907">
                  <c:v>976</c:v>
                </c:pt>
                <c:pt idx="10908">
                  <c:v>913</c:v>
                </c:pt>
                <c:pt idx="10909">
                  <c:v>8444</c:v>
                </c:pt>
                <c:pt idx="10910">
                  <c:v>13364</c:v>
                </c:pt>
                <c:pt idx="10911">
                  <c:v>2472</c:v>
                </c:pt>
                <c:pt idx="10912">
                  <c:v>7594</c:v>
                </c:pt>
                <c:pt idx="10913">
                  <c:v>6062</c:v>
                </c:pt>
                <c:pt idx="10914">
                  <c:v>5775</c:v>
                </c:pt>
                <c:pt idx="10915">
                  <c:v>15002</c:v>
                </c:pt>
                <c:pt idx="10916">
                  <c:v>19039</c:v>
                </c:pt>
                <c:pt idx="10917">
                  <c:v>7137</c:v>
                </c:pt>
                <c:pt idx="10918">
                  <c:v>8487</c:v>
                </c:pt>
                <c:pt idx="10919">
                  <c:v>18860</c:v>
                </c:pt>
                <c:pt idx="10920">
                  <c:v>15716</c:v>
                </c:pt>
                <c:pt idx="10921">
                  <c:v>13383</c:v>
                </c:pt>
                <c:pt idx="10922">
                  <c:v>15115</c:v>
                </c:pt>
                <c:pt idx="10923">
                  <c:v>13132</c:v>
                </c:pt>
                <c:pt idx="10924">
                  <c:v>8006</c:v>
                </c:pt>
                <c:pt idx="10925">
                  <c:v>9797</c:v>
                </c:pt>
                <c:pt idx="10926">
                  <c:v>22645</c:v>
                </c:pt>
                <c:pt idx="10927">
                  <c:v>1509</c:v>
                </c:pt>
                <c:pt idx="10928">
                  <c:v>14254</c:v>
                </c:pt>
                <c:pt idx="10929">
                  <c:v>19421</c:v>
                </c:pt>
                <c:pt idx="10930">
                  <c:v>9967</c:v>
                </c:pt>
                <c:pt idx="10931">
                  <c:v>19744</c:v>
                </c:pt>
                <c:pt idx="10932">
                  <c:v>14901</c:v>
                </c:pt>
                <c:pt idx="10933">
                  <c:v>12303</c:v>
                </c:pt>
                <c:pt idx="10934">
                  <c:v>7242</c:v>
                </c:pt>
                <c:pt idx="10935">
                  <c:v>11173</c:v>
                </c:pt>
                <c:pt idx="10936">
                  <c:v>3784</c:v>
                </c:pt>
                <c:pt idx="10937">
                  <c:v>622</c:v>
                </c:pt>
                <c:pt idx="10938">
                  <c:v>934</c:v>
                </c:pt>
                <c:pt idx="10939">
                  <c:v>681</c:v>
                </c:pt>
                <c:pt idx="10940">
                  <c:v>342</c:v>
                </c:pt>
                <c:pt idx="10941">
                  <c:v>2319</c:v>
                </c:pt>
                <c:pt idx="10942">
                  <c:v>98</c:v>
                </c:pt>
                <c:pt idx="10943">
                  <c:v>1327</c:v>
                </c:pt>
                <c:pt idx="10944">
                  <c:v>1512</c:v>
                </c:pt>
                <c:pt idx="10945">
                  <c:v>669</c:v>
                </c:pt>
                <c:pt idx="10946">
                  <c:v>699</c:v>
                </c:pt>
                <c:pt idx="10947">
                  <c:v>1197</c:v>
                </c:pt>
                <c:pt idx="10948">
                  <c:v>85</c:v>
                </c:pt>
                <c:pt idx="10949">
                  <c:v>262</c:v>
                </c:pt>
                <c:pt idx="10950">
                  <c:v>6544</c:v>
                </c:pt>
                <c:pt idx="10951">
                  <c:v>906</c:v>
                </c:pt>
                <c:pt idx="10952">
                  <c:v>273</c:v>
                </c:pt>
                <c:pt idx="10953">
                  <c:v>7971</c:v>
                </c:pt>
                <c:pt idx="10954">
                  <c:v>1101</c:v>
                </c:pt>
                <c:pt idx="10955">
                  <c:v>459</c:v>
                </c:pt>
                <c:pt idx="10956">
                  <c:v>162</c:v>
                </c:pt>
                <c:pt idx="10957">
                  <c:v>1069</c:v>
                </c:pt>
                <c:pt idx="10958">
                  <c:v>900</c:v>
                </c:pt>
                <c:pt idx="10959">
                  <c:v>1653</c:v>
                </c:pt>
                <c:pt idx="10960">
                  <c:v>610</c:v>
                </c:pt>
                <c:pt idx="10961">
                  <c:v>301</c:v>
                </c:pt>
                <c:pt idx="10962">
                  <c:v>1890</c:v>
                </c:pt>
                <c:pt idx="10963">
                  <c:v>6852</c:v>
                </c:pt>
                <c:pt idx="10964">
                  <c:v>13686</c:v>
                </c:pt>
                <c:pt idx="10965">
                  <c:v>23897</c:v>
                </c:pt>
                <c:pt idx="10966">
                  <c:v>2413</c:v>
                </c:pt>
                <c:pt idx="10967">
                  <c:v>323</c:v>
                </c:pt>
                <c:pt idx="10968">
                  <c:v>1595</c:v>
                </c:pt>
                <c:pt idx="10969">
                  <c:v>1358</c:v>
                </c:pt>
                <c:pt idx="10970">
                  <c:v>1304</c:v>
                </c:pt>
                <c:pt idx="10971">
                  <c:v>951</c:v>
                </c:pt>
                <c:pt idx="10972">
                  <c:v>3971</c:v>
                </c:pt>
                <c:pt idx="10973">
                  <c:v>1080</c:v>
                </c:pt>
                <c:pt idx="10974">
                  <c:v>1012</c:v>
                </c:pt>
                <c:pt idx="10975">
                  <c:v>229</c:v>
                </c:pt>
                <c:pt idx="10976">
                  <c:v>1237</c:v>
                </c:pt>
                <c:pt idx="10977">
                  <c:v>1596</c:v>
                </c:pt>
                <c:pt idx="10978">
                  <c:v>321</c:v>
                </c:pt>
                <c:pt idx="10979">
                  <c:v>792</c:v>
                </c:pt>
                <c:pt idx="10980">
                  <c:v>528</c:v>
                </c:pt>
                <c:pt idx="10981">
                  <c:v>32</c:v>
                </c:pt>
                <c:pt idx="10982">
                  <c:v>231</c:v>
                </c:pt>
                <c:pt idx="10983">
                  <c:v>4493</c:v>
                </c:pt>
                <c:pt idx="10984">
                  <c:v>704</c:v>
                </c:pt>
                <c:pt idx="10985">
                  <c:v>508</c:v>
                </c:pt>
                <c:pt idx="10986">
                  <c:v>6769</c:v>
                </c:pt>
                <c:pt idx="10987">
                  <c:v>3443</c:v>
                </c:pt>
                <c:pt idx="10988">
                  <c:v>752</c:v>
                </c:pt>
                <c:pt idx="10989">
                  <c:v>357</c:v>
                </c:pt>
                <c:pt idx="10990">
                  <c:v>7470</c:v>
                </c:pt>
                <c:pt idx="10991">
                  <c:v>417</c:v>
                </c:pt>
                <c:pt idx="10992">
                  <c:v>3421</c:v>
                </c:pt>
                <c:pt idx="10993">
                  <c:v>1142</c:v>
                </c:pt>
                <c:pt idx="10994">
                  <c:v>1081</c:v>
                </c:pt>
                <c:pt idx="10995">
                  <c:v>4685</c:v>
                </c:pt>
                <c:pt idx="10996">
                  <c:v>137</c:v>
                </c:pt>
                <c:pt idx="10997">
                  <c:v>413</c:v>
                </c:pt>
                <c:pt idx="10998">
                  <c:v>755</c:v>
                </c:pt>
                <c:pt idx="10999">
                  <c:v>2107</c:v>
                </c:pt>
                <c:pt idx="11000">
                  <c:v>973</c:v>
                </c:pt>
                <c:pt idx="11001">
                  <c:v>1138</c:v>
                </c:pt>
                <c:pt idx="11002">
                  <c:v>882</c:v>
                </c:pt>
                <c:pt idx="11003">
                  <c:v>702</c:v>
                </c:pt>
                <c:pt idx="11004">
                  <c:v>391</c:v>
                </c:pt>
                <c:pt idx="11005">
                  <c:v>289</c:v>
                </c:pt>
                <c:pt idx="11006">
                  <c:v>6620</c:v>
                </c:pt>
                <c:pt idx="11007">
                  <c:v>653</c:v>
                </c:pt>
                <c:pt idx="11008">
                  <c:v>2792</c:v>
                </c:pt>
                <c:pt idx="11009">
                  <c:v>229</c:v>
                </c:pt>
                <c:pt idx="11010">
                  <c:v>624</c:v>
                </c:pt>
                <c:pt idx="11011">
                  <c:v>145</c:v>
                </c:pt>
                <c:pt idx="11012">
                  <c:v>664</c:v>
                </c:pt>
                <c:pt idx="11013">
                  <c:v>3388</c:v>
                </c:pt>
                <c:pt idx="11014">
                  <c:v>179</c:v>
                </c:pt>
                <c:pt idx="11015">
                  <c:v>728</c:v>
                </c:pt>
                <c:pt idx="11016">
                  <c:v>380</c:v>
                </c:pt>
                <c:pt idx="11017">
                  <c:v>516</c:v>
                </c:pt>
                <c:pt idx="11018">
                  <c:v>32080</c:v>
                </c:pt>
                <c:pt idx="11019">
                  <c:v>732</c:v>
                </c:pt>
                <c:pt idx="11020">
                  <c:v>1199</c:v>
                </c:pt>
                <c:pt idx="11021">
                  <c:v>1005</c:v>
                </c:pt>
                <c:pt idx="11022">
                  <c:v>1993</c:v>
                </c:pt>
                <c:pt idx="11023">
                  <c:v>486</c:v>
                </c:pt>
                <c:pt idx="11024">
                  <c:v>168</c:v>
                </c:pt>
                <c:pt idx="11025">
                  <c:v>449</c:v>
                </c:pt>
                <c:pt idx="11026">
                  <c:v>2047</c:v>
                </c:pt>
                <c:pt idx="11027">
                  <c:v>280</c:v>
                </c:pt>
                <c:pt idx="11028">
                  <c:v>512</c:v>
                </c:pt>
                <c:pt idx="11029">
                  <c:v>405</c:v>
                </c:pt>
                <c:pt idx="11030">
                  <c:v>3893</c:v>
                </c:pt>
                <c:pt idx="11031">
                  <c:v>1051</c:v>
                </c:pt>
                <c:pt idx="11032">
                  <c:v>9409</c:v>
                </c:pt>
                <c:pt idx="11033">
                  <c:v>2415</c:v>
                </c:pt>
                <c:pt idx="11034">
                  <c:v>1645</c:v>
                </c:pt>
                <c:pt idx="11035">
                  <c:v>1199</c:v>
                </c:pt>
                <c:pt idx="11036">
                  <c:v>482</c:v>
                </c:pt>
                <c:pt idx="11037">
                  <c:v>3412</c:v>
                </c:pt>
                <c:pt idx="11038">
                  <c:v>441</c:v>
                </c:pt>
                <c:pt idx="11039">
                  <c:v>426</c:v>
                </c:pt>
                <c:pt idx="11040">
                  <c:v>1356</c:v>
                </c:pt>
                <c:pt idx="11041">
                  <c:v>7755</c:v>
                </c:pt>
                <c:pt idx="11042">
                  <c:v>347</c:v>
                </c:pt>
                <c:pt idx="11043">
                  <c:v>790</c:v>
                </c:pt>
                <c:pt idx="11044">
                  <c:v>2339</c:v>
                </c:pt>
                <c:pt idx="11045">
                  <c:v>2570</c:v>
                </c:pt>
                <c:pt idx="11046">
                  <c:v>385</c:v>
                </c:pt>
                <c:pt idx="11047">
                  <c:v>365</c:v>
                </c:pt>
                <c:pt idx="11048">
                  <c:v>933</c:v>
                </c:pt>
                <c:pt idx="11049">
                  <c:v>19419</c:v>
                </c:pt>
                <c:pt idx="11050">
                  <c:v>13737</c:v>
                </c:pt>
                <c:pt idx="11051">
                  <c:v>538</c:v>
                </c:pt>
                <c:pt idx="11052">
                  <c:v>160</c:v>
                </c:pt>
                <c:pt idx="11053">
                  <c:v>3019</c:v>
                </c:pt>
                <c:pt idx="11054">
                  <c:v>695</c:v>
                </c:pt>
                <c:pt idx="11055">
                  <c:v>944</c:v>
                </c:pt>
                <c:pt idx="11056">
                  <c:v>380</c:v>
                </c:pt>
                <c:pt idx="11057">
                  <c:v>1284</c:v>
                </c:pt>
                <c:pt idx="11058">
                  <c:v>1162</c:v>
                </c:pt>
                <c:pt idx="11059">
                  <c:v>80</c:v>
                </c:pt>
                <c:pt idx="11060">
                  <c:v>1343</c:v>
                </c:pt>
                <c:pt idx="11061">
                  <c:v>186</c:v>
                </c:pt>
                <c:pt idx="11062">
                  <c:v>8597</c:v>
                </c:pt>
                <c:pt idx="11063">
                  <c:v>3921</c:v>
                </c:pt>
                <c:pt idx="11064">
                  <c:v>1377</c:v>
                </c:pt>
                <c:pt idx="11065">
                  <c:v>598</c:v>
                </c:pt>
                <c:pt idx="11066">
                  <c:v>536</c:v>
                </c:pt>
                <c:pt idx="11067">
                  <c:v>2521</c:v>
                </c:pt>
                <c:pt idx="11068">
                  <c:v>1124</c:v>
                </c:pt>
                <c:pt idx="11069">
                  <c:v>138</c:v>
                </c:pt>
                <c:pt idx="11070">
                  <c:v>447</c:v>
                </c:pt>
                <c:pt idx="11071">
                  <c:v>381</c:v>
                </c:pt>
                <c:pt idx="11072">
                  <c:v>769</c:v>
                </c:pt>
                <c:pt idx="11073">
                  <c:v>4135</c:v>
                </c:pt>
                <c:pt idx="11074">
                  <c:v>6082</c:v>
                </c:pt>
                <c:pt idx="11075">
                  <c:v>4317</c:v>
                </c:pt>
                <c:pt idx="11076">
                  <c:v>897</c:v>
                </c:pt>
                <c:pt idx="11077">
                  <c:v>3330</c:v>
                </c:pt>
                <c:pt idx="11078">
                  <c:v>486</c:v>
                </c:pt>
                <c:pt idx="11079">
                  <c:v>562</c:v>
                </c:pt>
                <c:pt idx="11080">
                  <c:v>575</c:v>
                </c:pt>
                <c:pt idx="11081">
                  <c:v>701</c:v>
                </c:pt>
                <c:pt idx="11082">
                  <c:v>1600</c:v>
                </c:pt>
                <c:pt idx="11083">
                  <c:v>873</c:v>
                </c:pt>
                <c:pt idx="11084">
                  <c:v>9639</c:v>
                </c:pt>
                <c:pt idx="11085">
                  <c:v>1776</c:v>
                </c:pt>
                <c:pt idx="11086">
                  <c:v>484</c:v>
                </c:pt>
                <c:pt idx="11087">
                  <c:v>390</c:v>
                </c:pt>
                <c:pt idx="11088">
                  <c:v>885</c:v>
                </c:pt>
                <c:pt idx="11089">
                  <c:v>955</c:v>
                </c:pt>
                <c:pt idx="11090">
                  <c:v>5330</c:v>
                </c:pt>
                <c:pt idx="11091">
                  <c:v>1149</c:v>
                </c:pt>
                <c:pt idx="11092">
                  <c:v>6708</c:v>
                </c:pt>
                <c:pt idx="11093">
                  <c:v>5645</c:v>
                </c:pt>
                <c:pt idx="11094">
                  <c:v>162</c:v>
                </c:pt>
                <c:pt idx="11095">
                  <c:v>4680</c:v>
                </c:pt>
                <c:pt idx="11096">
                  <c:v>1562</c:v>
                </c:pt>
                <c:pt idx="11097">
                  <c:v>1427</c:v>
                </c:pt>
                <c:pt idx="11098">
                  <c:v>624</c:v>
                </c:pt>
                <c:pt idx="11099">
                  <c:v>155</c:v>
                </c:pt>
                <c:pt idx="11100">
                  <c:v>436</c:v>
                </c:pt>
                <c:pt idx="11101">
                  <c:v>407</c:v>
                </c:pt>
                <c:pt idx="11102">
                  <c:v>770</c:v>
                </c:pt>
                <c:pt idx="11103">
                  <c:v>599</c:v>
                </c:pt>
                <c:pt idx="11104">
                  <c:v>357</c:v>
                </c:pt>
                <c:pt idx="11105">
                  <c:v>13591</c:v>
                </c:pt>
                <c:pt idx="11106">
                  <c:v>885</c:v>
                </c:pt>
                <c:pt idx="11107">
                  <c:v>6123</c:v>
                </c:pt>
                <c:pt idx="11108">
                  <c:v>12929</c:v>
                </c:pt>
                <c:pt idx="11109">
                  <c:v>195</c:v>
                </c:pt>
                <c:pt idx="11110">
                  <c:v>912</c:v>
                </c:pt>
                <c:pt idx="11111">
                  <c:v>1282</c:v>
                </c:pt>
                <c:pt idx="11112">
                  <c:v>335</c:v>
                </c:pt>
                <c:pt idx="11113">
                  <c:v>69</c:v>
                </c:pt>
                <c:pt idx="11114">
                  <c:v>508</c:v>
                </c:pt>
                <c:pt idx="11115">
                  <c:v>975</c:v>
                </c:pt>
                <c:pt idx="11116">
                  <c:v>1964</c:v>
                </c:pt>
                <c:pt idx="11117">
                  <c:v>4434</c:v>
                </c:pt>
                <c:pt idx="11118">
                  <c:v>6703</c:v>
                </c:pt>
                <c:pt idx="11119">
                  <c:v>28276</c:v>
                </c:pt>
                <c:pt idx="11120">
                  <c:v>22053</c:v>
                </c:pt>
                <c:pt idx="11121">
                  <c:v>1186</c:v>
                </c:pt>
                <c:pt idx="11122">
                  <c:v>909</c:v>
                </c:pt>
                <c:pt idx="11123">
                  <c:v>712</c:v>
                </c:pt>
                <c:pt idx="11124">
                  <c:v>5145</c:v>
                </c:pt>
                <c:pt idx="11125">
                  <c:v>1604</c:v>
                </c:pt>
                <c:pt idx="11126">
                  <c:v>865</c:v>
                </c:pt>
                <c:pt idx="11127">
                  <c:v>1998</c:v>
                </c:pt>
                <c:pt idx="11128">
                  <c:v>6263</c:v>
                </c:pt>
                <c:pt idx="11129">
                  <c:v>451</c:v>
                </c:pt>
                <c:pt idx="11130">
                  <c:v>17129</c:v>
                </c:pt>
                <c:pt idx="11131">
                  <c:v>8498</c:v>
                </c:pt>
                <c:pt idx="11132">
                  <c:v>726</c:v>
                </c:pt>
                <c:pt idx="11133">
                  <c:v>683</c:v>
                </c:pt>
                <c:pt idx="11134">
                  <c:v>1827</c:v>
                </c:pt>
                <c:pt idx="11135">
                  <c:v>3204</c:v>
                </c:pt>
                <c:pt idx="11136">
                  <c:v>1393</c:v>
                </c:pt>
                <c:pt idx="11137">
                  <c:v>8018</c:v>
                </c:pt>
                <c:pt idx="11138">
                  <c:v>4503</c:v>
                </c:pt>
                <c:pt idx="11139">
                  <c:v>255</c:v>
                </c:pt>
                <c:pt idx="11140">
                  <c:v>397</c:v>
                </c:pt>
                <c:pt idx="11141">
                  <c:v>477</c:v>
                </c:pt>
                <c:pt idx="11142">
                  <c:v>151</c:v>
                </c:pt>
                <c:pt idx="11143">
                  <c:v>755</c:v>
                </c:pt>
                <c:pt idx="11144">
                  <c:v>5850</c:v>
                </c:pt>
                <c:pt idx="11145">
                  <c:v>1045</c:v>
                </c:pt>
                <c:pt idx="11146">
                  <c:v>169</c:v>
                </c:pt>
                <c:pt idx="11147">
                  <c:v>90</c:v>
                </c:pt>
                <c:pt idx="11148">
                  <c:v>1055</c:v>
                </c:pt>
                <c:pt idx="11149">
                  <c:v>3852</c:v>
                </c:pt>
                <c:pt idx="11150">
                  <c:v>501</c:v>
                </c:pt>
                <c:pt idx="11151">
                  <c:v>461</c:v>
                </c:pt>
                <c:pt idx="11152">
                  <c:v>2901</c:v>
                </c:pt>
                <c:pt idx="11153">
                  <c:v>556</c:v>
                </c:pt>
                <c:pt idx="11154">
                  <c:v>353</c:v>
                </c:pt>
                <c:pt idx="11155">
                  <c:v>619</c:v>
                </c:pt>
                <c:pt idx="11156">
                  <c:v>645</c:v>
                </c:pt>
                <c:pt idx="11157">
                  <c:v>139</c:v>
                </c:pt>
                <c:pt idx="11158">
                  <c:v>480</c:v>
                </c:pt>
                <c:pt idx="11159">
                  <c:v>1274</c:v>
                </c:pt>
                <c:pt idx="11160">
                  <c:v>894</c:v>
                </c:pt>
                <c:pt idx="11161">
                  <c:v>403</c:v>
                </c:pt>
                <c:pt idx="11162">
                  <c:v>382</c:v>
                </c:pt>
                <c:pt idx="11163">
                  <c:v>14072</c:v>
                </c:pt>
                <c:pt idx="11164">
                  <c:v>7155</c:v>
                </c:pt>
                <c:pt idx="11165">
                  <c:v>5245</c:v>
                </c:pt>
                <c:pt idx="11166">
                  <c:v>3565</c:v>
                </c:pt>
                <c:pt idx="11167">
                  <c:v>2527</c:v>
                </c:pt>
                <c:pt idx="11168">
                  <c:v>1502</c:v>
                </c:pt>
                <c:pt idx="11169">
                  <c:v>2067</c:v>
                </c:pt>
                <c:pt idx="11170">
                  <c:v>7076</c:v>
                </c:pt>
                <c:pt idx="11171">
                  <c:v>989</c:v>
                </c:pt>
                <c:pt idx="11172">
                  <c:v>11728</c:v>
                </c:pt>
                <c:pt idx="11173">
                  <c:v>309</c:v>
                </c:pt>
                <c:pt idx="11174">
                  <c:v>1507</c:v>
                </c:pt>
                <c:pt idx="11175">
                  <c:v>4800</c:v>
                </c:pt>
                <c:pt idx="11176">
                  <c:v>623</c:v>
                </c:pt>
                <c:pt idx="11177">
                  <c:v>1484</c:v>
                </c:pt>
                <c:pt idx="11178">
                  <c:v>277</c:v>
                </c:pt>
                <c:pt idx="11179">
                  <c:v>2689</c:v>
                </c:pt>
                <c:pt idx="11180">
                  <c:v>1084</c:v>
                </c:pt>
                <c:pt idx="11181">
                  <c:v>3452</c:v>
                </c:pt>
                <c:pt idx="11182">
                  <c:v>2813</c:v>
                </c:pt>
                <c:pt idx="11183">
                  <c:v>2300</c:v>
                </c:pt>
                <c:pt idx="11184">
                  <c:v>873</c:v>
                </c:pt>
                <c:pt idx="11185">
                  <c:v>1775</c:v>
                </c:pt>
                <c:pt idx="11186">
                  <c:v>2962</c:v>
                </c:pt>
                <c:pt idx="11187">
                  <c:v>222</c:v>
                </c:pt>
                <c:pt idx="11188">
                  <c:v>2484</c:v>
                </c:pt>
                <c:pt idx="11189">
                  <c:v>1242</c:v>
                </c:pt>
                <c:pt idx="11190">
                  <c:v>8384</c:v>
                </c:pt>
                <c:pt idx="11191">
                  <c:v>873</c:v>
                </c:pt>
                <c:pt idx="11192">
                  <c:v>2011</c:v>
                </c:pt>
                <c:pt idx="11193">
                  <c:v>5627</c:v>
                </c:pt>
                <c:pt idx="11194">
                  <c:v>2440</c:v>
                </c:pt>
                <c:pt idx="11195">
                  <c:v>156</c:v>
                </c:pt>
                <c:pt idx="11196">
                  <c:v>1208</c:v>
                </c:pt>
                <c:pt idx="11197">
                  <c:v>851</c:v>
                </c:pt>
                <c:pt idx="11198">
                  <c:v>1381</c:v>
                </c:pt>
                <c:pt idx="11199">
                  <c:v>557</c:v>
                </c:pt>
                <c:pt idx="11200">
                  <c:v>1010</c:v>
                </c:pt>
                <c:pt idx="11201">
                  <c:v>7827</c:v>
                </c:pt>
                <c:pt idx="11202">
                  <c:v>140</c:v>
                </c:pt>
                <c:pt idx="11203">
                  <c:v>351</c:v>
                </c:pt>
                <c:pt idx="11204">
                  <c:v>1568</c:v>
                </c:pt>
                <c:pt idx="11205">
                  <c:v>1751</c:v>
                </c:pt>
                <c:pt idx="11206">
                  <c:v>1333</c:v>
                </c:pt>
                <c:pt idx="11207">
                  <c:v>173</c:v>
                </c:pt>
                <c:pt idx="11208">
                  <c:v>1845</c:v>
                </c:pt>
                <c:pt idx="11209">
                  <c:v>1004</c:v>
                </c:pt>
                <c:pt idx="11210">
                  <c:v>100</c:v>
                </c:pt>
                <c:pt idx="11211">
                  <c:v>866</c:v>
                </c:pt>
                <c:pt idx="11212">
                  <c:v>365</c:v>
                </c:pt>
                <c:pt idx="11213">
                  <c:v>554</c:v>
                </c:pt>
                <c:pt idx="11214">
                  <c:v>8622</c:v>
                </c:pt>
                <c:pt idx="11215">
                  <c:v>489</c:v>
                </c:pt>
                <c:pt idx="11216">
                  <c:v>995</c:v>
                </c:pt>
                <c:pt idx="11217">
                  <c:v>234</c:v>
                </c:pt>
                <c:pt idx="11218">
                  <c:v>113</c:v>
                </c:pt>
                <c:pt idx="11219">
                  <c:v>75</c:v>
                </c:pt>
                <c:pt idx="11220">
                  <c:v>966</c:v>
                </c:pt>
                <c:pt idx="11221">
                  <c:v>339</c:v>
                </c:pt>
                <c:pt idx="11222">
                  <c:v>175</c:v>
                </c:pt>
                <c:pt idx="11223">
                  <c:v>277</c:v>
                </c:pt>
                <c:pt idx="11224">
                  <c:v>279</c:v>
                </c:pt>
                <c:pt idx="11225">
                  <c:v>405</c:v>
                </c:pt>
                <c:pt idx="11226">
                  <c:v>1163</c:v>
                </c:pt>
                <c:pt idx="11227">
                  <c:v>3826</c:v>
                </c:pt>
                <c:pt idx="11228">
                  <c:v>154</c:v>
                </c:pt>
                <c:pt idx="11229">
                  <c:v>2386</c:v>
                </c:pt>
                <c:pt idx="11230">
                  <c:v>1809</c:v>
                </c:pt>
                <c:pt idx="11231">
                  <c:v>1362</c:v>
                </c:pt>
                <c:pt idx="11232">
                  <c:v>1340</c:v>
                </c:pt>
                <c:pt idx="11233">
                  <c:v>1589</c:v>
                </c:pt>
                <c:pt idx="11234">
                  <c:v>18145</c:v>
                </c:pt>
                <c:pt idx="11235">
                  <c:v>1211</c:v>
                </c:pt>
                <c:pt idx="11236">
                  <c:v>732</c:v>
                </c:pt>
                <c:pt idx="11237">
                  <c:v>11672</c:v>
                </c:pt>
                <c:pt idx="11238">
                  <c:v>21047</c:v>
                </c:pt>
                <c:pt idx="11239">
                  <c:v>5859</c:v>
                </c:pt>
                <c:pt idx="11240">
                  <c:v>12956</c:v>
                </c:pt>
                <c:pt idx="11241">
                  <c:v>835</c:v>
                </c:pt>
                <c:pt idx="11242">
                  <c:v>5261</c:v>
                </c:pt>
                <c:pt idx="11243">
                  <c:v>186</c:v>
                </c:pt>
                <c:pt idx="11244">
                  <c:v>934</c:v>
                </c:pt>
                <c:pt idx="11245">
                  <c:v>1596</c:v>
                </c:pt>
                <c:pt idx="11246">
                  <c:v>345</c:v>
                </c:pt>
                <c:pt idx="11247">
                  <c:v>1390</c:v>
                </c:pt>
                <c:pt idx="11248">
                  <c:v>3119</c:v>
                </c:pt>
                <c:pt idx="11249">
                  <c:v>9430</c:v>
                </c:pt>
                <c:pt idx="11250">
                  <c:v>5070</c:v>
                </c:pt>
                <c:pt idx="11251">
                  <c:v>298</c:v>
                </c:pt>
                <c:pt idx="11252">
                  <c:v>321</c:v>
                </c:pt>
                <c:pt idx="11253">
                  <c:v>304</c:v>
                </c:pt>
                <c:pt idx="11254">
                  <c:v>3345</c:v>
                </c:pt>
                <c:pt idx="11255">
                  <c:v>4973</c:v>
                </c:pt>
                <c:pt idx="11256">
                  <c:v>1586</c:v>
                </c:pt>
                <c:pt idx="11257">
                  <c:v>1764</c:v>
                </c:pt>
                <c:pt idx="11258">
                  <c:v>1929</c:v>
                </c:pt>
                <c:pt idx="11259">
                  <c:v>694</c:v>
                </c:pt>
                <c:pt idx="11260">
                  <c:v>114</c:v>
                </c:pt>
                <c:pt idx="11261">
                  <c:v>657</c:v>
                </c:pt>
                <c:pt idx="11262">
                  <c:v>22908</c:v>
                </c:pt>
                <c:pt idx="11263">
                  <c:v>3686</c:v>
                </c:pt>
                <c:pt idx="11264">
                  <c:v>3831</c:v>
                </c:pt>
                <c:pt idx="11265">
                  <c:v>759</c:v>
                </c:pt>
                <c:pt idx="11266">
                  <c:v>4625</c:v>
                </c:pt>
                <c:pt idx="11267">
                  <c:v>2751</c:v>
                </c:pt>
                <c:pt idx="11268">
                  <c:v>10031</c:v>
                </c:pt>
                <c:pt idx="11269">
                  <c:v>829</c:v>
                </c:pt>
                <c:pt idx="11270">
                  <c:v>2126</c:v>
                </c:pt>
                <c:pt idx="11271">
                  <c:v>913</c:v>
                </c:pt>
                <c:pt idx="11272">
                  <c:v>472</c:v>
                </c:pt>
                <c:pt idx="11273">
                  <c:v>1627</c:v>
                </c:pt>
                <c:pt idx="11274">
                  <c:v>352</c:v>
                </c:pt>
                <c:pt idx="11275">
                  <c:v>1006</c:v>
                </c:pt>
                <c:pt idx="11276">
                  <c:v>3503</c:v>
                </c:pt>
                <c:pt idx="11277">
                  <c:v>262</c:v>
                </c:pt>
                <c:pt idx="11278">
                  <c:v>14336</c:v>
                </c:pt>
                <c:pt idx="11279">
                  <c:v>1089</c:v>
                </c:pt>
                <c:pt idx="11280">
                  <c:v>1014</c:v>
                </c:pt>
                <c:pt idx="11281">
                  <c:v>79</c:v>
                </c:pt>
                <c:pt idx="11282">
                  <c:v>205</c:v>
                </c:pt>
                <c:pt idx="11283">
                  <c:v>2229</c:v>
                </c:pt>
                <c:pt idx="11284">
                  <c:v>873</c:v>
                </c:pt>
                <c:pt idx="11285">
                  <c:v>4143</c:v>
                </c:pt>
                <c:pt idx="11286">
                  <c:v>1050</c:v>
                </c:pt>
                <c:pt idx="11287">
                  <c:v>536</c:v>
                </c:pt>
                <c:pt idx="11288">
                  <c:v>654</c:v>
                </c:pt>
                <c:pt idx="11289">
                  <c:v>13586</c:v>
                </c:pt>
                <c:pt idx="11290">
                  <c:v>5165</c:v>
                </c:pt>
                <c:pt idx="11291">
                  <c:v>1145</c:v>
                </c:pt>
                <c:pt idx="11292">
                  <c:v>2951</c:v>
                </c:pt>
                <c:pt idx="11293">
                  <c:v>580</c:v>
                </c:pt>
                <c:pt idx="11294">
                  <c:v>4985</c:v>
                </c:pt>
                <c:pt idx="11295">
                  <c:v>3583</c:v>
                </c:pt>
                <c:pt idx="11296">
                  <c:v>1715</c:v>
                </c:pt>
                <c:pt idx="11297">
                  <c:v>5770</c:v>
                </c:pt>
                <c:pt idx="11298">
                  <c:v>10250</c:v>
                </c:pt>
                <c:pt idx="11299">
                  <c:v>16152</c:v>
                </c:pt>
                <c:pt idx="11300">
                  <c:v>9527</c:v>
                </c:pt>
                <c:pt idx="11301">
                  <c:v>12351</c:v>
                </c:pt>
                <c:pt idx="11302">
                  <c:v>13527</c:v>
                </c:pt>
                <c:pt idx="11303">
                  <c:v>7961</c:v>
                </c:pt>
                <c:pt idx="11304">
                  <c:v>1306</c:v>
                </c:pt>
                <c:pt idx="11305">
                  <c:v>3141</c:v>
                </c:pt>
                <c:pt idx="11306">
                  <c:v>4854</c:v>
                </c:pt>
                <c:pt idx="11307">
                  <c:v>7623</c:v>
                </c:pt>
                <c:pt idx="11308">
                  <c:v>9775</c:v>
                </c:pt>
                <c:pt idx="11309">
                  <c:v>9451</c:v>
                </c:pt>
                <c:pt idx="11310">
                  <c:v>5523</c:v>
                </c:pt>
                <c:pt idx="11311">
                  <c:v>962</c:v>
                </c:pt>
                <c:pt idx="11312">
                  <c:v>754</c:v>
                </c:pt>
                <c:pt idx="11313">
                  <c:v>532</c:v>
                </c:pt>
                <c:pt idx="11314">
                  <c:v>2971</c:v>
                </c:pt>
                <c:pt idx="11315">
                  <c:v>1839</c:v>
                </c:pt>
                <c:pt idx="11316">
                  <c:v>1389</c:v>
                </c:pt>
                <c:pt idx="11317">
                  <c:v>1355</c:v>
                </c:pt>
                <c:pt idx="11318">
                  <c:v>837</c:v>
                </c:pt>
                <c:pt idx="11319">
                  <c:v>789</c:v>
                </c:pt>
                <c:pt idx="11320">
                  <c:v>321</c:v>
                </c:pt>
                <c:pt idx="11321">
                  <c:v>703</c:v>
                </c:pt>
                <c:pt idx="11322">
                  <c:v>1149</c:v>
                </c:pt>
                <c:pt idx="11323">
                  <c:v>5008</c:v>
                </c:pt>
                <c:pt idx="11324">
                  <c:v>2339</c:v>
                </c:pt>
                <c:pt idx="11325">
                  <c:v>674</c:v>
                </c:pt>
                <c:pt idx="11326">
                  <c:v>2083</c:v>
                </c:pt>
                <c:pt idx="11327">
                  <c:v>829</c:v>
                </c:pt>
                <c:pt idx="11328">
                  <c:v>250</c:v>
                </c:pt>
                <c:pt idx="11329">
                  <c:v>9037</c:v>
                </c:pt>
                <c:pt idx="11330">
                  <c:v>1401</c:v>
                </c:pt>
                <c:pt idx="11331">
                  <c:v>2092</c:v>
                </c:pt>
                <c:pt idx="11332">
                  <c:v>116</c:v>
                </c:pt>
                <c:pt idx="11333">
                  <c:v>1165</c:v>
                </c:pt>
                <c:pt idx="11334">
                  <c:v>396</c:v>
                </c:pt>
                <c:pt idx="11335">
                  <c:v>1039</c:v>
                </c:pt>
                <c:pt idx="11336">
                  <c:v>573</c:v>
                </c:pt>
                <c:pt idx="11337">
                  <c:v>881</c:v>
                </c:pt>
                <c:pt idx="11338">
                  <c:v>2957</c:v>
                </c:pt>
                <c:pt idx="11339">
                  <c:v>409</c:v>
                </c:pt>
                <c:pt idx="11340">
                  <c:v>5341</c:v>
                </c:pt>
                <c:pt idx="11341">
                  <c:v>18558</c:v>
                </c:pt>
                <c:pt idx="11342">
                  <c:v>19859</c:v>
                </c:pt>
                <c:pt idx="11343">
                  <c:v>1245</c:v>
                </c:pt>
                <c:pt idx="11344">
                  <c:v>1528</c:v>
                </c:pt>
                <c:pt idx="11345">
                  <c:v>957</c:v>
                </c:pt>
                <c:pt idx="11346">
                  <c:v>53</c:v>
                </c:pt>
                <c:pt idx="11347">
                  <c:v>1150</c:v>
                </c:pt>
                <c:pt idx="11348">
                  <c:v>7153</c:v>
                </c:pt>
                <c:pt idx="11349">
                  <c:v>550</c:v>
                </c:pt>
                <c:pt idx="11350">
                  <c:v>3234</c:v>
                </c:pt>
                <c:pt idx="11351">
                  <c:v>5678</c:v>
                </c:pt>
                <c:pt idx="11352">
                  <c:v>4885</c:v>
                </c:pt>
                <c:pt idx="11353">
                  <c:v>2042</c:v>
                </c:pt>
                <c:pt idx="11354">
                  <c:v>8145</c:v>
                </c:pt>
                <c:pt idx="11355">
                  <c:v>9859</c:v>
                </c:pt>
                <c:pt idx="11356">
                  <c:v>938</c:v>
                </c:pt>
                <c:pt idx="11357">
                  <c:v>9269</c:v>
                </c:pt>
                <c:pt idx="11358">
                  <c:v>3507</c:v>
                </c:pt>
                <c:pt idx="11359">
                  <c:v>193</c:v>
                </c:pt>
                <c:pt idx="11360">
                  <c:v>1905</c:v>
                </c:pt>
                <c:pt idx="11361">
                  <c:v>292</c:v>
                </c:pt>
                <c:pt idx="11362">
                  <c:v>465</c:v>
                </c:pt>
                <c:pt idx="11363">
                  <c:v>1077</c:v>
                </c:pt>
                <c:pt idx="11364">
                  <c:v>10387</c:v>
                </c:pt>
                <c:pt idx="11365">
                  <c:v>11337</c:v>
                </c:pt>
                <c:pt idx="11366">
                  <c:v>4643</c:v>
                </c:pt>
                <c:pt idx="11367">
                  <c:v>1915</c:v>
                </c:pt>
                <c:pt idx="11368">
                  <c:v>6191</c:v>
                </c:pt>
                <c:pt idx="11369">
                  <c:v>2079</c:v>
                </c:pt>
                <c:pt idx="11370">
                  <c:v>219</c:v>
                </c:pt>
                <c:pt idx="11371">
                  <c:v>812</c:v>
                </c:pt>
                <c:pt idx="11372">
                  <c:v>2303</c:v>
                </c:pt>
                <c:pt idx="11373">
                  <c:v>1174</c:v>
                </c:pt>
                <c:pt idx="11374">
                  <c:v>787</c:v>
                </c:pt>
                <c:pt idx="11375">
                  <c:v>5015</c:v>
                </c:pt>
                <c:pt idx="11376">
                  <c:v>1763</c:v>
                </c:pt>
                <c:pt idx="11377">
                  <c:v>8402</c:v>
                </c:pt>
                <c:pt idx="11378">
                  <c:v>24288</c:v>
                </c:pt>
                <c:pt idx="11379">
                  <c:v>7724</c:v>
                </c:pt>
                <c:pt idx="11380">
                  <c:v>6319</c:v>
                </c:pt>
                <c:pt idx="11381">
                  <c:v>3979</c:v>
                </c:pt>
                <c:pt idx="11382">
                  <c:v>3660</c:v>
                </c:pt>
                <c:pt idx="11383">
                  <c:v>8244</c:v>
                </c:pt>
                <c:pt idx="11384">
                  <c:v>16331</c:v>
                </c:pt>
                <c:pt idx="11385">
                  <c:v>6759</c:v>
                </c:pt>
                <c:pt idx="11386">
                  <c:v>8074</c:v>
                </c:pt>
                <c:pt idx="11387">
                  <c:v>3241</c:v>
                </c:pt>
                <c:pt idx="11388">
                  <c:v>8040</c:v>
                </c:pt>
                <c:pt idx="11389">
                  <c:v>593</c:v>
                </c:pt>
                <c:pt idx="11390">
                  <c:v>6445</c:v>
                </c:pt>
                <c:pt idx="11391">
                  <c:v>5067</c:v>
                </c:pt>
                <c:pt idx="11392">
                  <c:v>19231</c:v>
                </c:pt>
                <c:pt idx="11393">
                  <c:v>8882</c:v>
                </c:pt>
                <c:pt idx="11394">
                  <c:v>3468</c:v>
                </c:pt>
                <c:pt idx="11395">
                  <c:v>5331</c:v>
                </c:pt>
                <c:pt idx="11396">
                  <c:v>508</c:v>
                </c:pt>
                <c:pt idx="11397">
                  <c:v>3574</c:v>
                </c:pt>
                <c:pt idx="11398">
                  <c:v>5126</c:v>
                </c:pt>
                <c:pt idx="11399">
                  <c:v>2821</c:v>
                </c:pt>
                <c:pt idx="11400">
                  <c:v>3852</c:v>
                </c:pt>
                <c:pt idx="11401">
                  <c:v>4532</c:v>
                </c:pt>
                <c:pt idx="11402">
                  <c:v>8915</c:v>
                </c:pt>
                <c:pt idx="11403">
                  <c:v>2487</c:v>
                </c:pt>
                <c:pt idx="11404">
                  <c:v>265</c:v>
                </c:pt>
                <c:pt idx="11405">
                  <c:v>1172</c:v>
                </c:pt>
                <c:pt idx="11406">
                  <c:v>247</c:v>
                </c:pt>
                <c:pt idx="11407">
                  <c:v>1249</c:v>
                </c:pt>
                <c:pt idx="11408">
                  <c:v>1983</c:v>
                </c:pt>
                <c:pt idx="11409">
                  <c:v>322</c:v>
                </c:pt>
                <c:pt idx="11410">
                  <c:v>1346</c:v>
                </c:pt>
                <c:pt idx="11411">
                  <c:v>7339</c:v>
                </c:pt>
                <c:pt idx="11412">
                  <c:v>2903</c:v>
                </c:pt>
                <c:pt idx="11413">
                  <c:v>835</c:v>
                </c:pt>
                <c:pt idx="11414">
                  <c:v>1761</c:v>
                </c:pt>
                <c:pt idx="11415">
                  <c:v>554</c:v>
                </c:pt>
                <c:pt idx="11416">
                  <c:v>365</c:v>
                </c:pt>
                <c:pt idx="11417">
                  <c:v>968</c:v>
                </c:pt>
                <c:pt idx="11418">
                  <c:v>430</c:v>
                </c:pt>
                <c:pt idx="11419">
                  <c:v>781</c:v>
                </c:pt>
                <c:pt idx="11420">
                  <c:v>705</c:v>
                </c:pt>
                <c:pt idx="11421">
                  <c:v>273</c:v>
                </c:pt>
                <c:pt idx="11422">
                  <c:v>3955</c:v>
                </c:pt>
                <c:pt idx="11423">
                  <c:v>3892</c:v>
                </c:pt>
                <c:pt idx="11424">
                  <c:v>289</c:v>
                </c:pt>
                <c:pt idx="11425">
                  <c:v>1754</c:v>
                </c:pt>
                <c:pt idx="11426">
                  <c:v>4437</c:v>
                </c:pt>
                <c:pt idx="11427">
                  <c:v>9194</c:v>
                </c:pt>
                <c:pt idx="11428">
                  <c:v>6102</c:v>
                </c:pt>
                <c:pt idx="11429">
                  <c:v>4155</c:v>
                </c:pt>
                <c:pt idx="11430">
                  <c:v>1453</c:v>
                </c:pt>
                <c:pt idx="11431">
                  <c:v>107</c:v>
                </c:pt>
                <c:pt idx="11432">
                  <c:v>913</c:v>
                </c:pt>
                <c:pt idx="11433">
                  <c:v>2780</c:v>
                </c:pt>
                <c:pt idx="11434">
                  <c:v>458</c:v>
                </c:pt>
                <c:pt idx="11435">
                  <c:v>802</c:v>
                </c:pt>
                <c:pt idx="11436">
                  <c:v>1983</c:v>
                </c:pt>
                <c:pt idx="11437">
                  <c:v>227</c:v>
                </c:pt>
                <c:pt idx="11438">
                  <c:v>1108</c:v>
                </c:pt>
                <c:pt idx="11439">
                  <c:v>420</c:v>
                </c:pt>
                <c:pt idx="11440">
                  <c:v>1395</c:v>
                </c:pt>
                <c:pt idx="11441">
                  <c:v>652</c:v>
                </c:pt>
                <c:pt idx="11442">
                  <c:v>987</c:v>
                </c:pt>
                <c:pt idx="11443">
                  <c:v>276</c:v>
                </c:pt>
                <c:pt idx="11444">
                  <c:v>621</c:v>
                </c:pt>
                <c:pt idx="11445">
                  <c:v>18912</c:v>
                </c:pt>
                <c:pt idx="11446">
                  <c:v>1622</c:v>
                </c:pt>
                <c:pt idx="11447">
                  <c:v>259</c:v>
                </c:pt>
                <c:pt idx="11448">
                  <c:v>532</c:v>
                </c:pt>
                <c:pt idx="11449">
                  <c:v>29</c:v>
                </c:pt>
                <c:pt idx="11450">
                  <c:v>622</c:v>
                </c:pt>
                <c:pt idx="11451">
                  <c:v>5581</c:v>
                </c:pt>
                <c:pt idx="11452">
                  <c:v>493</c:v>
                </c:pt>
                <c:pt idx="11453">
                  <c:v>593</c:v>
                </c:pt>
                <c:pt idx="11454">
                  <c:v>719</c:v>
                </c:pt>
                <c:pt idx="11455">
                  <c:v>3668</c:v>
                </c:pt>
                <c:pt idx="11456">
                  <c:v>4974</c:v>
                </c:pt>
                <c:pt idx="11457">
                  <c:v>3214</c:v>
                </c:pt>
                <c:pt idx="11458">
                  <c:v>379</c:v>
                </c:pt>
                <c:pt idx="11459">
                  <c:v>792</c:v>
                </c:pt>
                <c:pt idx="11460">
                  <c:v>255</c:v>
                </c:pt>
                <c:pt idx="11461">
                  <c:v>2183</c:v>
                </c:pt>
                <c:pt idx="11462">
                  <c:v>5825</c:v>
                </c:pt>
                <c:pt idx="11463">
                  <c:v>1004</c:v>
                </c:pt>
                <c:pt idx="11464">
                  <c:v>2531</c:v>
                </c:pt>
                <c:pt idx="11465">
                  <c:v>1631</c:v>
                </c:pt>
                <c:pt idx="11466">
                  <c:v>293</c:v>
                </c:pt>
                <c:pt idx="11467">
                  <c:v>2797</c:v>
                </c:pt>
                <c:pt idx="11468">
                  <c:v>2700</c:v>
                </c:pt>
                <c:pt idx="11469">
                  <c:v>573</c:v>
                </c:pt>
                <c:pt idx="11470">
                  <c:v>614</c:v>
                </c:pt>
                <c:pt idx="11471">
                  <c:v>699</c:v>
                </c:pt>
                <c:pt idx="11472">
                  <c:v>327</c:v>
                </c:pt>
                <c:pt idx="11473">
                  <c:v>412</c:v>
                </c:pt>
                <c:pt idx="11474">
                  <c:v>321</c:v>
                </c:pt>
                <c:pt idx="11475">
                  <c:v>109</c:v>
                </c:pt>
                <c:pt idx="11476">
                  <c:v>148</c:v>
                </c:pt>
                <c:pt idx="11477">
                  <c:v>614</c:v>
                </c:pt>
                <c:pt idx="11478">
                  <c:v>234</c:v>
                </c:pt>
                <c:pt idx="11479">
                  <c:v>493</c:v>
                </c:pt>
                <c:pt idx="11480">
                  <c:v>1529</c:v>
                </c:pt>
                <c:pt idx="11481">
                  <c:v>846</c:v>
                </c:pt>
                <c:pt idx="11482">
                  <c:v>14639</c:v>
                </c:pt>
                <c:pt idx="11483">
                  <c:v>2099</c:v>
                </c:pt>
                <c:pt idx="11484">
                  <c:v>1525</c:v>
                </c:pt>
                <c:pt idx="11485">
                  <c:v>423</c:v>
                </c:pt>
                <c:pt idx="11486">
                  <c:v>414</c:v>
                </c:pt>
                <c:pt idx="11487">
                  <c:v>1193</c:v>
                </c:pt>
                <c:pt idx="11488">
                  <c:v>2799</c:v>
                </c:pt>
                <c:pt idx="11489">
                  <c:v>11016</c:v>
                </c:pt>
                <c:pt idx="11490">
                  <c:v>1573</c:v>
                </c:pt>
                <c:pt idx="11491">
                  <c:v>427</c:v>
                </c:pt>
                <c:pt idx="11492">
                  <c:v>3071</c:v>
                </c:pt>
                <c:pt idx="11493">
                  <c:v>197</c:v>
                </c:pt>
                <c:pt idx="11494">
                  <c:v>3064</c:v>
                </c:pt>
                <c:pt idx="11495">
                  <c:v>11634</c:v>
                </c:pt>
                <c:pt idx="11496">
                  <c:v>4530</c:v>
                </c:pt>
                <c:pt idx="11497">
                  <c:v>1303</c:v>
                </c:pt>
                <c:pt idx="11498">
                  <c:v>119</c:v>
                </c:pt>
                <c:pt idx="11499">
                  <c:v>1495</c:v>
                </c:pt>
                <c:pt idx="11500">
                  <c:v>834</c:v>
                </c:pt>
                <c:pt idx="11501">
                  <c:v>10957</c:v>
                </c:pt>
                <c:pt idx="11502">
                  <c:v>740</c:v>
                </c:pt>
                <c:pt idx="11503">
                  <c:v>2204</c:v>
                </c:pt>
                <c:pt idx="11504">
                  <c:v>247</c:v>
                </c:pt>
                <c:pt idx="11505">
                  <c:v>953</c:v>
                </c:pt>
                <c:pt idx="11506">
                  <c:v>1593</c:v>
                </c:pt>
                <c:pt idx="11507">
                  <c:v>1699</c:v>
                </c:pt>
                <c:pt idx="11508">
                  <c:v>9391</c:v>
                </c:pt>
                <c:pt idx="11509">
                  <c:v>539</c:v>
                </c:pt>
                <c:pt idx="11510">
                  <c:v>16041</c:v>
                </c:pt>
                <c:pt idx="11511">
                  <c:v>3053</c:v>
                </c:pt>
                <c:pt idx="11512">
                  <c:v>1450</c:v>
                </c:pt>
                <c:pt idx="11513">
                  <c:v>3991</c:v>
                </c:pt>
                <c:pt idx="11514">
                  <c:v>220</c:v>
                </c:pt>
                <c:pt idx="11515">
                  <c:v>7959</c:v>
                </c:pt>
                <c:pt idx="11516">
                  <c:v>314</c:v>
                </c:pt>
                <c:pt idx="11517">
                  <c:v>1391</c:v>
                </c:pt>
                <c:pt idx="11518">
                  <c:v>342</c:v>
                </c:pt>
                <c:pt idx="11519">
                  <c:v>1122</c:v>
                </c:pt>
                <c:pt idx="11520">
                  <c:v>382</c:v>
                </c:pt>
                <c:pt idx="11521">
                  <c:v>1028</c:v>
                </c:pt>
                <c:pt idx="11522">
                  <c:v>6159</c:v>
                </c:pt>
                <c:pt idx="11523">
                  <c:v>1057</c:v>
                </c:pt>
                <c:pt idx="11524">
                  <c:v>363</c:v>
                </c:pt>
                <c:pt idx="11525">
                  <c:v>534</c:v>
                </c:pt>
                <c:pt idx="11526">
                  <c:v>179</c:v>
                </c:pt>
                <c:pt idx="11527">
                  <c:v>959</c:v>
                </c:pt>
                <c:pt idx="11528">
                  <c:v>4655</c:v>
                </c:pt>
                <c:pt idx="11529">
                  <c:v>739</c:v>
                </c:pt>
                <c:pt idx="11530">
                  <c:v>109</c:v>
                </c:pt>
                <c:pt idx="11531">
                  <c:v>915</c:v>
                </c:pt>
                <c:pt idx="11532">
                  <c:v>2539</c:v>
                </c:pt>
                <c:pt idx="11533">
                  <c:v>494</c:v>
                </c:pt>
                <c:pt idx="11534">
                  <c:v>257</c:v>
                </c:pt>
                <c:pt idx="11535">
                  <c:v>1403</c:v>
                </c:pt>
                <c:pt idx="11536">
                  <c:v>2041</c:v>
                </c:pt>
                <c:pt idx="11537">
                  <c:v>397</c:v>
                </c:pt>
                <c:pt idx="11538">
                  <c:v>375</c:v>
                </c:pt>
                <c:pt idx="11539">
                  <c:v>390</c:v>
                </c:pt>
                <c:pt idx="11540">
                  <c:v>9697</c:v>
                </c:pt>
                <c:pt idx="11541">
                  <c:v>2419</c:v>
                </c:pt>
                <c:pt idx="11542">
                  <c:v>17905</c:v>
                </c:pt>
                <c:pt idx="11543">
                  <c:v>7117</c:v>
                </c:pt>
                <c:pt idx="11544">
                  <c:v>244</c:v>
                </c:pt>
                <c:pt idx="11545">
                  <c:v>606</c:v>
                </c:pt>
                <c:pt idx="11546">
                  <c:v>283</c:v>
                </c:pt>
                <c:pt idx="11547">
                  <c:v>1910</c:v>
                </c:pt>
                <c:pt idx="11548">
                  <c:v>7275</c:v>
                </c:pt>
                <c:pt idx="11549">
                  <c:v>9026</c:v>
                </c:pt>
                <c:pt idx="11550">
                  <c:v>13318</c:v>
                </c:pt>
                <c:pt idx="11551">
                  <c:v>12680</c:v>
                </c:pt>
                <c:pt idx="11552">
                  <c:v>15877</c:v>
                </c:pt>
                <c:pt idx="11553">
                  <c:v>7589</c:v>
                </c:pt>
                <c:pt idx="11554">
                  <c:v>216</c:v>
                </c:pt>
                <c:pt idx="11555">
                  <c:v>5355</c:v>
                </c:pt>
                <c:pt idx="11556">
                  <c:v>8120</c:v>
                </c:pt>
                <c:pt idx="11557">
                  <c:v>5544</c:v>
                </c:pt>
                <c:pt idx="11558">
                  <c:v>8003</c:v>
                </c:pt>
                <c:pt idx="11559">
                  <c:v>23462</c:v>
                </c:pt>
                <c:pt idx="11560">
                  <c:v>8357</c:v>
                </c:pt>
                <c:pt idx="11561">
                  <c:v>18363</c:v>
                </c:pt>
                <c:pt idx="11562">
                  <c:v>7335</c:v>
                </c:pt>
                <c:pt idx="11563">
                  <c:v>17699</c:v>
                </c:pt>
                <c:pt idx="11564">
                  <c:v>19252</c:v>
                </c:pt>
                <c:pt idx="11565">
                  <c:v>18187</c:v>
                </c:pt>
                <c:pt idx="11566">
                  <c:v>11228</c:v>
                </c:pt>
                <c:pt idx="11567">
                  <c:v>11755</c:v>
                </c:pt>
                <c:pt idx="11568">
                  <c:v>9682</c:v>
                </c:pt>
                <c:pt idx="11569">
                  <c:v>20892</c:v>
                </c:pt>
                <c:pt idx="11570">
                  <c:v>15972</c:v>
                </c:pt>
                <c:pt idx="11571">
                  <c:v>5697</c:v>
                </c:pt>
                <c:pt idx="11572">
                  <c:v>5885</c:v>
                </c:pt>
                <c:pt idx="11573">
                  <c:v>17947</c:v>
                </c:pt>
                <c:pt idx="11574">
                  <c:v>12831</c:v>
                </c:pt>
                <c:pt idx="11575">
                  <c:v>17994</c:v>
                </c:pt>
                <c:pt idx="11576">
                  <c:v>19962</c:v>
                </c:pt>
                <c:pt idx="11577">
                  <c:v>21729</c:v>
                </c:pt>
                <c:pt idx="11578">
                  <c:v>300</c:v>
                </c:pt>
                <c:pt idx="11579">
                  <c:v>2778</c:v>
                </c:pt>
                <c:pt idx="11580">
                  <c:v>1904</c:v>
                </c:pt>
                <c:pt idx="11581">
                  <c:v>958</c:v>
                </c:pt>
                <c:pt idx="11582">
                  <c:v>221</c:v>
                </c:pt>
                <c:pt idx="11583">
                  <c:v>958</c:v>
                </c:pt>
                <c:pt idx="11584">
                  <c:v>24957</c:v>
                </c:pt>
                <c:pt idx="11585">
                  <c:v>399</c:v>
                </c:pt>
                <c:pt idx="11586">
                  <c:v>8642</c:v>
                </c:pt>
                <c:pt idx="11587">
                  <c:v>4308</c:v>
                </c:pt>
                <c:pt idx="11588">
                  <c:v>2214</c:v>
                </c:pt>
                <c:pt idx="11589">
                  <c:v>209</c:v>
                </c:pt>
                <c:pt idx="11590">
                  <c:v>10525</c:v>
                </c:pt>
                <c:pt idx="11591">
                  <c:v>157</c:v>
                </c:pt>
                <c:pt idx="11592">
                  <c:v>1767</c:v>
                </c:pt>
                <c:pt idx="11593">
                  <c:v>267</c:v>
                </c:pt>
                <c:pt idx="11594">
                  <c:v>9436</c:v>
                </c:pt>
                <c:pt idx="11595">
                  <c:v>8945</c:v>
                </c:pt>
                <c:pt idx="11596">
                  <c:v>19846</c:v>
                </c:pt>
                <c:pt idx="11597">
                  <c:v>290</c:v>
                </c:pt>
                <c:pt idx="11598">
                  <c:v>3123</c:v>
                </c:pt>
                <c:pt idx="11599">
                  <c:v>2716</c:v>
                </c:pt>
                <c:pt idx="11600">
                  <c:v>8360</c:v>
                </c:pt>
                <c:pt idx="11601">
                  <c:v>1211</c:v>
                </c:pt>
                <c:pt idx="11602">
                  <c:v>1085</c:v>
                </c:pt>
                <c:pt idx="11603">
                  <c:v>950</c:v>
                </c:pt>
                <c:pt idx="11604">
                  <c:v>766</c:v>
                </c:pt>
                <c:pt idx="11605">
                  <c:v>1682</c:v>
                </c:pt>
                <c:pt idx="11606">
                  <c:v>2637</c:v>
                </c:pt>
                <c:pt idx="11607">
                  <c:v>12410</c:v>
                </c:pt>
                <c:pt idx="11608">
                  <c:v>1030</c:v>
                </c:pt>
                <c:pt idx="11609">
                  <c:v>690</c:v>
                </c:pt>
                <c:pt idx="11610">
                  <c:v>3701</c:v>
                </c:pt>
                <c:pt idx="11611">
                  <c:v>16493</c:v>
                </c:pt>
                <c:pt idx="11612">
                  <c:v>664</c:v>
                </c:pt>
                <c:pt idx="11613">
                  <c:v>11165</c:v>
                </c:pt>
                <c:pt idx="11614">
                  <c:v>1445</c:v>
                </c:pt>
                <c:pt idx="11615">
                  <c:v>1495</c:v>
                </c:pt>
                <c:pt idx="11616">
                  <c:v>10180</c:v>
                </c:pt>
                <c:pt idx="11617">
                  <c:v>2100</c:v>
                </c:pt>
                <c:pt idx="11618">
                  <c:v>1035</c:v>
                </c:pt>
                <c:pt idx="11619">
                  <c:v>230</c:v>
                </c:pt>
                <c:pt idx="11620">
                  <c:v>6224</c:v>
                </c:pt>
                <c:pt idx="11621">
                  <c:v>239</c:v>
                </c:pt>
                <c:pt idx="11622">
                  <c:v>1825</c:v>
                </c:pt>
                <c:pt idx="11623">
                  <c:v>2973</c:v>
                </c:pt>
                <c:pt idx="11624">
                  <c:v>371</c:v>
                </c:pt>
                <c:pt idx="11625">
                  <c:v>814</c:v>
                </c:pt>
                <c:pt idx="11626">
                  <c:v>440</c:v>
                </c:pt>
                <c:pt idx="11627">
                  <c:v>920</c:v>
                </c:pt>
                <c:pt idx="11628">
                  <c:v>453</c:v>
                </c:pt>
                <c:pt idx="11629">
                  <c:v>30482</c:v>
                </c:pt>
                <c:pt idx="11630">
                  <c:v>128</c:v>
                </c:pt>
                <c:pt idx="11631">
                  <c:v>5427</c:v>
                </c:pt>
                <c:pt idx="11632">
                  <c:v>1246</c:v>
                </c:pt>
                <c:pt idx="11633">
                  <c:v>1565</c:v>
                </c:pt>
                <c:pt idx="11634">
                  <c:v>14038</c:v>
                </c:pt>
                <c:pt idx="11635">
                  <c:v>15193</c:v>
                </c:pt>
                <c:pt idx="11636">
                  <c:v>13358</c:v>
                </c:pt>
                <c:pt idx="11637">
                  <c:v>12309</c:v>
                </c:pt>
                <c:pt idx="11638">
                  <c:v>1143</c:v>
                </c:pt>
                <c:pt idx="11639">
                  <c:v>12268</c:v>
                </c:pt>
                <c:pt idx="11640">
                  <c:v>23893</c:v>
                </c:pt>
                <c:pt idx="11641">
                  <c:v>455</c:v>
                </c:pt>
                <c:pt idx="11642">
                  <c:v>17246</c:v>
                </c:pt>
                <c:pt idx="11643">
                  <c:v>5476</c:v>
                </c:pt>
                <c:pt idx="11644">
                  <c:v>9202</c:v>
                </c:pt>
                <c:pt idx="11645">
                  <c:v>19660</c:v>
                </c:pt>
                <c:pt idx="11646">
                  <c:v>1365</c:v>
                </c:pt>
                <c:pt idx="11647">
                  <c:v>19260</c:v>
                </c:pt>
                <c:pt idx="11648">
                  <c:v>24024</c:v>
                </c:pt>
                <c:pt idx="11649">
                  <c:v>10953</c:v>
                </c:pt>
                <c:pt idx="11650">
                  <c:v>1928</c:v>
                </c:pt>
                <c:pt idx="11651">
                  <c:v>1140</c:v>
                </c:pt>
                <c:pt idx="11652">
                  <c:v>614</c:v>
                </c:pt>
                <c:pt idx="11653">
                  <c:v>1649</c:v>
                </c:pt>
                <c:pt idx="11654">
                  <c:v>10050</c:v>
                </c:pt>
                <c:pt idx="11655">
                  <c:v>7412</c:v>
                </c:pt>
                <c:pt idx="11656">
                  <c:v>705</c:v>
                </c:pt>
                <c:pt idx="11657">
                  <c:v>6261</c:v>
                </c:pt>
                <c:pt idx="11658">
                  <c:v>105</c:v>
                </c:pt>
                <c:pt idx="11659">
                  <c:v>684</c:v>
                </c:pt>
                <c:pt idx="11660">
                  <c:v>165</c:v>
                </c:pt>
                <c:pt idx="11661">
                  <c:v>339</c:v>
                </c:pt>
                <c:pt idx="11662">
                  <c:v>86</c:v>
                </c:pt>
                <c:pt idx="11663">
                  <c:v>264</c:v>
                </c:pt>
                <c:pt idx="11664">
                  <c:v>227</c:v>
                </c:pt>
                <c:pt idx="11665">
                  <c:v>872</c:v>
                </c:pt>
                <c:pt idx="11666">
                  <c:v>247</c:v>
                </c:pt>
                <c:pt idx="11667">
                  <c:v>161</c:v>
                </c:pt>
                <c:pt idx="11668">
                  <c:v>255</c:v>
                </c:pt>
                <c:pt idx="11669">
                  <c:v>1077</c:v>
                </c:pt>
                <c:pt idx="11670">
                  <c:v>1092</c:v>
                </c:pt>
                <c:pt idx="11671">
                  <c:v>136</c:v>
                </c:pt>
                <c:pt idx="11672">
                  <c:v>204</c:v>
                </c:pt>
                <c:pt idx="11673">
                  <c:v>236</c:v>
                </c:pt>
                <c:pt idx="11674">
                  <c:v>236</c:v>
                </c:pt>
                <c:pt idx="11675">
                  <c:v>108</c:v>
                </c:pt>
                <c:pt idx="11676">
                  <c:v>140</c:v>
                </c:pt>
                <c:pt idx="11677">
                  <c:v>556</c:v>
                </c:pt>
                <c:pt idx="11678">
                  <c:v>223</c:v>
                </c:pt>
                <c:pt idx="11679">
                  <c:v>381</c:v>
                </c:pt>
                <c:pt idx="11680">
                  <c:v>3374</c:v>
                </c:pt>
                <c:pt idx="11681">
                  <c:v>316</c:v>
                </c:pt>
                <c:pt idx="11682">
                  <c:v>278</c:v>
                </c:pt>
                <c:pt idx="11683">
                  <c:v>155</c:v>
                </c:pt>
                <c:pt idx="11684">
                  <c:v>183</c:v>
                </c:pt>
                <c:pt idx="11685">
                  <c:v>412</c:v>
                </c:pt>
                <c:pt idx="11686">
                  <c:v>29</c:v>
                </c:pt>
                <c:pt idx="11687">
                  <c:v>148</c:v>
                </c:pt>
                <c:pt idx="11688">
                  <c:v>78</c:v>
                </c:pt>
                <c:pt idx="11689">
                  <c:v>4603</c:v>
                </c:pt>
                <c:pt idx="11690">
                  <c:v>3052</c:v>
                </c:pt>
                <c:pt idx="11691">
                  <c:v>357</c:v>
                </c:pt>
                <c:pt idx="11692">
                  <c:v>2703</c:v>
                </c:pt>
                <c:pt idx="11693">
                  <c:v>163</c:v>
                </c:pt>
                <c:pt idx="11694">
                  <c:v>121</c:v>
                </c:pt>
                <c:pt idx="11695">
                  <c:v>9777</c:v>
                </c:pt>
                <c:pt idx="11696">
                  <c:v>1278</c:v>
                </c:pt>
                <c:pt idx="11697">
                  <c:v>965</c:v>
                </c:pt>
                <c:pt idx="11698">
                  <c:v>1348</c:v>
                </c:pt>
                <c:pt idx="11699">
                  <c:v>12474</c:v>
                </c:pt>
                <c:pt idx="11700">
                  <c:v>1520</c:v>
                </c:pt>
                <c:pt idx="11701">
                  <c:v>2586</c:v>
                </c:pt>
                <c:pt idx="11702">
                  <c:v>2999</c:v>
                </c:pt>
                <c:pt idx="11703">
                  <c:v>1499</c:v>
                </c:pt>
                <c:pt idx="11704">
                  <c:v>13590</c:v>
                </c:pt>
                <c:pt idx="11705">
                  <c:v>3298</c:v>
                </c:pt>
                <c:pt idx="11706">
                  <c:v>9821</c:v>
                </c:pt>
                <c:pt idx="11707">
                  <c:v>3168</c:v>
                </c:pt>
                <c:pt idx="11708">
                  <c:v>20982</c:v>
                </c:pt>
                <c:pt idx="11709">
                  <c:v>15682</c:v>
                </c:pt>
                <c:pt idx="11710">
                  <c:v>2653</c:v>
                </c:pt>
                <c:pt idx="11711">
                  <c:v>7350</c:v>
                </c:pt>
                <c:pt idx="11712">
                  <c:v>887</c:v>
                </c:pt>
                <c:pt idx="11713">
                  <c:v>558</c:v>
                </c:pt>
                <c:pt idx="11714">
                  <c:v>5639</c:v>
                </c:pt>
                <c:pt idx="11715">
                  <c:v>1202</c:v>
                </c:pt>
                <c:pt idx="11716">
                  <c:v>3390</c:v>
                </c:pt>
                <c:pt idx="11717">
                  <c:v>3157</c:v>
                </c:pt>
                <c:pt idx="11718">
                  <c:v>27538</c:v>
                </c:pt>
                <c:pt idx="11719">
                  <c:v>775</c:v>
                </c:pt>
                <c:pt idx="11720">
                  <c:v>549</c:v>
                </c:pt>
                <c:pt idx="11721">
                  <c:v>616</c:v>
                </c:pt>
                <c:pt idx="11722">
                  <c:v>767</c:v>
                </c:pt>
                <c:pt idx="11723">
                  <c:v>9135</c:v>
                </c:pt>
                <c:pt idx="11724">
                  <c:v>672</c:v>
                </c:pt>
                <c:pt idx="11725">
                  <c:v>16719</c:v>
                </c:pt>
                <c:pt idx="11726">
                  <c:v>833</c:v>
                </c:pt>
                <c:pt idx="11727">
                  <c:v>5613</c:v>
                </c:pt>
                <c:pt idx="11728">
                  <c:v>1347</c:v>
                </c:pt>
                <c:pt idx="11729">
                  <c:v>1313</c:v>
                </c:pt>
                <c:pt idx="11730">
                  <c:v>679</c:v>
                </c:pt>
                <c:pt idx="11731">
                  <c:v>9562</c:v>
                </c:pt>
                <c:pt idx="11732">
                  <c:v>3332</c:v>
                </c:pt>
                <c:pt idx="11733">
                  <c:v>2748</c:v>
                </c:pt>
                <c:pt idx="11734">
                  <c:v>8485</c:v>
                </c:pt>
                <c:pt idx="11735">
                  <c:v>8891</c:v>
                </c:pt>
                <c:pt idx="11736">
                  <c:v>1042</c:v>
                </c:pt>
                <c:pt idx="11737">
                  <c:v>673</c:v>
                </c:pt>
                <c:pt idx="11738">
                  <c:v>416</c:v>
                </c:pt>
                <c:pt idx="11739">
                  <c:v>658</c:v>
                </c:pt>
                <c:pt idx="11740">
                  <c:v>11340</c:v>
                </c:pt>
                <c:pt idx="11741">
                  <c:v>1421</c:v>
                </c:pt>
                <c:pt idx="11742">
                  <c:v>1005</c:v>
                </c:pt>
                <c:pt idx="11743">
                  <c:v>7073</c:v>
                </c:pt>
                <c:pt idx="11744">
                  <c:v>1826</c:v>
                </c:pt>
                <c:pt idx="11745">
                  <c:v>3039</c:v>
                </c:pt>
                <c:pt idx="11746">
                  <c:v>616</c:v>
                </c:pt>
                <c:pt idx="11747">
                  <c:v>7623</c:v>
                </c:pt>
                <c:pt idx="11748">
                  <c:v>7106</c:v>
                </c:pt>
                <c:pt idx="11749">
                  <c:v>635</c:v>
                </c:pt>
                <c:pt idx="11750">
                  <c:v>198</c:v>
                </c:pt>
                <c:pt idx="11751">
                  <c:v>3521</c:v>
                </c:pt>
                <c:pt idx="11752">
                  <c:v>116</c:v>
                </c:pt>
                <c:pt idx="11753">
                  <c:v>3536</c:v>
                </c:pt>
                <c:pt idx="11754">
                  <c:v>707</c:v>
                </c:pt>
                <c:pt idx="11755">
                  <c:v>4045</c:v>
                </c:pt>
                <c:pt idx="11756">
                  <c:v>3484</c:v>
                </c:pt>
                <c:pt idx="11757">
                  <c:v>145</c:v>
                </c:pt>
                <c:pt idx="11758">
                  <c:v>57</c:v>
                </c:pt>
                <c:pt idx="11759">
                  <c:v>4368</c:v>
                </c:pt>
                <c:pt idx="11760">
                  <c:v>392</c:v>
                </c:pt>
                <c:pt idx="11761">
                  <c:v>1491</c:v>
                </c:pt>
                <c:pt idx="11762">
                  <c:v>2084</c:v>
                </c:pt>
                <c:pt idx="11763">
                  <c:v>905</c:v>
                </c:pt>
                <c:pt idx="11764">
                  <c:v>465</c:v>
                </c:pt>
                <c:pt idx="11765">
                  <c:v>1786</c:v>
                </c:pt>
                <c:pt idx="11766">
                  <c:v>1910</c:v>
                </c:pt>
                <c:pt idx="11767">
                  <c:v>315</c:v>
                </c:pt>
                <c:pt idx="11768">
                  <c:v>833</c:v>
                </c:pt>
                <c:pt idx="11769">
                  <c:v>666</c:v>
                </c:pt>
                <c:pt idx="11770">
                  <c:v>496</c:v>
                </c:pt>
                <c:pt idx="11771">
                  <c:v>253</c:v>
                </c:pt>
                <c:pt idx="11772">
                  <c:v>453</c:v>
                </c:pt>
                <c:pt idx="11773">
                  <c:v>555</c:v>
                </c:pt>
                <c:pt idx="11774">
                  <c:v>1095</c:v>
                </c:pt>
                <c:pt idx="11775">
                  <c:v>1098</c:v>
                </c:pt>
                <c:pt idx="11776">
                  <c:v>3578</c:v>
                </c:pt>
                <c:pt idx="11777">
                  <c:v>265</c:v>
                </c:pt>
                <c:pt idx="11778">
                  <c:v>85</c:v>
                </c:pt>
                <c:pt idx="11779">
                  <c:v>147</c:v>
                </c:pt>
                <c:pt idx="11780">
                  <c:v>261</c:v>
                </c:pt>
                <c:pt idx="11781">
                  <c:v>1714</c:v>
                </c:pt>
                <c:pt idx="11782">
                  <c:v>190</c:v>
                </c:pt>
                <c:pt idx="11783">
                  <c:v>262</c:v>
                </c:pt>
                <c:pt idx="11784">
                  <c:v>644</c:v>
                </c:pt>
                <c:pt idx="11785">
                  <c:v>185</c:v>
                </c:pt>
                <c:pt idx="11786">
                  <c:v>345</c:v>
                </c:pt>
                <c:pt idx="11787">
                  <c:v>106</c:v>
                </c:pt>
                <c:pt idx="11788">
                  <c:v>415</c:v>
                </c:pt>
                <c:pt idx="11789">
                  <c:v>328</c:v>
                </c:pt>
                <c:pt idx="11790">
                  <c:v>255</c:v>
                </c:pt>
                <c:pt idx="11791">
                  <c:v>1093</c:v>
                </c:pt>
                <c:pt idx="11792">
                  <c:v>1996</c:v>
                </c:pt>
                <c:pt idx="11793">
                  <c:v>1194</c:v>
                </c:pt>
                <c:pt idx="11794">
                  <c:v>136</c:v>
                </c:pt>
                <c:pt idx="11795">
                  <c:v>379</c:v>
                </c:pt>
                <c:pt idx="11796">
                  <c:v>3526</c:v>
                </c:pt>
                <c:pt idx="11797">
                  <c:v>268</c:v>
                </c:pt>
                <c:pt idx="11798">
                  <c:v>91</c:v>
                </c:pt>
                <c:pt idx="11799">
                  <c:v>161</c:v>
                </c:pt>
                <c:pt idx="11800">
                  <c:v>199</c:v>
                </c:pt>
                <c:pt idx="11801">
                  <c:v>56</c:v>
                </c:pt>
                <c:pt idx="11802">
                  <c:v>110</c:v>
                </c:pt>
                <c:pt idx="11803">
                  <c:v>256</c:v>
                </c:pt>
                <c:pt idx="11804">
                  <c:v>2852</c:v>
                </c:pt>
                <c:pt idx="11805">
                  <c:v>3116</c:v>
                </c:pt>
                <c:pt idx="11806">
                  <c:v>8318</c:v>
                </c:pt>
                <c:pt idx="11807">
                  <c:v>181</c:v>
                </c:pt>
                <c:pt idx="11808">
                  <c:v>145</c:v>
                </c:pt>
                <c:pt idx="11809">
                  <c:v>146</c:v>
                </c:pt>
                <c:pt idx="11810">
                  <c:v>655</c:v>
                </c:pt>
                <c:pt idx="11811">
                  <c:v>282</c:v>
                </c:pt>
                <c:pt idx="11812">
                  <c:v>1672</c:v>
                </c:pt>
                <c:pt idx="11813">
                  <c:v>339</c:v>
                </c:pt>
                <c:pt idx="11814">
                  <c:v>325</c:v>
                </c:pt>
                <c:pt idx="11815">
                  <c:v>212</c:v>
                </c:pt>
                <c:pt idx="11816">
                  <c:v>1147</c:v>
                </c:pt>
                <c:pt idx="11817">
                  <c:v>438</c:v>
                </c:pt>
                <c:pt idx="11818">
                  <c:v>89</c:v>
                </c:pt>
                <c:pt idx="11819">
                  <c:v>140</c:v>
                </c:pt>
                <c:pt idx="11820">
                  <c:v>179</c:v>
                </c:pt>
                <c:pt idx="11821">
                  <c:v>331</c:v>
                </c:pt>
                <c:pt idx="11822">
                  <c:v>534</c:v>
                </c:pt>
                <c:pt idx="11823">
                  <c:v>602</c:v>
                </c:pt>
                <c:pt idx="11824">
                  <c:v>308</c:v>
                </c:pt>
                <c:pt idx="11825">
                  <c:v>730</c:v>
                </c:pt>
                <c:pt idx="11826">
                  <c:v>216</c:v>
                </c:pt>
                <c:pt idx="11827">
                  <c:v>845</c:v>
                </c:pt>
                <c:pt idx="11828">
                  <c:v>152</c:v>
                </c:pt>
                <c:pt idx="11829">
                  <c:v>422</c:v>
                </c:pt>
                <c:pt idx="11830">
                  <c:v>137</c:v>
                </c:pt>
                <c:pt idx="11831">
                  <c:v>291</c:v>
                </c:pt>
                <c:pt idx="11832">
                  <c:v>112</c:v>
                </c:pt>
                <c:pt idx="11833">
                  <c:v>268</c:v>
                </c:pt>
                <c:pt idx="11834">
                  <c:v>115</c:v>
                </c:pt>
                <c:pt idx="11835">
                  <c:v>826</c:v>
                </c:pt>
                <c:pt idx="11836">
                  <c:v>227</c:v>
                </c:pt>
                <c:pt idx="11837">
                  <c:v>107</c:v>
                </c:pt>
                <c:pt idx="11838">
                  <c:v>420</c:v>
                </c:pt>
                <c:pt idx="11839">
                  <c:v>240</c:v>
                </c:pt>
                <c:pt idx="11840">
                  <c:v>838</c:v>
                </c:pt>
                <c:pt idx="11841">
                  <c:v>115</c:v>
                </c:pt>
                <c:pt idx="11842">
                  <c:v>3099</c:v>
                </c:pt>
                <c:pt idx="11843">
                  <c:v>547</c:v>
                </c:pt>
                <c:pt idx="11844">
                  <c:v>355</c:v>
                </c:pt>
                <c:pt idx="11845">
                  <c:v>199</c:v>
                </c:pt>
                <c:pt idx="11846">
                  <c:v>5446</c:v>
                </c:pt>
                <c:pt idx="11847">
                  <c:v>302</c:v>
                </c:pt>
                <c:pt idx="11848">
                  <c:v>344</c:v>
                </c:pt>
                <c:pt idx="11849">
                  <c:v>273</c:v>
                </c:pt>
                <c:pt idx="11850">
                  <c:v>335</c:v>
                </c:pt>
                <c:pt idx="11851">
                  <c:v>612</c:v>
                </c:pt>
                <c:pt idx="11852">
                  <c:v>167</c:v>
                </c:pt>
                <c:pt idx="11853">
                  <c:v>204</c:v>
                </c:pt>
                <c:pt idx="11854">
                  <c:v>194</c:v>
                </c:pt>
                <c:pt idx="11855">
                  <c:v>866</c:v>
                </c:pt>
                <c:pt idx="11856">
                  <c:v>138</c:v>
                </c:pt>
                <c:pt idx="11857">
                  <c:v>253</c:v>
                </c:pt>
                <c:pt idx="11858">
                  <c:v>323</c:v>
                </c:pt>
                <c:pt idx="11859">
                  <c:v>922</c:v>
                </c:pt>
                <c:pt idx="11860">
                  <c:v>842</c:v>
                </c:pt>
                <c:pt idx="11861">
                  <c:v>303</c:v>
                </c:pt>
                <c:pt idx="11862">
                  <c:v>192</c:v>
                </c:pt>
                <c:pt idx="11863">
                  <c:v>374</c:v>
                </c:pt>
                <c:pt idx="11864">
                  <c:v>222</c:v>
                </c:pt>
                <c:pt idx="11865">
                  <c:v>529</c:v>
                </c:pt>
                <c:pt idx="11866">
                  <c:v>212</c:v>
                </c:pt>
                <c:pt idx="11867">
                  <c:v>200</c:v>
                </c:pt>
                <c:pt idx="11868">
                  <c:v>477</c:v>
                </c:pt>
                <c:pt idx="11869">
                  <c:v>177</c:v>
                </c:pt>
                <c:pt idx="11870">
                  <c:v>304</c:v>
                </c:pt>
                <c:pt idx="11871">
                  <c:v>265</c:v>
                </c:pt>
                <c:pt idx="11872">
                  <c:v>192</c:v>
                </c:pt>
                <c:pt idx="11873">
                  <c:v>387</c:v>
                </c:pt>
                <c:pt idx="11874">
                  <c:v>138</c:v>
                </c:pt>
                <c:pt idx="11875">
                  <c:v>375</c:v>
                </c:pt>
                <c:pt idx="11876">
                  <c:v>214</c:v>
                </c:pt>
                <c:pt idx="11877">
                  <c:v>2259</c:v>
                </c:pt>
                <c:pt idx="11878">
                  <c:v>73</c:v>
                </c:pt>
                <c:pt idx="11879">
                  <c:v>102</c:v>
                </c:pt>
                <c:pt idx="11880">
                  <c:v>13877</c:v>
                </c:pt>
                <c:pt idx="11881">
                  <c:v>12114</c:v>
                </c:pt>
                <c:pt idx="11882">
                  <c:v>916</c:v>
                </c:pt>
                <c:pt idx="11883">
                  <c:v>442</c:v>
                </c:pt>
                <c:pt idx="11884">
                  <c:v>737</c:v>
                </c:pt>
                <c:pt idx="11885">
                  <c:v>427</c:v>
                </c:pt>
                <c:pt idx="11886">
                  <c:v>7976</c:v>
                </c:pt>
                <c:pt idx="11887">
                  <c:v>723</c:v>
                </c:pt>
                <c:pt idx="11888">
                  <c:v>241</c:v>
                </c:pt>
                <c:pt idx="11889">
                  <c:v>2987</c:v>
                </c:pt>
                <c:pt idx="11890">
                  <c:v>1279</c:v>
                </c:pt>
                <c:pt idx="11891">
                  <c:v>79</c:v>
                </c:pt>
                <c:pt idx="11892">
                  <c:v>465</c:v>
                </c:pt>
                <c:pt idx="11893">
                  <c:v>613</c:v>
                </c:pt>
                <c:pt idx="11894">
                  <c:v>2171</c:v>
                </c:pt>
                <c:pt idx="11895">
                  <c:v>561</c:v>
                </c:pt>
                <c:pt idx="11896">
                  <c:v>358</c:v>
                </c:pt>
                <c:pt idx="11897">
                  <c:v>1817</c:v>
                </c:pt>
                <c:pt idx="11898">
                  <c:v>1516</c:v>
                </c:pt>
                <c:pt idx="11899">
                  <c:v>987</c:v>
                </c:pt>
                <c:pt idx="11900">
                  <c:v>575</c:v>
                </c:pt>
                <c:pt idx="11901">
                  <c:v>690</c:v>
                </c:pt>
                <c:pt idx="11902">
                  <c:v>1000</c:v>
                </c:pt>
                <c:pt idx="11903">
                  <c:v>1460</c:v>
                </c:pt>
                <c:pt idx="11904">
                  <c:v>2056</c:v>
                </c:pt>
                <c:pt idx="11905">
                  <c:v>503</c:v>
                </c:pt>
                <c:pt idx="11906">
                  <c:v>814</c:v>
                </c:pt>
                <c:pt idx="11907">
                  <c:v>533</c:v>
                </c:pt>
                <c:pt idx="11908">
                  <c:v>928</c:v>
                </c:pt>
                <c:pt idx="11909">
                  <c:v>2927</c:v>
                </c:pt>
                <c:pt idx="11910">
                  <c:v>9725</c:v>
                </c:pt>
                <c:pt idx="11911">
                  <c:v>275</c:v>
                </c:pt>
                <c:pt idx="11912">
                  <c:v>14508</c:v>
                </c:pt>
                <c:pt idx="11913">
                  <c:v>210</c:v>
                </c:pt>
                <c:pt idx="11914">
                  <c:v>591</c:v>
                </c:pt>
                <c:pt idx="11915">
                  <c:v>674</c:v>
                </c:pt>
                <c:pt idx="11916">
                  <c:v>739</c:v>
                </c:pt>
                <c:pt idx="11917">
                  <c:v>990</c:v>
                </c:pt>
                <c:pt idx="11918">
                  <c:v>259</c:v>
                </c:pt>
                <c:pt idx="11919">
                  <c:v>1655</c:v>
                </c:pt>
                <c:pt idx="11920">
                  <c:v>1232</c:v>
                </c:pt>
                <c:pt idx="11921">
                  <c:v>874</c:v>
                </c:pt>
                <c:pt idx="11922">
                  <c:v>28300</c:v>
                </c:pt>
                <c:pt idx="11923">
                  <c:v>11970</c:v>
                </c:pt>
                <c:pt idx="11924">
                  <c:v>18932</c:v>
                </c:pt>
                <c:pt idx="11925">
                  <c:v>1047</c:v>
                </c:pt>
                <c:pt idx="11926">
                  <c:v>2706</c:v>
                </c:pt>
                <c:pt idx="11927">
                  <c:v>585</c:v>
                </c:pt>
                <c:pt idx="11928">
                  <c:v>2671</c:v>
                </c:pt>
                <c:pt idx="11929">
                  <c:v>2832</c:v>
                </c:pt>
                <c:pt idx="11930">
                  <c:v>60</c:v>
                </c:pt>
                <c:pt idx="11931">
                  <c:v>633</c:v>
                </c:pt>
                <c:pt idx="11932">
                  <c:v>7791</c:v>
                </c:pt>
                <c:pt idx="11933">
                  <c:v>389</c:v>
                </c:pt>
                <c:pt idx="11934">
                  <c:v>12486</c:v>
                </c:pt>
                <c:pt idx="11935">
                  <c:v>167</c:v>
                </c:pt>
                <c:pt idx="11936">
                  <c:v>151</c:v>
                </c:pt>
                <c:pt idx="11937">
                  <c:v>951</c:v>
                </c:pt>
                <c:pt idx="11938">
                  <c:v>627</c:v>
                </c:pt>
                <c:pt idx="11939">
                  <c:v>6987</c:v>
                </c:pt>
                <c:pt idx="11940">
                  <c:v>1059</c:v>
                </c:pt>
                <c:pt idx="11941">
                  <c:v>3514</c:v>
                </c:pt>
                <c:pt idx="11942">
                  <c:v>485</c:v>
                </c:pt>
                <c:pt idx="11943">
                  <c:v>2962</c:v>
                </c:pt>
                <c:pt idx="11944">
                  <c:v>916</c:v>
                </c:pt>
                <c:pt idx="11945">
                  <c:v>240</c:v>
                </c:pt>
                <c:pt idx="11946">
                  <c:v>126</c:v>
                </c:pt>
                <c:pt idx="11947">
                  <c:v>2506</c:v>
                </c:pt>
                <c:pt idx="11948">
                  <c:v>395</c:v>
                </c:pt>
                <c:pt idx="11949">
                  <c:v>1431</c:v>
                </c:pt>
                <c:pt idx="11950">
                  <c:v>5222</c:v>
                </c:pt>
                <c:pt idx="11951">
                  <c:v>277</c:v>
                </c:pt>
                <c:pt idx="11952">
                  <c:v>888</c:v>
                </c:pt>
                <c:pt idx="11953">
                  <c:v>1222</c:v>
                </c:pt>
                <c:pt idx="11954">
                  <c:v>2671</c:v>
                </c:pt>
                <c:pt idx="11955">
                  <c:v>231</c:v>
                </c:pt>
                <c:pt idx="11956">
                  <c:v>937</c:v>
                </c:pt>
                <c:pt idx="11957">
                  <c:v>297</c:v>
                </c:pt>
                <c:pt idx="11958">
                  <c:v>15830</c:v>
                </c:pt>
                <c:pt idx="11959">
                  <c:v>1905</c:v>
                </c:pt>
                <c:pt idx="11960">
                  <c:v>363</c:v>
                </c:pt>
                <c:pt idx="11961">
                  <c:v>3994</c:v>
                </c:pt>
                <c:pt idx="11962">
                  <c:v>3297</c:v>
                </c:pt>
                <c:pt idx="11963">
                  <c:v>951</c:v>
                </c:pt>
                <c:pt idx="11964">
                  <c:v>1384</c:v>
                </c:pt>
                <c:pt idx="11965">
                  <c:v>377</c:v>
                </c:pt>
                <c:pt idx="11966">
                  <c:v>6052</c:v>
                </c:pt>
                <c:pt idx="11967">
                  <c:v>209</c:v>
                </c:pt>
                <c:pt idx="11968">
                  <c:v>594</c:v>
                </c:pt>
                <c:pt idx="11969">
                  <c:v>20871</c:v>
                </c:pt>
                <c:pt idx="11970">
                  <c:v>18567</c:v>
                </c:pt>
                <c:pt idx="11971">
                  <c:v>3622</c:v>
                </c:pt>
                <c:pt idx="11972">
                  <c:v>112</c:v>
                </c:pt>
                <c:pt idx="11973">
                  <c:v>455</c:v>
                </c:pt>
                <c:pt idx="11974">
                  <c:v>414</c:v>
                </c:pt>
                <c:pt idx="11975">
                  <c:v>1957</c:v>
                </c:pt>
                <c:pt idx="11976">
                  <c:v>491</c:v>
                </c:pt>
                <c:pt idx="11977">
                  <c:v>3508</c:v>
                </c:pt>
                <c:pt idx="11978">
                  <c:v>299</c:v>
                </c:pt>
                <c:pt idx="11979">
                  <c:v>520</c:v>
                </c:pt>
                <c:pt idx="11980">
                  <c:v>274</c:v>
                </c:pt>
                <c:pt idx="11981">
                  <c:v>662</c:v>
                </c:pt>
                <c:pt idx="11982">
                  <c:v>320</c:v>
                </c:pt>
                <c:pt idx="11983">
                  <c:v>4979</c:v>
                </c:pt>
                <c:pt idx="11984">
                  <c:v>2508</c:v>
                </c:pt>
                <c:pt idx="11985">
                  <c:v>2212</c:v>
                </c:pt>
                <c:pt idx="11986">
                  <c:v>596</c:v>
                </c:pt>
                <c:pt idx="11987">
                  <c:v>471</c:v>
                </c:pt>
                <c:pt idx="11988">
                  <c:v>1966</c:v>
                </c:pt>
                <c:pt idx="11989">
                  <c:v>532</c:v>
                </c:pt>
                <c:pt idx="11990">
                  <c:v>133</c:v>
                </c:pt>
                <c:pt idx="11991">
                  <c:v>510</c:v>
                </c:pt>
                <c:pt idx="11992">
                  <c:v>273</c:v>
                </c:pt>
                <c:pt idx="11993">
                  <c:v>2401</c:v>
                </c:pt>
                <c:pt idx="11994">
                  <c:v>230</c:v>
                </c:pt>
                <c:pt idx="11995">
                  <c:v>604</c:v>
                </c:pt>
                <c:pt idx="11996">
                  <c:v>88</c:v>
                </c:pt>
                <c:pt idx="11997">
                  <c:v>597</c:v>
                </c:pt>
                <c:pt idx="11998">
                  <c:v>2839</c:v>
                </c:pt>
                <c:pt idx="11999">
                  <c:v>1490</c:v>
                </c:pt>
                <c:pt idx="12000">
                  <c:v>830</c:v>
                </c:pt>
                <c:pt idx="12001">
                  <c:v>1156</c:v>
                </c:pt>
                <c:pt idx="12002">
                  <c:v>176</c:v>
                </c:pt>
                <c:pt idx="12003">
                  <c:v>2363</c:v>
                </c:pt>
                <c:pt idx="12004">
                  <c:v>939</c:v>
                </c:pt>
                <c:pt idx="12005">
                  <c:v>461</c:v>
                </c:pt>
                <c:pt idx="12006">
                  <c:v>769</c:v>
                </c:pt>
                <c:pt idx="12007">
                  <c:v>942</c:v>
                </c:pt>
                <c:pt idx="12008">
                  <c:v>16589</c:v>
                </c:pt>
                <c:pt idx="12009">
                  <c:v>10526</c:v>
                </c:pt>
                <c:pt idx="12010">
                  <c:v>842</c:v>
                </c:pt>
                <c:pt idx="12011">
                  <c:v>3381</c:v>
                </c:pt>
                <c:pt idx="12012">
                  <c:v>449</c:v>
                </c:pt>
                <c:pt idx="12013">
                  <c:v>723</c:v>
                </c:pt>
                <c:pt idx="12014">
                  <c:v>1317</c:v>
                </c:pt>
                <c:pt idx="12015">
                  <c:v>4147</c:v>
                </c:pt>
                <c:pt idx="12016">
                  <c:v>1591</c:v>
                </c:pt>
                <c:pt idx="12017">
                  <c:v>1041</c:v>
                </c:pt>
                <c:pt idx="12018">
                  <c:v>222</c:v>
                </c:pt>
                <c:pt idx="12019">
                  <c:v>1449</c:v>
                </c:pt>
                <c:pt idx="12020">
                  <c:v>552</c:v>
                </c:pt>
                <c:pt idx="12021">
                  <c:v>671</c:v>
                </c:pt>
                <c:pt idx="12022">
                  <c:v>1581</c:v>
                </c:pt>
                <c:pt idx="12023">
                  <c:v>508</c:v>
                </c:pt>
                <c:pt idx="12024">
                  <c:v>721</c:v>
                </c:pt>
                <c:pt idx="12025">
                  <c:v>51</c:v>
                </c:pt>
                <c:pt idx="12026">
                  <c:v>581</c:v>
                </c:pt>
                <c:pt idx="12027">
                  <c:v>6709</c:v>
                </c:pt>
                <c:pt idx="12028">
                  <c:v>10115</c:v>
                </c:pt>
                <c:pt idx="12029">
                  <c:v>1219</c:v>
                </c:pt>
                <c:pt idx="12030">
                  <c:v>979</c:v>
                </c:pt>
                <c:pt idx="12031">
                  <c:v>615</c:v>
                </c:pt>
                <c:pt idx="12032">
                  <c:v>271</c:v>
                </c:pt>
                <c:pt idx="12033">
                  <c:v>3367</c:v>
                </c:pt>
                <c:pt idx="12034">
                  <c:v>2282</c:v>
                </c:pt>
                <c:pt idx="12035">
                  <c:v>2654</c:v>
                </c:pt>
                <c:pt idx="12036">
                  <c:v>2226</c:v>
                </c:pt>
                <c:pt idx="12037">
                  <c:v>3522</c:v>
                </c:pt>
                <c:pt idx="12038">
                  <c:v>223</c:v>
                </c:pt>
                <c:pt idx="12039">
                  <c:v>1858</c:v>
                </c:pt>
                <c:pt idx="12040">
                  <c:v>6544</c:v>
                </c:pt>
                <c:pt idx="12041">
                  <c:v>335</c:v>
                </c:pt>
                <c:pt idx="12042">
                  <c:v>1230</c:v>
                </c:pt>
                <c:pt idx="12043">
                  <c:v>4998</c:v>
                </c:pt>
                <c:pt idx="12044">
                  <c:v>1095</c:v>
                </c:pt>
                <c:pt idx="12045">
                  <c:v>567</c:v>
                </c:pt>
                <c:pt idx="12046">
                  <c:v>1304</c:v>
                </c:pt>
                <c:pt idx="12047">
                  <c:v>24368</c:v>
                </c:pt>
                <c:pt idx="12048">
                  <c:v>699</c:v>
                </c:pt>
                <c:pt idx="12049">
                  <c:v>731</c:v>
                </c:pt>
                <c:pt idx="12050">
                  <c:v>653</c:v>
                </c:pt>
                <c:pt idx="12051">
                  <c:v>2150</c:v>
                </c:pt>
                <c:pt idx="12052">
                  <c:v>11262</c:v>
                </c:pt>
                <c:pt idx="12053">
                  <c:v>1423</c:v>
                </c:pt>
                <c:pt idx="12054">
                  <c:v>190</c:v>
                </c:pt>
                <c:pt idx="12055">
                  <c:v>2249</c:v>
                </c:pt>
                <c:pt idx="12056">
                  <c:v>2192</c:v>
                </c:pt>
                <c:pt idx="12057">
                  <c:v>6458</c:v>
                </c:pt>
                <c:pt idx="12058">
                  <c:v>454</c:v>
                </c:pt>
                <c:pt idx="12059">
                  <c:v>737</c:v>
                </c:pt>
                <c:pt idx="12060">
                  <c:v>819</c:v>
                </c:pt>
                <c:pt idx="12061">
                  <c:v>1141</c:v>
                </c:pt>
                <c:pt idx="12062">
                  <c:v>245</c:v>
                </c:pt>
                <c:pt idx="12063">
                  <c:v>3109</c:v>
                </c:pt>
                <c:pt idx="12064">
                  <c:v>784</c:v>
                </c:pt>
                <c:pt idx="12065">
                  <c:v>4182</c:v>
                </c:pt>
                <c:pt idx="12066">
                  <c:v>2592</c:v>
                </c:pt>
                <c:pt idx="12067">
                  <c:v>226</c:v>
                </c:pt>
                <c:pt idx="12068">
                  <c:v>6091</c:v>
                </c:pt>
                <c:pt idx="12069">
                  <c:v>1597</c:v>
                </c:pt>
                <c:pt idx="12070">
                  <c:v>155</c:v>
                </c:pt>
                <c:pt idx="12071">
                  <c:v>2627</c:v>
                </c:pt>
                <c:pt idx="12072">
                  <c:v>722</c:v>
                </c:pt>
                <c:pt idx="12073">
                  <c:v>253</c:v>
                </c:pt>
                <c:pt idx="12074">
                  <c:v>975</c:v>
                </c:pt>
                <c:pt idx="12075">
                  <c:v>1326</c:v>
                </c:pt>
                <c:pt idx="12076">
                  <c:v>179</c:v>
                </c:pt>
                <c:pt idx="12077">
                  <c:v>1476</c:v>
                </c:pt>
                <c:pt idx="12078">
                  <c:v>15438</c:v>
                </c:pt>
                <c:pt idx="12079">
                  <c:v>122</c:v>
                </c:pt>
                <c:pt idx="12080">
                  <c:v>1222</c:v>
                </c:pt>
                <c:pt idx="12081">
                  <c:v>44</c:v>
                </c:pt>
                <c:pt idx="12082">
                  <c:v>992</c:v>
                </c:pt>
                <c:pt idx="12083">
                  <c:v>101</c:v>
                </c:pt>
                <c:pt idx="12084">
                  <c:v>3539</c:v>
                </c:pt>
                <c:pt idx="12085">
                  <c:v>662</c:v>
                </c:pt>
                <c:pt idx="12086">
                  <c:v>1550</c:v>
                </c:pt>
                <c:pt idx="12087">
                  <c:v>29362</c:v>
                </c:pt>
                <c:pt idx="12088">
                  <c:v>24327</c:v>
                </c:pt>
                <c:pt idx="12089">
                  <c:v>21656</c:v>
                </c:pt>
                <c:pt idx="12090">
                  <c:v>4616</c:v>
                </c:pt>
                <c:pt idx="12091">
                  <c:v>6976</c:v>
                </c:pt>
                <c:pt idx="12092">
                  <c:v>1877</c:v>
                </c:pt>
                <c:pt idx="12093">
                  <c:v>6430</c:v>
                </c:pt>
                <c:pt idx="12094">
                  <c:v>2494</c:v>
                </c:pt>
                <c:pt idx="12095">
                  <c:v>36093</c:v>
                </c:pt>
                <c:pt idx="12096">
                  <c:v>3314</c:v>
                </c:pt>
                <c:pt idx="12097">
                  <c:v>238</c:v>
                </c:pt>
                <c:pt idx="12098">
                  <c:v>7376</c:v>
                </c:pt>
                <c:pt idx="12099">
                  <c:v>205</c:v>
                </c:pt>
                <c:pt idx="12100">
                  <c:v>18161</c:v>
                </c:pt>
                <c:pt idx="12101">
                  <c:v>155</c:v>
                </c:pt>
                <c:pt idx="12102">
                  <c:v>17681</c:v>
                </c:pt>
                <c:pt idx="12103">
                  <c:v>2478</c:v>
                </c:pt>
                <c:pt idx="12104">
                  <c:v>1025</c:v>
                </c:pt>
                <c:pt idx="12105">
                  <c:v>1933</c:v>
                </c:pt>
                <c:pt idx="12106">
                  <c:v>14174</c:v>
                </c:pt>
                <c:pt idx="12107">
                  <c:v>15148</c:v>
                </c:pt>
                <c:pt idx="12108">
                  <c:v>28264</c:v>
                </c:pt>
                <c:pt idx="12109">
                  <c:v>8464</c:v>
                </c:pt>
                <c:pt idx="12110">
                  <c:v>1123</c:v>
                </c:pt>
                <c:pt idx="12111">
                  <c:v>2894</c:v>
                </c:pt>
                <c:pt idx="12112">
                  <c:v>15492</c:v>
                </c:pt>
                <c:pt idx="12113">
                  <c:v>8835</c:v>
                </c:pt>
                <c:pt idx="12114">
                  <c:v>22511</c:v>
                </c:pt>
                <c:pt idx="12115">
                  <c:v>720</c:v>
                </c:pt>
                <c:pt idx="12116">
                  <c:v>519</c:v>
                </c:pt>
                <c:pt idx="12117">
                  <c:v>29128</c:v>
                </c:pt>
                <c:pt idx="12118">
                  <c:v>1204</c:v>
                </c:pt>
                <c:pt idx="12119">
                  <c:v>2686</c:v>
                </c:pt>
                <c:pt idx="12120">
                  <c:v>7605</c:v>
                </c:pt>
                <c:pt idx="12121">
                  <c:v>3877</c:v>
                </c:pt>
                <c:pt idx="12122">
                  <c:v>103</c:v>
                </c:pt>
                <c:pt idx="12123">
                  <c:v>9199</c:v>
                </c:pt>
                <c:pt idx="12124">
                  <c:v>2007</c:v>
                </c:pt>
                <c:pt idx="12125">
                  <c:v>35832</c:v>
                </c:pt>
                <c:pt idx="12126">
                  <c:v>16101</c:v>
                </c:pt>
                <c:pt idx="12127">
                  <c:v>382</c:v>
                </c:pt>
                <c:pt idx="12128">
                  <c:v>13298</c:v>
                </c:pt>
                <c:pt idx="12129">
                  <c:v>134</c:v>
                </c:pt>
                <c:pt idx="12130">
                  <c:v>2046</c:v>
                </c:pt>
                <c:pt idx="12131">
                  <c:v>5680</c:v>
                </c:pt>
                <c:pt idx="12132">
                  <c:v>4070</c:v>
                </c:pt>
                <c:pt idx="12133">
                  <c:v>784</c:v>
                </c:pt>
                <c:pt idx="12134">
                  <c:v>1522</c:v>
                </c:pt>
                <c:pt idx="12135">
                  <c:v>41</c:v>
                </c:pt>
                <c:pt idx="12136">
                  <c:v>19697</c:v>
                </c:pt>
                <c:pt idx="12137">
                  <c:v>2427</c:v>
                </c:pt>
                <c:pt idx="12138">
                  <c:v>10479</c:v>
                </c:pt>
                <c:pt idx="12139">
                  <c:v>755</c:v>
                </c:pt>
                <c:pt idx="12140">
                  <c:v>1266</c:v>
                </c:pt>
                <c:pt idx="12141">
                  <c:v>15179</c:v>
                </c:pt>
                <c:pt idx="12142">
                  <c:v>35973</c:v>
                </c:pt>
                <c:pt idx="12143">
                  <c:v>7200</c:v>
                </c:pt>
                <c:pt idx="12144">
                  <c:v>179</c:v>
                </c:pt>
                <c:pt idx="12145">
                  <c:v>79</c:v>
                </c:pt>
                <c:pt idx="12146">
                  <c:v>971</c:v>
                </c:pt>
                <c:pt idx="12147">
                  <c:v>27589</c:v>
                </c:pt>
                <c:pt idx="12148">
                  <c:v>1608</c:v>
                </c:pt>
                <c:pt idx="12149">
                  <c:v>1070</c:v>
                </c:pt>
                <c:pt idx="12150">
                  <c:v>996</c:v>
                </c:pt>
                <c:pt idx="12151">
                  <c:v>8847</c:v>
                </c:pt>
                <c:pt idx="12152">
                  <c:v>9407</c:v>
                </c:pt>
                <c:pt idx="12153">
                  <c:v>60</c:v>
                </c:pt>
                <c:pt idx="12154">
                  <c:v>2365</c:v>
                </c:pt>
                <c:pt idx="12155">
                  <c:v>169</c:v>
                </c:pt>
                <c:pt idx="12156">
                  <c:v>868</c:v>
                </c:pt>
                <c:pt idx="12157">
                  <c:v>4603</c:v>
                </c:pt>
                <c:pt idx="12158">
                  <c:v>22800</c:v>
                </c:pt>
                <c:pt idx="12159">
                  <c:v>851</c:v>
                </c:pt>
                <c:pt idx="12160">
                  <c:v>1154</c:v>
                </c:pt>
                <c:pt idx="12161">
                  <c:v>1013</c:v>
                </c:pt>
                <c:pt idx="12162">
                  <c:v>99</c:v>
                </c:pt>
                <c:pt idx="12163">
                  <c:v>282</c:v>
                </c:pt>
                <c:pt idx="12164">
                  <c:v>472</c:v>
                </c:pt>
                <c:pt idx="12165">
                  <c:v>1595</c:v>
                </c:pt>
                <c:pt idx="12166">
                  <c:v>998</c:v>
                </c:pt>
                <c:pt idx="12167">
                  <c:v>89</c:v>
                </c:pt>
                <c:pt idx="12168">
                  <c:v>187</c:v>
                </c:pt>
                <c:pt idx="12169">
                  <c:v>9237</c:v>
                </c:pt>
                <c:pt idx="12170">
                  <c:v>3445</c:v>
                </c:pt>
                <c:pt idx="12171">
                  <c:v>1061</c:v>
                </c:pt>
                <c:pt idx="12172">
                  <c:v>20073</c:v>
                </c:pt>
                <c:pt idx="12173">
                  <c:v>13936</c:v>
                </c:pt>
                <c:pt idx="12174">
                  <c:v>4063</c:v>
                </c:pt>
                <c:pt idx="12175">
                  <c:v>20779</c:v>
                </c:pt>
                <c:pt idx="12176">
                  <c:v>6160</c:v>
                </c:pt>
                <c:pt idx="12177">
                  <c:v>12852</c:v>
                </c:pt>
                <c:pt idx="12178">
                  <c:v>21738</c:v>
                </c:pt>
                <c:pt idx="12179">
                  <c:v>14959</c:v>
                </c:pt>
                <c:pt idx="12180">
                  <c:v>8006</c:v>
                </c:pt>
                <c:pt idx="12181">
                  <c:v>15313</c:v>
                </c:pt>
                <c:pt idx="12182">
                  <c:v>17143</c:v>
                </c:pt>
                <c:pt idx="12183">
                  <c:v>15249</c:v>
                </c:pt>
                <c:pt idx="12184">
                  <c:v>11797</c:v>
                </c:pt>
                <c:pt idx="12185">
                  <c:v>867</c:v>
                </c:pt>
                <c:pt idx="12186">
                  <c:v>13404</c:v>
                </c:pt>
                <c:pt idx="12187">
                  <c:v>16322</c:v>
                </c:pt>
                <c:pt idx="12188">
                  <c:v>18688</c:v>
                </c:pt>
                <c:pt idx="12189">
                  <c:v>1431</c:v>
                </c:pt>
                <c:pt idx="12190">
                  <c:v>10218</c:v>
                </c:pt>
                <c:pt idx="12191">
                  <c:v>20121</c:v>
                </c:pt>
                <c:pt idx="12192">
                  <c:v>9869</c:v>
                </c:pt>
                <c:pt idx="12193">
                  <c:v>27750</c:v>
                </c:pt>
                <c:pt idx="12194">
                  <c:v>26811</c:v>
                </c:pt>
                <c:pt idx="12195">
                  <c:v>32526</c:v>
                </c:pt>
                <c:pt idx="12196">
                  <c:v>11841</c:v>
                </c:pt>
                <c:pt idx="12197">
                  <c:v>22078</c:v>
                </c:pt>
                <c:pt idx="12198">
                  <c:v>23696</c:v>
                </c:pt>
                <c:pt idx="12199">
                  <c:v>4535</c:v>
                </c:pt>
                <c:pt idx="12200">
                  <c:v>20920</c:v>
                </c:pt>
                <c:pt idx="12201">
                  <c:v>1255</c:v>
                </c:pt>
                <c:pt idx="12202">
                  <c:v>8865</c:v>
                </c:pt>
                <c:pt idx="12203">
                  <c:v>1575</c:v>
                </c:pt>
                <c:pt idx="12204">
                  <c:v>3760</c:v>
                </c:pt>
                <c:pt idx="12205">
                  <c:v>3228</c:v>
                </c:pt>
                <c:pt idx="12206">
                  <c:v>65</c:v>
                </c:pt>
                <c:pt idx="12207">
                  <c:v>1770</c:v>
                </c:pt>
                <c:pt idx="12208">
                  <c:v>436</c:v>
                </c:pt>
                <c:pt idx="12209">
                  <c:v>566</c:v>
                </c:pt>
                <c:pt idx="12210">
                  <c:v>195</c:v>
                </c:pt>
                <c:pt idx="12211">
                  <c:v>170</c:v>
                </c:pt>
                <c:pt idx="12212">
                  <c:v>266</c:v>
                </c:pt>
                <c:pt idx="12213">
                  <c:v>1388</c:v>
                </c:pt>
                <c:pt idx="12214">
                  <c:v>5356</c:v>
                </c:pt>
                <c:pt idx="12215">
                  <c:v>33</c:v>
                </c:pt>
                <c:pt idx="12216">
                  <c:v>1693</c:v>
                </c:pt>
                <c:pt idx="12217">
                  <c:v>695</c:v>
                </c:pt>
                <c:pt idx="12218">
                  <c:v>414</c:v>
                </c:pt>
                <c:pt idx="12219">
                  <c:v>3171</c:v>
                </c:pt>
                <c:pt idx="12220">
                  <c:v>300</c:v>
                </c:pt>
                <c:pt idx="12221">
                  <c:v>5014</c:v>
                </c:pt>
                <c:pt idx="12222">
                  <c:v>986</c:v>
                </c:pt>
                <c:pt idx="12223">
                  <c:v>424</c:v>
                </c:pt>
                <c:pt idx="12224">
                  <c:v>1811</c:v>
                </c:pt>
                <c:pt idx="12225">
                  <c:v>494</c:v>
                </c:pt>
                <c:pt idx="12226">
                  <c:v>2882</c:v>
                </c:pt>
                <c:pt idx="12227">
                  <c:v>562</c:v>
                </c:pt>
                <c:pt idx="12228">
                  <c:v>607</c:v>
                </c:pt>
                <c:pt idx="12229">
                  <c:v>793</c:v>
                </c:pt>
                <c:pt idx="12230">
                  <c:v>106</c:v>
                </c:pt>
                <c:pt idx="12231">
                  <c:v>5242</c:v>
                </c:pt>
                <c:pt idx="12232">
                  <c:v>491</c:v>
                </c:pt>
                <c:pt idx="12233">
                  <c:v>1994</c:v>
                </c:pt>
                <c:pt idx="12234">
                  <c:v>1204</c:v>
                </c:pt>
                <c:pt idx="12235">
                  <c:v>323</c:v>
                </c:pt>
                <c:pt idx="12236">
                  <c:v>882</c:v>
                </c:pt>
                <c:pt idx="12237">
                  <c:v>17480</c:v>
                </c:pt>
                <c:pt idx="12238">
                  <c:v>633</c:v>
                </c:pt>
                <c:pt idx="12239">
                  <c:v>200</c:v>
                </c:pt>
                <c:pt idx="12240">
                  <c:v>108</c:v>
                </c:pt>
                <c:pt idx="12241">
                  <c:v>4784</c:v>
                </c:pt>
                <c:pt idx="12242">
                  <c:v>2060</c:v>
                </c:pt>
                <c:pt idx="12243">
                  <c:v>503</c:v>
                </c:pt>
                <c:pt idx="12244">
                  <c:v>1402</c:v>
                </c:pt>
                <c:pt idx="12245">
                  <c:v>13278</c:v>
                </c:pt>
                <c:pt idx="12246">
                  <c:v>2157</c:v>
                </c:pt>
                <c:pt idx="12247">
                  <c:v>2338</c:v>
                </c:pt>
                <c:pt idx="12248">
                  <c:v>532</c:v>
                </c:pt>
                <c:pt idx="12249">
                  <c:v>67</c:v>
                </c:pt>
                <c:pt idx="12250">
                  <c:v>493</c:v>
                </c:pt>
                <c:pt idx="12251">
                  <c:v>209</c:v>
                </c:pt>
                <c:pt idx="12252">
                  <c:v>113</c:v>
                </c:pt>
                <c:pt idx="12253">
                  <c:v>1819</c:v>
                </c:pt>
                <c:pt idx="12254">
                  <c:v>377</c:v>
                </c:pt>
                <c:pt idx="12255">
                  <c:v>950</c:v>
                </c:pt>
                <c:pt idx="12256">
                  <c:v>654</c:v>
                </c:pt>
                <c:pt idx="12257">
                  <c:v>16</c:v>
                </c:pt>
                <c:pt idx="12258">
                  <c:v>1654</c:v>
                </c:pt>
                <c:pt idx="12259">
                  <c:v>3868</c:v>
                </c:pt>
                <c:pt idx="12260">
                  <c:v>1821</c:v>
                </c:pt>
                <c:pt idx="12261">
                  <c:v>657</c:v>
                </c:pt>
                <c:pt idx="12262">
                  <c:v>6094</c:v>
                </c:pt>
                <c:pt idx="12263">
                  <c:v>269</c:v>
                </c:pt>
                <c:pt idx="12264">
                  <c:v>627</c:v>
                </c:pt>
                <c:pt idx="12265">
                  <c:v>173</c:v>
                </c:pt>
                <c:pt idx="12266">
                  <c:v>3420</c:v>
                </c:pt>
                <c:pt idx="12267">
                  <c:v>497</c:v>
                </c:pt>
                <c:pt idx="12268">
                  <c:v>208</c:v>
                </c:pt>
                <c:pt idx="12269">
                  <c:v>902</c:v>
                </c:pt>
                <c:pt idx="12270">
                  <c:v>2560</c:v>
                </c:pt>
                <c:pt idx="12271">
                  <c:v>1157</c:v>
                </c:pt>
                <c:pt idx="12272">
                  <c:v>68</c:v>
                </c:pt>
                <c:pt idx="12273">
                  <c:v>203</c:v>
                </c:pt>
                <c:pt idx="12274">
                  <c:v>1339</c:v>
                </c:pt>
                <c:pt idx="12275">
                  <c:v>319</c:v>
                </c:pt>
                <c:pt idx="12276">
                  <c:v>3200</c:v>
                </c:pt>
                <c:pt idx="12277">
                  <c:v>456</c:v>
                </c:pt>
                <c:pt idx="12278">
                  <c:v>46</c:v>
                </c:pt>
                <c:pt idx="12279">
                  <c:v>7206</c:v>
                </c:pt>
                <c:pt idx="12280">
                  <c:v>468</c:v>
                </c:pt>
                <c:pt idx="12281">
                  <c:v>13807</c:v>
                </c:pt>
                <c:pt idx="12282">
                  <c:v>3815</c:v>
                </c:pt>
                <c:pt idx="12283">
                  <c:v>1411</c:v>
                </c:pt>
                <c:pt idx="12284">
                  <c:v>1839</c:v>
                </c:pt>
                <c:pt idx="12285">
                  <c:v>1361</c:v>
                </c:pt>
                <c:pt idx="12286">
                  <c:v>187</c:v>
                </c:pt>
                <c:pt idx="12287">
                  <c:v>1362</c:v>
                </c:pt>
                <c:pt idx="12288">
                  <c:v>1750</c:v>
                </c:pt>
                <c:pt idx="12289">
                  <c:v>423</c:v>
                </c:pt>
                <c:pt idx="12290">
                  <c:v>583</c:v>
                </c:pt>
                <c:pt idx="12291">
                  <c:v>2641</c:v>
                </c:pt>
                <c:pt idx="12292">
                  <c:v>999</c:v>
                </c:pt>
                <c:pt idx="12293">
                  <c:v>8035</c:v>
                </c:pt>
                <c:pt idx="12294">
                  <c:v>144</c:v>
                </c:pt>
                <c:pt idx="12295">
                  <c:v>1845</c:v>
                </c:pt>
                <c:pt idx="12296">
                  <c:v>672</c:v>
                </c:pt>
                <c:pt idx="12297">
                  <c:v>813</c:v>
                </c:pt>
                <c:pt idx="12298">
                  <c:v>271</c:v>
                </c:pt>
                <c:pt idx="12299">
                  <c:v>135</c:v>
                </c:pt>
                <c:pt idx="12300">
                  <c:v>14491</c:v>
                </c:pt>
                <c:pt idx="12301">
                  <c:v>851</c:v>
                </c:pt>
                <c:pt idx="12302">
                  <c:v>62</c:v>
                </c:pt>
                <c:pt idx="12303">
                  <c:v>1978</c:v>
                </c:pt>
                <c:pt idx="12304">
                  <c:v>3436</c:v>
                </c:pt>
                <c:pt idx="12305">
                  <c:v>6718</c:v>
                </c:pt>
                <c:pt idx="12306">
                  <c:v>367</c:v>
                </c:pt>
                <c:pt idx="12307">
                  <c:v>441</c:v>
                </c:pt>
                <c:pt idx="12308">
                  <c:v>706</c:v>
                </c:pt>
                <c:pt idx="12309">
                  <c:v>21879</c:v>
                </c:pt>
                <c:pt idx="12310">
                  <c:v>248</c:v>
                </c:pt>
                <c:pt idx="12311">
                  <c:v>1062</c:v>
                </c:pt>
                <c:pt idx="12312">
                  <c:v>705</c:v>
                </c:pt>
                <c:pt idx="12313">
                  <c:v>1254</c:v>
                </c:pt>
                <c:pt idx="12314">
                  <c:v>6262</c:v>
                </c:pt>
                <c:pt idx="12315">
                  <c:v>15708</c:v>
                </c:pt>
                <c:pt idx="12316">
                  <c:v>228</c:v>
                </c:pt>
                <c:pt idx="12317">
                  <c:v>3657</c:v>
                </c:pt>
                <c:pt idx="12318">
                  <c:v>6123</c:v>
                </c:pt>
                <c:pt idx="12319">
                  <c:v>1412</c:v>
                </c:pt>
                <c:pt idx="12320">
                  <c:v>1480</c:v>
                </c:pt>
                <c:pt idx="12321">
                  <c:v>3465</c:v>
                </c:pt>
                <c:pt idx="12322">
                  <c:v>2867</c:v>
                </c:pt>
                <c:pt idx="12323">
                  <c:v>8634</c:v>
                </c:pt>
                <c:pt idx="12324">
                  <c:v>12254</c:v>
                </c:pt>
                <c:pt idx="12325">
                  <c:v>8818</c:v>
                </c:pt>
                <c:pt idx="12326">
                  <c:v>4684</c:v>
                </c:pt>
                <c:pt idx="12327">
                  <c:v>8587</c:v>
                </c:pt>
                <c:pt idx="12328">
                  <c:v>1599</c:v>
                </c:pt>
                <c:pt idx="12329">
                  <c:v>7996</c:v>
                </c:pt>
                <c:pt idx="12330">
                  <c:v>13127</c:v>
                </c:pt>
                <c:pt idx="12331">
                  <c:v>16112</c:v>
                </c:pt>
                <c:pt idx="12332">
                  <c:v>14060</c:v>
                </c:pt>
                <c:pt idx="12333">
                  <c:v>18464</c:v>
                </c:pt>
                <c:pt idx="12334">
                  <c:v>9735</c:v>
                </c:pt>
                <c:pt idx="12335">
                  <c:v>4149</c:v>
                </c:pt>
                <c:pt idx="12336">
                  <c:v>3939</c:v>
                </c:pt>
                <c:pt idx="12337">
                  <c:v>1693</c:v>
                </c:pt>
                <c:pt idx="12338">
                  <c:v>10340</c:v>
                </c:pt>
                <c:pt idx="12339">
                  <c:v>24462</c:v>
                </c:pt>
                <c:pt idx="12340">
                  <c:v>3009</c:v>
                </c:pt>
                <c:pt idx="12341">
                  <c:v>582</c:v>
                </c:pt>
                <c:pt idx="12342">
                  <c:v>72</c:v>
                </c:pt>
                <c:pt idx="12343">
                  <c:v>1271</c:v>
                </c:pt>
                <c:pt idx="12344">
                  <c:v>1074</c:v>
                </c:pt>
                <c:pt idx="12345">
                  <c:v>483</c:v>
                </c:pt>
                <c:pt idx="12346">
                  <c:v>327</c:v>
                </c:pt>
                <c:pt idx="12347">
                  <c:v>1923</c:v>
                </c:pt>
                <c:pt idx="12348">
                  <c:v>2526</c:v>
                </c:pt>
                <c:pt idx="12349">
                  <c:v>8580</c:v>
                </c:pt>
                <c:pt idx="12350">
                  <c:v>574</c:v>
                </c:pt>
                <c:pt idx="12351">
                  <c:v>504</c:v>
                </c:pt>
                <c:pt idx="12352">
                  <c:v>1244</c:v>
                </c:pt>
                <c:pt idx="12353">
                  <c:v>2041</c:v>
                </c:pt>
                <c:pt idx="12354">
                  <c:v>540</c:v>
                </c:pt>
                <c:pt idx="12355">
                  <c:v>831</c:v>
                </c:pt>
                <c:pt idx="12356">
                  <c:v>53</c:v>
                </c:pt>
                <c:pt idx="12357">
                  <c:v>1468</c:v>
                </c:pt>
                <c:pt idx="12358">
                  <c:v>116</c:v>
                </c:pt>
                <c:pt idx="12359">
                  <c:v>311</c:v>
                </c:pt>
                <c:pt idx="12360">
                  <c:v>510</c:v>
                </c:pt>
                <c:pt idx="12361">
                  <c:v>1108</c:v>
                </c:pt>
                <c:pt idx="12362">
                  <c:v>700</c:v>
                </c:pt>
                <c:pt idx="12363">
                  <c:v>556</c:v>
                </c:pt>
                <c:pt idx="12364">
                  <c:v>605</c:v>
                </c:pt>
                <c:pt idx="12365">
                  <c:v>2051</c:v>
                </c:pt>
                <c:pt idx="12366">
                  <c:v>1132</c:v>
                </c:pt>
                <c:pt idx="12367">
                  <c:v>541</c:v>
                </c:pt>
                <c:pt idx="12368">
                  <c:v>2614</c:v>
                </c:pt>
                <c:pt idx="12369">
                  <c:v>2912</c:v>
                </c:pt>
                <c:pt idx="12370">
                  <c:v>505</c:v>
                </c:pt>
                <c:pt idx="12371">
                  <c:v>599</c:v>
                </c:pt>
                <c:pt idx="12372">
                  <c:v>247</c:v>
                </c:pt>
                <c:pt idx="12373">
                  <c:v>917</c:v>
                </c:pt>
                <c:pt idx="12374">
                  <c:v>816</c:v>
                </c:pt>
                <c:pt idx="12375">
                  <c:v>982</c:v>
                </c:pt>
                <c:pt idx="12376">
                  <c:v>1975</c:v>
                </c:pt>
                <c:pt idx="12377">
                  <c:v>488</c:v>
                </c:pt>
                <c:pt idx="12378">
                  <c:v>268</c:v>
                </c:pt>
                <c:pt idx="12379">
                  <c:v>716</c:v>
                </c:pt>
                <c:pt idx="12380">
                  <c:v>326</c:v>
                </c:pt>
                <c:pt idx="12381">
                  <c:v>2136</c:v>
                </c:pt>
                <c:pt idx="12382">
                  <c:v>1280</c:v>
                </c:pt>
                <c:pt idx="12383">
                  <c:v>205</c:v>
                </c:pt>
                <c:pt idx="12384">
                  <c:v>1650</c:v>
                </c:pt>
                <c:pt idx="12385">
                  <c:v>580</c:v>
                </c:pt>
                <c:pt idx="12386">
                  <c:v>1697</c:v>
                </c:pt>
                <c:pt idx="12387">
                  <c:v>240</c:v>
                </c:pt>
                <c:pt idx="12388">
                  <c:v>7427</c:v>
                </c:pt>
                <c:pt idx="12389">
                  <c:v>2124</c:v>
                </c:pt>
                <c:pt idx="12390">
                  <c:v>1865</c:v>
                </c:pt>
                <c:pt idx="12391">
                  <c:v>1774</c:v>
                </c:pt>
                <c:pt idx="12392">
                  <c:v>3108</c:v>
                </c:pt>
                <c:pt idx="12393">
                  <c:v>3061</c:v>
                </c:pt>
                <c:pt idx="12394">
                  <c:v>89</c:v>
                </c:pt>
                <c:pt idx="12395">
                  <c:v>52</c:v>
                </c:pt>
                <c:pt idx="12396">
                  <c:v>771</c:v>
                </c:pt>
                <c:pt idx="12397">
                  <c:v>447</c:v>
                </c:pt>
                <c:pt idx="12398">
                  <c:v>395</c:v>
                </c:pt>
                <c:pt idx="12399">
                  <c:v>1865</c:v>
                </c:pt>
                <c:pt idx="12400">
                  <c:v>2118</c:v>
                </c:pt>
                <c:pt idx="12401">
                  <c:v>826</c:v>
                </c:pt>
                <c:pt idx="12402">
                  <c:v>867</c:v>
                </c:pt>
                <c:pt idx="12403">
                  <c:v>3308</c:v>
                </c:pt>
                <c:pt idx="12404">
                  <c:v>1943</c:v>
                </c:pt>
                <c:pt idx="12405">
                  <c:v>409</c:v>
                </c:pt>
                <c:pt idx="12406">
                  <c:v>1533</c:v>
                </c:pt>
                <c:pt idx="12407">
                  <c:v>2589</c:v>
                </c:pt>
                <c:pt idx="12408">
                  <c:v>585</c:v>
                </c:pt>
                <c:pt idx="12409">
                  <c:v>499</c:v>
                </c:pt>
                <c:pt idx="12410">
                  <c:v>1141</c:v>
                </c:pt>
                <c:pt idx="12411">
                  <c:v>9230</c:v>
                </c:pt>
                <c:pt idx="12412">
                  <c:v>111</c:v>
                </c:pt>
                <c:pt idx="12413">
                  <c:v>495</c:v>
                </c:pt>
                <c:pt idx="12414">
                  <c:v>421</c:v>
                </c:pt>
                <c:pt idx="12415">
                  <c:v>631</c:v>
                </c:pt>
                <c:pt idx="12416">
                  <c:v>86</c:v>
                </c:pt>
                <c:pt idx="12417">
                  <c:v>3739</c:v>
                </c:pt>
                <c:pt idx="12418">
                  <c:v>2511</c:v>
                </c:pt>
                <c:pt idx="12419">
                  <c:v>121</c:v>
                </c:pt>
                <c:pt idx="12420">
                  <c:v>1360</c:v>
                </c:pt>
                <c:pt idx="12421">
                  <c:v>1193</c:v>
                </c:pt>
                <c:pt idx="12422">
                  <c:v>940</c:v>
                </c:pt>
                <c:pt idx="12423">
                  <c:v>1256</c:v>
                </c:pt>
                <c:pt idx="12424">
                  <c:v>593</c:v>
                </c:pt>
                <c:pt idx="12425">
                  <c:v>2517</c:v>
                </c:pt>
                <c:pt idx="12426">
                  <c:v>316</c:v>
                </c:pt>
                <c:pt idx="12427">
                  <c:v>6305</c:v>
                </c:pt>
                <c:pt idx="12428">
                  <c:v>7274</c:v>
                </c:pt>
                <c:pt idx="12429">
                  <c:v>5018</c:v>
                </c:pt>
                <c:pt idx="12430">
                  <c:v>155</c:v>
                </c:pt>
                <c:pt idx="12431">
                  <c:v>38</c:v>
                </c:pt>
                <c:pt idx="12432">
                  <c:v>605</c:v>
                </c:pt>
                <c:pt idx="12433">
                  <c:v>3915</c:v>
                </c:pt>
                <c:pt idx="12434">
                  <c:v>2779</c:v>
                </c:pt>
                <c:pt idx="12435">
                  <c:v>451</c:v>
                </c:pt>
                <c:pt idx="12436">
                  <c:v>867</c:v>
                </c:pt>
                <c:pt idx="12437">
                  <c:v>628</c:v>
                </c:pt>
                <c:pt idx="12438">
                  <c:v>1027</c:v>
                </c:pt>
                <c:pt idx="12439">
                  <c:v>129</c:v>
                </c:pt>
                <c:pt idx="12440">
                  <c:v>99</c:v>
                </c:pt>
                <c:pt idx="12441">
                  <c:v>849</c:v>
                </c:pt>
                <c:pt idx="12442">
                  <c:v>947</c:v>
                </c:pt>
                <c:pt idx="12443">
                  <c:v>10523</c:v>
                </c:pt>
                <c:pt idx="12444">
                  <c:v>1471</c:v>
                </c:pt>
                <c:pt idx="12445">
                  <c:v>12302</c:v>
                </c:pt>
                <c:pt idx="12446">
                  <c:v>6523</c:v>
                </c:pt>
                <c:pt idx="12447">
                  <c:v>616</c:v>
                </c:pt>
                <c:pt idx="12448">
                  <c:v>12142</c:v>
                </c:pt>
                <c:pt idx="12449">
                  <c:v>12364</c:v>
                </c:pt>
                <c:pt idx="12450">
                  <c:v>8883</c:v>
                </c:pt>
                <c:pt idx="12451">
                  <c:v>2874</c:v>
                </c:pt>
                <c:pt idx="12452">
                  <c:v>7756</c:v>
                </c:pt>
                <c:pt idx="12453">
                  <c:v>9538</c:v>
                </c:pt>
                <c:pt idx="12454">
                  <c:v>12175</c:v>
                </c:pt>
                <c:pt idx="12455">
                  <c:v>5384</c:v>
                </c:pt>
                <c:pt idx="12456">
                  <c:v>4536</c:v>
                </c:pt>
                <c:pt idx="12457">
                  <c:v>6035</c:v>
                </c:pt>
                <c:pt idx="12458">
                  <c:v>557</c:v>
                </c:pt>
                <c:pt idx="12459">
                  <c:v>28849</c:v>
                </c:pt>
                <c:pt idx="12460">
                  <c:v>16971</c:v>
                </c:pt>
                <c:pt idx="12461">
                  <c:v>1580</c:v>
                </c:pt>
                <c:pt idx="12462">
                  <c:v>6581</c:v>
                </c:pt>
                <c:pt idx="12463">
                  <c:v>5814</c:v>
                </c:pt>
                <c:pt idx="12464">
                  <c:v>435</c:v>
                </c:pt>
                <c:pt idx="12465">
                  <c:v>936</c:v>
                </c:pt>
                <c:pt idx="12466">
                  <c:v>4164</c:v>
                </c:pt>
                <c:pt idx="12467">
                  <c:v>921</c:v>
                </c:pt>
                <c:pt idx="12468">
                  <c:v>87</c:v>
                </c:pt>
                <c:pt idx="12469">
                  <c:v>3219</c:v>
                </c:pt>
                <c:pt idx="12470">
                  <c:v>10284</c:v>
                </c:pt>
                <c:pt idx="12471">
                  <c:v>9568</c:v>
                </c:pt>
                <c:pt idx="12472">
                  <c:v>6776</c:v>
                </c:pt>
                <c:pt idx="12473">
                  <c:v>7953</c:v>
                </c:pt>
                <c:pt idx="12474">
                  <c:v>6331</c:v>
                </c:pt>
                <c:pt idx="12475">
                  <c:v>9502</c:v>
                </c:pt>
                <c:pt idx="12476">
                  <c:v>30491</c:v>
                </c:pt>
                <c:pt idx="12477">
                  <c:v>6595</c:v>
                </c:pt>
                <c:pt idx="12478">
                  <c:v>804</c:v>
                </c:pt>
                <c:pt idx="12479">
                  <c:v>2210</c:v>
                </c:pt>
                <c:pt idx="12480">
                  <c:v>10056</c:v>
                </c:pt>
                <c:pt idx="12481">
                  <c:v>16142</c:v>
                </c:pt>
                <c:pt idx="12482">
                  <c:v>2850</c:v>
                </c:pt>
                <c:pt idx="12483">
                  <c:v>5044</c:v>
                </c:pt>
                <c:pt idx="12484">
                  <c:v>2420</c:v>
                </c:pt>
                <c:pt idx="12485">
                  <c:v>28191</c:v>
                </c:pt>
                <c:pt idx="12486">
                  <c:v>3495</c:v>
                </c:pt>
                <c:pt idx="12487">
                  <c:v>785</c:v>
                </c:pt>
                <c:pt idx="12488">
                  <c:v>1622</c:v>
                </c:pt>
                <c:pt idx="12489">
                  <c:v>1544</c:v>
                </c:pt>
                <c:pt idx="12490">
                  <c:v>1129</c:v>
                </c:pt>
                <c:pt idx="12491">
                  <c:v>11936</c:v>
                </c:pt>
                <c:pt idx="12492">
                  <c:v>7563</c:v>
                </c:pt>
                <c:pt idx="12493">
                  <c:v>4667</c:v>
                </c:pt>
                <c:pt idx="12494">
                  <c:v>9127</c:v>
                </c:pt>
                <c:pt idx="12495">
                  <c:v>478</c:v>
                </c:pt>
                <c:pt idx="12496">
                  <c:v>19173</c:v>
                </c:pt>
                <c:pt idx="12497">
                  <c:v>16785</c:v>
                </c:pt>
                <c:pt idx="12498">
                  <c:v>970</c:v>
                </c:pt>
                <c:pt idx="12499">
                  <c:v>18155</c:v>
                </c:pt>
                <c:pt idx="12500">
                  <c:v>4705</c:v>
                </c:pt>
                <c:pt idx="12501">
                  <c:v>5321</c:v>
                </c:pt>
                <c:pt idx="12502">
                  <c:v>12688</c:v>
                </c:pt>
                <c:pt idx="12503">
                  <c:v>9636</c:v>
                </c:pt>
                <c:pt idx="12504">
                  <c:v>30347</c:v>
                </c:pt>
                <c:pt idx="12505">
                  <c:v>7244</c:v>
                </c:pt>
                <c:pt idx="12506">
                  <c:v>17379</c:v>
                </c:pt>
                <c:pt idx="12507">
                  <c:v>6654</c:v>
                </c:pt>
                <c:pt idx="12508">
                  <c:v>20217</c:v>
                </c:pt>
                <c:pt idx="12509">
                  <c:v>10683</c:v>
                </c:pt>
                <c:pt idx="12510">
                  <c:v>3658</c:v>
                </c:pt>
                <c:pt idx="12511">
                  <c:v>3286</c:v>
                </c:pt>
                <c:pt idx="12512">
                  <c:v>10785</c:v>
                </c:pt>
                <c:pt idx="12513">
                  <c:v>4129</c:v>
                </c:pt>
                <c:pt idx="12514">
                  <c:v>20067</c:v>
                </c:pt>
                <c:pt idx="12515">
                  <c:v>5981</c:v>
                </c:pt>
                <c:pt idx="12516">
                  <c:v>14748</c:v>
                </c:pt>
                <c:pt idx="12517">
                  <c:v>16228</c:v>
                </c:pt>
                <c:pt idx="12518">
                  <c:v>16928</c:v>
                </c:pt>
                <c:pt idx="12519">
                  <c:v>9148</c:v>
                </c:pt>
                <c:pt idx="12520">
                  <c:v>20972</c:v>
                </c:pt>
                <c:pt idx="12521">
                  <c:v>13450</c:v>
                </c:pt>
                <c:pt idx="12522">
                  <c:v>9655</c:v>
                </c:pt>
                <c:pt idx="12523">
                  <c:v>1569</c:v>
                </c:pt>
                <c:pt idx="12524">
                  <c:v>11417</c:v>
                </c:pt>
                <c:pt idx="12525">
                  <c:v>15097</c:v>
                </c:pt>
                <c:pt idx="12526">
                  <c:v>25103</c:v>
                </c:pt>
                <c:pt idx="12527">
                  <c:v>10130</c:v>
                </c:pt>
                <c:pt idx="12528">
                  <c:v>6467</c:v>
                </c:pt>
                <c:pt idx="12529">
                  <c:v>16694</c:v>
                </c:pt>
                <c:pt idx="12530">
                  <c:v>18664</c:v>
                </c:pt>
                <c:pt idx="12531">
                  <c:v>11931</c:v>
                </c:pt>
                <c:pt idx="12532">
                  <c:v>13329</c:v>
                </c:pt>
                <c:pt idx="12533">
                  <c:v>10693</c:v>
                </c:pt>
                <c:pt idx="12534">
                  <c:v>11288</c:v>
                </c:pt>
                <c:pt idx="12535">
                  <c:v>12630</c:v>
                </c:pt>
                <c:pt idx="12536">
                  <c:v>8118</c:v>
                </c:pt>
                <c:pt idx="12537">
                  <c:v>6775</c:v>
                </c:pt>
                <c:pt idx="12538">
                  <c:v>8831</c:v>
                </c:pt>
                <c:pt idx="12539">
                  <c:v>11812</c:v>
                </c:pt>
                <c:pt idx="12540">
                  <c:v>10542</c:v>
                </c:pt>
                <c:pt idx="12541">
                  <c:v>16845</c:v>
                </c:pt>
                <c:pt idx="12542">
                  <c:v>13952</c:v>
                </c:pt>
                <c:pt idx="12543">
                  <c:v>10448</c:v>
                </c:pt>
                <c:pt idx="12544">
                  <c:v>10196</c:v>
                </c:pt>
                <c:pt idx="12545">
                  <c:v>3446</c:v>
                </c:pt>
                <c:pt idx="12546">
                  <c:v>11095</c:v>
                </c:pt>
                <c:pt idx="12547">
                  <c:v>17700</c:v>
                </c:pt>
                <c:pt idx="12548">
                  <c:v>24851</c:v>
                </c:pt>
                <c:pt idx="12549">
                  <c:v>1200</c:v>
                </c:pt>
                <c:pt idx="12550">
                  <c:v>1319</c:v>
                </c:pt>
                <c:pt idx="12551">
                  <c:v>4831</c:v>
                </c:pt>
                <c:pt idx="12552">
                  <c:v>1560</c:v>
                </c:pt>
                <c:pt idx="12553">
                  <c:v>16363</c:v>
                </c:pt>
                <c:pt idx="12554">
                  <c:v>9769</c:v>
                </c:pt>
                <c:pt idx="12555">
                  <c:v>19986</c:v>
                </c:pt>
                <c:pt idx="12556">
                  <c:v>3931</c:v>
                </c:pt>
                <c:pt idx="12557">
                  <c:v>4218</c:v>
                </c:pt>
                <c:pt idx="12558">
                  <c:v>3875</c:v>
                </c:pt>
                <c:pt idx="12559">
                  <c:v>1870</c:v>
                </c:pt>
                <c:pt idx="12560">
                  <c:v>710</c:v>
                </c:pt>
                <c:pt idx="12561">
                  <c:v>12724</c:v>
                </c:pt>
                <c:pt idx="12562">
                  <c:v>20546</c:v>
                </c:pt>
                <c:pt idx="12563">
                  <c:v>9189</c:v>
                </c:pt>
                <c:pt idx="12564">
                  <c:v>643</c:v>
                </c:pt>
                <c:pt idx="12565">
                  <c:v>464</c:v>
                </c:pt>
                <c:pt idx="12566">
                  <c:v>1746</c:v>
                </c:pt>
                <c:pt idx="12567">
                  <c:v>2447</c:v>
                </c:pt>
                <c:pt idx="12568">
                  <c:v>4215</c:v>
                </c:pt>
                <c:pt idx="12569">
                  <c:v>33474</c:v>
                </c:pt>
                <c:pt idx="12570">
                  <c:v>6371</c:v>
                </c:pt>
                <c:pt idx="12571">
                  <c:v>2280</c:v>
                </c:pt>
                <c:pt idx="12572">
                  <c:v>1534</c:v>
                </c:pt>
                <c:pt idx="12573">
                  <c:v>15802</c:v>
                </c:pt>
                <c:pt idx="12574">
                  <c:v>3653</c:v>
                </c:pt>
                <c:pt idx="12575">
                  <c:v>3096</c:v>
                </c:pt>
                <c:pt idx="12576">
                  <c:v>3663</c:v>
                </c:pt>
                <c:pt idx="12577">
                  <c:v>1630</c:v>
                </c:pt>
                <c:pt idx="12578">
                  <c:v>945</c:v>
                </c:pt>
                <c:pt idx="12579">
                  <c:v>8882</c:v>
                </c:pt>
                <c:pt idx="12580">
                  <c:v>2829</c:v>
                </c:pt>
                <c:pt idx="12581">
                  <c:v>17017</c:v>
                </c:pt>
                <c:pt idx="12582">
                  <c:v>60</c:v>
                </c:pt>
                <c:pt idx="12583">
                  <c:v>3183</c:v>
                </c:pt>
                <c:pt idx="12584">
                  <c:v>3453</c:v>
                </c:pt>
                <c:pt idx="12585">
                  <c:v>1240</c:v>
                </c:pt>
                <c:pt idx="12586">
                  <c:v>6137</c:v>
                </c:pt>
                <c:pt idx="12587">
                  <c:v>2390</c:v>
                </c:pt>
                <c:pt idx="12588">
                  <c:v>4060</c:v>
                </c:pt>
                <c:pt idx="12589">
                  <c:v>1470</c:v>
                </c:pt>
                <c:pt idx="12590">
                  <c:v>9891</c:v>
                </c:pt>
                <c:pt idx="12591">
                  <c:v>8463</c:v>
                </c:pt>
                <c:pt idx="12592">
                  <c:v>2242</c:v>
                </c:pt>
                <c:pt idx="12593">
                  <c:v>893</c:v>
                </c:pt>
                <c:pt idx="12594">
                  <c:v>10465</c:v>
                </c:pt>
                <c:pt idx="12595">
                  <c:v>2332</c:v>
                </c:pt>
                <c:pt idx="12596">
                  <c:v>15238</c:v>
                </c:pt>
                <c:pt idx="12597">
                  <c:v>14890</c:v>
                </c:pt>
                <c:pt idx="12598">
                  <c:v>8876</c:v>
                </c:pt>
                <c:pt idx="12599">
                  <c:v>11638</c:v>
                </c:pt>
                <c:pt idx="12600">
                  <c:v>8015</c:v>
                </c:pt>
                <c:pt idx="12601">
                  <c:v>8769</c:v>
                </c:pt>
                <c:pt idx="12602">
                  <c:v>9407</c:v>
                </c:pt>
                <c:pt idx="12603">
                  <c:v>937</c:v>
                </c:pt>
                <c:pt idx="12604">
                  <c:v>1480</c:v>
                </c:pt>
                <c:pt idx="12605">
                  <c:v>1739</c:v>
                </c:pt>
                <c:pt idx="12606">
                  <c:v>639</c:v>
                </c:pt>
                <c:pt idx="12607">
                  <c:v>2940</c:v>
                </c:pt>
                <c:pt idx="12608">
                  <c:v>11094</c:v>
                </c:pt>
                <c:pt idx="12609">
                  <c:v>5328</c:v>
                </c:pt>
                <c:pt idx="12610">
                  <c:v>7963</c:v>
                </c:pt>
                <c:pt idx="12611">
                  <c:v>1109</c:v>
                </c:pt>
                <c:pt idx="12612">
                  <c:v>1410</c:v>
                </c:pt>
                <c:pt idx="12613">
                  <c:v>2994</c:v>
                </c:pt>
                <c:pt idx="12614">
                  <c:v>487</c:v>
                </c:pt>
                <c:pt idx="12615">
                  <c:v>326</c:v>
                </c:pt>
                <c:pt idx="12616">
                  <c:v>6606</c:v>
                </c:pt>
                <c:pt idx="12617">
                  <c:v>1153</c:v>
                </c:pt>
                <c:pt idx="12618">
                  <c:v>6460</c:v>
                </c:pt>
                <c:pt idx="12619">
                  <c:v>460</c:v>
                </c:pt>
                <c:pt idx="12620">
                  <c:v>1334</c:v>
                </c:pt>
                <c:pt idx="12621">
                  <c:v>1205</c:v>
                </c:pt>
                <c:pt idx="12622">
                  <c:v>1136</c:v>
                </c:pt>
                <c:pt idx="12623">
                  <c:v>2062</c:v>
                </c:pt>
                <c:pt idx="12624">
                  <c:v>4647</c:v>
                </c:pt>
                <c:pt idx="12625">
                  <c:v>1917</c:v>
                </c:pt>
                <c:pt idx="12626">
                  <c:v>1935</c:v>
                </c:pt>
                <c:pt idx="12627">
                  <c:v>2121</c:v>
                </c:pt>
                <c:pt idx="12628">
                  <c:v>204</c:v>
                </c:pt>
                <c:pt idx="12629">
                  <c:v>1924</c:v>
                </c:pt>
                <c:pt idx="12630">
                  <c:v>1052</c:v>
                </c:pt>
                <c:pt idx="12631">
                  <c:v>1661</c:v>
                </c:pt>
                <c:pt idx="12632">
                  <c:v>984</c:v>
                </c:pt>
                <c:pt idx="12633">
                  <c:v>4487</c:v>
                </c:pt>
                <c:pt idx="12634">
                  <c:v>1618</c:v>
                </c:pt>
                <c:pt idx="12635">
                  <c:v>8897</c:v>
                </c:pt>
                <c:pt idx="12636">
                  <c:v>690</c:v>
                </c:pt>
                <c:pt idx="12637">
                  <c:v>654</c:v>
                </c:pt>
                <c:pt idx="12638">
                  <c:v>1239</c:v>
                </c:pt>
                <c:pt idx="12639">
                  <c:v>1374</c:v>
                </c:pt>
                <c:pt idx="12640">
                  <c:v>311</c:v>
                </c:pt>
                <c:pt idx="12641">
                  <c:v>597</c:v>
                </c:pt>
                <c:pt idx="12642">
                  <c:v>12291</c:v>
                </c:pt>
                <c:pt idx="12643">
                  <c:v>1836</c:v>
                </c:pt>
                <c:pt idx="12644">
                  <c:v>4908</c:v>
                </c:pt>
                <c:pt idx="12645">
                  <c:v>2135</c:v>
                </c:pt>
                <c:pt idx="12646">
                  <c:v>3613</c:v>
                </c:pt>
                <c:pt idx="12647">
                  <c:v>9478</c:v>
                </c:pt>
                <c:pt idx="12648">
                  <c:v>9086</c:v>
                </c:pt>
                <c:pt idx="12649">
                  <c:v>5457</c:v>
                </c:pt>
                <c:pt idx="12650">
                  <c:v>334</c:v>
                </c:pt>
                <c:pt idx="12651">
                  <c:v>1414</c:v>
                </c:pt>
                <c:pt idx="12652">
                  <c:v>3231</c:v>
                </c:pt>
                <c:pt idx="12653">
                  <c:v>1876</c:v>
                </c:pt>
                <c:pt idx="12654">
                  <c:v>5139</c:v>
                </c:pt>
                <c:pt idx="12655">
                  <c:v>716</c:v>
                </c:pt>
                <c:pt idx="12656">
                  <c:v>1333</c:v>
                </c:pt>
                <c:pt idx="12657">
                  <c:v>4586</c:v>
                </c:pt>
                <c:pt idx="12658">
                  <c:v>679</c:v>
                </c:pt>
                <c:pt idx="12659">
                  <c:v>9236</c:v>
                </c:pt>
                <c:pt idx="12660">
                  <c:v>15988</c:v>
                </c:pt>
                <c:pt idx="12661">
                  <c:v>10545</c:v>
                </c:pt>
                <c:pt idx="12662">
                  <c:v>14206</c:v>
                </c:pt>
                <c:pt idx="12663">
                  <c:v>14806</c:v>
                </c:pt>
                <c:pt idx="12664">
                  <c:v>3646</c:v>
                </c:pt>
                <c:pt idx="12665">
                  <c:v>1035</c:v>
                </c:pt>
                <c:pt idx="12666">
                  <c:v>1735</c:v>
                </c:pt>
                <c:pt idx="12667">
                  <c:v>117</c:v>
                </c:pt>
                <c:pt idx="12668">
                  <c:v>1223</c:v>
                </c:pt>
                <c:pt idx="12669">
                  <c:v>2887</c:v>
                </c:pt>
                <c:pt idx="12670">
                  <c:v>713</c:v>
                </c:pt>
                <c:pt idx="12671">
                  <c:v>6637</c:v>
                </c:pt>
                <c:pt idx="12672">
                  <c:v>4228</c:v>
                </c:pt>
                <c:pt idx="12673">
                  <c:v>3180</c:v>
                </c:pt>
                <c:pt idx="12674">
                  <c:v>828</c:v>
                </c:pt>
                <c:pt idx="12675">
                  <c:v>1930</c:v>
                </c:pt>
                <c:pt idx="12676">
                  <c:v>8368</c:v>
                </c:pt>
                <c:pt idx="12677">
                  <c:v>2860</c:v>
                </c:pt>
                <c:pt idx="12678">
                  <c:v>683</c:v>
                </c:pt>
                <c:pt idx="12679">
                  <c:v>1226</c:v>
                </c:pt>
                <c:pt idx="12680">
                  <c:v>3160</c:v>
                </c:pt>
                <c:pt idx="12681">
                  <c:v>568</c:v>
                </c:pt>
                <c:pt idx="12682">
                  <c:v>1536</c:v>
                </c:pt>
                <c:pt idx="12683">
                  <c:v>4860</c:v>
                </c:pt>
                <c:pt idx="12684">
                  <c:v>873</c:v>
                </c:pt>
                <c:pt idx="12685">
                  <c:v>935</c:v>
                </c:pt>
                <c:pt idx="12686">
                  <c:v>1116</c:v>
                </c:pt>
                <c:pt idx="12687">
                  <c:v>486</c:v>
                </c:pt>
                <c:pt idx="12688">
                  <c:v>72</c:v>
                </c:pt>
                <c:pt idx="12689">
                  <c:v>110</c:v>
                </c:pt>
                <c:pt idx="12690">
                  <c:v>9562</c:v>
                </c:pt>
                <c:pt idx="12691">
                  <c:v>1401</c:v>
                </c:pt>
                <c:pt idx="12692">
                  <c:v>2060</c:v>
                </c:pt>
                <c:pt idx="12693">
                  <c:v>1462</c:v>
                </c:pt>
                <c:pt idx="12694">
                  <c:v>22468</c:v>
                </c:pt>
                <c:pt idx="12695">
                  <c:v>9228</c:v>
                </c:pt>
                <c:pt idx="12696">
                  <c:v>438</c:v>
                </c:pt>
                <c:pt idx="12697">
                  <c:v>259</c:v>
                </c:pt>
                <c:pt idx="12698">
                  <c:v>320</c:v>
                </c:pt>
                <c:pt idx="12699">
                  <c:v>8907</c:v>
                </c:pt>
                <c:pt idx="12700">
                  <c:v>1097</c:v>
                </c:pt>
                <c:pt idx="12701">
                  <c:v>4564</c:v>
                </c:pt>
                <c:pt idx="12702">
                  <c:v>90</c:v>
                </c:pt>
                <c:pt idx="12703">
                  <c:v>163</c:v>
                </c:pt>
                <c:pt idx="12704">
                  <c:v>4523</c:v>
                </c:pt>
                <c:pt idx="12705">
                  <c:v>11827</c:v>
                </c:pt>
                <c:pt idx="12706">
                  <c:v>1492</c:v>
                </c:pt>
                <c:pt idx="12707">
                  <c:v>6351</c:v>
                </c:pt>
                <c:pt idx="12708">
                  <c:v>958</c:v>
                </c:pt>
                <c:pt idx="12709">
                  <c:v>1723</c:v>
                </c:pt>
                <c:pt idx="12710">
                  <c:v>850</c:v>
                </c:pt>
                <c:pt idx="12711">
                  <c:v>2257</c:v>
                </c:pt>
                <c:pt idx="12712">
                  <c:v>987</c:v>
                </c:pt>
                <c:pt idx="12713">
                  <c:v>151</c:v>
                </c:pt>
                <c:pt idx="12714">
                  <c:v>1959</c:v>
                </c:pt>
                <c:pt idx="12715">
                  <c:v>4415</c:v>
                </c:pt>
                <c:pt idx="12716">
                  <c:v>706</c:v>
                </c:pt>
                <c:pt idx="12717">
                  <c:v>3608</c:v>
                </c:pt>
                <c:pt idx="12718">
                  <c:v>13653</c:v>
                </c:pt>
                <c:pt idx="12719">
                  <c:v>91</c:v>
                </c:pt>
                <c:pt idx="12720">
                  <c:v>1181</c:v>
                </c:pt>
                <c:pt idx="12721">
                  <c:v>238</c:v>
                </c:pt>
                <c:pt idx="12722">
                  <c:v>21493</c:v>
                </c:pt>
                <c:pt idx="12723">
                  <c:v>408</c:v>
                </c:pt>
                <c:pt idx="12724">
                  <c:v>93</c:v>
                </c:pt>
                <c:pt idx="12725">
                  <c:v>158</c:v>
                </c:pt>
                <c:pt idx="12726">
                  <c:v>3403</c:v>
                </c:pt>
                <c:pt idx="12727">
                  <c:v>1181</c:v>
                </c:pt>
                <c:pt idx="12728">
                  <c:v>7018</c:v>
                </c:pt>
                <c:pt idx="12729">
                  <c:v>7895</c:v>
                </c:pt>
                <c:pt idx="12730">
                  <c:v>3418</c:v>
                </c:pt>
                <c:pt idx="12731">
                  <c:v>11947</c:v>
                </c:pt>
                <c:pt idx="12732">
                  <c:v>9154</c:v>
                </c:pt>
                <c:pt idx="12733">
                  <c:v>3702</c:v>
                </c:pt>
                <c:pt idx="12734">
                  <c:v>4546</c:v>
                </c:pt>
                <c:pt idx="12735">
                  <c:v>6141</c:v>
                </c:pt>
                <c:pt idx="12736">
                  <c:v>20521</c:v>
                </c:pt>
                <c:pt idx="12737">
                  <c:v>7059</c:v>
                </c:pt>
                <c:pt idx="12738">
                  <c:v>2881</c:v>
                </c:pt>
                <c:pt idx="12739">
                  <c:v>474</c:v>
                </c:pt>
                <c:pt idx="12740">
                  <c:v>669</c:v>
                </c:pt>
                <c:pt idx="12741">
                  <c:v>15225</c:v>
                </c:pt>
                <c:pt idx="12742">
                  <c:v>1093</c:v>
                </c:pt>
                <c:pt idx="12743">
                  <c:v>6262</c:v>
                </c:pt>
                <c:pt idx="12744">
                  <c:v>3657</c:v>
                </c:pt>
                <c:pt idx="12745">
                  <c:v>1166</c:v>
                </c:pt>
                <c:pt idx="12746">
                  <c:v>358</c:v>
                </c:pt>
                <c:pt idx="12747">
                  <c:v>849</c:v>
                </c:pt>
                <c:pt idx="12748">
                  <c:v>1117</c:v>
                </c:pt>
                <c:pt idx="12749">
                  <c:v>7887</c:v>
                </c:pt>
                <c:pt idx="12750">
                  <c:v>1390</c:v>
                </c:pt>
                <c:pt idx="12751">
                  <c:v>1712</c:v>
                </c:pt>
                <c:pt idx="12752">
                  <c:v>45</c:v>
                </c:pt>
                <c:pt idx="12753">
                  <c:v>772</c:v>
                </c:pt>
                <c:pt idx="12754">
                  <c:v>2956</c:v>
                </c:pt>
                <c:pt idx="12755">
                  <c:v>7691</c:v>
                </c:pt>
                <c:pt idx="12756">
                  <c:v>7544</c:v>
                </c:pt>
                <c:pt idx="12757">
                  <c:v>1207</c:v>
                </c:pt>
                <c:pt idx="12758">
                  <c:v>1787</c:v>
                </c:pt>
                <c:pt idx="12759">
                  <c:v>81</c:v>
                </c:pt>
                <c:pt idx="12760">
                  <c:v>5465</c:v>
                </c:pt>
                <c:pt idx="12761">
                  <c:v>1458</c:v>
                </c:pt>
                <c:pt idx="12762">
                  <c:v>340</c:v>
                </c:pt>
                <c:pt idx="12763">
                  <c:v>2384</c:v>
                </c:pt>
                <c:pt idx="12764">
                  <c:v>1319</c:v>
                </c:pt>
                <c:pt idx="12765">
                  <c:v>329</c:v>
                </c:pt>
                <c:pt idx="12766">
                  <c:v>1556</c:v>
                </c:pt>
                <c:pt idx="12767">
                  <c:v>1717</c:v>
                </c:pt>
                <c:pt idx="12768">
                  <c:v>1247</c:v>
                </c:pt>
                <c:pt idx="12769">
                  <c:v>2381</c:v>
                </c:pt>
                <c:pt idx="12770">
                  <c:v>821</c:v>
                </c:pt>
                <c:pt idx="12771">
                  <c:v>684</c:v>
                </c:pt>
                <c:pt idx="12772">
                  <c:v>582</c:v>
                </c:pt>
                <c:pt idx="12773">
                  <c:v>43</c:v>
                </c:pt>
                <c:pt idx="12774">
                  <c:v>11021</c:v>
                </c:pt>
                <c:pt idx="12775">
                  <c:v>1199</c:v>
                </c:pt>
                <c:pt idx="12776">
                  <c:v>1418</c:v>
                </c:pt>
                <c:pt idx="12777">
                  <c:v>1352</c:v>
                </c:pt>
                <c:pt idx="12778">
                  <c:v>877</c:v>
                </c:pt>
                <c:pt idx="12779">
                  <c:v>1273</c:v>
                </c:pt>
                <c:pt idx="12780">
                  <c:v>18605</c:v>
                </c:pt>
                <c:pt idx="12781">
                  <c:v>132</c:v>
                </c:pt>
                <c:pt idx="12782">
                  <c:v>6256</c:v>
                </c:pt>
                <c:pt idx="12783">
                  <c:v>1276</c:v>
                </c:pt>
                <c:pt idx="12784">
                  <c:v>126</c:v>
                </c:pt>
                <c:pt idx="12785">
                  <c:v>1452</c:v>
                </c:pt>
                <c:pt idx="12786">
                  <c:v>56</c:v>
                </c:pt>
                <c:pt idx="12787">
                  <c:v>1252</c:v>
                </c:pt>
                <c:pt idx="12788">
                  <c:v>13570</c:v>
                </c:pt>
                <c:pt idx="12789">
                  <c:v>412</c:v>
                </c:pt>
                <c:pt idx="12790">
                  <c:v>3387</c:v>
                </c:pt>
                <c:pt idx="12791">
                  <c:v>4462</c:v>
                </c:pt>
                <c:pt idx="12792">
                  <c:v>1529</c:v>
                </c:pt>
                <c:pt idx="12793">
                  <c:v>11354</c:v>
                </c:pt>
                <c:pt idx="12794">
                  <c:v>6793</c:v>
                </c:pt>
                <c:pt idx="12795">
                  <c:v>5335</c:v>
                </c:pt>
                <c:pt idx="12796">
                  <c:v>6820</c:v>
                </c:pt>
                <c:pt idx="12797">
                  <c:v>6945</c:v>
                </c:pt>
                <c:pt idx="12798">
                  <c:v>385</c:v>
                </c:pt>
                <c:pt idx="12799">
                  <c:v>6531</c:v>
                </c:pt>
                <c:pt idx="12800">
                  <c:v>218</c:v>
                </c:pt>
                <c:pt idx="12801">
                  <c:v>14996</c:v>
                </c:pt>
                <c:pt idx="12802">
                  <c:v>35334</c:v>
                </c:pt>
                <c:pt idx="12803">
                  <c:v>24703</c:v>
                </c:pt>
                <c:pt idx="12804">
                  <c:v>22956</c:v>
                </c:pt>
                <c:pt idx="12805">
                  <c:v>5204</c:v>
                </c:pt>
                <c:pt idx="12806">
                  <c:v>11800</c:v>
                </c:pt>
                <c:pt idx="12807">
                  <c:v>357</c:v>
                </c:pt>
                <c:pt idx="12808">
                  <c:v>168</c:v>
                </c:pt>
                <c:pt idx="12809">
                  <c:v>694</c:v>
                </c:pt>
                <c:pt idx="12810">
                  <c:v>17268</c:v>
                </c:pt>
                <c:pt idx="12811">
                  <c:v>14722</c:v>
                </c:pt>
                <c:pt idx="12812">
                  <c:v>28658</c:v>
                </c:pt>
                <c:pt idx="12813">
                  <c:v>12706</c:v>
                </c:pt>
                <c:pt idx="12814">
                  <c:v>24747</c:v>
                </c:pt>
                <c:pt idx="12815">
                  <c:v>6528</c:v>
                </c:pt>
                <c:pt idx="12816">
                  <c:v>1950</c:v>
                </c:pt>
                <c:pt idx="12817">
                  <c:v>1915</c:v>
                </c:pt>
                <c:pt idx="12818">
                  <c:v>2055</c:v>
                </c:pt>
                <c:pt idx="12819">
                  <c:v>11231</c:v>
                </c:pt>
                <c:pt idx="12820">
                  <c:v>278</c:v>
                </c:pt>
                <c:pt idx="12821">
                  <c:v>1794</c:v>
                </c:pt>
                <c:pt idx="12822">
                  <c:v>2987</c:v>
                </c:pt>
                <c:pt idx="12823">
                  <c:v>12720</c:v>
                </c:pt>
                <c:pt idx="12824">
                  <c:v>7164</c:v>
                </c:pt>
                <c:pt idx="12825">
                  <c:v>5686</c:v>
                </c:pt>
                <c:pt idx="12826">
                  <c:v>27357</c:v>
                </c:pt>
                <c:pt idx="12827">
                  <c:v>54</c:v>
                </c:pt>
                <c:pt idx="12828">
                  <c:v>564</c:v>
                </c:pt>
                <c:pt idx="12829">
                  <c:v>11937</c:v>
                </c:pt>
                <c:pt idx="12830">
                  <c:v>17684</c:v>
                </c:pt>
                <c:pt idx="12831">
                  <c:v>5405</c:v>
                </c:pt>
                <c:pt idx="12832">
                  <c:v>4304</c:v>
                </c:pt>
                <c:pt idx="12833">
                  <c:v>157</c:v>
                </c:pt>
                <c:pt idx="12834">
                  <c:v>13</c:v>
                </c:pt>
                <c:pt idx="12835">
                  <c:v>2108</c:v>
                </c:pt>
                <c:pt idx="12836">
                  <c:v>1904</c:v>
                </c:pt>
                <c:pt idx="12837">
                  <c:v>1062</c:v>
                </c:pt>
                <c:pt idx="12838">
                  <c:v>3253</c:v>
                </c:pt>
                <c:pt idx="12839">
                  <c:v>5320</c:v>
                </c:pt>
                <c:pt idx="12840">
                  <c:v>3938</c:v>
                </c:pt>
                <c:pt idx="12841">
                  <c:v>1835</c:v>
                </c:pt>
                <c:pt idx="12842">
                  <c:v>140</c:v>
                </c:pt>
                <c:pt idx="12843">
                  <c:v>9012</c:v>
                </c:pt>
                <c:pt idx="12844">
                  <c:v>2841</c:v>
                </c:pt>
                <c:pt idx="12845">
                  <c:v>28085</c:v>
                </c:pt>
                <c:pt idx="12846">
                  <c:v>1903</c:v>
                </c:pt>
                <c:pt idx="12847">
                  <c:v>1526</c:v>
                </c:pt>
                <c:pt idx="12848">
                  <c:v>641</c:v>
                </c:pt>
                <c:pt idx="12849">
                  <c:v>998</c:v>
                </c:pt>
                <c:pt idx="12850">
                  <c:v>16882</c:v>
                </c:pt>
                <c:pt idx="12851">
                  <c:v>6474</c:v>
                </c:pt>
                <c:pt idx="12852">
                  <c:v>778</c:v>
                </c:pt>
                <c:pt idx="12853">
                  <c:v>3802</c:v>
                </c:pt>
                <c:pt idx="12854">
                  <c:v>221</c:v>
                </c:pt>
                <c:pt idx="12855">
                  <c:v>4872</c:v>
                </c:pt>
                <c:pt idx="12856">
                  <c:v>393</c:v>
                </c:pt>
                <c:pt idx="12857">
                  <c:v>1731</c:v>
                </c:pt>
                <c:pt idx="12858">
                  <c:v>162</c:v>
                </c:pt>
                <c:pt idx="12859">
                  <c:v>1186</c:v>
                </c:pt>
                <c:pt idx="12860">
                  <c:v>121</c:v>
                </c:pt>
                <c:pt idx="12861">
                  <c:v>1553</c:v>
                </c:pt>
                <c:pt idx="12862">
                  <c:v>596</c:v>
                </c:pt>
                <c:pt idx="12863">
                  <c:v>2089</c:v>
                </c:pt>
                <c:pt idx="12864">
                  <c:v>1980</c:v>
                </c:pt>
                <c:pt idx="12865">
                  <c:v>131</c:v>
                </c:pt>
                <c:pt idx="12866">
                  <c:v>876</c:v>
                </c:pt>
                <c:pt idx="12867">
                  <c:v>4712</c:v>
                </c:pt>
                <c:pt idx="12868">
                  <c:v>10028</c:v>
                </c:pt>
                <c:pt idx="12869">
                  <c:v>9846</c:v>
                </c:pt>
                <c:pt idx="12870">
                  <c:v>1313</c:v>
                </c:pt>
                <c:pt idx="12871">
                  <c:v>2815</c:v>
                </c:pt>
                <c:pt idx="12872">
                  <c:v>6886</c:v>
                </c:pt>
                <c:pt idx="12873">
                  <c:v>5925</c:v>
                </c:pt>
                <c:pt idx="12874">
                  <c:v>3340</c:v>
                </c:pt>
                <c:pt idx="12875">
                  <c:v>10607</c:v>
                </c:pt>
                <c:pt idx="12876">
                  <c:v>7549</c:v>
                </c:pt>
                <c:pt idx="12877">
                  <c:v>17929</c:v>
                </c:pt>
                <c:pt idx="12878">
                  <c:v>12075</c:v>
                </c:pt>
                <c:pt idx="12879">
                  <c:v>6242</c:v>
                </c:pt>
                <c:pt idx="12880">
                  <c:v>3205</c:v>
                </c:pt>
                <c:pt idx="12881">
                  <c:v>14122</c:v>
                </c:pt>
                <c:pt idx="12882">
                  <c:v>4082</c:v>
                </c:pt>
                <c:pt idx="12883">
                  <c:v>3167</c:v>
                </c:pt>
                <c:pt idx="12884">
                  <c:v>1787</c:v>
                </c:pt>
                <c:pt idx="12885">
                  <c:v>10048</c:v>
                </c:pt>
                <c:pt idx="12886">
                  <c:v>8071</c:v>
                </c:pt>
                <c:pt idx="12887">
                  <c:v>6058</c:v>
                </c:pt>
                <c:pt idx="12888">
                  <c:v>9622</c:v>
                </c:pt>
                <c:pt idx="12889">
                  <c:v>2802</c:v>
                </c:pt>
                <c:pt idx="12890">
                  <c:v>4079</c:v>
                </c:pt>
                <c:pt idx="12891">
                  <c:v>10115</c:v>
                </c:pt>
                <c:pt idx="12892">
                  <c:v>5532</c:v>
                </c:pt>
                <c:pt idx="12893">
                  <c:v>14440</c:v>
                </c:pt>
                <c:pt idx="12894">
                  <c:v>19044</c:v>
                </c:pt>
                <c:pt idx="12895">
                  <c:v>2474</c:v>
                </c:pt>
                <c:pt idx="12896">
                  <c:v>7629</c:v>
                </c:pt>
                <c:pt idx="12897">
                  <c:v>13483</c:v>
                </c:pt>
                <c:pt idx="12898">
                  <c:v>9359</c:v>
                </c:pt>
                <c:pt idx="12899">
                  <c:v>24140</c:v>
                </c:pt>
                <c:pt idx="12900">
                  <c:v>14353</c:v>
                </c:pt>
                <c:pt idx="12901">
                  <c:v>13513</c:v>
                </c:pt>
                <c:pt idx="12902">
                  <c:v>11595</c:v>
                </c:pt>
                <c:pt idx="12903">
                  <c:v>10586</c:v>
                </c:pt>
                <c:pt idx="12904">
                  <c:v>7738</c:v>
                </c:pt>
                <c:pt idx="12905">
                  <c:v>13414</c:v>
                </c:pt>
                <c:pt idx="12906">
                  <c:v>10462</c:v>
                </c:pt>
                <c:pt idx="12907">
                  <c:v>6297</c:v>
                </c:pt>
                <c:pt idx="12908">
                  <c:v>11697</c:v>
                </c:pt>
                <c:pt idx="12909">
                  <c:v>12090</c:v>
                </c:pt>
                <c:pt idx="12910">
                  <c:v>6728</c:v>
                </c:pt>
                <c:pt idx="12911">
                  <c:v>10518</c:v>
                </c:pt>
                <c:pt idx="12912">
                  <c:v>2207</c:v>
                </c:pt>
                <c:pt idx="12913">
                  <c:v>10572</c:v>
                </c:pt>
                <c:pt idx="12914">
                  <c:v>2379</c:v>
                </c:pt>
                <c:pt idx="12915">
                  <c:v>1217</c:v>
                </c:pt>
                <c:pt idx="12916">
                  <c:v>3936</c:v>
                </c:pt>
                <c:pt idx="12917">
                  <c:v>118</c:v>
                </c:pt>
                <c:pt idx="12918">
                  <c:v>5639</c:v>
                </c:pt>
                <c:pt idx="12919">
                  <c:v>1153</c:v>
                </c:pt>
                <c:pt idx="12920">
                  <c:v>160</c:v>
                </c:pt>
                <c:pt idx="12921">
                  <c:v>2285</c:v>
                </c:pt>
                <c:pt idx="12922">
                  <c:v>4947</c:v>
                </c:pt>
                <c:pt idx="12923">
                  <c:v>137</c:v>
                </c:pt>
                <c:pt idx="12924">
                  <c:v>2786</c:v>
                </c:pt>
                <c:pt idx="12925">
                  <c:v>471</c:v>
                </c:pt>
                <c:pt idx="12926">
                  <c:v>2524</c:v>
                </c:pt>
                <c:pt idx="12927">
                  <c:v>2000</c:v>
                </c:pt>
                <c:pt idx="12928">
                  <c:v>90</c:v>
                </c:pt>
                <c:pt idx="12929">
                  <c:v>687</c:v>
                </c:pt>
                <c:pt idx="12930">
                  <c:v>2408</c:v>
                </c:pt>
                <c:pt idx="12931">
                  <c:v>141</c:v>
                </c:pt>
                <c:pt idx="12932">
                  <c:v>7257</c:v>
                </c:pt>
                <c:pt idx="12933">
                  <c:v>497</c:v>
                </c:pt>
                <c:pt idx="12934">
                  <c:v>10449</c:v>
                </c:pt>
                <c:pt idx="12935">
                  <c:v>2360</c:v>
                </c:pt>
                <c:pt idx="12936">
                  <c:v>20079</c:v>
                </c:pt>
                <c:pt idx="12937">
                  <c:v>1098</c:v>
                </c:pt>
                <c:pt idx="12938">
                  <c:v>761</c:v>
                </c:pt>
                <c:pt idx="12939">
                  <c:v>4195</c:v>
                </c:pt>
                <c:pt idx="12940">
                  <c:v>209</c:v>
                </c:pt>
                <c:pt idx="12941">
                  <c:v>404</c:v>
                </c:pt>
                <c:pt idx="12942">
                  <c:v>9848</c:v>
                </c:pt>
                <c:pt idx="12943">
                  <c:v>274</c:v>
                </c:pt>
                <c:pt idx="12944">
                  <c:v>771</c:v>
                </c:pt>
                <c:pt idx="12945">
                  <c:v>957</c:v>
                </c:pt>
                <c:pt idx="12946">
                  <c:v>3344</c:v>
                </c:pt>
                <c:pt idx="12947">
                  <c:v>53</c:v>
                </c:pt>
                <c:pt idx="12948">
                  <c:v>814</c:v>
                </c:pt>
                <c:pt idx="12949">
                  <c:v>2162</c:v>
                </c:pt>
                <c:pt idx="12950">
                  <c:v>564</c:v>
                </c:pt>
                <c:pt idx="12951">
                  <c:v>150</c:v>
                </c:pt>
                <c:pt idx="12952">
                  <c:v>1453</c:v>
                </c:pt>
                <c:pt idx="12953">
                  <c:v>17637</c:v>
                </c:pt>
                <c:pt idx="12954">
                  <c:v>7311</c:v>
                </c:pt>
                <c:pt idx="12955">
                  <c:v>2797</c:v>
                </c:pt>
                <c:pt idx="12956">
                  <c:v>1156</c:v>
                </c:pt>
                <c:pt idx="12957">
                  <c:v>1961</c:v>
                </c:pt>
                <c:pt idx="12958">
                  <c:v>415</c:v>
                </c:pt>
                <c:pt idx="12959">
                  <c:v>150</c:v>
                </c:pt>
                <c:pt idx="12960">
                  <c:v>39</c:v>
                </c:pt>
                <c:pt idx="12961">
                  <c:v>199</c:v>
                </c:pt>
                <c:pt idx="12962">
                  <c:v>291</c:v>
                </c:pt>
                <c:pt idx="12963">
                  <c:v>12185</c:v>
                </c:pt>
                <c:pt idx="12964">
                  <c:v>143</c:v>
                </c:pt>
                <c:pt idx="12965">
                  <c:v>865</c:v>
                </c:pt>
                <c:pt idx="12966">
                  <c:v>207</c:v>
                </c:pt>
                <c:pt idx="12967">
                  <c:v>125</c:v>
                </c:pt>
                <c:pt idx="12968">
                  <c:v>604</c:v>
                </c:pt>
                <c:pt idx="12969">
                  <c:v>717</c:v>
                </c:pt>
                <c:pt idx="12970">
                  <c:v>14430</c:v>
                </c:pt>
                <c:pt idx="12971">
                  <c:v>2045</c:v>
                </c:pt>
                <c:pt idx="12972">
                  <c:v>2143</c:v>
                </c:pt>
                <c:pt idx="12973">
                  <c:v>1797</c:v>
                </c:pt>
                <c:pt idx="12974">
                  <c:v>11073</c:v>
                </c:pt>
                <c:pt idx="12975">
                  <c:v>146</c:v>
                </c:pt>
                <c:pt idx="12976">
                  <c:v>18632</c:v>
                </c:pt>
                <c:pt idx="12977">
                  <c:v>7893</c:v>
                </c:pt>
                <c:pt idx="12978">
                  <c:v>252</c:v>
                </c:pt>
                <c:pt idx="12979">
                  <c:v>2986</c:v>
                </c:pt>
                <c:pt idx="12980">
                  <c:v>2670</c:v>
                </c:pt>
                <c:pt idx="12981">
                  <c:v>579</c:v>
                </c:pt>
                <c:pt idx="12982">
                  <c:v>2979</c:v>
                </c:pt>
                <c:pt idx="12983">
                  <c:v>809</c:v>
                </c:pt>
                <c:pt idx="12984">
                  <c:v>17212</c:v>
                </c:pt>
                <c:pt idx="12985">
                  <c:v>2373</c:v>
                </c:pt>
                <c:pt idx="12986">
                  <c:v>327</c:v>
                </c:pt>
                <c:pt idx="12987">
                  <c:v>213</c:v>
                </c:pt>
                <c:pt idx="12988">
                  <c:v>1356</c:v>
                </c:pt>
                <c:pt idx="12989">
                  <c:v>3996</c:v>
                </c:pt>
                <c:pt idx="12990">
                  <c:v>5408</c:v>
                </c:pt>
                <c:pt idx="12991">
                  <c:v>3588</c:v>
                </c:pt>
                <c:pt idx="12992">
                  <c:v>8813</c:v>
                </c:pt>
                <c:pt idx="12993">
                  <c:v>8219</c:v>
                </c:pt>
                <c:pt idx="12994">
                  <c:v>6933</c:v>
                </c:pt>
                <c:pt idx="12995">
                  <c:v>6879</c:v>
                </c:pt>
                <c:pt idx="12996">
                  <c:v>9162</c:v>
                </c:pt>
                <c:pt idx="12997">
                  <c:v>6326</c:v>
                </c:pt>
                <c:pt idx="12998">
                  <c:v>2119</c:v>
                </c:pt>
                <c:pt idx="12999">
                  <c:v>8564</c:v>
                </c:pt>
                <c:pt idx="13000">
                  <c:v>8955</c:v>
                </c:pt>
                <c:pt idx="13001">
                  <c:v>12445</c:v>
                </c:pt>
                <c:pt idx="13002">
                  <c:v>24473</c:v>
                </c:pt>
                <c:pt idx="13003">
                  <c:v>5911</c:v>
                </c:pt>
                <c:pt idx="13004">
                  <c:v>13245</c:v>
                </c:pt>
                <c:pt idx="13005">
                  <c:v>3191</c:v>
                </c:pt>
                <c:pt idx="13006">
                  <c:v>14073</c:v>
                </c:pt>
                <c:pt idx="13007">
                  <c:v>7325</c:v>
                </c:pt>
                <c:pt idx="13008">
                  <c:v>6200</c:v>
                </c:pt>
                <c:pt idx="13009">
                  <c:v>5130</c:v>
                </c:pt>
                <c:pt idx="13010">
                  <c:v>11051</c:v>
                </c:pt>
                <c:pt idx="13011">
                  <c:v>8844</c:v>
                </c:pt>
                <c:pt idx="13012">
                  <c:v>17340</c:v>
                </c:pt>
                <c:pt idx="13013">
                  <c:v>13577</c:v>
                </c:pt>
                <c:pt idx="13014">
                  <c:v>7946</c:v>
                </c:pt>
                <c:pt idx="13015">
                  <c:v>13849</c:v>
                </c:pt>
                <c:pt idx="13016">
                  <c:v>7255</c:v>
                </c:pt>
                <c:pt idx="13017">
                  <c:v>8408</c:v>
                </c:pt>
                <c:pt idx="13018">
                  <c:v>5653</c:v>
                </c:pt>
                <c:pt idx="13019">
                  <c:v>22108</c:v>
                </c:pt>
                <c:pt idx="13020">
                  <c:v>1402</c:v>
                </c:pt>
                <c:pt idx="13021">
                  <c:v>1030</c:v>
                </c:pt>
                <c:pt idx="13022">
                  <c:v>1986</c:v>
                </c:pt>
                <c:pt idx="13023">
                  <c:v>537</c:v>
                </c:pt>
                <c:pt idx="13024">
                  <c:v>3420</c:v>
                </c:pt>
                <c:pt idx="13025">
                  <c:v>318</c:v>
                </c:pt>
                <c:pt idx="13026">
                  <c:v>136</c:v>
                </c:pt>
                <c:pt idx="13027">
                  <c:v>1331</c:v>
                </c:pt>
                <c:pt idx="13028">
                  <c:v>2589</c:v>
                </c:pt>
                <c:pt idx="13029">
                  <c:v>1042</c:v>
                </c:pt>
                <c:pt idx="13030">
                  <c:v>203</c:v>
                </c:pt>
                <c:pt idx="13031">
                  <c:v>5525</c:v>
                </c:pt>
                <c:pt idx="13032">
                  <c:v>688</c:v>
                </c:pt>
                <c:pt idx="13033">
                  <c:v>181</c:v>
                </c:pt>
                <c:pt idx="13034">
                  <c:v>8100</c:v>
                </c:pt>
                <c:pt idx="13035">
                  <c:v>6988</c:v>
                </c:pt>
                <c:pt idx="13036">
                  <c:v>2038</c:v>
                </c:pt>
                <c:pt idx="13037">
                  <c:v>1087</c:v>
                </c:pt>
                <c:pt idx="13038">
                  <c:v>1167</c:v>
                </c:pt>
                <c:pt idx="13039">
                  <c:v>4183</c:v>
                </c:pt>
                <c:pt idx="13040">
                  <c:v>198</c:v>
                </c:pt>
                <c:pt idx="13041">
                  <c:v>2404</c:v>
                </c:pt>
                <c:pt idx="13042">
                  <c:v>1000</c:v>
                </c:pt>
                <c:pt idx="13043">
                  <c:v>1121</c:v>
                </c:pt>
                <c:pt idx="13044">
                  <c:v>315</c:v>
                </c:pt>
                <c:pt idx="13045">
                  <c:v>2514</c:v>
                </c:pt>
                <c:pt idx="13046">
                  <c:v>617</c:v>
                </c:pt>
                <c:pt idx="13047">
                  <c:v>1060</c:v>
                </c:pt>
                <c:pt idx="13048">
                  <c:v>993</c:v>
                </c:pt>
                <c:pt idx="13049">
                  <c:v>2565</c:v>
                </c:pt>
                <c:pt idx="13050">
                  <c:v>2544</c:v>
                </c:pt>
                <c:pt idx="13051">
                  <c:v>9147</c:v>
                </c:pt>
                <c:pt idx="13052">
                  <c:v>2103</c:v>
                </c:pt>
                <c:pt idx="13053">
                  <c:v>4261</c:v>
                </c:pt>
                <c:pt idx="13054">
                  <c:v>464</c:v>
                </c:pt>
                <c:pt idx="13055">
                  <c:v>322</c:v>
                </c:pt>
                <c:pt idx="13056">
                  <c:v>328</c:v>
                </c:pt>
                <c:pt idx="13057">
                  <c:v>1053</c:v>
                </c:pt>
                <c:pt idx="13058">
                  <c:v>4619</c:v>
                </c:pt>
                <c:pt idx="13059">
                  <c:v>604</c:v>
                </c:pt>
                <c:pt idx="13060">
                  <c:v>678</c:v>
                </c:pt>
                <c:pt idx="13061">
                  <c:v>642</c:v>
                </c:pt>
                <c:pt idx="13062">
                  <c:v>747</c:v>
                </c:pt>
                <c:pt idx="13063">
                  <c:v>1215</c:v>
                </c:pt>
                <c:pt idx="13064">
                  <c:v>5361</c:v>
                </c:pt>
                <c:pt idx="13065">
                  <c:v>3133</c:v>
                </c:pt>
                <c:pt idx="13066">
                  <c:v>3367</c:v>
                </c:pt>
                <c:pt idx="13067">
                  <c:v>4656</c:v>
                </c:pt>
                <c:pt idx="13068">
                  <c:v>242</c:v>
                </c:pt>
                <c:pt idx="13069">
                  <c:v>255</c:v>
                </c:pt>
                <c:pt idx="13070">
                  <c:v>2529</c:v>
                </c:pt>
                <c:pt idx="13071">
                  <c:v>213</c:v>
                </c:pt>
                <c:pt idx="13072">
                  <c:v>16280</c:v>
                </c:pt>
                <c:pt idx="13073">
                  <c:v>2480</c:v>
                </c:pt>
                <c:pt idx="13074">
                  <c:v>413</c:v>
                </c:pt>
                <c:pt idx="13075">
                  <c:v>4296</c:v>
                </c:pt>
                <c:pt idx="13076">
                  <c:v>898</c:v>
                </c:pt>
                <c:pt idx="13077">
                  <c:v>177</c:v>
                </c:pt>
                <c:pt idx="13078">
                  <c:v>317</c:v>
                </c:pt>
                <c:pt idx="13079">
                  <c:v>1665</c:v>
                </c:pt>
                <c:pt idx="13080">
                  <c:v>1067</c:v>
                </c:pt>
                <c:pt idx="13081">
                  <c:v>147</c:v>
                </c:pt>
                <c:pt idx="13082">
                  <c:v>862</c:v>
                </c:pt>
                <c:pt idx="13083">
                  <c:v>1699</c:v>
                </c:pt>
                <c:pt idx="13084">
                  <c:v>689</c:v>
                </c:pt>
                <c:pt idx="13085">
                  <c:v>1450</c:v>
                </c:pt>
                <c:pt idx="13086">
                  <c:v>455</c:v>
                </c:pt>
                <c:pt idx="13087">
                  <c:v>1018</c:v>
                </c:pt>
                <c:pt idx="13088">
                  <c:v>671</c:v>
                </c:pt>
                <c:pt idx="13089">
                  <c:v>74</c:v>
                </c:pt>
                <c:pt idx="13090">
                  <c:v>11774</c:v>
                </c:pt>
                <c:pt idx="13091">
                  <c:v>1175</c:v>
                </c:pt>
                <c:pt idx="13092">
                  <c:v>638</c:v>
                </c:pt>
                <c:pt idx="13093">
                  <c:v>3084</c:v>
                </c:pt>
                <c:pt idx="13094">
                  <c:v>485</c:v>
                </c:pt>
                <c:pt idx="13095">
                  <c:v>1016</c:v>
                </c:pt>
                <c:pt idx="13096">
                  <c:v>803</c:v>
                </c:pt>
                <c:pt idx="13097">
                  <c:v>2291</c:v>
                </c:pt>
                <c:pt idx="13098">
                  <c:v>328</c:v>
                </c:pt>
                <c:pt idx="13099">
                  <c:v>1308</c:v>
                </c:pt>
                <c:pt idx="13100">
                  <c:v>554</c:v>
                </c:pt>
                <c:pt idx="13101">
                  <c:v>92</c:v>
                </c:pt>
                <c:pt idx="13102">
                  <c:v>683</c:v>
                </c:pt>
                <c:pt idx="13103">
                  <c:v>314</c:v>
                </c:pt>
                <c:pt idx="13104">
                  <c:v>344</c:v>
                </c:pt>
                <c:pt idx="13105">
                  <c:v>349</c:v>
                </c:pt>
                <c:pt idx="13106">
                  <c:v>1101</c:v>
                </c:pt>
                <c:pt idx="13107">
                  <c:v>151</c:v>
                </c:pt>
                <c:pt idx="13108">
                  <c:v>1460</c:v>
                </c:pt>
                <c:pt idx="13109">
                  <c:v>1249</c:v>
                </c:pt>
                <c:pt idx="13110">
                  <c:v>599</c:v>
                </c:pt>
                <c:pt idx="13111">
                  <c:v>8985</c:v>
                </c:pt>
                <c:pt idx="13112">
                  <c:v>5716</c:v>
                </c:pt>
                <c:pt idx="13113">
                  <c:v>11429</c:v>
                </c:pt>
                <c:pt idx="13114">
                  <c:v>5292</c:v>
                </c:pt>
                <c:pt idx="13115">
                  <c:v>5744</c:v>
                </c:pt>
                <c:pt idx="13116">
                  <c:v>194</c:v>
                </c:pt>
                <c:pt idx="13117">
                  <c:v>3645</c:v>
                </c:pt>
                <c:pt idx="13118">
                  <c:v>681</c:v>
                </c:pt>
                <c:pt idx="13119">
                  <c:v>1639</c:v>
                </c:pt>
                <c:pt idx="13120">
                  <c:v>1311</c:v>
                </c:pt>
                <c:pt idx="13121">
                  <c:v>303</c:v>
                </c:pt>
                <c:pt idx="13122">
                  <c:v>2740</c:v>
                </c:pt>
                <c:pt idx="13123">
                  <c:v>133</c:v>
                </c:pt>
                <c:pt idx="13124">
                  <c:v>392</c:v>
                </c:pt>
                <c:pt idx="13125">
                  <c:v>352</c:v>
                </c:pt>
                <c:pt idx="13126">
                  <c:v>9930</c:v>
                </c:pt>
                <c:pt idx="13127">
                  <c:v>767</c:v>
                </c:pt>
                <c:pt idx="13128">
                  <c:v>137</c:v>
                </c:pt>
                <c:pt idx="13129">
                  <c:v>1077</c:v>
                </c:pt>
                <c:pt idx="13130">
                  <c:v>3271</c:v>
                </c:pt>
                <c:pt idx="13131">
                  <c:v>2684</c:v>
                </c:pt>
                <c:pt idx="13132">
                  <c:v>1497</c:v>
                </c:pt>
                <c:pt idx="13133">
                  <c:v>1409</c:v>
                </c:pt>
                <c:pt idx="13134">
                  <c:v>5295</c:v>
                </c:pt>
                <c:pt idx="13135">
                  <c:v>218</c:v>
                </c:pt>
                <c:pt idx="13136">
                  <c:v>610</c:v>
                </c:pt>
                <c:pt idx="13137">
                  <c:v>63</c:v>
                </c:pt>
                <c:pt idx="13138">
                  <c:v>26852</c:v>
                </c:pt>
                <c:pt idx="13139">
                  <c:v>517</c:v>
                </c:pt>
                <c:pt idx="13140">
                  <c:v>1856</c:v>
                </c:pt>
                <c:pt idx="13141">
                  <c:v>1528</c:v>
                </c:pt>
                <c:pt idx="13142">
                  <c:v>1484</c:v>
                </c:pt>
                <c:pt idx="13143">
                  <c:v>2310</c:v>
                </c:pt>
                <c:pt idx="13144">
                  <c:v>50</c:v>
                </c:pt>
                <c:pt idx="13145">
                  <c:v>452</c:v>
                </c:pt>
                <c:pt idx="13146">
                  <c:v>1586</c:v>
                </c:pt>
                <c:pt idx="13147">
                  <c:v>364</c:v>
                </c:pt>
                <c:pt idx="13148">
                  <c:v>926</c:v>
                </c:pt>
                <c:pt idx="13149">
                  <c:v>176</c:v>
                </c:pt>
                <c:pt idx="13150">
                  <c:v>68</c:v>
                </c:pt>
                <c:pt idx="13151">
                  <c:v>2545</c:v>
                </c:pt>
                <c:pt idx="13152">
                  <c:v>1286</c:v>
                </c:pt>
                <c:pt idx="13153">
                  <c:v>218</c:v>
                </c:pt>
                <c:pt idx="13154">
                  <c:v>1741</c:v>
                </c:pt>
                <c:pt idx="13155">
                  <c:v>124</c:v>
                </c:pt>
                <c:pt idx="13156">
                  <c:v>624</c:v>
                </c:pt>
                <c:pt idx="13157">
                  <c:v>784</c:v>
                </c:pt>
                <c:pt idx="13158">
                  <c:v>68</c:v>
                </c:pt>
                <c:pt idx="13159">
                  <c:v>2724</c:v>
                </c:pt>
                <c:pt idx="13160">
                  <c:v>46</c:v>
                </c:pt>
                <c:pt idx="13161">
                  <c:v>483</c:v>
                </c:pt>
                <c:pt idx="13162">
                  <c:v>525</c:v>
                </c:pt>
                <c:pt idx="13163">
                  <c:v>2331</c:v>
                </c:pt>
                <c:pt idx="13164">
                  <c:v>149</c:v>
                </c:pt>
                <c:pt idx="13165">
                  <c:v>998</c:v>
                </c:pt>
                <c:pt idx="13166">
                  <c:v>1895</c:v>
                </c:pt>
                <c:pt idx="13167">
                  <c:v>1147</c:v>
                </c:pt>
                <c:pt idx="13168">
                  <c:v>5582</c:v>
                </c:pt>
                <c:pt idx="13169">
                  <c:v>481</c:v>
                </c:pt>
                <c:pt idx="13170">
                  <c:v>1341</c:v>
                </c:pt>
                <c:pt idx="13171">
                  <c:v>2558</c:v>
                </c:pt>
                <c:pt idx="13172">
                  <c:v>1266</c:v>
                </c:pt>
                <c:pt idx="13173">
                  <c:v>558</c:v>
                </c:pt>
                <c:pt idx="13174">
                  <c:v>1307</c:v>
                </c:pt>
                <c:pt idx="13175">
                  <c:v>1984</c:v>
                </c:pt>
                <c:pt idx="13176">
                  <c:v>95</c:v>
                </c:pt>
                <c:pt idx="13177">
                  <c:v>6739</c:v>
                </c:pt>
                <c:pt idx="13178">
                  <c:v>357</c:v>
                </c:pt>
                <c:pt idx="13179">
                  <c:v>1760</c:v>
                </c:pt>
                <c:pt idx="13180">
                  <c:v>148</c:v>
                </c:pt>
                <c:pt idx="13181">
                  <c:v>797</c:v>
                </c:pt>
                <c:pt idx="13182">
                  <c:v>504</c:v>
                </c:pt>
                <c:pt idx="13183">
                  <c:v>6970</c:v>
                </c:pt>
                <c:pt idx="13184">
                  <c:v>40</c:v>
                </c:pt>
                <c:pt idx="13185">
                  <c:v>329</c:v>
                </c:pt>
                <c:pt idx="13186">
                  <c:v>8997</c:v>
                </c:pt>
                <c:pt idx="13187">
                  <c:v>910</c:v>
                </c:pt>
                <c:pt idx="13188">
                  <c:v>346</c:v>
                </c:pt>
                <c:pt idx="13189">
                  <c:v>88</c:v>
                </c:pt>
                <c:pt idx="13190">
                  <c:v>4653</c:v>
                </c:pt>
                <c:pt idx="13191">
                  <c:v>8091</c:v>
                </c:pt>
                <c:pt idx="13192">
                  <c:v>9483</c:v>
                </c:pt>
                <c:pt idx="13193">
                  <c:v>7447</c:v>
                </c:pt>
                <c:pt idx="13194">
                  <c:v>6597</c:v>
                </c:pt>
                <c:pt idx="13195">
                  <c:v>2651</c:v>
                </c:pt>
                <c:pt idx="13196">
                  <c:v>1585</c:v>
                </c:pt>
                <c:pt idx="13197">
                  <c:v>1512</c:v>
                </c:pt>
                <c:pt idx="13198">
                  <c:v>1012</c:v>
                </c:pt>
                <c:pt idx="13199">
                  <c:v>26918</c:v>
                </c:pt>
                <c:pt idx="13200">
                  <c:v>19894</c:v>
                </c:pt>
                <c:pt idx="13201">
                  <c:v>3519</c:v>
                </c:pt>
                <c:pt idx="13202">
                  <c:v>655</c:v>
                </c:pt>
                <c:pt idx="13203">
                  <c:v>5317</c:v>
                </c:pt>
                <c:pt idx="13204">
                  <c:v>23184</c:v>
                </c:pt>
                <c:pt idx="13205">
                  <c:v>22974</c:v>
                </c:pt>
                <c:pt idx="13206">
                  <c:v>329</c:v>
                </c:pt>
                <c:pt idx="13207">
                  <c:v>8253</c:v>
                </c:pt>
                <c:pt idx="13208">
                  <c:v>10569</c:v>
                </c:pt>
                <c:pt idx="13209">
                  <c:v>1359</c:v>
                </c:pt>
                <c:pt idx="13210">
                  <c:v>930</c:v>
                </c:pt>
                <c:pt idx="13211">
                  <c:v>569</c:v>
                </c:pt>
                <c:pt idx="13212">
                  <c:v>897</c:v>
                </c:pt>
                <c:pt idx="13213">
                  <c:v>1579</c:v>
                </c:pt>
                <c:pt idx="13214">
                  <c:v>12191</c:v>
                </c:pt>
                <c:pt idx="13215">
                  <c:v>7476</c:v>
                </c:pt>
                <c:pt idx="13216">
                  <c:v>1091</c:v>
                </c:pt>
                <c:pt idx="13217">
                  <c:v>575</c:v>
                </c:pt>
                <c:pt idx="13218">
                  <c:v>951</c:v>
                </c:pt>
                <c:pt idx="13219">
                  <c:v>24933</c:v>
                </c:pt>
                <c:pt idx="13220">
                  <c:v>19027</c:v>
                </c:pt>
                <c:pt idx="13221">
                  <c:v>154</c:v>
                </c:pt>
                <c:pt idx="13222">
                  <c:v>6782</c:v>
                </c:pt>
                <c:pt idx="13223">
                  <c:v>1510</c:v>
                </c:pt>
                <c:pt idx="13224">
                  <c:v>3702</c:v>
                </c:pt>
                <c:pt idx="13225">
                  <c:v>1116</c:v>
                </c:pt>
                <c:pt idx="13226">
                  <c:v>1805</c:v>
                </c:pt>
                <c:pt idx="13227">
                  <c:v>4153</c:v>
                </c:pt>
                <c:pt idx="13228">
                  <c:v>21293</c:v>
                </c:pt>
                <c:pt idx="13229">
                  <c:v>4110</c:v>
                </c:pt>
                <c:pt idx="13230">
                  <c:v>761</c:v>
                </c:pt>
                <c:pt idx="13231">
                  <c:v>16575</c:v>
                </c:pt>
                <c:pt idx="13232">
                  <c:v>215</c:v>
                </c:pt>
                <c:pt idx="13233">
                  <c:v>176</c:v>
                </c:pt>
                <c:pt idx="13234">
                  <c:v>297</c:v>
                </c:pt>
                <c:pt idx="13235">
                  <c:v>872</c:v>
                </c:pt>
                <c:pt idx="13236">
                  <c:v>3902</c:v>
                </c:pt>
                <c:pt idx="13237">
                  <c:v>6089</c:v>
                </c:pt>
                <c:pt idx="13238">
                  <c:v>304</c:v>
                </c:pt>
                <c:pt idx="13239">
                  <c:v>220</c:v>
                </c:pt>
                <c:pt idx="13240">
                  <c:v>21801</c:v>
                </c:pt>
                <c:pt idx="13241">
                  <c:v>8642</c:v>
                </c:pt>
                <c:pt idx="13242">
                  <c:v>663</c:v>
                </c:pt>
                <c:pt idx="13243">
                  <c:v>256</c:v>
                </c:pt>
                <c:pt idx="13244">
                  <c:v>2346</c:v>
                </c:pt>
                <c:pt idx="13245">
                  <c:v>2586</c:v>
                </c:pt>
                <c:pt idx="13246">
                  <c:v>2823</c:v>
                </c:pt>
                <c:pt idx="13247">
                  <c:v>8837</c:v>
                </c:pt>
                <c:pt idx="13248">
                  <c:v>21957</c:v>
                </c:pt>
                <c:pt idx="13249">
                  <c:v>4055</c:v>
                </c:pt>
                <c:pt idx="13250">
                  <c:v>1882</c:v>
                </c:pt>
                <c:pt idx="13251">
                  <c:v>131</c:v>
                </c:pt>
                <c:pt idx="13252">
                  <c:v>972</c:v>
                </c:pt>
                <c:pt idx="13253">
                  <c:v>1299</c:v>
                </c:pt>
                <c:pt idx="13254">
                  <c:v>16217</c:v>
                </c:pt>
                <c:pt idx="13255">
                  <c:v>419</c:v>
                </c:pt>
                <c:pt idx="13256">
                  <c:v>7380</c:v>
                </c:pt>
                <c:pt idx="13257">
                  <c:v>21141</c:v>
                </c:pt>
                <c:pt idx="13258">
                  <c:v>18699</c:v>
                </c:pt>
                <c:pt idx="13259">
                  <c:v>28939</c:v>
                </c:pt>
                <c:pt idx="13260">
                  <c:v>197</c:v>
                </c:pt>
                <c:pt idx="13261">
                  <c:v>1471</c:v>
                </c:pt>
                <c:pt idx="13262">
                  <c:v>2377</c:v>
                </c:pt>
                <c:pt idx="13263">
                  <c:v>1093</c:v>
                </c:pt>
                <c:pt idx="13264">
                  <c:v>462</c:v>
                </c:pt>
                <c:pt idx="13265">
                  <c:v>15204</c:v>
                </c:pt>
                <c:pt idx="13266">
                  <c:v>397</c:v>
                </c:pt>
                <c:pt idx="13267">
                  <c:v>1794</c:v>
                </c:pt>
                <c:pt idx="13268">
                  <c:v>10978</c:v>
                </c:pt>
                <c:pt idx="13269">
                  <c:v>3115</c:v>
                </c:pt>
                <c:pt idx="13270">
                  <c:v>1005</c:v>
                </c:pt>
                <c:pt idx="13271">
                  <c:v>7497</c:v>
                </c:pt>
                <c:pt idx="13272">
                  <c:v>2406</c:v>
                </c:pt>
                <c:pt idx="13273">
                  <c:v>919</c:v>
                </c:pt>
                <c:pt idx="13274">
                  <c:v>1319</c:v>
                </c:pt>
                <c:pt idx="13275">
                  <c:v>3674</c:v>
                </c:pt>
                <c:pt idx="13276">
                  <c:v>18558</c:v>
                </c:pt>
                <c:pt idx="13277">
                  <c:v>922</c:v>
                </c:pt>
                <c:pt idx="13278">
                  <c:v>1056</c:v>
                </c:pt>
                <c:pt idx="13279">
                  <c:v>4347</c:v>
                </c:pt>
                <c:pt idx="13280">
                  <c:v>312</c:v>
                </c:pt>
                <c:pt idx="13281">
                  <c:v>14278</c:v>
                </c:pt>
                <c:pt idx="13282">
                  <c:v>374</c:v>
                </c:pt>
                <c:pt idx="13283">
                  <c:v>2671</c:v>
                </c:pt>
                <c:pt idx="13284">
                  <c:v>786</c:v>
                </c:pt>
                <c:pt idx="13285">
                  <c:v>6522</c:v>
                </c:pt>
                <c:pt idx="13286">
                  <c:v>838</c:v>
                </c:pt>
                <c:pt idx="13287">
                  <c:v>13460</c:v>
                </c:pt>
                <c:pt idx="13288">
                  <c:v>12429</c:v>
                </c:pt>
                <c:pt idx="13289">
                  <c:v>17845</c:v>
                </c:pt>
                <c:pt idx="13290">
                  <c:v>5691</c:v>
                </c:pt>
                <c:pt idx="13291">
                  <c:v>15050</c:v>
                </c:pt>
                <c:pt idx="13292">
                  <c:v>9619</c:v>
                </c:pt>
                <c:pt idx="13293">
                  <c:v>12016</c:v>
                </c:pt>
                <c:pt idx="13294">
                  <c:v>1170</c:v>
                </c:pt>
                <c:pt idx="13295">
                  <c:v>19041</c:v>
                </c:pt>
                <c:pt idx="13296">
                  <c:v>10343</c:v>
                </c:pt>
                <c:pt idx="13297">
                  <c:v>17106</c:v>
                </c:pt>
                <c:pt idx="13298">
                  <c:v>21834</c:v>
                </c:pt>
                <c:pt idx="13299">
                  <c:v>13326</c:v>
                </c:pt>
                <c:pt idx="13300">
                  <c:v>15184</c:v>
                </c:pt>
                <c:pt idx="13301">
                  <c:v>18855</c:v>
                </c:pt>
                <c:pt idx="13302">
                  <c:v>2112</c:v>
                </c:pt>
                <c:pt idx="13303">
                  <c:v>19263</c:v>
                </c:pt>
                <c:pt idx="13304">
                  <c:v>27590</c:v>
                </c:pt>
                <c:pt idx="13305">
                  <c:v>7975</c:v>
                </c:pt>
                <c:pt idx="13306">
                  <c:v>13629</c:v>
                </c:pt>
                <c:pt idx="13307">
                  <c:v>5055</c:v>
                </c:pt>
                <c:pt idx="13308">
                  <c:v>14250</c:v>
                </c:pt>
                <c:pt idx="13309">
                  <c:v>15695</c:v>
                </c:pt>
                <c:pt idx="13310">
                  <c:v>14472</c:v>
                </c:pt>
                <c:pt idx="13311">
                  <c:v>20690</c:v>
                </c:pt>
                <c:pt idx="13312">
                  <c:v>16346</c:v>
                </c:pt>
                <c:pt idx="13313">
                  <c:v>10782</c:v>
                </c:pt>
                <c:pt idx="13314">
                  <c:v>13096</c:v>
                </c:pt>
                <c:pt idx="13315">
                  <c:v>10731</c:v>
                </c:pt>
                <c:pt idx="13316">
                  <c:v>19296</c:v>
                </c:pt>
                <c:pt idx="13317">
                  <c:v>11633</c:v>
                </c:pt>
                <c:pt idx="13318">
                  <c:v>7487</c:v>
                </c:pt>
                <c:pt idx="13319">
                  <c:v>17843</c:v>
                </c:pt>
                <c:pt idx="13320">
                  <c:v>13115</c:v>
                </c:pt>
                <c:pt idx="13321">
                  <c:v>4570</c:v>
                </c:pt>
                <c:pt idx="13322">
                  <c:v>4662</c:v>
                </c:pt>
                <c:pt idx="13323">
                  <c:v>146</c:v>
                </c:pt>
                <c:pt idx="13324">
                  <c:v>7664</c:v>
                </c:pt>
                <c:pt idx="13325">
                  <c:v>12534</c:v>
                </c:pt>
                <c:pt idx="13326">
                  <c:v>33898</c:v>
                </c:pt>
                <c:pt idx="13327">
                  <c:v>5288</c:v>
                </c:pt>
                <c:pt idx="13328">
                  <c:v>11831</c:v>
                </c:pt>
                <c:pt idx="13329">
                  <c:v>10130</c:v>
                </c:pt>
                <c:pt idx="13330">
                  <c:v>9880</c:v>
                </c:pt>
                <c:pt idx="13331">
                  <c:v>5241</c:v>
                </c:pt>
                <c:pt idx="13332">
                  <c:v>11660</c:v>
                </c:pt>
                <c:pt idx="13333">
                  <c:v>11824</c:v>
                </c:pt>
                <c:pt idx="13334">
                  <c:v>10306</c:v>
                </c:pt>
                <c:pt idx="13335">
                  <c:v>9558</c:v>
                </c:pt>
                <c:pt idx="13336">
                  <c:v>4155</c:v>
                </c:pt>
                <c:pt idx="13337">
                  <c:v>532</c:v>
                </c:pt>
                <c:pt idx="13338">
                  <c:v>4877</c:v>
                </c:pt>
                <c:pt idx="13339">
                  <c:v>14668</c:v>
                </c:pt>
                <c:pt idx="13340">
                  <c:v>23</c:v>
                </c:pt>
                <c:pt idx="13341">
                  <c:v>589</c:v>
                </c:pt>
                <c:pt idx="13342">
                  <c:v>2172</c:v>
                </c:pt>
                <c:pt idx="13343">
                  <c:v>423</c:v>
                </c:pt>
                <c:pt idx="13344">
                  <c:v>1328</c:v>
                </c:pt>
                <c:pt idx="13345">
                  <c:v>20517</c:v>
                </c:pt>
                <c:pt idx="13346">
                  <c:v>8350</c:v>
                </c:pt>
                <c:pt idx="13347">
                  <c:v>17754</c:v>
                </c:pt>
                <c:pt idx="13348">
                  <c:v>358</c:v>
                </c:pt>
                <c:pt idx="13349">
                  <c:v>2349</c:v>
                </c:pt>
                <c:pt idx="13350">
                  <c:v>18199</c:v>
                </c:pt>
                <c:pt idx="13351">
                  <c:v>1924</c:v>
                </c:pt>
                <c:pt idx="13352">
                  <c:v>7957</c:v>
                </c:pt>
                <c:pt idx="13353">
                  <c:v>460</c:v>
                </c:pt>
                <c:pt idx="13354">
                  <c:v>12144</c:v>
                </c:pt>
                <c:pt idx="13355">
                  <c:v>91</c:v>
                </c:pt>
                <c:pt idx="13356">
                  <c:v>169</c:v>
                </c:pt>
                <c:pt idx="13357">
                  <c:v>41</c:v>
                </c:pt>
                <c:pt idx="13358">
                  <c:v>1213</c:v>
                </c:pt>
                <c:pt idx="13359">
                  <c:v>20547</c:v>
                </c:pt>
                <c:pt idx="13360">
                  <c:v>18783</c:v>
                </c:pt>
                <c:pt idx="13361">
                  <c:v>1640</c:v>
                </c:pt>
                <c:pt idx="13362">
                  <c:v>2540</c:v>
                </c:pt>
                <c:pt idx="13363">
                  <c:v>3367</c:v>
                </c:pt>
                <c:pt idx="13364">
                  <c:v>5308</c:v>
                </c:pt>
                <c:pt idx="13365">
                  <c:v>1366</c:v>
                </c:pt>
                <c:pt idx="13366">
                  <c:v>3951</c:v>
                </c:pt>
                <c:pt idx="13367">
                  <c:v>5887</c:v>
                </c:pt>
                <c:pt idx="13368">
                  <c:v>4738</c:v>
                </c:pt>
                <c:pt idx="13369">
                  <c:v>2667</c:v>
                </c:pt>
                <c:pt idx="13370">
                  <c:v>2889</c:v>
                </c:pt>
                <c:pt idx="13371">
                  <c:v>5209</c:v>
                </c:pt>
                <c:pt idx="13372">
                  <c:v>2470</c:v>
                </c:pt>
                <c:pt idx="13373">
                  <c:v>17305</c:v>
                </c:pt>
                <c:pt idx="13374">
                  <c:v>1805</c:v>
                </c:pt>
                <c:pt idx="13375">
                  <c:v>1472</c:v>
                </c:pt>
                <c:pt idx="13376">
                  <c:v>4558</c:v>
                </c:pt>
                <c:pt idx="13377">
                  <c:v>4386</c:v>
                </c:pt>
                <c:pt idx="13378">
                  <c:v>105</c:v>
                </c:pt>
                <c:pt idx="13379">
                  <c:v>1882</c:v>
                </c:pt>
                <c:pt idx="13380">
                  <c:v>1587</c:v>
                </c:pt>
                <c:pt idx="13381">
                  <c:v>19840</c:v>
                </c:pt>
                <c:pt idx="13382">
                  <c:v>14675</c:v>
                </c:pt>
                <c:pt idx="13383">
                  <c:v>11157</c:v>
                </c:pt>
                <c:pt idx="13384">
                  <c:v>1403</c:v>
                </c:pt>
                <c:pt idx="13385">
                  <c:v>15447</c:v>
                </c:pt>
                <c:pt idx="13386">
                  <c:v>12794</c:v>
                </c:pt>
                <c:pt idx="13387">
                  <c:v>15441</c:v>
                </c:pt>
                <c:pt idx="13388">
                  <c:v>608</c:v>
                </c:pt>
                <c:pt idx="13389">
                  <c:v>807</c:v>
                </c:pt>
                <c:pt idx="13390">
                  <c:v>4254</c:v>
                </c:pt>
                <c:pt idx="13391">
                  <c:v>1530</c:v>
                </c:pt>
                <c:pt idx="13392">
                  <c:v>344</c:v>
                </c:pt>
                <c:pt idx="13393">
                  <c:v>1755</c:v>
                </c:pt>
                <c:pt idx="13394">
                  <c:v>1185</c:v>
                </c:pt>
                <c:pt idx="13395">
                  <c:v>5811</c:v>
                </c:pt>
                <c:pt idx="13396">
                  <c:v>2162</c:v>
                </c:pt>
                <c:pt idx="13397">
                  <c:v>1535</c:v>
                </c:pt>
                <c:pt idx="13398">
                  <c:v>14816</c:v>
                </c:pt>
                <c:pt idx="13399">
                  <c:v>13814</c:v>
                </c:pt>
                <c:pt idx="13400">
                  <c:v>6594</c:v>
                </c:pt>
                <c:pt idx="13401">
                  <c:v>2771</c:v>
                </c:pt>
                <c:pt idx="13402">
                  <c:v>1541</c:v>
                </c:pt>
                <c:pt idx="13403">
                  <c:v>2203</c:v>
                </c:pt>
                <c:pt idx="13404">
                  <c:v>1111</c:v>
                </c:pt>
                <c:pt idx="13405">
                  <c:v>7757</c:v>
                </c:pt>
                <c:pt idx="13406">
                  <c:v>2356</c:v>
                </c:pt>
                <c:pt idx="13407">
                  <c:v>10863</c:v>
                </c:pt>
                <c:pt idx="13408">
                  <c:v>3608</c:v>
                </c:pt>
                <c:pt idx="13409">
                  <c:v>4516</c:v>
                </c:pt>
                <c:pt idx="13410">
                  <c:v>510</c:v>
                </c:pt>
                <c:pt idx="13411">
                  <c:v>2215</c:v>
                </c:pt>
                <c:pt idx="13412">
                  <c:v>1922</c:v>
                </c:pt>
                <c:pt idx="13413">
                  <c:v>3730</c:v>
                </c:pt>
                <c:pt idx="13414">
                  <c:v>10551</c:v>
                </c:pt>
                <c:pt idx="13415">
                  <c:v>6909</c:v>
                </c:pt>
                <c:pt idx="13416">
                  <c:v>2747</c:v>
                </c:pt>
                <c:pt idx="13417">
                  <c:v>1832</c:v>
                </c:pt>
                <c:pt idx="13418">
                  <c:v>4977</c:v>
                </c:pt>
                <c:pt idx="13419">
                  <c:v>13240</c:v>
                </c:pt>
                <c:pt idx="13420">
                  <c:v>7615</c:v>
                </c:pt>
                <c:pt idx="13421">
                  <c:v>2985</c:v>
                </c:pt>
                <c:pt idx="13422">
                  <c:v>5266</c:v>
                </c:pt>
                <c:pt idx="13423">
                  <c:v>8881</c:v>
                </c:pt>
                <c:pt idx="13424">
                  <c:v>11856</c:v>
                </c:pt>
                <c:pt idx="13425">
                  <c:v>2685</c:v>
                </c:pt>
                <c:pt idx="13426">
                  <c:v>8846</c:v>
                </c:pt>
                <c:pt idx="13427">
                  <c:v>4047</c:v>
                </c:pt>
                <c:pt idx="13428">
                  <c:v>975</c:v>
                </c:pt>
                <c:pt idx="13429">
                  <c:v>9053</c:v>
                </c:pt>
                <c:pt idx="13430">
                  <c:v>856</c:v>
                </c:pt>
                <c:pt idx="13431">
                  <c:v>10066</c:v>
                </c:pt>
                <c:pt idx="13432">
                  <c:v>2407</c:v>
                </c:pt>
                <c:pt idx="13433">
                  <c:v>3299</c:v>
                </c:pt>
                <c:pt idx="13434">
                  <c:v>7549</c:v>
                </c:pt>
                <c:pt idx="13435">
                  <c:v>2365</c:v>
                </c:pt>
                <c:pt idx="13436">
                  <c:v>4034</c:v>
                </c:pt>
                <c:pt idx="13437">
                  <c:v>11511</c:v>
                </c:pt>
                <c:pt idx="13438">
                  <c:v>365</c:v>
                </c:pt>
                <c:pt idx="13439">
                  <c:v>520</c:v>
                </c:pt>
                <c:pt idx="13440">
                  <c:v>1268</c:v>
                </c:pt>
                <c:pt idx="13441">
                  <c:v>8877</c:v>
                </c:pt>
                <c:pt idx="13442">
                  <c:v>3136</c:v>
                </c:pt>
                <c:pt idx="13443">
                  <c:v>3773</c:v>
                </c:pt>
                <c:pt idx="13444">
                  <c:v>1593</c:v>
                </c:pt>
                <c:pt idx="13445">
                  <c:v>2088</c:v>
                </c:pt>
                <c:pt idx="13446">
                  <c:v>1564</c:v>
                </c:pt>
                <c:pt idx="13447">
                  <c:v>1432</c:v>
                </c:pt>
                <c:pt idx="13448">
                  <c:v>883</c:v>
                </c:pt>
                <c:pt idx="13449">
                  <c:v>2108</c:v>
                </c:pt>
                <c:pt idx="13450">
                  <c:v>1188</c:v>
                </c:pt>
                <c:pt idx="13451">
                  <c:v>3477</c:v>
                </c:pt>
                <c:pt idx="13452">
                  <c:v>13275</c:v>
                </c:pt>
                <c:pt idx="13453">
                  <c:v>7179</c:v>
                </c:pt>
                <c:pt idx="13454">
                  <c:v>535</c:v>
                </c:pt>
                <c:pt idx="13455">
                  <c:v>5276</c:v>
                </c:pt>
                <c:pt idx="13456">
                  <c:v>666</c:v>
                </c:pt>
                <c:pt idx="13457">
                  <c:v>678</c:v>
                </c:pt>
                <c:pt idx="13458">
                  <c:v>2714</c:v>
                </c:pt>
                <c:pt idx="13459">
                  <c:v>249</c:v>
                </c:pt>
                <c:pt idx="13460">
                  <c:v>4051</c:v>
                </c:pt>
                <c:pt idx="13461">
                  <c:v>1246</c:v>
                </c:pt>
                <c:pt idx="13462">
                  <c:v>1297</c:v>
                </c:pt>
                <c:pt idx="13463">
                  <c:v>1609</c:v>
                </c:pt>
                <c:pt idx="13464">
                  <c:v>8667</c:v>
                </c:pt>
                <c:pt idx="13465">
                  <c:v>717</c:v>
                </c:pt>
                <c:pt idx="13466">
                  <c:v>3019</c:v>
                </c:pt>
                <c:pt idx="13467">
                  <c:v>869</c:v>
                </c:pt>
                <c:pt idx="13468">
                  <c:v>373</c:v>
                </c:pt>
                <c:pt idx="13469">
                  <c:v>3771</c:v>
                </c:pt>
                <c:pt idx="13470">
                  <c:v>989</c:v>
                </c:pt>
                <c:pt idx="13471">
                  <c:v>833</c:v>
                </c:pt>
                <c:pt idx="13472">
                  <c:v>1868</c:v>
                </c:pt>
                <c:pt idx="13473">
                  <c:v>1331</c:v>
                </c:pt>
                <c:pt idx="13474">
                  <c:v>680</c:v>
                </c:pt>
                <c:pt idx="13475">
                  <c:v>1613</c:v>
                </c:pt>
                <c:pt idx="13476">
                  <c:v>2057</c:v>
                </c:pt>
                <c:pt idx="13477">
                  <c:v>642</c:v>
                </c:pt>
                <c:pt idx="13478">
                  <c:v>3116</c:v>
                </c:pt>
                <c:pt idx="13479">
                  <c:v>1968</c:v>
                </c:pt>
                <c:pt idx="13480">
                  <c:v>650</c:v>
                </c:pt>
                <c:pt idx="13481">
                  <c:v>216</c:v>
                </c:pt>
                <c:pt idx="13482">
                  <c:v>4981</c:v>
                </c:pt>
                <c:pt idx="13483">
                  <c:v>3733</c:v>
                </c:pt>
                <c:pt idx="13484">
                  <c:v>14896</c:v>
                </c:pt>
                <c:pt idx="13485">
                  <c:v>11207</c:v>
                </c:pt>
                <c:pt idx="13486">
                  <c:v>9377</c:v>
                </c:pt>
                <c:pt idx="13487">
                  <c:v>7413</c:v>
                </c:pt>
                <c:pt idx="13488">
                  <c:v>10078</c:v>
                </c:pt>
                <c:pt idx="13489">
                  <c:v>4757</c:v>
                </c:pt>
                <c:pt idx="13490">
                  <c:v>7558</c:v>
                </c:pt>
                <c:pt idx="13491">
                  <c:v>12698</c:v>
                </c:pt>
                <c:pt idx="13492">
                  <c:v>7126</c:v>
                </c:pt>
                <c:pt idx="13493">
                  <c:v>11006</c:v>
                </c:pt>
                <c:pt idx="13494">
                  <c:v>4464</c:v>
                </c:pt>
                <c:pt idx="13495">
                  <c:v>15667</c:v>
                </c:pt>
                <c:pt idx="13496">
                  <c:v>17936</c:v>
                </c:pt>
                <c:pt idx="13497">
                  <c:v>13968</c:v>
                </c:pt>
                <c:pt idx="13498">
                  <c:v>16575</c:v>
                </c:pt>
                <c:pt idx="13499">
                  <c:v>15973</c:v>
                </c:pt>
                <c:pt idx="13500">
                  <c:v>1606</c:v>
                </c:pt>
                <c:pt idx="13501">
                  <c:v>763</c:v>
                </c:pt>
                <c:pt idx="13502">
                  <c:v>585</c:v>
                </c:pt>
                <c:pt idx="13503">
                  <c:v>1051</c:v>
                </c:pt>
                <c:pt idx="13504">
                  <c:v>360</c:v>
                </c:pt>
                <c:pt idx="13505">
                  <c:v>770</c:v>
                </c:pt>
                <c:pt idx="13506">
                  <c:v>688</c:v>
                </c:pt>
                <c:pt idx="13507">
                  <c:v>604</c:v>
                </c:pt>
                <c:pt idx="13508">
                  <c:v>3613</c:v>
                </c:pt>
                <c:pt idx="13509">
                  <c:v>742</c:v>
                </c:pt>
                <c:pt idx="13510">
                  <c:v>2047</c:v>
                </c:pt>
                <c:pt idx="13511">
                  <c:v>1589</c:v>
                </c:pt>
                <c:pt idx="13512">
                  <c:v>77</c:v>
                </c:pt>
                <c:pt idx="13513">
                  <c:v>76</c:v>
                </c:pt>
                <c:pt idx="13514">
                  <c:v>1645</c:v>
                </c:pt>
                <c:pt idx="13515">
                  <c:v>2780</c:v>
                </c:pt>
                <c:pt idx="13516">
                  <c:v>3020</c:v>
                </c:pt>
                <c:pt idx="13517">
                  <c:v>1078</c:v>
                </c:pt>
                <c:pt idx="13518">
                  <c:v>776</c:v>
                </c:pt>
                <c:pt idx="13519">
                  <c:v>1150</c:v>
                </c:pt>
                <c:pt idx="13520">
                  <c:v>373</c:v>
                </c:pt>
                <c:pt idx="13521">
                  <c:v>145</c:v>
                </c:pt>
                <c:pt idx="13522">
                  <c:v>13235</c:v>
                </c:pt>
                <c:pt idx="13523">
                  <c:v>143</c:v>
                </c:pt>
                <c:pt idx="13524">
                  <c:v>760</c:v>
                </c:pt>
                <c:pt idx="13525">
                  <c:v>8157</c:v>
                </c:pt>
                <c:pt idx="13526">
                  <c:v>9618</c:v>
                </c:pt>
                <c:pt idx="13527">
                  <c:v>190</c:v>
                </c:pt>
                <c:pt idx="13528">
                  <c:v>350</c:v>
                </c:pt>
                <c:pt idx="13529">
                  <c:v>194</c:v>
                </c:pt>
                <c:pt idx="13530">
                  <c:v>589</c:v>
                </c:pt>
                <c:pt idx="13531">
                  <c:v>3841</c:v>
                </c:pt>
                <c:pt idx="13532">
                  <c:v>10104</c:v>
                </c:pt>
                <c:pt idx="13533">
                  <c:v>679</c:v>
                </c:pt>
                <c:pt idx="13534">
                  <c:v>6158</c:v>
                </c:pt>
                <c:pt idx="13535">
                  <c:v>1075</c:v>
                </c:pt>
                <c:pt idx="13536">
                  <c:v>2442</c:v>
                </c:pt>
                <c:pt idx="13537">
                  <c:v>1173</c:v>
                </c:pt>
                <c:pt idx="13538">
                  <c:v>463</c:v>
                </c:pt>
                <c:pt idx="13539">
                  <c:v>719</c:v>
                </c:pt>
                <c:pt idx="13540">
                  <c:v>504</c:v>
                </c:pt>
                <c:pt idx="13541">
                  <c:v>281</c:v>
                </c:pt>
                <c:pt idx="13542">
                  <c:v>2587</c:v>
                </c:pt>
                <c:pt idx="13543">
                  <c:v>196</c:v>
                </c:pt>
                <c:pt idx="13544">
                  <c:v>915</c:v>
                </c:pt>
                <c:pt idx="13545">
                  <c:v>7739</c:v>
                </c:pt>
                <c:pt idx="13546">
                  <c:v>924</c:v>
                </c:pt>
                <c:pt idx="13547">
                  <c:v>2779</c:v>
                </c:pt>
                <c:pt idx="13548">
                  <c:v>5769</c:v>
                </c:pt>
                <c:pt idx="13549">
                  <c:v>534</c:v>
                </c:pt>
                <c:pt idx="13550">
                  <c:v>66</c:v>
                </c:pt>
                <c:pt idx="13551">
                  <c:v>6338</c:v>
                </c:pt>
                <c:pt idx="13552">
                  <c:v>345</c:v>
                </c:pt>
                <c:pt idx="13553">
                  <c:v>4986</c:v>
                </c:pt>
                <c:pt idx="13554">
                  <c:v>307</c:v>
                </c:pt>
                <c:pt idx="13555">
                  <c:v>374</c:v>
                </c:pt>
                <c:pt idx="13556">
                  <c:v>2060</c:v>
                </c:pt>
                <c:pt idx="13557">
                  <c:v>533</c:v>
                </c:pt>
                <c:pt idx="13558">
                  <c:v>1524</c:v>
                </c:pt>
                <c:pt idx="13559">
                  <c:v>1119</c:v>
                </c:pt>
                <c:pt idx="13560">
                  <c:v>1524</c:v>
                </c:pt>
                <c:pt idx="13561">
                  <c:v>10959</c:v>
                </c:pt>
                <c:pt idx="13562">
                  <c:v>920</c:v>
                </c:pt>
                <c:pt idx="13563">
                  <c:v>2508</c:v>
                </c:pt>
                <c:pt idx="13564">
                  <c:v>1474</c:v>
                </c:pt>
                <c:pt idx="13565">
                  <c:v>72</c:v>
                </c:pt>
                <c:pt idx="13566">
                  <c:v>73</c:v>
                </c:pt>
                <c:pt idx="13567">
                  <c:v>545</c:v>
                </c:pt>
                <c:pt idx="13568">
                  <c:v>2355</c:v>
                </c:pt>
                <c:pt idx="13569">
                  <c:v>355</c:v>
                </c:pt>
                <c:pt idx="13570">
                  <c:v>2422</c:v>
                </c:pt>
                <c:pt idx="13571">
                  <c:v>3426</c:v>
                </c:pt>
                <c:pt idx="13572">
                  <c:v>2009</c:v>
                </c:pt>
                <c:pt idx="13573">
                  <c:v>2225</c:v>
                </c:pt>
                <c:pt idx="13574">
                  <c:v>3113</c:v>
                </c:pt>
                <c:pt idx="13575">
                  <c:v>2652</c:v>
                </c:pt>
                <c:pt idx="13576">
                  <c:v>2166</c:v>
                </c:pt>
                <c:pt idx="13577">
                  <c:v>1023</c:v>
                </c:pt>
                <c:pt idx="13578">
                  <c:v>276</c:v>
                </c:pt>
                <c:pt idx="13579">
                  <c:v>9248</c:v>
                </c:pt>
                <c:pt idx="13580">
                  <c:v>7591</c:v>
                </c:pt>
                <c:pt idx="13581">
                  <c:v>217</c:v>
                </c:pt>
                <c:pt idx="13582">
                  <c:v>1146</c:v>
                </c:pt>
                <c:pt idx="13583">
                  <c:v>150</c:v>
                </c:pt>
                <c:pt idx="13584">
                  <c:v>1791</c:v>
                </c:pt>
                <c:pt idx="13585">
                  <c:v>1140</c:v>
                </c:pt>
                <c:pt idx="13586">
                  <c:v>5966</c:v>
                </c:pt>
                <c:pt idx="13587">
                  <c:v>550</c:v>
                </c:pt>
                <c:pt idx="13588">
                  <c:v>5950</c:v>
                </c:pt>
                <c:pt idx="13589">
                  <c:v>2624</c:v>
                </c:pt>
                <c:pt idx="13590">
                  <c:v>611</c:v>
                </c:pt>
                <c:pt idx="13591">
                  <c:v>2019</c:v>
                </c:pt>
                <c:pt idx="13592">
                  <c:v>9770</c:v>
                </c:pt>
                <c:pt idx="13593">
                  <c:v>23268</c:v>
                </c:pt>
                <c:pt idx="13594">
                  <c:v>470</c:v>
                </c:pt>
                <c:pt idx="13595">
                  <c:v>2024</c:v>
                </c:pt>
                <c:pt idx="13596">
                  <c:v>600</c:v>
                </c:pt>
                <c:pt idx="13597">
                  <c:v>2704</c:v>
                </c:pt>
                <c:pt idx="13598">
                  <c:v>1164</c:v>
                </c:pt>
                <c:pt idx="13599">
                  <c:v>848</c:v>
                </c:pt>
                <c:pt idx="13600">
                  <c:v>208</c:v>
                </c:pt>
                <c:pt idx="13601">
                  <c:v>1963</c:v>
                </c:pt>
                <c:pt idx="13602">
                  <c:v>953</c:v>
                </c:pt>
                <c:pt idx="13603">
                  <c:v>623</c:v>
                </c:pt>
                <c:pt idx="13604">
                  <c:v>23466</c:v>
                </c:pt>
                <c:pt idx="13605">
                  <c:v>35</c:v>
                </c:pt>
                <c:pt idx="13606">
                  <c:v>1533</c:v>
                </c:pt>
                <c:pt idx="13607">
                  <c:v>235</c:v>
                </c:pt>
                <c:pt idx="13608">
                  <c:v>359</c:v>
                </c:pt>
                <c:pt idx="13609">
                  <c:v>1506</c:v>
                </c:pt>
                <c:pt idx="13610">
                  <c:v>3089</c:v>
                </c:pt>
                <c:pt idx="13611">
                  <c:v>626</c:v>
                </c:pt>
                <c:pt idx="13612">
                  <c:v>6626</c:v>
                </c:pt>
                <c:pt idx="13613">
                  <c:v>6323</c:v>
                </c:pt>
                <c:pt idx="13614">
                  <c:v>9630</c:v>
                </c:pt>
                <c:pt idx="13615">
                  <c:v>633</c:v>
                </c:pt>
                <c:pt idx="13616">
                  <c:v>23263</c:v>
                </c:pt>
                <c:pt idx="13617">
                  <c:v>12060</c:v>
                </c:pt>
                <c:pt idx="13618">
                  <c:v>2461</c:v>
                </c:pt>
                <c:pt idx="13619">
                  <c:v>150</c:v>
                </c:pt>
                <c:pt idx="13620">
                  <c:v>150</c:v>
                </c:pt>
                <c:pt idx="13621">
                  <c:v>763</c:v>
                </c:pt>
                <c:pt idx="13622">
                  <c:v>1106</c:v>
                </c:pt>
                <c:pt idx="13623">
                  <c:v>808</c:v>
                </c:pt>
                <c:pt idx="13624">
                  <c:v>355</c:v>
                </c:pt>
                <c:pt idx="13625">
                  <c:v>988</c:v>
                </c:pt>
                <c:pt idx="13626">
                  <c:v>755</c:v>
                </c:pt>
                <c:pt idx="13627">
                  <c:v>709</c:v>
                </c:pt>
                <c:pt idx="13628">
                  <c:v>11235</c:v>
                </c:pt>
                <c:pt idx="13629">
                  <c:v>2371</c:v>
                </c:pt>
                <c:pt idx="13630">
                  <c:v>236</c:v>
                </c:pt>
                <c:pt idx="13631">
                  <c:v>1960</c:v>
                </c:pt>
                <c:pt idx="13632">
                  <c:v>82</c:v>
                </c:pt>
                <c:pt idx="13633">
                  <c:v>10254</c:v>
                </c:pt>
                <c:pt idx="13634">
                  <c:v>714</c:v>
                </c:pt>
                <c:pt idx="13635">
                  <c:v>99</c:v>
                </c:pt>
                <c:pt idx="13636">
                  <c:v>750</c:v>
                </c:pt>
                <c:pt idx="13637">
                  <c:v>9369</c:v>
                </c:pt>
                <c:pt idx="13638">
                  <c:v>693</c:v>
                </c:pt>
                <c:pt idx="13639">
                  <c:v>1333</c:v>
                </c:pt>
                <c:pt idx="13640">
                  <c:v>15941</c:v>
                </c:pt>
                <c:pt idx="13641">
                  <c:v>371</c:v>
                </c:pt>
                <c:pt idx="13642">
                  <c:v>663</c:v>
                </c:pt>
                <c:pt idx="13643">
                  <c:v>73</c:v>
                </c:pt>
                <c:pt idx="13644">
                  <c:v>1648</c:v>
                </c:pt>
                <c:pt idx="13645">
                  <c:v>10802</c:v>
                </c:pt>
                <c:pt idx="13646">
                  <c:v>11224</c:v>
                </c:pt>
                <c:pt idx="13647">
                  <c:v>15405</c:v>
                </c:pt>
                <c:pt idx="13648">
                  <c:v>1196</c:v>
                </c:pt>
                <c:pt idx="13649">
                  <c:v>1857</c:v>
                </c:pt>
                <c:pt idx="13650">
                  <c:v>90</c:v>
                </c:pt>
                <c:pt idx="13651">
                  <c:v>307</c:v>
                </c:pt>
                <c:pt idx="13652">
                  <c:v>672</c:v>
                </c:pt>
                <c:pt idx="13653">
                  <c:v>1973</c:v>
                </c:pt>
                <c:pt idx="13654">
                  <c:v>2542</c:v>
                </c:pt>
                <c:pt idx="13655">
                  <c:v>10045</c:v>
                </c:pt>
                <c:pt idx="13656">
                  <c:v>1477</c:v>
                </c:pt>
                <c:pt idx="13657">
                  <c:v>320</c:v>
                </c:pt>
                <c:pt idx="13658">
                  <c:v>1120</c:v>
                </c:pt>
                <c:pt idx="13659">
                  <c:v>72</c:v>
                </c:pt>
                <c:pt idx="13660">
                  <c:v>1112</c:v>
                </c:pt>
                <c:pt idx="13661">
                  <c:v>202</c:v>
                </c:pt>
                <c:pt idx="13662">
                  <c:v>1287</c:v>
                </c:pt>
                <c:pt idx="13663">
                  <c:v>1373</c:v>
                </c:pt>
                <c:pt idx="13664">
                  <c:v>1117</c:v>
                </c:pt>
                <c:pt idx="13665">
                  <c:v>51</c:v>
                </c:pt>
                <c:pt idx="13666">
                  <c:v>788</c:v>
                </c:pt>
                <c:pt idx="13667">
                  <c:v>1778</c:v>
                </c:pt>
                <c:pt idx="13668">
                  <c:v>3256</c:v>
                </c:pt>
                <c:pt idx="13669">
                  <c:v>231</c:v>
                </c:pt>
                <c:pt idx="13670">
                  <c:v>335</c:v>
                </c:pt>
                <c:pt idx="13671">
                  <c:v>2674</c:v>
                </c:pt>
                <c:pt idx="13672">
                  <c:v>480</c:v>
                </c:pt>
                <c:pt idx="13673">
                  <c:v>1594</c:v>
                </c:pt>
                <c:pt idx="13674">
                  <c:v>2638</c:v>
                </c:pt>
                <c:pt idx="13675">
                  <c:v>392</c:v>
                </c:pt>
                <c:pt idx="13676">
                  <c:v>476</c:v>
                </c:pt>
                <c:pt idx="13677">
                  <c:v>1866</c:v>
                </c:pt>
                <c:pt idx="13678">
                  <c:v>566</c:v>
                </c:pt>
                <c:pt idx="13679">
                  <c:v>82</c:v>
                </c:pt>
                <c:pt idx="13680">
                  <c:v>11485</c:v>
                </c:pt>
                <c:pt idx="13681">
                  <c:v>889</c:v>
                </c:pt>
                <c:pt idx="13682">
                  <c:v>731</c:v>
                </c:pt>
                <c:pt idx="13683">
                  <c:v>83</c:v>
                </c:pt>
                <c:pt idx="13684">
                  <c:v>5544</c:v>
                </c:pt>
                <c:pt idx="13685">
                  <c:v>1013</c:v>
                </c:pt>
                <c:pt idx="13686">
                  <c:v>19555</c:v>
                </c:pt>
                <c:pt idx="13687">
                  <c:v>712</c:v>
                </c:pt>
                <c:pt idx="13688">
                  <c:v>91</c:v>
                </c:pt>
                <c:pt idx="13689">
                  <c:v>54</c:v>
                </c:pt>
                <c:pt idx="13690">
                  <c:v>1373</c:v>
                </c:pt>
                <c:pt idx="13691">
                  <c:v>915</c:v>
                </c:pt>
                <c:pt idx="13692">
                  <c:v>886</c:v>
                </c:pt>
                <c:pt idx="13693">
                  <c:v>434</c:v>
                </c:pt>
                <c:pt idx="13694">
                  <c:v>283</c:v>
                </c:pt>
                <c:pt idx="13695">
                  <c:v>168</c:v>
                </c:pt>
                <c:pt idx="13696">
                  <c:v>1966</c:v>
                </c:pt>
                <c:pt idx="13697">
                  <c:v>895</c:v>
                </c:pt>
                <c:pt idx="13698">
                  <c:v>3706</c:v>
                </c:pt>
                <c:pt idx="13699">
                  <c:v>3699</c:v>
                </c:pt>
                <c:pt idx="13700">
                  <c:v>19287</c:v>
                </c:pt>
                <c:pt idx="13701">
                  <c:v>17864</c:v>
                </c:pt>
                <c:pt idx="13702">
                  <c:v>12384</c:v>
                </c:pt>
                <c:pt idx="13703">
                  <c:v>10209</c:v>
                </c:pt>
                <c:pt idx="13704">
                  <c:v>12927</c:v>
                </c:pt>
                <c:pt idx="13705">
                  <c:v>3395</c:v>
                </c:pt>
                <c:pt idx="13706">
                  <c:v>4063</c:v>
                </c:pt>
                <c:pt idx="13707">
                  <c:v>741</c:v>
                </c:pt>
                <c:pt idx="13708">
                  <c:v>2086</c:v>
                </c:pt>
                <c:pt idx="13709">
                  <c:v>1514</c:v>
                </c:pt>
                <c:pt idx="13710">
                  <c:v>718</c:v>
                </c:pt>
                <c:pt idx="13711">
                  <c:v>1556</c:v>
                </c:pt>
                <c:pt idx="13712">
                  <c:v>4019</c:v>
                </c:pt>
                <c:pt idx="13713">
                  <c:v>519</c:v>
                </c:pt>
                <c:pt idx="13714">
                  <c:v>4306</c:v>
                </c:pt>
                <c:pt idx="13715">
                  <c:v>2943</c:v>
                </c:pt>
                <c:pt idx="13716">
                  <c:v>150</c:v>
                </c:pt>
                <c:pt idx="13717">
                  <c:v>687</c:v>
                </c:pt>
                <c:pt idx="13718">
                  <c:v>2360</c:v>
                </c:pt>
                <c:pt idx="13719">
                  <c:v>200</c:v>
                </c:pt>
                <c:pt idx="13720">
                  <c:v>3341</c:v>
                </c:pt>
                <c:pt idx="13721">
                  <c:v>572</c:v>
                </c:pt>
                <c:pt idx="13722">
                  <c:v>1773</c:v>
                </c:pt>
                <c:pt idx="13723">
                  <c:v>5290</c:v>
                </c:pt>
                <c:pt idx="13724">
                  <c:v>2380</c:v>
                </c:pt>
                <c:pt idx="13725">
                  <c:v>158</c:v>
                </c:pt>
                <c:pt idx="13726">
                  <c:v>185</c:v>
                </c:pt>
                <c:pt idx="13727">
                  <c:v>583</c:v>
                </c:pt>
                <c:pt idx="13728">
                  <c:v>857</c:v>
                </c:pt>
                <c:pt idx="13729">
                  <c:v>630</c:v>
                </c:pt>
                <c:pt idx="13730">
                  <c:v>1456</c:v>
                </c:pt>
                <c:pt idx="13731">
                  <c:v>8238</c:v>
                </c:pt>
                <c:pt idx="13732">
                  <c:v>2063</c:v>
                </c:pt>
                <c:pt idx="13733">
                  <c:v>796</c:v>
                </c:pt>
                <c:pt idx="13734">
                  <c:v>174</c:v>
                </c:pt>
                <c:pt idx="13735">
                  <c:v>458</c:v>
                </c:pt>
                <c:pt idx="13736">
                  <c:v>671</c:v>
                </c:pt>
                <c:pt idx="13737">
                  <c:v>323</c:v>
                </c:pt>
                <c:pt idx="13738">
                  <c:v>1116</c:v>
                </c:pt>
                <c:pt idx="13739">
                  <c:v>498</c:v>
                </c:pt>
                <c:pt idx="13740">
                  <c:v>206</c:v>
                </c:pt>
                <c:pt idx="13741">
                  <c:v>1807</c:v>
                </c:pt>
                <c:pt idx="13742">
                  <c:v>218</c:v>
                </c:pt>
                <c:pt idx="13743">
                  <c:v>92</c:v>
                </c:pt>
                <c:pt idx="13744">
                  <c:v>1218</c:v>
                </c:pt>
                <c:pt idx="13745">
                  <c:v>201</c:v>
                </c:pt>
                <c:pt idx="13746">
                  <c:v>632</c:v>
                </c:pt>
                <c:pt idx="13747">
                  <c:v>416</c:v>
                </c:pt>
                <c:pt idx="13748">
                  <c:v>2343</c:v>
                </c:pt>
                <c:pt idx="13749">
                  <c:v>222</c:v>
                </c:pt>
                <c:pt idx="13750">
                  <c:v>229</c:v>
                </c:pt>
                <c:pt idx="13751">
                  <c:v>644</c:v>
                </c:pt>
                <c:pt idx="13752">
                  <c:v>4749</c:v>
                </c:pt>
                <c:pt idx="13753">
                  <c:v>11496</c:v>
                </c:pt>
                <c:pt idx="13754">
                  <c:v>268</c:v>
                </c:pt>
                <c:pt idx="13755">
                  <c:v>298</c:v>
                </c:pt>
                <c:pt idx="13756">
                  <c:v>3762</c:v>
                </c:pt>
                <c:pt idx="13757">
                  <c:v>2213</c:v>
                </c:pt>
                <c:pt idx="13758">
                  <c:v>711</c:v>
                </c:pt>
                <c:pt idx="13759">
                  <c:v>2055</c:v>
                </c:pt>
                <c:pt idx="13760">
                  <c:v>655</c:v>
                </c:pt>
                <c:pt idx="13761">
                  <c:v>1994</c:v>
                </c:pt>
                <c:pt idx="13762">
                  <c:v>576</c:v>
                </c:pt>
                <c:pt idx="13763">
                  <c:v>2556</c:v>
                </c:pt>
                <c:pt idx="13764">
                  <c:v>255</c:v>
                </c:pt>
                <c:pt idx="13765">
                  <c:v>664</c:v>
                </c:pt>
                <c:pt idx="13766">
                  <c:v>325</c:v>
                </c:pt>
                <c:pt idx="13767">
                  <c:v>581</c:v>
                </c:pt>
                <c:pt idx="13768">
                  <c:v>174</c:v>
                </c:pt>
                <c:pt idx="13769">
                  <c:v>1454</c:v>
                </c:pt>
                <c:pt idx="13770">
                  <c:v>1453</c:v>
                </c:pt>
                <c:pt idx="13771">
                  <c:v>89</c:v>
                </c:pt>
                <c:pt idx="13772">
                  <c:v>370</c:v>
                </c:pt>
                <c:pt idx="13773">
                  <c:v>5081</c:v>
                </c:pt>
                <c:pt idx="13774">
                  <c:v>423</c:v>
                </c:pt>
                <c:pt idx="13775">
                  <c:v>245</c:v>
                </c:pt>
                <c:pt idx="13776">
                  <c:v>11820</c:v>
                </c:pt>
                <c:pt idx="13777">
                  <c:v>391</c:v>
                </c:pt>
                <c:pt idx="13778">
                  <c:v>1279</c:v>
                </c:pt>
                <c:pt idx="13779">
                  <c:v>6101</c:v>
                </c:pt>
                <c:pt idx="13780">
                  <c:v>2479</c:v>
                </c:pt>
                <c:pt idx="13781">
                  <c:v>430</c:v>
                </c:pt>
                <c:pt idx="13782">
                  <c:v>306</c:v>
                </c:pt>
                <c:pt idx="13783">
                  <c:v>1363</c:v>
                </c:pt>
                <c:pt idx="13784">
                  <c:v>1132</c:v>
                </c:pt>
                <c:pt idx="13785">
                  <c:v>150</c:v>
                </c:pt>
                <c:pt idx="13786">
                  <c:v>867</c:v>
                </c:pt>
                <c:pt idx="13787">
                  <c:v>5971</c:v>
                </c:pt>
                <c:pt idx="13788">
                  <c:v>19488</c:v>
                </c:pt>
                <c:pt idx="13789">
                  <c:v>989</c:v>
                </c:pt>
                <c:pt idx="13790">
                  <c:v>1054</c:v>
                </c:pt>
                <c:pt idx="13791">
                  <c:v>1120</c:v>
                </c:pt>
                <c:pt idx="13792">
                  <c:v>2457</c:v>
                </c:pt>
                <c:pt idx="13793">
                  <c:v>671</c:v>
                </c:pt>
                <c:pt idx="13794">
                  <c:v>1748</c:v>
                </c:pt>
                <c:pt idx="13795">
                  <c:v>433</c:v>
                </c:pt>
                <c:pt idx="13796">
                  <c:v>2515</c:v>
                </c:pt>
                <c:pt idx="13797">
                  <c:v>547</c:v>
                </c:pt>
                <c:pt idx="13798">
                  <c:v>2203</c:v>
                </c:pt>
                <c:pt idx="13799">
                  <c:v>1735</c:v>
                </c:pt>
                <c:pt idx="13800">
                  <c:v>772</c:v>
                </c:pt>
                <c:pt idx="13801">
                  <c:v>5496</c:v>
                </c:pt>
                <c:pt idx="13802">
                  <c:v>42</c:v>
                </c:pt>
                <c:pt idx="13803">
                  <c:v>308</c:v>
                </c:pt>
                <c:pt idx="13804">
                  <c:v>7907</c:v>
                </c:pt>
                <c:pt idx="13805">
                  <c:v>14870</c:v>
                </c:pt>
                <c:pt idx="13806">
                  <c:v>12857</c:v>
                </c:pt>
                <c:pt idx="13807">
                  <c:v>4028</c:v>
                </c:pt>
                <c:pt idx="13808">
                  <c:v>16661</c:v>
                </c:pt>
                <c:pt idx="13809">
                  <c:v>14093</c:v>
                </c:pt>
                <c:pt idx="13810">
                  <c:v>7287</c:v>
                </c:pt>
                <c:pt idx="13811">
                  <c:v>9969</c:v>
                </c:pt>
                <c:pt idx="13812">
                  <c:v>15262</c:v>
                </c:pt>
                <c:pt idx="13813">
                  <c:v>9971</c:v>
                </c:pt>
                <c:pt idx="13814">
                  <c:v>4342</c:v>
                </c:pt>
                <c:pt idx="13815">
                  <c:v>5918</c:v>
                </c:pt>
                <c:pt idx="13816">
                  <c:v>5294</c:v>
                </c:pt>
                <c:pt idx="13817">
                  <c:v>516</c:v>
                </c:pt>
                <c:pt idx="13818">
                  <c:v>360</c:v>
                </c:pt>
                <c:pt idx="13819">
                  <c:v>8606</c:v>
                </c:pt>
                <c:pt idx="13820">
                  <c:v>426</c:v>
                </c:pt>
                <c:pt idx="13821">
                  <c:v>871</c:v>
                </c:pt>
                <c:pt idx="13822">
                  <c:v>894</c:v>
                </c:pt>
                <c:pt idx="13823">
                  <c:v>1237</c:v>
                </c:pt>
                <c:pt idx="13824">
                  <c:v>3998</c:v>
                </c:pt>
                <c:pt idx="13825">
                  <c:v>258</c:v>
                </c:pt>
                <c:pt idx="13826">
                  <c:v>526</c:v>
                </c:pt>
                <c:pt idx="13827">
                  <c:v>572</c:v>
                </c:pt>
                <c:pt idx="13828">
                  <c:v>323</c:v>
                </c:pt>
                <c:pt idx="13829">
                  <c:v>927</c:v>
                </c:pt>
                <c:pt idx="13830">
                  <c:v>85</c:v>
                </c:pt>
                <c:pt idx="13831">
                  <c:v>236</c:v>
                </c:pt>
                <c:pt idx="13832">
                  <c:v>436</c:v>
                </c:pt>
                <c:pt idx="13833">
                  <c:v>143</c:v>
                </c:pt>
                <c:pt idx="13834">
                  <c:v>664</c:v>
                </c:pt>
                <c:pt idx="13835">
                  <c:v>344</c:v>
                </c:pt>
                <c:pt idx="13836">
                  <c:v>190</c:v>
                </c:pt>
                <c:pt idx="13837">
                  <c:v>257</c:v>
                </c:pt>
                <c:pt idx="13838">
                  <c:v>528</c:v>
                </c:pt>
                <c:pt idx="13839">
                  <c:v>301</c:v>
                </c:pt>
                <c:pt idx="13840">
                  <c:v>1133</c:v>
                </c:pt>
                <c:pt idx="13841">
                  <c:v>208</c:v>
                </c:pt>
                <c:pt idx="13842">
                  <c:v>2544</c:v>
                </c:pt>
                <c:pt idx="13843">
                  <c:v>1377</c:v>
                </c:pt>
                <c:pt idx="13844">
                  <c:v>1579</c:v>
                </c:pt>
                <c:pt idx="13845">
                  <c:v>65</c:v>
                </c:pt>
                <c:pt idx="13846">
                  <c:v>3332</c:v>
                </c:pt>
                <c:pt idx="13847">
                  <c:v>197</c:v>
                </c:pt>
                <c:pt idx="13848">
                  <c:v>4029</c:v>
                </c:pt>
                <c:pt idx="13849">
                  <c:v>2593</c:v>
                </c:pt>
                <c:pt idx="13850">
                  <c:v>7674</c:v>
                </c:pt>
                <c:pt idx="13851">
                  <c:v>20179</c:v>
                </c:pt>
                <c:pt idx="13852">
                  <c:v>32375</c:v>
                </c:pt>
                <c:pt idx="13853">
                  <c:v>22321</c:v>
                </c:pt>
                <c:pt idx="13854">
                  <c:v>182</c:v>
                </c:pt>
                <c:pt idx="13855">
                  <c:v>2588</c:v>
                </c:pt>
                <c:pt idx="13856">
                  <c:v>1399</c:v>
                </c:pt>
                <c:pt idx="13857">
                  <c:v>542</c:v>
                </c:pt>
                <c:pt idx="13858">
                  <c:v>589</c:v>
                </c:pt>
                <c:pt idx="13859">
                  <c:v>1698</c:v>
                </c:pt>
                <c:pt idx="13860">
                  <c:v>487</c:v>
                </c:pt>
                <c:pt idx="13861">
                  <c:v>804</c:v>
                </c:pt>
                <c:pt idx="13862">
                  <c:v>332</c:v>
                </c:pt>
                <c:pt idx="13863">
                  <c:v>508</c:v>
                </c:pt>
                <c:pt idx="13864">
                  <c:v>2602</c:v>
                </c:pt>
                <c:pt idx="13865">
                  <c:v>13099</c:v>
                </c:pt>
                <c:pt idx="13866">
                  <c:v>807</c:v>
                </c:pt>
                <c:pt idx="13867">
                  <c:v>596</c:v>
                </c:pt>
                <c:pt idx="13868">
                  <c:v>392</c:v>
                </c:pt>
                <c:pt idx="13869">
                  <c:v>330</c:v>
                </c:pt>
                <c:pt idx="13870">
                  <c:v>1551</c:v>
                </c:pt>
                <c:pt idx="13871">
                  <c:v>1079</c:v>
                </c:pt>
                <c:pt idx="13872">
                  <c:v>662</c:v>
                </c:pt>
                <c:pt idx="13873">
                  <c:v>640</c:v>
                </c:pt>
                <c:pt idx="13874">
                  <c:v>187</c:v>
                </c:pt>
                <c:pt idx="13875">
                  <c:v>528</c:v>
                </c:pt>
                <c:pt idx="13876">
                  <c:v>1102</c:v>
                </c:pt>
                <c:pt idx="13877">
                  <c:v>996</c:v>
                </c:pt>
                <c:pt idx="13878">
                  <c:v>1052</c:v>
                </c:pt>
                <c:pt idx="13879">
                  <c:v>468</c:v>
                </c:pt>
                <c:pt idx="13880">
                  <c:v>836</c:v>
                </c:pt>
                <c:pt idx="13881">
                  <c:v>54</c:v>
                </c:pt>
                <c:pt idx="13882">
                  <c:v>1014</c:v>
                </c:pt>
                <c:pt idx="13883">
                  <c:v>6887</c:v>
                </c:pt>
                <c:pt idx="13884">
                  <c:v>989</c:v>
                </c:pt>
                <c:pt idx="13885">
                  <c:v>49</c:v>
                </c:pt>
                <c:pt idx="13886">
                  <c:v>238</c:v>
                </c:pt>
                <c:pt idx="13887">
                  <c:v>118</c:v>
                </c:pt>
                <c:pt idx="13888">
                  <c:v>315</c:v>
                </c:pt>
                <c:pt idx="13889">
                  <c:v>534</c:v>
                </c:pt>
                <c:pt idx="13890">
                  <c:v>141</c:v>
                </c:pt>
                <c:pt idx="13891">
                  <c:v>838</c:v>
                </c:pt>
                <c:pt idx="13892">
                  <c:v>811</c:v>
                </c:pt>
                <c:pt idx="13893">
                  <c:v>476</c:v>
                </c:pt>
                <c:pt idx="13894">
                  <c:v>438</c:v>
                </c:pt>
                <c:pt idx="13895">
                  <c:v>1204</c:v>
                </c:pt>
                <c:pt idx="13896">
                  <c:v>5267</c:v>
                </c:pt>
                <c:pt idx="13897">
                  <c:v>584</c:v>
                </c:pt>
                <c:pt idx="13898">
                  <c:v>467</c:v>
                </c:pt>
                <c:pt idx="13899">
                  <c:v>59</c:v>
                </c:pt>
                <c:pt idx="13900">
                  <c:v>1779</c:v>
                </c:pt>
                <c:pt idx="13901">
                  <c:v>808</c:v>
                </c:pt>
                <c:pt idx="13902">
                  <c:v>521</c:v>
                </c:pt>
                <c:pt idx="13903">
                  <c:v>848</c:v>
                </c:pt>
                <c:pt idx="13904">
                  <c:v>1732</c:v>
                </c:pt>
                <c:pt idx="13905">
                  <c:v>211</c:v>
                </c:pt>
                <c:pt idx="13906">
                  <c:v>922</c:v>
                </c:pt>
                <c:pt idx="13907">
                  <c:v>105</c:v>
                </c:pt>
                <c:pt idx="13908">
                  <c:v>4758</c:v>
                </c:pt>
                <c:pt idx="13909">
                  <c:v>1493</c:v>
                </c:pt>
                <c:pt idx="13910">
                  <c:v>2893</c:v>
                </c:pt>
                <c:pt idx="13911">
                  <c:v>2579</c:v>
                </c:pt>
                <c:pt idx="13912">
                  <c:v>1645</c:v>
                </c:pt>
                <c:pt idx="13913">
                  <c:v>11009</c:v>
                </c:pt>
                <c:pt idx="13914">
                  <c:v>2091</c:v>
                </c:pt>
                <c:pt idx="13915">
                  <c:v>3924</c:v>
                </c:pt>
                <c:pt idx="13916">
                  <c:v>6610</c:v>
                </c:pt>
                <c:pt idx="13917">
                  <c:v>14545</c:v>
                </c:pt>
                <c:pt idx="13918">
                  <c:v>1298</c:v>
                </c:pt>
                <c:pt idx="13919">
                  <c:v>2310</c:v>
                </c:pt>
                <c:pt idx="13920">
                  <c:v>7144</c:v>
                </c:pt>
                <c:pt idx="13921">
                  <c:v>7328</c:v>
                </c:pt>
                <c:pt idx="13922">
                  <c:v>1571</c:v>
                </c:pt>
                <c:pt idx="13923">
                  <c:v>371</c:v>
                </c:pt>
                <c:pt idx="13924">
                  <c:v>7928</c:v>
                </c:pt>
                <c:pt idx="13925">
                  <c:v>836</c:v>
                </c:pt>
                <c:pt idx="13926">
                  <c:v>7475</c:v>
                </c:pt>
                <c:pt idx="13927">
                  <c:v>7425</c:v>
                </c:pt>
                <c:pt idx="13928">
                  <c:v>16735</c:v>
                </c:pt>
                <c:pt idx="13929">
                  <c:v>9249</c:v>
                </c:pt>
                <c:pt idx="13930">
                  <c:v>22221</c:v>
                </c:pt>
                <c:pt idx="13931">
                  <c:v>3430</c:v>
                </c:pt>
                <c:pt idx="13932">
                  <c:v>4456</c:v>
                </c:pt>
                <c:pt idx="13933">
                  <c:v>1878</c:v>
                </c:pt>
                <c:pt idx="13934">
                  <c:v>16101</c:v>
                </c:pt>
                <c:pt idx="13935">
                  <c:v>6900</c:v>
                </c:pt>
                <c:pt idx="13936">
                  <c:v>30471</c:v>
                </c:pt>
                <c:pt idx="13937">
                  <c:v>12707</c:v>
                </c:pt>
                <c:pt idx="13938">
                  <c:v>20250</c:v>
                </c:pt>
                <c:pt idx="13939">
                  <c:v>3780</c:v>
                </c:pt>
                <c:pt idx="13940">
                  <c:v>2664</c:v>
                </c:pt>
                <c:pt idx="13941">
                  <c:v>710</c:v>
                </c:pt>
                <c:pt idx="13942">
                  <c:v>8655</c:v>
                </c:pt>
                <c:pt idx="13943">
                  <c:v>3140</c:v>
                </c:pt>
                <c:pt idx="13944">
                  <c:v>6722</c:v>
                </c:pt>
                <c:pt idx="13945">
                  <c:v>16854</c:v>
                </c:pt>
                <c:pt idx="13946">
                  <c:v>4258</c:v>
                </c:pt>
                <c:pt idx="13947">
                  <c:v>2227</c:v>
                </c:pt>
                <c:pt idx="13948">
                  <c:v>2058</c:v>
                </c:pt>
                <c:pt idx="13949">
                  <c:v>5131</c:v>
                </c:pt>
                <c:pt idx="13950">
                  <c:v>22351</c:v>
                </c:pt>
                <c:pt idx="13951">
                  <c:v>15755</c:v>
                </c:pt>
                <c:pt idx="13952">
                  <c:v>1396</c:v>
                </c:pt>
                <c:pt idx="13953">
                  <c:v>3499</c:v>
                </c:pt>
                <c:pt idx="13954">
                  <c:v>15370</c:v>
                </c:pt>
                <c:pt idx="13955">
                  <c:v>9253</c:v>
                </c:pt>
                <c:pt idx="13956">
                  <c:v>20691</c:v>
                </c:pt>
                <c:pt idx="13957">
                  <c:v>4180</c:v>
                </c:pt>
                <c:pt idx="13958">
                  <c:v>10076</c:v>
                </c:pt>
                <c:pt idx="13959">
                  <c:v>11528</c:v>
                </c:pt>
                <c:pt idx="13960">
                  <c:v>6078</c:v>
                </c:pt>
                <c:pt idx="13961">
                  <c:v>11408</c:v>
                </c:pt>
                <c:pt idx="13962">
                  <c:v>9995</c:v>
                </c:pt>
                <c:pt idx="13963">
                  <c:v>8290</c:v>
                </c:pt>
                <c:pt idx="13964">
                  <c:v>11898</c:v>
                </c:pt>
                <c:pt idx="13965">
                  <c:v>8183</c:v>
                </c:pt>
                <c:pt idx="13966">
                  <c:v>12958</c:v>
                </c:pt>
                <c:pt idx="13967">
                  <c:v>11951</c:v>
                </c:pt>
                <c:pt idx="13968">
                  <c:v>14992</c:v>
                </c:pt>
                <c:pt idx="13969">
                  <c:v>12642</c:v>
                </c:pt>
                <c:pt idx="13970">
                  <c:v>12876</c:v>
                </c:pt>
                <c:pt idx="13971">
                  <c:v>11392</c:v>
                </c:pt>
                <c:pt idx="13972">
                  <c:v>9176</c:v>
                </c:pt>
                <c:pt idx="13973">
                  <c:v>2735</c:v>
                </c:pt>
                <c:pt idx="13974">
                  <c:v>1779</c:v>
                </c:pt>
                <c:pt idx="13975">
                  <c:v>2080</c:v>
                </c:pt>
                <c:pt idx="13976">
                  <c:v>10028</c:v>
                </c:pt>
                <c:pt idx="13977">
                  <c:v>13762</c:v>
                </c:pt>
                <c:pt idx="13978">
                  <c:v>31014</c:v>
                </c:pt>
                <c:pt idx="13979">
                  <c:v>22282</c:v>
                </c:pt>
                <c:pt idx="13980">
                  <c:v>19164</c:v>
                </c:pt>
                <c:pt idx="13981">
                  <c:v>14608</c:v>
                </c:pt>
                <c:pt idx="13982">
                  <c:v>22675</c:v>
                </c:pt>
                <c:pt idx="13983">
                  <c:v>10998</c:v>
                </c:pt>
                <c:pt idx="13984">
                  <c:v>13903</c:v>
                </c:pt>
                <c:pt idx="13985">
                  <c:v>3953</c:v>
                </c:pt>
                <c:pt idx="13986">
                  <c:v>5978</c:v>
                </c:pt>
                <c:pt idx="13987">
                  <c:v>2969</c:v>
                </c:pt>
                <c:pt idx="13988">
                  <c:v>4483</c:v>
                </c:pt>
                <c:pt idx="13989">
                  <c:v>15288</c:v>
                </c:pt>
                <c:pt idx="13990">
                  <c:v>8930</c:v>
                </c:pt>
                <c:pt idx="13991">
                  <c:v>16529</c:v>
                </c:pt>
                <c:pt idx="13992">
                  <c:v>15628</c:v>
                </c:pt>
                <c:pt idx="13993">
                  <c:v>5894</c:v>
                </c:pt>
                <c:pt idx="13994">
                  <c:v>7658</c:v>
                </c:pt>
                <c:pt idx="13995">
                  <c:v>3899</c:v>
                </c:pt>
                <c:pt idx="13996">
                  <c:v>2167</c:v>
                </c:pt>
                <c:pt idx="13997">
                  <c:v>11788</c:v>
                </c:pt>
                <c:pt idx="13998">
                  <c:v>13016</c:v>
                </c:pt>
                <c:pt idx="13999">
                  <c:v>2310</c:v>
                </c:pt>
                <c:pt idx="14000">
                  <c:v>4748</c:v>
                </c:pt>
                <c:pt idx="14001">
                  <c:v>33</c:v>
                </c:pt>
                <c:pt idx="14002">
                  <c:v>1784</c:v>
                </c:pt>
                <c:pt idx="14003">
                  <c:v>9478</c:v>
                </c:pt>
                <c:pt idx="14004">
                  <c:v>5176</c:v>
                </c:pt>
                <c:pt idx="14005">
                  <c:v>1342</c:v>
                </c:pt>
                <c:pt idx="14006">
                  <c:v>16630</c:v>
                </c:pt>
                <c:pt idx="14007">
                  <c:v>14588</c:v>
                </c:pt>
                <c:pt idx="14008">
                  <c:v>14906</c:v>
                </c:pt>
                <c:pt idx="14009">
                  <c:v>18065</c:v>
                </c:pt>
                <c:pt idx="14010">
                  <c:v>374</c:v>
                </c:pt>
                <c:pt idx="14011">
                  <c:v>4273</c:v>
                </c:pt>
                <c:pt idx="14012">
                  <c:v>1238</c:v>
                </c:pt>
                <c:pt idx="14013">
                  <c:v>6405</c:v>
                </c:pt>
                <c:pt idx="14014">
                  <c:v>11660</c:v>
                </c:pt>
                <c:pt idx="14015">
                  <c:v>12804</c:v>
                </c:pt>
                <c:pt idx="14016">
                  <c:v>4239</c:v>
                </c:pt>
                <c:pt idx="14017">
                  <c:v>4428</c:v>
                </c:pt>
                <c:pt idx="14018">
                  <c:v>5985</c:v>
                </c:pt>
                <c:pt idx="14019">
                  <c:v>11837</c:v>
                </c:pt>
                <c:pt idx="14020">
                  <c:v>11260</c:v>
                </c:pt>
                <c:pt idx="14021">
                  <c:v>10580</c:v>
                </c:pt>
                <c:pt idx="14022">
                  <c:v>20400</c:v>
                </c:pt>
                <c:pt idx="14023">
                  <c:v>6063</c:v>
                </c:pt>
                <c:pt idx="14024">
                  <c:v>13793</c:v>
                </c:pt>
                <c:pt idx="14025">
                  <c:v>10821</c:v>
                </c:pt>
                <c:pt idx="14026">
                  <c:v>18341</c:v>
                </c:pt>
                <c:pt idx="14027">
                  <c:v>1938</c:v>
                </c:pt>
                <c:pt idx="14028">
                  <c:v>28706</c:v>
                </c:pt>
                <c:pt idx="14029">
                  <c:v>10019</c:v>
                </c:pt>
                <c:pt idx="14030">
                  <c:v>19448</c:v>
                </c:pt>
                <c:pt idx="14031">
                  <c:v>7775</c:v>
                </c:pt>
                <c:pt idx="14032">
                  <c:v>23460</c:v>
                </c:pt>
                <c:pt idx="14033">
                  <c:v>16316</c:v>
                </c:pt>
                <c:pt idx="14034">
                  <c:v>26903</c:v>
                </c:pt>
                <c:pt idx="14035">
                  <c:v>23409</c:v>
                </c:pt>
                <c:pt idx="14036">
                  <c:v>7241</c:v>
                </c:pt>
                <c:pt idx="14037">
                  <c:v>133</c:v>
                </c:pt>
                <c:pt idx="14038">
                  <c:v>1917</c:v>
                </c:pt>
                <c:pt idx="14039">
                  <c:v>11947</c:v>
                </c:pt>
                <c:pt idx="14040">
                  <c:v>7316</c:v>
                </c:pt>
                <c:pt idx="14041">
                  <c:v>14771</c:v>
                </c:pt>
                <c:pt idx="14042">
                  <c:v>34017</c:v>
                </c:pt>
                <c:pt idx="14043">
                  <c:v>19270</c:v>
                </c:pt>
                <c:pt idx="14044">
                  <c:v>6060</c:v>
                </c:pt>
                <c:pt idx="14045">
                  <c:v>6489</c:v>
                </c:pt>
                <c:pt idx="14046">
                  <c:v>7390</c:v>
                </c:pt>
                <c:pt idx="14047">
                  <c:v>6597</c:v>
                </c:pt>
                <c:pt idx="14048">
                  <c:v>14061</c:v>
                </c:pt>
                <c:pt idx="14049">
                  <c:v>5454</c:v>
                </c:pt>
                <c:pt idx="14050">
                  <c:v>7716</c:v>
                </c:pt>
                <c:pt idx="14051">
                  <c:v>2785</c:v>
                </c:pt>
                <c:pt idx="14052">
                  <c:v>9432</c:v>
                </c:pt>
                <c:pt idx="14053">
                  <c:v>8560</c:v>
                </c:pt>
                <c:pt idx="14054">
                  <c:v>1429</c:v>
                </c:pt>
                <c:pt idx="14055">
                  <c:v>11550</c:v>
                </c:pt>
                <c:pt idx="14056">
                  <c:v>6395</c:v>
                </c:pt>
                <c:pt idx="14057">
                  <c:v>6886</c:v>
                </c:pt>
                <c:pt idx="14058">
                  <c:v>3202</c:v>
                </c:pt>
                <c:pt idx="14059">
                  <c:v>2305</c:v>
                </c:pt>
                <c:pt idx="14060">
                  <c:v>2347</c:v>
                </c:pt>
                <c:pt idx="14061">
                  <c:v>2207</c:v>
                </c:pt>
                <c:pt idx="14062">
                  <c:v>15147</c:v>
                </c:pt>
                <c:pt idx="14063">
                  <c:v>14287</c:v>
                </c:pt>
                <c:pt idx="14064">
                  <c:v>16298</c:v>
                </c:pt>
                <c:pt idx="14065">
                  <c:v>9274</c:v>
                </c:pt>
                <c:pt idx="14066">
                  <c:v>13998</c:v>
                </c:pt>
                <c:pt idx="14067">
                  <c:v>7109</c:v>
                </c:pt>
                <c:pt idx="14068">
                  <c:v>4047</c:v>
                </c:pt>
                <c:pt idx="14069">
                  <c:v>11924</c:v>
                </c:pt>
                <c:pt idx="14070">
                  <c:v>18282</c:v>
                </c:pt>
                <c:pt idx="14071">
                  <c:v>3052</c:v>
                </c:pt>
                <c:pt idx="14072">
                  <c:v>9266</c:v>
                </c:pt>
                <c:pt idx="14073">
                  <c:v>10618</c:v>
                </c:pt>
                <c:pt idx="14074">
                  <c:v>14903</c:v>
                </c:pt>
                <c:pt idx="14075">
                  <c:v>15014</c:v>
                </c:pt>
                <c:pt idx="14076">
                  <c:v>14631</c:v>
                </c:pt>
                <c:pt idx="14077">
                  <c:v>7738</c:v>
                </c:pt>
                <c:pt idx="14078">
                  <c:v>17417</c:v>
                </c:pt>
                <c:pt idx="14079">
                  <c:v>7880</c:v>
                </c:pt>
                <c:pt idx="14080">
                  <c:v>7445</c:v>
                </c:pt>
                <c:pt idx="14081">
                  <c:v>7499</c:v>
                </c:pt>
                <c:pt idx="14082">
                  <c:v>7204</c:v>
                </c:pt>
                <c:pt idx="14083">
                  <c:v>13599</c:v>
                </c:pt>
                <c:pt idx="14084">
                  <c:v>21862</c:v>
                </c:pt>
                <c:pt idx="14085">
                  <c:v>14479</c:v>
                </c:pt>
                <c:pt idx="14086">
                  <c:v>19441</c:v>
                </c:pt>
                <c:pt idx="14087">
                  <c:v>17052</c:v>
                </c:pt>
                <c:pt idx="14088">
                  <c:v>16742</c:v>
                </c:pt>
                <c:pt idx="14089">
                  <c:v>10432</c:v>
                </c:pt>
                <c:pt idx="14090">
                  <c:v>12296</c:v>
                </c:pt>
                <c:pt idx="14091">
                  <c:v>14031</c:v>
                </c:pt>
                <c:pt idx="14092">
                  <c:v>14927</c:v>
                </c:pt>
                <c:pt idx="14093">
                  <c:v>2457</c:v>
                </c:pt>
                <c:pt idx="14094">
                  <c:v>15137</c:v>
                </c:pt>
                <c:pt idx="14095">
                  <c:v>7776</c:v>
                </c:pt>
                <c:pt idx="14096">
                  <c:v>9044</c:v>
                </c:pt>
                <c:pt idx="14097">
                  <c:v>13757</c:v>
                </c:pt>
                <c:pt idx="14098">
                  <c:v>11007</c:v>
                </c:pt>
                <c:pt idx="14099">
                  <c:v>13119</c:v>
                </c:pt>
                <c:pt idx="14100">
                  <c:v>11982</c:v>
                </c:pt>
                <c:pt idx="14101">
                  <c:v>11548</c:v>
                </c:pt>
                <c:pt idx="14102">
                  <c:v>9611</c:v>
                </c:pt>
                <c:pt idx="14103">
                  <c:v>13441</c:v>
                </c:pt>
                <c:pt idx="14104">
                  <c:v>14878</c:v>
                </c:pt>
                <c:pt idx="14105">
                  <c:v>11371</c:v>
                </c:pt>
                <c:pt idx="14106">
                  <c:v>7490</c:v>
                </c:pt>
                <c:pt idx="14107">
                  <c:v>5997</c:v>
                </c:pt>
                <c:pt idx="14108">
                  <c:v>12123</c:v>
                </c:pt>
                <c:pt idx="14109">
                  <c:v>12090</c:v>
                </c:pt>
                <c:pt idx="14110">
                  <c:v>4068</c:v>
                </c:pt>
                <c:pt idx="14111">
                  <c:v>3613</c:v>
                </c:pt>
                <c:pt idx="14112">
                  <c:v>4313</c:v>
                </c:pt>
                <c:pt idx="14113">
                  <c:v>4151</c:v>
                </c:pt>
                <c:pt idx="14114">
                  <c:v>5168</c:v>
                </c:pt>
                <c:pt idx="14115">
                  <c:v>6571</c:v>
                </c:pt>
                <c:pt idx="14116">
                  <c:v>7746</c:v>
                </c:pt>
                <c:pt idx="14117">
                  <c:v>3289</c:v>
                </c:pt>
                <c:pt idx="14118">
                  <c:v>2185</c:v>
                </c:pt>
                <c:pt idx="14119">
                  <c:v>891</c:v>
                </c:pt>
                <c:pt idx="14120">
                  <c:v>12395</c:v>
                </c:pt>
                <c:pt idx="14121">
                  <c:v>8725</c:v>
                </c:pt>
                <c:pt idx="14122">
                  <c:v>12189</c:v>
                </c:pt>
                <c:pt idx="14123">
                  <c:v>9582</c:v>
                </c:pt>
                <c:pt idx="14124">
                  <c:v>3708</c:v>
                </c:pt>
                <c:pt idx="14125">
                  <c:v>6309</c:v>
                </c:pt>
                <c:pt idx="14126">
                  <c:v>12445</c:v>
                </c:pt>
                <c:pt idx="14127">
                  <c:v>6394</c:v>
                </c:pt>
                <c:pt idx="14128">
                  <c:v>9014</c:v>
                </c:pt>
                <c:pt idx="14129">
                  <c:v>12446</c:v>
                </c:pt>
                <c:pt idx="14130">
                  <c:v>12128</c:v>
                </c:pt>
                <c:pt idx="14131">
                  <c:v>534</c:v>
                </c:pt>
                <c:pt idx="14132">
                  <c:v>55</c:v>
                </c:pt>
                <c:pt idx="14133">
                  <c:v>2678</c:v>
                </c:pt>
                <c:pt idx="14134">
                  <c:v>3117</c:v>
                </c:pt>
                <c:pt idx="14135">
                  <c:v>1179</c:v>
                </c:pt>
                <c:pt idx="14136">
                  <c:v>4101</c:v>
                </c:pt>
                <c:pt idx="14137">
                  <c:v>2192</c:v>
                </c:pt>
                <c:pt idx="14138">
                  <c:v>998</c:v>
                </c:pt>
                <c:pt idx="14139">
                  <c:v>2015</c:v>
                </c:pt>
                <c:pt idx="14140">
                  <c:v>993</c:v>
                </c:pt>
                <c:pt idx="14141">
                  <c:v>9011</c:v>
                </c:pt>
                <c:pt idx="14142">
                  <c:v>2664</c:v>
                </c:pt>
                <c:pt idx="14143">
                  <c:v>2777</c:v>
                </c:pt>
                <c:pt idx="14144">
                  <c:v>15465</c:v>
                </c:pt>
                <c:pt idx="14145">
                  <c:v>496</c:v>
                </c:pt>
                <c:pt idx="14146">
                  <c:v>1180</c:v>
                </c:pt>
                <c:pt idx="14147">
                  <c:v>2658</c:v>
                </c:pt>
                <c:pt idx="14148">
                  <c:v>3969</c:v>
                </c:pt>
                <c:pt idx="14149">
                  <c:v>18222</c:v>
                </c:pt>
                <c:pt idx="14150">
                  <c:v>219</c:v>
                </c:pt>
                <c:pt idx="14151">
                  <c:v>11357</c:v>
                </c:pt>
                <c:pt idx="14152">
                  <c:v>33</c:v>
                </c:pt>
                <c:pt idx="14153">
                  <c:v>1147</c:v>
                </c:pt>
                <c:pt idx="14154">
                  <c:v>2048</c:v>
                </c:pt>
                <c:pt idx="14155">
                  <c:v>200</c:v>
                </c:pt>
                <c:pt idx="14156">
                  <c:v>3344</c:v>
                </c:pt>
                <c:pt idx="14157">
                  <c:v>25705</c:v>
                </c:pt>
                <c:pt idx="14158">
                  <c:v>1622</c:v>
                </c:pt>
                <c:pt idx="14159">
                  <c:v>9831</c:v>
                </c:pt>
                <c:pt idx="14160">
                  <c:v>4707</c:v>
                </c:pt>
                <c:pt idx="14161">
                  <c:v>464</c:v>
                </c:pt>
                <c:pt idx="14162">
                  <c:v>12810</c:v>
                </c:pt>
                <c:pt idx="14163">
                  <c:v>1181</c:v>
                </c:pt>
                <c:pt idx="14164">
                  <c:v>1738</c:v>
                </c:pt>
                <c:pt idx="14165">
                  <c:v>6814</c:v>
                </c:pt>
                <c:pt idx="14166">
                  <c:v>2169</c:v>
                </c:pt>
                <c:pt idx="14167">
                  <c:v>527</c:v>
                </c:pt>
                <c:pt idx="14168">
                  <c:v>3745</c:v>
                </c:pt>
                <c:pt idx="14169">
                  <c:v>309</c:v>
                </c:pt>
                <c:pt idx="14170">
                  <c:v>3624</c:v>
                </c:pt>
                <c:pt idx="14171">
                  <c:v>6660</c:v>
                </c:pt>
                <c:pt idx="14172">
                  <c:v>1257</c:v>
                </c:pt>
                <c:pt idx="14173">
                  <c:v>3741</c:v>
                </c:pt>
                <c:pt idx="14174">
                  <c:v>6160</c:v>
                </c:pt>
                <c:pt idx="14175">
                  <c:v>1788</c:v>
                </c:pt>
                <c:pt idx="14176">
                  <c:v>770</c:v>
                </c:pt>
                <c:pt idx="14177">
                  <c:v>247</c:v>
                </c:pt>
                <c:pt idx="14178">
                  <c:v>591</c:v>
                </c:pt>
                <c:pt idx="14179">
                  <c:v>830</c:v>
                </c:pt>
                <c:pt idx="14180">
                  <c:v>480</c:v>
                </c:pt>
                <c:pt idx="14181">
                  <c:v>454</c:v>
                </c:pt>
                <c:pt idx="14182">
                  <c:v>280</c:v>
                </c:pt>
                <c:pt idx="14183">
                  <c:v>2378</c:v>
                </c:pt>
                <c:pt idx="14184">
                  <c:v>589</c:v>
                </c:pt>
                <c:pt idx="14185">
                  <c:v>10475</c:v>
                </c:pt>
                <c:pt idx="14186">
                  <c:v>1270</c:v>
                </c:pt>
                <c:pt idx="14187">
                  <c:v>284</c:v>
                </c:pt>
                <c:pt idx="14188">
                  <c:v>7624</c:v>
                </c:pt>
                <c:pt idx="14189">
                  <c:v>8764</c:v>
                </c:pt>
                <c:pt idx="14190">
                  <c:v>5232</c:v>
                </c:pt>
                <c:pt idx="14191">
                  <c:v>9485</c:v>
                </c:pt>
                <c:pt idx="14192">
                  <c:v>11015</c:v>
                </c:pt>
                <c:pt idx="14193">
                  <c:v>4434</c:v>
                </c:pt>
                <c:pt idx="14194">
                  <c:v>3382</c:v>
                </c:pt>
                <c:pt idx="14195">
                  <c:v>3206</c:v>
                </c:pt>
                <c:pt idx="14196">
                  <c:v>8321</c:v>
                </c:pt>
                <c:pt idx="14197">
                  <c:v>10285</c:v>
                </c:pt>
                <c:pt idx="14198">
                  <c:v>11247</c:v>
                </c:pt>
                <c:pt idx="14199">
                  <c:v>13393</c:v>
                </c:pt>
                <c:pt idx="14200">
                  <c:v>5642</c:v>
                </c:pt>
                <c:pt idx="14201">
                  <c:v>620</c:v>
                </c:pt>
                <c:pt idx="14202">
                  <c:v>5430</c:v>
                </c:pt>
                <c:pt idx="14203">
                  <c:v>1166</c:v>
                </c:pt>
                <c:pt idx="14204">
                  <c:v>3122</c:v>
                </c:pt>
                <c:pt idx="14205">
                  <c:v>3123</c:v>
                </c:pt>
                <c:pt idx="14206">
                  <c:v>328</c:v>
                </c:pt>
                <c:pt idx="14207">
                  <c:v>370</c:v>
                </c:pt>
                <c:pt idx="14208">
                  <c:v>1293</c:v>
                </c:pt>
                <c:pt idx="14209">
                  <c:v>3216</c:v>
                </c:pt>
                <c:pt idx="14210">
                  <c:v>3920</c:v>
                </c:pt>
                <c:pt idx="14211">
                  <c:v>2091</c:v>
                </c:pt>
                <c:pt idx="14212">
                  <c:v>154</c:v>
                </c:pt>
                <c:pt idx="14213">
                  <c:v>331</c:v>
                </c:pt>
                <c:pt idx="14214">
                  <c:v>2034</c:v>
                </c:pt>
                <c:pt idx="14215">
                  <c:v>6458</c:v>
                </c:pt>
                <c:pt idx="14216">
                  <c:v>5362</c:v>
                </c:pt>
                <c:pt idx="14217">
                  <c:v>3854</c:v>
                </c:pt>
                <c:pt idx="14218">
                  <c:v>2871</c:v>
                </c:pt>
                <c:pt idx="14219">
                  <c:v>933</c:v>
                </c:pt>
                <c:pt idx="14220">
                  <c:v>2505</c:v>
                </c:pt>
                <c:pt idx="14221">
                  <c:v>1800</c:v>
                </c:pt>
                <c:pt idx="14222">
                  <c:v>1621</c:v>
                </c:pt>
                <c:pt idx="14223">
                  <c:v>2237</c:v>
                </c:pt>
                <c:pt idx="14224">
                  <c:v>499</c:v>
                </c:pt>
                <c:pt idx="14225">
                  <c:v>212</c:v>
                </c:pt>
                <c:pt idx="14226">
                  <c:v>1125</c:v>
                </c:pt>
                <c:pt idx="14227">
                  <c:v>5847</c:v>
                </c:pt>
                <c:pt idx="14228">
                  <c:v>14266</c:v>
                </c:pt>
                <c:pt idx="14229">
                  <c:v>15568</c:v>
                </c:pt>
                <c:pt idx="14230">
                  <c:v>1582</c:v>
                </c:pt>
                <c:pt idx="14231">
                  <c:v>570</c:v>
                </c:pt>
                <c:pt idx="14232">
                  <c:v>2762</c:v>
                </c:pt>
                <c:pt idx="14233">
                  <c:v>1493</c:v>
                </c:pt>
                <c:pt idx="14234">
                  <c:v>869</c:v>
                </c:pt>
                <c:pt idx="14235">
                  <c:v>3674</c:v>
                </c:pt>
                <c:pt idx="14236">
                  <c:v>806</c:v>
                </c:pt>
                <c:pt idx="14237">
                  <c:v>2336</c:v>
                </c:pt>
                <c:pt idx="14238">
                  <c:v>1000</c:v>
                </c:pt>
                <c:pt idx="14239">
                  <c:v>3167</c:v>
                </c:pt>
                <c:pt idx="14240">
                  <c:v>2100</c:v>
                </c:pt>
                <c:pt idx="14241">
                  <c:v>1077</c:v>
                </c:pt>
                <c:pt idx="14242">
                  <c:v>3934</c:v>
                </c:pt>
                <c:pt idx="14243">
                  <c:v>651</c:v>
                </c:pt>
                <c:pt idx="14244">
                  <c:v>553</c:v>
                </c:pt>
                <c:pt idx="14245">
                  <c:v>964</c:v>
                </c:pt>
                <c:pt idx="14246">
                  <c:v>85</c:v>
                </c:pt>
                <c:pt idx="14247">
                  <c:v>17481</c:v>
                </c:pt>
                <c:pt idx="14248">
                  <c:v>11517</c:v>
                </c:pt>
                <c:pt idx="14249">
                  <c:v>401</c:v>
                </c:pt>
                <c:pt idx="14250">
                  <c:v>190</c:v>
                </c:pt>
                <c:pt idx="14251">
                  <c:v>1431</c:v>
                </c:pt>
                <c:pt idx="14252">
                  <c:v>5198</c:v>
                </c:pt>
                <c:pt idx="14253">
                  <c:v>776</c:v>
                </c:pt>
                <c:pt idx="14254">
                  <c:v>2376</c:v>
                </c:pt>
                <c:pt idx="14255">
                  <c:v>443</c:v>
                </c:pt>
                <c:pt idx="14256">
                  <c:v>98</c:v>
                </c:pt>
                <c:pt idx="14257">
                  <c:v>572</c:v>
                </c:pt>
                <c:pt idx="14258">
                  <c:v>1846</c:v>
                </c:pt>
                <c:pt idx="14259">
                  <c:v>704</c:v>
                </c:pt>
                <c:pt idx="14260">
                  <c:v>4996</c:v>
                </c:pt>
                <c:pt idx="14261">
                  <c:v>671</c:v>
                </c:pt>
                <c:pt idx="14262">
                  <c:v>3472</c:v>
                </c:pt>
                <c:pt idx="14263">
                  <c:v>467</c:v>
                </c:pt>
                <c:pt idx="14264">
                  <c:v>381</c:v>
                </c:pt>
                <c:pt idx="14265">
                  <c:v>346</c:v>
                </c:pt>
                <c:pt idx="14266">
                  <c:v>1003</c:v>
                </c:pt>
                <c:pt idx="14267">
                  <c:v>828</c:v>
                </c:pt>
                <c:pt idx="14268">
                  <c:v>806</c:v>
                </c:pt>
                <c:pt idx="14269">
                  <c:v>546</c:v>
                </c:pt>
                <c:pt idx="14270">
                  <c:v>1598</c:v>
                </c:pt>
                <c:pt idx="14271">
                  <c:v>462</c:v>
                </c:pt>
                <c:pt idx="14272">
                  <c:v>81</c:v>
                </c:pt>
                <c:pt idx="14273">
                  <c:v>3539</c:v>
                </c:pt>
                <c:pt idx="14274">
                  <c:v>827</c:v>
                </c:pt>
                <c:pt idx="14275">
                  <c:v>473</c:v>
                </c:pt>
                <c:pt idx="14276">
                  <c:v>506</c:v>
                </c:pt>
                <c:pt idx="14277">
                  <c:v>3199</c:v>
                </c:pt>
                <c:pt idx="14278">
                  <c:v>492</c:v>
                </c:pt>
                <c:pt idx="14279">
                  <c:v>1117</c:v>
                </c:pt>
                <c:pt idx="14280">
                  <c:v>1161</c:v>
                </c:pt>
                <c:pt idx="14281">
                  <c:v>1789</c:v>
                </c:pt>
                <c:pt idx="14282">
                  <c:v>1626</c:v>
                </c:pt>
                <c:pt idx="14283">
                  <c:v>451</c:v>
                </c:pt>
                <c:pt idx="14284">
                  <c:v>236</c:v>
                </c:pt>
                <c:pt idx="14285">
                  <c:v>348</c:v>
                </c:pt>
                <c:pt idx="14286">
                  <c:v>1950</c:v>
                </c:pt>
                <c:pt idx="14287">
                  <c:v>233</c:v>
                </c:pt>
                <c:pt idx="14288">
                  <c:v>528</c:v>
                </c:pt>
                <c:pt idx="14289">
                  <c:v>1060</c:v>
                </c:pt>
                <c:pt idx="14290">
                  <c:v>3569</c:v>
                </c:pt>
                <c:pt idx="14291">
                  <c:v>564</c:v>
                </c:pt>
                <c:pt idx="14292">
                  <c:v>5841</c:v>
                </c:pt>
                <c:pt idx="14293">
                  <c:v>651</c:v>
                </c:pt>
                <c:pt idx="14294">
                  <c:v>393</c:v>
                </c:pt>
                <c:pt idx="14295">
                  <c:v>3178</c:v>
                </c:pt>
                <c:pt idx="14296">
                  <c:v>5331</c:v>
                </c:pt>
                <c:pt idx="14297">
                  <c:v>1439</c:v>
                </c:pt>
                <c:pt idx="14298">
                  <c:v>9575</c:v>
                </c:pt>
                <c:pt idx="14299">
                  <c:v>1143</c:v>
                </c:pt>
                <c:pt idx="14300">
                  <c:v>2339</c:v>
                </c:pt>
                <c:pt idx="14301">
                  <c:v>920</c:v>
                </c:pt>
                <c:pt idx="14302">
                  <c:v>1140</c:v>
                </c:pt>
                <c:pt idx="14303">
                  <c:v>8839</c:v>
                </c:pt>
                <c:pt idx="14304">
                  <c:v>2820</c:v>
                </c:pt>
                <c:pt idx="14305">
                  <c:v>1294</c:v>
                </c:pt>
                <c:pt idx="14306">
                  <c:v>25512</c:v>
                </c:pt>
                <c:pt idx="14307">
                  <c:v>685</c:v>
                </c:pt>
                <c:pt idx="14308">
                  <c:v>261</c:v>
                </c:pt>
                <c:pt idx="14309">
                  <c:v>9380</c:v>
                </c:pt>
                <c:pt idx="14310">
                  <c:v>64</c:v>
                </c:pt>
                <c:pt idx="14311">
                  <c:v>7337</c:v>
                </c:pt>
                <c:pt idx="14312">
                  <c:v>1305</c:v>
                </c:pt>
                <c:pt idx="14313">
                  <c:v>1409</c:v>
                </c:pt>
                <c:pt idx="14314">
                  <c:v>602</c:v>
                </c:pt>
                <c:pt idx="14315">
                  <c:v>940</c:v>
                </c:pt>
                <c:pt idx="14316">
                  <c:v>1299</c:v>
                </c:pt>
                <c:pt idx="14317">
                  <c:v>7200</c:v>
                </c:pt>
                <c:pt idx="14318">
                  <c:v>9999</c:v>
                </c:pt>
                <c:pt idx="14319">
                  <c:v>8555</c:v>
                </c:pt>
                <c:pt idx="14320">
                  <c:v>7040</c:v>
                </c:pt>
                <c:pt idx="14321">
                  <c:v>349</c:v>
                </c:pt>
                <c:pt idx="14322">
                  <c:v>10864</c:v>
                </c:pt>
                <c:pt idx="14323">
                  <c:v>23516</c:v>
                </c:pt>
                <c:pt idx="14324">
                  <c:v>323</c:v>
                </c:pt>
                <c:pt idx="14325">
                  <c:v>8148</c:v>
                </c:pt>
                <c:pt idx="14326">
                  <c:v>2743</c:v>
                </c:pt>
                <c:pt idx="14327">
                  <c:v>3557</c:v>
                </c:pt>
                <c:pt idx="14328">
                  <c:v>2804</c:v>
                </c:pt>
                <c:pt idx="14329">
                  <c:v>1947</c:v>
                </c:pt>
                <c:pt idx="14330">
                  <c:v>866</c:v>
                </c:pt>
                <c:pt idx="14331">
                  <c:v>59</c:v>
                </c:pt>
                <c:pt idx="14332">
                  <c:v>269</c:v>
                </c:pt>
                <c:pt idx="14333">
                  <c:v>9625</c:v>
                </c:pt>
                <c:pt idx="14334">
                  <c:v>7799</c:v>
                </c:pt>
                <c:pt idx="14335">
                  <c:v>422</c:v>
                </c:pt>
                <c:pt idx="14336">
                  <c:v>1410</c:v>
                </c:pt>
                <c:pt idx="14337">
                  <c:v>20962</c:v>
                </c:pt>
                <c:pt idx="14338">
                  <c:v>680</c:v>
                </c:pt>
                <c:pt idx="14339">
                  <c:v>845</c:v>
                </c:pt>
                <c:pt idx="14340">
                  <c:v>11972</c:v>
                </c:pt>
                <c:pt idx="14341">
                  <c:v>951</c:v>
                </c:pt>
                <c:pt idx="14342">
                  <c:v>2055</c:v>
                </c:pt>
                <c:pt idx="14343">
                  <c:v>12818</c:v>
                </c:pt>
                <c:pt idx="14344">
                  <c:v>80</c:v>
                </c:pt>
                <c:pt idx="14345">
                  <c:v>957</c:v>
                </c:pt>
                <c:pt idx="14346">
                  <c:v>3325</c:v>
                </c:pt>
                <c:pt idx="14347">
                  <c:v>559</c:v>
                </c:pt>
                <c:pt idx="14348">
                  <c:v>118</c:v>
                </c:pt>
                <c:pt idx="14349">
                  <c:v>5676</c:v>
                </c:pt>
                <c:pt idx="14350">
                  <c:v>2221</c:v>
                </c:pt>
                <c:pt idx="14351">
                  <c:v>808</c:v>
                </c:pt>
                <c:pt idx="14352">
                  <c:v>690</c:v>
                </c:pt>
                <c:pt idx="14353">
                  <c:v>8801</c:v>
                </c:pt>
                <c:pt idx="14354">
                  <c:v>2886</c:v>
                </c:pt>
                <c:pt idx="14355">
                  <c:v>2915</c:v>
                </c:pt>
                <c:pt idx="14356">
                  <c:v>3190</c:v>
                </c:pt>
                <c:pt idx="14357">
                  <c:v>1957</c:v>
                </c:pt>
                <c:pt idx="14358">
                  <c:v>521</c:v>
                </c:pt>
                <c:pt idx="14359">
                  <c:v>704</c:v>
                </c:pt>
                <c:pt idx="14360">
                  <c:v>2213</c:v>
                </c:pt>
                <c:pt idx="14361">
                  <c:v>575</c:v>
                </c:pt>
                <c:pt idx="14362">
                  <c:v>718</c:v>
                </c:pt>
                <c:pt idx="14363">
                  <c:v>1231</c:v>
                </c:pt>
                <c:pt idx="14364">
                  <c:v>2375</c:v>
                </c:pt>
                <c:pt idx="14365">
                  <c:v>2148</c:v>
                </c:pt>
                <c:pt idx="14366">
                  <c:v>915</c:v>
                </c:pt>
                <c:pt idx="14367">
                  <c:v>5916</c:v>
                </c:pt>
                <c:pt idx="14368">
                  <c:v>186</c:v>
                </c:pt>
                <c:pt idx="14369">
                  <c:v>565</c:v>
                </c:pt>
                <c:pt idx="14370">
                  <c:v>12255</c:v>
                </c:pt>
                <c:pt idx="14371">
                  <c:v>16536</c:v>
                </c:pt>
                <c:pt idx="14372">
                  <c:v>18167</c:v>
                </c:pt>
                <c:pt idx="14373">
                  <c:v>8564</c:v>
                </c:pt>
                <c:pt idx="14374">
                  <c:v>4824</c:v>
                </c:pt>
                <c:pt idx="14375">
                  <c:v>17190</c:v>
                </c:pt>
                <c:pt idx="14376">
                  <c:v>1474</c:v>
                </c:pt>
                <c:pt idx="14377">
                  <c:v>10279</c:v>
                </c:pt>
                <c:pt idx="14378">
                  <c:v>9833</c:v>
                </c:pt>
                <c:pt idx="14379">
                  <c:v>8654</c:v>
                </c:pt>
                <c:pt idx="14380">
                  <c:v>13061</c:v>
                </c:pt>
                <c:pt idx="14381">
                  <c:v>4791</c:v>
                </c:pt>
                <c:pt idx="14382">
                  <c:v>8816</c:v>
                </c:pt>
                <c:pt idx="14383">
                  <c:v>22442</c:v>
                </c:pt>
                <c:pt idx="14384">
                  <c:v>7860</c:v>
                </c:pt>
                <c:pt idx="14385">
                  <c:v>1095</c:v>
                </c:pt>
                <c:pt idx="14386">
                  <c:v>1899</c:v>
                </c:pt>
                <c:pt idx="14387">
                  <c:v>2301</c:v>
                </c:pt>
                <c:pt idx="14388">
                  <c:v>8484</c:v>
                </c:pt>
                <c:pt idx="14389">
                  <c:v>13752</c:v>
                </c:pt>
                <c:pt idx="14390">
                  <c:v>8845</c:v>
                </c:pt>
                <c:pt idx="14391">
                  <c:v>2828</c:v>
                </c:pt>
                <c:pt idx="14392">
                  <c:v>11434</c:v>
                </c:pt>
                <c:pt idx="14393">
                  <c:v>15268</c:v>
                </c:pt>
                <c:pt idx="14394">
                  <c:v>895</c:v>
                </c:pt>
                <c:pt idx="14395">
                  <c:v>121</c:v>
                </c:pt>
                <c:pt idx="14396">
                  <c:v>2789</c:v>
                </c:pt>
                <c:pt idx="14397">
                  <c:v>605</c:v>
                </c:pt>
                <c:pt idx="14398">
                  <c:v>1139</c:v>
                </c:pt>
                <c:pt idx="14399">
                  <c:v>3524</c:v>
                </c:pt>
                <c:pt idx="14400">
                  <c:v>1427</c:v>
                </c:pt>
                <c:pt idx="14401">
                  <c:v>1081</c:v>
                </c:pt>
                <c:pt idx="14402">
                  <c:v>860</c:v>
                </c:pt>
                <c:pt idx="14403">
                  <c:v>10202</c:v>
                </c:pt>
                <c:pt idx="14404">
                  <c:v>8420</c:v>
                </c:pt>
                <c:pt idx="14405">
                  <c:v>4330</c:v>
                </c:pt>
                <c:pt idx="14406">
                  <c:v>1504</c:v>
                </c:pt>
                <c:pt idx="14407">
                  <c:v>2106</c:v>
                </c:pt>
                <c:pt idx="14408">
                  <c:v>710</c:v>
                </c:pt>
                <c:pt idx="14409">
                  <c:v>2647</c:v>
                </c:pt>
                <c:pt idx="14410">
                  <c:v>3111</c:v>
                </c:pt>
                <c:pt idx="14411">
                  <c:v>6241</c:v>
                </c:pt>
                <c:pt idx="14412">
                  <c:v>10853</c:v>
                </c:pt>
                <c:pt idx="14413">
                  <c:v>603</c:v>
                </c:pt>
                <c:pt idx="14414">
                  <c:v>1299</c:v>
                </c:pt>
                <c:pt idx="14415">
                  <c:v>338</c:v>
                </c:pt>
                <c:pt idx="14416">
                  <c:v>3665</c:v>
                </c:pt>
                <c:pt idx="14417">
                  <c:v>2586</c:v>
                </c:pt>
                <c:pt idx="14418">
                  <c:v>1385</c:v>
                </c:pt>
                <c:pt idx="14419">
                  <c:v>2194</c:v>
                </c:pt>
                <c:pt idx="14420">
                  <c:v>8481</c:v>
                </c:pt>
                <c:pt idx="14421">
                  <c:v>879</c:v>
                </c:pt>
                <c:pt idx="14422">
                  <c:v>1745</c:v>
                </c:pt>
                <c:pt idx="14423">
                  <c:v>3418</c:v>
                </c:pt>
                <c:pt idx="14424">
                  <c:v>287</c:v>
                </c:pt>
                <c:pt idx="14425">
                  <c:v>1782</c:v>
                </c:pt>
                <c:pt idx="14426">
                  <c:v>7146</c:v>
                </c:pt>
                <c:pt idx="14427">
                  <c:v>1047</c:v>
                </c:pt>
                <c:pt idx="14428">
                  <c:v>6261</c:v>
                </c:pt>
                <c:pt idx="14429">
                  <c:v>1335</c:v>
                </c:pt>
                <c:pt idx="14430">
                  <c:v>1927</c:v>
                </c:pt>
                <c:pt idx="14431">
                  <c:v>131</c:v>
                </c:pt>
                <c:pt idx="14432">
                  <c:v>1840</c:v>
                </c:pt>
                <c:pt idx="14433">
                  <c:v>4621</c:v>
                </c:pt>
                <c:pt idx="14434">
                  <c:v>6354</c:v>
                </c:pt>
                <c:pt idx="14435">
                  <c:v>6934</c:v>
                </c:pt>
                <c:pt idx="14436">
                  <c:v>2699</c:v>
                </c:pt>
                <c:pt idx="14437">
                  <c:v>3510</c:v>
                </c:pt>
                <c:pt idx="14438">
                  <c:v>11717</c:v>
                </c:pt>
                <c:pt idx="14439">
                  <c:v>3195</c:v>
                </c:pt>
                <c:pt idx="14440">
                  <c:v>1976</c:v>
                </c:pt>
                <c:pt idx="14441">
                  <c:v>659</c:v>
                </c:pt>
                <c:pt idx="14442">
                  <c:v>5665</c:v>
                </c:pt>
                <c:pt idx="14443">
                  <c:v>8840</c:v>
                </c:pt>
                <c:pt idx="14444">
                  <c:v>864</c:v>
                </c:pt>
                <c:pt idx="14445">
                  <c:v>8460</c:v>
                </c:pt>
                <c:pt idx="14446">
                  <c:v>1557</c:v>
                </c:pt>
                <c:pt idx="14447">
                  <c:v>1011</c:v>
                </c:pt>
                <c:pt idx="14448">
                  <c:v>1296</c:v>
                </c:pt>
                <c:pt idx="14449">
                  <c:v>5499</c:v>
                </c:pt>
                <c:pt idx="14450">
                  <c:v>2428</c:v>
                </c:pt>
                <c:pt idx="14451">
                  <c:v>2639</c:v>
                </c:pt>
                <c:pt idx="14452">
                  <c:v>1483</c:v>
                </c:pt>
                <c:pt idx="14453">
                  <c:v>721</c:v>
                </c:pt>
                <c:pt idx="14454">
                  <c:v>5144</c:v>
                </c:pt>
                <c:pt idx="14455">
                  <c:v>2739</c:v>
                </c:pt>
                <c:pt idx="14456">
                  <c:v>5362</c:v>
                </c:pt>
                <c:pt idx="14457">
                  <c:v>1343</c:v>
                </c:pt>
                <c:pt idx="14458">
                  <c:v>5322</c:v>
                </c:pt>
                <c:pt idx="14459">
                  <c:v>801</c:v>
                </c:pt>
                <c:pt idx="14460">
                  <c:v>1416</c:v>
                </c:pt>
                <c:pt idx="14461">
                  <c:v>74</c:v>
                </c:pt>
                <c:pt idx="14462">
                  <c:v>16645</c:v>
                </c:pt>
                <c:pt idx="14463">
                  <c:v>1058</c:v>
                </c:pt>
                <c:pt idx="14464">
                  <c:v>560</c:v>
                </c:pt>
                <c:pt idx="14465">
                  <c:v>5369</c:v>
                </c:pt>
                <c:pt idx="14466">
                  <c:v>1767</c:v>
                </c:pt>
                <c:pt idx="14467">
                  <c:v>254</c:v>
                </c:pt>
                <c:pt idx="14468">
                  <c:v>595</c:v>
                </c:pt>
                <c:pt idx="14469">
                  <c:v>19175</c:v>
                </c:pt>
                <c:pt idx="14470">
                  <c:v>8175</c:v>
                </c:pt>
                <c:pt idx="14471">
                  <c:v>15594</c:v>
                </c:pt>
                <c:pt idx="14472">
                  <c:v>1067</c:v>
                </c:pt>
                <c:pt idx="14473">
                  <c:v>16723</c:v>
                </c:pt>
                <c:pt idx="14474">
                  <c:v>5326</c:v>
                </c:pt>
                <c:pt idx="14475">
                  <c:v>509</c:v>
                </c:pt>
                <c:pt idx="14476">
                  <c:v>2563</c:v>
                </c:pt>
                <c:pt idx="14477">
                  <c:v>1651</c:v>
                </c:pt>
                <c:pt idx="14478">
                  <c:v>4704</c:v>
                </c:pt>
                <c:pt idx="14479">
                  <c:v>941</c:v>
                </c:pt>
                <c:pt idx="14480">
                  <c:v>1250</c:v>
                </c:pt>
                <c:pt idx="14481">
                  <c:v>1367</c:v>
                </c:pt>
                <c:pt idx="14482">
                  <c:v>941</c:v>
                </c:pt>
                <c:pt idx="14483">
                  <c:v>2373</c:v>
                </c:pt>
                <c:pt idx="14484">
                  <c:v>1364</c:v>
                </c:pt>
                <c:pt idx="14485">
                  <c:v>865</c:v>
                </c:pt>
                <c:pt idx="14486">
                  <c:v>5031</c:v>
                </c:pt>
                <c:pt idx="14487">
                  <c:v>814</c:v>
                </c:pt>
                <c:pt idx="14488">
                  <c:v>6520</c:v>
                </c:pt>
                <c:pt idx="14489">
                  <c:v>1908</c:v>
                </c:pt>
                <c:pt idx="14490">
                  <c:v>1750</c:v>
                </c:pt>
                <c:pt idx="14491">
                  <c:v>2193</c:v>
                </c:pt>
                <c:pt idx="14492">
                  <c:v>383</c:v>
                </c:pt>
                <c:pt idx="14493">
                  <c:v>1381</c:v>
                </c:pt>
                <c:pt idx="14494">
                  <c:v>2489</c:v>
                </c:pt>
                <c:pt idx="14495">
                  <c:v>3036</c:v>
                </c:pt>
                <c:pt idx="14496">
                  <c:v>1097</c:v>
                </c:pt>
                <c:pt idx="14497">
                  <c:v>1347</c:v>
                </c:pt>
                <c:pt idx="14498">
                  <c:v>1734</c:v>
                </c:pt>
                <c:pt idx="14499">
                  <c:v>732</c:v>
                </c:pt>
                <c:pt idx="14500">
                  <c:v>1543</c:v>
                </c:pt>
                <c:pt idx="14501">
                  <c:v>1169</c:v>
                </c:pt>
                <c:pt idx="14502">
                  <c:v>98</c:v>
                </c:pt>
                <c:pt idx="14503">
                  <c:v>465</c:v>
                </c:pt>
                <c:pt idx="14504">
                  <c:v>823</c:v>
                </c:pt>
                <c:pt idx="14505">
                  <c:v>2404</c:v>
                </c:pt>
                <c:pt idx="14506">
                  <c:v>1389</c:v>
                </c:pt>
                <c:pt idx="14507">
                  <c:v>2228</c:v>
                </c:pt>
                <c:pt idx="14508">
                  <c:v>647</c:v>
                </c:pt>
                <c:pt idx="14509">
                  <c:v>2514</c:v>
                </c:pt>
                <c:pt idx="14510">
                  <c:v>2495</c:v>
                </c:pt>
                <c:pt idx="14511">
                  <c:v>1005</c:v>
                </c:pt>
                <c:pt idx="14512">
                  <c:v>1089</c:v>
                </c:pt>
                <c:pt idx="14513">
                  <c:v>1556</c:v>
                </c:pt>
                <c:pt idx="14514">
                  <c:v>479</c:v>
                </c:pt>
                <c:pt idx="14515">
                  <c:v>1494</c:v>
                </c:pt>
                <c:pt idx="14516">
                  <c:v>401</c:v>
                </c:pt>
                <c:pt idx="14517">
                  <c:v>1857</c:v>
                </c:pt>
                <c:pt idx="14518">
                  <c:v>1173</c:v>
                </c:pt>
                <c:pt idx="14519">
                  <c:v>2736</c:v>
                </c:pt>
                <c:pt idx="14520">
                  <c:v>6452</c:v>
                </c:pt>
                <c:pt idx="14521">
                  <c:v>1142</c:v>
                </c:pt>
                <c:pt idx="14522">
                  <c:v>638</c:v>
                </c:pt>
                <c:pt idx="14523">
                  <c:v>10018</c:v>
                </c:pt>
                <c:pt idx="14524">
                  <c:v>4687</c:v>
                </c:pt>
                <c:pt idx="14525">
                  <c:v>447</c:v>
                </c:pt>
                <c:pt idx="14526">
                  <c:v>982</c:v>
                </c:pt>
                <c:pt idx="14527">
                  <c:v>811</c:v>
                </c:pt>
                <c:pt idx="14528">
                  <c:v>5270</c:v>
                </c:pt>
                <c:pt idx="14529">
                  <c:v>8941</c:v>
                </c:pt>
                <c:pt idx="14530">
                  <c:v>577</c:v>
                </c:pt>
                <c:pt idx="14531">
                  <c:v>1170</c:v>
                </c:pt>
                <c:pt idx="14532">
                  <c:v>67</c:v>
                </c:pt>
                <c:pt idx="14533">
                  <c:v>12250</c:v>
                </c:pt>
                <c:pt idx="14534">
                  <c:v>12449</c:v>
                </c:pt>
                <c:pt idx="14535">
                  <c:v>590</c:v>
                </c:pt>
                <c:pt idx="14536">
                  <c:v>9392</c:v>
                </c:pt>
                <c:pt idx="14537">
                  <c:v>133</c:v>
                </c:pt>
                <c:pt idx="14538">
                  <c:v>8557</c:v>
                </c:pt>
                <c:pt idx="14539">
                  <c:v>383</c:v>
                </c:pt>
                <c:pt idx="14540">
                  <c:v>5572</c:v>
                </c:pt>
                <c:pt idx="14541">
                  <c:v>1031</c:v>
                </c:pt>
                <c:pt idx="14542">
                  <c:v>1851</c:v>
                </c:pt>
                <c:pt idx="14543">
                  <c:v>4011</c:v>
                </c:pt>
                <c:pt idx="14544">
                  <c:v>1973</c:v>
                </c:pt>
                <c:pt idx="14545">
                  <c:v>4326</c:v>
                </c:pt>
                <c:pt idx="14546">
                  <c:v>2490</c:v>
                </c:pt>
                <c:pt idx="14547">
                  <c:v>9269</c:v>
                </c:pt>
                <c:pt idx="14548">
                  <c:v>1260</c:v>
                </c:pt>
                <c:pt idx="14549">
                  <c:v>6477</c:v>
                </c:pt>
                <c:pt idx="14550">
                  <c:v>1474</c:v>
                </c:pt>
                <c:pt idx="14551">
                  <c:v>5278</c:v>
                </c:pt>
                <c:pt idx="14552">
                  <c:v>674</c:v>
                </c:pt>
                <c:pt idx="14553">
                  <c:v>1056</c:v>
                </c:pt>
                <c:pt idx="14554">
                  <c:v>943</c:v>
                </c:pt>
                <c:pt idx="14555">
                  <c:v>19516</c:v>
                </c:pt>
                <c:pt idx="14556">
                  <c:v>601</c:v>
                </c:pt>
                <c:pt idx="14557">
                  <c:v>2746</c:v>
                </c:pt>
                <c:pt idx="14558">
                  <c:v>1715</c:v>
                </c:pt>
                <c:pt idx="14559">
                  <c:v>6599</c:v>
                </c:pt>
                <c:pt idx="14560">
                  <c:v>1427</c:v>
                </c:pt>
                <c:pt idx="14561">
                  <c:v>782</c:v>
                </c:pt>
                <c:pt idx="14562">
                  <c:v>6756</c:v>
                </c:pt>
                <c:pt idx="14563">
                  <c:v>2946</c:v>
                </c:pt>
                <c:pt idx="14564">
                  <c:v>14433</c:v>
                </c:pt>
                <c:pt idx="14565">
                  <c:v>603</c:v>
                </c:pt>
                <c:pt idx="14566">
                  <c:v>1441</c:v>
                </c:pt>
                <c:pt idx="14567">
                  <c:v>4481</c:v>
                </c:pt>
                <c:pt idx="14568">
                  <c:v>708</c:v>
                </c:pt>
                <c:pt idx="14569">
                  <c:v>356</c:v>
                </c:pt>
                <c:pt idx="14570">
                  <c:v>4557</c:v>
                </c:pt>
                <c:pt idx="14571">
                  <c:v>600</c:v>
                </c:pt>
                <c:pt idx="14572">
                  <c:v>618</c:v>
                </c:pt>
                <c:pt idx="14573">
                  <c:v>5119</c:v>
                </c:pt>
                <c:pt idx="14574">
                  <c:v>3322</c:v>
                </c:pt>
                <c:pt idx="14575">
                  <c:v>15805</c:v>
                </c:pt>
                <c:pt idx="14576">
                  <c:v>16427</c:v>
                </c:pt>
                <c:pt idx="14577">
                  <c:v>4171</c:v>
                </c:pt>
                <c:pt idx="14578">
                  <c:v>2796</c:v>
                </c:pt>
                <c:pt idx="14579">
                  <c:v>1938</c:v>
                </c:pt>
                <c:pt idx="14580">
                  <c:v>23367</c:v>
                </c:pt>
                <c:pt idx="14581">
                  <c:v>25885</c:v>
                </c:pt>
                <c:pt idx="14582">
                  <c:v>1633</c:v>
                </c:pt>
                <c:pt idx="14583">
                  <c:v>20166</c:v>
                </c:pt>
                <c:pt idx="14584">
                  <c:v>13117</c:v>
                </c:pt>
                <c:pt idx="14585">
                  <c:v>7338</c:v>
                </c:pt>
                <c:pt idx="14586">
                  <c:v>2020</c:v>
                </c:pt>
                <c:pt idx="14587">
                  <c:v>633</c:v>
                </c:pt>
                <c:pt idx="14588">
                  <c:v>2811</c:v>
                </c:pt>
                <c:pt idx="14589">
                  <c:v>367</c:v>
                </c:pt>
                <c:pt idx="14590">
                  <c:v>16188</c:v>
                </c:pt>
                <c:pt idx="14591">
                  <c:v>17044</c:v>
                </c:pt>
                <c:pt idx="14592">
                  <c:v>10486</c:v>
                </c:pt>
                <c:pt idx="14593">
                  <c:v>10486</c:v>
                </c:pt>
                <c:pt idx="14594">
                  <c:v>1181</c:v>
                </c:pt>
                <c:pt idx="14595">
                  <c:v>2084</c:v>
                </c:pt>
                <c:pt idx="14596">
                  <c:v>1003</c:v>
                </c:pt>
                <c:pt idx="14597">
                  <c:v>941</c:v>
                </c:pt>
                <c:pt idx="14598">
                  <c:v>3194</c:v>
                </c:pt>
                <c:pt idx="14599">
                  <c:v>923</c:v>
                </c:pt>
                <c:pt idx="14600">
                  <c:v>1228</c:v>
                </c:pt>
                <c:pt idx="14601">
                  <c:v>2231</c:v>
                </c:pt>
                <c:pt idx="14602">
                  <c:v>2328</c:v>
                </c:pt>
                <c:pt idx="14603">
                  <c:v>9195</c:v>
                </c:pt>
                <c:pt idx="14604">
                  <c:v>4934</c:v>
                </c:pt>
                <c:pt idx="14605">
                  <c:v>40</c:v>
                </c:pt>
                <c:pt idx="14606">
                  <c:v>609</c:v>
                </c:pt>
                <c:pt idx="14607">
                  <c:v>4193</c:v>
                </c:pt>
                <c:pt idx="14608">
                  <c:v>3954</c:v>
                </c:pt>
                <c:pt idx="14609">
                  <c:v>15488</c:v>
                </c:pt>
                <c:pt idx="14610">
                  <c:v>19988</c:v>
                </c:pt>
                <c:pt idx="14611">
                  <c:v>21010</c:v>
                </c:pt>
                <c:pt idx="14612">
                  <c:v>16199</c:v>
                </c:pt>
                <c:pt idx="14613">
                  <c:v>18799</c:v>
                </c:pt>
                <c:pt idx="14614">
                  <c:v>17354</c:v>
                </c:pt>
                <c:pt idx="14615">
                  <c:v>20688</c:v>
                </c:pt>
                <c:pt idx="14616">
                  <c:v>14050</c:v>
                </c:pt>
                <c:pt idx="14617">
                  <c:v>10557</c:v>
                </c:pt>
                <c:pt idx="14618">
                  <c:v>15394</c:v>
                </c:pt>
                <c:pt idx="14619">
                  <c:v>15973</c:v>
                </c:pt>
                <c:pt idx="14620">
                  <c:v>12414</c:v>
                </c:pt>
                <c:pt idx="14621">
                  <c:v>5547</c:v>
                </c:pt>
                <c:pt idx="14622">
                  <c:v>15861</c:v>
                </c:pt>
                <c:pt idx="14623">
                  <c:v>17587</c:v>
                </c:pt>
                <c:pt idx="14624">
                  <c:v>9463</c:v>
                </c:pt>
                <c:pt idx="14625">
                  <c:v>168</c:v>
                </c:pt>
                <c:pt idx="14626">
                  <c:v>650</c:v>
                </c:pt>
                <c:pt idx="14627">
                  <c:v>217</c:v>
                </c:pt>
                <c:pt idx="14628">
                  <c:v>1381</c:v>
                </c:pt>
                <c:pt idx="14629">
                  <c:v>1621</c:v>
                </c:pt>
                <c:pt idx="14630">
                  <c:v>1023</c:v>
                </c:pt>
                <c:pt idx="14631">
                  <c:v>1479</c:v>
                </c:pt>
                <c:pt idx="14632">
                  <c:v>327</c:v>
                </c:pt>
                <c:pt idx="14633">
                  <c:v>293</c:v>
                </c:pt>
                <c:pt idx="14634">
                  <c:v>1245</c:v>
                </c:pt>
                <c:pt idx="14635">
                  <c:v>1730</c:v>
                </c:pt>
                <c:pt idx="14636">
                  <c:v>998</c:v>
                </c:pt>
                <c:pt idx="14637">
                  <c:v>485</c:v>
                </c:pt>
                <c:pt idx="14638">
                  <c:v>436</c:v>
                </c:pt>
                <c:pt idx="14639">
                  <c:v>96</c:v>
                </c:pt>
                <c:pt idx="14640">
                  <c:v>73</c:v>
                </c:pt>
                <c:pt idx="14641">
                  <c:v>872</c:v>
                </c:pt>
                <c:pt idx="14642">
                  <c:v>612</c:v>
                </c:pt>
                <c:pt idx="14643">
                  <c:v>1877</c:v>
                </c:pt>
                <c:pt idx="14644">
                  <c:v>432</c:v>
                </c:pt>
                <c:pt idx="14645">
                  <c:v>1424</c:v>
                </c:pt>
                <c:pt idx="14646">
                  <c:v>82</c:v>
                </c:pt>
                <c:pt idx="14647">
                  <c:v>1227</c:v>
                </c:pt>
                <c:pt idx="14648">
                  <c:v>184</c:v>
                </c:pt>
                <c:pt idx="14649">
                  <c:v>1788</c:v>
                </c:pt>
                <c:pt idx="14650">
                  <c:v>294</c:v>
                </c:pt>
                <c:pt idx="14651">
                  <c:v>907</c:v>
                </c:pt>
                <c:pt idx="14652">
                  <c:v>551</c:v>
                </c:pt>
                <c:pt idx="14653">
                  <c:v>239</c:v>
                </c:pt>
                <c:pt idx="14654">
                  <c:v>4030</c:v>
                </c:pt>
                <c:pt idx="14655">
                  <c:v>676</c:v>
                </c:pt>
                <c:pt idx="14656">
                  <c:v>603</c:v>
                </c:pt>
                <c:pt idx="14657">
                  <c:v>3488</c:v>
                </c:pt>
                <c:pt idx="14658">
                  <c:v>1121</c:v>
                </c:pt>
                <c:pt idx="14659">
                  <c:v>3333</c:v>
                </c:pt>
                <c:pt idx="14660">
                  <c:v>1678</c:v>
                </c:pt>
                <c:pt idx="14661">
                  <c:v>3097</c:v>
                </c:pt>
                <c:pt idx="14662">
                  <c:v>769</c:v>
                </c:pt>
                <c:pt idx="14663">
                  <c:v>230</c:v>
                </c:pt>
                <c:pt idx="14664">
                  <c:v>1282</c:v>
                </c:pt>
                <c:pt idx="14665">
                  <c:v>562</c:v>
                </c:pt>
                <c:pt idx="14666">
                  <c:v>1701</c:v>
                </c:pt>
                <c:pt idx="14667">
                  <c:v>85</c:v>
                </c:pt>
                <c:pt idx="14668">
                  <c:v>2984</c:v>
                </c:pt>
                <c:pt idx="14669">
                  <c:v>5509</c:v>
                </c:pt>
                <c:pt idx="14670">
                  <c:v>2358</c:v>
                </c:pt>
                <c:pt idx="14671">
                  <c:v>893</c:v>
                </c:pt>
                <c:pt idx="14672">
                  <c:v>1558</c:v>
                </c:pt>
                <c:pt idx="14673">
                  <c:v>214</c:v>
                </c:pt>
                <c:pt idx="14674">
                  <c:v>1256</c:v>
                </c:pt>
                <c:pt idx="14675">
                  <c:v>685</c:v>
                </c:pt>
                <c:pt idx="14676">
                  <c:v>330</c:v>
                </c:pt>
                <c:pt idx="14677">
                  <c:v>1362</c:v>
                </c:pt>
                <c:pt idx="14678">
                  <c:v>3078</c:v>
                </c:pt>
                <c:pt idx="14679">
                  <c:v>436</c:v>
                </c:pt>
                <c:pt idx="14680">
                  <c:v>859</c:v>
                </c:pt>
                <c:pt idx="14681">
                  <c:v>35</c:v>
                </c:pt>
                <c:pt idx="14682">
                  <c:v>2069</c:v>
                </c:pt>
                <c:pt idx="14683">
                  <c:v>844</c:v>
                </c:pt>
                <c:pt idx="14684">
                  <c:v>9478</c:v>
                </c:pt>
                <c:pt idx="14685">
                  <c:v>11031</c:v>
                </c:pt>
                <c:pt idx="14686">
                  <c:v>12270</c:v>
                </c:pt>
                <c:pt idx="14687">
                  <c:v>929</c:v>
                </c:pt>
                <c:pt idx="14688">
                  <c:v>638</c:v>
                </c:pt>
                <c:pt idx="14689">
                  <c:v>2988</c:v>
                </c:pt>
                <c:pt idx="14690">
                  <c:v>5397</c:v>
                </c:pt>
                <c:pt idx="14691">
                  <c:v>289</c:v>
                </c:pt>
                <c:pt idx="14692">
                  <c:v>360</c:v>
                </c:pt>
                <c:pt idx="14693">
                  <c:v>2485</c:v>
                </c:pt>
                <c:pt idx="14694">
                  <c:v>9067</c:v>
                </c:pt>
                <c:pt idx="14695">
                  <c:v>942</c:v>
                </c:pt>
                <c:pt idx="14696">
                  <c:v>153</c:v>
                </c:pt>
                <c:pt idx="14697">
                  <c:v>3998</c:v>
                </c:pt>
                <c:pt idx="14698">
                  <c:v>1194</c:v>
                </c:pt>
                <c:pt idx="14699">
                  <c:v>1606</c:v>
                </c:pt>
                <c:pt idx="14700">
                  <c:v>422</c:v>
                </c:pt>
                <c:pt idx="14701">
                  <c:v>235</c:v>
                </c:pt>
                <c:pt idx="14702">
                  <c:v>537</c:v>
                </c:pt>
                <c:pt idx="14703">
                  <c:v>4150</c:v>
                </c:pt>
                <c:pt idx="14704">
                  <c:v>5532</c:v>
                </c:pt>
                <c:pt idx="14705">
                  <c:v>606</c:v>
                </c:pt>
                <c:pt idx="14706">
                  <c:v>181</c:v>
                </c:pt>
                <c:pt idx="14707">
                  <c:v>345</c:v>
                </c:pt>
                <c:pt idx="14708">
                  <c:v>3292</c:v>
                </c:pt>
                <c:pt idx="14709">
                  <c:v>122</c:v>
                </c:pt>
                <c:pt idx="14710">
                  <c:v>780</c:v>
                </c:pt>
                <c:pt idx="14711">
                  <c:v>811</c:v>
                </c:pt>
                <c:pt idx="14712">
                  <c:v>709</c:v>
                </c:pt>
                <c:pt idx="14713">
                  <c:v>9126</c:v>
                </c:pt>
                <c:pt idx="14714">
                  <c:v>111</c:v>
                </c:pt>
                <c:pt idx="14715">
                  <c:v>3450</c:v>
                </c:pt>
                <c:pt idx="14716">
                  <c:v>3248</c:v>
                </c:pt>
                <c:pt idx="14717">
                  <c:v>270</c:v>
                </c:pt>
                <c:pt idx="14718">
                  <c:v>389</c:v>
                </c:pt>
                <c:pt idx="14719">
                  <c:v>356</c:v>
                </c:pt>
                <c:pt idx="14720">
                  <c:v>1197</c:v>
                </c:pt>
                <c:pt idx="14721">
                  <c:v>590</c:v>
                </c:pt>
                <c:pt idx="14722">
                  <c:v>27</c:v>
                </c:pt>
                <c:pt idx="14723">
                  <c:v>1785</c:v>
                </c:pt>
                <c:pt idx="14724">
                  <c:v>892</c:v>
                </c:pt>
                <c:pt idx="14725">
                  <c:v>259</c:v>
                </c:pt>
                <c:pt idx="14726">
                  <c:v>762</c:v>
                </c:pt>
                <c:pt idx="14727">
                  <c:v>805</c:v>
                </c:pt>
                <c:pt idx="14728">
                  <c:v>1383</c:v>
                </c:pt>
                <c:pt idx="14729">
                  <c:v>647</c:v>
                </c:pt>
                <c:pt idx="14730">
                  <c:v>406</c:v>
                </c:pt>
                <c:pt idx="14731">
                  <c:v>185</c:v>
                </c:pt>
                <c:pt idx="14732">
                  <c:v>183</c:v>
                </c:pt>
                <c:pt idx="14733">
                  <c:v>1418</c:v>
                </c:pt>
                <c:pt idx="14734">
                  <c:v>968</c:v>
                </c:pt>
                <c:pt idx="14735">
                  <c:v>112</c:v>
                </c:pt>
                <c:pt idx="14736">
                  <c:v>867</c:v>
                </c:pt>
                <c:pt idx="14737">
                  <c:v>8858</c:v>
                </c:pt>
                <c:pt idx="14738">
                  <c:v>944</c:v>
                </c:pt>
                <c:pt idx="14739">
                  <c:v>580</c:v>
                </c:pt>
                <c:pt idx="14740">
                  <c:v>628</c:v>
                </c:pt>
                <c:pt idx="14741">
                  <c:v>1752</c:v>
                </c:pt>
                <c:pt idx="14742">
                  <c:v>778</c:v>
                </c:pt>
                <c:pt idx="14743">
                  <c:v>1478</c:v>
                </c:pt>
                <c:pt idx="14744">
                  <c:v>191</c:v>
                </c:pt>
                <c:pt idx="14745">
                  <c:v>9225</c:v>
                </c:pt>
                <c:pt idx="14746">
                  <c:v>1087</c:v>
                </c:pt>
                <c:pt idx="14747">
                  <c:v>750</c:v>
                </c:pt>
                <c:pt idx="14748">
                  <c:v>166</c:v>
                </c:pt>
                <c:pt idx="14749">
                  <c:v>910</c:v>
                </c:pt>
                <c:pt idx="14750">
                  <c:v>5059</c:v>
                </c:pt>
                <c:pt idx="14751">
                  <c:v>2512</c:v>
                </c:pt>
                <c:pt idx="14752">
                  <c:v>183</c:v>
                </c:pt>
                <c:pt idx="14753">
                  <c:v>202</c:v>
                </c:pt>
                <c:pt idx="14754">
                  <c:v>1492</c:v>
                </c:pt>
                <c:pt idx="14755">
                  <c:v>337</c:v>
                </c:pt>
                <c:pt idx="14756">
                  <c:v>508</c:v>
                </c:pt>
                <c:pt idx="14757">
                  <c:v>143</c:v>
                </c:pt>
                <c:pt idx="14758">
                  <c:v>304</c:v>
                </c:pt>
                <c:pt idx="14759">
                  <c:v>265</c:v>
                </c:pt>
                <c:pt idx="14760">
                  <c:v>558</c:v>
                </c:pt>
                <c:pt idx="14761">
                  <c:v>52</c:v>
                </c:pt>
                <c:pt idx="14762">
                  <c:v>619</c:v>
                </c:pt>
                <c:pt idx="14763">
                  <c:v>93</c:v>
                </c:pt>
                <c:pt idx="14764">
                  <c:v>320</c:v>
                </c:pt>
                <c:pt idx="14765">
                  <c:v>6707</c:v>
                </c:pt>
                <c:pt idx="14766">
                  <c:v>260</c:v>
                </c:pt>
                <c:pt idx="14767">
                  <c:v>171</c:v>
                </c:pt>
                <c:pt idx="14768">
                  <c:v>180</c:v>
                </c:pt>
                <c:pt idx="14769">
                  <c:v>429</c:v>
                </c:pt>
                <c:pt idx="14770">
                  <c:v>4113</c:v>
                </c:pt>
                <c:pt idx="14771">
                  <c:v>89</c:v>
                </c:pt>
                <c:pt idx="14772">
                  <c:v>225</c:v>
                </c:pt>
                <c:pt idx="14773">
                  <c:v>2657</c:v>
                </c:pt>
                <c:pt idx="14774">
                  <c:v>476</c:v>
                </c:pt>
                <c:pt idx="14775">
                  <c:v>5480</c:v>
                </c:pt>
                <c:pt idx="14776">
                  <c:v>57</c:v>
                </c:pt>
                <c:pt idx="14777">
                  <c:v>279</c:v>
                </c:pt>
                <c:pt idx="14778">
                  <c:v>2447</c:v>
                </c:pt>
                <c:pt idx="14779">
                  <c:v>16063</c:v>
                </c:pt>
                <c:pt idx="14780">
                  <c:v>5480</c:v>
                </c:pt>
                <c:pt idx="14781">
                  <c:v>190</c:v>
                </c:pt>
                <c:pt idx="14782">
                  <c:v>1421</c:v>
                </c:pt>
                <c:pt idx="14783">
                  <c:v>3557</c:v>
                </c:pt>
                <c:pt idx="14784">
                  <c:v>1551</c:v>
                </c:pt>
                <c:pt idx="14785">
                  <c:v>1560</c:v>
                </c:pt>
                <c:pt idx="14786">
                  <c:v>270</c:v>
                </c:pt>
                <c:pt idx="14787">
                  <c:v>59</c:v>
                </c:pt>
                <c:pt idx="14788">
                  <c:v>34</c:v>
                </c:pt>
                <c:pt idx="14789">
                  <c:v>465</c:v>
                </c:pt>
                <c:pt idx="14790">
                  <c:v>741</c:v>
                </c:pt>
                <c:pt idx="14791">
                  <c:v>1257</c:v>
                </c:pt>
                <c:pt idx="14792">
                  <c:v>293</c:v>
                </c:pt>
                <c:pt idx="14793">
                  <c:v>434</c:v>
                </c:pt>
                <c:pt idx="14794">
                  <c:v>143</c:v>
                </c:pt>
                <c:pt idx="14795">
                  <c:v>37</c:v>
                </c:pt>
                <c:pt idx="14796">
                  <c:v>146</c:v>
                </c:pt>
                <c:pt idx="14797">
                  <c:v>811</c:v>
                </c:pt>
                <c:pt idx="14798">
                  <c:v>277</c:v>
                </c:pt>
                <c:pt idx="14799">
                  <c:v>1143</c:v>
                </c:pt>
                <c:pt idx="14800">
                  <c:v>229</c:v>
                </c:pt>
                <c:pt idx="14801">
                  <c:v>801</c:v>
                </c:pt>
                <c:pt idx="14802">
                  <c:v>647</c:v>
                </c:pt>
                <c:pt idx="14803">
                  <c:v>351</c:v>
                </c:pt>
                <c:pt idx="14804">
                  <c:v>262</c:v>
                </c:pt>
                <c:pt idx="14805">
                  <c:v>646</c:v>
                </c:pt>
                <c:pt idx="14806">
                  <c:v>109</c:v>
                </c:pt>
                <c:pt idx="14807">
                  <c:v>69</c:v>
                </c:pt>
                <c:pt idx="14808">
                  <c:v>58</c:v>
                </c:pt>
                <c:pt idx="14809">
                  <c:v>1061</c:v>
                </c:pt>
                <c:pt idx="14810">
                  <c:v>1036</c:v>
                </c:pt>
                <c:pt idx="14811">
                  <c:v>43</c:v>
                </c:pt>
                <c:pt idx="14812">
                  <c:v>1212</c:v>
                </c:pt>
                <c:pt idx="14813">
                  <c:v>329</c:v>
                </c:pt>
                <c:pt idx="14814">
                  <c:v>2928</c:v>
                </c:pt>
                <c:pt idx="14815">
                  <c:v>187</c:v>
                </c:pt>
                <c:pt idx="14816">
                  <c:v>1252</c:v>
                </c:pt>
                <c:pt idx="14817">
                  <c:v>74</c:v>
                </c:pt>
                <c:pt idx="14818">
                  <c:v>40</c:v>
                </c:pt>
                <c:pt idx="14819">
                  <c:v>1424</c:v>
                </c:pt>
                <c:pt idx="14820">
                  <c:v>417</c:v>
                </c:pt>
                <c:pt idx="14821">
                  <c:v>228</c:v>
                </c:pt>
                <c:pt idx="14822">
                  <c:v>185</c:v>
                </c:pt>
                <c:pt idx="14823">
                  <c:v>73</c:v>
                </c:pt>
                <c:pt idx="14824">
                  <c:v>3503</c:v>
                </c:pt>
                <c:pt idx="14825">
                  <c:v>3897</c:v>
                </c:pt>
                <c:pt idx="14826">
                  <c:v>386</c:v>
                </c:pt>
                <c:pt idx="14827">
                  <c:v>2443</c:v>
                </c:pt>
                <c:pt idx="14828">
                  <c:v>3343</c:v>
                </c:pt>
                <c:pt idx="14829">
                  <c:v>1266</c:v>
                </c:pt>
                <c:pt idx="14830">
                  <c:v>1493</c:v>
                </c:pt>
                <c:pt idx="14831">
                  <c:v>161</c:v>
                </c:pt>
                <c:pt idx="14832">
                  <c:v>156</c:v>
                </c:pt>
                <c:pt idx="14833">
                  <c:v>354</c:v>
                </c:pt>
                <c:pt idx="14834">
                  <c:v>35</c:v>
                </c:pt>
                <c:pt idx="14835">
                  <c:v>829</c:v>
                </c:pt>
                <c:pt idx="14836">
                  <c:v>181</c:v>
                </c:pt>
                <c:pt idx="14837">
                  <c:v>247</c:v>
                </c:pt>
                <c:pt idx="14838">
                  <c:v>187</c:v>
                </c:pt>
                <c:pt idx="14839">
                  <c:v>57</c:v>
                </c:pt>
                <c:pt idx="14840">
                  <c:v>21</c:v>
                </c:pt>
                <c:pt idx="14841">
                  <c:v>303</c:v>
                </c:pt>
                <c:pt idx="14842">
                  <c:v>66</c:v>
                </c:pt>
                <c:pt idx="14843">
                  <c:v>302</c:v>
                </c:pt>
                <c:pt idx="14844">
                  <c:v>218</c:v>
                </c:pt>
                <c:pt idx="14845">
                  <c:v>146</c:v>
                </c:pt>
                <c:pt idx="14846">
                  <c:v>924</c:v>
                </c:pt>
                <c:pt idx="14847">
                  <c:v>391</c:v>
                </c:pt>
                <c:pt idx="14848">
                  <c:v>146</c:v>
                </c:pt>
                <c:pt idx="14849">
                  <c:v>347</c:v>
                </c:pt>
                <c:pt idx="14850">
                  <c:v>795</c:v>
                </c:pt>
                <c:pt idx="14851">
                  <c:v>4796</c:v>
                </c:pt>
                <c:pt idx="14852">
                  <c:v>457</c:v>
                </c:pt>
                <c:pt idx="14853">
                  <c:v>850</c:v>
                </c:pt>
                <c:pt idx="14854">
                  <c:v>311</c:v>
                </c:pt>
                <c:pt idx="14855">
                  <c:v>403</c:v>
                </c:pt>
                <c:pt idx="14856">
                  <c:v>10675</c:v>
                </c:pt>
                <c:pt idx="14857">
                  <c:v>17995</c:v>
                </c:pt>
                <c:pt idx="14858">
                  <c:v>16254</c:v>
                </c:pt>
                <c:pt idx="14859">
                  <c:v>638</c:v>
                </c:pt>
                <c:pt idx="14860">
                  <c:v>15336</c:v>
                </c:pt>
                <c:pt idx="14861">
                  <c:v>4335</c:v>
                </c:pt>
                <c:pt idx="14862">
                  <c:v>23866</c:v>
                </c:pt>
                <c:pt idx="14863">
                  <c:v>1572</c:v>
                </c:pt>
                <c:pt idx="14864">
                  <c:v>183</c:v>
                </c:pt>
                <c:pt idx="14865">
                  <c:v>219</c:v>
                </c:pt>
                <c:pt idx="14866">
                  <c:v>865</c:v>
                </c:pt>
                <c:pt idx="14867">
                  <c:v>242</c:v>
                </c:pt>
                <c:pt idx="14868">
                  <c:v>23</c:v>
                </c:pt>
                <c:pt idx="14869">
                  <c:v>102</c:v>
                </c:pt>
                <c:pt idx="14870">
                  <c:v>182</c:v>
                </c:pt>
                <c:pt idx="14871">
                  <c:v>4981</c:v>
                </c:pt>
                <c:pt idx="14872">
                  <c:v>8703</c:v>
                </c:pt>
                <c:pt idx="14873">
                  <c:v>264</c:v>
                </c:pt>
                <c:pt idx="14874">
                  <c:v>53</c:v>
                </c:pt>
                <c:pt idx="14875">
                  <c:v>120</c:v>
                </c:pt>
                <c:pt idx="14876">
                  <c:v>526</c:v>
                </c:pt>
                <c:pt idx="14877">
                  <c:v>923</c:v>
                </c:pt>
                <c:pt idx="14878">
                  <c:v>3291</c:v>
                </c:pt>
                <c:pt idx="14879">
                  <c:v>400</c:v>
                </c:pt>
                <c:pt idx="14880">
                  <c:v>2956</c:v>
                </c:pt>
                <c:pt idx="14881">
                  <c:v>287</c:v>
                </c:pt>
                <c:pt idx="14882">
                  <c:v>48</c:v>
                </c:pt>
                <c:pt idx="14883">
                  <c:v>1675</c:v>
                </c:pt>
                <c:pt idx="14884">
                  <c:v>691</c:v>
                </c:pt>
                <c:pt idx="14885">
                  <c:v>568</c:v>
                </c:pt>
                <c:pt idx="14886">
                  <c:v>137</c:v>
                </c:pt>
                <c:pt idx="14887">
                  <c:v>844</c:v>
                </c:pt>
                <c:pt idx="14888">
                  <c:v>1095</c:v>
                </c:pt>
                <c:pt idx="14889">
                  <c:v>1243</c:v>
                </c:pt>
                <c:pt idx="14890">
                  <c:v>1302</c:v>
                </c:pt>
                <c:pt idx="14891">
                  <c:v>86</c:v>
                </c:pt>
                <c:pt idx="14892">
                  <c:v>271</c:v>
                </c:pt>
                <c:pt idx="14893">
                  <c:v>140</c:v>
                </c:pt>
                <c:pt idx="14894">
                  <c:v>142</c:v>
                </c:pt>
                <c:pt idx="14895">
                  <c:v>563</c:v>
                </c:pt>
                <c:pt idx="14896">
                  <c:v>672</c:v>
                </c:pt>
                <c:pt idx="14897">
                  <c:v>556</c:v>
                </c:pt>
                <c:pt idx="14898">
                  <c:v>1544</c:v>
                </c:pt>
                <c:pt idx="14899">
                  <c:v>637</c:v>
                </c:pt>
                <c:pt idx="14900">
                  <c:v>99</c:v>
                </c:pt>
                <c:pt idx="14901">
                  <c:v>363</c:v>
                </c:pt>
                <c:pt idx="14902">
                  <c:v>684</c:v>
                </c:pt>
                <c:pt idx="14903">
                  <c:v>29</c:v>
                </c:pt>
                <c:pt idx="14904">
                  <c:v>160</c:v>
                </c:pt>
                <c:pt idx="14905">
                  <c:v>31</c:v>
                </c:pt>
                <c:pt idx="14906">
                  <c:v>599</c:v>
                </c:pt>
                <c:pt idx="14907">
                  <c:v>560</c:v>
                </c:pt>
                <c:pt idx="14908">
                  <c:v>450</c:v>
                </c:pt>
                <c:pt idx="14909">
                  <c:v>168</c:v>
                </c:pt>
                <c:pt idx="14910">
                  <c:v>1800</c:v>
                </c:pt>
                <c:pt idx="14911">
                  <c:v>8173</c:v>
                </c:pt>
                <c:pt idx="14912">
                  <c:v>5761</c:v>
                </c:pt>
                <c:pt idx="14913">
                  <c:v>1362</c:v>
                </c:pt>
                <c:pt idx="14914">
                  <c:v>84</c:v>
                </c:pt>
                <c:pt idx="14915">
                  <c:v>401</c:v>
                </c:pt>
                <c:pt idx="14916">
                  <c:v>167</c:v>
                </c:pt>
                <c:pt idx="14917">
                  <c:v>237</c:v>
                </c:pt>
                <c:pt idx="14918">
                  <c:v>715</c:v>
                </c:pt>
                <c:pt idx="14919">
                  <c:v>386</c:v>
                </c:pt>
                <c:pt idx="14920">
                  <c:v>2323</c:v>
                </c:pt>
                <c:pt idx="14921">
                  <c:v>10125</c:v>
                </c:pt>
                <c:pt idx="14922">
                  <c:v>3118</c:v>
                </c:pt>
                <c:pt idx="14923">
                  <c:v>79</c:v>
                </c:pt>
                <c:pt idx="14924">
                  <c:v>2446</c:v>
                </c:pt>
                <c:pt idx="14925">
                  <c:v>789</c:v>
                </c:pt>
                <c:pt idx="14926">
                  <c:v>12587</c:v>
                </c:pt>
                <c:pt idx="14927">
                  <c:v>231</c:v>
                </c:pt>
                <c:pt idx="14928">
                  <c:v>223</c:v>
                </c:pt>
                <c:pt idx="14929">
                  <c:v>520</c:v>
                </c:pt>
                <c:pt idx="14930">
                  <c:v>532</c:v>
                </c:pt>
                <c:pt idx="14931">
                  <c:v>174</c:v>
                </c:pt>
                <c:pt idx="14932">
                  <c:v>5408</c:v>
                </c:pt>
                <c:pt idx="14933">
                  <c:v>464</c:v>
                </c:pt>
                <c:pt idx="14934">
                  <c:v>1343</c:v>
                </c:pt>
                <c:pt idx="14935">
                  <c:v>208</c:v>
                </c:pt>
                <c:pt idx="14936">
                  <c:v>387</c:v>
                </c:pt>
                <c:pt idx="14937">
                  <c:v>285</c:v>
                </c:pt>
                <c:pt idx="14938">
                  <c:v>1192</c:v>
                </c:pt>
                <c:pt idx="14939">
                  <c:v>195</c:v>
                </c:pt>
                <c:pt idx="14940">
                  <c:v>159</c:v>
                </c:pt>
                <c:pt idx="14941">
                  <c:v>188</c:v>
                </c:pt>
                <c:pt idx="14942">
                  <c:v>429</c:v>
                </c:pt>
                <c:pt idx="14943">
                  <c:v>501</c:v>
                </c:pt>
                <c:pt idx="14944">
                  <c:v>323</c:v>
                </c:pt>
                <c:pt idx="14945">
                  <c:v>82</c:v>
                </c:pt>
                <c:pt idx="14946">
                  <c:v>491</c:v>
                </c:pt>
                <c:pt idx="14947">
                  <c:v>355</c:v>
                </c:pt>
                <c:pt idx="14948">
                  <c:v>112</c:v>
                </c:pt>
                <c:pt idx="14949">
                  <c:v>2469</c:v>
                </c:pt>
                <c:pt idx="14950">
                  <c:v>360</c:v>
                </c:pt>
                <c:pt idx="14951">
                  <c:v>14159</c:v>
                </c:pt>
                <c:pt idx="14952">
                  <c:v>258</c:v>
                </c:pt>
                <c:pt idx="14953">
                  <c:v>1081</c:v>
                </c:pt>
                <c:pt idx="14954">
                  <c:v>723</c:v>
                </c:pt>
                <c:pt idx="14955">
                  <c:v>356</c:v>
                </c:pt>
                <c:pt idx="14956">
                  <c:v>290</c:v>
                </c:pt>
                <c:pt idx="14957">
                  <c:v>22</c:v>
                </c:pt>
                <c:pt idx="14958">
                  <c:v>1156</c:v>
                </c:pt>
                <c:pt idx="14959">
                  <c:v>454</c:v>
                </c:pt>
                <c:pt idx="14960">
                  <c:v>505</c:v>
                </c:pt>
                <c:pt idx="14961">
                  <c:v>1242</c:v>
                </c:pt>
                <c:pt idx="14962">
                  <c:v>1668</c:v>
                </c:pt>
                <c:pt idx="14963">
                  <c:v>977</c:v>
                </c:pt>
                <c:pt idx="14964">
                  <c:v>366</c:v>
                </c:pt>
                <c:pt idx="14965">
                  <c:v>587</c:v>
                </c:pt>
                <c:pt idx="14966">
                  <c:v>3906</c:v>
                </c:pt>
                <c:pt idx="14967">
                  <c:v>236</c:v>
                </c:pt>
                <c:pt idx="14968">
                  <c:v>1268</c:v>
                </c:pt>
                <c:pt idx="14969">
                  <c:v>8930</c:v>
                </c:pt>
                <c:pt idx="14970">
                  <c:v>681</c:v>
                </c:pt>
                <c:pt idx="14971">
                  <c:v>7984</c:v>
                </c:pt>
                <c:pt idx="14972">
                  <c:v>1468</c:v>
                </c:pt>
                <c:pt idx="14973">
                  <c:v>3120</c:v>
                </c:pt>
                <c:pt idx="14974">
                  <c:v>409</c:v>
                </c:pt>
                <c:pt idx="14975">
                  <c:v>1362</c:v>
                </c:pt>
                <c:pt idx="14976">
                  <c:v>328</c:v>
                </c:pt>
                <c:pt idx="14977">
                  <c:v>161</c:v>
                </c:pt>
                <c:pt idx="14978">
                  <c:v>7145</c:v>
                </c:pt>
                <c:pt idx="14979">
                  <c:v>4568</c:v>
                </c:pt>
                <c:pt idx="14980">
                  <c:v>233</c:v>
                </c:pt>
                <c:pt idx="14981">
                  <c:v>146</c:v>
                </c:pt>
                <c:pt idx="14982">
                  <c:v>1604</c:v>
                </c:pt>
                <c:pt idx="14983">
                  <c:v>3743</c:v>
                </c:pt>
                <c:pt idx="14984">
                  <c:v>25</c:v>
                </c:pt>
                <c:pt idx="14985">
                  <c:v>1369</c:v>
                </c:pt>
                <c:pt idx="14986">
                  <c:v>584</c:v>
                </c:pt>
                <c:pt idx="14987">
                  <c:v>460</c:v>
                </c:pt>
                <c:pt idx="14988">
                  <c:v>68</c:v>
                </c:pt>
                <c:pt idx="14989">
                  <c:v>365</c:v>
                </c:pt>
                <c:pt idx="14990">
                  <c:v>687</c:v>
                </c:pt>
                <c:pt idx="14991">
                  <c:v>224</c:v>
                </c:pt>
                <c:pt idx="14992">
                  <c:v>150</c:v>
                </c:pt>
                <c:pt idx="14993">
                  <c:v>1110</c:v>
                </c:pt>
                <c:pt idx="14994">
                  <c:v>1694</c:v>
                </c:pt>
                <c:pt idx="14995">
                  <c:v>505</c:v>
                </c:pt>
                <c:pt idx="14996">
                  <c:v>1383</c:v>
                </c:pt>
                <c:pt idx="14997">
                  <c:v>60</c:v>
                </c:pt>
                <c:pt idx="14998">
                  <c:v>276</c:v>
                </c:pt>
                <c:pt idx="14999">
                  <c:v>169</c:v>
                </c:pt>
                <c:pt idx="15000">
                  <c:v>1015</c:v>
                </c:pt>
                <c:pt idx="15001">
                  <c:v>405</c:v>
                </c:pt>
                <c:pt idx="15002">
                  <c:v>1270</c:v>
                </c:pt>
                <c:pt idx="15003">
                  <c:v>1949</c:v>
                </c:pt>
                <c:pt idx="15004">
                  <c:v>604</c:v>
                </c:pt>
                <c:pt idx="15005">
                  <c:v>1100</c:v>
                </c:pt>
                <c:pt idx="15006">
                  <c:v>784</c:v>
                </c:pt>
                <c:pt idx="15007">
                  <c:v>127</c:v>
                </c:pt>
                <c:pt idx="15008">
                  <c:v>31</c:v>
                </c:pt>
                <c:pt idx="15009">
                  <c:v>290</c:v>
                </c:pt>
                <c:pt idx="15010">
                  <c:v>638</c:v>
                </c:pt>
                <c:pt idx="15011">
                  <c:v>497</c:v>
                </c:pt>
                <c:pt idx="15012">
                  <c:v>1569</c:v>
                </c:pt>
                <c:pt idx="15013">
                  <c:v>131</c:v>
                </c:pt>
                <c:pt idx="15014">
                  <c:v>13533</c:v>
                </c:pt>
                <c:pt idx="15015">
                  <c:v>17292</c:v>
                </c:pt>
                <c:pt idx="15016">
                  <c:v>20978</c:v>
                </c:pt>
                <c:pt idx="15017">
                  <c:v>413</c:v>
                </c:pt>
                <c:pt idx="15018">
                  <c:v>60</c:v>
                </c:pt>
                <c:pt idx="15019">
                  <c:v>338</c:v>
                </c:pt>
                <c:pt idx="15020">
                  <c:v>45</c:v>
                </c:pt>
                <c:pt idx="15021">
                  <c:v>4367</c:v>
                </c:pt>
                <c:pt idx="15022">
                  <c:v>82</c:v>
                </c:pt>
                <c:pt idx="15023">
                  <c:v>239</c:v>
                </c:pt>
                <c:pt idx="15024">
                  <c:v>1182</c:v>
                </c:pt>
                <c:pt idx="15025">
                  <c:v>239</c:v>
                </c:pt>
                <c:pt idx="15026">
                  <c:v>351</c:v>
                </c:pt>
                <c:pt idx="15027">
                  <c:v>6701</c:v>
                </c:pt>
                <c:pt idx="15028">
                  <c:v>16712</c:v>
                </c:pt>
                <c:pt idx="15029">
                  <c:v>8256</c:v>
                </c:pt>
                <c:pt idx="15030">
                  <c:v>8405</c:v>
                </c:pt>
                <c:pt idx="15031">
                  <c:v>9211</c:v>
                </c:pt>
                <c:pt idx="15032">
                  <c:v>4663</c:v>
                </c:pt>
                <c:pt idx="15033">
                  <c:v>18810</c:v>
                </c:pt>
                <c:pt idx="15034">
                  <c:v>6826</c:v>
                </c:pt>
                <c:pt idx="15035">
                  <c:v>17424</c:v>
                </c:pt>
                <c:pt idx="15036">
                  <c:v>11504</c:v>
                </c:pt>
                <c:pt idx="15037">
                  <c:v>4197</c:v>
                </c:pt>
                <c:pt idx="15038">
                  <c:v>16928</c:v>
                </c:pt>
                <c:pt idx="15039">
                  <c:v>7999</c:v>
                </c:pt>
                <c:pt idx="15040">
                  <c:v>2577</c:v>
                </c:pt>
                <c:pt idx="15041">
                  <c:v>9669</c:v>
                </c:pt>
                <c:pt idx="15042">
                  <c:v>5495</c:v>
                </c:pt>
                <c:pt idx="15043">
                  <c:v>15052</c:v>
                </c:pt>
                <c:pt idx="15044">
                  <c:v>161</c:v>
                </c:pt>
                <c:pt idx="15045">
                  <c:v>1020</c:v>
                </c:pt>
                <c:pt idx="15046">
                  <c:v>1161</c:v>
                </c:pt>
                <c:pt idx="15047">
                  <c:v>651</c:v>
                </c:pt>
                <c:pt idx="15048">
                  <c:v>70</c:v>
                </c:pt>
                <c:pt idx="15049">
                  <c:v>4486</c:v>
                </c:pt>
                <c:pt idx="15050">
                  <c:v>170</c:v>
                </c:pt>
                <c:pt idx="15051">
                  <c:v>108</c:v>
                </c:pt>
                <c:pt idx="15052">
                  <c:v>137</c:v>
                </c:pt>
                <c:pt idx="15053">
                  <c:v>72</c:v>
                </c:pt>
                <c:pt idx="15054">
                  <c:v>367</c:v>
                </c:pt>
                <c:pt idx="15055">
                  <c:v>3096</c:v>
                </c:pt>
                <c:pt idx="15056">
                  <c:v>2172</c:v>
                </c:pt>
                <c:pt idx="15057">
                  <c:v>171</c:v>
                </c:pt>
                <c:pt idx="15058">
                  <c:v>261</c:v>
                </c:pt>
                <c:pt idx="15059">
                  <c:v>2141</c:v>
                </c:pt>
                <c:pt idx="15060">
                  <c:v>178</c:v>
                </c:pt>
                <c:pt idx="15061">
                  <c:v>263</c:v>
                </c:pt>
                <c:pt idx="15062">
                  <c:v>719</c:v>
                </c:pt>
                <c:pt idx="15063">
                  <c:v>296</c:v>
                </c:pt>
                <c:pt idx="15064">
                  <c:v>471</c:v>
                </c:pt>
                <c:pt idx="15065">
                  <c:v>1474</c:v>
                </c:pt>
                <c:pt idx="15066">
                  <c:v>194</c:v>
                </c:pt>
                <c:pt idx="15067">
                  <c:v>457</c:v>
                </c:pt>
                <c:pt idx="15068">
                  <c:v>258</c:v>
                </c:pt>
                <c:pt idx="15069">
                  <c:v>204</c:v>
                </c:pt>
                <c:pt idx="15070">
                  <c:v>927</c:v>
                </c:pt>
                <c:pt idx="15071">
                  <c:v>212</c:v>
                </c:pt>
                <c:pt idx="15072">
                  <c:v>1081</c:v>
                </c:pt>
                <c:pt idx="15073">
                  <c:v>1587</c:v>
                </c:pt>
                <c:pt idx="15074">
                  <c:v>244</c:v>
                </c:pt>
                <c:pt idx="15075">
                  <c:v>2783</c:v>
                </c:pt>
                <c:pt idx="15076">
                  <c:v>276</c:v>
                </c:pt>
                <c:pt idx="15077">
                  <c:v>84</c:v>
                </c:pt>
                <c:pt idx="15078">
                  <c:v>936</c:v>
                </c:pt>
                <c:pt idx="15079">
                  <c:v>63</c:v>
                </c:pt>
                <c:pt idx="15080">
                  <c:v>681</c:v>
                </c:pt>
                <c:pt idx="15081">
                  <c:v>732</c:v>
                </c:pt>
                <c:pt idx="15082">
                  <c:v>94</c:v>
                </c:pt>
                <c:pt idx="15083">
                  <c:v>370</c:v>
                </c:pt>
                <c:pt idx="15084">
                  <c:v>1331</c:v>
                </c:pt>
                <c:pt idx="15085">
                  <c:v>106</c:v>
                </c:pt>
                <c:pt idx="15086">
                  <c:v>674</c:v>
                </c:pt>
                <c:pt idx="15087">
                  <c:v>356</c:v>
                </c:pt>
                <c:pt idx="15088">
                  <c:v>120</c:v>
                </c:pt>
                <c:pt idx="15089">
                  <c:v>352</c:v>
                </c:pt>
                <c:pt idx="15090">
                  <c:v>341</c:v>
                </c:pt>
                <c:pt idx="15091">
                  <c:v>431</c:v>
                </c:pt>
                <c:pt idx="15092">
                  <c:v>411</c:v>
                </c:pt>
                <c:pt idx="15093">
                  <c:v>410</c:v>
                </c:pt>
                <c:pt idx="15094">
                  <c:v>188</c:v>
                </c:pt>
                <c:pt idx="15095">
                  <c:v>12950</c:v>
                </c:pt>
                <c:pt idx="15096">
                  <c:v>540</c:v>
                </c:pt>
                <c:pt idx="15097">
                  <c:v>3278</c:v>
                </c:pt>
                <c:pt idx="15098">
                  <c:v>472</c:v>
                </c:pt>
                <c:pt idx="15099">
                  <c:v>129</c:v>
                </c:pt>
                <c:pt idx="15100">
                  <c:v>417</c:v>
                </c:pt>
                <c:pt idx="15101">
                  <c:v>450</c:v>
                </c:pt>
                <c:pt idx="15102">
                  <c:v>175</c:v>
                </c:pt>
                <c:pt idx="15103">
                  <c:v>327</c:v>
                </c:pt>
                <c:pt idx="15104">
                  <c:v>67</c:v>
                </c:pt>
                <c:pt idx="15105">
                  <c:v>373</c:v>
                </c:pt>
                <c:pt idx="15106">
                  <c:v>306</c:v>
                </c:pt>
                <c:pt idx="15107">
                  <c:v>291</c:v>
                </c:pt>
                <c:pt idx="15108">
                  <c:v>1627</c:v>
                </c:pt>
                <c:pt idx="15109">
                  <c:v>54</c:v>
                </c:pt>
                <c:pt idx="15110">
                  <c:v>176</c:v>
                </c:pt>
                <c:pt idx="15111">
                  <c:v>444</c:v>
                </c:pt>
                <c:pt idx="15112">
                  <c:v>627</c:v>
                </c:pt>
                <c:pt idx="15113">
                  <c:v>85</c:v>
                </c:pt>
                <c:pt idx="15114">
                  <c:v>398</c:v>
                </c:pt>
                <c:pt idx="15115">
                  <c:v>1780</c:v>
                </c:pt>
                <c:pt idx="15116">
                  <c:v>564</c:v>
                </c:pt>
                <c:pt idx="15117">
                  <c:v>2285</c:v>
                </c:pt>
                <c:pt idx="15118">
                  <c:v>217</c:v>
                </c:pt>
                <c:pt idx="15119">
                  <c:v>222</c:v>
                </c:pt>
                <c:pt idx="15120">
                  <c:v>620</c:v>
                </c:pt>
                <c:pt idx="15121">
                  <c:v>475</c:v>
                </c:pt>
                <c:pt idx="15122">
                  <c:v>463</c:v>
                </c:pt>
                <c:pt idx="15123">
                  <c:v>615</c:v>
                </c:pt>
                <c:pt idx="15124">
                  <c:v>207</c:v>
                </c:pt>
                <c:pt idx="15125">
                  <c:v>65</c:v>
                </c:pt>
                <c:pt idx="15126">
                  <c:v>163</c:v>
                </c:pt>
                <c:pt idx="15127">
                  <c:v>2687</c:v>
                </c:pt>
                <c:pt idx="15128">
                  <c:v>855</c:v>
                </c:pt>
                <c:pt idx="15129">
                  <c:v>65</c:v>
                </c:pt>
                <c:pt idx="15130">
                  <c:v>394</c:v>
                </c:pt>
                <c:pt idx="15131">
                  <c:v>354</c:v>
                </c:pt>
                <c:pt idx="15132">
                  <c:v>154</c:v>
                </c:pt>
                <c:pt idx="15133">
                  <c:v>255</c:v>
                </c:pt>
                <c:pt idx="15134">
                  <c:v>350</c:v>
                </c:pt>
                <c:pt idx="15135">
                  <c:v>165</c:v>
                </c:pt>
                <c:pt idx="15136">
                  <c:v>1172</c:v>
                </c:pt>
                <c:pt idx="15137">
                  <c:v>207</c:v>
                </c:pt>
                <c:pt idx="15138">
                  <c:v>215</c:v>
                </c:pt>
                <c:pt idx="15139">
                  <c:v>97</c:v>
                </c:pt>
                <c:pt idx="15140">
                  <c:v>713</c:v>
                </c:pt>
                <c:pt idx="15141">
                  <c:v>391</c:v>
                </c:pt>
                <c:pt idx="15142">
                  <c:v>75</c:v>
                </c:pt>
                <c:pt idx="15143">
                  <c:v>108</c:v>
                </c:pt>
                <c:pt idx="15144">
                  <c:v>1009</c:v>
                </c:pt>
                <c:pt idx="15145">
                  <c:v>315</c:v>
                </c:pt>
                <c:pt idx="15146">
                  <c:v>151</c:v>
                </c:pt>
                <c:pt idx="15147">
                  <c:v>174</c:v>
                </c:pt>
                <c:pt idx="15148">
                  <c:v>344</c:v>
                </c:pt>
                <c:pt idx="15149">
                  <c:v>1012</c:v>
                </c:pt>
                <c:pt idx="15150">
                  <c:v>314</c:v>
                </c:pt>
                <c:pt idx="15151">
                  <c:v>130</c:v>
                </c:pt>
                <c:pt idx="15152">
                  <c:v>1187</c:v>
                </c:pt>
                <c:pt idx="15153">
                  <c:v>582</c:v>
                </c:pt>
                <c:pt idx="15154">
                  <c:v>140</c:v>
                </c:pt>
                <c:pt idx="15155">
                  <c:v>6478</c:v>
                </c:pt>
                <c:pt idx="15156">
                  <c:v>412</c:v>
                </c:pt>
                <c:pt idx="15157">
                  <c:v>166</c:v>
                </c:pt>
                <c:pt idx="15158">
                  <c:v>119</c:v>
                </c:pt>
                <c:pt idx="15159">
                  <c:v>4069</c:v>
                </c:pt>
                <c:pt idx="15160">
                  <c:v>594</c:v>
                </c:pt>
                <c:pt idx="15161">
                  <c:v>476</c:v>
                </c:pt>
                <c:pt idx="15162">
                  <c:v>218</c:v>
                </c:pt>
                <c:pt idx="15163">
                  <c:v>1264</c:v>
                </c:pt>
                <c:pt idx="15164">
                  <c:v>731</c:v>
                </c:pt>
                <c:pt idx="15165">
                  <c:v>205</c:v>
                </c:pt>
                <c:pt idx="15166">
                  <c:v>708</c:v>
                </c:pt>
                <c:pt idx="15167">
                  <c:v>104</c:v>
                </c:pt>
                <c:pt idx="15168">
                  <c:v>371</c:v>
                </c:pt>
                <c:pt idx="15169">
                  <c:v>185</c:v>
                </c:pt>
                <c:pt idx="15170">
                  <c:v>253</c:v>
                </c:pt>
                <c:pt idx="15171">
                  <c:v>204</c:v>
                </c:pt>
                <c:pt idx="15172">
                  <c:v>167</c:v>
                </c:pt>
                <c:pt idx="15173">
                  <c:v>23955</c:v>
                </c:pt>
                <c:pt idx="15174">
                  <c:v>4742</c:v>
                </c:pt>
                <c:pt idx="15175">
                  <c:v>1102</c:v>
                </c:pt>
                <c:pt idx="15176">
                  <c:v>38</c:v>
                </c:pt>
                <c:pt idx="15177">
                  <c:v>678</c:v>
                </c:pt>
                <c:pt idx="15178">
                  <c:v>1537</c:v>
                </c:pt>
                <c:pt idx="15179">
                  <c:v>812</c:v>
                </c:pt>
                <c:pt idx="15180">
                  <c:v>453</c:v>
                </c:pt>
                <c:pt idx="15181">
                  <c:v>799</c:v>
                </c:pt>
                <c:pt idx="15182">
                  <c:v>1545</c:v>
                </c:pt>
                <c:pt idx="15183">
                  <c:v>516</c:v>
                </c:pt>
                <c:pt idx="15184">
                  <c:v>1396</c:v>
                </c:pt>
                <c:pt idx="15185">
                  <c:v>732</c:v>
                </c:pt>
                <c:pt idx="15186">
                  <c:v>138</c:v>
                </c:pt>
                <c:pt idx="15187">
                  <c:v>773</c:v>
                </c:pt>
                <c:pt idx="15188">
                  <c:v>309</c:v>
                </c:pt>
                <c:pt idx="15189">
                  <c:v>372</c:v>
                </c:pt>
                <c:pt idx="15190">
                  <c:v>673</c:v>
                </c:pt>
                <c:pt idx="15191">
                  <c:v>913</c:v>
                </c:pt>
                <c:pt idx="15192">
                  <c:v>1641</c:v>
                </c:pt>
                <c:pt idx="15193">
                  <c:v>589</c:v>
                </c:pt>
                <c:pt idx="15194">
                  <c:v>329</c:v>
                </c:pt>
                <c:pt idx="15195">
                  <c:v>1460</c:v>
                </c:pt>
                <c:pt idx="15196">
                  <c:v>4303</c:v>
                </c:pt>
                <c:pt idx="15197">
                  <c:v>529</c:v>
                </c:pt>
                <c:pt idx="15198">
                  <c:v>1099</c:v>
                </c:pt>
                <c:pt idx="15199">
                  <c:v>2021</c:v>
                </c:pt>
                <c:pt idx="15200">
                  <c:v>345</c:v>
                </c:pt>
                <c:pt idx="15201">
                  <c:v>1713</c:v>
                </c:pt>
                <c:pt idx="15202">
                  <c:v>54</c:v>
                </c:pt>
                <c:pt idx="15203">
                  <c:v>308</c:v>
                </c:pt>
                <c:pt idx="15204">
                  <c:v>426</c:v>
                </c:pt>
                <c:pt idx="15205">
                  <c:v>40</c:v>
                </c:pt>
                <c:pt idx="15206">
                  <c:v>1353</c:v>
                </c:pt>
                <c:pt idx="15207">
                  <c:v>3117</c:v>
                </c:pt>
                <c:pt idx="15208">
                  <c:v>526</c:v>
                </c:pt>
                <c:pt idx="15209">
                  <c:v>2778</c:v>
                </c:pt>
                <c:pt idx="15210">
                  <c:v>1183</c:v>
                </c:pt>
                <c:pt idx="15211">
                  <c:v>353</c:v>
                </c:pt>
                <c:pt idx="15212">
                  <c:v>382</c:v>
                </c:pt>
                <c:pt idx="15213">
                  <c:v>614</c:v>
                </c:pt>
                <c:pt idx="15214">
                  <c:v>1145</c:v>
                </c:pt>
                <c:pt idx="15215">
                  <c:v>1134</c:v>
                </c:pt>
                <c:pt idx="15216">
                  <c:v>108</c:v>
                </c:pt>
                <c:pt idx="15217">
                  <c:v>235</c:v>
                </c:pt>
                <c:pt idx="15218">
                  <c:v>118</c:v>
                </c:pt>
                <c:pt idx="15219">
                  <c:v>1768</c:v>
                </c:pt>
                <c:pt idx="15220">
                  <c:v>1283</c:v>
                </c:pt>
                <c:pt idx="15221">
                  <c:v>1185</c:v>
                </c:pt>
                <c:pt idx="15222">
                  <c:v>6360</c:v>
                </c:pt>
                <c:pt idx="15223">
                  <c:v>488</c:v>
                </c:pt>
                <c:pt idx="15224">
                  <c:v>156</c:v>
                </c:pt>
                <c:pt idx="15225">
                  <c:v>910</c:v>
                </c:pt>
                <c:pt idx="15226">
                  <c:v>14631</c:v>
                </c:pt>
                <c:pt idx="15227">
                  <c:v>10226</c:v>
                </c:pt>
                <c:pt idx="15228">
                  <c:v>7926</c:v>
                </c:pt>
                <c:pt idx="15229">
                  <c:v>4024</c:v>
                </c:pt>
                <c:pt idx="15230">
                  <c:v>4116</c:v>
                </c:pt>
                <c:pt idx="15231">
                  <c:v>765</c:v>
                </c:pt>
                <c:pt idx="15232">
                  <c:v>1019</c:v>
                </c:pt>
                <c:pt idx="15233">
                  <c:v>180</c:v>
                </c:pt>
                <c:pt idx="15234">
                  <c:v>178</c:v>
                </c:pt>
                <c:pt idx="15235">
                  <c:v>1092</c:v>
                </c:pt>
                <c:pt idx="15236">
                  <c:v>27</c:v>
                </c:pt>
                <c:pt idx="15237">
                  <c:v>169</c:v>
                </c:pt>
                <c:pt idx="15238">
                  <c:v>368</c:v>
                </c:pt>
                <c:pt idx="15239">
                  <c:v>543</c:v>
                </c:pt>
                <c:pt idx="15240">
                  <c:v>18</c:v>
                </c:pt>
                <c:pt idx="15241">
                  <c:v>1188</c:v>
                </c:pt>
                <c:pt idx="15242">
                  <c:v>1074</c:v>
                </c:pt>
                <c:pt idx="15243">
                  <c:v>341</c:v>
                </c:pt>
                <c:pt idx="15244">
                  <c:v>1131</c:v>
                </c:pt>
                <c:pt idx="15245">
                  <c:v>68</c:v>
                </c:pt>
                <c:pt idx="15246">
                  <c:v>383</c:v>
                </c:pt>
                <c:pt idx="15247">
                  <c:v>354</c:v>
                </c:pt>
                <c:pt idx="15248">
                  <c:v>33</c:v>
                </c:pt>
                <c:pt idx="15249">
                  <c:v>277</c:v>
                </c:pt>
                <c:pt idx="15250">
                  <c:v>125</c:v>
                </c:pt>
                <c:pt idx="15251">
                  <c:v>89</c:v>
                </c:pt>
                <c:pt idx="15252">
                  <c:v>919</c:v>
                </c:pt>
                <c:pt idx="15253">
                  <c:v>1133</c:v>
                </c:pt>
                <c:pt idx="15254">
                  <c:v>1350</c:v>
                </c:pt>
                <c:pt idx="15255">
                  <c:v>992</c:v>
                </c:pt>
                <c:pt idx="15256">
                  <c:v>504</c:v>
                </c:pt>
                <c:pt idx="15257">
                  <c:v>769</c:v>
                </c:pt>
                <c:pt idx="15258">
                  <c:v>567</c:v>
                </c:pt>
                <c:pt idx="15259">
                  <c:v>368</c:v>
                </c:pt>
                <c:pt idx="15260">
                  <c:v>76</c:v>
                </c:pt>
                <c:pt idx="15261">
                  <c:v>65</c:v>
                </c:pt>
                <c:pt idx="15262">
                  <c:v>29</c:v>
                </c:pt>
                <c:pt idx="15263">
                  <c:v>3218</c:v>
                </c:pt>
                <c:pt idx="15264">
                  <c:v>284</c:v>
                </c:pt>
                <c:pt idx="15265">
                  <c:v>548</c:v>
                </c:pt>
                <c:pt idx="15266">
                  <c:v>353</c:v>
                </c:pt>
                <c:pt idx="15267">
                  <c:v>232</c:v>
                </c:pt>
                <c:pt idx="15268">
                  <c:v>303</c:v>
                </c:pt>
                <c:pt idx="15269">
                  <c:v>339</c:v>
                </c:pt>
                <c:pt idx="15270">
                  <c:v>1367</c:v>
                </c:pt>
                <c:pt idx="15271">
                  <c:v>1291</c:v>
                </c:pt>
                <c:pt idx="15272">
                  <c:v>985</c:v>
                </c:pt>
                <c:pt idx="15273">
                  <c:v>453</c:v>
                </c:pt>
                <c:pt idx="15274">
                  <c:v>746</c:v>
                </c:pt>
                <c:pt idx="15275">
                  <c:v>1090</c:v>
                </c:pt>
                <c:pt idx="15276">
                  <c:v>188</c:v>
                </c:pt>
                <c:pt idx="15277">
                  <c:v>977</c:v>
                </c:pt>
                <c:pt idx="15278">
                  <c:v>6490</c:v>
                </c:pt>
                <c:pt idx="15279">
                  <c:v>207</c:v>
                </c:pt>
                <c:pt idx="15280">
                  <c:v>728</c:v>
                </c:pt>
                <c:pt idx="15281">
                  <c:v>821</c:v>
                </c:pt>
                <c:pt idx="15282">
                  <c:v>528</c:v>
                </c:pt>
                <c:pt idx="15283">
                  <c:v>1035</c:v>
                </c:pt>
                <c:pt idx="15284">
                  <c:v>1449</c:v>
                </c:pt>
                <c:pt idx="15285">
                  <c:v>1666</c:v>
                </c:pt>
                <c:pt idx="15286">
                  <c:v>3751</c:v>
                </c:pt>
                <c:pt idx="15287">
                  <c:v>46</c:v>
                </c:pt>
                <c:pt idx="15288">
                  <c:v>57</c:v>
                </c:pt>
                <c:pt idx="15289">
                  <c:v>771</c:v>
                </c:pt>
                <c:pt idx="15290">
                  <c:v>442</c:v>
                </c:pt>
                <c:pt idx="15291">
                  <c:v>239</c:v>
                </c:pt>
                <c:pt idx="15292">
                  <c:v>261</c:v>
                </c:pt>
                <c:pt idx="15293">
                  <c:v>1526</c:v>
                </c:pt>
                <c:pt idx="15294">
                  <c:v>621</c:v>
                </c:pt>
                <c:pt idx="15295">
                  <c:v>555</c:v>
                </c:pt>
                <c:pt idx="15296">
                  <c:v>2701</c:v>
                </c:pt>
                <c:pt idx="15297">
                  <c:v>663</c:v>
                </c:pt>
                <c:pt idx="15298">
                  <c:v>160</c:v>
                </c:pt>
                <c:pt idx="15299">
                  <c:v>555</c:v>
                </c:pt>
                <c:pt idx="15300">
                  <c:v>216</c:v>
                </c:pt>
                <c:pt idx="15301">
                  <c:v>145</c:v>
                </c:pt>
                <c:pt idx="15302">
                  <c:v>146</c:v>
                </c:pt>
                <c:pt idx="15303">
                  <c:v>525</c:v>
                </c:pt>
                <c:pt idx="15304">
                  <c:v>223</c:v>
                </c:pt>
                <c:pt idx="15305">
                  <c:v>7500</c:v>
                </c:pt>
                <c:pt idx="15306">
                  <c:v>12042</c:v>
                </c:pt>
                <c:pt idx="15307">
                  <c:v>4837</c:v>
                </c:pt>
                <c:pt idx="15308">
                  <c:v>14531</c:v>
                </c:pt>
                <c:pt idx="15309">
                  <c:v>2360</c:v>
                </c:pt>
                <c:pt idx="15310">
                  <c:v>1845</c:v>
                </c:pt>
                <c:pt idx="15311">
                  <c:v>3349</c:v>
                </c:pt>
                <c:pt idx="15312">
                  <c:v>286</c:v>
                </c:pt>
                <c:pt idx="15313">
                  <c:v>261</c:v>
                </c:pt>
                <c:pt idx="15314">
                  <c:v>29</c:v>
                </c:pt>
                <c:pt idx="15315">
                  <c:v>412</c:v>
                </c:pt>
                <c:pt idx="15316">
                  <c:v>723</c:v>
                </c:pt>
                <c:pt idx="15317">
                  <c:v>508</c:v>
                </c:pt>
                <c:pt idx="15318">
                  <c:v>867</c:v>
                </c:pt>
                <c:pt idx="15319">
                  <c:v>649</c:v>
                </c:pt>
                <c:pt idx="15320">
                  <c:v>1729</c:v>
                </c:pt>
                <c:pt idx="15321">
                  <c:v>931</c:v>
                </c:pt>
                <c:pt idx="15322">
                  <c:v>1163</c:v>
                </c:pt>
                <c:pt idx="15323">
                  <c:v>171</c:v>
                </c:pt>
                <c:pt idx="15324">
                  <c:v>356</c:v>
                </c:pt>
                <c:pt idx="15325">
                  <c:v>96</c:v>
                </c:pt>
                <c:pt idx="15326">
                  <c:v>530</c:v>
                </c:pt>
                <c:pt idx="15327">
                  <c:v>1770</c:v>
                </c:pt>
                <c:pt idx="15328">
                  <c:v>2801</c:v>
                </c:pt>
                <c:pt idx="15329">
                  <c:v>726</c:v>
                </c:pt>
                <c:pt idx="15330">
                  <c:v>1581</c:v>
                </c:pt>
                <c:pt idx="15331">
                  <c:v>5014</c:v>
                </c:pt>
                <c:pt idx="15332">
                  <c:v>5843</c:v>
                </c:pt>
                <c:pt idx="15333">
                  <c:v>545</c:v>
                </c:pt>
                <c:pt idx="15334">
                  <c:v>236</c:v>
                </c:pt>
                <c:pt idx="15335">
                  <c:v>3600</c:v>
                </c:pt>
                <c:pt idx="15336">
                  <c:v>479</c:v>
                </c:pt>
                <c:pt idx="15337">
                  <c:v>69</c:v>
                </c:pt>
                <c:pt idx="15338">
                  <c:v>738</c:v>
                </c:pt>
                <c:pt idx="15339">
                  <c:v>116</c:v>
                </c:pt>
                <c:pt idx="15340">
                  <c:v>240</c:v>
                </c:pt>
                <c:pt idx="15341">
                  <c:v>1019</c:v>
                </c:pt>
                <c:pt idx="15342">
                  <c:v>851</c:v>
                </c:pt>
                <c:pt idx="15343">
                  <c:v>230</c:v>
                </c:pt>
                <c:pt idx="15344">
                  <c:v>2507</c:v>
                </c:pt>
                <c:pt idx="15345">
                  <c:v>563</c:v>
                </c:pt>
                <c:pt idx="15346">
                  <c:v>429</c:v>
                </c:pt>
                <c:pt idx="15347">
                  <c:v>380</c:v>
                </c:pt>
                <c:pt idx="15348">
                  <c:v>625</c:v>
                </c:pt>
                <c:pt idx="15349">
                  <c:v>4311</c:v>
                </c:pt>
                <c:pt idx="15350">
                  <c:v>88</c:v>
                </c:pt>
                <c:pt idx="15351">
                  <c:v>414</c:v>
                </c:pt>
                <c:pt idx="15352">
                  <c:v>208</c:v>
                </c:pt>
                <c:pt idx="15353">
                  <c:v>136</c:v>
                </c:pt>
                <c:pt idx="15354">
                  <c:v>5958</c:v>
                </c:pt>
                <c:pt idx="15355">
                  <c:v>842</c:v>
                </c:pt>
                <c:pt idx="15356">
                  <c:v>273</c:v>
                </c:pt>
                <c:pt idx="15357">
                  <c:v>13</c:v>
                </c:pt>
                <c:pt idx="15358">
                  <c:v>331</c:v>
                </c:pt>
                <c:pt idx="15359">
                  <c:v>543</c:v>
                </c:pt>
                <c:pt idx="15360">
                  <c:v>405</c:v>
                </c:pt>
                <c:pt idx="15361">
                  <c:v>144</c:v>
                </c:pt>
                <c:pt idx="15362">
                  <c:v>165</c:v>
                </c:pt>
                <c:pt idx="15363">
                  <c:v>4089</c:v>
                </c:pt>
                <c:pt idx="15364">
                  <c:v>760</c:v>
                </c:pt>
                <c:pt idx="15365">
                  <c:v>208</c:v>
                </c:pt>
                <c:pt idx="15366">
                  <c:v>1221</c:v>
                </c:pt>
                <c:pt idx="15367">
                  <c:v>297</c:v>
                </c:pt>
                <c:pt idx="15368">
                  <c:v>132</c:v>
                </c:pt>
                <c:pt idx="15369">
                  <c:v>248</c:v>
                </c:pt>
                <c:pt idx="15370">
                  <c:v>916</c:v>
                </c:pt>
                <c:pt idx="15371">
                  <c:v>770</c:v>
                </c:pt>
                <c:pt idx="15372">
                  <c:v>35</c:v>
                </c:pt>
                <c:pt idx="15373">
                  <c:v>83</c:v>
                </c:pt>
                <c:pt idx="15374">
                  <c:v>221</c:v>
                </c:pt>
                <c:pt idx="15375">
                  <c:v>738</c:v>
                </c:pt>
                <c:pt idx="15376">
                  <c:v>1290</c:v>
                </c:pt>
                <c:pt idx="15377">
                  <c:v>567</c:v>
                </c:pt>
                <c:pt idx="15378">
                  <c:v>36</c:v>
                </c:pt>
                <c:pt idx="15379">
                  <c:v>653</c:v>
                </c:pt>
                <c:pt idx="15380">
                  <c:v>511</c:v>
                </c:pt>
                <c:pt idx="15381">
                  <c:v>291</c:v>
                </c:pt>
                <c:pt idx="15382">
                  <c:v>326</c:v>
                </c:pt>
                <c:pt idx="15383">
                  <c:v>393</c:v>
                </c:pt>
                <c:pt idx="15384">
                  <c:v>225</c:v>
                </c:pt>
                <c:pt idx="15385">
                  <c:v>17121</c:v>
                </c:pt>
                <c:pt idx="15386">
                  <c:v>17841</c:v>
                </c:pt>
                <c:pt idx="15387">
                  <c:v>1646</c:v>
                </c:pt>
                <c:pt idx="15388">
                  <c:v>826</c:v>
                </c:pt>
                <c:pt idx="15389">
                  <c:v>164</c:v>
                </c:pt>
                <c:pt idx="15390">
                  <c:v>554</c:v>
                </c:pt>
                <c:pt idx="15391">
                  <c:v>906</c:v>
                </c:pt>
                <c:pt idx="15392">
                  <c:v>293</c:v>
                </c:pt>
                <c:pt idx="15393">
                  <c:v>357</c:v>
                </c:pt>
                <c:pt idx="15394">
                  <c:v>903</c:v>
                </c:pt>
                <c:pt idx="15395">
                  <c:v>263</c:v>
                </c:pt>
                <c:pt idx="15396">
                  <c:v>332</c:v>
                </c:pt>
                <c:pt idx="15397">
                  <c:v>319</c:v>
                </c:pt>
                <c:pt idx="15398">
                  <c:v>519</c:v>
                </c:pt>
                <c:pt idx="15399">
                  <c:v>4597</c:v>
                </c:pt>
                <c:pt idx="15400">
                  <c:v>837</c:v>
                </c:pt>
                <c:pt idx="15401">
                  <c:v>207</c:v>
                </c:pt>
                <c:pt idx="15402">
                  <c:v>3418</c:v>
                </c:pt>
                <c:pt idx="15403">
                  <c:v>90</c:v>
                </c:pt>
                <c:pt idx="15404">
                  <c:v>150</c:v>
                </c:pt>
                <c:pt idx="15405">
                  <c:v>516</c:v>
                </c:pt>
                <c:pt idx="15406">
                  <c:v>162</c:v>
                </c:pt>
                <c:pt idx="15407">
                  <c:v>237</c:v>
                </c:pt>
                <c:pt idx="15408">
                  <c:v>83</c:v>
                </c:pt>
                <c:pt idx="15409">
                  <c:v>1645</c:v>
                </c:pt>
                <c:pt idx="15410">
                  <c:v>239</c:v>
                </c:pt>
                <c:pt idx="15411">
                  <c:v>275</c:v>
                </c:pt>
                <c:pt idx="15412">
                  <c:v>71</c:v>
                </c:pt>
                <c:pt idx="15413">
                  <c:v>893</c:v>
                </c:pt>
                <c:pt idx="15414">
                  <c:v>183</c:v>
                </c:pt>
                <c:pt idx="15415">
                  <c:v>564</c:v>
                </c:pt>
                <c:pt idx="15416">
                  <c:v>2363</c:v>
                </c:pt>
                <c:pt idx="15417">
                  <c:v>229</c:v>
                </c:pt>
                <c:pt idx="15418">
                  <c:v>408</c:v>
                </c:pt>
                <c:pt idx="15419">
                  <c:v>303</c:v>
                </c:pt>
                <c:pt idx="15420">
                  <c:v>1059</c:v>
                </c:pt>
                <c:pt idx="15421">
                  <c:v>956</c:v>
                </c:pt>
                <c:pt idx="15422">
                  <c:v>453</c:v>
                </c:pt>
                <c:pt idx="15423">
                  <c:v>305</c:v>
                </c:pt>
                <c:pt idx="15424">
                  <c:v>315</c:v>
                </c:pt>
                <c:pt idx="15425">
                  <c:v>220</c:v>
                </c:pt>
                <c:pt idx="15426">
                  <c:v>303</c:v>
                </c:pt>
                <c:pt idx="15427">
                  <c:v>3011</c:v>
                </c:pt>
                <c:pt idx="15428">
                  <c:v>474</c:v>
                </c:pt>
                <c:pt idx="15429">
                  <c:v>392</c:v>
                </c:pt>
                <c:pt idx="15430">
                  <c:v>242</c:v>
                </c:pt>
                <c:pt idx="15431">
                  <c:v>516</c:v>
                </c:pt>
                <c:pt idx="15432">
                  <c:v>772</c:v>
                </c:pt>
                <c:pt idx="15433">
                  <c:v>1068</c:v>
                </c:pt>
                <c:pt idx="15434">
                  <c:v>488</c:v>
                </c:pt>
                <c:pt idx="15435">
                  <c:v>96</c:v>
                </c:pt>
                <c:pt idx="15436">
                  <c:v>1094</c:v>
                </c:pt>
                <c:pt idx="15437">
                  <c:v>2488</c:v>
                </c:pt>
                <c:pt idx="15438">
                  <c:v>162</c:v>
                </c:pt>
                <c:pt idx="15439">
                  <c:v>2934</c:v>
                </c:pt>
                <c:pt idx="15440">
                  <c:v>186</c:v>
                </c:pt>
                <c:pt idx="15441">
                  <c:v>109</c:v>
                </c:pt>
                <c:pt idx="15442">
                  <c:v>598</c:v>
                </c:pt>
                <c:pt idx="15443">
                  <c:v>418</c:v>
                </c:pt>
                <c:pt idx="15444">
                  <c:v>673</c:v>
                </c:pt>
                <c:pt idx="15445">
                  <c:v>164</c:v>
                </c:pt>
                <c:pt idx="15446">
                  <c:v>417</c:v>
                </c:pt>
                <c:pt idx="15447">
                  <c:v>153</c:v>
                </c:pt>
                <c:pt idx="15448">
                  <c:v>181</c:v>
                </c:pt>
                <c:pt idx="15449">
                  <c:v>108</c:v>
                </c:pt>
                <c:pt idx="15450">
                  <c:v>65</c:v>
                </c:pt>
                <c:pt idx="15451">
                  <c:v>692</c:v>
                </c:pt>
                <c:pt idx="15452">
                  <c:v>643</c:v>
                </c:pt>
                <c:pt idx="15453">
                  <c:v>177</c:v>
                </c:pt>
                <c:pt idx="15454">
                  <c:v>21682</c:v>
                </c:pt>
                <c:pt idx="15455">
                  <c:v>8686</c:v>
                </c:pt>
                <c:pt idx="15456">
                  <c:v>7373</c:v>
                </c:pt>
                <c:pt idx="15457">
                  <c:v>161</c:v>
                </c:pt>
                <c:pt idx="15458">
                  <c:v>2386</c:v>
                </c:pt>
                <c:pt idx="15459">
                  <c:v>827</c:v>
                </c:pt>
                <c:pt idx="15460">
                  <c:v>1608</c:v>
                </c:pt>
                <c:pt idx="15461">
                  <c:v>496</c:v>
                </c:pt>
                <c:pt idx="15462">
                  <c:v>71</c:v>
                </c:pt>
                <c:pt idx="15463">
                  <c:v>500</c:v>
                </c:pt>
                <c:pt idx="15464">
                  <c:v>299</c:v>
                </c:pt>
                <c:pt idx="15465">
                  <c:v>487</c:v>
                </c:pt>
                <c:pt idx="15466">
                  <c:v>3080</c:v>
                </c:pt>
                <c:pt idx="15467">
                  <c:v>1109</c:v>
                </c:pt>
                <c:pt idx="15468">
                  <c:v>910</c:v>
                </c:pt>
                <c:pt idx="15469">
                  <c:v>870</c:v>
                </c:pt>
                <c:pt idx="15470">
                  <c:v>1371</c:v>
                </c:pt>
                <c:pt idx="15471">
                  <c:v>1411</c:v>
                </c:pt>
                <c:pt idx="15472">
                  <c:v>371</c:v>
                </c:pt>
                <c:pt idx="15473">
                  <c:v>132</c:v>
                </c:pt>
                <c:pt idx="15474">
                  <c:v>619</c:v>
                </c:pt>
                <c:pt idx="15475">
                  <c:v>148</c:v>
                </c:pt>
                <c:pt idx="15476">
                  <c:v>287</c:v>
                </c:pt>
                <c:pt idx="15477">
                  <c:v>1521</c:v>
                </c:pt>
                <c:pt idx="15478">
                  <c:v>700</c:v>
                </c:pt>
                <c:pt idx="15479">
                  <c:v>546</c:v>
                </c:pt>
                <c:pt idx="15480">
                  <c:v>97</c:v>
                </c:pt>
                <c:pt idx="15481">
                  <c:v>4330</c:v>
                </c:pt>
                <c:pt idx="15482">
                  <c:v>3663</c:v>
                </c:pt>
                <c:pt idx="15483">
                  <c:v>433</c:v>
                </c:pt>
                <c:pt idx="15484">
                  <c:v>479</c:v>
                </c:pt>
                <c:pt idx="15485">
                  <c:v>28</c:v>
                </c:pt>
                <c:pt idx="15486">
                  <c:v>2653</c:v>
                </c:pt>
                <c:pt idx="15487">
                  <c:v>793</c:v>
                </c:pt>
                <c:pt idx="15488">
                  <c:v>537</c:v>
                </c:pt>
                <c:pt idx="15489">
                  <c:v>62</c:v>
                </c:pt>
                <c:pt idx="15490">
                  <c:v>373</c:v>
                </c:pt>
                <c:pt idx="15491">
                  <c:v>802</c:v>
                </c:pt>
                <c:pt idx="15492">
                  <c:v>196</c:v>
                </c:pt>
                <c:pt idx="15493">
                  <c:v>85</c:v>
                </c:pt>
                <c:pt idx="15494">
                  <c:v>1082</c:v>
                </c:pt>
                <c:pt idx="15495">
                  <c:v>133</c:v>
                </c:pt>
                <c:pt idx="15496">
                  <c:v>371</c:v>
                </c:pt>
                <c:pt idx="15497">
                  <c:v>448</c:v>
                </c:pt>
                <c:pt idx="15498">
                  <c:v>6993</c:v>
                </c:pt>
                <c:pt idx="15499">
                  <c:v>1068</c:v>
                </c:pt>
                <c:pt idx="15500">
                  <c:v>340</c:v>
                </c:pt>
                <c:pt idx="15501">
                  <c:v>159</c:v>
                </c:pt>
                <c:pt idx="15502">
                  <c:v>384</c:v>
                </c:pt>
                <c:pt idx="15503">
                  <c:v>3111</c:v>
                </c:pt>
                <c:pt idx="15504">
                  <c:v>246</c:v>
                </c:pt>
                <c:pt idx="15505">
                  <c:v>603</c:v>
                </c:pt>
                <c:pt idx="15506">
                  <c:v>878</c:v>
                </c:pt>
                <c:pt idx="15507">
                  <c:v>541</c:v>
                </c:pt>
                <c:pt idx="15508">
                  <c:v>304</c:v>
                </c:pt>
                <c:pt idx="15509">
                  <c:v>509</c:v>
                </c:pt>
                <c:pt idx="15510">
                  <c:v>760</c:v>
                </c:pt>
                <c:pt idx="15511">
                  <c:v>462</c:v>
                </c:pt>
                <c:pt idx="15512">
                  <c:v>633</c:v>
                </c:pt>
                <c:pt idx="15513">
                  <c:v>409</c:v>
                </c:pt>
                <c:pt idx="15514">
                  <c:v>813</c:v>
                </c:pt>
                <c:pt idx="15515">
                  <c:v>1303</c:v>
                </c:pt>
                <c:pt idx="15516">
                  <c:v>603</c:v>
                </c:pt>
                <c:pt idx="15517">
                  <c:v>750</c:v>
                </c:pt>
                <c:pt idx="15518">
                  <c:v>1512</c:v>
                </c:pt>
                <c:pt idx="15519">
                  <c:v>162</c:v>
                </c:pt>
                <c:pt idx="15520">
                  <c:v>121</c:v>
                </c:pt>
                <c:pt idx="15521">
                  <c:v>650</c:v>
                </c:pt>
                <c:pt idx="15522">
                  <c:v>67</c:v>
                </c:pt>
                <c:pt idx="15523">
                  <c:v>165</c:v>
                </c:pt>
                <c:pt idx="15524">
                  <c:v>165</c:v>
                </c:pt>
                <c:pt idx="15525">
                  <c:v>260</c:v>
                </c:pt>
                <c:pt idx="15526">
                  <c:v>566</c:v>
                </c:pt>
                <c:pt idx="15527">
                  <c:v>3020</c:v>
                </c:pt>
                <c:pt idx="15528">
                  <c:v>1712</c:v>
                </c:pt>
                <c:pt idx="15529">
                  <c:v>805</c:v>
                </c:pt>
                <c:pt idx="15530">
                  <c:v>588</c:v>
                </c:pt>
                <c:pt idx="15531">
                  <c:v>1415</c:v>
                </c:pt>
                <c:pt idx="15532">
                  <c:v>3553</c:v>
                </c:pt>
                <c:pt idx="15533">
                  <c:v>1480</c:v>
                </c:pt>
                <c:pt idx="15534">
                  <c:v>115</c:v>
                </c:pt>
                <c:pt idx="15535">
                  <c:v>1588</c:v>
                </c:pt>
                <c:pt idx="15536">
                  <c:v>547</c:v>
                </c:pt>
                <c:pt idx="15537">
                  <c:v>395</c:v>
                </c:pt>
                <c:pt idx="15538">
                  <c:v>1380</c:v>
                </c:pt>
                <c:pt idx="15539">
                  <c:v>181</c:v>
                </c:pt>
                <c:pt idx="15540">
                  <c:v>2025</c:v>
                </c:pt>
                <c:pt idx="15541">
                  <c:v>1562</c:v>
                </c:pt>
                <c:pt idx="15542">
                  <c:v>466</c:v>
                </c:pt>
                <c:pt idx="15543">
                  <c:v>651</c:v>
                </c:pt>
                <c:pt idx="15544">
                  <c:v>241</c:v>
                </c:pt>
                <c:pt idx="15545">
                  <c:v>966</c:v>
                </c:pt>
                <c:pt idx="15546">
                  <c:v>88</c:v>
                </c:pt>
                <c:pt idx="15547">
                  <c:v>86</c:v>
                </c:pt>
                <c:pt idx="15548">
                  <c:v>101</c:v>
                </c:pt>
                <c:pt idx="15549">
                  <c:v>296</c:v>
                </c:pt>
                <c:pt idx="15550">
                  <c:v>561</c:v>
                </c:pt>
                <c:pt idx="15551">
                  <c:v>1002</c:v>
                </c:pt>
                <c:pt idx="15552">
                  <c:v>166</c:v>
                </c:pt>
                <c:pt idx="15553">
                  <c:v>1629</c:v>
                </c:pt>
                <c:pt idx="15554">
                  <c:v>1990</c:v>
                </c:pt>
                <c:pt idx="15555">
                  <c:v>510</c:v>
                </c:pt>
                <c:pt idx="15556">
                  <c:v>107</c:v>
                </c:pt>
                <c:pt idx="15557">
                  <c:v>3582</c:v>
                </c:pt>
                <c:pt idx="15558">
                  <c:v>442</c:v>
                </c:pt>
                <c:pt idx="15559">
                  <c:v>165</c:v>
                </c:pt>
                <c:pt idx="15560">
                  <c:v>763</c:v>
                </c:pt>
                <c:pt idx="15561">
                  <c:v>20514</c:v>
                </c:pt>
                <c:pt idx="15562">
                  <c:v>12324</c:v>
                </c:pt>
                <c:pt idx="15563">
                  <c:v>12248</c:v>
                </c:pt>
                <c:pt idx="15564">
                  <c:v>11597</c:v>
                </c:pt>
                <c:pt idx="15565">
                  <c:v>2561</c:v>
                </c:pt>
                <c:pt idx="15566">
                  <c:v>823</c:v>
                </c:pt>
                <c:pt idx="15567">
                  <c:v>421</c:v>
                </c:pt>
                <c:pt idx="15568">
                  <c:v>372</c:v>
                </c:pt>
                <c:pt idx="15569">
                  <c:v>1348</c:v>
                </c:pt>
                <c:pt idx="15570">
                  <c:v>347</c:v>
                </c:pt>
                <c:pt idx="15571">
                  <c:v>631</c:v>
                </c:pt>
                <c:pt idx="15572">
                  <c:v>1941</c:v>
                </c:pt>
                <c:pt idx="15573">
                  <c:v>22092</c:v>
                </c:pt>
                <c:pt idx="15574">
                  <c:v>391</c:v>
                </c:pt>
                <c:pt idx="15575">
                  <c:v>670</c:v>
                </c:pt>
                <c:pt idx="15576">
                  <c:v>66</c:v>
                </c:pt>
                <c:pt idx="15577">
                  <c:v>212</c:v>
                </c:pt>
                <c:pt idx="15578">
                  <c:v>3301</c:v>
                </c:pt>
                <c:pt idx="15579">
                  <c:v>36</c:v>
                </c:pt>
                <c:pt idx="15580">
                  <c:v>173</c:v>
                </c:pt>
                <c:pt idx="15581">
                  <c:v>2629</c:v>
                </c:pt>
                <c:pt idx="15582">
                  <c:v>604</c:v>
                </c:pt>
                <c:pt idx="15583">
                  <c:v>762</c:v>
                </c:pt>
                <c:pt idx="15584">
                  <c:v>11892</c:v>
                </c:pt>
                <c:pt idx="15585">
                  <c:v>574</c:v>
                </c:pt>
                <c:pt idx="15586">
                  <c:v>583</c:v>
                </c:pt>
                <c:pt idx="15587">
                  <c:v>261</c:v>
                </c:pt>
                <c:pt idx="15588">
                  <c:v>1076</c:v>
                </c:pt>
                <c:pt idx="15589">
                  <c:v>554</c:v>
                </c:pt>
                <c:pt idx="15590">
                  <c:v>1174</c:v>
                </c:pt>
                <c:pt idx="15591">
                  <c:v>208</c:v>
                </c:pt>
                <c:pt idx="15592">
                  <c:v>355</c:v>
                </c:pt>
                <c:pt idx="15593">
                  <c:v>1776</c:v>
                </c:pt>
                <c:pt idx="15594">
                  <c:v>1422</c:v>
                </c:pt>
                <c:pt idx="15595">
                  <c:v>408</c:v>
                </c:pt>
                <c:pt idx="15596">
                  <c:v>533</c:v>
                </c:pt>
                <c:pt idx="15597">
                  <c:v>888</c:v>
                </c:pt>
                <c:pt idx="15598">
                  <c:v>3771</c:v>
                </c:pt>
                <c:pt idx="15599">
                  <c:v>280</c:v>
                </c:pt>
                <c:pt idx="15600">
                  <c:v>1353</c:v>
                </c:pt>
                <c:pt idx="15601">
                  <c:v>441</c:v>
                </c:pt>
                <c:pt idx="15602">
                  <c:v>2161</c:v>
                </c:pt>
                <c:pt idx="15603">
                  <c:v>1643</c:v>
                </c:pt>
                <c:pt idx="15604">
                  <c:v>2462</c:v>
                </c:pt>
                <c:pt idx="15605">
                  <c:v>478</c:v>
                </c:pt>
                <c:pt idx="15606">
                  <c:v>1372</c:v>
                </c:pt>
                <c:pt idx="15607">
                  <c:v>836</c:v>
                </c:pt>
                <c:pt idx="15608">
                  <c:v>534</c:v>
                </c:pt>
                <c:pt idx="15609">
                  <c:v>675</c:v>
                </c:pt>
                <c:pt idx="15610">
                  <c:v>39</c:v>
                </c:pt>
                <c:pt idx="15611">
                  <c:v>3701</c:v>
                </c:pt>
                <c:pt idx="15612">
                  <c:v>897</c:v>
                </c:pt>
                <c:pt idx="15613">
                  <c:v>910</c:v>
                </c:pt>
                <c:pt idx="15614">
                  <c:v>4539</c:v>
                </c:pt>
                <c:pt idx="15615">
                  <c:v>123</c:v>
                </c:pt>
                <c:pt idx="15616">
                  <c:v>113</c:v>
                </c:pt>
                <c:pt idx="15617">
                  <c:v>1404</c:v>
                </c:pt>
                <c:pt idx="15618">
                  <c:v>2253</c:v>
                </c:pt>
                <c:pt idx="15619">
                  <c:v>120</c:v>
                </c:pt>
                <c:pt idx="15620">
                  <c:v>2494</c:v>
                </c:pt>
                <c:pt idx="15621">
                  <c:v>383</c:v>
                </c:pt>
                <c:pt idx="15622">
                  <c:v>1071</c:v>
                </c:pt>
                <c:pt idx="15623">
                  <c:v>22099</c:v>
                </c:pt>
                <c:pt idx="15624">
                  <c:v>12644</c:v>
                </c:pt>
                <c:pt idx="15625">
                  <c:v>21740</c:v>
                </c:pt>
                <c:pt idx="15626">
                  <c:v>13846</c:v>
                </c:pt>
                <c:pt idx="15627">
                  <c:v>4454</c:v>
                </c:pt>
                <c:pt idx="15628">
                  <c:v>13581</c:v>
                </c:pt>
                <c:pt idx="15629">
                  <c:v>385</c:v>
                </c:pt>
                <c:pt idx="15630">
                  <c:v>2767</c:v>
                </c:pt>
                <c:pt idx="15631">
                  <c:v>494</c:v>
                </c:pt>
                <c:pt idx="15632">
                  <c:v>272</c:v>
                </c:pt>
                <c:pt idx="15633">
                  <c:v>367</c:v>
                </c:pt>
                <c:pt idx="15634">
                  <c:v>356</c:v>
                </c:pt>
                <c:pt idx="15635">
                  <c:v>3152</c:v>
                </c:pt>
                <c:pt idx="15636">
                  <c:v>536</c:v>
                </c:pt>
                <c:pt idx="15637">
                  <c:v>189</c:v>
                </c:pt>
                <c:pt idx="15638">
                  <c:v>240</c:v>
                </c:pt>
                <c:pt idx="15639">
                  <c:v>2773</c:v>
                </c:pt>
                <c:pt idx="15640">
                  <c:v>42</c:v>
                </c:pt>
                <c:pt idx="15641">
                  <c:v>216</c:v>
                </c:pt>
                <c:pt idx="15642">
                  <c:v>257</c:v>
                </c:pt>
                <c:pt idx="15643">
                  <c:v>283</c:v>
                </c:pt>
                <c:pt idx="15644">
                  <c:v>397</c:v>
                </c:pt>
                <c:pt idx="15645">
                  <c:v>785</c:v>
                </c:pt>
                <c:pt idx="15646">
                  <c:v>474</c:v>
                </c:pt>
                <c:pt idx="15647">
                  <c:v>86</c:v>
                </c:pt>
                <c:pt idx="15648">
                  <c:v>5389</c:v>
                </c:pt>
                <c:pt idx="15649">
                  <c:v>68</c:v>
                </c:pt>
                <c:pt idx="15650">
                  <c:v>432</c:v>
                </c:pt>
                <c:pt idx="15651">
                  <c:v>768</c:v>
                </c:pt>
                <c:pt idx="15652">
                  <c:v>758</c:v>
                </c:pt>
                <c:pt idx="15653">
                  <c:v>119</c:v>
                </c:pt>
                <c:pt idx="15654">
                  <c:v>309</c:v>
                </c:pt>
                <c:pt idx="15655">
                  <c:v>26</c:v>
                </c:pt>
                <c:pt idx="15656">
                  <c:v>217</c:v>
                </c:pt>
                <c:pt idx="15657">
                  <c:v>390</c:v>
                </c:pt>
                <c:pt idx="15658">
                  <c:v>602</c:v>
                </c:pt>
                <c:pt idx="15659">
                  <c:v>511</c:v>
                </c:pt>
                <c:pt idx="15660">
                  <c:v>97</c:v>
                </c:pt>
                <c:pt idx="15661">
                  <c:v>251</c:v>
                </c:pt>
                <c:pt idx="15662">
                  <c:v>232</c:v>
                </c:pt>
                <c:pt idx="15663">
                  <c:v>7084</c:v>
                </c:pt>
                <c:pt idx="15664">
                  <c:v>346</c:v>
                </c:pt>
                <c:pt idx="15665">
                  <c:v>130</c:v>
                </c:pt>
                <c:pt idx="15666">
                  <c:v>147</c:v>
                </c:pt>
                <c:pt idx="15667">
                  <c:v>359</c:v>
                </c:pt>
                <c:pt idx="15668">
                  <c:v>383</c:v>
                </c:pt>
                <c:pt idx="15669">
                  <c:v>221</c:v>
                </c:pt>
                <c:pt idx="15670">
                  <c:v>491</c:v>
                </c:pt>
                <c:pt idx="15671">
                  <c:v>1371</c:v>
                </c:pt>
                <c:pt idx="15672">
                  <c:v>112</c:v>
                </c:pt>
                <c:pt idx="15673">
                  <c:v>207</c:v>
                </c:pt>
                <c:pt idx="15674">
                  <c:v>232</c:v>
                </c:pt>
                <c:pt idx="15675">
                  <c:v>12777</c:v>
                </c:pt>
                <c:pt idx="15676">
                  <c:v>384</c:v>
                </c:pt>
                <c:pt idx="15677">
                  <c:v>388</c:v>
                </c:pt>
                <c:pt idx="15678">
                  <c:v>477</c:v>
                </c:pt>
                <c:pt idx="15679">
                  <c:v>1106</c:v>
                </c:pt>
                <c:pt idx="15680">
                  <c:v>364</c:v>
                </c:pt>
                <c:pt idx="15681">
                  <c:v>1050</c:v>
                </c:pt>
                <c:pt idx="15682">
                  <c:v>498</c:v>
                </c:pt>
                <c:pt idx="15683">
                  <c:v>5383</c:v>
                </c:pt>
                <c:pt idx="15684">
                  <c:v>143</c:v>
                </c:pt>
                <c:pt idx="15685">
                  <c:v>30</c:v>
                </c:pt>
                <c:pt idx="15686">
                  <c:v>5407</c:v>
                </c:pt>
                <c:pt idx="15687">
                  <c:v>400</c:v>
                </c:pt>
                <c:pt idx="15688">
                  <c:v>1464</c:v>
                </c:pt>
                <c:pt idx="15689">
                  <c:v>230</c:v>
                </c:pt>
                <c:pt idx="15690">
                  <c:v>951</c:v>
                </c:pt>
                <c:pt idx="15691">
                  <c:v>758</c:v>
                </c:pt>
                <c:pt idx="15692">
                  <c:v>5793</c:v>
                </c:pt>
                <c:pt idx="15693">
                  <c:v>174</c:v>
                </c:pt>
                <c:pt idx="15694">
                  <c:v>1857</c:v>
                </c:pt>
                <c:pt idx="15695">
                  <c:v>105</c:v>
                </c:pt>
                <c:pt idx="15696">
                  <c:v>91</c:v>
                </c:pt>
                <c:pt idx="15697">
                  <c:v>371</c:v>
                </c:pt>
                <c:pt idx="15698">
                  <c:v>427</c:v>
                </c:pt>
                <c:pt idx="15699">
                  <c:v>183</c:v>
                </c:pt>
                <c:pt idx="15700">
                  <c:v>1764</c:v>
                </c:pt>
                <c:pt idx="15701">
                  <c:v>818</c:v>
                </c:pt>
                <c:pt idx="15702">
                  <c:v>1945</c:v>
                </c:pt>
                <c:pt idx="15703">
                  <c:v>1151</c:v>
                </c:pt>
                <c:pt idx="15704">
                  <c:v>38</c:v>
                </c:pt>
                <c:pt idx="15705">
                  <c:v>365</c:v>
                </c:pt>
                <c:pt idx="15706">
                  <c:v>636</c:v>
                </c:pt>
                <c:pt idx="15707">
                  <c:v>214</c:v>
                </c:pt>
                <c:pt idx="15708">
                  <c:v>36</c:v>
                </c:pt>
                <c:pt idx="15709">
                  <c:v>538</c:v>
                </c:pt>
                <c:pt idx="15710">
                  <c:v>505</c:v>
                </c:pt>
                <c:pt idx="15711">
                  <c:v>19943</c:v>
                </c:pt>
                <c:pt idx="15712">
                  <c:v>2758</c:v>
                </c:pt>
                <c:pt idx="15713">
                  <c:v>145</c:v>
                </c:pt>
                <c:pt idx="15714">
                  <c:v>479</c:v>
                </c:pt>
                <c:pt idx="15715">
                  <c:v>465</c:v>
                </c:pt>
                <c:pt idx="15716">
                  <c:v>2502</c:v>
                </c:pt>
                <c:pt idx="15717">
                  <c:v>361</c:v>
                </c:pt>
                <c:pt idx="15718">
                  <c:v>1195</c:v>
                </c:pt>
                <c:pt idx="15719">
                  <c:v>11306</c:v>
                </c:pt>
                <c:pt idx="15720">
                  <c:v>130</c:v>
                </c:pt>
                <c:pt idx="15721">
                  <c:v>1548</c:v>
                </c:pt>
                <c:pt idx="15722">
                  <c:v>340</c:v>
                </c:pt>
                <c:pt idx="15723">
                  <c:v>3445</c:v>
                </c:pt>
                <c:pt idx="15724">
                  <c:v>235</c:v>
                </c:pt>
                <c:pt idx="15725">
                  <c:v>546</c:v>
                </c:pt>
                <c:pt idx="15726">
                  <c:v>1048</c:v>
                </c:pt>
                <c:pt idx="15727">
                  <c:v>4643</c:v>
                </c:pt>
                <c:pt idx="15728">
                  <c:v>623</c:v>
                </c:pt>
                <c:pt idx="15729">
                  <c:v>236</c:v>
                </c:pt>
                <c:pt idx="15730">
                  <c:v>517</c:v>
                </c:pt>
                <c:pt idx="15731">
                  <c:v>166</c:v>
                </c:pt>
                <c:pt idx="15732">
                  <c:v>2554</c:v>
                </c:pt>
                <c:pt idx="15733">
                  <c:v>704</c:v>
                </c:pt>
                <c:pt idx="15734">
                  <c:v>1188</c:v>
                </c:pt>
                <c:pt idx="15735">
                  <c:v>1004</c:v>
                </c:pt>
                <c:pt idx="15736">
                  <c:v>115</c:v>
                </c:pt>
                <c:pt idx="15737">
                  <c:v>172</c:v>
                </c:pt>
                <c:pt idx="15738">
                  <c:v>229</c:v>
                </c:pt>
                <c:pt idx="15739">
                  <c:v>14260</c:v>
                </c:pt>
                <c:pt idx="15740">
                  <c:v>194</c:v>
                </c:pt>
                <c:pt idx="15741">
                  <c:v>439</c:v>
                </c:pt>
                <c:pt idx="15742">
                  <c:v>798</c:v>
                </c:pt>
                <c:pt idx="15743">
                  <c:v>277</c:v>
                </c:pt>
                <c:pt idx="15744">
                  <c:v>2783</c:v>
                </c:pt>
                <c:pt idx="15745">
                  <c:v>1356</c:v>
                </c:pt>
                <c:pt idx="15746">
                  <c:v>76</c:v>
                </c:pt>
                <c:pt idx="15747">
                  <c:v>2644</c:v>
                </c:pt>
                <c:pt idx="15748">
                  <c:v>558</c:v>
                </c:pt>
                <c:pt idx="15749">
                  <c:v>2027</c:v>
                </c:pt>
                <c:pt idx="15750">
                  <c:v>4283</c:v>
                </c:pt>
                <c:pt idx="15751">
                  <c:v>11765</c:v>
                </c:pt>
                <c:pt idx="15752">
                  <c:v>13037</c:v>
                </c:pt>
                <c:pt idx="15753">
                  <c:v>13240</c:v>
                </c:pt>
                <c:pt idx="15754">
                  <c:v>7590</c:v>
                </c:pt>
                <c:pt idx="15755">
                  <c:v>1062</c:v>
                </c:pt>
                <c:pt idx="15756">
                  <c:v>1280</c:v>
                </c:pt>
                <c:pt idx="15757">
                  <c:v>80</c:v>
                </c:pt>
                <c:pt idx="15758">
                  <c:v>2025</c:v>
                </c:pt>
                <c:pt idx="15759">
                  <c:v>10746</c:v>
                </c:pt>
                <c:pt idx="15760">
                  <c:v>1065</c:v>
                </c:pt>
                <c:pt idx="15761">
                  <c:v>1056</c:v>
                </c:pt>
                <c:pt idx="15762">
                  <c:v>4203</c:v>
                </c:pt>
                <c:pt idx="15763">
                  <c:v>1217</c:v>
                </c:pt>
                <c:pt idx="15764">
                  <c:v>9880</c:v>
                </c:pt>
                <c:pt idx="15765">
                  <c:v>1933</c:v>
                </c:pt>
                <c:pt idx="15766">
                  <c:v>4202</c:v>
                </c:pt>
                <c:pt idx="15767">
                  <c:v>1419</c:v>
                </c:pt>
                <c:pt idx="15768">
                  <c:v>208</c:v>
                </c:pt>
                <c:pt idx="15769">
                  <c:v>3059</c:v>
                </c:pt>
                <c:pt idx="15770">
                  <c:v>3515</c:v>
                </c:pt>
                <c:pt idx="15771">
                  <c:v>904</c:v>
                </c:pt>
                <c:pt idx="15772">
                  <c:v>1944</c:v>
                </c:pt>
                <c:pt idx="15773">
                  <c:v>2399</c:v>
                </c:pt>
                <c:pt idx="15774">
                  <c:v>10796</c:v>
                </c:pt>
                <c:pt idx="15775">
                  <c:v>718</c:v>
                </c:pt>
                <c:pt idx="15776">
                  <c:v>10618</c:v>
                </c:pt>
                <c:pt idx="15777">
                  <c:v>12659</c:v>
                </c:pt>
                <c:pt idx="15778">
                  <c:v>11055</c:v>
                </c:pt>
                <c:pt idx="15779">
                  <c:v>2586</c:v>
                </c:pt>
                <c:pt idx="15780">
                  <c:v>3195</c:v>
                </c:pt>
                <c:pt idx="15781">
                  <c:v>910</c:v>
                </c:pt>
                <c:pt idx="15782">
                  <c:v>1281</c:v>
                </c:pt>
                <c:pt idx="15783">
                  <c:v>1998</c:v>
                </c:pt>
                <c:pt idx="15784">
                  <c:v>4981</c:v>
                </c:pt>
                <c:pt idx="15785">
                  <c:v>2408</c:v>
                </c:pt>
                <c:pt idx="15786">
                  <c:v>2423</c:v>
                </c:pt>
                <c:pt idx="15787">
                  <c:v>4160</c:v>
                </c:pt>
                <c:pt idx="15788">
                  <c:v>3638</c:v>
                </c:pt>
                <c:pt idx="15789">
                  <c:v>1058</c:v>
                </c:pt>
                <c:pt idx="15790">
                  <c:v>10708</c:v>
                </c:pt>
                <c:pt idx="15791">
                  <c:v>833</c:v>
                </c:pt>
                <c:pt idx="15792">
                  <c:v>51</c:v>
                </c:pt>
                <c:pt idx="15793">
                  <c:v>1860</c:v>
                </c:pt>
                <c:pt idx="15794">
                  <c:v>1344</c:v>
                </c:pt>
                <c:pt idx="15795">
                  <c:v>3478</c:v>
                </c:pt>
                <c:pt idx="15796">
                  <c:v>19970</c:v>
                </c:pt>
                <c:pt idx="15797">
                  <c:v>833</c:v>
                </c:pt>
                <c:pt idx="15798">
                  <c:v>1741</c:v>
                </c:pt>
                <c:pt idx="15799">
                  <c:v>1088</c:v>
                </c:pt>
                <c:pt idx="15800">
                  <c:v>2794</c:v>
                </c:pt>
                <c:pt idx="15801">
                  <c:v>958</c:v>
                </c:pt>
                <c:pt idx="15802">
                  <c:v>1301</c:v>
                </c:pt>
                <c:pt idx="15803">
                  <c:v>19401</c:v>
                </c:pt>
                <c:pt idx="15804">
                  <c:v>329</c:v>
                </c:pt>
                <c:pt idx="15805">
                  <c:v>2546</c:v>
                </c:pt>
                <c:pt idx="15806">
                  <c:v>13912</c:v>
                </c:pt>
                <c:pt idx="15807">
                  <c:v>7433</c:v>
                </c:pt>
                <c:pt idx="15808">
                  <c:v>6676</c:v>
                </c:pt>
                <c:pt idx="15809">
                  <c:v>1776</c:v>
                </c:pt>
                <c:pt idx="15810">
                  <c:v>1973</c:v>
                </c:pt>
                <c:pt idx="15811">
                  <c:v>1075</c:v>
                </c:pt>
                <c:pt idx="15812">
                  <c:v>628</c:v>
                </c:pt>
                <c:pt idx="15813">
                  <c:v>2933</c:v>
                </c:pt>
                <c:pt idx="15814">
                  <c:v>21954</c:v>
                </c:pt>
                <c:pt idx="15815">
                  <c:v>10865</c:v>
                </c:pt>
                <c:pt idx="15816">
                  <c:v>6247</c:v>
                </c:pt>
                <c:pt idx="15817">
                  <c:v>4947</c:v>
                </c:pt>
                <c:pt idx="15818">
                  <c:v>206</c:v>
                </c:pt>
                <c:pt idx="15819">
                  <c:v>10645</c:v>
                </c:pt>
                <c:pt idx="15820">
                  <c:v>12202</c:v>
                </c:pt>
                <c:pt idx="15821">
                  <c:v>10186</c:v>
                </c:pt>
                <c:pt idx="15822">
                  <c:v>1134</c:v>
                </c:pt>
                <c:pt idx="15823">
                  <c:v>9214</c:v>
                </c:pt>
                <c:pt idx="15824">
                  <c:v>14325</c:v>
                </c:pt>
                <c:pt idx="15825">
                  <c:v>3448</c:v>
                </c:pt>
                <c:pt idx="15826">
                  <c:v>6316</c:v>
                </c:pt>
                <c:pt idx="15827">
                  <c:v>1807</c:v>
                </c:pt>
                <c:pt idx="15828">
                  <c:v>2955</c:v>
                </c:pt>
                <c:pt idx="15829">
                  <c:v>15360</c:v>
                </c:pt>
                <c:pt idx="15830">
                  <c:v>1506</c:v>
                </c:pt>
                <c:pt idx="15831">
                  <c:v>9963</c:v>
                </c:pt>
                <c:pt idx="15832">
                  <c:v>1294</c:v>
                </c:pt>
                <c:pt idx="15833">
                  <c:v>7944</c:v>
                </c:pt>
                <c:pt idx="15834">
                  <c:v>3738</c:v>
                </c:pt>
                <c:pt idx="15835">
                  <c:v>3159</c:v>
                </c:pt>
                <c:pt idx="15836">
                  <c:v>6003</c:v>
                </c:pt>
                <c:pt idx="15837">
                  <c:v>10082</c:v>
                </c:pt>
                <c:pt idx="15838">
                  <c:v>3087</c:v>
                </c:pt>
                <c:pt idx="15839">
                  <c:v>1218</c:v>
                </c:pt>
                <c:pt idx="15840">
                  <c:v>3785</c:v>
                </c:pt>
                <c:pt idx="15841">
                  <c:v>4715</c:v>
                </c:pt>
                <c:pt idx="15842">
                  <c:v>7206</c:v>
                </c:pt>
                <c:pt idx="15843">
                  <c:v>4191</c:v>
                </c:pt>
                <c:pt idx="15844">
                  <c:v>16488</c:v>
                </c:pt>
                <c:pt idx="15845">
                  <c:v>888</c:v>
                </c:pt>
                <c:pt idx="15846">
                  <c:v>1271</c:v>
                </c:pt>
                <c:pt idx="15847">
                  <c:v>14605</c:v>
                </c:pt>
                <c:pt idx="15848">
                  <c:v>17280</c:v>
                </c:pt>
                <c:pt idx="15849">
                  <c:v>10053</c:v>
                </c:pt>
                <c:pt idx="15850">
                  <c:v>13703</c:v>
                </c:pt>
                <c:pt idx="15851">
                  <c:v>3606</c:v>
                </c:pt>
                <c:pt idx="15852">
                  <c:v>8877</c:v>
                </c:pt>
                <c:pt idx="15853">
                  <c:v>10965</c:v>
                </c:pt>
                <c:pt idx="15854">
                  <c:v>13548</c:v>
                </c:pt>
                <c:pt idx="15855">
                  <c:v>17446</c:v>
                </c:pt>
                <c:pt idx="15856">
                  <c:v>1357</c:v>
                </c:pt>
                <c:pt idx="15857">
                  <c:v>20348</c:v>
                </c:pt>
                <c:pt idx="15858">
                  <c:v>1804</c:v>
                </c:pt>
                <c:pt idx="15859">
                  <c:v>8774</c:v>
                </c:pt>
                <c:pt idx="15860">
                  <c:v>394</c:v>
                </c:pt>
                <c:pt idx="15861">
                  <c:v>4819</c:v>
                </c:pt>
                <c:pt idx="15862">
                  <c:v>1229</c:v>
                </c:pt>
                <c:pt idx="15863">
                  <c:v>10286</c:v>
                </c:pt>
                <c:pt idx="15864">
                  <c:v>3680</c:v>
                </c:pt>
                <c:pt idx="15865">
                  <c:v>1508</c:v>
                </c:pt>
                <c:pt idx="15866">
                  <c:v>3974</c:v>
                </c:pt>
                <c:pt idx="15867">
                  <c:v>3847</c:v>
                </c:pt>
                <c:pt idx="15868">
                  <c:v>4409</c:v>
                </c:pt>
                <c:pt idx="15869">
                  <c:v>1503</c:v>
                </c:pt>
                <c:pt idx="15870">
                  <c:v>2194</c:v>
                </c:pt>
                <c:pt idx="15871">
                  <c:v>10153</c:v>
                </c:pt>
                <c:pt idx="15872">
                  <c:v>19830</c:v>
                </c:pt>
                <c:pt idx="15873">
                  <c:v>18447</c:v>
                </c:pt>
                <c:pt idx="15874">
                  <c:v>14918</c:v>
                </c:pt>
                <c:pt idx="15875">
                  <c:v>10429</c:v>
                </c:pt>
                <c:pt idx="15876">
                  <c:v>1273</c:v>
                </c:pt>
                <c:pt idx="15877">
                  <c:v>44</c:v>
                </c:pt>
                <c:pt idx="15878">
                  <c:v>17636</c:v>
                </c:pt>
                <c:pt idx="15879">
                  <c:v>1497</c:v>
                </c:pt>
                <c:pt idx="15880">
                  <c:v>14854</c:v>
                </c:pt>
                <c:pt idx="15881">
                  <c:v>2869</c:v>
                </c:pt>
                <c:pt idx="15882">
                  <c:v>6849</c:v>
                </c:pt>
                <c:pt idx="15883">
                  <c:v>19892</c:v>
                </c:pt>
                <c:pt idx="15884">
                  <c:v>12607</c:v>
                </c:pt>
                <c:pt idx="15885">
                  <c:v>18139</c:v>
                </c:pt>
                <c:pt idx="15886">
                  <c:v>9689</c:v>
                </c:pt>
                <c:pt idx="15887">
                  <c:v>19740</c:v>
                </c:pt>
                <c:pt idx="15888">
                  <c:v>13974</c:v>
                </c:pt>
                <c:pt idx="15889">
                  <c:v>14954</c:v>
                </c:pt>
                <c:pt idx="15890">
                  <c:v>18475</c:v>
                </c:pt>
                <c:pt idx="15891">
                  <c:v>25886</c:v>
                </c:pt>
                <c:pt idx="15892">
                  <c:v>12125</c:v>
                </c:pt>
                <c:pt idx="15893">
                  <c:v>14445</c:v>
                </c:pt>
                <c:pt idx="15894">
                  <c:v>15938</c:v>
                </c:pt>
                <c:pt idx="15895">
                  <c:v>17320</c:v>
                </c:pt>
                <c:pt idx="15896">
                  <c:v>15038</c:v>
                </c:pt>
                <c:pt idx="15897">
                  <c:v>18845</c:v>
                </c:pt>
                <c:pt idx="15898">
                  <c:v>13477</c:v>
                </c:pt>
                <c:pt idx="15899">
                  <c:v>13385</c:v>
                </c:pt>
                <c:pt idx="15900">
                  <c:v>8755</c:v>
                </c:pt>
                <c:pt idx="15901">
                  <c:v>11586</c:v>
                </c:pt>
                <c:pt idx="15902">
                  <c:v>9692</c:v>
                </c:pt>
                <c:pt idx="15903">
                  <c:v>12630</c:v>
                </c:pt>
                <c:pt idx="15904">
                  <c:v>7358</c:v>
                </c:pt>
                <c:pt idx="15905">
                  <c:v>5563</c:v>
                </c:pt>
                <c:pt idx="15906">
                  <c:v>4681</c:v>
                </c:pt>
                <c:pt idx="15907">
                  <c:v>15887</c:v>
                </c:pt>
                <c:pt idx="15908">
                  <c:v>12195</c:v>
                </c:pt>
                <c:pt idx="15909">
                  <c:v>5848</c:v>
                </c:pt>
                <c:pt idx="15910">
                  <c:v>13244</c:v>
                </c:pt>
                <c:pt idx="15911">
                  <c:v>12127</c:v>
                </c:pt>
                <c:pt idx="15912">
                  <c:v>1170</c:v>
                </c:pt>
                <c:pt idx="15913">
                  <c:v>1064</c:v>
                </c:pt>
                <c:pt idx="15914">
                  <c:v>1263</c:v>
                </c:pt>
                <c:pt idx="15915">
                  <c:v>239</c:v>
                </c:pt>
                <c:pt idx="15916">
                  <c:v>458</c:v>
                </c:pt>
                <c:pt idx="15917">
                  <c:v>1291</c:v>
                </c:pt>
                <c:pt idx="15918">
                  <c:v>3124</c:v>
                </c:pt>
                <c:pt idx="15919">
                  <c:v>764</c:v>
                </c:pt>
                <c:pt idx="15920">
                  <c:v>22291</c:v>
                </c:pt>
                <c:pt idx="15921">
                  <c:v>1279</c:v>
                </c:pt>
                <c:pt idx="15922">
                  <c:v>1195</c:v>
                </c:pt>
                <c:pt idx="15923">
                  <c:v>1107</c:v>
                </c:pt>
                <c:pt idx="15924">
                  <c:v>637</c:v>
                </c:pt>
                <c:pt idx="15925">
                  <c:v>3428</c:v>
                </c:pt>
                <c:pt idx="15926">
                  <c:v>1936</c:v>
                </c:pt>
                <c:pt idx="15927">
                  <c:v>518</c:v>
                </c:pt>
                <c:pt idx="15928">
                  <c:v>2724</c:v>
                </c:pt>
                <c:pt idx="15929">
                  <c:v>1964</c:v>
                </c:pt>
                <c:pt idx="15930">
                  <c:v>333</c:v>
                </c:pt>
                <c:pt idx="15931">
                  <c:v>5933</c:v>
                </c:pt>
                <c:pt idx="15932">
                  <c:v>3431</c:v>
                </c:pt>
                <c:pt idx="15933">
                  <c:v>1383</c:v>
                </c:pt>
                <c:pt idx="15934">
                  <c:v>2342</c:v>
                </c:pt>
                <c:pt idx="15935">
                  <c:v>2347</c:v>
                </c:pt>
                <c:pt idx="15936">
                  <c:v>8883</c:v>
                </c:pt>
                <c:pt idx="15937">
                  <c:v>3927</c:v>
                </c:pt>
                <c:pt idx="15938">
                  <c:v>6440</c:v>
                </c:pt>
                <c:pt idx="15939">
                  <c:v>4866</c:v>
                </c:pt>
                <c:pt idx="15940">
                  <c:v>448</c:v>
                </c:pt>
                <c:pt idx="15941">
                  <c:v>10353</c:v>
                </c:pt>
                <c:pt idx="15942">
                  <c:v>404</c:v>
                </c:pt>
                <c:pt idx="15943">
                  <c:v>948</c:v>
                </c:pt>
                <c:pt idx="15944">
                  <c:v>434</c:v>
                </c:pt>
                <c:pt idx="15945">
                  <c:v>11580</c:v>
                </c:pt>
                <c:pt idx="15946">
                  <c:v>14471</c:v>
                </c:pt>
                <c:pt idx="15947">
                  <c:v>9699</c:v>
                </c:pt>
                <c:pt idx="15948">
                  <c:v>2373</c:v>
                </c:pt>
                <c:pt idx="15949">
                  <c:v>5369</c:v>
                </c:pt>
                <c:pt idx="15950">
                  <c:v>713</c:v>
                </c:pt>
                <c:pt idx="15951">
                  <c:v>4877</c:v>
                </c:pt>
                <c:pt idx="15952">
                  <c:v>310</c:v>
                </c:pt>
                <c:pt idx="15953">
                  <c:v>423</c:v>
                </c:pt>
                <c:pt idx="15954">
                  <c:v>4911</c:v>
                </c:pt>
                <c:pt idx="15955">
                  <c:v>1153</c:v>
                </c:pt>
                <c:pt idx="15956">
                  <c:v>165</c:v>
                </c:pt>
                <c:pt idx="15957">
                  <c:v>7099</c:v>
                </c:pt>
                <c:pt idx="15958">
                  <c:v>3630</c:v>
                </c:pt>
                <c:pt idx="15959">
                  <c:v>1882</c:v>
                </c:pt>
                <c:pt idx="15960">
                  <c:v>990</c:v>
                </c:pt>
                <c:pt idx="15961">
                  <c:v>15140</c:v>
                </c:pt>
                <c:pt idx="15962">
                  <c:v>6229</c:v>
                </c:pt>
                <c:pt idx="15963">
                  <c:v>2345</c:v>
                </c:pt>
                <c:pt idx="15964">
                  <c:v>8015</c:v>
                </c:pt>
                <c:pt idx="15965">
                  <c:v>575</c:v>
                </c:pt>
                <c:pt idx="15966">
                  <c:v>1498</c:v>
                </c:pt>
                <c:pt idx="15967">
                  <c:v>5600</c:v>
                </c:pt>
                <c:pt idx="15968">
                  <c:v>1492</c:v>
                </c:pt>
                <c:pt idx="15969">
                  <c:v>2028</c:v>
                </c:pt>
                <c:pt idx="15970">
                  <c:v>9905</c:v>
                </c:pt>
                <c:pt idx="15971">
                  <c:v>1113</c:v>
                </c:pt>
                <c:pt idx="15972">
                  <c:v>658</c:v>
                </c:pt>
                <c:pt idx="15973">
                  <c:v>3554</c:v>
                </c:pt>
                <c:pt idx="15974">
                  <c:v>869</c:v>
                </c:pt>
                <c:pt idx="15975">
                  <c:v>213</c:v>
                </c:pt>
                <c:pt idx="15976">
                  <c:v>4804</c:v>
                </c:pt>
                <c:pt idx="15977">
                  <c:v>652</c:v>
                </c:pt>
                <c:pt idx="15978">
                  <c:v>3405</c:v>
                </c:pt>
                <c:pt idx="15979">
                  <c:v>1159</c:v>
                </c:pt>
                <c:pt idx="15980">
                  <c:v>944</c:v>
                </c:pt>
                <c:pt idx="15981">
                  <c:v>620</c:v>
                </c:pt>
                <c:pt idx="15982">
                  <c:v>2092</c:v>
                </c:pt>
                <c:pt idx="15983">
                  <c:v>10581</c:v>
                </c:pt>
                <c:pt idx="15984">
                  <c:v>23734</c:v>
                </c:pt>
                <c:pt idx="15985">
                  <c:v>14761</c:v>
                </c:pt>
                <c:pt idx="15986">
                  <c:v>2915</c:v>
                </c:pt>
                <c:pt idx="15987">
                  <c:v>10662</c:v>
                </c:pt>
                <c:pt idx="15988">
                  <c:v>56</c:v>
                </c:pt>
                <c:pt idx="15989">
                  <c:v>25621</c:v>
                </c:pt>
                <c:pt idx="15990">
                  <c:v>27370</c:v>
                </c:pt>
                <c:pt idx="15991">
                  <c:v>13122</c:v>
                </c:pt>
                <c:pt idx="15992">
                  <c:v>26785</c:v>
                </c:pt>
                <c:pt idx="15993">
                  <c:v>13967</c:v>
                </c:pt>
                <c:pt idx="15994">
                  <c:v>9395</c:v>
                </c:pt>
                <c:pt idx="15995">
                  <c:v>8001</c:v>
                </c:pt>
                <c:pt idx="15996">
                  <c:v>9944</c:v>
                </c:pt>
                <c:pt idx="15997">
                  <c:v>7192</c:v>
                </c:pt>
                <c:pt idx="15998">
                  <c:v>10154</c:v>
                </c:pt>
                <c:pt idx="15999">
                  <c:v>20354</c:v>
                </c:pt>
                <c:pt idx="16000">
                  <c:v>3275</c:v>
                </c:pt>
                <c:pt idx="16001">
                  <c:v>485</c:v>
                </c:pt>
                <c:pt idx="16002">
                  <c:v>95</c:v>
                </c:pt>
                <c:pt idx="16003">
                  <c:v>570</c:v>
                </c:pt>
                <c:pt idx="16004">
                  <c:v>666</c:v>
                </c:pt>
                <c:pt idx="16005">
                  <c:v>2500</c:v>
                </c:pt>
                <c:pt idx="16006">
                  <c:v>640</c:v>
                </c:pt>
                <c:pt idx="16007">
                  <c:v>2307</c:v>
                </c:pt>
                <c:pt idx="16008">
                  <c:v>548</c:v>
                </c:pt>
                <c:pt idx="16009">
                  <c:v>2075</c:v>
                </c:pt>
                <c:pt idx="16010">
                  <c:v>198</c:v>
                </c:pt>
                <c:pt idx="16011">
                  <c:v>1572</c:v>
                </c:pt>
                <c:pt idx="16012">
                  <c:v>198</c:v>
                </c:pt>
                <c:pt idx="16013">
                  <c:v>3243</c:v>
                </c:pt>
                <c:pt idx="16014">
                  <c:v>392</c:v>
                </c:pt>
                <c:pt idx="16015">
                  <c:v>123</c:v>
                </c:pt>
                <c:pt idx="16016">
                  <c:v>8351</c:v>
                </c:pt>
                <c:pt idx="16017">
                  <c:v>1172</c:v>
                </c:pt>
                <c:pt idx="16018">
                  <c:v>3448</c:v>
                </c:pt>
                <c:pt idx="16019">
                  <c:v>212</c:v>
                </c:pt>
                <c:pt idx="16020">
                  <c:v>648</c:v>
                </c:pt>
                <c:pt idx="16021">
                  <c:v>114</c:v>
                </c:pt>
                <c:pt idx="16022">
                  <c:v>6948</c:v>
                </c:pt>
                <c:pt idx="16023">
                  <c:v>1274</c:v>
                </c:pt>
                <c:pt idx="16024">
                  <c:v>830</c:v>
                </c:pt>
                <c:pt idx="16025">
                  <c:v>11337</c:v>
                </c:pt>
                <c:pt idx="16026">
                  <c:v>12658</c:v>
                </c:pt>
                <c:pt idx="16027">
                  <c:v>1249</c:v>
                </c:pt>
                <c:pt idx="16028">
                  <c:v>166</c:v>
                </c:pt>
                <c:pt idx="16029">
                  <c:v>609</c:v>
                </c:pt>
                <c:pt idx="16030">
                  <c:v>1039</c:v>
                </c:pt>
                <c:pt idx="16031">
                  <c:v>587</c:v>
                </c:pt>
                <c:pt idx="16032">
                  <c:v>4763</c:v>
                </c:pt>
                <c:pt idx="16033">
                  <c:v>755</c:v>
                </c:pt>
                <c:pt idx="16034">
                  <c:v>59</c:v>
                </c:pt>
                <c:pt idx="16035">
                  <c:v>1227</c:v>
                </c:pt>
                <c:pt idx="16036">
                  <c:v>676</c:v>
                </c:pt>
                <c:pt idx="16037">
                  <c:v>173</c:v>
                </c:pt>
                <c:pt idx="16038">
                  <c:v>1332</c:v>
                </c:pt>
                <c:pt idx="16039">
                  <c:v>1547</c:v>
                </c:pt>
                <c:pt idx="16040">
                  <c:v>1552</c:v>
                </c:pt>
                <c:pt idx="16041">
                  <c:v>136</c:v>
                </c:pt>
                <c:pt idx="16042">
                  <c:v>612</c:v>
                </c:pt>
                <c:pt idx="16043">
                  <c:v>452</c:v>
                </c:pt>
                <c:pt idx="16044">
                  <c:v>141</c:v>
                </c:pt>
                <c:pt idx="16045">
                  <c:v>1436</c:v>
                </c:pt>
                <c:pt idx="16046">
                  <c:v>74</c:v>
                </c:pt>
                <c:pt idx="16047">
                  <c:v>538</c:v>
                </c:pt>
                <c:pt idx="16048">
                  <c:v>1124</c:v>
                </c:pt>
                <c:pt idx="16049">
                  <c:v>1931</c:v>
                </c:pt>
                <c:pt idx="16050">
                  <c:v>95</c:v>
                </c:pt>
                <c:pt idx="16051">
                  <c:v>4178</c:v>
                </c:pt>
                <c:pt idx="16052">
                  <c:v>2606</c:v>
                </c:pt>
                <c:pt idx="16053">
                  <c:v>1929</c:v>
                </c:pt>
                <c:pt idx="16054">
                  <c:v>1217</c:v>
                </c:pt>
                <c:pt idx="16055">
                  <c:v>1337</c:v>
                </c:pt>
                <c:pt idx="16056">
                  <c:v>78</c:v>
                </c:pt>
                <c:pt idx="16057">
                  <c:v>3709</c:v>
                </c:pt>
                <c:pt idx="16058">
                  <c:v>3105</c:v>
                </c:pt>
                <c:pt idx="16059">
                  <c:v>1394</c:v>
                </c:pt>
                <c:pt idx="16060">
                  <c:v>7024</c:v>
                </c:pt>
                <c:pt idx="16061">
                  <c:v>1876</c:v>
                </c:pt>
                <c:pt idx="16062">
                  <c:v>550</c:v>
                </c:pt>
                <c:pt idx="16063">
                  <c:v>7082</c:v>
                </c:pt>
                <c:pt idx="16064">
                  <c:v>1638</c:v>
                </c:pt>
                <c:pt idx="16065">
                  <c:v>5687</c:v>
                </c:pt>
                <c:pt idx="16066">
                  <c:v>1026</c:v>
                </c:pt>
                <c:pt idx="16067">
                  <c:v>120</c:v>
                </c:pt>
                <c:pt idx="16068">
                  <c:v>3980</c:v>
                </c:pt>
                <c:pt idx="16069">
                  <c:v>3318</c:v>
                </c:pt>
                <c:pt idx="16070">
                  <c:v>564</c:v>
                </c:pt>
                <c:pt idx="16071">
                  <c:v>1038</c:v>
                </c:pt>
                <c:pt idx="16072">
                  <c:v>1624</c:v>
                </c:pt>
                <c:pt idx="16073">
                  <c:v>349</c:v>
                </c:pt>
                <c:pt idx="16074">
                  <c:v>545</c:v>
                </c:pt>
                <c:pt idx="16075">
                  <c:v>1390</c:v>
                </c:pt>
                <c:pt idx="16076">
                  <c:v>3577</c:v>
                </c:pt>
                <c:pt idx="16077">
                  <c:v>1833</c:v>
                </c:pt>
                <c:pt idx="16078">
                  <c:v>1136</c:v>
                </c:pt>
                <c:pt idx="16079">
                  <c:v>2081</c:v>
                </c:pt>
                <c:pt idx="16080">
                  <c:v>18647</c:v>
                </c:pt>
                <c:pt idx="16081">
                  <c:v>10716</c:v>
                </c:pt>
                <c:pt idx="16082">
                  <c:v>4014</c:v>
                </c:pt>
                <c:pt idx="16083">
                  <c:v>3918</c:v>
                </c:pt>
                <c:pt idx="16084">
                  <c:v>12839</c:v>
                </c:pt>
                <c:pt idx="16085">
                  <c:v>2527</c:v>
                </c:pt>
                <c:pt idx="16086">
                  <c:v>2220</c:v>
                </c:pt>
                <c:pt idx="16087">
                  <c:v>3525</c:v>
                </c:pt>
                <c:pt idx="16088">
                  <c:v>1030</c:v>
                </c:pt>
                <c:pt idx="16089">
                  <c:v>530</c:v>
                </c:pt>
                <c:pt idx="16090">
                  <c:v>1342</c:v>
                </c:pt>
                <c:pt idx="16091">
                  <c:v>809</c:v>
                </c:pt>
                <c:pt idx="16092">
                  <c:v>1680</c:v>
                </c:pt>
                <c:pt idx="16093">
                  <c:v>239</c:v>
                </c:pt>
                <c:pt idx="16094">
                  <c:v>214</c:v>
                </c:pt>
                <c:pt idx="16095">
                  <c:v>287</c:v>
                </c:pt>
                <c:pt idx="16096">
                  <c:v>2647</c:v>
                </c:pt>
                <c:pt idx="16097">
                  <c:v>1974</c:v>
                </c:pt>
                <c:pt idx="16098">
                  <c:v>3001</c:v>
                </c:pt>
                <c:pt idx="16099">
                  <c:v>988</c:v>
                </c:pt>
                <c:pt idx="16100">
                  <c:v>1150</c:v>
                </c:pt>
                <c:pt idx="16101">
                  <c:v>1969</c:v>
                </c:pt>
                <c:pt idx="16102">
                  <c:v>2271</c:v>
                </c:pt>
                <c:pt idx="16103">
                  <c:v>25926</c:v>
                </c:pt>
                <c:pt idx="16104">
                  <c:v>350</c:v>
                </c:pt>
                <c:pt idx="16105">
                  <c:v>74</c:v>
                </c:pt>
                <c:pt idx="16106">
                  <c:v>1173</c:v>
                </c:pt>
                <c:pt idx="16107">
                  <c:v>123</c:v>
                </c:pt>
                <c:pt idx="16108">
                  <c:v>1648</c:v>
                </c:pt>
                <c:pt idx="16109">
                  <c:v>200</c:v>
                </c:pt>
                <c:pt idx="16110">
                  <c:v>2260</c:v>
                </c:pt>
                <c:pt idx="16111">
                  <c:v>39</c:v>
                </c:pt>
                <c:pt idx="16112">
                  <c:v>891</c:v>
                </c:pt>
                <c:pt idx="16113">
                  <c:v>1645</c:v>
                </c:pt>
                <c:pt idx="16114">
                  <c:v>15342</c:v>
                </c:pt>
                <c:pt idx="16115">
                  <c:v>818</c:v>
                </c:pt>
                <c:pt idx="16116">
                  <c:v>3165</c:v>
                </c:pt>
                <c:pt idx="16117">
                  <c:v>638</c:v>
                </c:pt>
                <c:pt idx="16118">
                  <c:v>305</c:v>
                </c:pt>
                <c:pt idx="16119">
                  <c:v>1579</c:v>
                </c:pt>
                <c:pt idx="16120">
                  <c:v>4799</c:v>
                </c:pt>
                <c:pt idx="16121">
                  <c:v>1432</c:v>
                </c:pt>
                <c:pt idx="16122">
                  <c:v>7144</c:v>
                </c:pt>
                <c:pt idx="16123">
                  <c:v>442</c:v>
                </c:pt>
                <c:pt idx="16124">
                  <c:v>349</c:v>
                </c:pt>
                <c:pt idx="16125">
                  <c:v>1666</c:v>
                </c:pt>
                <c:pt idx="16126">
                  <c:v>144</c:v>
                </c:pt>
                <c:pt idx="16127">
                  <c:v>3541</c:v>
                </c:pt>
                <c:pt idx="16128">
                  <c:v>2779</c:v>
                </c:pt>
                <c:pt idx="16129">
                  <c:v>4022</c:v>
                </c:pt>
                <c:pt idx="16130">
                  <c:v>465</c:v>
                </c:pt>
                <c:pt idx="16131">
                  <c:v>3185</c:v>
                </c:pt>
                <c:pt idx="16132">
                  <c:v>632</c:v>
                </c:pt>
                <c:pt idx="16133">
                  <c:v>138</c:v>
                </c:pt>
                <c:pt idx="16134">
                  <c:v>1113</c:v>
                </c:pt>
                <c:pt idx="16135">
                  <c:v>4887</c:v>
                </c:pt>
                <c:pt idx="16136">
                  <c:v>4511</c:v>
                </c:pt>
                <c:pt idx="16137">
                  <c:v>8027</c:v>
                </c:pt>
                <c:pt idx="16138">
                  <c:v>1844</c:v>
                </c:pt>
                <c:pt idx="16139">
                  <c:v>1902</c:v>
                </c:pt>
                <c:pt idx="16140">
                  <c:v>2074</c:v>
                </c:pt>
                <c:pt idx="16141">
                  <c:v>1961</c:v>
                </c:pt>
                <c:pt idx="16142">
                  <c:v>1229</c:v>
                </c:pt>
                <c:pt idx="16143">
                  <c:v>364</c:v>
                </c:pt>
                <c:pt idx="16144">
                  <c:v>1216</c:v>
                </c:pt>
                <c:pt idx="16145">
                  <c:v>1697</c:v>
                </c:pt>
                <c:pt idx="16146">
                  <c:v>2474</c:v>
                </c:pt>
                <c:pt idx="16147">
                  <c:v>765</c:v>
                </c:pt>
                <c:pt idx="16148">
                  <c:v>883</c:v>
                </c:pt>
                <c:pt idx="16149">
                  <c:v>1275</c:v>
                </c:pt>
                <c:pt idx="16150">
                  <c:v>91</c:v>
                </c:pt>
                <c:pt idx="16151">
                  <c:v>3533</c:v>
                </c:pt>
                <c:pt idx="16152">
                  <c:v>605</c:v>
                </c:pt>
                <c:pt idx="16153">
                  <c:v>269</c:v>
                </c:pt>
                <c:pt idx="16154">
                  <c:v>126</c:v>
                </c:pt>
                <c:pt idx="16155">
                  <c:v>340</c:v>
                </c:pt>
                <c:pt idx="16156">
                  <c:v>796</c:v>
                </c:pt>
                <c:pt idx="16157">
                  <c:v>150</c:v>
                </c:pt>
                <c:pt idx="16158">
                  <c:v>90</c:v>
                </c:pt>
                <c:pt idx="16159">
                  <c:v>3172</c:v>
                </c:pt>
                <c:pt idx="16160">
                  <c:v>4102</c:v>
                </c:pt>
                <c:pt idx="16161">
                  <c:v>19011</c:v>
                </c:pt>
                <c:pt idx="16162">
                  <c:v>849</c:v>
                </c:pt>
                <c:pt idx="16163">
                  <c:v>1534</c:v>
                </c:pt>
                <c:pt idx="16164">
                  <c:v>2974</c:v>
                </c:pt>
                <c:pt idx="16165">
                  <c:v>2170</c:v>
                </c:pt>
                <c:pt idx="16166">
                  <c:v>427</c:v>
                </c:pt>
                <c:pt idx="16167">
                  <c:v>851</c:v>
                </c:pt>
                <c:pt idx="16168">
                  <c:v>9079</c:v>
                </c:pt>
                <c:pt idx="16169">
                  <c:v>7231</c:v>
                </c:pt>
                <c:pt idx="16170">
                  <c:v>1138</c:v>
                </c:pt>
                <c:pt idx="16171">
                  <c:v>336</c:v>
                </c:pt>
                <c:pt idx="16172">
                  <c:v>1332</c:v>
                </c:pt>
                <c:pt idx="16173">
                  <c:v>10768</c:v>
                </c:pt>
                <c:pt idx="16174">
                  <c:v>15345</c:v>
                </c:pt>
                <c:pt idx="16175">
                  <c:v>14289</c:v>
                </c:pt>
                <c:pt idx="16176">
                  <c:v>14146</c:v>
                </c:pt>
                <c:pt idx="16177">
                  <c:v>19634</c:v>
                </c:pt>
                <c:pt idx="16178">
                  <c:v>21069</c:v>
                </c:pt>
                <c:pt idx="16179">
                  <c:v>15281</c:v>
                </c:pt>
                <c:pt idx="16180">
                  <c:v>12013</c:v>
                </c:pt>
                <c:pt idx="16181">
                  <c:v>1341</c:v>
                </c:pt>
                <c:pt idx="16182">
                  <c:v>1838</c:v>
                </c:pt>
                <c:pt idx="16183">
                  <c:v>587</c:v>
                </c:pt>
                <c:pt idx="16184">
                  <c:v>533</c:v>
                </c:pt>
                <c:pt idx="16185">
                  <c:v>621</c:v>
                </c:pt>
                <c:pt idx="16186">
                  <c:v>5820</c:v>
                </c:pt>
                <c:pt idx="16187">
                  <c:v>1210</c:v>
                </c:pt>
                <c:pt idx="16188">
                  <c:v>2632</c:v>
                </c:pt>
                <c:pt idx="16189">
                  <c:v>1035</c:v>
                </c:pt>
                <c:pt idx="16190">
                  <c:v>77</c:v>
                </c:pt>
                <c:pt idx="16191">
                  <c:v>1626</c:v>
                </c:pt>
                <c:pt idx="16192">
                  <c:v>656</c:v>
                </c:pt>
                <c:pt idx="16193">
                  <c:v>7</c:v>
                </c:pt>
                <c:pt idx="16194">
                  <c:v>512</c:v>
                </c:pt>
                <c:pt idx="16195">
                  <c:v>685</c:v>
                </c:pt>
                <c:pt idx="16196">
                  <c:v>1777</c:v>
                </c:pt>
                <c:pt idx="16197">
                  <c:v>566</c:v>
                </c:pt>
                <c:pt idx="16198">
                  <c:v>1284</c:v>
                </c:pt>
                <c:pt idx="16199">
                  <c:v>805</c:v>
                </c:pt>
                <c:pt idx="16200">
                  <c:v>898</c:v>
                </c:pt>
                <c:pt idx="16201">
                  <c:v>2056</c:v>
                </c:pt>
                <c:pt idx="16202">
                  <c:v>622</c:v>
                </c:pt>
                <c:pt idx="16203">
                  <c:v>347</c:v>
                </c:pt>
                <c:pt idx="16204">
                  <c:v>60</c:v>
                </c:pt>
                <c:pt idx="16205">
                  <c:v>926</c:v>
                </c:pt>
                <c:pt idx="16206">
                  <c:v>812</c:v>
                </c:pt>
                <c:pt idx="16207">
                  <c:v>963</c:v>
                </c:pt>
                <c:pt idx="16208">
                  <c:v>1401</c:v>
                </c:pt>
                <c:pt idx="16209">
                  <c:v>1486</c:v>
                </c:pt>
                <c:pt idx="16210">
                  <c:v>474</c:v>
                </c:pt>
                <c:pt idx="16211">
                  <c:v>604</c:v>
                </c:pt>
                <c:pt idx="16212">
                  <c:v>1067</c:v>
                </c:pt>
                <c:pt idx="16213">
                  <c:v>1460</c:v>
                </c:pt>
                <c:pt idx="16214">
                  <c:v>220</c:v>
                </c:pt>
                <c:pt idx="16215">
                  <c:v>2343</c:v>
                </c:pt>
                <c:pt idx="16216">
                  <c:v>12851</c:v>
                </c:pt>
                <c:pt idx="16217">
                  <c:v>181</c:v>
                </c:pt>
                <c:pt idx="16218">
                  <c:v>5505</c:v>
                </c:pt>
                <c:pt idx="16219">
                  <c:v>9364</c:v>
                </c:pt>
                <c:pt idx="16220">
                  <c:v>648</c:v>
                </c:pt>
                <c:pt idx="16221">
                  <c:v>10785</c:v>
                </c:pt>
                <c:pt idx="16222">
                  <c:v>2783</c:v>
                </c:pt>
                <c:pt idx="16223">
                  <c:v>3371</c:v>
                </c:pt>
                <c:pt idx="16224">
                  <c:v>68</c:v>
                </c:pt>
                <c:pt idx="16225">
                  <c:v>586</c:v>
                </c:pt>
                <c:pt idx="16226">
                  <c:v>1186</c:v>
                </c:pt>
                <c:pt idx="16227">
                  <c:v>156</c:v>
                </c:pt>
                <c:pt idx="16228">
                  <c:v>223</c:v>
                </c:pt>
                <c:pt idx="16229">
                  <c:v>211</c:v>
                </c:pt>
                <c:pt idx="16230">
                  <c:v>1409</c:v>
                </c:pt>
                <c:pt idx="16231">
                  <c:v>7384</c:v>
                </c:pt>
                <c:pt idx="16232">
                  <c:v>746</c:v>
                </c:pt>
                <c:pt idx="16233">
                  <c:v>966</c:v>
                </c:pt>
                <c:pt idx="16234">
                  <c:v>844</c:v>
                </c:pt>
                <c:pt idx="16235">
                  <c:v>1307</c:v>
                </c:pt>
                <c:pt idx="16236">
                  <c:v>2241</c:v>
                </c:pt>
                <c:pt idx="16237">
                  <c:v>701</c:v>
                </c:pt>
                <c:pt idx="16238">
                  <c:v>10769</c:v>
                </c:pt>
                <c:pt idx="16239">
                  <c:v>1920</c:v>
                </c:pt>
                <c:pt idx="16240">
                  <c:v>669</c:v>
                </c:pt>
                <c:pt idx="16241">
                  <c:v>15252</c:v>
                </c:pt>
                <c:pt idx="16242">
                  <c:v>4817</c:v>
                </c:pt>
                <c:pt idx="16243">
                  <c:v>3022</c:v>
                </c:pt>
                <c:pt idx="16244">
                  <c:v>136</c:v>
                </c:pt>
                <c:pt idx="16245">
                  <c:v>898</c:v>
                </c:pt>
                <c:pt idx="16246">
                  <c:v>4494</c:v>
                </c:pt>
                <c:pt idx="16247">
                  <c:v>583</c:v>
                </c:pt>
                <c:pt idx="16248">
                  <c:v>734</c:v>
                </c:pt>
                <c:pt idx="16249">
                  <c:v>443</c:v>
                </c:pt>
                <c:pt idx="16250">
                  <c:v>546</c:v>
                </c:pt>
                <c:pt idx="16251">
                  <c:v>255</c:v>
                </c:pt>
                <c:pt idx="16252">
                  <c:v>12727</c:v>
                </c:pt>
                <c:pt idx="16253">
                  <c:v>3553</c:v>
                </c:pt>
                <c:pt idx="16254">
                  <c:v>1039</c:v>
                </c:pt>
                <c:pt idx="16255">
                  <c:v>1393</c:v>
                </c:pt>
                <c:pt idx="16256">
                  <c:v>9613</c:v>
                </c:pt>
                <c:pt idx="16257">
                  <c:v>683</c:v>
                </c:pt>
                <c:pt idx="16258">
                  <c:v>677</c:v>
                </c:pt>
                <c:pt idx="16259">
                  <c:v>175</c:v>
                </c:pt>
                <c:pt idx="16260">
                  <c:v>942</c:v>
                </c:pt>
                <c:pt idx="16261">
                  <c:v>205</c:v>
                </c:pt>
                <c:pt idx="16262">
                  <c:v>47</c:v>
                </c:pt>
                <c:pt idx="16263">
                  <c:v>464</c:v>
                </c:pt>
                <c:pt idx="16264">
                  <c:v>1621</c:v>
                </c:pt>
                <c:pt idx="16265">
                  <c:v>3595</c:v>
                </c:pt>
                <c:pt idx="16266">
                  <c:v>716</c:v>
                </c:pt>
                <c:pt idx="16267">
                  <c:v>297</c:v>
                </c:pt>
                <c:pt idx="16268">
                  <c:v>141</c:v>
                </c:pt>
                <c:pt idx="16269">
                  <c:v>307</c:v>
                </c:pt>
                <c:pt idx="16270">
                  <c:v>346</c:v>
                </c:pt>
                <c:pt idx="16271">
                  <c:v>440</c:v>
                </c:pt>
                <c:pt idx="16272">
                  <c:v>277</c:v>
                </c:pt>
                <c:pt idx="16273">
                  <c:v>539</c:v>
                </c:pt>
                <c:pt idx="16274">
                  <c:v>1135</c:v>
                </c:pt>
                <c:pt idx="16275">
                  <c:v>84</c:v>
                </c:pt>
                <c:pt idx="16276">
                  <c:v>227</c:v>
                </c:pt>
                <c:pt idx="16277">
                  <c:v>1172</c:v>
                </c:pt>
                <c:pt idx="16278">
                  <c:v>516</c:v>
                </c:pt>
                <c:pt idx="16279">
                  <c:v>331</c:v>
                </c:pt>
                <c:pt idx="16280">
                  <c:v>572</c:v>
                </c:pt>
                <c:pt idx="16281">
                  <c:v>194</c:v>
                </c:pt>
                <c:pt idx="16282">
                  <c:v>363</c:v>
                </c:pt>
                <c:pt idx="16283">
                  <c:v>537</c:v>
                </c:pt>
                <c:pt idx="16284">
                  <c:v>499</c:v>
                </c:pt>
                <c:pt idx="16285">
                  <c:v>2478</c:v>
                </c:pt>
                <c:pt idx="16286">
                  <c:v>275</c:v>
                </c:pt>
                <c:pt idx="16287">
                  <c:v>1734</c:v>
                </c:pt>
                <c:pt idx="16288">
                  <c:v>468</c:v>
                </c:pt>
                <c:pt idx="16289">
                  <c:v>2160</c:v>
                </c:pt>
                <c:pt idx="16290">
                  <c:v>572</c:v>
                </c:pt>
                <c:pt idx="16291">
                  <c:v>338</c:v>
                </c:pt>
                <c:pt idx="16292">
                  <c:v>997</c:v>
                </c:pt>
                <c:pt idx="16293">
                  <c:v>34</c:v>
                </c:pt>
                <c:pt idx="16294">
                  <c:v>513</c:v>
                </c:pt>
                <c:pt idx="16295">
                  <c:v>390</c:v>
                </c:pt>
                <c:pt idx="16296">
                  <c:v>761</c:v>
                </c:pt>
                <c:pt idx="16297">
                  <c:v>308</c:v>
                </c:pt>
                <c:pt idx="16298">
                  <c:v>128</c:v>
                </c:pt>
                <c:pt idx="16299">
                  <c:v>469</c:v>
                </c:pt>
                <c:pt idx="16300">
                  <c:v>2074</c:v>
                </c:pt>
                <c:pt idx="16301">
                  <c:v>26475</c:v>
                </c:pt>
                <c:pt idx="16302">
                  <c:v>7477</c:v>
                </c:pt>
                <c:pt idx="16303">
                  <c:v>715</c:v>
                </c:pt>
                <c:pt idx="16304">
                  <c:v>592</c:v>
                </c:pt>
                <c:pt idx="16305">
                  <c:v>2568</c:v>
                </c:pt>
                <c:pt idx="16306">
                  <c:v>1327</c:v>
                </c:pt>
                <c:pt idx="16307">
                  <c:v>4481</c:v>
                </c:pt>
                <c:pt idx="16308">
                  <c:v>1176</c:v>
                </c:pt>
                <c:pt idx="16309">
                  <c:v>1152</c:v>
                </c:pt>
                <c:pt idx="16310">
                  <c:v>1530</c:v>
                </c:pt>
                <c:pt idx="16311">
                  <c:v>681</c:v>
                </c:pt>
                <c:pt idx="16312">
                  <c:v>1057</c:v>
                </c:pt>
                <c:pt idx="16313">
                  <c:v>1071</c:v>
                </c:pt>
                <c:pt idx="16314">
                  <c:v>717</c:v>
                </c:pt>
                <c:pt idx="16315">
                  <c:v>90</c:v>
                </c:pt>
                <c:pt idx="16316">
                  <c:v>638</c:v>
                </c:pt>
                <c:pt idx="16317">
                  <c:v>1123</c:v>
                </c:pt>
                <c:pt idx="16318">
                  <c:v>378</c:v>
                </c:pt>
                <c:pt idx="16319">
                  <c:v>1457</c:v>
                </c:pt>
                <c:pt idx="16320">
                  <c:v>2296</c:v>
                </c:pt>
                <c:pt idx="16321">
                  <c:v>664</c:v>
                </c:pt>
                <c:pt idx="16322">
                  <c:v>571</c:v>
                </c:pt>
                <c:pt idx="16323">
                  <c:v>1578</c:v>
                </c:pt>
                <c:pt idx="16324">
                  <c:v>879</c:v>
                </c:pt>
                <c:pt idx="16325">
                  <c:v>8774</c:v>
                </c:pt>
                <c:pt idx="16326">
                  <c:v>98</c:v>
                </c:pt>
                <c:pt idx="16327">
                  <c:v>554</c:v>
                </c:pt>
                <c:pt idx="16328">
                  <c:v>930</c:v>
                </c:pt>
                <c:pt idx="16329">
                  <c:v>1117</c:v>
                </c:pt>
                <c:pt idx="16330">
                  <c:v>714</c:v>
                </c:pt>
                <c:pt idx="16331">
                  <c:v>26</c:v>
                </c:pt>
                <c:pt idx="16332">
                  <c:v>1607</c:v>
                </c:pt>
                <c:pt idx="16333">
                  <c:v>695</c:v>
                </c:pt>
                <c:pt idx="16334">
                  <c:v>12969</c:v>
                </c:pt>
                <c:pt idx="16335">
                  <c:v>454</c:v>
                </c:pt>
                <c:pt idx="16336">
                  <c:v>372</c:v>
                </c:pt>
                <c:pt idx="16337">
                  <c:v>541</c:v>
                </c:pt>
                <c:pt idx="16338">
                  <c:v>58</c:v>
                </c:pt>
                <c:pt idx="16339">
                  <c:v>729</c:v>
                </c:pt>
                <c:pt idx="16340">
                  <c:v>9028</c:v>
                </c:pt>
                <c:pt idx="16341">
                  <c:v>165</c:v>
                </c:pt>
                <c:pt idx="16342">
                  <c:v>1359</c:v>
                </c:pt>
                <c:pt idx="16343">
                  <c:v>661</c:v>
                </c:pt>
                <c:pt idx="16344">
                  <c:v>7804</c:v>
                </c:pt>
                <c:pt idx="16345">
                  <c:v>1990</c:v>
                </c:pt>
                <c:pt idx="16346">
                  <c:v>628</c:v>
                </c:pt>
                <c:pt idx="16347">
                  <c:v>4089</c:v>
                </c:pt>
                <c:pt idx="16348">
                  <c:v>1340</c:v>
                </c:pt>
                <c:pt idx="16349">
                  <c:v>2177</c:v>
                </c:pt>
                <c:pt idx="16350">
                  <c:v>3964</c:v>
                </c:pt>
                <c:pt idx="16351">
                  <c:v>720</c:v>
                </c:pt>
                <c:pt idx="16352">
                  <c:v>21644</c:v>
                </c:pt>
                <c:pt idx="16353">
                  <c:v>24525</c:v>
                </c:pt>
                <c:pt idx="16354">
                  <c:v>4042</c:v>
                </c:pt>
                <c:pt idx="16355">
                  <c:v>681</c:v>
                </c:pt>
                <c:pt idx="16356">
                  <c:v>1745</c:v>
                </c:pt>
                <c:pt idx="16357">
                  <c:v>610</c:v>
                </c:pt>
                <c:pt idx="16358">
                  <c:v>3779</c:v>
                </c:pt>
                <c:pt idx="16359">
                  <c:v>1561</c:v>
                </c:pt>
                <c:pt idx="16360">
                  <c:v>901</c:v>
                </c:pt>
                <c:pt idx="16361">
                  <c:v>2329</c:v>
                </c:pt>
                <c:pt idx="16362">
                  <c:v>2768</c:v>
                </c:pt>
                <c:pt idx="16363">
                  <c:v>17439</c:v>
                </c:pt>
                <c:pt idx="16364">
                  <c:v>2698</c:v>
                </c:pt>
                <c:pt idx="16365">
                  <c:v>355</c:v>
                </c:pt>
                <c:pt idx="16366">
                  <c:v>1422</c:v>
                </c:pt>
                <c:pt idx="16367">
                  <c:v>600</c:v>
                </c:pt>
                <c:pt idx="16368">
                  <c:v>369</c:v>
                </c:pt>
                <c:pt idx="16369">
                  <c:v>2079</c:v>
                </c:pt>
                <c:pt idx="16370">
                  <c:v>256</c:v>
                </c:pt>
                <c:pt idx="16371">
                  <c:v>1802</c:v>
                </c:pt>
                <c:pt idx="16372">
                  <c:v>2855</c:v>
                </c:pt>
                <c:pt idx="16373">
                  <c:v>1047</c:v>
                </c:pt>
                <c:pt idx="16374">
                  <c:v>698</c:v>
                </c:pt>
                <c:pt idx="16375">
                  <c:v>2722</c:v>
                </c:pt>
                <c:pt idx="16376">
                  <c:v>968</c:v>
                </c:pt>
                <c:pt idx="16377">
                  <c:v>276</c:v>
                </c:pt>
                <c:pt idx="16378">
                  <c:v>1196</c:v>
                </c:pt>
                <c:pt idx="16379">
                  <c:v>659</c:v>
                </c:pt>
                <c:pt idx="16380">
                  <c:v>859</c:v>
                </c:pt>
                <c:pt idx="16381">
                  <c:v>513</c:v>
                </c:pt>
                <c:pt idx="16382">
                  <c:v>13661</c:v>
                </c:pt>
                <c:pt idx="16383">
                  <c:v>741</c:v>
                </c:pt>
                <c:pt idx="16384">
                  <c:v>3681</c:v>
                </c:pt>
                <c:pt idx="16385">
                  <c:v>467</c:v>
                </c:pt>
                <c:pt idx="16386">
                  <c:v>1534</c:v>
                </c:pt>
                <c:pt idx="16387">
                  <c:v>2568</c:v>
                </c:pt>
                <c:pt idx="16388">
                  <c:v>654</c:v>
                </c:pt>
                <c:pt idx="16389">
                  <c:v>71</c:v>
                </c:pt>
                <c:pt idx="16390">
                  <c:v>574</c:v>
                </c:pt>
                <c:pt idx="16391">
                  <c:v>621</c:v>
                </c:pt>
                <c:pt idx="16392">
                  <c:v>558</c:v>
                </c:pt>
                <c:pt idx="16393">
                  <c:v>763</c:v>
                </c:pt>
                <c:pt idx="16394">
                  <c:v>1833</c:v>
                </c:pt>
                <c:pt idx="16395">
                  <c:v>2078</c:v>
                </c:pt>
                <c:pt idx="16396">
                  <c:v>276</c:v>
                </c:pt>
                <c:pt idx="16397">
                  <c:v>998</c:v>
                </c:pt>
                <c:pt idx="16398">
                  <c:v>1992</c:v>
                </c:pt>
                <c:pt idx="16399">
                  <c:v>542</c:v>
                </c:pt>
                <c:pt idx="16400">
                  <c:v>1695</c:v>
                </c:pt>
                <c:pt idx="16401">
                  <c:v>2696</c:v>
                </c:pt>
                <c:pt idx="16402">
                  <c:v>832</c:v>
                </c:pt>
                <c:pt idx="16403">
                  <c:v>5589</c:v>
                </c:pt>
                <c:pt idx="16404">
                  <c:v>1181</c:v>
                </c:pt>
                <c:pt idx="16405">
                  <c:v>2737</c:v>
                </c:pt>
                <c:pt idx="16406">
                  <c:v>278</c:v>
                </c:pt>
                <c:pt idx="16407">
                  <c:v>1408</c:v>
                </c:pt>
                <c:pt idx="16408">
                  <c:v>938</c:v>
                </c:pt>
                <c:pt idx="16409">
                  <c:v>948</c:v>
                </c:pt>
                <c:pt idx="16410">
                  <c:v>360</c:v>
                </c:pt>
                <c:pt idx="16411">
                  <c:v>595</c:v>
                </c:pt>
                <c:pt idx="16412">
                  <c:v>2409</c:v>
                </c:pt>
                <c:pt idx="16413">
                  <c:v>1175</c:v>
                </c:pt>
                <c:pt idx="16414">
                  <c:v>340</c:v>
                </c:pt>
                <c:pt idx="16415">
                  <c:v>142</c:v>
                </c:pt>
                <c:pt idx="16416">
                  <c:v>282</c:v>
                </c:pt>
                <c:pt idx="16417">
                  <c:v>2522</c:v>
                </c:pt>
                <c:pt idx="16418">
                  <c:v>1044</c:v>
                </c:pt>
                <c:pt idx="16419">
                  <c:v>178</c:v>
                </c:pt>
                <c:pt idx="16420">
                  <c:v>434</c:v>
                </c:pt>
                <c:pt idx="16421">
                  <c:v>449</c:v>
                </c:pt>
                <c:pt idx="16422">
                  <c:v>1731</c:v>
                </c:pt>
                <c:pt idx="16423">
                  <c:v>399</c:v>
                </c:pt>
                <c:pt idx="16424">
                  <c:v>117</c:v>
                </c:pt>
                <c:pt idx="16425">
                  <c:v>2151</c:v>
                </c:pt>
                <c:pt idx="16426">
                  <c:v>149</c:v>
                </c:pt>
                <c:pt idx="16427">
                  <c:v>68</c:v>
                </c:pt>
                <c:pt idx="16428">
                  <c:v>5495</c:v>
                </c:pt>
                <c:pt idx="16429">
                  <c:v>75</c:v>
                </c:pt>
                <c:pt idx="16430">
                  <c:v>58</c:v>
                </c:pt>
                <c:pt idx="16431">
                  <c:v>273</c:v>
                </c:pt>
                <c:pt idx="16432">
                  <c:v>1017</c:v>
                </c:pt>
                <c:pt idx="16433">
                  <c:v>2675</c:v>
                </c:pt>
                <c:pt idx="16434">
                  <c:v>827</c:v>
                </c:pt>
                <c:pt idx="16435">
                  <c:v>162</c:v>
                </c:pt>
                <c:pt idx="16436">
                  <c:v>1725</c:v>
                </c:pt>
                <c:pt idx="16437">
                  <c:v>534</c:v>
                </c:pt>
                <c:pt idx="16438">
                  <c:v>374</c:v>
                </c:pt>
                <c:pt idx="16439">
                  <c:v>793</c:v>
                </c:pt>
                <c:pt idx="16440">
                  <c:v>658</c:v>
                </c:pt>
                <c:pt idx="16441">
                  <c:v>730</c:v>
                </c:pt>
                <c:pt idx="16442">
                  <c:v>132</c:v>
                </c:pt>
                <c:pt idx="16443">
                  <c:v>662</c:v>
                </c:pt>
                <c:pt idx="16444">
                  <c:v>259</c:v>
                </c:pt>
                <c:pt idx="16445">
                  <c:v>211</c:v>
                </c:pt>
                <c:pt idx="16446">
                  <c:v>7614</c:v>
                </c:pt>
                <c:pt idx="16447">
                  <c:v>731</c:v>
                </c:pt>
                <c:pt idx="16448">
                  <c:v>1328</c:v>
                </c:pt>
                <c:pt idx="16449">
                  <c:v>1141</c:v>
                </c:pt>
                <c:pt idx="16450">
                  <c:v>1332</c:v>
                </c:pt>
                <c:pt idx="16451">
                  <c:v>1868</c:v>
                </c:pt>
                <c:pt idx="16452">
                  <c:v>596</c:v>
                </c:pt>
                <c:pt idx="16453">
                  <c:v>905</c:v>
                </c:pt>
                <c:pt idx="16454">
                  <c:v>15419</c:v>
                </c:pt>
                <c:pt idx="16455">
                  <c:v>505</c:v>
                </c:pt>
                <c:pt idx="16456">
                  <c:v>1335</c:v>
                </c:pt>
                <c:pt idx="16457">
                  <c:v>1439</c:v>
                </c:pt>
                <c:pt idx="16458">
                  <c:v>1460</c:v>
                </c:pt>
                <c:pt idx="16459">
                  <c:v>372</c:v>
                </c:pt>
                <c:pt idx="16460">
                  <c:v>526</c:v>
                </c:pt>
                <c:pt idx="16461">
                  <c:v>18141</c:v>
                </c:pt>
                <c:pt idx="16462">
                  <c:v>11674</c:v>
                </c:pt>
                <c:pt idx="16463">
                  <c:v>11694</c:v>
                </c:pt>
                <c:pt idx="16464">
                  <c:v>1061</c:v>
                </c:pt>
                <c:pt idx="16465">
                  <c:v>12766</c:v>
                </c:pt>
                <c:pt idx="16466">
                  <c:v>12938</c:v>
                </c:pt>
                <c:pt idx="16467">
                  <c:v>17189</c:v>
                </c:pt>
                <c:pt idx="16468">
                  <c:v>23437</c:v>
                </c:pt>
                <c:pt idx="16469">
                  <c:v>701</c:v>
                </c:pt>
                <c:pt idx="16470">
                  <c:v>629</c:v>
                </c:pt>
                <c:pt idx="16471">
                  <c:v>4385</c:v>
                </c:pt>
                <c:pt idx="16472">
                  <c:v>202</c:v>
                </c:pt>
                <c:pt idx="16473">
                  <c:v>174</c:v>
                </c:pt>
                <c:pt idx="16474">
                  <c:v>4519</c:v>
                </c:pt>
                <c:pt idx="16475">
                  <c:v>850</c:v>
                </c:pt>
                <c:pt idx="16476">
                  <c:v>213</c:v>
                </c:pt>
                <c:pt idx="16477">
                  <c:v>651</c:v>
                </c:pt>
                <c:pt idx="16478">
                  <c:v>102</c:v>
                </c:pt>
                <c:pt idx="16479">
                  <c:v>21457</c:v>
                </c:pt>
                <c:pt idx="16480">
                  <c:v>10695</c:v>
                </c:pt>
                <c:pt idx="16481">
                  <c:v>2242</c:v>
                </c:pt>
                <c:pt idx="16482">
                  <c:v>1069</c:v>
                </c:pt>
                <c:pt idx="16483">
                  <c:v>5934</c:v>
                </c:pt>
                <c:pt idx="16484">
                  <c:v>772</c:v>
                </c:pt>
                <c:pt idx="16485">
                  <c:v>4763</c:v>
                </c:pt>
                <c:pt idx="16486">
                  <c:v>1659</c:v>
                </c:pt>
                <c:pt idx="16487">
                  <c:v>1275</c:v>
                </c:pt>
                <c:pt idx="16488">
                  <c:v>99</c:v>
                </c:pt>
                <c:pt idx="16489">
                  <c:v>1790</c:v>
                </c:pt>
                <c:pt idx="16490">
                  <c:v>1192</c:v>
                </c:pt>
                <c:pt idx="16491">
                  <c:v>14645</c:v>
                </c:pt>
                <c:pt idx="16492">
                  <c:v>24543</c:v>
                </c:pt>
                <c:pt idx="16493">
                  <c:v>554</c:v>
                </c:pt>
                <c:pt idx="16494">
                  <c:v>913</c:v>
                </c:pt>
                <c:pt idx="16495">
                  <c:v>7111</c:v>
                </c:pt>
                <c:pt idx="16496">
                  <c:v>462</c:v>
                </c:pt>
                <c:pt idx="16497">
                  <c:v>3656</c:v>
                </c:pt>
                <c:pt idx="16498">
                  <c:v>447</c:v>
                </c:pt>
                <c:pt idx="16499">
                  <c:v>592</c:v>
                </c:pt>
                <c:pt idx="16500">
                  <c:v>959</c:v>
                </c:pt>
                <c:pt idx="16501">
                  <c:v>222</c:v>
                </c:pt>
                <c:pt idx="16502">
                  <c:v>1406</c:v>
                </c:pt>
                <c:pt idx="16503">
                  <c:v>1279</c:v>
                </c:pt>
                <c:pt idx="16504">
                  <c:v>5200</c:v>
                </c:pt>
                <c:pt idx="16505">
                  <c:v>815</c:v>
                </c:pt>
                <c:pt idx="16506">
                  <c:v>666</c:v>
                </c:pt>
                <c:pt idx="16507">
                  <c:v>851</c:v>
                </c:pt>
                <c:pt idx="16508">
                  <c:v>97</c:v>
                </c:pt>
                <c:pt idx="16509">
                  <c:v>7357</c:v>
                </c:pt>
                <c:pt idx="16510">
                  <c:v>3038</c:v>
                </c:pt>
                <c:pt idx="16511">
                  <c:v>2267</c:v>
                </c:pt>
                <c:pt idx="16512">
                  <c:v>1477</c:v>
                </c:pt>
                <c:pt idx="16513">
                  <c:v>2723</c:v>
                </c:pt>
                <c:pt idx="16514">
                  <c:v>1381</c:v>
                </c:pt>
                <c:pt idx="16515">
                  <c:v>1225</c:v>
                </c:pt>
                <c:pt idx="16516">
                  <c:v>2595</c:v>
                </c:pt>
                <c:pt idx="16517">
                  <c:v>1560</c:v>
                </c:pt>
                <c:pt idx="16518">
                  <c:v>1133</c:v>
                </c:pt>
                <c:pt idx="16519">
                  <c:v>7558</c:v>
                </c:pt>
                <c:pt idx="16520">
                  <c:v>4301</c:v>
                </c:pt>
                <c:pt idx="16521">
                  <c:v>5973</c:v>
                </c:pt>
                <c:pt idx="16522">
                  <c:v>871</c:v>
                </c:pt>
                <c:pt idx="16523">
                  <c:v>3350</c:v>
                </c:pt>
                <c:pt idx="16524">
                  <c:v>15043</c:v>
                </c:pt>
                <c:pt idx="16525">
                  <c:v>20228</c:v>
                </c:pt>
                <c:pt idx="16526">
                  <c:v>326</c:v>
                </c:pt>
                <c:pt idx="16527">
                  <c:v>478</c:v>
                </c:pt>
                <c:pt idx="16528">
                  <c:v>1069</c:v>
                </c:pt>
                <c:pt idx="16529">
                  <c:v>2418</c:v>
                </c:pt>
                <c:pt idx="16530">
                  <c:v>13228</c:v>
                </c:pt>
                <c:pt idx="16531">
                  <c:v>20005</c:v>
                </c:pt>
                <c:pt idx="16532">
                  <c:v>13915</c:v>
                </c:pt>
                <c:pt idx="16533">
                  <c:v>234</c:v>
                </c:pt>
                <c:pt idx="16534">
                  <c:v>1501</c:v>
                </c:pt>
                <c:pt idx="16535">
                  <c:v>40</c:v>
                </c:pt>
                <c:pt idx="16536">
                  <c:v>664</c:v>
                </c:pt>
                <c:pt idx="16537">
                  <c:v>984</c:v>
                </c:pt>
                <c:pt idx="16538">
                  <c:v>1847</c:v>
                </c:pt>
                <c:pt idx="16539">
                  <c:v>15158</c:v>
                </c:pt>
                <c:pt idx="16540">
                  <c:v>18</c:v>
                </c:pt>
                <c:pt idx="16541">
                  <c:v>2266</c:v>
                </c:pt>
                <c:pt idx="16542">
                  <c:v>12974</c:v>
                </c:pt>
                <c:pt idx="16543">
                  <c:v>7227</c:v>
                </c:pt>
                <c:pt idx="16544">
                  <c:v>3729</c:v>
                </c:pt>
                <c:pt idx="16545">
                  <c:v>6241</c:v>
                </c:pt>
                <c:pt idx="16546">
                  <c:v>1951</c:v>
                </c:pt>
                <c:pt idx="16547">
                  <c:v>31815</c:v>
                </c:pt>
                <c:pt idx="16548">
                  <c:v>4161</c:v>
                </c:pt>
                <c:pt idx="16549">
                  <c:v>3215</c:v>
                </c:pt>
                <c:pt idx="16550">
                  <c:v>968</c:v>
                </c:pt>
                <c:pt idx="16551">
                  <c:v>1389</c:v>
                </c:pt>
                <c:pt idx="16552">
                  <c:v>4310</c:v>
                </c:pt>
                <c:pt idx="16553">
                  <c:v>961</c:v>
                </c:pt>
                <c:pt idx="16554">
                  <c:v>529</c:v>
                </c:pt>
                <c:pt idx="16555">
                  <c:v>1588</c:v>
                </c:pt>
                <c:pt idx="16556">
                  <c:v>1982</c:v>
                </c:pt>
                <c:pt idx="16557">
                  <c:v>7566</c:v>
                </c:pt>
                <c:pt idx="16558">
                  <c:v>13251</c:v>
                </c:pt>
                <c:pt idx="16559">
                  <c:v>14748</c:v>
                </c:pt>
                <c:pt idx="16560">
                  <c:v>4492</c:v>
                </c:pt>
                <c:pt idx="16561">
                  <c:v>699</c:v>
                </c:pt>
                <c:pt idx="16562">
                  <c:v>9076</c:v>
                </c:pt>
                <c:pt idx="16563">
                  <c:v>17605</c:v>
                </c:pt>
                <c:pt idx="16564">
                  <c:v>2484</c:v>
                </c:pt>
                <c:pt idx="16565">
                  <c:v>4257</c:v>
                </c:pt>
                <c:pt idx="16566">
                  <c:v>2941</c:v>
                </c:pt>
                <c:pt idx="16567">
                  <c:v>1305</c:v>
                </c:pt>
                <c:pt idx="16568">
                  <c:v>1725</c:v>
                </c:pt>
                <c:pt idx="16569">
                  <c:v>1218</c:v>
                </c:pt>
                <c:pt idx="16570">
                  <c:v>10774</c:v>
                </c:pt>
                <c:pt idx="16571">
                  <c:v>11254</c:v>
                </c:pt>
                <c:pt idx="16572">
                  <c:v>7666</c:v>
                </c:pt>
                <c:pt idx="16573">
                  <c:v>4755</c:v>
                </c:pt>
                <c:pt idx="16574">
                  <c:v>1562</c:v>
                </c:pt>
                <c:pt idx="16575">
                  <c:v>17723</c:v>
                </c:pt>
                <c:pt idx="16576">
                  <c:v>917</c:v>
                </c:pt>
                <c:pt idx="16577">
                  <c:v>229</c:v>
                </c:pt>
                <c:pt idx="16578">
                  <c:v>230</c:v>
                </c:pt>
                <c:pt idx="16579">
                  <c:v>929</c:v>
                </c:pt>
                <c:pt idx="16580">
                  <c:v>828</c:v>
                </c:pt>
                <c:pt idx="16581">
                  <c:v>147</c:v>
                </c:pt>
                <c:pt idx="16582">
                  <c:v>5866</c:v>
                </c:pt>
                <c:pt idx="16583">
                  <c:v>4974</c:v>
                </c:pt>
                <c:pt idx="16584">
                  <c:v>11335</c:v>
                </c:pt>
                <c:pt idx="16585">
                  <c:v>6409</c:v>
                </c:pt>
                <c:pt idx="16586">
                  <c:v>24707</c:v>
                </c:pt>
                <c:pt idx="16587">
                  <c:v>15910</c:v>
                </c:pt>
                <c:pt idx="16588">
                  <c:v>27310</c:v>
                </c:pt>
                <c:pt idx="16589">
                  <c:v>6913</c:v>
                </c:pt>
                <c:pt idx="16590">
                  <c:v>8828</c:v>
                </c:pt>
                <c:pt idx="16591">
                  <c:v>16502</c:v>
                </c:pt>
                <c:pt idx="16592">
                  <c:v>20093</c:v>
                </c:pt>
                <c:pt idx="16593">
                  <c:v>23976</c:v>
                </c:pt>
                <c:pt idx="16594">
                  <c:v>21316</c:v>
                </c:pt>
                <c:pt idx="16595">
                  <c:v>2180</c:v>
                </c:pt>
                <c:pt idx="16596">
                  <c:v>4264</c:v>
                </c:pt>
                <c:pt idx="16597">
                  <c:v>13538</c:v>
                </c:pt>
                <c:pt idx="16598">
                  <c:v>21605</c:v>
                </c:pt>
                <c:pt idx="16599">
                  <c:v>14106</c:v>
                </c:pt>
                <c:pt idx="16600">
                  <c:v>22719</c:v>
                </c:pt>
                <c:pt idx="16601">
                  <c:v>2769</c:v>
                </c:pt>
                <c:pt idx="16602">
                  <c:v>4944</c:v>
                </c:pt>
                <c:pt idx="16603">
                  <c:v>18119</c:v>
                </c:pt>
                <c:pt idx="16604">
                  <c:v>15156</c:v>
                </c:pt>
                <c:pt idx="16605">
                  <c:v>29558</c:v>
                </c:pt>
                <c:pt idx="16606">
                  <c:v>24139</c:v>
                </c:pt>
                <c:pt idx="16607">
                  <c:v>13570</c:v>
                </c:pt>
                <c:pt idx="16608">
                  <c:v>8835</c:v>
                </c:pt>
                <c:pt idx="16609">
                  <c:v>14950</c:v>
                </c:pt>
                <c:pt idx="16610">
                  <c:v>15256</c:v>
                </c:pt>
                <c:pt idx="16611">
                  <c:v>7816</c:v>
                </c:pt>
                <c:pt idx="16612">
                  <c:v>69</c:v>
                </c:pt>
                <c:pt idx="16613">
                  <c:v>7247</c:v>
                </c:pt>
                <c:pt idx="16614">
                  <c:v>3512</c:v>
                </c:pt>
                <c:pt idx="16615">
                  <c:v>26751</c:v>
                </c:pt>
                <c:pt idx="16616">
                  <c:v>25897</c:v>
                </c:pt>
                <c:pt idx="16617">
                  <c:v>12425</c:v>
                </c:pt>
                <c:pt idx="16618">
                  <c:v>9000</c:v>
                </c:pt>
                <c:pt idx="16619">
                  <c:v>1706</c:v>
                </c:pt>
                <c:pt idx="16620">
                  <c:v>5385</c:v>
                </c:pt>
                <c:pt idx="16621">
                  <c:v>11623</c:v>
                </c:pt>
                <c:pt idx="16622">
                  <c:v>739</c:v>
                </c:pt>
                <c:pt idx="16623">
                  <c:v>19661</c:v>
                </c:pt>
                <c:pt idx="16624">
                  <c:v>725</c:v>
                </c:pt>
                <c:pt idx="16625">
                  <c:v>12561</c:v>
                </c:pt>
                <c:pt idx="16626">
                  <c:v>436</c:v>
                </c:pt>
                <c:pt idx="16627">
                  <c:v>3663</c:v>
                </c:pt>
                <c:pt idx="16628">
                  <c:v>13186</c:v>
                </c:pt>
                <c:pt idx="16629">
                  <c:v>11526</c:v>
                </c:pt>
                <c:pt idx="16630">
                  <c:v>16267</c:v>
                </c:pt>
                <c:pt idx="16631">
                  <c:v>2928</c:v>
                </c:pt>
                <c:pt idx="16632">
                  <c:v>2832</c:v>
                </c:pt>
                <c:pt idx="16633">
                  <c:v>2400</c:v>
                </c:pt>
                <c:pt idx="16634">
                  <c:v>2110</c:v>
                </c:pt>
                <c:pt idx="16635">
                  <c:v>546</c:v>
                </c:pt>
                <c:pt idx="16636">
                  <c:v>2308</c:v>
                </c:pt>
                <c:pt idx="16637">
                  <c:v>2953</c:v>
                </c:pt>
                <c:pt idx="16638">
                  <c:v>5022</c:v>
                </c:pt>
                <c:pt idx="16639">
                  <c:v>1159</c:v>
                </c:pt>
                <c:pt idx="16640">
                  <c:v>23409</c:v>
                </c:pt>
                <c:pt idx="16641">
                  <c:v>9929</c:v>
                </c:pt>
                <c:pt idx="16642">
                  <c:v>858</c:v>
                </c:pt>
                <c:pt idx="16643">
                  <c:v>328</c:v>
                </c:pt>
                <c:pt idx="16644">
                  <c:v>1307</c:v>
                </c:pt>
                <c:pt idx="16645">
                  <c:v>761</c:v>
                </c:pt>
                <c:pt idx="16646">
                  <c:v>4240</c:v>
                </c:pt>
                <c:pt idx="16647">
                  <c:v>25071</c:v>
                </c:pt>
                <c:pt idx="16648">
                  <c:v>4285</c:v>
                </c:pt>
                <c:pt idx="16649">
                  <c:v>1988</c:v>
                </c:pt>
                <c:pt idx="16650">
                  <c:v>958</c:v>
                </c:pt>
                <c:pt idx="16651">
                  <c:v>14623</c:v>
                </c:pt>
                <c:pt idx="16652">
                  <c:v>7894</c:v>
                </c:pt>
                <c:pt idx="16653">
                  <c:v>11304</c:v>
                </c:pt>
                <c:pt idx="16654">
                  <c:v>9864</c:v>
                </c:pt>
                <c:pt idx="16655">
                  <c:v>16524</c:v>
                </c:pt>
                <c:pt idx="16656">
                  <c:v>1877</c:v>
                </c:pt>
                <c:pt idx="16657">
                  <c:v>9398</c:v>
                </c:pt>
                <c:pt idx="16658">
                  <c:v>5555</c:v>
                </c:pt>
                <c:pt idx="16659">
                  <c:v>1857</c:v>
                </c:pt>
                <c:pt idx="16660">
                  <c:v>1660</c:v>
                </c:pt>
                <c:pt idx="16661">
                  <c:v>4531</c:v>
                </c:pt>
                <c:pt idx="16662">
                  <c:v>3181</c:v>
                </c:pt>
                <c:pt idx="16663">
                  <c:v>1731</c:v>
                </c:pt>
                <c:pt idx="16664">
                  <c:v>2741</c:v>
                </c:pt>
                <c:pt idx="16665">
                  <c:v>3343</c:v>
                </c:pt>
                <c:pt idx="16666">
                  <c:v>1923</c:v>
                </c:pt>
                <c:pt idx="16667">
                  <c:v>10187</c:v>
                </c:pt>
                <c:pt idx="16668">
                  <c:v>2690</c:v>
                </c:pt>
                <c:pt idx="16669">
                  <c:v>7951</c:v>
                </c:pt>
                <c:pt idx="16670">
                  <c:v>259</c:v>
                </c:pt>
                <c:pt idx="16671">
                  <c:v>573</c:v>
                </c:pt>
                <c:pt idx="16672">
                  <c:v>945</c:v>
                </c:pt>
                <c:pt idx="16673">
                  <c:v>21538</c:v>
                </c:pt>
                <c:pt idx="16674">
                  <c:v>305</c:v>
                </c:pt>
                <c:pt idx="16675">
                  <c:v>8768</c:v>
                </c:pt>
                <c:pt idx="16676">
                  <c:v>19197</c:v>
                </c:pt>
                <c:pt idx="16677">
                  <c:v>3113</c:v>
                </c:pt>
                <c:pt idx="16678">
                  <c:v>8167</c:v>
                </c:pt>
                <c:pt idx="16679">
                  <c:v>2417</c:v>
                </c:pt>
                <c:pt idx="16680">
                  <c:v>10043</c:v>
                </c:pt>
                <c:pt idx="16681">
                  <c:v>17883</c:v>
                </c:pt>
                <c:pt idx="16682">
                  <c:v>25646</c:v>
                </c:pt>
                <c:pt idx="16683">
                  <c:v>1014</c:v>
                </c:pt>
                <c:pt idx="16684">
                  <c:v>1741</c:v>
                </c:pt>
                <c:pt idx="16685">
                  <c:v>975</c:v>
                </c:pt>
                <c:pt idx="16686">
                  <c:v>652</c:v>
                </c:pt>
                <c:pt idx="16687">
                  <c:v>4971</c:v>
                </c:pt>
                <c:pt idx="16688">
                  <c:v>7326</c:v>
                </c:pt>
                <c:pt idx="16689">
                  <c:v>3447</c:v>
                </c:pt>
                <c:pt idx="16690">
                  <c:v>1393</c:v>
                </c:pt>
                <c:pt idx="16691">
                  <c:v>1717</c:v>
                </c:pt>
                <c:pt idx="16692">
                  <c:v>7234</c:v>
                </c:pt>
                <c:pt idx="16693">
                  <c:v>1406</c:v>
                </c:pt>
                <c:pt idx="16694">
                  <c:v>1066</c:v>
                </c:pt>
                <c:pt idx="16695">
                  <c:v>1718</c:v>
                </c:pt>
                <c:pt idx="16696">
                  <c:v>9131</c:v>
                </c:pt>
                <c:pt idx="16697">
                  <c:v>8216</c:v>
                </c:pt>
                <c:pt idx="16698">
                  <c:v>11275</c:v>
                </c:pt>
                <c:pt idx="16699">
                  <c:v>13868</c:v>
                </c:pt>
                <c:pt idx="16700">
                  <c:v>10641</c:v>
                </c:pt>
                <c:pt idx="16701">
                  <c:v>20473</c:v>
                </c:pt>
                <c:pt idx="16702">
                  <c:v>20633</c:v>
                </c:pt>
                <c:pt idx="16703">
                  <c:v>21205</c:v>
                </c:pt>
                <c:pt idx="16704">
                  <c:v>7025</c:v>
                </c:pt>
                <c:pt idx="16705">
                  <c:v>10954</c:v>
                </c:pt>
                <c:pt idx="16706">
                  <c:v>12790</c:v>
                </c:pt>
                <c:pt idx="16707">
                  <c:v>11699</c:v>
                </c:pt>
                <c:pt idx="16708">
                  <c:v>9090</c:v>
                </c:pt>
                <c:pt idx="16709">
                  <c:v>20323</c:v>
                </c:pt>
                <c:pt idx="16710">
                  <c:v>3223</c:v>
                </c:pt>
                <c:pt idx="16711">
                  <c:v>21465</c:v>
                </c:pt>
                <c:pt idx="16712">
                  <c:v>14690</c:v>
                </c:pt>
                <c:pt idx="16713">
                  <c:v>18051</c:v>
                </c:pt>
                <c:pt idx="16714">
                  <c:v>15612</c:v>
                </c:pt>
                <c:pt idx="16715">
                  <c:v>11549</c:v>
                </c:pt>
                <c:pt idx="16716">
                  <c:v>15543</c:v>
                </c:pt>
                <c:pt idx="16717">
                  <c:v>15758</c:v>
                </c:pt>
                <c:pt idx="16718">
                  <c:v>20373</c:v>
                </c:pt>
                <c:pt idx="16719">
                  <c:v>5284</c:v>
                </c:pt>
                <c:pt idx="16720">
                  <c:v>5630</c:v>
                </c:pt>
                <c:pt idx="16721">
                  <c:v>15439</c:v>
                </c:pt>
                <c:pt idx="16722">
                  <c:v>14456</c:v>
                </c:pt>
                <c:pt idx="16723">
                  <c:v>16827</c:v>
                </c:pt>
                <c:pt idx="16724">
                  <c:v>14815</c:v>
                </c:pt>
                <c:pt idx="16725">
                  <c:v>11512</c:v>
                </c:pt>
                <c:pt idx="16726">
                  <c:v>10305</c:v>
                </c:pt>
                <c:pt idx="16727">
                  <c:v>16397</c:v>
                </c:pt>
                <c:pt idx="16728">
                  <c:v>18471</c:v>
                </c:pt>
                <c:pt idx="16729">
                  <c:v>17116</c:v>
                </c:pt>
                <c:pt idx="16730">
                  <c:v>6661</c:v>
                </c:pt>
                <c:pt idx="16731">
                  <c:v>7345</c:v>
                </c:pt>
                <c:pt idx="16732">
                  <c:v>11189</c:v>
                </c:pt>
                <c:pt idx="16733">
                  <c:v>8927</c:v>
                </c:pt>
                <c:pt idx="16734">
                  <c:v>4429</c:v>
                </c:pt>
                <c:pt idx="16735">
                  <c:v>10141</c:v>
                </c:pt>
                <c:pt idx="16736">
                  <c:v>7652</c:v>
                </c:pt>
                <c:pt idx="16737">
                  <c:v>17600</c:v>
                </c:pt>
                <c:pt idx="16738">
                  <c:v>9375</c:v>
                </c:pt>
                <c:pt idx="16739">
                  <c:v>7045</c:v>
                </c:pt>
                <c:pt idx="16740">
                  <c:v>14507</c:v>
                </c:pt>
                <c:pt idx="16741">
                  <c:v>11685</c:v>
                </c:pt>
                <c:pt idx="16742">
                  <c:v>15922</c:v>
                </c:pt>
                <c:pt idx="16743">
                  <c:v>15840</c:v>
                </c:pt>
                <c:pt idx="16744">
                  <c:v>3207</c:v>
                </c:pt>
                <c:pt idx="16745">
                  <c:v>78</c:v>
                </c:pt>
                <c:pt idx="16746">
                  <c:v>114</c:v>
                </c:pt>
                <c:pt idx="16747">
                  <c:v>154</c:v>
                </c:pt>
                <c:pt idx="16748">
                  <c:v>1874</c:v>
                </c:pt>
                <c:pt idx="16749">
                  <c:v>322</c:v>
                </c:pt>
                <c:pt idx="16750">
                  <c:v>96</c:v>
                </c:pt>
                <c:pt idx="16751">
                  <c:v>50</c:v>
                </c:pt>
                <c:pt idx="16752">
                  <c:v>237</c:v>
                </c:pt>
                <c:pt idx="16753">
                  <c:v>128</c:v>
                </c:pt>
                <c:pt idx="16754">
                  <c:v>1031</c:v>
                </c:pt>
                <c:pt idx="16755">
                  <c:v>131</c:v>
                </c:pt>
                <c:pt idx="16756">
                  <c:v>3447</c:v>
                </c:pt>
                <c:pt idx="16757">
                  <c:v>187</c:v>
                </c:pt>
                <c:pt idx="16758">
                  <c:v>296</c:v>
                </c:pt>
                <c:pt idx="16759">
                  <c:v>428</c:v>
                </c:pt>
                <c:pt idx="16760">
                  <c:v>1167</c:v>
                </c:pt>
                <c:pt idx="16761">
                  <c:v>712</c:v>
                </c:pt>
                <c:pt idx="16762">
                  <c:v>1443</c:v>
                </c:pt>
                <c:pt idx="16763">
                  <c:v>350</c:v>
                </c:pt>
                <c:pt idx="16764">
                  <c:v>2000</c:v>
                </c:pt>
                <c:pt idx="16765">
                  <c:v>701</c:v>
                </c:pt>
                <c:pt idx="16766">
                  <c:v>232</c:v>
                </c:pt>
                <c:pt idx="16767">
                  <c:v>207</c:v>
                </c:pt>
                <c:pt idx="16768">
                  <c:v>518</c:v>
                </c:pt>
                <c:pt idx="16769">
                  <c:v>107</c:v>
                </c:pt>
                <c:pt idx="16770">
                  <c:v>145</c:v>
                </c:pt>
                <c:pt idx="16771">
                  <c:v>1437</c:v>
                </c:pt>
                <c:pt idx="16772">
                  <c:v>2274</c:v>
                </c:pt>
                <c:pt idx="16773">
                  <c:v>8068</c:v>
                </c:pt>
                <c:pt idx="16774">
                  <c:v>1504</c:v>
                </c:pt>
                <c:pt idx="16775">
                  <c:v>363</c:v>
                </c:pt>
                <c:pt idx="16776">
                  <c:v>762</c:v>
                </c:pt>
                <c:pt idx="16777">
                  <c:v>329</c:v>
                </c:pt>
                <c:pt idx="16778">
                  <c:v>62</c:v>
                </c:pt>
                <c:pt idx="16779">
                  <c:v>405</c:v>
                </c:pt>
                <c:pt idx="16780">
                  <c:v>2530</c:v>
                </c:pt>
                <c:pt idx="16781">
                  <c:v>664</c:v>
                </c:pt>
                <c:pt idx="16782">
                  <c:v>2747</c:v>
                </c:pt>
                <c:pt idx="16783">
                  <c:v>2937</c:v>
                </c:pt>
                <c:pt idx="16784">
                  <c:v>651</c:v>
                </c:pt>
                <c:pt idx="16785">
                  <c:v>560</c:v>
                </c:pt>
                <c:pt idx="16786">
                  <c:v>281</c:v>
                </c:pt>
                <c:pt idx="16787">
                  <c:v>1336</c:v>
                </c:pt>
                <c:pt idx="16788">
                  <c:v>69</c:v>
                </c:pt>
                <c:pt idx="16789">
                  <c:v>8749</c:v>
                </c:pt>
                <c:pt idx="16790">
                  <c:v>7224</c:v>
                </c:pt>
                <c:pt idx="16791">
                  <c:v>525</c:v>
                </c:pt>
                <c:pt idx="16792">
                  <c:v>176</c:v>
                </c:pt>
                <c:pt idx="16793">
                  <c:v>862</c:v>
                </c:pt>
                <c:pt idx="16794">
                  <c:v>682</c:v>
                </c:pt>
                <c:pt idx="16795">
                  <c:v>204</c:v>
                </c:pt>
                <c:pt idx="16796">
                  <c:v>462</c:v>
                </c:pt>
                <c:pt idx="16797">
                  <c:v>97</c:v>
                </c:pt>
                <c:pt idx="16798">
                  <c:v>306</c:v>
                </c:pt>
                <c:pt idx="16799">
                  <c:v>52</c:v>
                </c:pt>
                <c:pt idx="16800">
                  <c:v>1170</c:v>
                </c:pt>
                <c:pt idx="16801">
                  <c:v>224</c:v>
                </c:pt>
                <c:pt idx="16802">
                  <c:v>241</c:v>
                </c:pt>
                <c:pt idx="16803">
                  <c:v>362</c:v>
                </c:pt>
                <c:pt idx="16804">
                  <c:v>1297</c:v>
                </c:pt>
                <c:pt idx="16805">
                  <c:v>1165</c:v>
                </c:pt>
                <c:pt idx="16806">
                  <c:v>1023</c:v>
                </c:pt>
                <c:pt idx="16807">
                  <c:v>637</c:v>
                </c:pt>
                <c:pt idx="16808">
                  <c:v>634</c:v>
                </c:pt>
                <c:pt idx="16809">
                  <c:v>1913</c:v>
                </c:pt>
                <c:pt idx="16810">
                  <c:v>83</c:v>
                </c:pt>
                <c:pt idx="16811">
                  <c:v>250</c:v>
                </c:pt>
                <c:pt idx="16812">
                  <c:v>240</c:v>
                </c:pt>
                <c:pt idx="16813">
                  <c:v>1058</c:v>
                </c:pt>
                <c:pt idx="16814">
                  <c:v>50</c:v>
                </c:pt>
                <c:pt idx="16815">
                  <c:v>93</c:v>
                </c:pt>
                <c:pt idx="16816">
                  <c:v>113</c:v>
                </c:pt>
                <c:pt idx="16817">
                  <c:v>265</c:v>
                </c:pt>
                <c:pt idx="16818">
                  <c:v>728</c:v>
                </c:pt>
                <c:pt idx="16819">
                  <c:v>4063</c:v>
                </c:pt>
                <c:pt idx="16820">
                  <c:v>272</c:v>
                </c:pt>
                <c:pt idx="16821">
                  <c:v>795</c:v>
                </c:pt>
                <c:pt idx="16822">
                  <c:v>69</c:v>
                </c:pt>
                <c:pt idx="16823">
                  <c:v>652</c:v>
                </c:pt>
                <c:pt idx="16824">
                  <c:v>249</c:v>
                </c:pt>
                <c:pt idx="16825">
                  <c:v>779</c:v>
                </c:pt>
                <c:pt idx="16826">
                  <c:v>9186</c:v>
                </c:pt>
                <c:pt idx="16827">
                  <c:v>8303</c:v>
                </c:pt>
                <c:pt idx="16828">
                  <c:v>6101</c:v>
                </c:pt>
                <c:pt idx="16829">
                  <c:v>4678</c:v>
                </c:pt>
                <c:pt idx="16830">
                  <c:v>4460</c:v>
                </c:pt>
                <c:pt idx="16831">
                  <c:v>2639</c:v>
                </c:pt>
                <c:pt idx="16832">
                  <c:v>4326</c:v>
                </c:pt>
                <c:pt idx="16833">
                  <c:v>14053</c:v>
                </c:pt>
                <c:pt idx="16834">
                  <c:v>5877</c:v>
                </c:pt>
                <c:pt idx="16835">
                  <c:v>30493</c:v>
                </c:pt>
                <c:pt idx="16836">
                  <c:v>13790</c:v>
                </c:pt>
                <c:pt idx="16837">
                  <c:v>15127</c:v>
                </c:pt>
                <c:pt idx="16838">
                  <c:v>10540</c:v>
                </c:pt>
                <c:pt idx="16839">
                  <c:v>724</c:v>
                </c:pt>
                <c:pt idx="16840">
                  <c:v>648</c:v>
                </c:pt>
                <c:pt idx="16841">
                  <c:v>13783</c:v>
                </c:pt>
                <c:pt idx="16842">
                  <c:v>1674</c:v>
                </c:pt>
                <c:pt idx="16843">
                  <c:v>491</c:v>
                </c:pt>
                <c:pt idx="16844">
                  <c:v>519</c:v>
                </c:pt>
                <c:pt idx="16845">
                  <c:v>4198</c:v>
                </c:pt>
                <c:pt idx="16846">
                  <c:v>2505</c:v>
                </c:pt>
                <c:pt idx="16847">
                  <c:v>449</c:v>
                </c:pt>
                <c:pt idx="16848">
                  <c:v>2337</c:v>
                </c:pt>
                <c:pt idx="16849">
                  <c:v>596</c:v>
                </c:pt>
                <c:pt idx="16850">
                  <c:v>615</c:v>
                </c:pt>
                <c:pt idx="16851">
                  <c:v>404</c:v>
                </c:pt>
                <c:pt idx="16852">
                  <c:v>2381</c:v>
                </c:pt>
                <c:pt idx="16853">
                  <c:v>628</c:v>
                </c:pt>
                <c:pt idx="16854">
                  <c:v>174</c:v>
                </c:pt>
                <c:pt idx="16855">
                  <c:v>1164</c:v>
                </c:pt>
                <c:pt idx="16856">
                  <c:v>119</c:v>
                </c:pt>
                <c:pt idx="16857">
                  <c:v>1825</c:v>
                </c:pt>
                <c:pt idx="16858">
                  <c:v>535</c:v>
                </c:pt>
                <c:pt idx="16859">
                  <c:v>965</c:v>
                </c:pt>
                <c:pt idx="16860">
                  <c:v>898</c:v>
                </c:pt>
                <c:pt idx="16861">
                  <c:v>1459</c:v>
                </c:pt>
                <c:pt idx="16862">
                  <c:v>568</c:v>
                </c:pt>
                <c:pt idx="16863">
                  <c:v>1501</c:v>
                </c:pt>
                <c:pt idx="16864">
                  <c:v>4137</c:v>
                </c:pt>
                <c:pt idx="16865">
                  <c:v>775</c:v>
                </c:pt>
                <c:pt idx="16866">
                  <c:v>1870</c:v>
                </c:pt>
                <c:pt idx="16867">
                  <c:v>4119</c:v>
                </c:pt>
                <c:pt idx="16868">
                  <c:v>961</c:v>
                </c:pt>
                <c:pt idx="16869">
                  <c:v>60</c:v>
                </c:pt>
                <c:pt idx="16870">
                  <c:v>649</c:v>
                </c:pt>
                <c:pt idx="16871">
                  <c:v>1574</c:v>
                </c:pt>
                <c:pt idx="16872">
                  <c:v>393</c:v>
                </c:pt>
                <c:pt idx="16873">
                  <c:v>626</c:v>
                </c:pt>
                <c:pt idx="16874">
                  <c:v>1554</c:v>
                </c:pt>
                <c:pt idx="16875">
                  <c:v>1179</c:v>
                </c:pt>
                <c:pt idx="16876">
                  <c:v>396</c:v>
                </c:pt>
                <c:pt idx="16877">
                  <c:v>1070</c:v>
                </c:pt>
                <c:pt idx="16878">
                  <c:v>1602</c:v>
                </c:pt>
                <c:pt idx="16879">
                  <c:v>271</c:v>
                </c:pt>
                <c:pt idx="16880">
                  <c:v>366</c:v>
                </c:pt>
                <c:pt idx="16881">
                  <c:v>3183</c:v>
                </c:pt>
                <c:pt idx="16882">
                  <c:v>2344</c:v>
                </c:pt>
                <c:pt idx="16883">
                  <c:v>1119</c:v>
                </c:pt>
                <c:pt idx="16884">
                  <c:v>531</c:v>
                </c:pt>
                <c:pt idx="16885">
                  <c:v>48</c:v>
                </c:pt>
                <c:pt idx="16886">
                  <c:v>563</c:v>
                </c:pt>
                <c:pt idx="16887">
                  <c:v>529</c:v>
                </c:pt>
                <c:pt idx="16888">
                  <c:v>1375</c:v>
                </c:pt>
                <c:pt idx="16889">
                  <c:v>2715</c:v>
                </c:pt>
                <c:pt idx="16890">
                  <c:v>147</c:v>
                </c:pt>
                <c:pt idx="16891">
                  <c:v>1007</c:v>
                </c:pt>
                <c:pt idx="16892">
                  <c:v>2248</c:v>
                </c:pt>
                <c:pt idx="16893">
                  <c:v>4166</c:v>
                </c:pt>
                <c:pt idx="16894">
                  <c:v>81</c:v>
                </c:pt>
                <c:pt idx="16895">
                  <c:v>477</c:v>
                </c:pt>
                <c:pt idx="16896">
                  <c:v>1733</c:v>
                </c:pt>
                <c:pt idx="16897">
                  <c:v>234</c:v>
                </c:pt>
                <c:pt idx="16898">
                  <c:v>826</c:v>
                </c:pt>
                <c:pt idx="16899">
                  <c:v>829</c:v>
                </c:pt>
                <c:pt idx="16900">
                  <c:v>19259</c:v>
                </c:pt>
                <c:pt idx="16901">
                  <c:v>537</c:v>
                </c:pt>
                <c:pt idx="16902">
                  <c:v>813</c:v>
                </c:pt>
                <c:pt idx="16903">
                  <c:v>2796</c:v>
                </c:pt>
                <c:pt idx="16904">
                  <c:v>27568</c:v>
                </c:pt>
                <c:pt idx="16905">
                  <c:v>8319</c:v>
                </c:pt>
                <c:pt idx="16906">
                  <c:v>9740</c:v>
                </c:pt>
                <c:pt idx="16907">
                  <c:v>782</c:v>
                </c:pt>
                <c:pt idx="16908">
                  <c:v>583</c:v>
                </c:pt>
                <c:pt idx="16909">
                  <c:v>5207</c:v>
                </c:pt>
                <c:pt idx="16910">
                  <c:v>2288</c:v>
                </c:pt>
                <c:pt idx="16911">
                  <c:v>278</c:v>
                </c:pt>
                <c:pt idx="16912">
                  <c:v>449</c:v>
                </c:pt>
                <c:pt idx="16913">
                  <c:v>884</c:v>
                </c:pt>
                <c:pt idx="16914">
                  <c:v>399</c:v>
                </c:pt>
                <c:pt idx="16915">
                  <c:v>49</c:v>
                </c:pt>
                <c:pt idx="16916">
                  <c:v>630</c:v>
                </c:pt>
                <c:pt idx="16917">
                  <c:v>313</c:v>
                </c:pt>
                <c:pt idx="16918">
                  <c:v>1795</c:v>
                </c:pt>
                <c:pt idx="16919">
                  <c:v>258</c:v>
                </c:pt>
                <c:pt idx="16920">
                  <c:v>1015</c:v>
                </c:pt>
                <c:pt idx="16921">
                  <c:v>271</c:v>
                </c:pt>
                <c:pt idx="16922">
                  <c:v>550</c:v>
                </c:pt>
                <c:pt idx="16923">
                  <c:v>276</c:v>
                </c:pt>
                <c:pt idx="16924">
                  <c:v>5856</c:v>
                </c:pt>
                <c:pt idx="16925">
                  <c:v>155</c:v>
                </c:pt>
                <c:pt idx="16926">
                  <c:v>188</c:v>
                </c:pt>
                <c:pt idx="16927">
                  <c:v>192</c:v>
                </c:pt>
                <c:pt idx="16928">
                  <c:v>216</c:v>
                </c:pt>
                <c:pt idx="16929">
                  <c:v>1001</c:v>
                </c:pt>
                <c:pt idx="16930">
                  <c:v>861</c:v>
                </c:pt>
                <c:pt idx="16931">
                  <c:v>497</c:v>
                </c:pt>
                <c:pt idx="16932">
                  <c:v>545</c:v>
                </c:pt>
                <c:pt idx="16933">
                  <c:v>405</c:v>
                </c:pt>
                <c:pt idx="16934">
                  <c:v>237</c:v>
                </c:pt>
                <c:pt idx="16935">
                  <c:v>1137</c:v>
                </c:pt>
                <c:pt idx="16936">
                  <c:v>433</c:v>
                </c:pt>
                <c:pt idx="16937">
                  <c:v>68</c:v>
                </c:pt>
                <c:pt idx="16938">
                  <c:v>2473</c:v>
                </c:pt>
                <c:pt idx="16939">
                  <c:v>688</c:v>
                </c:pt>
                <c:pt idx="16940">
                  <c:v>347</c:v>
                </c:pt>
                <c:pt idx="16941">
                  <c:v>343</c:v>
                </c:pt>
                <c:pt idx="16942">
                  <c:v>575</c:v>
                </c:pt>
                <c:pt idx="16943">
                  <c:v>2045</c:v>
                </c:pt>
                <c:pt idx="16944">
                  <c:v>47</c:v>
                </c:pt>
                <c:pt idx="16945">
                  <c:v>2123</c:v>
                </c:pt>
                <c:pt idx="16946">
                  <c:v>3210</c:v>
                </c:pt>
                <c:pt idx="16947">
                  <c:v>209</c:v>
                </c:pt>
                <c:pt idx="16948">
                  <c:v>1829</c:v>
                </c:pt>
                <c:pt idx="16949">
                  <c:v>1558</c:v>
                </c:pt>
                <c:pt idx="16950">
                  <c:v>1383</c:v>
                </c:pt>
                <c:pt idx="16951">
                  <c:v>487</c:v>
                </c:pt>
                <c:pt idx="16952">
                  <c:v>2481</c:v>
                </c:pt>
                <c:pt idx="16953">
                  <c:v>6677</c:v>
                </c:pt>
                <c:pt idx="16954">
                  <c:v>1077</c:v>
                </c:pt>
                <c:pt idx="16955">
                  <c:v>9114</c:v>
                </c:pt>
                <c:pt idx="16956">
                  <c:v>1001</c:v>
                </c:pt>
                <c:pt idx="16957">
                  <c:v>75</c:v>
                </c:pt>
                <c:pt idx="16958">
                  <c:v>287</c:v>
                </c:pt>
                <c:pt idx="16959">
                  <c:v>439</c:v>
                </c:pt>
                <c:pt idx="16960">
                  <c:v>2435</c:v>
                </c:pt>
                <c:pt idx="16961">
                  <c:v>8079</c:v>
                </c:pt>
                <c:pt idx="16962">
                  <c:v>440</c:v>
                </c:pt>
                <c:pt idx="16963">
                  <c:v>2695</c:v>
                </c:pt>
                <c:pt idx="16964">
                  <c:v>1445</c:v>
                </c:pt>
                <c:pt idx="16965">
                  <c:v>989</c:v>
                </c:pt>
                <c:pt idx="16966">
                  <c:v>392</c:v>
                </c:pt>
                <c:pt idx="16967">
                  <c:v>102</c:v>
                </c:pt>
                <c:pt idx="16968">
                  <c:v>6121</c:v>
                </c:pt>
                <c:pt idx="16969">
                  <c:v>1447</c:v>
                </c:pt>
                <c:pt idx="16970">
                  <c:v>1730</c:v>
                </c:pt>
                <c:pt idx="16971">
                  <c:v>961</c:v>
                </c:pt>
                <c:pt idx="16972">
                  <c:v>2900</c:v>
                </c:pt>
                <c:pt idx="16973">
                  <c:v>798</c:v>
                </c:pt>
                <c:pt idx="16974">
                  <c:v>223</c:v>
                </c:pt>
                <c:pt idx="16975">
                  <c:v>128</c:v>
                </c:pt>
                <c:pt idx="16976">
                  <c:v>206</c:v>
                </c:pt>
                <c:pt idx="16977">
                  <c:v>629</c:v>
                </c:pt>
                <c:pt idx="16978">
                  <c:v>354</c:v>
                </c:pt>
                <c:pt idx="16979">
                  <c:v>192</c:v>
                </c:pt>
                <c:pt idx="16980">
                  <c:v>280</c:v>
                </c:pt>
                <c:pt idx="16981">
                  <c:v>580</c:v>
                </c:pt>
                <c:pt idx="16982">
                  <c:v>445</c:v>
                </c:pt>
                <c:pt idx="16983">
                  <c:v>271</c:v>
                </c:pt>
                <c:pt idx="16984">
                  <c:v>311</c:v>
                </c:pt>
                <c:pt idx="16985">
                  <c:v>164</c:v>
                </c:pt>
                <c:pt idx="16986">
                  <c:v>22</c:v>
                </c:pt>
                <c:pt idx="16987">
                  <c:v>185</c:v>
                </c:pt>
                <c:pt idx="16988">
                  <c:v>949</c:v>
                </c:pt>
                <c:pt idx="16989">
                  <c:v>421</c:v>
                </c:pt>
                <c:pt idx="16990">
                  <c:v>1105</c:v>
                </c:pt>
                <c:pt idx="16991">
                  <c:v>226</c:v>
                </c:pt>
                <c:pt idx="16992">
                  <c:v>216</c:v>
                </c:pt>
                <c:pt idx="16993">
                  <c:v>615</c:v>
                </c:pt>
                <c:pt idx="16994">
                  <c:v>574</c:v>
                </c:pt>
                <c:pt idx="16995">
                  <c:v>534</c:v>
                </c:pt>
                <c:pt idx="16996">
                  <c:v>201</c:v>
                </c:pt>
                <c:pt idx="16997">
                  <c:v>141</c:v>
                </c:pt>
                <c:pt idx="16998">
                  <c:v>460</c:v>
                </c:pt>
                <c:pt idx="16999">
                  <c:v>2232</c:v>
                </c:pt>
                <c:pt idx="17000">
                  <c:v>470</c:v>
                </c:pt>
                <c:pt idx="17001">
                  <c:v>202</c:v>
                </c:pt>
                <c:pt idx="17002">
                  <c:v>44</c:v>
                </c:pt>
                <c:pt idx="17003">
                  <c:v>96</c:v>
                </c:pt>
                <c:pt idx="17004">
                  <c:v>521</c:v>
                </c:pt>
                <c:pt idx="17005">
                  <c:v>1310</c:v>
                </c:pt>
                <c:pt idx="17006">
                  <c:v>347</c:v>
                </c:pt>
                <c:pt idx="17007">
                  <c:v>643</c:v>
                </c:pt>
                <c:pt idx="17008">
                  <c:v>62</c:v>
                </c:pt>
                <c:pt idx="17009">
                  <c:v>268</c:v>
                </c:pt>
                <c:pt idx="17010">
                  <c:v>3075</c:v>
                </c:pt>
                <c:pt idx="17011">
                  <c:v>385</c:v>
                </c:pt>
                <c:pt idx="17012">
                  <c:v>181</c:v>
                </c:pt>
                <c:pt idx="17013">
                  <c:v>1119</c:v>
                </c:pt>
                <c:pt idx="17014">
                  <c:v>108</c:v>
                </c:pt>
                <c:pt idx="17015">
                  <c:v>178</c:v>
                </c:pt>
                <c:pt idx="17016">
                  <c:v>105</c:v>
                </c:pt>
                <c:pt idx="17017">
                  <c:v>2463</c:v>
                </c:pt>
                <c:pt idx="17018">
                  <c:v>169</c:v>
                </c:pt>
                <c:pt idx="17019">
                  <c:v>91</c:v>
                </c:pt>
                <c:pt idx="17020">
                  <c:v>405</c:v>
                </c:pt>
                <c:pt idx="17021">
                  <c:v>382</c:v>
                </c:pt>
                <c:pt idx="17022">
                  <c:v>359</c:v>
                </c:pt>
                <c:pt idx="17023">
                  <c:v>274</c:v>
                </c:pt>
                <c:pt idx="17024">
                  <c:v>736</c:v>
                </c:pt>
                <c:pt idx="17025">
                  <c:v>1482</c:v>
                </c:pt>
                <c:pt idx="17026">
                  <c:v>155</c:v>
                </c:pt>
                <c:pt idx="17027">
                  <c:v>175</c:v>
                </c:pt>
                <c:pt idx="17028">
                  <c:v>1443</c:v>
                </c:pt>
                <c:pt idx="17029">
                  <c:v>517</c:v>
                </c:pt>
                <c:pt idx="17030">
                  <c:v>904</c:v>
                </c:pt>
                <c:pt idx="17031">
                  <c:v>547</c:v>
                </c:pt>
                <c:pt idx="17032">
                  <c:v>581</c:v>
                </c:pt>
                <c:pt idx="17033">
                  <c:v>592</c:v>
                </c:pt>
                <c:pt idx="17034">
                  <c:v>253</c:v>
                </c:pt>
                <c:pt idx="17035">
                  <c:v>214</c:v>
                </c:pt>
                <c:pt idx="17036">
                  <c:v>6947</c:v>
                </c:pt>
                <c:pt idx="17037">
                  <c:v>12316</c:v>
                </c:pt>
                <c:pt idx="17038">
                  <c:v>126</c:v>
                </c:pt>
                <c:pt idx="17039">
                  <c:v>915</c:v>
                </c:pt>
                <c:pt idx="17040">
                  <c:v>1171</c:v>
                </c:pt>
                <c:pt idx="17041">
                  <c:v>273</c:v>
                </c:pt>
                <c:pt idx="17042">
                  <c:v>149</c:v>
                </c:pt>
                <c:pt idx="17043">
                  <c:v>253</c:v>
                </c:pt>
                <c:pt idx="17044">
                  <c:v>330</c:v>
                </c:pt>
                <c:pt idx="17045">
                  <c:v>2184</c:v>
                </c:pt>
                <c:pt idx="17046">
                  <c:v>432</c:v>
                </c:pt>
                <c:pt idx="17047">
                  <c:v>242</c:v>
                </c:pt>
                <c:pt idx="17048">
                  <c:v>428</c:v>
                </c:pt>
                <c:pt idx="17049">
                  <c:v>1222</c:v>
                </c:pt>
                <c:pt idx="17050">
                  <c:v>352</c:v>
                </c:pt>
                <c:pt idx="17051">
                  <c:v>968</c:v>
                </c:pt>
                <c:pt idx="17052">
                  <c:v>670</c:v>
                </c:pt>
                <c:pt idx="17053">
                  <c:v>171</c:v>
                </c:pt>
                <c:pt idx="17054">
                  <c:v>261</c:v>
                </c:pt>
                <c:pt idx="17055">
                  <c:v>116</c:v>
                </c:pt>
                <c:pt idx="17056">
                  <c:v>482</c:v>
                </c:pt>
                <c:pt idx="17057">
                  <c:v>963</c:v>
                </c:pt>
                <c:pt idx="17058">
                  <c:v>356</c:v>
                </c:pt>
                <c:pt idx="17059">
                  <c:v>173</c:v>
                </c:pt>
                <c:pt idx="17060">
                  <c:v>1100</c:v>
                </c:pt>
                <c:pt idx="17061">
                  <c:v>278</c:v>
                </c:pt>
                <c:pt idx="17062">
                  <c:v>228</c:v>
                </c:pt>
                <c:pt idx="17063">
                  <c:v>254</c:v>
                </c:pt>
                <c:pt idx="17064">
                  <c:v>311</c:v>
                </c:pt>
                <c:pt idx="17065">
                  <c:v>360</c:v>
                </c:pt>
                <c:pt idx="17066">
                  <c:v>1555</c:v>
                </c:pt>
                <c:pt idx="17067">
                  <c:v>963</c:v>
                </c:pt>
                <c:pt idx="17068">
                  <c:v>792</c:v>
                </c:pt>
                <c:pt idx="17069">
                  <c:v>372</c:v>
                </c:pt>
                <c:pt idx="17070">
                  <c:v>405</c:v>
                </c:pt>
                <c:pt idx="17071">
                  <c:v>174</c:v>
                </c:pt>
                <c:pt idx="17072">
                  <c:v>487</c:v>
                </c:pt>
                <c:pt idx="17073">
                  <c:v>554</c:v>
                </c:pt>
                <c:pt idx="17074">
                  <c:v>478</c:v>
                </c:pt>
                <c:pt idx="17075">
                  <c:v>208</c:v>
                </c:pt>
                <c:pt idx="17076">
                  <c:v>1047</c:v>
                </c:pt>
                <c:pt idx="17077">
                  <c:v>202</c:v>
                </c:pt>
                <c:pt idx="17078">
                  <c:v>7733</c:v>
                </c:pt>
                <c:pt idx="17079">
                  <c:v>466</c:v>
                </c:pt>
                <c:pt idx="17080">
                  <c:v>347</c:v>
                </c:pt>
                <c:pt idx="17081">
                  <c:v>235</c:v>
                </c:pt>
                <c:pt idx="17082">
                  <c:v>1140</c:v>
                </c:pt>
                <c:pt idx="17083">
                  <c:v>3652</c:v>
                </c:pt>
                <c:pt idx="17084">
                  <c:v>733</c:v>
                </c:pt>
                <c:pt idx="17085">
                  <c:v>3657</c:v>
                </c:pt>
                <c:pt idx="17086">
                  <c:v>469</c:v>
                </c:pt>
                <c:pt idx="17087">
                  <c:v>637</c:v>
                </c:pt>
                <c:pt idx="17088">
                  <c:v>2470</c:v>
                </c:pt>
                <c:pt idx="17089">
                  <c:v>105</c:v>
                </c:pt>
                <c:pt idx="17090">
                  <c:v>90</c:v>
                </c:pt>
                <c:pt idx="17091">
                  <c:v>1478</c:v>
                </c:pt>
                <c:pt idx="17092">
                  <c:v>1175</c:v>
                </c:pt>
                <c:pt idx="17093">
                  <c:v>611</c:v>
                </c:pt>
                <c:pt idx="17094">
                  <c:v>279</c:v>
                </c:pt>
                <c:pt idx="17095">
                  <c:v>344</c:v>
                </c:pt>
                <c:pt idx="17096">
                  <c:v>730</c:v>
                </c:pt>
                <c:pt idx="17097">
                  <c:v>2992</c:v>
                </c:pt>
                <c:pt idx="17098">
                  <c:v>905</c:v>
                </c:pt>
                <c:pt idx="17099">
                  <c:v>509</c:v>
                </c:pt>
                <c:pt idx="17100">
                  <c:v>2451</c:v>
                </c:pt>
                <c:pt idx="17101">
                  <c:v>328</c:v>
                </c:pt>
                <c:pt idx="17102">
                  <c:v>227</c:v>
                </c:pt>
                <c:pt idx="17103">
                  <c:v>298</c:v>
                </c:pt>
                <c:pt idx="17104">
                  <c:v>521</c:v>
                </c:pt>
                <c:pt idx="17105">
                  <c:v>144</c:v>
                </c:pt>
                <c:pt idx="17106">
                  <c:v>785</c:v>
                </c:pt>
                <c:pt idx="17107">
                  <c:v>501</c:v>
                </c:pt>
                <c:pt idx="17108">
                  <c:v>17927</c:v>
                </c:pt>
                <c:pt idx="17109">
                  <c:v>13023</c:v>
                </c:pt>
                <c:pt idx="17110">
                  <c:v>7947</c:v>
                </c:pt>
                <c:pt idx="17111">
                  <c:v>2640</c:v>
                </c:pt>
                <c:pt idx="17112">
                  <c:v>12927</c:v>
                </c:pt>
                <c:pt idx="17113">
                  <c:v>650</c:v>
                </c:pt>
                <c:pt idx="17114">
                  <c:v>3037</c:v>
                </c:pt>
                <c:pt idx="17115">
                  <c:v>347</c:v>
                </c:pt>
                <c:pt idx="17116">
                  <c:v>1294</c:v>
                </c:pt>
                <c:pt idx="17117">
                  <c:v>29</c:v>
                </c:pt>
                <c:pt idx="17118">
                  <c:v>774</c:v>
                </c:pt>
                <c:pt idx="17119">
                  <c:v>971</c:v>
                </c:pt>
                <c:pt idx="17120">
                  <c:v>700</c:v>
                </c:pt>
                <c:pt idx="17121">
                  <c:v>536</c:v>
                </c:pt>
                <c:pt idx="17122">
                  <c:v>699</c:v>
                </c:pt>
                <c:pt idx="17123">
                  <c:v>4173</c:v>
                </c:pt>
                <c:pt idx="17124">
                  <c:v>313</c:v>
                </c:pt>
                <c:pt idx="17125">
                  <c:v>584</c:v>
                </c:pt>
                <c:pt idx="17126">
                  <c:v>107</c:v>
                </c:pt>
                <c:pt idx="17127">
                  <c:v>875</c:v>
                </c:pt>
                <c:pt idx="17128">
                  <c:v>377</c:v>
                </c:pt>
                <c:pt idx="17129">
                  <c:v>90</c:v>
                </c:pt>
                <c:pt idx="17130">
                  <c:v>3786</c:v>
                </c:pt>
                <c:pt idx="17131">
                  <c:v>894</c:v>
                </c:pt>
                <c:pt idx="17132">
                  <c:v>1242</c:v>
                </c:pt>
                <c:pt idx="17133">
                  <c:v>805</c:v>
                </c:pt>
                <c:pt idx="17134">
                  <c:v>2916</c:v>
                </c:pt>
                <c:pt idx="17135">
                  <c:v>123</c:v>
                </c:pt>
                <c:pt idx="17136">
                  <c:v>811</c:v>
                </c:pt>
                <c:pt idx="17137">
                  <c:v>666</c:v>
                </c:pt>
                <c:pt idx="17138">
                  <c:v>495</c:v>
                </c:pt>
                <c:pt idx="17139">
                  <c:v>1375</c:v>
                </c:pt>
                <c:pt idx="17140">
                  <c:v>1077</c:v>
                </c:pt>
                <c:pt idx="17141">
                  <c:v>439</c:v>
                </c:pt>
                <c:pt idx="17142">
                  <c:v>6950</c:v>
                </c:pt>
                <c:pt idx="17143">
                  <c:v>3279</c:v>
                </c:pt>
                <c:pt idx="17144">
                  <c:v>444</c:v>
                </c:pt>
                <c:pt idx="17145">
                  <c:v>125</c:v>
                </c:pt>
                <c:pt idx="17146">
                  <c:v>3074</c:v>
                </c:pt>
                <c:pt idx="17147">
                  <c:v>4856</c:v>
                </c:pt>
                <c:pt idx="17148">
                  <c:v>710</c:v>
                </c:pt>
                <c:pt idx="17149">
                  <c:v>313</c:v>
                </c:pt>
                <c:pt idx="17150">
                  <c:v>138</c:v>
                </c:pt>
                <c:pt idx="17151">
                  <c:v>611</c:v>
                </c:pt>
                <c:pt idx="17152">
                  <c:v>1460</c:v>
                </c:pt>
                <c:pt idx="17153">
                  <c:v>1322</c:v>
                </c:pt>
                <c:pt idx="17154">
                  <c:v>1699</c:v>
                </c:pt>
                <c:pt idx="17155">
                  <c:v>1224</c:v>
                </c:pt>
                <c:pt idx="17156">
                  <c:v>2819</c:v>
                </c:pt>
                <c:pt idx="17157">
                  <c:v>128</c:v>
                </c:pt>
                <c:pt idx="17158">
                  <c:v>2891</c:v>
                </c:pt>
                <c:pt idx="17159">
                  <c:v>4091</c:v>
                </c:pt>
                <c:pt idx="17160">
                  <c:v>2152</c:v>
                </c:pt>
                <c:pt idx="17161">
                  <c:v>295</c:v>
                </c:pt>
                <c:pt idx="17162">
                  <c:v>49</c:v>
                </c:pt>
                <c:pt idx="17163">
                  <c:v>1641</c:v>
                </c:pt>
                <c:pt idx="17164">
                  <c:v>5669</c:v>
                </c:pt>
                <c:pt idx="17165">
                  <c:v>488</c:v>
                </c:pt>
                <c:pt idx="17166">
                  <c:v>178</c:v>
                </c:pt>
                <c:pt idx="17167">
                  <c:v>10681</c:v>
                </c:pt>
                <c:pt idx="17168">
                  <c:v>4000</c:v>
                </c:pt>
                <c:pt idx="17169">
                  <c:v>9195</c:v>
                </c:pt>
                <c:pt idx="17170">
                  <c:v>1202</c:v>
                </c:pt>
                <c:pt idx="17171">
                  <c:v>746</c:v>
                </c:pt>
                <c:pt idx="17172">
                  <c:v>151</c:v>
                </c:pt>
                <c:pt idx="17173">
                  <c:v>477</c:v>
                </c:pt>
                <c:pt idx="17174">
                  <c:v>273</c:v>
                </c:pt>
                <c:pt idx="17175">
                  <c:v>3927</c:v>
                </c:pt>
                <c:pt idx="17176">
                  <c:v>51</c:v>
                </c:pt>
                <c:pt idx="17177">
                  <c:v>15044</c:v>
                </c:pt>
                <c:pt idx="17178">
                  <c:v>4086</c:v>
                </c:pt>
                <c:pt idx="17179">
                  <c:v>3434</c:v>
                </c:pt>
                <c:pt idx="17180">
                  <c:v>704</c:v>
                </c:pt>
                <c:pt idx="17181">
                  <c:v>101</c:v>
                </c:pt>
                <c:pt idx="17182">
                  <c:v>1207</c:v>
                </c:pt>
                <c:pt idx="17183">
                  <c:v>484</c:v>
                </c:pt>
                <c:pt idx="17184">
                  <c:v>1247</c:v>
                </c:pt>
                <c:pt idx="17185">
                  <c:v>490</c:v>
                </c:pt>
                <c:pt idx="17186">
                  <c:v>1442</c:v>
                </c:pt>
                <c:pt idx="17187">
                  <c:v>1131</c:v>
                </c:pt>
                <c:pt idx="17188">
                  <c:v>611</c:v>
                </c:pt>
                <c:pt idx="17189">
                  <c:v>1330</c:v>
                </c:pt>
                <c:pt idx="17190">
                  <c:v>837</c:v>
                </c:pt>
                <c:pt idx="17191">
                  <c:v>301</c:v>
                </c:pt>
                <c:pt idx="17192">
                  <c:v>139</c:v>
                </c:pt>
                <c:pt idx="17193">
                  <c:v>955</c:v>
                </c:pt>
                <c:pt idx="17194">
                  <c:v>373</c:v>
                </c:pt>
                <c:pt idx="17195">
                  <c:v>695</c:v>
                </c:pt>
                <c:pt idx="17196">
                  <c:v>394</c:v>
                </c:pt>
                <c:pt idx="17197">
                  <c:v>751</c:v>
                </c:pt>
                <c:pt idx="17198">
                  <c:v>187</c:v>
                </c:pt>
                <c:pt idx="17199">
                  <c:v>1553</c:v>
                </c:pt>
                <c:pt idx="17200">
                  <c:v>1859</c:v>
                </c:pt>
                <c:pt idx="17201">
                  <c:v>815</c:v>
                </c:pt>
                <c:pt idx="17202">
                  <c:v>1294</c:v>
                </c:pt>
                <c:pt idx="17203">
                  <c:v>1091</c:v>
                </c:pt>
                <c:pt idx="17204">
                  <c:v>2224</c:v>
                </c:pt>
                <c:pt idx="17205">
                  <c:v>336</c:v>
                </c:pt>
                <c:pt idx="17206">
                  <c:v>4691</c:v>
                </c:pt>
                <c:pt idx="17207">
                  <c:v>3619</c:v>
                </c:pt>
                <c:pt idx="17208">
                  <c:v>1608</c:v>
                </c:pt>
                <c:pt idx="17209">
                  <c:v>1992</c:v>
                </c:pt>
                <c:pt idx="17210">
                  <c:v>860</c:v>
                </c:pt>
                <c:pt idx="17211">
                  <c:v>1277</c:v>
                </c:pt>
                <c:pt idx="17212">
                  <c:v>1993</c:v>
                </c:pt>
                <c:pt idx="17213">
                  <c:v>1068</c:v>
                </c:pt>
                <c:pt idx="17214">
                  <c:v>3331</c:v>
                </c:pt>
                <c:pt idx="17215">
                  <c:v>1271</c:v>
                </c:pt>
                <c:pt idx="17216">
                  <c:v>8573</c:v>
                </c:pt>
                <c:pt idx="17217">
                  <c:v>1066</c:v>
                </c:pt>
                <c:pt idx="17218">
                  <c:v>970</c:v>
                </c:pt>
                <c:pt idx="17219">
                  <c:v>2038</c:v>
                </c:pt>
                <c:pt idx="17220">
                  <c:v>1099</c:v>
                </c:pt>
                <c:pt idx="17221">
                  <c:v>152</c:v>
                </c:pt>
                <c:pt idx="17222">
                  <c:v>127</c:v>
                </c:pt>
                <c:pt idx="17223">
                  <c:v>175</c:v>
                </c:pt>
                <c:pt idx="17224">
                  <c:v>101</c:v>
                </c:pt>
                <c:pt idx="17225">
                  <c:v>1922</c:v>
                </c:pt>
                <c:pt idx="17226">
                  <c:v>401</c:v>
                </c:pt>
                <c:pt idx="17227">
                  <c:v>177</c:v>
                </c:pt>
                <c:pt idx="17228">
                  <c:v>196</c:v>
                </c:pt>
                <c:pt idx="17229">
                  <c:v>260</c:v>
                </c:pt>
                <c:pt idx="17230">
                  <c:v>42</c:v>
                </c:pt>
                <c:pt idx="17231">
                  <c:v>432</c:v>
                </c:pt>
                <c:pt idx="17232">
                  <c:v>766</c:v>
                </c:pt>
                <c:pt idx="17233">
                  <c:v>2582</c:v>
                </c:pt>
                <c:pt idx="17234">
                  <c:v>916</c:v>
                </c:pt>
                <c:pt idx="17235">
                  <c:v>164</c:v>
                </c:pt>
                <c:pt idx="17236">
                  <c:v>668</c:v>
                </c:pt>
                <c:pt idx="17237">
                  <c:v>491</c:v>
                </c:pt>
                <c:pt idx="17238">
                  <c:v>163</c:v>
                </c:pt>
                <c:pt idx="17239">
                  <c:v>9570</c:v>
                </c:pt>
                <c:pt idx="17240">
                  <c:v>819</c:v>
                </c:pt>
                <c:pt idx="17241">
                  <c:v>35</c:v>
                </c:pt>
                <c:pt idx="17242">
                  <c:v>1093</c:v>
                </c:pt>
                <c:pt idx="17243">
                  <c:v>1023</c:v>
                </c:pt>
                <c:pt idx="17244">
                  <c:v>119</c:v>
                </c:pt>
                <c:pt idx="17245">
                  <c:v>2750</c:v>
                </c:pt>
                <c:pt idx="17246">
                  <c:v>332</c:v>
                </c:pt>
                <c:pt idx="17247">
                  <c:v>111</c:v>
                </c:pt>
                <c:pt idx="17248">
                  <c:v>1371</c:v>
                </c:pt>
                <c:pt idx="17249">
                  <c:v>360</c:v>
                </c:pt>
                <c:pt idx="17250">
                  <c:v>2417</c:v>
                </c:pt>
                <c:pt idx="17251">
                  <c:v>156</c:v>
                </c:pt>
                <c:pt idx="17252">
                  <c:v>871</c:v>
                </c:pt>
                <c:pt idx="17253">
                  <c:v>219</c:v>
                </c:pt>
                <c:pt idx="17254">
                  <c:v>1309</c:v>
                </c:pt>
                <c:pt idx="17255">
                  <c:v>572</c:v>
                </c:pt>
                <c:pt idx="17256">
                  <c:v>22666</c:v>
                </c:pt>
                <c:pt idx="17257">
                  <c:v>64</c:v>
                </c:pt>
                <c:pt idx="17258">
                  <c:v>155</c:v>
                </c:pt>
                <c:pt idx="17259">
                  <c:v>1544</c:v>
                </c:pt>
                <c:pt idx="17260">
                  <c:v>50</c:v>
                </c:pt>
                <c:pt idx="17261">
                  <c:v>504</c:v>
                </c:pt>
                <c:pt idx="17262">
                  <c:v>456</c:v>
                </c:pt>
                <c:pt idx="17263">
                  <c:v>875</c:v>
                </c:pt>
                <c:pt idx="17264">
                  <c:v>2698</c:v>
                </c:pt>
                <c:pt idx="17265">
                  <c:v>3097</c:v>
                </c:pt>
                <c:pt idx="17266">
                  <c:v>163</c:v>
                </c:pt>
                <c:pt idx="17267">
                  <c:v>161</c:v>
                </c:pt>
                <c:pt idx="17268">
                  <c:v>351</c:v>
                </c:pt>
                <c:pt idx="17269">
                  <c:v>366</c:v>
                </c:pt>
                <c:pt idx="17270">
                  <c:v>543</c:v>
                </c:pt>
                <c:pt idx="17271">
                  <c:v>670</c:v>
                </c:pt>
                <c:pt idx="17272">
                  <c:v>132</c:v>
                </c:pt>
                <c:pt idx="17273">
                  <c:v>571</c:v>
                </c:pt>
                <c:pt idx="17274">
                  <c:v>391</c:v>
                </c:pt>
                <c:pt idx="17275">
                  <c:v>903</c:v>
                </c:pt>
                <c:pt idx="17276">
                  <c:v>592</c:v>
                </c:pt>
                <c:pt idx="17277">
                  <c:v>186</c:v>
                </c:pt>
                <c:pt idx="17278">
                  <c:v>763</c:v>
                </c:pt>
                <c:pt idx="17279">
                  <c:v>181</c:v>
                </c:pt>
                <c:pt idx="17280">
                  <c:v>121</c:v>
                </c:pt>
                <c:pt idx="17281">
                  <c:v>231</c:v>
                </c:pt>
                <c:pt idx="17282">
                  <c:v>204</c:v>
                </c:pt>
                <c:pt idx="17283">
                  <c:v>16556</c:v>
                </c:pt>
                <c:pt idx="17284">
                  <c:v>1914</c:v>
                </c:pt>
                <c:pt idx="17285">
                  <c:v>55</c:v>
                </c:pt>
                <c:pt idx="17286">
                  <c:v>1203</c:v>
                </c:pt>
                <c:pt idx="17287">
                  <c:v>80</c:v>
                </c:pt>
                <c:pt idx="17288">
                  <c:v>111</c:v>
                </c:pt>
                <c:pt idx="17289">
                  <c:v>403</c:v>
                </c:pt>
                <c:pt idx="17290">
                  <c:v>89</c:v>
                </c:pt>
                <c:pt idx="17291">
                  <c:v>868</c:v>
                </c:pt>
                <c:pt idx="17292">
                  <c:v>1786</c:v>
                </c:pt>
                <c:pt idx="17293">
                  <c:v>722</c:v>
                </c:pt>
                <c:pt idx="17294">
                  <c:v>1906</c:v>
                </c:pt>
                <c:pt idx="17295">
                  <c:v>72</c:v>
                </c:pt>
                <c:pt idx="17296">
                  <c:v>144</c:v>
                </c:pt>
                <c:pt idx="17297">
                  <c:v>111</c:v>
                </c:pt>
                <c:pt idx="17298">
                  <c:v>264</c:v>
                </c:pt>
                <c:pt idx="17299">
                  <c:v>212</c:v>
                </c:pt>
                <c:pt idx="17300">
                  <c:v>401</c:v>
                </c:pt>
                <c:pt idx="17301">
                  <c:v>4220</c:v>
                </c:pt>
                <c:pt idx="17302">
                  <c:v>348</c:v>
                </c:pt>
                <c:pt idx="17303">
                  <c:v>243</c:v>
                </c:pt>
                <c:pt idx="17304">
                  <c:v>180</c:v>
                </c:pt>
                <c:pt idx="17305">
                  <c:v>552</c:v>
                </c:pt>
                <c:pt idx="17306">
                  <c:v>27</c:v>
                </c:pt>
                <c:pt idx="17307">
                  <c:v>443</c:v>
                </c:pt>
                <c:pt idx="17308">
                  <c:v>74</c:v>
                </c:pt>
                <c:pt idx="17309">
                  <c:v>56</c:v>
                </c:pt>
                <c:pt idx="17310">
                  <c:v>78</c:v>
                </c:pt>
                <c:pt idx="17311">
                  <c:v>381</c:v>
                </c:pt>
                <c:pt idx="17312">
                  <c:v>167</c:v>
                </c:pt>
                <c:pt idx="17313">
                  <c:v>239</c:v>
                </c:pt>
                <c:pt idx="17314">
                  <c:v>395</c:v>
                </c:pt>
                <c:pt idx="17315">
                  <c:v>78</c:v>
                </c:pt>
                <c:pt idx="17316">
                  <c:v>92</c:v>
                </c:pt>
                <c:pt idx="17317">
                  <c:v>339</c:v>
                </c:pt>
                <c:pt idx="17318">
                  <c:v>839</c:v>
                </c:pt>
                <c:pt idx="17319">
                  <c:v>719</c:v>
                </c:pt>
                <c:pt idx="17320">
                  <c:v>225</c:v>
                </c:pt>
                <c:pt idx="17321">
                  <c:v>750</c:v>
                </c:pt>
                <c:pt idx="17322">
                  <c:v>701</c:v>
                </c:pt>
                <c:pt idx="17323">
                  <c:v>36</c:v>
                </c:pt>
                <c:pt idx="17324">
                  <c:v>96</c:v>
                </c:pt>
                <c:pt idx="17325">
                  <c:v>297</c:v>
                </c:pt>
                <c:pt idx="17326">
                  <c:v>144</c:v>
                </c:pt>
                <c:pt idx="17327">
                  <c:v>42</c:v>
                </c:pt>
                <c:pt idx="17328">
                  <c:v>499</c:v>
                </c:pt>
                <c:pt idx="17329">
                  <c:v>22</c:v>
                </c:pt>
                <c:pt idx="17330">
                  <c:v>6741</c:v>
                </c:pt>
                <c:pt idx="17331">
                  <c:v>198</c:v>
                </c:pt>
                <c:pt idx="17332">
                  <c:v>460</c:v>
                </c:pt>
                <c:pt idx="17333">
                  <c:v>583</c:v>
                </c:pt>
                <c:pt idx="17334">
                  <c:v>126</c:v>
                </c:pt>
                <c:pt idx="17335">
                  <c:v>4062</c:v>
                </c:pt>
                <c:pt idx="17336">
                  <c:v>5414</c:v>
                </c:pt>
                <c:pt idx="17337">
                  <c:v>188</c:v>
                </c:pt>
                <c:pt idx="17338">
                  <c:v>495</c:v>
                </c:pt>
                <c:pt idx="17339">
                  <c:v>62</c:v>
                </c:pt>
                <c:pt idx="17340">
                  <c:v>463</c:v>
                </c:pt>
                <c:pt idx="17341">
                  <c:v>840</c:v>
                </c:pt>
                <c:pt idx="17342">
                  <c:v>487</c:v>
                </c:pt>
                <c:pt idx="17343">
                  <c:v>686</c:v>
                </c:pt>
                <c:pt idx="17344">
                  <c:v>60</c:v>
                </c:pt>
                <c:pt idx="17345">
                  <c:v>496</c:v>
                </c:pt>
                <c:pt idx="17346">
                  <c:v>190</c:v>
                </c:pt>
                <c:pt idx="17347">
                  <c:v>268</c:v>
                </c:pt>
                <c:pt idx="17348">
                  <c:v>284</c:v>
                </c:pt>
                <c:pt idx="17349">
                  <c:v>393</c:v>
                </c:pt>
                <c:pt idx="17350">
                  <c:v>353</c:v>
                </c:pt>
                <c:pt idx="17351">
                  <c:v>668</c:v>
                </c:pt>
                <c:pt idx="17352">
                  <c:v>372</c:v>
                </c:pt>
                <c:pt idx="17353">
                  <c:v>201</c:v>
                </c:pt>
                <c:pt idx="17354">
                  <c:v>289</c:v>
                </c:pt>
                <c:pt idx="17355">
                  <c:v>1183</c:v>
                </c:pt>
                <c:pt idx="17356">
                  <c:v>2903</c:v>
                </c:pt>
                <c:pt idx="17357">
                  <c:v>310</c:v>
                </c:pt>
                <c:pt idx="17358">
                  <c:v>36</c:v>
                </c:pt>
                <c:pt idx="17359">
                  <c:v>33</c:v>
                </c:pt>
                <c:pt idx="17360">
                  <c:v>344</c:v>
                </c:pt>
                <c:pt idx="17361">
                  <c:v>435</c:v>
                </c:pt>
                <c:pt idx="17362">
                  <c:v>114</c:v>
                </c:pt>
                <c:pt idx="17363">
                  <c:v>177</c:v>
                </c:pt>
                <c:pt idx="17364">
                  <c:v>293</c:v>
                </c:pt>
                <c:pt idx="17365">
                  <c:v>216</c:v>
                </c:pt>
                <c:pt idx="17366">
                  <c:v>1068</c:v>
                </c:pt>
                <c:pt idx="17367">
                  <c:v>2561</c:v>
                </c:pt>
                <c:pt idx="17368">
                  <c:v>758</c:v>
                </c:pt>
                <c:pt idx="17369">
                  <c:v>890</c:v>
                </c:pt>
                <c:pt idx="17370">
                  <c:v>1053</c:v>
                </c:pt>
                <c:pt idx="17371">
                  <c:v>1847</c:v>
                </c:pt>
                <c:pt idx="17372">
                  <c:v>6929</c:v>
                </c:pt>
                <c:pt idx="17373">
                  <c:v>12936</c:v>
                </c:pt>
                <c:pt idx="17374">
                  <c:v>306</c:v>
                </c:pt>
                <c:pt idx="17375">
                  <c:v>601</c:v>
                </c:pt>
                <c:pt idx="17376">
                  <c:v>2290</c:v>
                </c:pt>
                <c:pt idx="17377">
                  <c:v>788</c:v>
                </c:pt>
                <c:pt idx="17378">
                  <c:v>388</c:v>
                </c:pt>
                <c:pt idx="17379">
                  <c:v>451</c:v>
                </c:pt>
                <c:pt idx="17380">
                  <c:v>712</c:v>
                </c:pt>
                <c:pt idx="17381">
                  <c:v>808</c:v>
                </c:pt>
                <c:pt idx="17382">
                  <c:v>1027</c:v>
                </c:pt>
                <c:pt idx="17383">
                  <c:v>3002</c:v>
                </c:pt>
                <c:pt idx="17384">
                  <c:v>226</c:v>
                </c:pt>
                <c:pt idx="17385">
                  <c:v>1424</c:v>
                </c:pt>
                <c:pt idx="17386">
                  <c:v>726</c:v>
                </c:pt>
                <c:pt idx="17387">
                  <c:v>112</c:v>
                </c:pt>
                <c:pt idx="17388">
                  <c:v>1558</c:v>
                </c:pt>
                <c:pt idx="17389">
                  <c:v>1182</c:v>
                </c:pt>
                <c:pt idx="17390">
                  <c:v>1488</c:v>
                </c:pt>
                <c:pt idx="17391">
                  <c:v>505</c:v>
                </c:pt>
                <c:pt idx="17392">
                  <c:v>4535</c:v>
                </c:pt>
                <c:pt idx="17393">
                  <c:v>3377</c:v>
                </c:pt>
                <c:pt idx="17394">
                  <c:v>468</c:v>
                </c:pt>
                <c:pt idx="17395">
                  <c:v>571</c:v>
                </c:pt>
                <c:pt idx="17396">
                  <c:v>360</c:v>
                </c:pt>
                <c:pt idx="17397">
                  <c:v>546</c:v>
                </c:pt>
                <c:pt idx="17398">
                  <c:v>797</c:v>
                </c:pt>
                <c:pt idx="17399">
                  <c:v>1988</c:v>
                </c:pt>
                <c:pt idx="17400">
                  <c:v>178</c:v>
                </c:pt>
                <c:pt idx="17401">
                  <c:v>4361</c:v>
                </c:pt>
                <c:pt idx="17402">
                  <c:v>707</c:v>
                </c:pt>
                <c:pt idx="17403">
                  <c:v>541</c:v>
                </c:pt>
                <c:pt idx="17404">
                  <c:v>559</c:v>
                </c:pt>
                <c:pt idx="17405">
                  <c:v>156</c:v>
                </c:pt>
                <c:pt idx="17406">
                  <c:v>732</c:v>
                </c:pt>
                <c:pt idx="17407">
                  <c:v>3843</c:v>
                </c:pt>
                <c:pt idx="17408">
                  <c:v>149</c:v>
                </c:pt>
                <c:pt idx="17409">
                  <c:v>116</c:v>
                </c:pt>
                <c:pt idx="17410">
                  <c:v>1102</c:v>
                </c:pt>
                <c:pt idx="17411">
                  <c:v>337</c:v>
                </c:pt>
                <c:pt idx="17412">
                  <c:v>715</c:v>
                </c:pt>
                <c:pt idx="17413">
                  <c:v>130</c:v>
                </c:pt>
                <c:pt idx="17414">
                  <c:v>926</c:v>
                </c:pt>
                <c:pt idx="17415">
                  <c:v>636</c:v>
                </c:pt>
                <c:pt idx="17416">
                  <c:v>68</c:v>
                </c:pt>
                <c:pt idx="17417">
                  <c:v>587</c:v>
                </c:pt>
                <c:pt idx="17418">
                  <c:v>429</c:v>
                </c:pt>
                <c:pt idx="17419">
                  <c:v>3892</c:v>
                </c:pt>
                <c:pt idx="17420">
                  <c:v>161</c:v>
                </c:pt>
                <c:pt idx="17421">
                  <c:v>724</c:v>
                </c:pt>
                <c:pt idx="17422">
                  <c:v>1043</c:v>
                </c:pt>
                <c:pt idx="17423">
                  <c:v>6406</c:v>
                </c:pt>
                <c:pt idx="17424">
                  <c:v>588</c:v>
                </c:pt>
                <c:pt idx="17425">
                  <c:v>1770</c:v>
                </c:pt>
                <c:pt idx="17426">
                  <c:v>409</c:v>
                </c:pt>
                <c:pt idx="17427">
                  <c:v>219</c:v>
                </c:pt>
                <c:pt idx="17428">
                  <c:v>580</c:v>
                </c:pt>
                <c:pt idx="17429">
                  <c:v>224</c:v>
                </c:pt>
                <c:pt idx="17430">
                  <c:v>663</c:v>
                </c:pt>
                <c:pt idx="17431">
                  <c:v>10054</c:v>
                </c:pt>
                <c:pt idx="17432">
                  <c:v>19765</c:v>
                </c:pt>
                <c:pt idx="17433">
                  <c:v>14114</c:v>
                </c:pt>
                <c:pt idx="17434">
                  <c:v>12913</c:v>
                </c:pt>
                <c:pt idx="17435">
                  <c:v>27469</c:v>
                </c:pt>
                <c:pt idx="17436">
                  <c:v>5866</c:v>
                </c:pt>
                <c:pt idx="17437">
                  <c:v>16310</c:v>
                </c:pt>
                <c:pt idx="17438">
                  <c:v>10242</c:v>
                </c:pt>
                <c:pt idx="17439">
                  <c:v>14067</c:v>
                </c:pt>
                <c:pt idx="17440">
                  <c:v>1036</c:v>
                </c:pt>
                <c:pt idx="17441">
                  <c:v>203</c:v>
                </c:pt>
                <c:pt idx="17442">
                  <c:v>80</c:v>
                </c:pt>
                <c:pt idx="17443">
                  <c:v>666</c:v>
                </c:pt>
                <c:pt idx="17444">
                  <c:v>91</c:v>
                </c:pt>
                <c:pt idx="17445">
                  <c:v>197</c:v>
                </c:pt>
                <c:pt idx="17446">
                  <c:v>199</c:v>
                </c:pt>
                <c:pt idx="17447">
                  <c:v>470</c:v>
                </c:pt>
                <c:pt idx="17448">
                  <c:v>401</c:v>
                </c:pt>
                <c:pt idx="17449">
                  <c:v>732</c:v>
                </c:pt>
                <c:pt idx="17450">
                  <c:v>91</c:v>
                </c:pt>
                <c:pt idx="17451">
                  <c:v>809</c:v>
                </c:pt>
                <c:pt idx="17452">
                  <c:v>896</c:v>
                </c:pt>
                <c:pt idx="17453">
                  <c:v>120</c:v>
                </c:pt>
                <c:pt idx="17454">
                  <c:v>881</c:v>
                </c:pt>
                <c:pt idx="17455">
                  <c:v>242</c:v>
                </c:pt>
                <c:pt idx="17456">
                  <c:v>96</c:v>
                </c:pt>
                <c:pt idx="17457">
                  <c:v>610</c:v>
                </c:pt>
                <c:pt idx="17458">
                  <c:v>447</c:v>
                </c:pt>
                <c:pt idx="17459">
                  <c:v>204</c:v>
                </c:pt>
                <c:pt idx="17460">
                  <c:v>141</c:v>
                </c:pt>
                <c:pt idx="17461">
                  <c:v>436</c:v>
                </c:pt>
                <c:pt idx="17462">
                  <c:v>220</c:v>
                </c:pt>
                <c:pt idx="17463">
                  <c:v>242</c:v>
                </c:pt>
                <c:pt idx="17464">
                  <c:v>112</c:v>
                </c:pt>
                <c:pt idx="17465">
                  <c:v>77</c:v>
                </c:pt>
                <c:pt idx="17466">
                  <c:v>132</c:v>
                </c:pt>
                <c:pt idx="17467">
                  <c:v>467</c:v>
                </c:pt>
                <c:pt idx="17468">
                  <c:v>402</c:v>
                </c:pt>
                <c:pt idx="17469">
                  <c:v>2593</c:v>
                </c:pt>
                <c:pt idx="17470">
                  <c:v>181</c:v>
                </c:pt>
                <c:pt idx="17471">
                  <c:v>35</c:v>
                </c:pt>
                <c:pt idx="17472">
                  <c:v>247</c:v>
                </c:pt>
                <c:pt idx="17473">
                  <c:v>558</c:v>
                </c:pt>
                <c:pt idx="17474">
                  <c:v>104</c:v>
                </c:pt>
                <c:pt idx="17475">
                  <c:v>2207</c:v>
                </c:pt>
                <c:pt idx="17476">
                  <c:v>241</c:v>
                </c:pt>
                <c:pt idx="17477">
                  <c:v>102</c:v>
                </c:pt>
                <c:pt idx="17478">
                  <c:v>98</c:v>
                </c:pt>
                <c:pt idx="17479">
                  <c:v>271</c:v>
                </c:pt>
                <c:pt idx="17480">
                  <c:v>273</c:v>
                </c:pt>
                <c:pt idx="17481">
                  <c:v>103</c:v>
                </c:pt>
                <c:pt idx="17482">
                  <c:v>318</c:v>
                </c:pt>
                <c:pt idx="17483">
                  <c:v>63</c:v>
                </c:pt>
                <c:pt idx="17484">
                  <c:v>99</c:v>
                </c:pt>
                <c:pt idx="17485">
                  <c:v>362</c:v>
                </c:pt>
                <c:pt idx="17486">
                  <c:v>1295</c:v>
                </c:pt>
                <c:pt idx="17487">
                  <c:v>620</c:v>
                </c:pt>
                <c:pt idx="17488">
                  <c:v>387</c:v>
                </c:pt>
                <c:pt idx="17489">
                  <c:v>424</c:v>
                </c:pt>
                <c:pt idx="17490">
                  <c:v>9386</c:v>
                </c:pt>
                <c:pt idx="17491">
                  <c:v>903</c:v>
                </c:pt>
                <c:pt idx="17492">
                  <c:v>316</c:v>
                </c:pt>
                <c:pt idx="17493">
                  <c:v>559</c:v>
                </c:pt>
                <c:pt idx="17494">
                  <c:v>389</c:v>
                </c:pt>
                <c:pt idx="17495">
                  <c:v>488</c:v>
                </c:pt>
                <c:pt idx="17496">
                  <c:v>244</c:v>
                </c:pt>
                <c:pt idx="17497">
                  <c:v>424</c:v>
                </c:pt>
                <c:pt idx="17498">
                  <c:v>179</c:v>
                </c:pt>
                <c:pt idx="17499">
                  <c:v>137</c:v>
                </c:pt>
                <c:pt idx="17500">
                  <c:v>138</c:v>
                </c:pt>
                <c:pt idx="17501">
                  <c:v>233</c:v>
                </c:pt>
                <c:pt idx="17502">
                  <c:v>1647</c:v>
                </c:pt>
                <c:pt idx="17503">
                  <c:v>610</c:v>
                </c:pt>
                <c:pt idx="17504">
                  <c:v>195</c:v>
                </c:pt>
                <c:pt idx="17505">
                  <c:v>229</c:v>
                </c:pt>
                <c:pt idx="17506">
                  <c:v>175</c:v>
                </c:pt>
                <c:pt idx="17507">
                  <c:v>407</c:v>
                </c:pt>
                <c:pt idx="17508">
                  <c:v>502</c:v>
                </c:pt>
                <c:pt idx="17509">
                  <c:v>110</c:v>
                </c:pt>
                <c:pt idx="17510">
                  <c:v>397</c:v>
                </c:pt>
                <c:pt idx="17511">
                  <c:v>121</c:v>
                </c:pt>
                <c:pt idx="17512">
                  <c:v>62</c:v>
                </c:pt>
                <c:pt idx="17513">
                  <c:v>137</c:v>
                </c:pt>
                <c:pt idx="17514">
                  <c:v>561</c:v>
                </c:pt>
                <c:pt idx="17515">
                  <c:v>294</c:v>
                </c:pt>
                <c:pt idx="17516">
                  <c:v>652</c:v>
                </c:pt>
                <c:pt idx="17517">
                  <c:v>7495</c:v>
                </c:pt>
                <c:pt idx="17518">
                  <c:v>403</c:v>
                </c:pt>
                <c:pt idx="17519">
                  <c:v>195</c:v>
                </c:pt>
                <c:pt idx="17520">
                  <c:v>861</c:v>
                </c:pt>
                <c:pt idx="17521">
                  <c:v>699</c:v>
                </c:pt>
                <c:pt idx="17522">
                  <c:v>761</c:v>
                </c:pt>
                <c:pt idx="17523">
                  <c:v>336</c:v>
                </c:pt>
                <c:pt idx="17524">
                  <c:v>986</c:v>
                </c:pt>
                <c:pt idx="17525">
                  <c:v>583</c:v>
                </c:pt>
                <c:pt idx="17526">
                  <c:v>261</c:v>
                </c:pt>
                <c:pt idx="17527">
                  <c:v>1384</c:v>
                </c:pt>
                <c:pt idx="17528">
                  <c:v>139</c:v>
                </c:pt>
                <c:pt idx="17529">
                  <c:v>670</c:v>
                </c:pt>
                <c:pt idx="17530">
                  <c:v>1200</c:v>
                </c:pt>
                <c:pt idx="17531">
                  <c:v>325</c:v>
                </c:pt>
                <c:pt idx="17532">
                  <c:v>224</c:v>
                </c:pt>
                <c:pt idx="17533">
                  <c:v>150</c:v>
                </c:pt>
                <c:pt idx="17534">
                  <c:v>307</c:v>
                </c:pt>
                <c:pt idx="17535">
                  <c:v>364</c:v>
                </c:pt>
                <c:pt idx="17536">
                  <c:v>42</c:v>
                </c:pt>
                <c:pt idx="17537">
                  <c:v>1279</c:v>
                </c:pt>
                <c:pt idx="17538">
                  <c:v>242</c:v>
                </c:pt>
                <c:pt idx="17539">
                  <c:v>514</c:v>
                </c:pt>
                <c:pt idx="17540">
                  <c:v>451</c:v>
                </c:pt>
                <c:pt idx="17541">
                  <c:v>578</c:v>
                </c:pt>
                <c:pt idx="17542">
                  <c:v>653</c:v>
                </c:pt>
                <c:pt idx="17543">
                  <c:v>193</c:v>
                </c:pt>
                <c:pt idx="17544">
                  <c:v>17702</c:v>
                </c:pt>
                <c:pt idx="17545">
                  <c:v>87</c:v>
                </c:pt>
                <c:pt idx="17546">
                  <c:v>109</c:v>
                </c:pt>
                <c:pt idx="17547">
                  <c:v>291</c:v>
                </c:pt>
                <c:pt idx="17548">
                  <c:v>295</c:v>
                </c:pt>
                <c:pt idx="17549">
                  <c:v>51</c:v>
                </c:pt>
                <c:pt idx="17550">
                  <c:v>1022</c:v>
                </c:pt>
                <c:pt idx="17551">
                  <c:v>216</c:v>
                </c:pt>
                <c:pt idx="17552">
                  <c:v>293</c:v>
                </c:pt>
                <c:pt idx="17553">
                  <c:v>108</c:v>
                </c:pt>
                <c:pt idx="17554">
                  <c:v>260</c:v>
                </c:pt>
                <c:pt idx="17555">
                  <c:v>590</c:v>
                </c:pt>
                <c:pt idx="17556">
                  <c:v>534</c:v>
                </c:pt>
                <c:pt idx="17557">
                  <c:v>177</c:v>
                </c:pt>
                <c:pt idx="17558">
                  <c:v>221</c:v>
                </c:pt>
                <c:pt idx="17559">
                  <c:v>903</c:v>
                </c:pt>
                <c:pt idx="17560">
                  <c:v>919</c:v>
                </c:pt>
                <c:pt idx="17561">
                  <c:v>217</c:v>
                </c:pt>
                <c:pt idx="17562">
                  <c:v>251</c:v>
                </c:pt>
                <c:pt idx="17563">
                  <c:v>1079</c:v>
                </c:pt>
                <c:pt idx="17564">
                  <c:v>118</c:v>
                </c:pt>
                <c:pt idx="17565">
                  <c:v>461</c:v>
                </c:pt>
                <c:pt idx="17566">
                  <c:v>87</c:v>
                </c:pt>
                <c:pt idx="17567">
                  <c:v>380</c:v>
                </c:pt>
                <c:pt idx="17568">
                  <c:v>44</c:v>
                </c:pt>
                <c:pt idx="17569">
                  <c:v>167</c:v>
                </c:pt>
                <c:pt idx="17570">
                  <c:v>235</c:v>
                </c:pt>
                <c:pt idx="17571">
                  <c:v>167</c:v>
                </c:pt>
                <c:pt idx="17572">
                  <c:v>1523</c:v>
                </c:pt>
                <c:pt idx="17573">
                  <c:v>261</c:v>
                </c:pt>
                <c:pt idx="17574">
                  <c:v>404</c:v>
                </c:pt>
                <c:pt idx="17575">
                  <c:v>98</c:v>
                </c:pt>
                <c:pt idx="17576">
                  <c:v>48</c:v>
                </c:pt>
                <c:pt idx="17577">
                  <c:v>212</c:v>
                </c:pt>
                <c:pt idx="17578">
                  <c:v>62</c:v>
                </c:pt>
                <c:pt idx="17579">
                  <c:v>340</c:v>
                </c:pt>
                <c:pt idx="17580">
                  <c:v>175</c:v>
                </c:pt>
                <c:pt idx="17581">
                  <c:v>8828</c:v>
                </c:pt>
                <c:pt idx="17582">
                  <c:v>77</c:v>
                </c:pt>
                <c:pt idx="17583">
                  <c:v>47</c:v>
                </c:pt>
                <c:pt idx="17584">
                  <c:v>380</c:v>
                </c:pt>
                <c:pt idx="17585">
                  <c:v>441</c:v>
                </c:pt>
                <c:pt idx="17586">
                  <c:v>88</c:v>
                </c:pt>
                <c:pt idx="17587">
                  <c:v>401</c:v>
                </c:pt>
                <c:pt idx="17588">
                  <c:v>1722</c:v>
                </c:pt>
                <c:pt idx="17589">
                  <c:v>835</c:v>
                </c:pt>
                <c:pt idx="17590">
                  <c:v>88</c:v>
                </c:pt>
                <c:pt idx="17591">
                  <c:v>213</c:v>
                </c:pt>
                <c:pt idx="17592">
                  <c:v>110</c:v>
                </c:pt>
                <c:pt idx="17593">
                  <c:v>128</c:v>
                </c:pt>
                <c:pt idx="17594">
                  <c:v>235</c:v>
                </c:pt>
                <c:pt idx="17595">
                  <c:v>193</c:v>
                </c:pt>
                <c:pt idx="17596">
                  <c:v>390</c:v>
                </c:pt>
                <c:pt idx="17597">
                  <c:v>886</c:v>
                </c:pt>
                <c:pt idx="17598">
                  <c:v>321</c:v>
                </c:pt>
                <c:pt idx="17599">
                  <c:v>883</c:v>
                </c:pt>
                <c:pt idx="17600">
                  <c:v>289</c:v>
                </c:pt>
                <c:pt idx="17601">
                  <c:v>430</c:v>
                </c:pt>
                <c:pt idx="17602">
                  <c:v>460</c:v>
                </c:pt>
                <c:pt idx="17603">
                  <c:v>374</c:v>
                </c:pt>
                <c:pt idx="17604">
                  <c:v>115</c:v>
                </c:pt>
                <c:pt idx="17605">
                  <c:v>433</c:v>
                </c:pt>
                <c:pt idx="17606">
                  <c:v>315</c:v>
                </c:pt>
                <c:pt idx="17607">
                  <c:v>75</c:v>
                </c:pt>
                <c:pt idx="17608">
                  <c:v>384</c:v>
                </c:pt>
                <c:pt idx="17609">
                  <c:v>1944</c:v>
                </c:pt>
                <c:pt idx="17610">
                  <c:v>46</c:v>
                </c:pt>
                <c:pt idx="17611">
                  <c:v>1689</c:v>
                </c:pt>
                <c:pt idx="17612">
                  <c:v>298</c:v>
                </c:pt>
                <c:pt idx="17613">
                  <c:v>40</c:v>
                </c:pt>
                <c:pt idx="17614">
                  <c:v>410</c:v>
                </c:pt>
                <c:pt idx="17615">
                  <c:v>1268</c:v>
                </c:pt>
                <c:pt idx="17616">
                  <c:v>387</c:v>
                </c:pt>
                <c:pt idx="17617">
                  <c:v>196</c:v>
                </c:pt>
                <c:pt idx="17618">
                  <c:v>366</c:v>
                </c:pt>
                <c:pt idx="17619">
                  <c:v>240</c:v>
                </c:pt>
                <c:pt idx="17620">
                  <c:v>941</c:v>
                </c:pt>
                <c:pt idx="17621">
                  <c:v>139</c:v>
                </c:pt>
                <c:pt idx="17622">
                  <c:v>583</c:v>
                </c:pt>
                <c:pt idx="17623">
                  <c:v>175</c:v>
                </c:pt>
                <c:pt idx="17624">
                  <c:v>72</c:v>
                </c:pt>
                <c:pt idx="17625">
                  <c:v>104</c:v>
                </c:pt>
                <c:pt idx="17626">
                  <c:v>212</c:v>
                </c:pt>
                <c:pt idx="17627">
                  <c:v>134</c:v>
                </c:pt>
                <c:pt idx="17628">
                  <c:v>373</c:v>
                </c:pt>
                <c:pt idx="17629">
                  <c:v>89</c:v>
                </c:pt>
                <c:pt idx="17630">
                  <c:v>73</c:v>
                </c:pt>
                <c:pt idx="17631">
                  <c:v>42</c:v>
                </c:pt>
                <c:pt idx="17632">
                  <c:v>22213</c:v>
                </c:pt>
                <c:pt idx="17633">
                  <c:v>16306</c:v>
                </c:pt>
                <c:pt idx="17634">
                  <c:v>8968</c:v>
                </c:pt>
                <c:pt idx="17635">
                  <c:v>147</c:v>
                </c:pt>
                <c:pt idx="17636">
                  <c:v>3684</c:v>
                </c:pt>
                <c:pt idx="17637">
                  <c:v>4208</c:v>
                </c:pt>
                <c:pt idx="17638">
                  <c:v>5864</c:v>
                </c:pt>
                <c:pt idx="17639">
                  <c:v>366</c:v>
                </c:pt>
                <c:pt idx="17640">
                  <c:v>69</c:v>
                </c:pt>
                <c:pt idx="17641">
                  <c:v>121</c:v>
                </c:pt>
                <c:pt idx="17642">
                  <c:v>2551</c:v>
                </c:pt>
                <c:pt idx="17643">
                  <c:v>907</c:v>
                </c:pt>
                <c:pt idx="17644">
                  <c:v>659</c:v>
                </c:pt>
                <c:pt idx="17645">
                  <c:v>876</c:v>
                </c:pt>
                <c:pt idx="17646">
                  <c:v>1027</c:v>
                </c:pt>
                <c:pt idx="17647">
                  <c:v>2183</c:v>
                </c:pt>
                <c:pt idx="17648">
                  <c:v>76</c:v>
                </c:pt>
                <c:pt idx="17649">
                  <c:v>530</c:v>
                </c:pt>
                <c:pt idx="17650">
                  <c:v>1685</c:v>
                </c:pt>
                <c:pt idx="17651">
                  <c:v>446</c:v>
                </c:pt>
                <c:pt idx="17652">
                  <c:v>653</c:v>
                </c:pt>
                <c:pt idx="17653">
                  <c:v>222</c:v>
                </c:pt>
                <c:pt idx="17654">
                  <c:v>187</c:v>
                </c:pt>
                <c:pt idx="17655">
                  <c:v>1915</c:v>
                </c:pt>
                <c:pt idx="17656">
                  <c:v>1453</c:v>
                </c:pt>
                <c:pt idx="17657">
                  <c:v>252</c:v>
                </c:pt>
                <c:pt idx="17658">
                  <c:v>195</c:v>
                </c:pt>
                <c:pt idx="17659">
                  <c:v>9031</c:v>
                </c:pt>
                <c:pt idx="17660">
                  <c:v>5038</c:v>
                </c:pt>
                <c:pt idx="17661">
                  <c:v>429</c:v>
                </c:pt>
                <c:pt idx="17662">
                  <c:v>433</c:v>
                </c:pt>
                <c:pt idx="17663">
                  <c:v>128</c:v>
                </c:pt>
                <c:pt idx="17664">
                  <c:v>946</c:v>
                </c:pt>
                <c:pt idx="17665">
                  <c:v>132</c:v>
                </c:pt>
                <c:pt idx="17666">
                  <c:v>195</c:v>
                </c:pt>
                <c:pt idx="17667">
                  <c:v>494</c:v>
                </c:pt>
                <c:pt idx="17668">
                  <c:v>229</c:v>
                </c:pt>
                <c:pt idx="17669">
                  <c:v>119</c:v>
                </c:pt>
                <c:pt idx="17670">
                  <c:v>234</c:v>
                </c:pt>
                <c:pt idx="17671">
                  <c:v>1572</c:v>
                </c:pt>
                <c:pt idx="17672">
                  <c:v>132</c:v>
                </c:pt>
                <c:pt idx="17673">
                  <c:v>191</c:v>
                </c:pt>
                <c:pt idx="17674">
                  <c:v>135</c:v>
                </c:pt>
                <c:pt idx="17675">
                  <c:v>203</c:v>
                </c:pt>
                <c:pt idx="17676">
                  <c:v>252</c:v>
                </c:pt>
                <c:pt idx="17677">
                  <c:v>647</c:v>
                </c:pt>
                <c:pt idx="17678">
                  <c:v>256</c:v>
                </c:pt>
                <c:pt idx="17679">
                  <c:v>196</c:v>
                </c:pt>
                <c:pt idx="17680">
                  <c:v>330</c:v>
                </c:pt>
                <c:pt idx="17681">
                  <c:v>287</c:v>
                </c:pt>
                <c:pt idx="17682">
                  <c:v>160</c:v>
                </c:pt>
                <c:pt idx="17683">
                  <c:v>164</c:v>
                </c:pt>
                <c:pt idx="17684">
                  <c:v>143</c:v>
                </c:pt>
                <c:pt idx="17685">
                  <c:v>607</c:v>
                </c:pt>
                <c:pt idx="17686">
                  <c:v>685</c:v>
                </c:pt>
                <c:pt idx="17687">
                  <c:v>662</c:v>
                </c:pt>
                <c:pt idx="17688">
                  <c:v>84</c:v>
                </c:pt>
                <c:pt idx="17689">
                  <c:v>996</c:v>
                </c:pt>
                <c:pt idx="17690">
                  <c:v>293</c:v>
                </c:pt>
                <c:pt idx="17691">
                  <c:v>75</c:v>
                </c:pt>
                <c:pt idx="17692">
                  <c:v>2038</c:v>
                </c:pt>
                <c:pt idx="17693">
                  <c:v>246</c:v>
                </c:pt>
                <c:pt idx="17694">
                  <c:v>150</c:v>
                </c:pt>
                <c:pt idx="17695">
                  <c:v>914</c:v>
                </c:pt>
                <c:pt idx="17696">
                  <c:v>275</c:v>
                </c:pt>
                <c:pt idx="17697">
                  <c:v>615</c:v>
                </c:pt>
                <c:pt idx="17698">
                  <c:v>1438</c:v>
                </c:pt>
                <c:pt idx="17699">
                  <c:v>138</c:v>
                </c:pt>
                <c:pt idx="17700">
                  <c:v>60</c:v>
                </c:pt>
                <c:pt idx="17701">
                  <c:v>881</c:v>
                </c:pt>
                <c:pt idx="17702">
                  <c:v>592</c:v>
                </c:pt>
                <c:pt idx="17703">
                  <c:v>134</c:v>
                </c:pt>
                <c:pt idx="17704">
                  <c:v>217</c:v>
                </c:pt>
                <c:pt idx="17705">
                  <c:v>128</c:v>
                </c:pt>
                <c:pt idx="17706">
                  <c:v>212</c:v>
                </c:pt>
                <c:pt idx="17707">
                  <c:v>86</c:v>
                </c:pt>
                <c:pt idx="17708">
                  <c:v>258</c:v>
                </c:pt>
                <c:pt idx="17709">
                  <c:v>4084</c:v>
                </c:pt>
                <c:pt idx="17710">
                  <c:v>4769</c:v>
                </c:pt>
                <c:pt idx="17711">
                  <c:v>375</c:v>
                </c:pt>
                <c:pt idx="17712">
                  <c:v>22950</c:v>
                </c:pt>
                <c:pt idx="17713">
                  <c:v>188</c:v>
                </c:pt>
                <c:pt idx="17714">
                  <c:v>465</c:v>
                </c:pt>
                <c:pt idx="17715">
                  <c:v>18348</c:v>
                </c:pt>
                <c:pt idx="17716">
                  <c:v>28186</c:v>
                </c:pt>
                <c:pt idx="17717">
                  <c:v>26605</c:v>
                </c:pt>
                <c:pt idx="17718">
                  <c:v>23611</c:v>
                </c:pt>
                <c:pt idx="17719">
                  <c:v>9143</c:v>
                </c:pt>
                <c:pt idx="17720">
                  <c:v>138</c:v>
                </c:pt>
                <c:pt idx="17721">
                  <c:v>196</c:v>
                </c:pt>
                <c:pt idx="17722">
                  <c:v>231</c:v>
                </c:pt>
                <c:pt idx="17723">
                  <c:v>352</c:v>
                </c:pt>
                <c:pt idx="17724">
                  <c:v>1085</c:v>
                </c:pt>
                <c:pt idx="17725">
                  <c:v>119</c:v>
                </c:pt>
                <c:pt idx="17726">
                  <c:v>477</c:v>
                </c:pt>
                <c:pt idx="17727">
                  <c:v>319</c:v>
                </c:pt>
                <c:pt idx="17728">
                  <c:v>430</c:v>
                </c:pt>
                <c:pt idx="17729">
                  <c:v>26</c:v>
                </c:pt>
                <c:pt idx="17730">
                  <c:v>374</c:v>
                </c:pt>
                <c:pt idx="17731">
                  <c:v>211</c:v>
                </c:pt>
                <c:pt idx="17732">
                  <c:v>125</c:v>
                </c:pt>
                <c:pt idx="17733">
                  <c:v>241</c:v>
                </c:pt>
                <c:pt idx="17734">
                  <c:v>2517</c:v>
                </c:pt>
                <c:pt idx="17735">
                  <c:v>577</c:v>
                </c:pt>
                <c:pt idx="17736">
                  <c:v>111</c:v>
                </c:pt>
                <c:pt idx="17737">
                  <c:v>246</c:v>
                </c:pt>
                <c:pt idx="17738">
                  <c:v>23</c:v>
                </c:pt>
                <c:pt idx="17739">
                  <c:v>1244</c:v>
                </c:pt>
                <c:pt idx="17740">
                  <c:v>86</c:v>
                </c:pt>
                <c:pt idx="17741">
                  <c:v>982</c:v>
                </c:pt>
                <c:pt idx="17742">
                  <c:v>277</c:v>
                </c:pt>
                <c:pt idx="17743">
                  <c:v>448</c:v>
                </c:pt>
                <c:pt idx="17744">
                  <c:v>1069</c:v>
                </c:pt>
                <c:pt idx="17745">
                  <c:v>94</c:v>
                </c:pt>
                <c:pt idx="17746">
                  <c:v>254</c:v>
                </c:pt>
                <c:pt idx="17747">
                  <c:v>42</c:v>
                </c:pt>
                <c:pt idx="17748">
                  <c:v>694</c:v>
                </c:pt>
                <c:pt idx="17749">
                  <c:v>248</c:v>
                </c:pt>
                <c:pt idx="17750">
                  <c:v>627</c:v>
                </c:pt>
                <c:pt idx="17751">
                  <c:v>100</c:v>
                </c:pt>
                <c:pt idx="17752">
                  <c:v>899</c:v>
                </c:pt>
                <c:pt idx="17753">
                  <c:v>242</c:v>
                </c:pt>
                <c:pt idx="17754">
                  <c:v>99</c:v>
                </c:pt>
                <c:pt idx="17755">
                  <c:v>70</c:v>
                </c:pt>
                <c:pt idx="17756">
                  <c:v>55</c:v>
                </c:pt>
                <c:pt idx="17757">
                  <c:v>494</c:v>
                </c:pt>
                <c:pt idx="17758">
                  <c:v>449</c:v>
                </c:pt>
                <c:pt idx="17759">
                  <c:v>225</c:v>
                </c:pt>
                <c:pt idx="17760">
                  <c:v>80</c:v>
                </c:pt>
                <c:pt idx="17761">
                  <c:v>1074</c:v>
                </c:pt>
                <c:pt idx="17762">
                  <c:v>579</c:v>
                </c:pt>
                <c:pt idx="17763">
                  <c:v>5254</c:v>
                </c:pt>
                <c:pt idx="17764">
                  <c:v>26</c:v>
                </c:pt>
                <c:pt idx="17765">
                  <c:v>2009</c:v>
                </c:pt>
                <c:pt idx="17766">
                  <c:v>76</c:v>
                </c:pt>
                <c:pt idx="17767">
                  <c:v>1978</c:v>
                </c:pt>
                <c:pt idx="17768">
                  <c:v>673</c:v>
                </c:pt>
                <c:pt idx="17769">
                  <c:v>175</c:v>
                </c:pt>
                <c:pt idx="17770">
                  <c:v>859</c:v>
                </c:pt>
                <c:pt idx="17771">
                  <c:v>251</c:v>
                </c:pt>
                <c:pt idx="17772">
                  <c:v>82</c:v>
                </c:pt>
                <c:pt idx="17773">
                  <c:v>114</c:v>
                </c:pt>
                <c:pt idx="17774">
                  <c:v>258</c:v>
                </c:pt>
                <c:pt idx="17775">
                  <c:v>49</c:v>
                </c:pt>
                <c:pt idx="17776">
                  <c:v>1183</c:v>
                </c:pt>
                <c:pt idx="17777">
                  <c:v>432</c:v>
                </c:pt>
                <c:pt idx="17778">
                  <c:v>107</c:v>
                </c:pt>
                <c:pt idx="17779">
                  <c:v>230</c:v>
                </c:pt>
                <c:pt idx="17780">
                  <c:v>284</c:v>
                </c:pt>
                <c:pt idx="17781">
                  <c:v>157</c:v>
                </c:pt>
                <c:pt idx="17782">
                  <c:v>180</c:v>
                </c:pt>
                <c:pt idx="17783">
                  <c:v>39</c:v>
                </c:pt>
                <c:pt idx="17784">
                  <c:v>820</c:v>
                </c:pt>
                <c:pt idx="17785">
                  <c:v>168</c:v>
                </c:pt>
                <c:pt idx="17786">
                  <c:v>144</c:v>
                </c:pt>
                <c:pt idx="17787">
                  <c:v>46</c:v>
                </c:pt>
                <c:pt idx="17788">
                  <c:v>84</c:v>
                </c:pt>
                <c:pt idx="17789">
                  <c:v>375</c:v>
                </c:pt>
                <c:pt idx="17790">
                  <c:v>636</c:v>
                </c:pt>
                <c:pt idx="17791">
                  <c:v>1572</c:v>
                </c:pt>
                <c:pt idx="17792">
                  <c:v>449</c:v>
                </c:pt>
                <c:pt idx="17793">
                  <c:v>327</c:v>
                </c:pt>
                <c:pt idx="17794">
                  <c:v>319</c:v>
                </c:pt>
                <c:pt idx="17795">
                  <c:v>135</c:v>
                </c:pt>
                <c:pt idx="17796">
                  <c:v>149</c:v>
                </c:pt>
                <c:pt idx="17797">
                  <c:v>49</c:v>
                </c:pt>
                <c:pt idx="17798">
                  <c:v>198</c:v>
                </c:pt>
                <c:pt idx="17799">
                  <c:v>73</c:v>
                </c:pt>
                <c:pt idx="17800">
                  <c:v>47</c:v>
                </c:pt>
                <c:pt idx="17801">
                  <c:v>8855</c:v>
                </c:pt>
                <c:pt idx="17802">
                  <c:v>550</c:v>
                </c:pt>
                <c:pt idx="17803">
                  <c:v>156</c:v>
                </c:pt>
                <c:pt idx="17804">
                  <c:v>152</c:v>
                </c:pt>
                <c:pt idx="17805">
                  <c:v>187</c:v>
                </c:pt>
                <c:pt idx="17806">
                  <c:v>1556</c:v>
                </c:pt>
                <c:pt idx="17807">
                  <c:v>41</c:v>
                </c:pt>
                <c:pt idx="17808">
                  <c:v>188</c:v>
                </c:pt>
                <c:pt idx="17809">
                  <c:v>663</c:v>
                </c:pt>
                <c:pt idx="17810">
                  <c:v>87</c:v>
                </c:pt>
                <c:pt idx="17811">
                  <c:v>105</c:v>
                </c:pt>
                <c:pt idx="17812">
                  <c:v>137</c:v>
                </c:pt>
                <c:pt idx="17813">
                  <c:v>582</c:v>
                </c:pt>
                <c:pt idx="17814">
                  <c:v>811</c:v>
                </c:pt>
                <c:pt idx="17815">
                  <c:v>492</c:v>
                </c:pt>
                <c:pt idx="17816">
                  <c:v>159</c:v>
                </c:pt>
                <c:pt idx="17817">
                  <c:v>174</c:v>
                </c:pt>
                <c:pt idx="17818">
                  <c:v>100</c:v>
                </c:pt>
                <c:pt idx="17819">
                  <c:v>183</c:v>
                </c:pt>
                <c:pt idx="17820">
                  <c:v>63</c:v>
                </c:pt>
                <c:pt idx="17821">
                  <c:v>174</c:v>
                </c:pt>
                <c:pt idx="17822">
                  <c:v>198</c:v>
                </c:pt>
                <c:pt idx="17823">
                  <c:v>305</c:v>
                </c:pt>
                <c:pt idx="17824">
                  <c:v>576</c:v>
                </c:pt>
                <c:pt idx="17825">
                  <c:v>79</c:v>
                </c:pt>
                <c:pt idx="17826">
                  <c:v>198</c:v>
                </c:pt>
                <c:pt idx="17827">
                  <c:v>278</c:v>
                </c:pt>
                <c:pt idx="17828">
                  <c:v>97</c:v>
                </c:pt>
                <c:pt idx="17829">
                  <c:v>213</c:v>
                </c:pt>
                <c:pt idx="17830">
                  <c:v>335</c:v>
                </c:pt>
                <c:pt idx="17831">
                  <c:v>194</c:v>
                </c:pt>
                <c:pt idx="17832">
                  <c:v>1356</c:v>
                </c:pt>
                <c:pt idx="17833">
                  <c:v>56</c:v>
                </c:pt>
                <c:pt idx="17834">
                  <c:v>241</c:v>
                </c:pt>
                <c:pt idx="17835">
                  <c:v>80</c:v>
                </c:pt>
                <c:pt idx="17836">
                  <c:v>105</c:v>
                </c:pt>
                <c:pt idx="17837">
                  <c:v>100</c:v>
                </c:pt>
                <c:pt idx="17838">
                  <c:v>163</c:v>
                </c:pt>
                <c:pt idx="17839">
                  <c:v>458</c:v>
                </c:pt>
                <c:pt idx="17840">
                  <c:v>160</c:v>
                </c:pt>
                <c:pt idx="17841">
                  <c:v>100</c:v>
                </c:pt>
                <c:pt idx="17842">
                  <c:v>169</c:v>
                </c:pt>
                <c:pt idx="17843">
                  <c:v>110</c:v>
                </c:pt>
                <c:pt idx="17844">
                  <c:v>254</c:v>
                </c:pt>
                <c:pt idx="17845">
                  <c:v>187</c:v>
                </c:pt>
                <c:pt idx="17846">
                  <c:v>612</c:v>
                </c:pt>
                <c:pt idx="17847">
                  <c:v>111</c:v>
                </c:pt>
                <c:pt idx="17848">
                  <c:v>77</c:v>
                </c:pt>
                <c:pt idx="17849">
                  <c:v>14651</c:v>
                </c:pt>
                <c:pt idx="17850">
                  <c:v>18843</c:v>
                </c:pt>
                <c:pt idx="17851">
                  <c:v>15103</c:v>
                </c:pt>
                <c:pt idx="17852">
                  <c:v>420</c:v>
                </c:pt>
                <c:pt idx="17853">
                  <c:v>1689</c:v>
                </c:pt>
                <c:pt idx="17854">
                  <c:v>36</c:v>
                </c:pt>
                <c:pt idx="17855">
                  <c:v>95</c:v>
                </c:pt>
                <c:pt idx="17856">
                  <c:v>299</c:v>
                </c:pt>
                <c:pt idx="17857">
                  <c:v>472</c:v>
                </c:pt>
                <c:pt idx="17858">
                  <c:v>85</c:v>
                </c:pt>
                <c:pt idx="17859">
                  <c:v>116</c:v>
                </c:pt>
                <c:pt idx="17860">
                  <c:v>464</c:v>
                </c:pt>
                <c:pt idx="17861">
                  <c:v>190</c:v>
                </c:pt>
                <c:pt idx="17862">
                  <c:v>609</c:v>
                </c:pt>
                <c:pt idx="17863">
                  <c:v>1202</c:v>
                </c:pt>
                <c:pt idx="17864">
                  <c:v>242</c:v>
                </c:pt>
                <c:pt idx="17865">
                  <c:v>96</c:v>
                </c:pt>
                <c:pt idx="17866">
                  <c:v>252</c:v>
                </c:pt>
                <c:pt idx="17867">
                  <c:v>1642</c:v>
                </c:pt>
                <c:pt idx="17868">
                  <c:v>135</c:v>
                </c:pt>
                <c:pt idx="17869">
                  <c:v>707</c:v>
                </c:pt>
                <c:pt idx="17870">
                  <c:v>15708</c:v>
                </c:pt>
                <c:pt idx="17871">
                  <c:v>596</c:v>
                </c:pt>
                <c:pt idx="17872">
                  <c:v>136</c:v>
                </c:pt>
                <c:pt idx="17873">
                  <c:v>127</c:v>
                </c:pt>
                <c:pt idx="17874">
                  <c:v>518</c:v>
                </c:pt>
                <c:pt idx="17875">
                  <c:v>194</c:v>
                </c:pt>
                <c:pt idx="17876">
                  <c:v>1054</c:v>
                </c:pt>
                <c:pt idx="17877">
                  <c:v>91</c:v>
                </c:pt>
                <c:pt idx="17878">
                  <c:v>252</c:v>
                </c:pt>
                <c:pt idx="17879">
                  <c:v>232</c:v>
                </c:pt>
                <c:pt idx="17880">
                  <c:v>235</c:v>
                </c:pt>
                <c:pt idx="17881">
                  <c:v>140</c:v>
                </c:pt>
                <c:pt idx="17882">
                  <c:v>296</c:v>
                </c:pt>
                <c:pt idx="17883">
                  <c:v>380</c:v>
                </c:pt>
                <c:pt idx="17884">
                  <c:v>557</c:v>
                </c:pt>
                <c:pt idx="17885">
                  <c:v>1004</c:v>
                </c:pt>
                <c:pt idx="17886">
                  <c:v>589</c:v>
                </c:pt>
                <c:pt idx="17887">
                  <c:v>90</c:v>
                </c:pt>
                <c:pt idx="17888">
                  <c:v>138</c:v>
                </c:pt>
                <c:pt idx="17889">
                  <c:v>14386</c:v>
                </c:pt>
                <c:pt idx="17890">
                  <c:v>68</c:v>
                </c:pt>
                <c:pt idx="17891">
                  <c:v>722</c:v>
                </c:pt>
                <c:pt idx="17892">
                  <c:v>753</c:v>
                </c:pt>
                <c:pt idx="17893">
                  <c:v>985</c:v>
                </c:pt>
                <c:pt idx="17894">
                  <c:v>89</c:v>
                </c:pt>
                <c:pt idx="17895">
                  <c:v>234</c:v>
                </c:pt>
                <c:pt idx="17896">
                  <c:v>310</c:v>
                </c:pt>
                <c:pt idx="17897">
                  <c:v>418</c:v>
                </c:pt>
                <c:pt idx="17898">
                  <c:v>125</c:v>
                </c:pt>
                <c:pt idx="17899">
                  <c:v>193</c:v>
                </c:pt>
                <c:pt idx="17900">
                  <c:v>438</c:v>
                </c:pt>
                <c:pt idx="17901">
                  <c:v>394</c:v>
                </c:pt>
                <c:pt idx="17902">
                  <c:v>904</c:v>
                </c:pt>
                <c:pt idx="17903">
                  <c:v>594</c:v>
                </c:pt>
                <c:pt idx="17904">
                  <c:v>31</c:v>
                </c:pt>
                <c:pt idx="17905">
                  <c:v>118</c:v>
                </c:pt>
                <c:pt idx="17906">
                  <c:v>66</c:v>
                </c:pt>
                <c:pt idx="17907">
                  <c:v>489</c:v>
                </c:pt>
                <c:pt idx="17908">
                  <c:v>508</c:v>
                </c:pt>
                <c:pt idx="17909">
                  <c:v>128</c:v>
                </c:pt>
                <c:pt idx="17910">
                  <c:v>212</c:v>
                </c:pt>
                <c:pt idx="17911">
                  <c:v>256</c:v>
                </c:pt>
                <c:pt idx="17912">
                  <c:v>636</c:v>
                </c:pt>
                <c:pt idx="17913">
                  <c:v>369</c:v>
                </c:pt>
                <c:pt idx="17914">
                  <c:v>95</c:v>
                </c:pt>
                <c:pt idx="17915">
                  <c:v>397</c:v>
                </c:pt>
                <c:pt idx="17916">
                  <c:v>184</c:v>
                </c:pt>
                <c:pt idx="17917">
                  <c:v>17972</c:v>
                </c:pt>
                <c:pt idx="17918">
                  <c:v>12644</c:v>
                </c:pt>
                <c:pt idx="17919">
                  <c:v>276</c:v>
                </c:pt>
                <c:pt idx="17920">
                  <c:v>67</c:v>
                </c:pt>
                <c:pt idx="17921">
                  <c:v>25</c:v>
                </c:pt>
                <c:pt idx="17922">
                  <c:v>569</c:v>
                </c:pt>
                <c:pt idx="17923">
                  <c:v>292</c:v>
                </c:pt>
                <c:pt idx="17924">
                  <c:v>886</c:v>
                </c:pt>
                <c:pt idx="17925">
                  <c:v>96</c:v>
                </c:pt>
                <c:pt idx="17926">
                  <c:v>253</c:v>
                </c:pt>
                <c:pt idx="17927">
                  <c:v>58</c:v>
                </c:pt>
                <c:pt idx="17928">
                  <c:v>554</c:v>
                </c:pt>
                <c:pt idx="17929">
                  <c:v>202</c:v>
                </c:pt>
                <c:pt idx="17930">
                  <c:v>226</c:v>
                </c:pt>
                <c:pt idx="17931">
                  <c:v>94</c:v>
                </c:pt>
                <c:pt idx="17932">
                  <c:v>191</c:v>
                </c:pt>
                <c:pt idx="17933">
                  <c:v>205</c:v>
                </c:pt>
                <c:pt idx="17934">
                  <c:v>74</c:v>
                </c:pt>
                <c:pt idx="17935">
                  <c:v>380</c:v>
                </c:pt>
                <c:pt idx="17936">
                  <c:v>383</c:v>
                </c:pt>
                <c:pt idx="17937">
                  <c:v>41</c:v>
                </c:pt>
                <c:pt idx="17938">
                  <c:v>648</c:v>
                </c:pt>
                <c:pt idx="17939">
                  <c:v>167</c:v>
                </c:pt>
                <c:pt idx="17940">
                  <c:v>148</c:v>
                </c:pt>
                <c:pt idx="17941">
                  <c:v>305</c:v>
                </c:pt>
                <c:pt idx="17942">
                  <c:v>121</c:v>
                </c:pt>
                <c:pt idx="17943">
                  <c:v>347</c:v>
                </c:pt>
                <c:pt idx="17944">
                  <c:v>132</c:v>
                </c:pt>
                <c:pt idx="17945">
                  <c:v>406</c:v>
                </c:pt>
                <c:pt idx="17946">
                  <c:v>66</c:v>
                </c:pt>
                <c:pt idx="17947">
                  <c:v>1606</c:v>
                </c:pt>
                <c:pt idx="17948">
                  <c:v>132</c:v>
                </c:pt>
                <c:pt idx="17949">
                  <c:v>135</c:v>
                </c:pt>
                <c:pt idx="17950">
                  <c:v>123</c:v>
                </c:pt>
                <c:pt idx="17951">
                  <c:v>675</c:v>
                </c:pt>
                <c:pt idx="17952">
                  <c:v>231</c:v>
                </c:pt>
                <c:pt idx="17953">
                  <c:v>65</c:v>
                </c:pt>
                <c:pt idx="17954">
                  <c:v>462</c:v>
                </c:pt>
                <c:pt idx="17955">
                  <c:v>202</c:v>
                </c:pt>
                <c:pt idx="17956">
                  <c:v>291</c:v>
                </c:pt>
                <c:pt idx="17957">
                  <c:v>241</c:v>
                </c:pt>
                <c:pt idx="17958">
                  <c:v>209</c:v>
                </c:pt>
                <c:pt idx="17959">
                  <c:v>1383</c:v>
                </c:pt>
                <c:pt idx="17960">
                  <c:v>683</c:v>
                </c:pt>
                <c:pt idx="17961">
                  <c:v>50</c:v>
                </c:pt>
                <c:pt idx="17962">
                  <c:v>418</c:v>
                </c:pt>
                <c:pt idx="17963">
                  <c:v>146</c:v>
                </c:pt>
                <c:pt idx="17964">
                  <c:v>765</c:v>
                </c:pt>
                <c:pt idx="17965">
                  <c:v>100</c:v>
                </c:pt>
                <c:pt idx="17966">
                  <c:v>210</c:v>
                </c:pt>
                <c:pt idx="17967">
                  <c:v>82</c:v>
                </c:pt>
                <c:pt idx="17968">
                  <c:v>17462</c:v>
                </c:pt>
                <c:pt idx="17969">
                  <c:v>94</c:v>
                </c:pt>
                <c:pt idx="17970">
                  <c:v>648</c:v>
                </c:pt>
                <c:pt idx="17971">
                  <c:v>157</c:v>
                </c:pt>
                <c:pt idx="17972">
                  <c:v>421</c:v>
                </c:pt>
                <c:pt idx="17973">
                  <c:v>137</c:v>
                </c:pt>
                <c:pt idx="17974">
                  <c:v>338</c:v>
                </c:pt>
                <c:pt idx="17975">
                  <c:v>309</c:v>
                </c:pt>
                <c:pt idx="17976">
                  <c:v>575</c:v>
                </c:pt>
                <c:pt idx="17977">
                  <c:v>807</c:v>
                </c:pt>
                <c:pt idx="17978">
                  <c:v>256</c:v>
                </c:pt>
                <c:pt idx="17979">
                  <c:v>4395</c:v>
                </c:pt>
                <c:pt idx="17980">
                  <c:v>667</c:v>
                </c:pt>
                <c:pt idx="17981">
                  <c:v>496</c:v>
                </c:pt>
                <c:pt idx="17982">
                  <c:v>436</c:v>
                </c:pt>
                <c:pt idx="17983">
                  <c:v>101</c:v>
                </c:pt>
                <c:pt idx="17984">
                  <c:v>202</c:v>
                </c:pt>
                <c:pt idx="17985">
                  <c:v>118</c:v>
                </c:pt>
                <c:pt idx="17986">
                  <c:v>1418</c:v>
                </c:pt>
                <c:pt idx="17987">
                  <c:v>38</c:v>
                </c:pt>
                <c:pt idx="17988">
                  <c:v>747</c:v>
                </c:pt>
                <c:pt idx="17989">
                  <c:v>184</c:v>
                </c:pt>
                <c:pt idx="17990">
                  <c:v>340</c:v>
                </c:pt>
                <c:pt idx="17991">
                  <c:v>256</c:v>
                </c:pt>
                <c:pt idx="17992">
                  <c:v>1999</c:v>
                </c:pt>
                <c:pt idx="17993">
                  <c:v>416</c:v>
                </c:pt>
                <c:pt idx="17994">
                  <c:v>145</c:v>
                </c:pt>
                <c:pt idx="17995">
                  <c:v>55</c:v>
                </c:pt>
                <c:pt idx="17996">
                  <c:v>332</c:v>
                </c:pt>
                <c:pt idx="17997">
                  <c:v>211</c:v>
                </c:pt>
                <c:pt idx="17998">
                  <c:v>406</c:v>
                </c:pt>
                <c:pt idx="17999">
                  <c:v>851</c:v>
                </c:pt>
                <c:pt idx="18000">
                  <c:v>141</c:v>
                </c:pt>
                <c:pt idx="18001">
                  <c:v>232</c:v>
                </c:pt>
                <c:pt idx="18002">
                  <c:v>2271</c:v>
                </c:pt>
                <c:pt idx="18003">
                  <c:v>545</c:v>
                </c:pt>
                <c:pt idx="18004">
                  <c:v>1140</c:v>
                </c:pt>
                <c:pt idx="18005">
                  <c:v>285</c:v>
                </c:pt>
                <c:pt idx="18006">
                  <c:v>1100</c:v>
                </c:pt>
                <c:pt idx="18007">
                  <c:v>797</c:v>
                </c:pt>
                <c:pt idx="18008">
                  <c:v>6507</c:v>
                </c:pt>
                <c:pt idx="18009">
                  <c:v>242</c:v>
                </c:pt>
                <c:pt idx="18010">
                  <c:v>6577</c:v>
                </c:pt>
                <c:pt idx="18011">
                  <c:v>542</c:v>
                </c:pt>
                <c:pt idx="18012">
                  <c:v>74</c:v>
                </c:pt>
                <c:pt idx="18013">
                  <c:v>129</c:v>
                </c:pt>
                <c:pt idx="18014">
                  <c:v>65</c:v>
                </c:pt>
                <c:pt idx="18015">
                  <c:v>324</c:v>
                </c:pt>
                <c:pt idx="18016">
                  <c:v>45</c:v>
                </c:pt>
                <c:pt idx="18017">
                  <c:v>64</c:v>
                </c:pt>
                <c:pt idx="18018">
                  <c:v>933</c:v>
                </c:pt>
                <c:pt idx="18019">
                  <c:v>188</c:v>
                </c:pt>
                <c:pt idx="18020">
                  <c:v>118</c:v>
                </c:pt>
                <c:pt idx="18021">
                  <c:v>1520</c:v>
                </c:pt>
                <c:pt idx="18022">
                  <c:v>254</c:v>
                </c:pt>
                <c:pt idx="18023">
                  <c:v>578</c:v>
                </c:pt>
                <c:pt idx="18024">
                  <c:v>1740</c:v>
                </c:pt>
                <c:pt idx="18025">
                  <c:v>168</c:v>
                </c:pt>
                <c:pt idx="18026">
                  <c:v>79</c:v>
                </c:pt>
                <c:pt idx="18027">
                  <c:v>1595</c:v>
                </c:pt>
                <c:pt idx="18028">
                  <c:v>407</c:v>
                </c:pt>
                <c:pt idx="18029">
                  <c:v>212</c:v>
                </c:pt>
                <c:pt idx="18030">
                  <c:v>559</c:v>
                </c:pt>
                <c:pt idx="18031">
                  <c:v>154</c:v>
                </c:pt>
                <c:pt idx="18032">
                  <c:v>19555</c:v>
                </c:pt>
                <c:pt idx="18033">
                  <c:v>24469</c:v>
                </c:pt>
                <c:pt idx="18034">
                  <c:v>16852</c:v>
                </c:pt>
                <c:pt idx="18035">
                  <c:v>9557</c:v>
                </c:pt>
                <c:pt idx="18036">
                  <c:v>1916</c:v>
                </c:pt>
                <c:pt idx="18037">
                  <c:v>207</c:v>
                </c:pt>
                <c:pt idx="18038">
                  <c:v>178</c:v>
                </c:pt>
                <c:pt idx="18039">
                  <c:v>533</c:v>
                </c:pt>
                <c:pt idx="18040">
                  <c:v>514</c:v>
                </c:pt>
                <c:pt idx="18041">
                  <c:v>129</c:v>
                </c:pt>
                <c:pt idx="18042">
                  <c:v>909</c:v>
                </c:pt>
                <c:pt idx="18043">
                  <c:v>94</c:v>
                </c:pt>
                <c:pt idx="18044">
                  <c:v>189</c:v>
                </c:pt>
                <c:pt idx="18045">
                  <c:v>212</c:v>
                </c:pt>
                <c:pt idx="18046">
                  <c:v>2202</c:v>
                </c:pt>
                <c:pt idx="18047">
                  <c:v>245</c:v>
                </c:pt>
                <c:pt idx="18048">
                  <c:v>152</c:v>
                </c:pt>
                <c:pt idx="18049">
                  <c:v>39</c:v>
                </c:pt>
                <c:pt idx="18050">
                  <c:v>157</c:v>
                </c:pt>
                <c:pt idx="18051">
                  <c:v>342</c:v>
                </c:pt>
                <c:pt idx="18052">
                  <c:v>915</c:v>
                </c:pt>
                <c:pt idx="18053">
                  <c:v>843</c:v>
                </c:pt>
                <c:pt idx="18054">
                  <c:v>78</c:v>
                </c:pt>
                <c:pt idx="18055">
                  <c:v>150</c:v>
                </c:pt>
                <c:pt idx="18056">
                  <c:v>52</c:v>
                </c:pt>
                <c:pt idx="18057">
                  <c:v>247</c:v>
                </c:pt>
                <c:pt idx="18058">
                  <c:v>311</c:v>
                </c:pt>
                <c:pt idx="18059">
                  <c:v>674</c:v>
                </c:pt>
                <c:pt idx="18060">
                  <c:v>4182</c:v>
                </c:pt>
                <c:pt idx="18061">
                  <c:v>184</c:v>
                </c:pt>
                <c:pt idx="18062">
                  <c:v>229</c:v>
                </c:pt>
                <c:pt idx="18063">
                  <c:v>5911</c:v>
                </c:pt>
                <c:pt idx="18064">
                  <c:v>1252</c:v>
                </c:pt>
                <c:pt idx="18065">
                  <c:v>48</c:v>
                </c:pt>
                <c:pt idx="18066">
                  <c:v>550</c:v>
                </c:pt>
                <c:pt idx="18067">
                  <c:v>53</c:v>
                </c:pt>
                <c:pt idx="18068">
                  <c:v>1206</c:v>
                </c:pt>
                <c:pt idx="18069">
                  <c:v>387</c:v>
                </c:pt>
                <c:pt idx="18070">
                  <c:v>104</c:v>
                </c:pt>
                <c:pt idx="18071">
                  <c:v>955</c:v>
                </c:pt>
                <c:pt idx="18072">
                  <c:v>4329</c:v>
                </c:pt>
                <c:pt idx="18073">
                  <c:v>130</c:v>
                </c:pt>
                <c:pt idx="18074">
                  <c:v>414</c:v>
                </c:pt>
                <c:pt idx="18075">
                  <c:v>112</c:v>
                </c:pt>
                <c:pt idx="18076">
                  <c:v>61</c:v>
                </c:pt>
                <c:pt idx="18077">
                  <c:v>339</c:v>
                </c:pt>
                <c:pt idx="18078">
                  <c:v>46</c:v>
                </c:pt>
                <c:pt idx="18079">
                  <c:v>173</c:v>
                </c:pt>
                <c:pt idx="18080">
                  <c:v>455</c:v>
                </c:pt>
                <c:pt idx="18081">
                  <c:v>491</c:v>
                </c:pt>
                <c:pt idx="18082">
                  <c:v>6657</c:v>
                </c:pt>
                <c:pt idx="18083">
                  <c:v>14229</c:v>
                </c:pt>
                <c:pt idx="18084">
                  <c:v>15368</c:v>
                </c:pt>
                <c:pt idx="18085">
                  <c:v>203</c:v>
                </c:pt>
                <c:pt idx="18086">
                  <c:v>683</c:v>
                </c:pt>
                <c:pt idx="18087">
                  <c:v>302</c:v>
                </c:pt>
                <c:pt idx="18088">
                  <c:v>210</c:v>
                </c:pt>
                <c:pt idx="18089">
                  <c:v>2808</c:v>
                </c:pt>
                <c:pt idx="18090">
                  <c:v>33</c:v>
                </c:pt>
                <c:pt idx="18091">
                  <c:v>47</c:v>
                </c:pt>
                <c:pt idx="18092">
                  <c:v>94</c:v>
                </c:pt>
                <c:pt idx="18093">
                  <c:v>757</c:v>
                </c:pt>
                <c:pt idx="18094">
                  <c:v>1208</c:v>
                </c:pt>
                <c:pt idx="18095">
                  <c:v>1703</c:v>
                </c:pt>
                <c:pt idx="18096">
                  <c:v>1821</c:v>
                </c:pt>
                <c:pt idx="18097">
                  <c:v>330</c:v>
                </c:pt>
                <c:pt idx="18098">
                  <c:v>68</c:v>
                </c:pt>
                <c:pt idx="18099">
                  <c:v>231</c:v>
                </c:pt>
                <c:pt idx="18100">
                  <c:v>219</c:v>
                </c:pt>
                <c:pt idx="18101">
                  <c:v>700</c:v>
                </c:pt>
                <c:pt idx="18102">
                  <c:v>91</c:v>
                </c:pt>
                <c:pt idx="18103">
                  <c:v>1602</c:v>
                </c:pt>
                <c:pt idx="18104">
                  <c:v>956</c:v>
                </c:pt>
                <c:pt idx="18105">
                  <c:v>119</c:v>
                </c:pt>
                <c:pt idx="18106">
                  <c:v>760</c:v>
                </c:pt>
                <c:pt idx="18107">
                  <c:v>288</c:v>
                </c:pt>
                <c:pt idx="18108">
                  <c:v>121</c:v>
                </c:pt>
                <c:pt idx="18109">
                  <c:v>280</c:v>
                </c:pt>
                <c:pt idx="18110">
                  <c:v>129</c:v>
                </c:pt>
                <c:pt idx="18111">
                  <c:v>220</c:v>
                </c:pt>
                <c:pt idx="18112">
                  <c:v>312</c:v>
                </c:pt>
                <c:pt idx="18113">
                  <c:v>238</c:v>
                </c:pt>
                <c:pt idx="18114">
                  <c:v>106</c:v>
                </c:pt>
                <c:pt idx="18115">
                  <c:v>61</c:v>
                </c:pt>
                <c:pt idx="18116">
                  <c:v>4560</c:v>
                </c:pt>
                <c:pt idx="18117">
                  <c:v>61</c:v>
                </c:pt>
                <c:pt idx="18118">
                  <c:v>214</c:v>
                </c:pt>
                <c:pt idx="18119">
                  <c:v>64</c:v>
                </c:pt>
                <c:pt idx="18120">
                  <c:v>51</c:v>
                </c:pt>
                <c:pt idx="18121">
                  <c:v>245</c:v>
                </c:pt>
                <c:pt idx="18122">
                  <c:v>58</c:v>
                </c:pt>
                <c:pt idx="18123">
                  <c:v>188</c:v>
                </c:pt>
                <c:pt idx="18124">
                  <c:v>279</c:v>
                </c:pt>
                <c:pt idx="18125">
                  <c:v>1523</c:v>
                </c:pt>
                <c:pt idx="18126">
                  <c:v>130</c:v>
                </c:pt>
                <c:pt idx="18127">
                  <c:v>300</c:v>
                </c:pt>
                <c:pt idx="18128">
                  <c:v>176</c:v>
                </c:pt>
                <c:pt idx="18129">
                  <c:v>359</c:v>
                </c:pt>
                <c:pt idx="18130">
                  <c:v>185</c:v>
                </c:pt>
                <c:pt idx="18131">
                  <c:v>54</c:v>
                </c:pt>
                <c:pt idx="18132">
                  <c:v>322</c:v>
                </c:pt>
                <c:pt idx="18133">
                  <c:v>504</c:v>
                </c:pt>
                <c:pt idx="18134">
                  <c:v>630</c:v>
                </c:pt>
                <c:pt idx="18135">
                  <c:v>5902</c:v>
                </c:pt>
                <c:pt idx="18136">
                  <c:v>564</c:v>
                </c:pt>
                <c:pt idx="18137">
                  <c:v>1137</c:v>
                </c:pt>
                <c:pt idx="18138">
                  <c:v>526</c:v>
                </c:pt>
                <c:pt idx="18139">
                  <c:v>1046</c:v>
                </c:pt>
                <c:pt idx="18140">
                  <c:v>247</c:v>
                </c:pt>
                <c:pt idx="18141">
                  <c:v>89</c:v>
                </c:pt>
                <c:pt idx="18142">
                  <c:v>726</c:v>
                </c:pt>
                <c:pt idx="18143">
                  <c:v>346</c:v>
                </c:pt>
                <c:pt idx="18144">
                  <c:v>84</c:v>
                </c:pt>
                <c:pt idx="18145">
                  <c:v>192</c:v>
                </c:pt>
                <c:pt idx="18146">
                  <c:v>86</c:v>
                </c:pt>
                <c:pt idx="18147">
                  <c:v>1209</c:v>
                </c:pt>
                <c:pt idx="18148">
                  <c:v>223</c:v>
                </c:pt>
                <c:pt idx="18149">
                  <c:v>148</c:v>
                </c:pt>
                <c:pt idx="18150">
                  <c:v>93</c:v>
                </c:pt>
                <c:pt idx="18151">
                  <c:v>49</c:v>
                </c:pt>
                <c:pt idx="18152">
                  <c:v>16194</c:v>
                </c:pt>
                <c:pt idx="18153">
                  <c:v>14266</c:v>
                </c:pt>
                <c:pt idx="18154">
                  <c:v>181</c:v>
                </c:pt>
                <c:pt idx="18155">
                  <c:v>937</c:v>
                </c:pt>
                <c:pt idx="18156">
                  <c:v>137</c:v>
                </c:pt>
                <c:pt idx="18157">
                  <c:v>2506</c:v>
                </c:pt>
                <c:pt idx="18158">
                  <c:v>4048</c:v>
                </c:pt>
                <c:pt idx="18159">
                  <c:v>150</c:v>
                </c:pt>
                <c:pt idx="18160">
                  <c:v>555</c:v>
                </c:pt>
                <c:pt idx="18161">
                  <c:v>55</c:v>
                </c:pt>
                <c:pt idx="18162">
                  <c:v>247</c:v>
                </c:pt>
                <c:pt idx="18163">
                  <c:v>2119</c:v>
                </c:pt>
                <c:pt idx="18164">
                  <c:v>788</c:v>
                </c:pt>
                <c:pt idx="18165">
                  <c:v>157</c:v>
                </c:pt>
                <c:pt idx="18166">
                  <c:v>179</c:v>
                </c:pt>
                <c:pt idx="18167">
                  <c:v>15223</c:v>
                </c:pt>
                <c:pt idx="18168">
                  <c:v>142</c:v>
                </c:pt>
                <c:pt idx="18169">
                  <c:v>4181</c:v>
                </c:pt>
                <c:pt idx="18170">
                  <c:v>12712</c:v>
                </c:pt>
                <c:pt idx="18171">
                  <c:v>20975</c:v>
                </c:pt>
                <c:pt idx="18172">
                  <c:v>1776</c:v>
                </c:pt>
                <c:pt idx="18173">
                  <c:v>24254</c:v>
                </c:pt>
                <c:pt idx="18174">
                  <c:v>202</c:v>
                </c:pt>
                <c:pt idx="18175">
                  <c:v>1755</c:v>
                </c:pt>
                <c:pt idx="18176">
                  <c:v>3709</c:v>
                </c:pt>
                <c:pt idx="18177">
                  <c:v>155</c:v>
                </c:pt>
                <c:pt idx="18178">
                  <c:v>166</c:v>
                </c:pt>
                <c:pt idx="18179">
                  <c:v>819</c:v>
                </c:pt>
                <c:pt idx="18180">
                  <c:v>972</c:v>
                </c:pt>
                <c:pt idx="18181">
                  <c:v>41</c:v>
                </c:pt>
                <c:pt idx="18182">
                  <c:v>157</c:v>
                </c:pt>
                <c:pt idx="18183">
                  <c:v>100</c:v>
                </c:pt>
                <c:pt idx="18184">
                  <c:v>115</c:v>
                </c:pt>
                <c:pt idx="18185">
                  <c:v>77</c:v>
                </c:pt>
                <c:pt idx="18186">
                  <c:v>118</c:v>
                </c:pt>
                <c:pt idx="18187">
                  <c:v>213</c:v>
                </c:pt>
                <c:pt idx="18188">
                  <c:v>2634</c:v>
                </c:pt>
                <c:pt idx="18189">
                  <c:v>82</c:v>
                </c:pt>
                <c:pt idx="18190">
                  <c:v>30</c:v>
                </c:pt>
                <c:pt idx="18191">
                  <c:v>89</c:v>
                </c:pt>
                <c:pt idx="18192">
                  <c:v>172</c:v>
                </c:pt>
                <c:pt idx="18193">
                  <c:v>902</c:v>
                </c:pt>
                <c:pt idx="18194">
                  <c:v>279</c:v>
                </c:pt>
                <c:pt idx="18195">
                  <c:v>93</c:v>
                </c:pt>
                <c:pt idx="18196">
                  <c:v>2169</c:v>
                </c:pt>
                <c:pt idx="18197">
                  <c:v>456</c:v>
                </c:pt>
                <c:pt idx="18198">
                  <c:v>68</c:v>
                </c:pt>
                <c:pt idx="18199">
                  <c:v>824</c:v>
                </c:pt>
                <c:pt idx="18200">
                  <c:v>1496</c:v>
                </c:pt>
                <c:pt idx="18201">
                  <c:v>119</c:v>
                </c:pt>
                <c:pt idx="18202">
                  <c:v>195</c:v>
                </c:pt>
                <c:pt idx="18203">
                  <c:v>59</c:v>
                </c:pt>
                <c:pt idx="18204">
                  <c:v>18460</c:v>
                </c:pt>
                <c:pt idx="18205">
                  <c:v>11457</c:v>
                </c:pt>
                <c:pt idx="18206">
                  <c:v>8862</c:v>
                </c:pt>
                <c:pt idx="18207">
                  <c:v>3829</c:v>
                </c:pt>
                <c:pt idx="18208">
                  <c:v>12238</c:v>
                </c:pt>
                <c:pt idx="18209">
                  <c:v>843</c:v>
                </c:pt>
                <c:pt idx="18210">
                  <c:v>1132</c:v>
                </c:pt>
                <c:pt idx="18211">
                  <c:v>1006</c:v>
                </c:pt>
                <c:pt idx="18212">
                  <c:v>673</c:v>
                </c:pt>
                <c:pt idx="18213">
                  <c:v>1188</c:v>
                </c:pt>
                <c:pt idx="18214">
                  <c:v>149</c:v>
                </c:pt>
                <c:pt idx="18215">
                  <c:v>64</c:v>
                </c:pt>
                <c:pt idx="18216">
                  <c:v>2766</c:v>
                </c:pt>
                <c:pt idx="18217">
                  <c:v>812</c:v>
                </c:pt>
                <c:pt idx="18218">
                  <c:v>224</c:v>
                </c:pt>
                <c:pt idx="18219">
                  <c:v>340</c:v>
                </c:pt>
                <c:pt idx="18220">
                  <c:v>2346</c:v>
                </c:pt>
                <c:pt idx="18221">
                  <c:v>1180</c:v>
                </c:pt>
                <c:pt idx="18222">
                  <c:v>194</c:v>
                </c:pt>
                <c:pt idx="18223">
                  <c:v>5923</c:v>
                </c:pt>
                <c:pt idx="18224">
                  <c:v>380</c:v>
                </c:pt>
                <c:pt idx="18225">
                  <c:v>134</c:v>
                </c:pt>
                <c:pt idx="18226">
                  <c:v>174</c:v>
                </c:pt>
                <c:pt idx="18227">
                  <c:v>402</c:v>
                </c:pt>
                <c:pt idx="18228">
                  <c:v>492</c:v>
                </c:pt>
                <c:pt idx="18229">
                  <c:v>3135</c:v>
                </c:pt>
                <c:pt idx="18230">
                  <c:v>283</c:v>
                </c:pt>
                <c:pt idx="18231">
                  <c:v>112</c:v>
                </c:pt>
                <c:pt idx="18232">
                  <c:v>139</c:v>
                </c:pt>
                <c:pt idx="18233">
                  <c:v>537</c:v>
                </c:pt>
                <c:pt idx="18234">
                  <c:v>1414</c:v>
                </c:pt>
                <c:pt idx="18235">
                  <c:v>5140</c:v>
                </c:pt>
                <c:pt idx="18236">
                  <c:v>2605</c:v>
                </c:pt>
                <c:pt idx="18237">
                  <c:v>1558</c:v>
                </c:pt>
                <c:pt idx="18238">
                  <c:v>363</c:v>
                </c:pt>
                <c:pt idx="18239">
                  <c:v>682</c:v>
                </c:pt>
                <c:pt idx="18240">
                  <c:v>4442</c:v>
                </c:pt>
                <c:pt idx="18241">
                  <c:v>142</c:v>
                </c:pt>
                <c:pt idx="18242">
                  <c:v>813</c:v>
                </c:pt>
                <c:pt idx="18243">
                  <c:v>1079</c:v>
                </c:pt>
                <c:pt idx="18244">
                  <c:v>549</c:v>
                </c:pt>
                <c:pt idx="18245">
                  <c:v>2007</c:v>
                </c:pt>
                <c:pt idx="18246">
                  <c:v>28817</c:v>
                </c:pt>
                <c:pt idx="18247">
                  <c:v>262</c:v>
                </c:pt>
                <c:pt idx="18248">
                  <c:v>3735</c:v>
                </c:pt>
                <c:pt idx="18249">
                  <c:v>7327</c:v>
                </c:pt>
                <c:pt idx="18250">
                  <c:v>173</c:v>
                </c:pt>
                <c:pt idx="18251">
                  <c:v>82</c:v>
                </c:pt>
                <c:pt idx="18252">
                  <c:v>36</c:v>
                </c:pt>
                <c:pt idx="18253">
                  <c:v>1899</c:v>
                </c:pt>
                <c:pt idx="18254">
                  <c:v>267</c:v>
                </c:pt>
                <c:pt idx="18255">
                  <c:v>634</c:v>
                </c:pt>
                <c:pt idx="18256">
                  <c:v>1186</c:v>
                </c:pt>
                <c:pt idx="18257">
                  <c:v>3145</c:v>
                </c:pt>
                <c:pt idx="18258">
                  <c:v>706</c:v>
                </c:pt>
                <c:pt idx="18259">
                  <c:v>144</c:v>
                </c:pt>
                <c:pt idx="18260">
                  <c:v>134</c:v>
                </c:pt>
                <c:pt idx="18261">
                  <c:v>588</c:v>
                </c:pt>
                <c:pt idx="18262">
                  <c:v>313</c:v>
                </c:pt>
                <c:pt idx="18263">
                  <c:v>1219</c:v>
                </c:pt>
                <c:pt idx="18264">
                  <c:v>172</c:v>
                </c:pt>
                <c:pt idx="18265">
                  <c:v>7281</c:v>
                </c:pt>
                <c:pt idx="18266">
                  <c:v>12444</c:v>
                </c:pt>
                <c:pt idx="18267">
                  <c:v>26698</c:v>
                </c:pt>
                <c:pt idx="18268">
                  <c:v>15151</c:v>
                </c:pt>
                <c:pt idx="18269">
                  <c:v>16990</c:v>
                </c:pt>
                <c:pt idx="18270">
                  <c:v>12111</c:v>
                </c:pt>
                <c:pt idx="18271">
                  <c:v>20487</c:v>
                </c:pt>
                <c:pt idx="18272">
                  <c:v>6169</c:v>
                </c:pt>
                <c:pt idx="18273">
                  <c:v>14967</c:v>
                </c:pt>
                <c:pt idx="18274">
                  <c:v>24363</c:v>
                </c:pt>
                <c:pt idx="18275">
                  <c:v>13914</c:v>
                </c:pt>
                <c:pt idx="18276">
                  <c:v>31633</c:v>
                </c:pt>
                <c:pt idx="18277">
                  <c:v>14509</c:v>
                </c:pt>
                <c:pt idx="18278">
                  <c:v>5592</c:v>
                </c:pt>
                <c:pt idx="18279">
                  <c:v>2865</c:v>
                </c:pt>
                <c:pt idx="18280">
                  <c:v>3193</c:v>
                </c:pt>
                <c:pt idx="18281">
                  <c:v>19413</c:v>
                </c:pt>
                <c:pt idx="18282">
                  <c:v>6252</c:v>
                </c:pt>
                <c:pt idx="18283">
                  <c:v>245</c:v>
                </c:pt>
                <c:pt idx="18284">
                  <c:v>17952</c:v>
                </c:pt>
                <c:pt idx="18285">
                  <c:v>20489</c:v>
                </c:pt>
                <c:pt idx="18286">
                  <c:v>6307</c:v>
                </c:pt>
                <c:pt idx="18287">
                  <c:v>1153</c:v>
                </c:pt>
                <c:pt idx="18288">
                  <c:v>14498</c:v>
                </c:pt>
                <c:pt idx="18289">
                  <c:v>2980</c:v>
                </c:pt>
                <c:pt idx="18290">
                  <c:v>4370</c:v>
                </c:pt>
                <c:pt idx="18291">
                  <c:v>4505</c:v>
                </c:pt>
                <c:pt idx="18292">
                  <c:v>864</c:v>
                </c:pt>
                <c:pt idx="18293">
                  <c:v>4579</c:v>
                </c:pt>
                <c:pt idx="18294">
                  <c:v>9280</c:v>
                </c:pt>
                <c:pt idx="18295">
                  <c:v>18209</c:v>
                </c:pt>
                <c:pt idx="18296">
                  <c:v>23003</c:v>
                </c:pt>
                <c:pt idx="18297">
                  <c:v>13910</c:v>
                </c:pt>
                <c:pt idx="18298">
                  <c:v>16607</c:v>
                </c:pt>
                <c:pt idx="18299">
                  <c:v>11959</c:v>
                </c:pt>
                <c:pt idx="18300">
                  <c:v>12246</c:v>
                </c:pt>
                <c:pt idx="18301">
                  <c:v>29064</c:v>
                </c:pt>
                <c:pt idx="18302">
                  <c:v>19751</c:v>
                </c:pt>
                <c:pt idx="18303">
                  <c:v>14037</c:v>
                </c:pt>
                <c:pt idx="18304">
                  <c:v>19972</c:v>
                </c:pt>
                <c:pt idx="18305">
                  <c:v>6829</c:v>
                </c:pt>
                <c:pt idx="18306">
                  <c:v>20623</c:v>
                </c:pt>
                <c:pt idx="18307">
                  <c:v>19455</c:v>
                </c:pt>
                <c:pt idx="18308">
                  <c:v>3887</c:v>
                </c:pt>
                <c:pt idx="18309">
                  <c:v>7985</c:v>
                </c:pt>
                <c:pt idx="18310">
                  <c:v>1933</c:v>
                </c:pt>
                <c:pt idx="18311">
                  <c:v>513</c:v>
                </c:pt>
                <c:pt idx="18312">
                  <c:v>32526</c:v>
                </c:pt>
                <c:pt idx="18313">
                  <c:v>20447</c:v>
                </c:pt>
                <c:pt idx="18314">
                  <c:v>15307</c:v>
                </c:pt>
                <c:pt idx="18315">
                  <c:v>12867</c:v>
                </c:pt>
                <c:pt idx="18316">
                  <c:v>4750</c:v>
                </c:pt>
                <c:pt idx="18317">
                  <c:v>4418</c:v>
                </c:pt>
                <c:pt idx="18318">
                  <c:v>8983</c:v>
                </c:pt>
                <c:pt idx="18319">
                  <c:v>34500</c:v>
                </c:pt>
                <c:pt idx="18320">
                  <c:v>13114</c:v>
                </c:pt>
                <c:pt idx="18321">
                  <c:v>22816</c:v>
                </c:pt>
                <c:pt idx="18322">
                  <c:v>21545</c:v>
                </c:pt>
                <c:pt idx="18323">
                  <c:v>12036</c:v>
                </c:pt>
                <c:pt idx="18324">
                  <c:v>8125</c:v>
                </c:pt>
                <c:pt idx="18325">
                  <c:v>3178</c:v>
                </c:pt>
                <c:pt idx="18326">
                  <c:v>5870</c:v>
                </c:pt>
                <c:pt idx="18327">
                  <c:v>17031</c:v>
                </c:pt>
                <c:pt idx="18328">
                  <c:v>14003</c:v>
                </c:pt>
                <c:pt idx="18329">
                  <c:v>20138</c:v>
                </c:pt>
                <c:pt idx="18330">
                  <c:v>18527</c:v>
                </c:pt>
                <c:pt idx="18331">
                  <c:v>22550</c:v>
                </c:pt>
                <c:pt idx="18332">
                  <c:v>8488</c:v>
                </c:pt>
                <c:pt idx="18333">
                  <c:v>10920</c:v>
                </c:pt>
                <c:pt idx="18334">
                  <c:v>20490</c:v>
                </c:pt>
                <c:pt idx="18335">
                  <c:v>11984</c:v>
                </c:pt>
                <c:pt idx="18336">
                  <c:v>243</c:v>
                </c:pt>
                <c:pt idx="18337">
                  <c:v>19464</c:v>
                </c:pt>
                <c:pt idx="18338">
                  <c:v>63</c:v>
                </c:pt>
                <c:pt idx="18339">
                  <c:v>2688</c:v>
                </c:pt>
                <c:pt idx="18340">
                  <c:v>223</c:v>
                </c:pt>
                <c:pt idx="18341">
                  <c:v>20892</c:v>
                </c:pt>
                <c:pt idx="18342">
                  <c:v>8513</c:v>
                </c:pt>
                <c:pt idx="18343">
                  <c:v>5949</c:v>
                </c:pt>
                <c:pt idx="18344">
                  <c:v>25014</c:v>
                </c:pt>
                <c:pt idx="18345">
                  <c:v>23363</c:v>
                </c:pt>
                <c:pt idx="18346">
                  <c:v>12897</c:v>
                </c:pt>
                <c:pt idx="18347">
                  <c:v>23633</c:v>
                </c:pt>
                <c:pt idx="18348">
                  <c:v>109</c:v>
                </c:pt>
                <c:pt idx="18349">
                  <c:v>8138</c:v>
                </c:pt>
                <c:pt idx="18350">
                  <c:v>9433</c:v>
                </c:pt>
                <c:pt idx="18351">
                  <c:v>18386</c:v>
                </c:pt>
                <c:pt idx="18352">
                  <c:v>15546</c:v>
                </c:pt>
                <c:pt idx="18353">
                  <c:v>4008</c:v>
                </c:pt>
                <c:pt idx="18354">
                  <c:v>4340</c:v>
                </c:pt>
                <c:pt idx="18355">
                  <c:v>19170</c:v>
                </c:pt>
                <c:pt idx="18356">
                  <c:v>17926</c:v>
                </c:pt>
                <c:pt idx="18357">
                  <c:v>9840</c:v>
                </c:pt>
                <c:pt idx="18358">
                  <c:v>12584</c:v>
                </c:pt>
                <c:pt idx="18359">
                  <c:v>6930</c:v>
                </c:pt>
                <c:pt idx="18360">
                  <c:v>47</c:v>
                </c:pt>
                <c:pt idx="18361">
                  <c:v>1288</c:v>
                </c:pt>
                <c:pt idx="18362">
                  <c:v>1144</c:v>
                </c:pt>
                <c:pt idx="18363">
                  <c:v>27963</c:v>
                </c:pt>
                <c:pt idx="18364">
                  <c:v>983</c:v>
                </c:pt>
                <c:pt idx="18365">
                  <c:v>2273</c:v>
                </c:pt>
                <c:pt idx="18366">
                  <c:v>6254</c:v>
                </c:pt>
                <c:pt idx="18367">
                  <c:v>10262</c:v>
                </c:pt>
                <c:pt idx="18368">
                  <c:v>8707</c:v>
                </c:pt>
                <c:pt idx="18369">
                  <c:v>3670</c:v>
                </c:pt>
                <c:pt idx="18370">
                  <c:v>15849</c:v>
                </c:pt>
                <c:pt idx="18371">
                  <c:v>1313</c:v>
                </c:pt>
                <c:pt idx="18372">
                  <c:v>11889</c:v>
                </c:pt>
                <c:pt idx="18373">
                  <c:v>3835</c:v>
                </c:pt>
                <c:pt idx="18374">
                  <c:v>2625</c:v>
                </c:pt>
                <c:pt idx="18375">
                  <c:v>10032</c:v>
                </c:pt>
                <c:pt idx="18376">
                  <c:v>2156</c:v>
                </c:pt>
                <c:pt idx="18377">
                  <c:v>18220</c:v>
                </c:pt>
                <c:pt idx="18378">
                  <c:v>4870</c:v>
                </c:pt>
                <c:pt idx="18379">
                  <c:v>13310</c:v>
                </c:pt>
                <c:pt idx="18380">
                  <c:v>7995</c:v>
                </c:pt>
                <c:pt idx="18381">
                  <c:v>16827</c:v>
                </c:pt>
                <c:pt idx="18382">
                  <c:v>13015</c:v>
                </c:pt>
                <c:pt idx="18383">
                  <c:v>5941</c:v>
                </c:pt>
                <c:pt idx="18384">
                  <c:v>13409</c:v>
                </c:pt>
                <c:pt idx="18385">
                  <c:v>10827</c:v>
                </c:pt>
                <c:pt idx="18386">
                  <c:v>801</c:v>
                </c:pt>
                <c:pt idx="18387">
                  <c:v>16237</c:v>
                </c:pt>
                <c:pt idx="18388">
                  <c:v>1444</c:v>
                </c:pt>
                <c:pt idx="18389">
                  <c:v>17381</c:v>
                </c:pt>
                <c:pt idx="18390">
                  <c:v>14754</c:v>
                </c:pt>
                <c:pt idx="18391">
                  <c:v>22555</c:v>
                </c:pt>
                <c:pt idx="18392">
                  <c:v>15117</c:v>
                </c:pt>
                <c:pt idx="18393">
                  <c:v>6026</c:v>
                </c:pt>
                <c:pt idx="18394">
                  <c:v>7572</c:v>
                </c:pt>
                <c:pt idx="18395">
                  <c:v>8327</c:v>
                </c:pt>
                <c:pt idx="18396">
                  <c:v>20422</c:v>
                </c:pt>
                <c:pt idx="18397">
                  <c:v>10710</c:v>
                </c:pt>
                <c:pt idx="18398">
                  <c:v>2766</c:v>
                </c:pt>
                <c:pt idx="18399">
                  <c:v>19028</c:v>
                </c:pt>
                <c:pt idx="18400">
                  <c:v>18851</c:v>
                </c:pt>
                <c:pt idx="18401">
                  <c:v>2287</c:v>
                </c:pt>
                <c:pt idx="18402">
                  <c:v>1872</c:v>
                </c:pt>
                <c:pt idx="18403">
                  <c:v>17105</c:v>
                </c:pt>
                <c:pt idx="18404">
                  <c:v>9381</c:v>
                </c:pt>
                <c:pt idx="18405">
                  <c:v>5480</c:v>
                </c:pt>
                <c:pt idx="18406">
                  <c:v>3852</c:v>
                </c:pt>
                <c:pt idx="18407">
                  <c:v>31925</c:v>
                </c:pt>
                <c:pt idx="18408">
                  <c:v>8677</c:v>
                </c:pt>
                <c:pt idx="18409">
                  <c:v>9348</c:v>
                </c:pt>
                <c:pt idx="18410">
                  <c:v>10824</c:v>
                </c:pt>
                <c:pt idx="18411">
                  <c:v>701</c:v>
                </c:pt>
                <c:pt idx="18412">
                  <c:v>2622</c:v>
                </c:pt>
                <c:pt idx="18413">
                  <c:v>15370</c:v>
                </c:pt>
                <c:pt idx="18414">
                  <c:v>6605</c:v>
                </c:pt>
                <c:pt idx="18415">
                  <c:v>21716</c:v>
                </c:pt>
                <c:pt idx="18416">
                  <c:v>6683</c:v>
                </c:pt>
                <c:pt idx="18417">
                  <c:v>4395</c:v>
                </c:pt>
                <c:pt idx="18418">
                  <c:v>7022</c:v>
                </c:pt>
                <c:pt idx="18419">
                  <c:v>5025</c:v>
                </c:pt>
                <c:pt idx="18420">
                  <c:v>8165</c:v>
                </c:pt>
                <c:pt idx="18421">
                  <c:v>2059</c:v>
                </c:pt>
                <c:pt idx="18422">
                  <c:v>2067</c:v>
                </c:pt>
                <c:pt idx="18423">
                  <c:v>4506</c:v>
                </c:pt>
                <c:pt idx="18424">
                  <c:v>16640</c:v>
                </c:pt>
                <c:pt idx="18425">
                  <c:v>1056</c:v>
                </c:pt>
                <c:pt idx="18426">
                  <c:v>3730</c:v>
                </c:pt>
                <c:pt idx="18427">
                  <c:v>9050</c:v>
                </c:pt>
                <c:pt idx="18428">
                  <c:v>3959</c:v>
                </c:pt>
                <c:pt idx="18429">
                  <c:v>5926</c:v>
                </c:pt>
                <c:pt idx="18430">
                  <c:v>9142</c:v>
                </c:pt>
                <c:pt idx="18431">
                  <c:v>13334</c:v>
                </c:pt>
                <c:pt idx="18432">
                  <c:v>9361</c:v>
                </c:pt>
                <c:pt idx="18433">
                  <c:v>6647</c:v>
                </c:pt>
                <c:pt idx="18434">
                  <c:v>23814</c:v>
                </c:pt>
                <c:pt idx="18435">
                  <c:v>8424</c:v>
                </c:pt>
                <c:pt idx="18436">
                  <c:v>53</c:v>
                </c:pt>
                <c:pt idx="18437">
                  <c:v>13564</c:v>
                </c:pt>
                <c:pt idx="18438">
                  <c:v>11590</c:v>
                </c:pt>
                <c:pt idx="18439">
                  <c:v>26340</c:v>
                </c:pt>
                <c:pt idx="18440">
                  <c:v>17925</c:v>
                </c:pt>
                <c:pt idx="18441">
                  <c:v>6563</c:v>
                </c:pt>
                <c:pt idx="18442">
                  <c:v>9716</c:v>
                </c:pt>
                <c:pt idx="18443">
                  <c:v>896</c:v>
                </c:pt>
                <c:pt idx="18444">
                  <c:v>6761</c:v>
                </c:pt>
                <c:pt idx="18445">
                  <c:v>21414</c:v>
                </c:pt>
                <c:pt idx="18446">
                  <c:v>8322</c:v>
                </c:pt>
                <c:pt idx="18447">
                  <c:v>13700</c:v>
                </c:pt>
                <c:pt idx="18448">
                  <c:v>5147</c:v>
                </c:pt>
                <c:pt idx="18449">
                  <c:v>10019</c:v>
                </c:pt>
                <c:pt idx="18450">
                  <c:v>19266</c:v>
                </c:pt>
                <c:pt idx="18451">
                  <c:v>14466</c:v>
                </c:pt>
                <c:pt idx="18452">
                  <c:v>26147</c:v>
                </c:pt>
                <c:pt idx="18453">
                  <c:v>7596</c:v>
                </c:pt>
                <c:pt idx="18454">
                  <c:v>2074</c:v>
                </c:pt>
                <c:pt idx="18455">
                  <c:v>6685</c:v>
                </c:pt>
                <c:pt idx="18456">
                  <c:v>6738</c:v>
                </c:pt>
                <c:pt idx="18457">
                  <c:v>13031</c:v>
                </c:pt>
                <c:pt idx="18458">
                  <c:v>593</c:v>
                </c:pt>
                <c:pt idx="18459">
                  <c:v>1960</c:v>
                </c:pt>
                <c:pt idx="18460">
                  <c:v>19151</c:v>
                </c:pt>
                <c:pt idx="18461">
                  <c:v>6278</c:v>
                </c:pt>
                <c:pt idx="18462">
                  <c:v>4296</c:v>
                </c:pt>
                <c:pt idx="18463">
                  <c:v>8219</c:v>
                </c:pt>
                <c:pt idx="18464">
                  <c:v>9404</c:v>
                </c:pt>
                <c:pt idx="18465">
                  <c:v>11471</c:v>
                </c:pt>
                <c:pt idx="18466">
                  <c:v>3223</c:v>
                </c:pt>
                <c:pt idx="18467">
                  <c:v>2600</c:v>
                </c:pt>
                <c:pt idx="18468">
                  <c:v>196</c:v>
                </c:pt>
                <c:pt idx="18469">
                  <c:v>5827</c:v>
                </c:pt>
                <c:pt idx="18470">
                  <c:v>1582</c:v>
                </c:pt>
                <c:pt idx="18471">
                  <c:v>8801</c:v>
                </c:pt>
                <c:pt idx="18472">
                  <c:v>298</c:v>
                </c:pt>
                <c:pt idx="18473">
                  <c:v>4480</c:v>
                </c:pt>
                <c:pt idx="18474">
                  <c:v>1237</c:v>
                </c:pt>
                <c:pt idx="18475">
                  <c:v>18941</c:v>
                </c:pt>
                <c:pt idx="18476">
                  <c:v>6953</c:v>
                </c:pt>
                <c:pt idx="18477">
                  <c:v>434</c:v>
                </c:pt>
                <c:pt idx="18478">
                  <c:v>2877</c:v>
                </c:pt>
                <c:pt idx="18479">
                  <c:v>5646</c:v>
                </c:pt>
                <c:pt idx="18480">
                  <c:v>5057</c:v>
                </c:pt>
                <c:pt idx="18481">
                  <c:v>2969</c:v>
                </c:pt>
                <c:pt idx="18482">
                  <c:v>14042</c:v>
                </c:pt>
                <c:pt idx="18483">
                  <c:v>12221</c:v>
                </c:pt>
                <c:pt idx="18484">
                  <c:v>10974</c:v>
                </c:pt>
                <c:pt idx="18485">
                  <c:v>4804</c:v>
                </c:pt>
                <c:pt idx="18486">
                  <c:v>11800</c:v>
                </c:pt>
                <c:pt idx="18487">
                  <c:v>9538</c:v>
                </c:pt>
                <c:pt idx="18488">
                  <c:v>21680</c:v>
                </c:pt>
                <c:pt idx="18489">
                  <c:v>30185</c:v>
                </c:pt>
                <c:pt idx="18490">
                  <c:v>24220</c:v>
                </c:pt>
                <c:pt idx="18491">
                  <c:v>15290</c:v>
                </c:pt>
                <c:pt idx="18492">
                  <c:v>860</c:v>
                </c:pt>
                <c:pt idx="18493">
                  <c:v>765</c:v>
                </c:pt>
                <c:pt idx="18494">
                  <c:v>10256</c:v>
                </c:pt>
                <c:pt idx="18495">
                  <c:v>4440</c:v>
                </c:pt>
                <c:pt idx="18496">
                  <c:v>14647</c:v>
                </c:pt>
                <c:pt idx="18497">
                  <c:v>14025</c:v>
                </c:pt>
                <c:pt idx="18498">
                  <c:v>18605</c:v>
                </c:pt>
                <c:pt idx="18499">
                  <c:v>1652</c:v>
                </c:pt>
                <c:pt idx="18500">
                  <c:v>1374</c:v>
                </c:pt>
                <c:pt idx="18501">
                  <c:v>7901</c:v>
                </c:pt>
                <c:pt idx="18502">
                  <c:v>3703</c:v>
                </c:pt>
                <c:pt idx="18503">
                  <c:v>14767</c:v>
                </c:pt>
                <c:pt idx="18504">
                  <c:v>6106</c:v>
                </c:pt>
                <c:pt idx="18505">
                  <c:v>13930</c:v>
                </c:pt>
                <c:pt idx="18506">
                  <c:v>445</c:v>
                </c:pt>
                <c:pt idx="18507">
                  <c:v>881</c:v>
                </c:pt>
                <c:pt idx="18508">
                  <c:v>15464</c:v>
                </c:pt>
                <c:pt idx="18509">
                  <c:v>5110</c:v>
                </c:pt>
                <c:pt idx="18510">
                  <c:v>67</c:v>
                </c:pt>
                <c:pt idx="18511">
                  <c:v>362</c:v>
                </c:pt>
                <c:pt idx="18512">
                  <c:v>15338</c:v>
                </c:pt>
                <c:pt idx="18513">
                  <c:v>21876</c:v>
                </c:pt>
                <c:pt idx="18514">
                  <c:v>1606</c:v>
                </c:pt>
                <c:pt idx="18515">
                  <c:v>9647</c:v>
                </c:pt>
                <c:pt idx="18516">
                  <c:v>19971</c:v>
                </c:pt>
                <c:pt idx="18517">
                  <c:v>13096</c:v>
                </c:pt>
                <c:pt idx="18518">
                  <c:v>6980</c:v>
                </c:pt>
                <c:pt idx="18519">
                  <c:v>7982</c:v>
                </c:pt>
                <c:pt idx="18520">
                  <c:v>5904</c:v>
                </c:pt>
                <c:pt idx="18521">
                  <c:v>331</c:v>
                </c:pt>
                <c:pt idx="18522">
                  <c:v>514</c:v>
                </c:pt>
                <c:pt idx="18523">
                  <c:v>1584</c:v>
                </c:pt>
                <c:pt idx="18524">
                  <c:v>2035</c:v>
                </c:pt>
                <c:pt idx="18525">
                  <c:v>368</c:v>
                </c:pt>
                <c:pt idx="18526">
                  <c:v>5341</c:v>
                </c:pt>
                <c:pt idx="18527">
                  <c:v>7823</c:v>
                </c:pt>
                <c:pt idx="18528">
                  <c:v>993</c:v>
                </c:pt>
                <c:pt idx="18529">
                  <c:v>5959</c:v>
                </c:pt>
                <c:pt idx="18530">
                  <c:v>12839</c:v>
                </c:pt>
                <c:pt idx="18531">
                  <c:v>13493</c:v>
                </c:pt>
                <c:pt idx="18532">
                  <c:v>12408</c:v>
                </c:pt>
                <c:pt idx="18533">
                  <c:v>19760</c:v>
                </c:pt>
                <c:pt idx="18534">
                  <c:v>23173</c:v>
                </c:pt>
                <c:pt idx="18535">
                  <c:v>19805</c:v>
                </c:pt>
                <c:pt idx="18536">
                  <c:v>12647</c:v>
                </c:pt>
                <c:pt idx="18537">
                  <c:v>25175</c:v>
                </c:pt>
                <c:pt idx="18538">
                  <c:v>9955</c:v>
                </c:pt>
                <c:pt idx="18539">
                  <c:v>761</c:v>
                </c:pt>
                <c:pt idx="18540">
                  <c:v>354</c:v>
                </c:pt>
                <c:pt idx="18541">
                  <c:v>19644</c:v>
                </c:pt>
                <c:pt idx="18542">
                  <c:v>2830</c:v>
                </c:pt>
                <c:pt idx="18543">
                  <c:v>17849</c:v>
                </c:pt>
                <c:pt idx="18544">
                  <c:v>37145</c:v>
                </c:pt>
                <c:pt idx="18545">
                  <c:v>25629</c:v>
                </c:pt>
                <c:pt idx="18546">
                  <c:v>27677</c:v>
                </c:pt>
                <c:pt idx="18547">
                  <c:v>22726</c:v>
                </c:pt>
                <c:pt idx="18548">
                  <c:v>15172</c:v>
                </c:pt>
                <c:pt idx="18549">
                  <c:v>37140</c:v>
                </c:pt>
                <c:pt idx="18550">
                  <c:v>45345</c:v>
                </c:pt>
                <c:pt idx="18551">
                  <c:v>21275</c:v>
                </c:pt>
                <c:pt idx="18552">
                  <c:v>27385</c:v>
                </c:pt>
                <c:pt idx="18553">
                  <c:v>33225</c:v>
                </c:pt>
                <c:pt idx="18554">
                  <c:v>55480</c:v>
                </c:pt>
                <c:pt idx="18555">
                  <c:v>25556</c:v>
                </c:pt>
                <c:pt idx="18556">
                  <c:v>24445</c:v>
                </c:pt>
                <c:pt idx="18557">
                  <c:v>7642</c:v>
                </c:pt>
                <c:pt idx="18558">
                  <c:v>37624</c:v>
                </c:pt>
                <c:pt idx="18559">
                  <c:v>29530</c:v>
                </c:pt>
                <c:pt idx="18560">
                  <c:v>11807</c:v>
                </c:pt>
                <c:pt idx="18561">
                  <c:v>44871</c:v>
                </c:pt>
                <c:pt idx="18562">
                  <c:v>27571</c:v>
                </c:pt>
                <c:pt idx="18563">
                  <c:v>23825</c:v>
                </c:pt>
                <c:pt idx="18564">
                  <c:v>42484</c:v>
                </c:pt>
                <c:pt idx="18565">
                  <c:v>28071</c:v>
                </c:pt>
                <c:pt idx="18566">
                  <c:v>15000</c:v>
                </c:pt>
                <c:pt idx="18567">
                  <c:v>35159</c:v>
                </c:pt>
                <c:pt idx="18568">
                  <c:v>5361</c:v>
                </c:pt>
                <c:pt idx="18569">
                  <c:v>39867</c:v>
                </c:pt>
                <c:pt idx="18570">
                  <c:v>8836</c:v>
                </c:pt>
                <c:pt idx="18571">
                  <c:v>17949</c:v>
                </c:pt>
                <c:pt idx="18572">
                  <c:v>27980</c:v>
                </c:pt>
                <c:pt idx="18573">
                  <c:v>39973</c:v>
                </c:pt>
                <c:pt idx="18574">
                  <c:v>41758</c:v>
                </c:pt>
                <c:pt idx="18575">
                  <c:v>36775</c:v>
                </c:pt>
                <c:pt idx="18576">
                  <c:v>15868</c:v>
                </c:pt>
                <c:pt idx="18577">
                  <c:v>20816</c:v>
                </c:pt>
                <c:pt idx="18578">
                  <c:v>16712</c:v>
                </c:pt>
                <c:pt idx="18579">
                  <c:v>21753</c:v>
                </c:pt>
                <c:pt idx="18580">
                  <c:v>14104</c:v>
                </c:pt>
                <c:pt idx="18581">
                  <c:v>54416</c:v>
                </c:pt>
                <c:pt idx="18582">
                  <c:v>21333</c:v>
                </c:pt>
                <c:pt idx="18583">
                  <c:v>27396</c:v>
                </c:pt>
                <c:pt idx="18584">
                  <c:v>18329</c:v>
                </c:pt>
                <c:pt idx="18585">
                  <c:v>13437</c:v>
                </c:pt>
                <c:pt idx="18586">
                  <c:v>17383</c:v>
                </c:pt>
                <c:pt idx="18587">
                  <c:v>13993</c:v>
                </c:pt>
                <c:pt idx="18588">
                  <c:v>14792</c:v>
                </c:pt>
                <c:pt idx="18589">
                  <c:v>50005</c:v>
                </c:pt>
                <c:pt idx="18590">
                  <c:v>19022</c:v>
                </c:pt>
                <c:pt idx="18591">
                  <c:v>25564</c:v>
                </c:pt>
                <c:pt idx="18592">
                  <c:v>8773</c:v>
                </c:pt>
                <c:pt idx="18593">
                  <c:v>11703</c:v>
                </c:pt>
                <c:pt idx="18594">
                  <c:v>20463</c:v>
                </c:pt>
                <c:pt idx="18595">
                  <c:v>5272</c:v>
                </c:pt>
                <c:pt idx="18596">
                  <c:v>14165</c:v>
                </c:pt>
                <c:pt idx="18597">
                  <c:v>10577</c:v>
                </c:pt>
                <c:pt idx="18598">
                  <c:v>39059</c:v>
                </c:pt>
                <c:pt idx="18599">
                  <c:v>9741</c:v>
                </c:pt>
                <c:pt idx="18600">
                  <c:v>8980</c:v>
                </c:pt>
                <c:pt idx="18601">
                  <c:v>14785</c:v>
                </c:pt>
                <c:pt idx="18602">
                  <c:v>271</c:v>
                </c:pt>
                <c:pt idx="18603">
                  <c:v>677</c:v>
                </c:pt>
                <c:pt idx="18604">
                  <c:v>238</c:v>
                </c:pt>
                <c:pt idx="18605">
                  <c:v>687</c:v>
                </c:pt>
                <c:pt idx="18606">
                  <c:v>14109</c:v>
                </c:pt>
                <c:pt idx="18607">
                  <c:v>4945</c:v>
                </c:pt>
                <c:pt idx="18608">
                  <c:v>195</c:v>
                </c:pt>
                <c:pt idx="18609">
                  <c:v>267</c:v>
                </c:pt>
                <c:pt idx="18610">
                  <c:v>299</c:v>
                </c:pt>
                <c:pt idx="18611">
                  <c:v>54</c:v>
                </c:pt>
                <c:pt idx="18612">
                  <c:v>709</c:v>
                </c:pt>
                <c:pt idx="18613">
                  <c:v>1387</c:v>
                </c:pt>
                <c:pt idx="18614">
                  <c:v>586</c:v>
                </c:pt>
                <c:pt idx="18615">
                  <c:v>54</c:v>
                </c:pt>
                <c:pt idx="18616">
                  <c:v>1091</c:v>
                </c:pt>
                <c:pt idx="18617">
                  <c:v>270</c:v>
                </c:pt>
                <c:pt idx="18618">
                  <c:v>283</c:v>
                </c:pt>
                <c:pt idx="18619">
                  <c:v>249</c:v>
                </c:pt>
                <c:pt idx="18620">
                  <c:v>251</c:v>
                </c:pt>
                <c:pt idx="18621">
                  <c:v>133</c:v>
                </c:pt>
                <c:pt idx="18622">
                  <c:v>116</c:v>
                </c:pt>
                <c:pt idx="18623">
                  <c:v>694</c:v>
                </c:pt>
                <c:pt idx="18624">
                  <c:v>2098</c:v>
                </c:pt>
                <c:pt idx="18625">
                  <c:v>871</c:v>
                </c:pt>
                <c:pt idx="18626">
                  <c:v>1329</c:v>
                </c:pt>
                <c:pt idx="18627">
                  <c:v>777</c:v>
                </c:pt>
                <c:pt idx="18628">
                  <c:v>2103</c:v>
                </c:pt>
                <c:pt idx="18629">
                  <c:v>77</c:v>
                </c:pt>
                <c:pt idx="18630">
                  <c:v>205</c:v>
                </c:pt>
                <c:pt idx="18631">
                  <c:v>660</c:v>
                </c:pt>
                <c:pt idx="18632">
                  <c:v>243</c:v>
                </c:pt>
                <c:pt idx="18633">
                  <c:v>5631</c:v>
                </c:pt>
                <c:pt idx="18634">
                  <c:v>456</c:v>
                </c:pt>
                <c:pt idx="18635">
                  <c:v>265</c:v>
                </c:pt>
                <c:pt idx="18636">
                  <c:v>138</c:v>
                </c:pt>
                <c:pt idx="18637">
                  <c:v>1134</c:v>
                </c:pt>
                <c:pt idx="18638">
                  <c:v>2481</c:v>
                </c:pt>
                <c:pt idx="18639">
                  <c:v>664</c:v>
                </c:pt>
                <c:pt idx="18640">
                  <c:v>57</c:v>
                </c:pt>
                <c:pt idx="18641">
                  <c:v>2674</c:v>
                </c:pt>
                <c:pt idx="18642">
                  <c:v>525</c:v>
                </c:pt>
                <c:pt idx="18643">
                  <c:v>419</c:v>
                </c:pt>
                <c:pt idx="18644">
                  <c:v>369</c:v>
                </c:pt>
                <c:pt idx="18645">
                  <c:v>199</c:v>
                </c:pt>
                <c:pt idx="18646">
                  <c:v>243</c:v>
                </c:pt>
                <c:pt idx="18647">
                  <c:v>554</c:v>
                </c:pt>
                <c:pt idx="18648">
                  <c:v>2102</c:v>
                </c:pt>
                <c:pt idx="18649">
                  <c:v>690</c:v>
                </c:pt>
                <c:pt idx="18650">
                  <c:v>212</c:v>
                </c:pt>
                <c:pt idx="18651">
                  <c:v>2822</c:v>
                </c:pt>
                <c:pt idx="18652">
                  <c:v>125</c:v>
                </c:pt>
                <c:pt idx="18653">
                  <c:v>97</c:v>
                </c:pt>
                <c:pt idx="18654">
                  <c:v>446</c:v>
                </c:pt>
                <c:pt idx="18655">
                  <c:v>669</c:v>
                </c:pt>
                <c:pt idx="18656">
                  <c:v>165</c:v>
                </c:pt>
                <c:pt idx="18657">
                  <c:v>16136</c:v>
                </c:pt>
                <c:pt idx="18658">
                  <c:v>3679</c:v>
                </c:pt>
                <c:pt idx="18659">
                  <c:v>1519</c:v>
                </c:pt>
                <c:pt idx="18660">
                  <c:v>1245</c:v>
                </c:pt>
                <c:pt idx="18661">
                  <c:v>351</c:v>
                </c:pt>
                <c:pt idx="18662">
                  <c:v>615</c:v>
                </c:pt>
                <c:pt idx="18663">
                  <c:v>401</c:v>
                </c:pt>
                <c:pt idx="18664">
                  <c:v>2270</c:v>
                </c:pt>
                <c:pt idx="18665">
                  <c:v>474</c:v>
                </c:pt>
                <c:pt idx="18666">
                  <c:v>1537</c:v>
                </c:pt>
                <c:pt idx="18667">
                  <c:v>1438</c:v>
                </c:pt>
                <c:pt idx="18668">
                  <c:v>9545</c:v>
                </c:pt>
                <c:pt idx="18669">
                  <c:v>1161</c:v>
                </c:pt>
                <c:pt idx="18670">
                  <c:v>2553</c:v>
                </c:pt>
                <c:pt idx="18671">
                  <c:v>898</c:v>
                </c:pt>
                <c:pt idx="18672">
                  <c:v>956</c:v>
                </c:pt>
                <c:pt idx="18673">
                  <c:v>753</c:v>
                </c:pt>
                <c:pt idx="18674">
                  <c:v>12624</c:v>
                </c:pt>
                <c:pt idx="18675">
                  <c:v>3220</c:v>
                </c:pt>
                <c:pt idx="18676">
                  <c:v>472</c:v>
                </c:pt>
                <c:pt idx="18677">
                  <c:v>423</c:v>
                </c:pt>
                <c:pt idx="18678">
                  <c:v>601</c:v>
                </c:pt>
                <c:pt idx="18679">
                  <c:v>265</c:v>
                </c:pt>
                <c:pt idx="18680">
                  <c:v>80</c:v>
                </c:pt>
                <c:pt idx="18681">
                  <c:v>1260</c:v>
                </c:pt>
                <c:pt idx="18682">
                  <c:v>868</c:v>
                </c:pt>
                <c:pt idx="18683">
                  <c:v>1799</c:v>
                </c:pt>
                <c:pt idx="18684">
                  <c:v>265</c:v>
                </c:pt>
                <c:pt idx="18685">
                  <c:v>641</c:v>
                </c:pt>
                <c:pt idx="18686">
                  <c:v>401</c:v>
                </c:pt>
                <c:pt idx="18687">
                  <c:v>1234</c:v>
                </c:pt>
                <c:pt idx="18688">
                  <c:v>1462</c:v>
                </c:pt>
                <c:pt idx="18689">
                  <c:v>119</c:v>
                </c:pt>
                <c:pt idx="18690">
                  <c:v>785</c:v>
                </c:pt>
                <c:pt idx="18691">
                  <c:v>2944</c:v>
                </c:pt>
                <c:pt idx="18692">
                  <c:v>1019</c:v>
                </c:pt>
                <c:pt idx="18693">
                  <c:v>2019</c:v>
                </c:pt>
                <c:pt idx="18694">
                  <c:v>2018</c:v>
                </c:pt>
                <c:pt idx="18695">
                  <c:v>5147</c:v>
                </c:pt>
                <c:pt idx="18696">
                  <c:v>345</c:v>
                </c:pt>
                <c:pt idx="18697">
                  <c:v>7141</c:v>
                </c:pt>
                <c:pt idx="18698">
                  <c:v>729</c:v>
                </c:pt>
                <c:pt idx="18699">
                  <c:v>6390</c:v>
                </c:pt>
                <c:pt idx="18700">
                  <c:v>5954</c:v>
                </c:pt>
                <c:pt idx="18701">
                  <c:v>10029</c:v>
                </c:pt>
                <c:pt idx="18702">
                  <c:v>1568</c:v>
                </c:pt>
                <c:pt idx="18703">
                  <c:v>501</c:v>
                </c:pt>
                <c:pt idx="18704">
                  <c:v>557</c:v>
                </c:pt>
                <c:pt idx="18705">
                  <c:v>95</c:v>
                </c:pt>
                <c:pt idx="18706">
                  <c:v>4986</c:v>
                </c:pt>
                <c:pt idx="18707">
                  <c:v>10366</c:v>
                </c:pt>
                <c:pt idx="18708">
                  <c:v>1416</c:v>
                </c:pt>
                <c:pt idx="18709">
                  <c:v>1376</c:v>
                </c:pt>
                <c:pt idx="18710">
                  <c:v>707</c:v>
                </c:pt>
                <c:pt idx="18711">
                  <c:v>3454</c:v>
                </c:pt>
                <c:pt idx="18712">
                  <c:v>411</c:v>
                </c:pt>
                <c:pt idx="18713">
                  <c:v>7866</c:v>
                </c:pt>
                <c:pt idx="18714">
                  <c:v>6472</c:v>
                </c:pt>
                <c:pt idx="18715">
                  <c:v>9548</c:v>
                </c:pt>
                <c:pt idx="18716">
                  <c:v>7201</c:v>
                </c:pt>
                <c:pt idx="18717">
                  <c:v>13626</c:v>
                </c:pt>
                <c:pt idx="18718">
                  <c:v>12700</c:v>
                </c:pt>
                <c:pt idx="18719">
                  <c:v>12262</c:v>
                </c:pt>
                <c:pt idx="18720">
                  <c:v>11285</c:v>
                </c:pt>
                <c:pt idx="18721">
                  <c:v>32</c:v>
                </c:pt>
                <c:pt idx="18722">
                  <c:v>6956</c:v>
                </c:pt>
                <c:pt idx="18723">
                  <c:v>11054</c:v>
                </c:pt>
                <c:pt idx="18724">
                  <c:v>16541</c:v>
                </c:pt>
                <c:pt idx="18725">
                  <c:v>368</c:v>
                </c:pt>
                <c:pt idx="18726">
                  <c:v>2500</c:v>
                </c:pt>
                <c:pt idx="18727">
                  <c:v>835</c:v>
                </c:pt>
                <c:pt idx="18728">
                  <c:v>108</c:v>
                </c:pt>
                <c:pt idx="18729">
                  <c:v>608</c:v>
                </c:pt>
                <c:pt idx="18730">
                  <c:v>772</c:v>
                </c:pt>
                <c:pt idx="18731">
                  <c:v>36</c:v>
                </c:pt>
                <c:pt idx="18732">
                  <c:v>1422</c:v>
                </c:pt>
                <c:pt idx="18733">
                  <c:v>534</c:v>
                </c:pt>
                <c:pt idx="18734">
                  <c:v>2952</c:v>
                </c:pt>
                <c:pt idx="18735">
                  <c:v>3868</c:v>
                </c:pt>
                <c:pt idx="18736">
                  <c:v>520</c:v>
                </c:pt>
                <c:pt idx="18737">
                  <c:v>170</c:v>
                </c:pt>
                <c:pt idx="18738">
                  <c:v>9843</c:v>
                </c:pt>
                <c:pt idx="18739">
                  <c:v>1168</c:v>
                </c:pt>
                <c:pt idx="18740">
                  <c:v>247</c:v>
                </c:pt>
                <c:pt idx="18741">
                  <c:v>2475</c:v>
                </c:pt>
                <c:pt idx="18742">
                  <c:v>5671</c:v>
                </c:pt>
                <c:pt idx="18743">
                  <c:v>886</c:v>
                </c:pt>
                <c:pt idx="18744">
                  <c:v>365</c:v>
                </c:pt>
                <c:pt idx="18745">
                  <c:v>90</c:v>
                </c:pt>
                <c:pt idx="18746">
                  <c:v>611</c:v>
                </c:pt>
                <c:pt idx="18747">
                  <c:v>291</c:v>
                </c:pt>
                <c:pt idx="18748">
                  <c:v>363</c:v>
                </c:pt>
                <c:pt idx="18749">
                  <c:v>259</c:v>
                </c:pt>
                <c:pt idx="18750">
                  <c:v>329</c:v>
                </c:pt>
                <c:pt idx="18751">
                  <c:v>4950</c:v>
                </c:pt>
                <c:pt idx="18752">
                  <c:v>20422</c:v>
                </c:pt>
                <c:pt idx="18753">
                  <c:v>3349</c:v>
                </c:pt>
                <c:pt idx="18754">
                  <c:v>511</c:v>
                </c:pt>
                <c:pt idx="18755">
                  <c:v>1518</c:v>
                </c:pt>
                <c:pt idx="18756">
                  <c:v>129</c:v>
                </c:pt>
                <c:pt idx="18757">
                  <c:v>2113</c:v>
                </c:pt>
                <c:pt idx="18758">
                  <c:v>1378</c:v>
                </c:pt>
                <c:pt idx="18759">
                  <c:v>251</c:v>
                </c:pt>
                <c:pt idx="18760">
                  <c:v>464</c:v>
                </c:pt>
                <c:pt idx="18761">
                  <c:v>1152</c:v>
                </c:pt>
                <c:pt idx="18762">
                  <c:v>3681</c:v>
                </c:pt>
                <c:pt idx="18763">
                  <c:v>696</c:v>
                </c:pt>
                <c:pt idx="18764">
                  <c:v>841</c:v>
                </c:pt>
                <c:pt idx="18765">
                  <c:v>709</c:v>
                </c:pt>
                <c:pt idx="18766">
                  <c:v>4883</c:v>
                </c:pt>
                <c:pt idx="18767">
                  <c:v>1733</c:v>
                </c:pt>
                <c:pt idx="18768">
                  <c:v>170</c:v>
                </c:pt>
                <c:pt idx="18769">
                  <c:v>179</c:v>
                </c:pt>
                <c:pt idx="18770">
                  <c:v>149</c:v>
                </c:pt>
                <c:pt idx="18771">
                  <c:v>415</c:v>
                </c:pt>
                <c:pt idx="18772">
                  <c:v>119</c:v>
                </c:pt>
                <c:pt idx="18773">
                  <c:v>148</c:v>
                </c:pt>
                <c:pt idx="18774">
                  <c:v>185</c:v>
                </c:pt>
                <c:pt idx="18775">
                  <c:v>331</c:v>
                </c:pt>
                <c:pt idx="18776">
                  <c:v>530</c:v>
                </c:pt>
                <c:pt idx="18777">
                  <c:v>327</c:v>
                </c:pt>
                <c:pt idx="18778">
                  <c:v>147</c:v>
                </c:pt>
                <c:pt idx="18779">
                  <c:v>629</c:v>
                </c:pt>
                <c:pt idx="18780">
                  <c:v>56</c:v>
                </c:pt>
                <c:pt idx="18781">
                  <c:v>598</c:v>
                </c:pt>
                <c:pt idx="18782">
                  <c:v>956</c:v>
                </c:pt>
                <c:pt idx="18783">
                  <c:v>771</c:v>
                </c:pt>
                <c:pt idx="18784">
                  <c:v>655</c:v>
                </c:pt>
                <c:pt idx="18785">
                  <c:v>701</c:v>
                </c:pt>
                <c:pt idx="18786">
                  <c:v>80</c:v>
                </c:pt>
                <c:pt idx="18787">
                  <c:v>128</c:v>
                </c:pt>
                <c:pt idx="18788">
                  <c:v>332</c:v>
                </c:pt>
                <c:pt idx="18789">
                  <c:v>156</c:v>
                </c:pt>
                <c:pt idx="18790">
                  <c:v>183</c:v>
                </c:pt>
                <c:pt idx="18791">
                  <c:v>239</c:v>
                </c:pt>
                <c:pt idx="18792">
                  <c:v>112</c:v>
                </c:pt>
                <c:pt idx="18793">
                  <c:v>221</c:v>
                </c:pt>
                <c:pt idx="18794">
                  <c:v>3380</c:v>
                </c:pt>
                <c:pt idx="18795">
                  <c:v>4196</c:v>
                </c:pt>
                <c:pt idx="18796">
                  <c:v>143</c:v>
                </c:pt>
                <c:pt idx="18797">
                  <c:v>392</c:v>
                </c:pt>
                <c:pt idx="18798">
                  <c:v>2027</c:v>
                </c:pt>
                <c:pt idx="18799">
                  <c:v>420</c:v>
                </c:pt>
                <c:pt idx="18800">
                  <c:v>11680</c:v>
                </c:pt>
                <c:pt idx="18801">
                  <c:v>499</c:v>
                </c:pt>
                <c:pt idx="18802">
                  <c:v>5070</c:v>
                </c:pt>
                <c:pt idx="18803">
                  <c:v>4937</c:v>
                </c:pt>
                <c:pt idx="18804">
                  <c:v>155</c:v>
                </c:pt>
                <c:pt idx="18805">
                  <c:v>174</c:v>
                </c:pt>
                <c:pt idx="18806">
                  <c:v>1601</c:v>
                </c:pt>
                <c:pt idx="18807">
                  <c:v>724</c:v>
                </c:pt>
                <c:pt idx="18808">
                  <c:v>2671</c:v>
                </c:pt>
                <c:pt idx="18809">
                  <c:v>128</c:v>
                </c:pt>
                <c:pt idx="18810">
                  <c:v>8317</c:v>
                </c:pt>
                <c:pt idx="18811">
                  <c:v>414</c:v>
                </c:pt>
                <c:pt idx="18812">
                  <c:v>641</c:v>
                </c:pt>
                <c:pt idx="18813">
                  <c:v>584</c:v>
                </c:pt>
                <c:pt idx="18814">
                  <c:v>632</c:v>
                </c:pt>
                <c:pt idx="18815">
                  <c:v>91</c:v>
                </c:pt>
                <c:pt idx="18816">
                  <c:v>1112</c:v>
                </c:pt>
                <c:pt idx="18817">
                  <c:v>438</c:v>
                </c:pt>
                <c:pt idx="18818">
                  <c:v>861</c:v>
                </c:pt>
                <c:pt idx="18819">
                  <c:v>635</c:v>
                </c:pt>
                <c:pt idx="18820">
                  <c:v>145</c:v>
                </c:pt>
                <c:pt idx="18821">
                  <c:v>617</c:v>
                </c:pt>
                <c:pt idx="18822">
                  <c:v>51</c:v>
                </c:pt>
                <c:pt idx="18823">
                  <c:v>13043</c:v>
                </c:pt>
                <c:pt idx="18824">
                  <c:v>1707</c:v>
                </c:pt>
                <c:pt idx="18825">
                  <c:v>213</c:v>
                </c:pt>
                <c:pt idx="18826">
                  <c:v>550</c:v>
                </c:pt>
                <c:pt idx="18827">
                  <c:v>479</c:v>
                </c:pt>
                <c:pt idx="18828">
                  <c:v>376</c:v>
                </c:pt>
                <c:pt idx="18829">
                  <c:v>915</c:v>
                </c:pt>
                <c:pt idx="18830">
                  <c:v>116</c:v>
                </c:pt>
                <c:pt idx="18831">
                  <c:v>176</c:v>
                </c:pt>
                <c:pt idx="18832">
                  <c:v>336</c:v>
                </c:pt>
                <c:pt idx="18833">
                  <c:v>39</c:v>
                </c:pt>
                <c:pt idx="18834">
                  <c:v>487</c:v>
                </c:pt>
                <c:pt idx="18835">
                  <c:v>667</c:v>
                </c:pt>
                <c:pt idx="18836">
                  <c:v>1447</c:v>
                </c:pt>
                <c:pt idx="18837">
                  <c:v>333</c:v>
                </c:pt>
                <c:pt idx="18838">
                  <c:v>31</c:v>
                </c:pt>
                <c:pt idx="18839">
                  <c:v>202</c:v>
                </c:pt>
                <c:pt idx="18840">
                  <c:v>787</c:v>
                </c:pt>
                <c:pt idx="18841">
                  <c:v>443</c:v>
                </c:pt>
                <c:pt idx="18842">
                  <c:v>312</c:v>
                </c:pt>
                <c:pt idx="18843">
                  <c:v>101</c:v>
                </c:pt>
                <c:pt idx="18844">
                  <c:v>261</c:v>
                </c:pt>
                <c:pt idx="18845">
                  <c:v>1314</c:v>
                </c:pt>
                <c:pt idx="18846">
                  <c:v>319</c:v>
                </c:pt>
                <c:pt idx="18847">
                  <c:v>336</c:v>
                </c:pt>
                <c:pt idx="18848">
                  <c:v>330</c:v>
                </c:pt>
                <c:pt idx="18849">
                  <c:v>93</c:v>
                </c:pt>
                <c:pt idx="18850">
                  <c:v>356</c:v>
                </c:pt>
                <c:pt idx="18851">
                  <c:v>340</c:v>
                </c:pt>
                <c:pt idx="18852">
                  <c:v>336</c:v>
                </c:pt>
                <c:pt idx="18853">
                  <c:v>5474</c:v>
                </c:pt>
                <c:pt idx="18854">
                  <c:v>591</c:v>
                </c:pt>
                <c:pt idx="18855">
                  <c:v>1708</c:v>
                </c:pt>
                <c:pt idx="18856">
                  <c:v>93</c:v>
                </c:pt>
                <c:pt idx="18857">
                  <c:v>875</c:v>
                </c:pt>
                <c:pt idx="18858">
                  <c:v>101</c:v>
                </c:pt>
                <c:pt idx="18859">
                  <c:v>103</c:v>
                </c:pt>
                <c:pt idx="18860">
                  <c:v>297</c:v>
                </c:pt>
                <c:pt idx="18861">
                  <c:v>119</c:v>
                </c:pt>
                <c:pt idx="18862">
                  <c:v>7940</c:v>
                </c:pt>
                <c:pt idx="18863">
                  <c:v>227</c:v>
                </c:pt>
                <c:pt idx="18864">
                  <c:v>129</c:v>
                </c:pt>
                <c:pt idx="18865">
                  <c:v>101</c:v>
                </c:pt>
                <c:pt idx="18866">
                  <c:v>4637</c:v>
                </c:pt>
                <c:pt idx="18867">
                  <c:v>601</c:v>
                </c:pt>
                <c:pt idx="18868">
                  <c:v>156</c:v>
                </c:pt>
                <c:pt idx="18869">
                  <c:v>597</c:v>
                </c:pt>
                <c:pt idx="18870">
                  <c:v>954</c:v>
                </c:pt>
                <c:pt idx="18871">
                  <c:v>253</c:v>
                </c:pt>
                <c:pt idx="18872">
                  <c:v>162</c:v>
                </c:pt>
                <c:pt idx="18873">
                  <c:v>468</c:v>
                </c:pt>
                <c:pt idx="18874">
                  <c:v>96</c:v>
                </c:pt>
                <c:pt idx="18875">
                  <c:v>88</c:v>
                </c:pt>
                <c:pt idx="18876">
                  <c:v>289</c:v>
                </c:pt>
                <c:pt idx="18877">
                  <c:v>211</c:v>
                </c:pt>
                <c:pt idx="18878">
                  <c:v>588</c:v>
                </c:pt>
                <c:pt idx="18879">
                  <c:v>245</c:v>
                </c:pt>
                <c:pt idx="18880">
                  <c:v>839</c:v>
                </c:pt>
                <c:pt idx="18881">
                  <c:v>325</c:v>
                </c:pt>
                <c:pt idx="18882">
                  <c:v>229</c:v>
                </c:pt>
                <c:pt idx="18883">
                  <c:v>727</c:v>
                </c:pt>
                <c:pt idx="18884">
                  <c:v>634</c:v>
                </c:pt>
                <c:pt idx="18885">
                  <c:v>406</c:v>
                </c:pt>
                <c:pt idx="18886">
                  <c:v>571</c:v>
                </c:pt>
                <c:pt idx="18887">
                  <c:v>916</c:v>
                </c:pt>
                <c:pt idx="18888">
                  <c:v>771</c:v>
                </c:pt>
                <c:pt idx="18889">
                  <c:v>354</c:v>
                </c:pt>
                <c:pt idx="18890">
                  <c:v>1223</c:v>
                </c:pt>
                <c:pt idx="18891">
                  <c:v>96</c:v>
                </c:pt>
                <c:pt idx="18892">
                  <c:v>6543</c:v>
                </c:pt>
                <c:pt idx="18893">
                  <c:v>4669</c:v>
                </c:pt>
                <c:pt idx="18894">
                  <c:v>121</c:v>
                </c:pt>
                <c:pt idx="18895">
                  <c:v>5271</c:v>
                </c:pt>
                <c:pt idx="18896">
                  <c:v>347</c:v>
                </c:pt>
                <c:pt idx="18897">
                  <c:v>1428</c:v>
                </c:pt>
                <c:pt idx="18898">
                  <c:v>1519</c:v>
                </c:pt>
                <c:pt idx="18899">
                  <c:v>3325</c:v>
                </c:pt>
                <c:pt idx="18900">
                  <c:v>1466</c:v>
                </c:pt>
                <c:pt idx="18901">
                  <c:v>217</c:v>
                </c:pt>
                <c:pt idx="18902">
                  <c:v>1060</c:v>
                </c:pt>
                <c:pt idx="18903">
                  <c:v>1015</c:v>
                </c:pt>
                <c:pt idx="18904">
                  <c:v>876</c:v>
                </c:pt>
                <c:pt idx="18905">
                  <c:v>1440</c:v>
                </c:pt>
                <c:pt idx="18906">
                  <c:v>1218</c:v>
                </c:pt>
                <c:pt idx="18907">
                  <c:v>76</c:v>
                </c:pt>
                <c:pt idx="18908">
                  <c:v>1152</c:v>
                </c:pt>
                <c:pt idx="18909">
                  <c:v>53</c:v>
                </c:pt>
                <c:pt idx="18910">
                  <c:v>1445</c:v>
                </c:pt>
                <c:pt idx="18911">
                  <c:v>40</c:v>
                </c:pt>
                <c:pt idx="18912">
                  <c:v>331</c:v>
                </c:pt>
                <c:pt idx="18913">
                  <c:v>348</c:v>
                </c:pt>
                <c:pt idx="18914">
                  <c:v>1665</c:v>
                </c:pt>
                <c:pt idx="18915">
                  <c:v>1963</c:v>
                </c:pt>
                <c:pt idx="18916">
                  <c:v>6023</c:v>
                </c:pt>
                <c:pt idx="18917">
                  <c:v>8319</c:v>
                </c:pt>
                <c:pt idx="18918">
                  <c:v>80</c:v>
                </c:pt>
                <c:pt idx="18919">
                  <c:v>122</c:v>
                </c:pt>
                <c:pt idx="18920">
                  <c:v>18175</c:v>
                </c:pt>
                <c:pt idx="18921">
                  <c:v>1537</c:v>
                </c:pt>
                <c:pt idx="18922">
                  <c:v>171</c:v>
                </c:pt>
                <c:pt idx="18923">
                  <c:v>1159</c:v>
                </c:pt>
                <c:pt idx="18924">
                  <c:v>236</c:v>
                </c:pt>
                <c:pt idx="18925">
                  <c:v>425</c:v>
                </c:pt>
                <c:pt idx="18926">
                  <c:v>688</c:v>
                </c:pt>
                <c:pt idx="18927">
                  <c:v>229</c:v>
                </c:pt>
                <c:pt idx="18928">
                  <c:v>2086</c:v>
                </c:pt>
                <c:pt idx="18929">
                  <c:v>447</c:v>
                </c:pt>
                <c:pt idx="18930">
                  <c:v>788</c:v>
                </c:pt>
                <c:pt idx="18931">
                  <c:v>11349</c:v>
                </c:pt>
                <c:pt idx="18932">
                  <c:v>525</c:v>
                </c:pt>
                <c:pt idx="18933">
                  <c:v>220</c:v>
                </c:pt>
                <c:pt idx="18934">
                  <c:v>6041</c:v>
                </c:pt>
                <c:pt idx="18935">
                  <c:v>12495</c:v>
                </c:pt>
                <c:pt idx="18936">
                  <c:v>3815</c:v>
                </c:pt>
                <c:pt idx="18937">
                  <c:v>3645</c:v>
                </c:pt>
                <c:pt idx="18938">
                  <c:v>5128</c:v>
                </c:pt>
                <c:pt idx="18939">
                  <c:v>2329</c:v>
                </c:pt>
                <c:pt idx="18940">
                  <c:v>11413</c:v>
                </c:pt>
                <c:pt idx="18941">
                  <c:v>13301</c:v>
                </c:pt>
                <c:pt idx="18942">
                  <c:v>10963</c:v>
                </c:pt>
                <c:pt idx="18943">
                  <c:v>2978</c:v>
                </c:pt>
                <c:pt idx="18944">
                  <c:v>17127</c:v>
                </c:pt>
                <c:pt idx="18945">
                  <c:v>18668</c:v>
                </c:pt>
                <c:pt idx="18946">
                  <c:v>6160</c:v>
                </c:pt>
                <c:pt idx="18947">
                  <c:v>105</c:v>
                </c:pt>
                <c:pt idx="18948">
                  <c:v>157</c:v>
                </c:pt>
                <c:pt idx="18949">
                  <c:v>256</c:v>
                </c:pt>
                <c:pt idx="18950">
                  <c:v>1085</c:v>
                </c:pt>
                <c:pt idx="18951">
                  <c:v>216</c:v>
                </c:pt>
                <c:pt idx="18952">
                  <c:v>763</c:v>
                </c:pt>
                <c:pt idx="18953">
                  <c:v>1381</c:v>
                </c:pt>
                <c:pt idx="18954">
                  <c:v>4527</c:v>
                </c:pt>
                <c:pt idx="18955">
                  <c:v>615</c:v>
                </c:pt>
                <c:pt idx="18956">
                  <c:v>582</c:v>
                </c:pt>
                <c:pt idx="18957">
                  <c:v>174</c:v>
                </c:pt>
                <c:pt idx="18958">
                  <c:v>1035</c:v>
                </c:pt>
                <c:pt idx="18959">
                  <c:v>428</c:v>
                </c:pt>
                <c:pt idx="18960">
                  <c:v>1018</c:v>
                </c:pt>
                <c:pt idx="18961">
                  <c:v>235</c:v>
                </c:pt>
                <c:pt idx="18962">
                  <c:v>1192</c:v>
                </c:pt>
                <c:pt idx="18963">
                  <c:v>278</c:v>
                </c:pt>
                <c:pt idx="18964">
                  <c:v>2071</c:v>
                </c:pt>
                <c:pt idx="18965">
                  <c:v>2062</c:v>
                </c:pt>
                <c:pt idx="18966">
                  <c:v>673</c:v>
                </c:pt>
                <c:pt idx="18967">
                  <c:v>817</c:v>
                </c:pt>
                <c:pt idx="18968">
                  <c:v>608</c:v>
                </c:pt>
                <c:pt idx="18969">
                  <c:v>82</c:v>
                </c:pt>
                <c:pt idx="18970">
                  <c:v>724</c:v>
                </c:pt>
                <c:pt idx="18971">
                  <c:v>2222</c:v>
                </c:pt>
                <c:pt idx="18972">
                  <c:v>830</c:v>
                </c:pt>
                <c:pt idx="18973">
                  <c:v>1268</c:v>
                </c:pt>
                <c:pt idx="18974">
                  <c:v>207</c:v>
                </c:pt>
                <c:pt idx="18975">
                  <c:v>34</c:v>
                </c:pt>
                <c:pt idx="18976">
                  <c:v>2075</c:v>
                </c:pt>
                <c:pt idx="18977">
                  <c:v>1593</c:v>
                </c:pt>
                <c:pt idx="18978">
                  <c:v>611</c:v>
                </c:pt>
                <c:pt idx="18979">
                  <c:v>2415</c:v>
                </c:pt>
                <c:pt idx="18980">
                  <c:v>1028</c:v>
                </c:pt>
                <c:pt idx="18981">
                  <c:v>811</c:v>
                </c:pt>
                <c:pt idx="18982">
                  <c:v>1041</c:v>
                </c:pt>
                <c:pt idx="18983">
                  <c:v>26465</c:v>
                </c:pt>
                <c:pt idx="18984">
                  <c:v>5878</c:v>
                </c:pt>
                <c:pt idx="18985">
                  <c:v>255</c:v>
                </c:pt>
                <c:pt idx="18986">
                  <c:v>466</c:v>
                </c:pt>
                <c:pt idx="18987">
                  <c:v>367</c:v>
                </c:pt>
                <c:pt idx="18988">
                  <c:v>112</c:v>
                </c:pt>
                <c:pt idx="18989">
                  <c:v>140</c:v>
                </c:pt>
                <c:pt idx="18990">
                  <c:v>461</c:v>
                </c:pt>
                <c:pt idx="18991">
                  <c:v>144</c:v>
                </c:pt>
                <c:pt idx="18992">
                  <c:v>716</c:v>
                </c:pt>
                <c:pt idx="18993">
                  <c:v>550</c:v>
                </c:pt>
                <c:pt idx="18994">
                  <c:v>223</c:v>
                </c:pt>
                <c:pt idx="18995">
                  <c:v>13014</c:v>
                </c:pt>
                <c:pt idx="18996">
                  <c:v>9505</c:v>
                </c:pt>
                <c:pt idx="18997">
                  <c:v>101</c:v>
                </c:pt>
                <c:pt idx="18998">
                  <c:v>272</c:v>
                </c:pt>
                <c:pt idx="18999">
                  <c:v>211</c:v>
                </c:pt>
                <c:pt idx="19000">
                  <c:v>985</c:v>
                </c:pt>
                <c:pt idx="19001">
                  <c:v>518</c:v>
                </c:pt>
                <c:pt idx="19002">
                  <c:v>182</c:v>
                </c:pt>
                <c:pt idx="19003">
                  <c:v>182</c:v>
                </c:pt>
                <c:pt idx="19004">
                  <c:v>1281</c:v>
                </c:pt>
                <c:pt idx="19005">
                  <c:v>716</c:v>
                </c:pt>
                <c:pt idx="19006">
                  <c:v>16855</c:v>
                </c:pt>
                <c:pt idx="19007">
                  <c:v>14420</c:v>
                </c:pt>
                <c:pt idx="19008">
                  <c:v>13640</c:v>
                </c:pt>
                <c:pt idx="19009">
                  <c:v>222</c:v>
                </c:pt>
                <c:pt idx="19010">
                  <c:v>67</c:v>
                </c:pt>
                <c:pt idx="19011">
                  <c:v>12689</c:v>
                </c:pt>
                <c:pt idx="19012">
                  <c:v>917</c:v>
                </c:pt>
                <c:pt idx="19013">
                  <c:v>2823</c:v>
                </c:pt>
                <c:pt idx="19014">
                  <c:v>295</c:v>
                </c:pt>
                <c:pt idx="19015">
                  <c:v>265</c:v>
                </c:pt>
                <c:pt idx="19016">
                  <c:v>544</c:v>
                </c:pt>
                <c:pt idx="19017">
                  <c:v>1389</c:v>
                </c:pt>
                <c:pt idx="19018">
                  <c:v>1185</c:v>
                </c:pt>
                <c:pt idx="19019">
                  <c:v>329</c:v>
                </c:pt>
                <c:pt idx="19020">
                  <c:v>187</c:v>
                </c:pt>
                <c:pt idx="19021">
                  <c:v>2122</c:v>
                </c:pt>
                <c:pt idx="19022">
                  <c:v>566</c:v>
                </c:pt>
                <c:pt idx="19023">
                  <c:v>132</c:v>
                </c:pt>
                <c:pt idx="19024">
                  <c:v>1068</c:v>
                </c:pt>
                <c:pt idx="19025">
                  <c:v>148</c:v>
                </c:pt>
                <c:pt idx="19026">
                  <c:v>169</c:v>
                </c:pt>
                <c:pt idx="19027">
                  <c:v>6741</c:v>
                </c:pt>
                <c:pt idx="19028">
                  <c:v>626</c:v>
                </c:pt>
                <c:pt idx="19029">
                  <c:v>32</c:v>
                </c:pt>
                <c:pt idx="19030">
                  <c:v>4054</c:v>
                </c:pt>
                <c:pt idx="19031">
                  <c:v>62</c:v>
                </c:pt>
                <c:pt idx="19032">
                  <c:v>1235</c:v>
                </c:pt>
                <c:pt idx="19033">
                  <c:v>686</c:v>
                </c:pt>
                <c:pt idx="19034">
                  <c:v>265</c:v>
                </c:pt>
                <c:pt idx="19035">
                  <c:v>410</c:v>
                </c:pt>
                <c:pt idx="19036">
                  <c:v>824</c:v>
                </c:pt>
                <c:pt idx="19037">
                  <c:v>648</c:v>
                </c:pt>
                <c:pt idx="19038">
                  <c:v>18</c:v>
                </c:pt>
                <c:pt idx="19039">
                  <c:v>5667</c:v>
                </c:pt>
                <c:pt idx="19040">
                  <c:v>517</c:v>
                </c:pt>
                <c:pt idx="19041">
                  <c:v>203</c:v>
                </c:pt>
                <c:pt idx="19042">
                  <c:v>352</c:v>
                </c:pt>
                <c:pt idx="19043">
                  <c:v>2963</c:v>
                </c:pt>
                <c:pt idx="19044">
                  <c:v>4117</c:v>
                </c:pt>
                <c:pt idx="19045">
                  <c:v>470</c:v>
                </c:pt>
                <c:pt idx="19046">
                  <c:v>261</c:v>
                </c:pt>
                <c:pt idx="19047">
                  <c:v>644</c:v>
                </c:pt>
                <c:pt idx="19048">
                  <c:v>682</c:v>
                </c:pt>
                <c:pt idx="19049">
                  <c:v>2667</c:v>
                </c:pt>
                <c:pt idx="19050">
                  <c:v>308</c:v>
                </c:pt>
                <c:pt idx="19051">
                  <c:v>1891</c:v>
                </c:pt>
                <c:pt idx="19052">
                  <c:v>724</c:v>
                </c:pt>
                <c:pt idx="19053">
                  <c:v>2135</c:v>
                </c:pt>
                <c:pt idx="19054">
                  <c:v>2131</c:v>
                </c:pt>
                <c:pt idx="19055">
                  <c:v>620</c:v>
                </c:pt>
                <c:pt idx="19056">
                  <c:v>596</c:v>
                </c:pt>
                <c:pt idx="19057">
                  <c:v>918</c:v>
                </c:pt>
                <c:pt idx="19058">
                  <c:v>220</c:v>
                </c:pt>
                <c:pt idx="19059">
                  <c:v>385</c:v>
                </c:pt>
                <c:pt idx="19060">
                  <c:v>11141</c:v>
                </c:pt>
                <c:pt idx="19061">
                  <c:v>1021</c:v>
                </c:pt>
                <c:pt idx="19062">
                  <c:v>682</c:v>
                </c:pt>
                <c:pt idx="19063">
                  <c:v>296</c:v>
                </c:pt>
                <c:pt idx="19064">
                  <c:v>231</c:v>
                </c:pt>
                <c:pt idx="19065">
                  <c:v>358</c:v>
                </c:pt>
                <c:pt idx="19066">
                  <c:v>514</c:v>
                </c:pt>
                <c:pt idx="19067">
                  <c:v>256</c:v>
                </c:pt>
                <c:pt idx="19068">
                  <c:v>500</c:v>
                </c:pt>
                <c:pt idx="19069">
                  <c:v>182</c:v>
                </c:pt>
                <c:pt idx="19070">
                  <c:v>774</c:v>
                </c:pt>
                <c:pt idx="19071">
                  <c:v>9178</c:v>
                </c:pt>
                <c:pt idx="19072">
                  <c:v>105</c:v>
                </c:pt>
                <c:pt idx="19073">
                  <c:v>340</c:v>
                </c:pt>
                <c:pt idx="19074">
                  <c:v>747</c:v>
                </c:pt>
                <c:pt idx="19075">
                  <c:v>5331</c:v>
                </c:pt>
                <c:pt idx="19076">
                  <c:v>89</c:v>
                </c:pt>
                <c:pt idx="19077">
                  <c:v>3609</c:v>
                </c:pt>
                <c:pt idx="19078">
                  <c:v>3236</c:v>
                </c:pt>
                <c:pt idx="19079">
                  <c:v>86</c:v>
                </c:pt>
                <c:pt idx="19080">
                  <c:v>1440</c:v>
                </c:pt>
                <c:pt idx="19081">
                  <c:v>728</c:v>
                </c:pt>
                <c:pt idx="19082">
                  <c:v>714</c:v>
                </c:pt>
                <c:pt idx="19083">
                  <c:v>13917</c:v>
                </c:pt>
                <c:pt idx="19084">
                  <c:v>187</c:v>
                </c:pt>
                <c:pt idx="19085">
                  <c:v>695</c:v>
                </c:pt>
                <c:pt idx="19086">
                  <c:v>5271</c:v>
                </c:pt>
                <c:pt idx="19087">
                  <c:v>3376</c:v>
                </c:pt>
                <c:pt idx="19088">
                  <c:v>255</c:v>
                </c:pt>
                <c:pt idx="19089">
                  <c:v>2041</c:v>
                </c:pt>
                <c:pt idx="19090">
                  <c:v>191</c:v>
                </c:pt>
                <c:pt idx="19091">
                  <c:v>254</c:v>
                </c:pt>
                <c:pt idx="19092">
                  <c:v>1740</c:v>
                </c:pt>
                <c:pt idx="19093">
                  <c:v>380</c:v>
                </c:pt>
                <c:pt idx="19094">
                  <c:v>1146</c:v>
                </c:pt>
                <c:pt idx="19095">
                  <c:v>448</c:v>
                </c:pt>
                <c:pt idx="19096">
                  <c:v>625</c:v>
                </c:pt>
                <c:pt idx="19097">
                  <c:v>40</c:v>
                </c:pt>
                <c:pt idx="19098">
                  <c:v>4710</c:v>
                </c:pt>
                <c:pt idx="19099">
                  <c:v>16975</c:v>
                </c:pt>
                <c:pt idx="19100">
                  <c:v>362</c:v>
                </c:pt>
                <c:pt idx="19101">
                  <c:v>467</c:v>
                </c:pt>
                <c:pt idx="19102">
                  <c:v>369</c:v>
                </c:pt>
                <c:pt idx="19103">
                  <c:v>229</c:v>
                </c:pt>
                <c:pt idx="19104">
                  <c:v>1995</c:v>
                </c:pt>
                <c:pt idx="19105">
                  <c:v>7033</c:v>
                </c:pt>
                <c:pt idx="19106">
                  <c:v>8146</c:v>
                </c:pt>
                <c:pt idx="19107">
                  <c:v>205</c:v>
                </c:pt>
                <c:pt idx="19108">
                  <c:v>683</c:v>
                </c:pt>
                <c:pt idx="19109">
                  <c:v>18072</c:v>
                </c:pt>
                <c:pt idx="19110">
                  <c:v>1132</c:v>
                </c:pt>
                <c:pt idx="19111">
                  <c:v>116</c:v>
                </c:pt>
                <c:pt idx="19112">
                  <c:v>373</c:v>
                </c:pt>
                <c:pt idx="19113">
                  <c:v>751</c:v>
                </c:pt>
                <c:pt idx="19114">
                  <c:v>638</c:v>
                </c:pt>
                <c:pt idx="19115">
                  <c:v>2289</c:v>
                </c:pt>
                <c:pt idx="19116">
                  <c:v>191</c:v>
                </c:pt>
                <c:pt idx="19117">
                  <c:v>234</c:v>
                </c:pt>
                <c:pt idx="19118">
                  <c:v>5637</c:v>
                </c:pt>
                <c:pt idx="19119">
                  <c:v>179</c:v>
                </c:pt>
                <c:pt idx="19120">
                  <c:v>113</c:v>
                </c:pt>
                <c:pt idx="19121">
                  <c:v>4057</c:v>
                </c:pt>
                <c:pt idx="19122">
                  <c:v>351</c:v>
                </c:pt>
                <c:pt idx="19123">
                  <c:v>259</c:v>
                </c:pt>
                <c:pt idx="19124">
                  <c:v>1561</c:v>
                </c:pt>
                <c:pt idx="19125">
                  <c:v>804</c:v>
                </c:pt>
                <c:pt idx="19126">
                  <c:v>4038</c:v>
                </c:pt>
                <c:pt idx="19127">
                  <c:v>361</c:v>
                </c:pt>
                <c:pt idx="19128">
                  <c:v>1083</c:v>
                </c:pt>
                <c:pt idx="19129">
                  <c:v>1392</c:v>
                </c:pt>
                <c:pt idx="19130">
                  <c:v>507</c:v>
                </c:pt>
                <c:pt idx="19131">
                  <c:v>1505</c:v>
                </c:pt>
                <c:pt idx="19132">
                  <c:v>35</c:v>
                </c:pt>
                <c:pt idx="19133">
                  <c:v>101</c:v>
                </c:pt>
                <c:pt idx="19134">
                  <c:v>199</c:v>
                </c:pt>
                <c:pt idx="19135">
                  <c:v>568</c:v>
                </c:pt>
                <c:pt idx="19136">
                  <c:v>925</c:v>
                </c:pt>
                <c:pt idx="19137">
                  <c:v>166</c:v>
                </c:pt>
                <c:pt idx="19138">
                  <c:v>879</c:v>
                </c:pt>
                <c:pt idx="19139">
                  <c:v>651</c:v>
                </c:pt>
                <c:pt idx="19140">
                  <c:v>67</c:v>
                </c:pt>
                <c:pt idx="19141">
                  <c:v>487</c:v>
                </c:pt>
                <c:pt idx="19142">
                  <c:v>916</c:v>
                </c:pt>
                <c:pt idx="19143">
                  <c:v>2932</c:v>
                </c:pt>
                <c:pt idx="19144">
                  <c:v>200</c:v>
                </c:pt>
                <c:pt idx="19145">
                  <c:v>485</c:v>
                </c:pt>
                <c:pt idx="19146">
                  <c:v>194</c:v>
                </c:pt>
                <c:pt idx="19147">
                  <c:v>1055</c:v>
                </c:pt>
                <c:pt idx="19148">
                  <c:v>260</c:v>
                </c:pt>
                <c:pt idx="19149">
                  <c:v>348</c:v>
                </c:pt>
                <c:pt idx="19150">
                  <c:v>5148</c:v>
                </c:pt>
                <c:pt idx="19151">
                  <c:v>1483</c:v>
                </c:pt>
                <c:pt idx="19152">
                  <c:v>2120</c:v>
                </c:pt>
                <c:pt idx="19153">
                  <c:v>2451</c:v>
                </c:pt>
                <c:pt idx="19154">
                  <c:v>2133</c:v>
                </c:pt>
                <c:pt idx="19155">
                  <c:v>1796</c:v>
                </c:pt>
                <c:pt idx="19156">
                  <c:v>4685</c:v>
                </c:pt>
                <c:pt idx="19157">
                  <c:v>2159</c:v>
                </c:pt>
                <c:pt idx="19158">
                  <c:v>8336</c:v>
                </c:pt>
                <c:pt idx="19159">
                  <c:v>583</c:v>
                </c:pt>
                <c:pt idx="19160">
                  <c:v>1200</c:v>
                </c:pt>
                <c:pt idx="19161">
                  <c:v>1524</c:v>
                </c:pt>
                <c:pt idx="19162">
                  <c:v>249</c:v>
                </c:pt>
                <c:pt idx="19163">
                  <c:v>1025</c:v>
                </c:pt>
                <c:pt idx="19164">
                  <c:v>364</c:v>
                </c:pt>
                <c:pt idx="19165">
                  <c:v>8430</c:v>
                </c:pt>
                <c:pt idx="19166">
                  <c:v>16331</c:v>
                </c:pt>
                <c:pt idx="19167">
                  <c:v>8152</c:v>
                </c:pt>
                <c:pt idx="19168">
                  <c:v>15255</c:v>
                </c:pt>
                <c:pt idx="19169">
                  <c:v>3456</c:v>
                </c:pt>
                <c:pt idx="19170">
                  <c:v>3564</c:v>
                </c:pt>
                <c:pt idx="19171">
                  <c:v>3677</c:v>
                </c:pt>
                <c:pt idx="19172">
                  <c:v>2517</c:v>
                </c:pt>
                <c:pt idx="19173">
                  <c:v>17048</c:v>
                </c:pt>
                <c:pt idx="19174">
                  <c:v>7910</c:v>
                </c:pt>
                <c:pt idx="19175">
                  <c:v>858</c:v>
                </c:pt>
                <c:pt idx="19176">
                  <c:v>246</c:v>
                </c:pt>
                <c:pt idx="19177">
                  <c:v>2012</c:v>
                </c:pt>
                <c:pt idx="19178">
                  <c:v>640</c:v>
                </c:pt>
                <c:pt idx="19179">
                  <c:v>354</c:v>
                </c:pt>
                <c:pt idx="19180">
                  <c:v>626</c:v>
                </c:pt>
                <c:pt idx="19181">
                  <c:v>2878</c:v>
                </c:pt>
                <c:pt idx="19182">
                  <c:v>426</c:v>
                </c:pt>
                <c:pt idx="19183">
                  <c:v>921</c:v>
                </c:pt>
                <c:pt idx="19184">
                  <c:v>3874</c:v>
                </c:pt>
                <c:pt idx="19185">
                  <c:v>300</c:v>
                </c:pt>
                <c:pt idx="19186">
                  <c:v>8522</c:v>
                </c:pt>
                <c:pt idx="19187">
                  <c:v>281</c:v>
                </c:pt>
                <c:pt idx="19188">
                  <c:v>254</c:v>
                </c:pt>
                <c:pt idx="19189">
                  <c:v>3514</c:v>
                </c:pt>
                <c:pt idx="19190">
                  <c:v>468</c:v>
                </c:pt>
                <c:pt idx="19191">
                  <c:v>20</c:v>
                </c:pt>
                <c:pt idx="19192">
                  <c:v>890</c:v>
                </c:pt>
                <c:pt idx="19193">
                  <c:v>5253</c:v>
                </c:pt>
                <c:pt idx="19194">
                  <c:v>3609</c:v>
                </c:pt>
                <c:pt idx="19195">
                  <c:v>699</c:v>
                </c:pt>
                <c:pt idx="19196">
                  <c:v>2567</c:v>
                </c:pt>
                <c:pt idx="19197">
                  <c:v>1889</c:v>
                </c:pt>
                <c:pt idx="19198">
                  <c:v>2383</c:v>
                </c:pt>
                <c:pt idx="19199">
                  <c:v>492</c:v>
                </c:pt>
                <c:pt idx="19200">
                  <c:v>16887</c:v>
                </c:pt>
                <c:pt idx="19201">
                  <c:v>861</c:v>
                </c:pt>
                <c:pt idx="19202">
                  <c:v>763</c:v>
                </c:pt>
                <c:pt idx="19203">
                  <c:v>96</c:v>
                </c:pt>
                <c:pt idx="19204">
                  <c:v>2562</c:v>
                </c:pt>
                <c:pt idx="19205">
                  <c:v>1589</c:v>
                </c:pt>
                <c:pt idx="19206">
                  <c:v>536</c:v>
                </c:pt>
                <c:pt idx="19207">
                  <c:v>3132</c:v>
                </c:pt>
                <c:pt idx="19208">
                  <c:v>257</c:v>
                </c:pt>
                <c:pt idx="19209">
                  <c:v>1588</c:v>
                </c:pt>
                <c:pt idx="19210">
                  <c:v>342</c:v>
                </c:pt>
                <c:pt idx="19211">
                  <c:v>257</c:v>
                </c:pt>
                <c:pt idx="19212">
                  <c:v>2512</c:v>
                </c:pt>
                <c:pt idx="19213">
                  <c:v>2820</c:v>
                </c:pt>
                <c:pt idx="19214">
                  <c:v>1254</c:v>
                </c:pt>
                <c:pt idx="19215">
                  <c:v>172</c:v>
                </c:pt>
                <c:pt idx="19216">
                  <c:v>383</c:v>
                </c:pt>
                <c:pt idx="19217">
                  <c:v>2053</c:v>
                </c:pt>
                <c:pt idx="19218">
                  <c:v>7128</c:v>
                </c:pt>
                <c:pt idx="19219">
                  <c:v>919</c:v>
                </c:pt>
                <c:pt idx="19220">
                  <c:v>8713</c:v>
                </c:pt>
                <c:pt idx="19221">
                  <c:v>15076</c:v>
                </c:pt>
                <c:pt idx="19222">
                  <c:v>9841</c:v>
                </c:pt>
                <c:pt idx="19223">
                  <c:v>364</c:v>
                </c:pt>
                <c:pt idx="19224">
                  <c:v>850</c:v>
                </c:pt>
                <c:pt idx="19225">
                  <c:v>178</c:v>
                </c:pt>
                <c:pt idx="19226">
                  <c:v>305</c:v>
                </c:pt>
                <c:pt idx="19227">
                  <c:v>340</c:v>
                </c:pt>
                <c:pt idx="19228">
                  <c:v>88</c:v>
                </c:pt>
                <c:pt idx="19229">
                  <c:v>1208</c:v>
                </c:pt>
                <c:pt idx="19230">
                  <c:v>1879</c:v>
                </c:pt>
                <c:pt idx="19231">
                  <c:v>99</c:v>
                </c:pt>
                <c:pt idx="19232">
                  <c:v>759</c:v>
                </c:pt>
                <c:pt idx="19233">
                  <c:v>269</c:v>
                </c:pt>
                <c:pt idx="19234">
                  <c:v>1165</c:v>
                </c:pt>
                <c:pt idx="19235">
                  <c:v>664</c:v>
                </c:pt>
                <c:pt idx="19236">
                  <c:v>101</c:v>
                </c:pt>
                <c:pt idx="19237">
                  <c:v>32</c:v>
                </c:pt>
                <c:pt idx="19238">
                  <c:v>622</c:v>
                </c:pt>
                <c:pt idx="19239">
                  <c:v>513</c:v>
                </c:pt>
                <c:pt idx="19240">
                  <c:v>777</c:v>
                </c:pt>
                <c:pt idx="19241">
                  <c:v>1627</c:v>
                </c:pt>
                <c:pt idx="19242">
                  <c:v>402</c:v>
                </c:pt>
                <c:pt idx="19243">
                  <c:v>164</c:v>
                </c:pt>
                <c:pt idx="19244">
                  <c:v>57</c:v>
                </c:pt>
                <c:pt idx="19245">
                  <c:v>775</c:v>
                </c:pt>
                <c:pt idx="19246">
                  <c:v>124</c:v>
                </c:pt>
                <c:pt idx="19247">
                  <c:v>325</c:v>
                </c:pt>
                <c:pt idx="19248">
                  <c:v>1051</c:v>
                </c:pt>
                <c:pt idx="19249">
                  <c:v>77</c:v>
                </c:pt>
                <c:pt idx="19250">
                  <c:v>1627</c:v>
                </c:pt>
                <c:pt idx="19251">
                  <c:v>463</c:v>
                </c:pt>
                <c:pt idx="19252">
                  <c:v>266</c:v>
                </c:pt>
                <c:pt idx="19253">
                  <c:v>231</c:v>
                </c:pt>
                <c:pt idx="19254">
                  <c:v>125</c:v>
                </c:pt>
                <c:pt idx="19255">
                  <c:v>262</c:v>
                </c:pt>
                <c:pt idx="19256">
                  <c:v>111</c:v>
                </c:pt>
                <c:pt idx="19257">
                  <c:v>952</c:v>
                </c:pt>
                <c:pt idx="19258">
                  <c:v>81</c:v>
                </c:pt>
                <c:pt idx="19259">
                  <c:v>135</c:v>
                </c:pt>
                <c:pt idx="19260">
                  <c:v>2240</c:v>
                </c:pt>
                <c:pt idx="19261">
                  <c:v>215</c:v>
                </c:pt>
                <c:pt idx="19262">
                  <c:v>720</c:v>
                </c:pt>
                <c:pt idx="19263">
                  <c:v>581</c:v>
                </c:pt>
                <c:pt idx="19264">
                  <c:v>167</c:v>
                </c:pt>
                <c:pt idx="19265">
                  <c:v>130</c:v>
                </c:pt>
                <c:pt idx="19266">
                  <c:v>212</c:v>
                </c:pt>
                <c:pt idx="19267">
                  <c:v>295</c:v>
                </c:pt>
                <c:pt idx="19268">
                  <c:v>511</c:v>
                </c:pt>
                <c:pt idx="19269">
                  <c:v>375</c:v>
                </c:pt>
                <c:pt idx="19270">
                  <c:v>749</c:v>
                </c:pt>
                <c:pt idx="19271">
                  <c:v>144</c:v>
                </c:pt>
                <c:pt idx="19272">
                  <c:v>9484</c:v>
                </c:pt>
                <c:pt idx="19273">
                  <c:v>2078</c:v>
                </c:pt>
                <c:pt idx="19274">
                  <c:v>125</c:v>
                </c:pt>
                <c:pt idx="19275">
                  <c:v>683</c:v>
                </c:pt>
                <c:pt idx="19276">
                  <c:v>1143</c:v>
                </c:pt>
                <c:pt idx="19277">
                  <c:v>1049</c:v>
                </c:pt>
                <c:pt idx="19278">
                  <c:v>106</c:v>
                </c:pt>
                <c:pt idx="19279">
                  <c:v>2065</c:v>
                </c:pt>
                <c:pt idx="19280">
                  <c:v>216</c:v>
                </c:pt>
                <c:pt idx="19281">
                  <c:v>420</c:v>
                </c:pt>
                <c:pt idx="19282">
                  <c:v>215</c:v>
                </c:pt>
                <c:pt idx="19283">
                  <c:v>1252</c:v>
                </c:pt>
                <c:pt idx="19284">
                  <c:v>433</c:v>
                </c:pt>
                <c:pt idx="19285">
                  <c:v>368</c:v>
                </c:pt>
                <c:pt idx="19286">
                  <c:v>737</c:v>
                </c:pt>
                <c:pt idx="19287">
                  <c:v>1378</c:v>
                </c:pt>
                <c:pt idx="19288">
                  <c:v>438</c:v>
                </c:pt>
                <c:pt idx="19289">
                  <c:v>575</c:v>
                </c:pt>
                <c:pt idx="19290">
                  <c:v>272</c:v>
                </c:pt>
                <c:pt idx="19291">
                  <c:v>3018</c:v>
                </c:pt>
                <c:pt idx="19292">
                  <c:v>575</c:v>
                </c:pt>
                <c:pt idx="19293">
                  <c:v>2920</c:v>
                </c:pt>
                <c:pt idx="19294">
                  <c:v>1320</c:v>
                </c:pt>
                <c:pt idx="19295">
                  <c:v>835</c:v>
                </c:pt>
                <c:pt idx="19296">
                  <c:v>137</c:v>
                </c:pt>
                <c:pt idx="19297">
                  <c:v>614</c:v>
                </c:pt>
                <c:pt idx="19298">
                  <c:v>200</c:v>
                </c:pt>
                <c:pt idx="19299">
                  <c:v>1668</c:v>
                </c:pt>
                <c:pt idx="19300">
                  <c:v>2644</c:v>
                </c:pt>
                <c:pt idx="19301">
                  <c:v>1261</c:v>
                </c:pt>
                <c:pt idx="19302">
                  <c:v>5868</c:v>
                </c:pt>
                <c:pt idx="19303">
                  <c:v>994</c:v>
                </c:pt>
                <c:pt idx="19304">
                  <c:v>139</c:v>
                </c:pt>
                <c:pt idx="19305">
                  <c:v>4304</c:v>
                </c:pt>
                <c:pt idx="19306">
                  <c:v>1028</c:v>
                </c:pt>
                <c:pt idx="19307">
                  <c:v>148</c:v>
                </c:pt>
                <c:pt idx="19308">
                  <c:v>515</c:v>
                </c:pt>
                <c:pt idx="19309">
                  <c:v>368</c:v>
                </c:pt>
                <c:pt idx="19310">
                  <c:v>671</c:v>
                </c:pt>
                <c:pt idx="19311">
                  <c:v>454</c:v>
                </c:pt>
                <c:pt idx="19312">
                  <c:v>63</c:v>
                </c:pt>
                <c:pt idx="19313">
                  <c:v>430</c:v>
                </c:pt>
                <c:pt idx="19314">
                  <c:v>1203</c:v>
                </c:pt>
                <c:pt idx="19315">
                  <c:v>2268</c:v>
                </c:pt>
                <c:pt idx="19316">
                  <c:v>1326</c:v>
                </c:pt>
                <c:pt idx="19317">
                  <c:v>3804</c:v>
                </c:pt>
                <c:pt idx="19318">
                  <c:v>601</c:v>
                </c:pt>
                <c:pt idx="19319">
                  <c:v>306</c:v>
                </c:pt>
                <c:pt idx="19320">
                  <c:v>148</c:v>
                </c:pt>
                <c:pt idx="19321">
                  <c:v>692</c:v>
                </c:pt>
                <c:pt idx="19322">
                  <c:v>370</c:v>
                </c:pt>
                <c:pt idx="19323">
                  <c:v>125</c:v>
                </c:pt>
                <c:pt idx="19324">
                  <c:v>313</c:v>
                </c:pt>
                <c:pt idx="19325">
                  <c:v>204</c:v>
                </c:pt>
                <c:pt idx="19326">
                  <c:v>147</c:v>
                </c:pt>
                <c:pt idx="19327">
                  <c:v>1134</c:v>
                </c:pt>
                <c:pt idx="19328">
                  <c:v>728</c:v>
                </c:pt>
                <c:pt idx="19329">
                  <c:v>281</c:v>
                </c:pt>
                <c:pt idx="19330">
                  <c:v>737</c:v>
                </c:pt>
                <c:pt idx="19331">
                  <c:v>192</c:v>
                </c:pt>
                <c:pt idx="19332">
                  <c:v>488</c:v>
                </c:pt>
                <c:pt idx="19333">
                  <c:v>125</c:v>
                </c:pt>
                <c:pt idx="19334">
                  <c:v>618</c:v>
                </c:pt>
                <c:pt idx="19335">
                  <c:v>14636</c:v>
                </c:pt>
                <c:pt idx="19336">
                  <c:v>5925</c:v>
                </c:pt>
                <c:pt idx="19337">
                  <c:v>12782</c:v>
                </c:pt>
                <c:pt idx="19338">
                  <c:v>672</c:v>
                </c:pt>
                <c:pt idx="19339">
                  <c:v>1050</c:v>
                </c:pt>
                <c:pt idx="19340">
                  <c:v>338</c:v>
                </c:pt>
                <c:pt idx="19341">
                  <c:v>540</c:v>
                </c:pt>
                <c:pt idx="19342">
                  <c:v>1438</c:v>
                </c:pt>
                <c:pt idx="19343">
                  <c:v>405</c:v>
                </c:pt>
                <c:pt idx="19344">
                  <c:v>102</c:v>
                </c:pt>
                <c:pt idx="19345">
                  <c:v>211</c:v>
                </c:pt>
                <c:pt idx="19346">
                  <c:v>561</c:v>
                </c:pt>
                <c:pt idx="19347">
                  <c:v>624</c:v>
                </c:pt>
                <c:pt idx="19348">
                  <c:v>276</c:v>
                </c:pt>
                <c:pt idx="19349">
                  <c:v>823</c:v>
                </c:pt>
                <c:pt idx="19350">
                  <c:v>786</c:v>
                </c:pt>
                <c:pt idx="19351">
                  <c:v>690</c:v>
                </c:pt>
                <c:pt idx="19352">
                  <c:v>409</c:v>
                </c:pt>
                <c:pt idx="19353">
                  <c:v>448</c:v>
                </c:pt>
                <c:pt idx="19354">
                  <c:v>1017</c:v>
                </c:pt>
                <c:pt idx="19355">
                  <c:v>3059</c:v>
                </c:pt>
                <c:pt idx="19356">
                  <c:v>1408</c:v>
                </c:pt>
                <c:pt idx="19357">
                  <c:v>468</c:v>
                </c:pt>
                <c:pt idx="19358">
                  <c:v>154</c:v>
                </c:pt>
                <c:pt idx="19359">
                  <c:v>959</c:v>
                </c:pt>
                <c:pt idx="19360">
                  <c:v>285</c:v>
                </c:pt>
                <c:pt idx="19361">
                  <c:v>135</c:v>
                </c:pt>
                <c:pt idx="19362">
                  <c:v>3096</c:v>
                </c:pt>
                <c:pt idx="19363">
                  <c:v>1778</c:v>
                </c:pt>
                <c:pt idx="19364">
                  <c:v>615</c:v>
                </c:pt>
                <c:pt idx="19365">
                  <c:v>2549</c:v>
                </c:pt>
                <c:pt idx="19366">
                  <c:v>2486</c:v>
                </c:pt>
                <c:pt idx="19367">
                  <c:v>3390</c:v>
                </c:pt>
                <c:pt idx="19368">
                  <c:v>417</c:v>
                </c:pt>
                <c:pt idx="19369">
                  <c:v>6461</c:v>
                </c:pt>
                <c:pt idx="19370">
                  <c:v>365</c:v>
                </c:pt>
                <c:pt idx="19371">
                  <c:v>666</c:v>
                </c:pt>
                <c:pt idx="19372">
                  <c:v>316</c:v>
                </c:pt>
                <c:pt idx="19373">
                  <c:v>734</c:v>
                </c:pt>
                <c:pt idx="19374">
                  <c:v>223</c:v>
                </c:pt>
                <c:pt idx="19375">
                  <c:v>60</c:v>
                </c:pt>
                <c:pt idx="19376">
                  <c:v>625</c:v>
                </c:pt>
                <c:pt idx="19377">
                  <c:v>761</c:v>
                </c:pt>
                <c:pt idx="19378">
                  <c:v>1965</c:v>
                </c:pt>
                <c:pt idx="19379">
                  <c:v>2753</c:v>
                </c:pt>
                <c:pt idx="19380">
                  <c:v>206</c:v>
                </c:pt>
                <c:pt idx="19381">
                  <c:v>3194</c:v>
                </c:pt>
                <c:pt idx="19382">
                  <c:v>532</c:v>
                </c:pt>
                <c:pt idx="19383">
                  <c:v>121</c:v>
                </c:pt>
                <c:pt idx="19384">
                  <c:v>576</c:v>
                </c:pt>
                <c:pt idx="19385">
                  <c:v>3301</c:v>
                </c:pt>
                <c:pt idx="19386">
                  <c:v>438</c:v>
                </c:pt>
                <c:pt idx="19387">
                  <c:v>363</c:v>
                </c:pt>
                <c:pt idx="19388">
                  <c:v>7762</c:v>
                </c:pt>
                <c:pt idx="19389">
                  <c:v>300</c:v>
                </c:pt>
                <c:pt idx="19390">
                  <c:v>82</c:v>
                </c:pt>
                <c:pt idx="19391">
                  <c:v>228</c:v>
                </c:pt>
                <c:pt idx="19392">
                  <c:v>487</c:v>
                </c:pt>
                <c:pt idx="19393">
                  <c:v>254</c:v>
                </c:pt>
                <c:pt idx="19394">
                  <c:v>678</c:v>
                </c:pt>
                <c:pt idx="19395">
                  <c:v>1395</c:v>
                </c:pt>
                <c:pt idx="19396">
                  <c:v>615</c:v>
                </c:pt>
                <c:pt idx="19397">
                  <c:v>330</c:v>
                </c:pt>
                <c:pt idx="19398">
                  <c:v>2102</c:v>
                </c:pt>
                <c:pt idx="19399">
                  <c:v>183</c:v>
                </c:pt>
                <c:pt idx="19400">
                  <c:v>10775</c:v>
                </c:pt>
                <c:pt idx="19401">
                  <c:v>254</c:v>
                </c:pt>
                <c:pt idx="19402">
                  <c:v>7496</c:v>
                </c:pt>
                <c:pt idx="19403">
                  <c:v>596</c:v>
                </c:pt>
                <c:pt idx="19404">
                  <c:v>101</c:v>
                </c:pt>
                <c:pt idx="19405">
                  <c:v>1433</c:v>
                </c:pt>
                <c:pt idx="19406">
                  <c:v>525</c:v>
                </c:pt>
                <c:pt idx="19407">
                  <c:v>211</c:v>
                </c:pt>
                <c:pt idx="19408">
                  <c:v>273</c:v>
                </c:pt>
                <c:pt idx="19409">
                  <c:v>586</c:v>
                </c:pt>
                <c:pt idx="19410">
                  <c:v>1308</c:v>
                </c:pt>
                <c:pt idx="19411">
                  <c:v>284</c:v>
                </c:pt>
                <c:pt idx="19412">
                  <c:v>57</c:v>
                </c:pt>
                <c:pt idx="19413">
                  <c:v>185</c:v>
                </c:pt>
                <c:pt idx="19414">
                  <c:v>452</c:v>
                </c:pt>
                <c:pt idx="19415">
                  <c:v>2927</c:v>
                </c:pt>
                <c:pt idx="19416">
                  <c:v>1005</c:v>
                </c:pt>
                <c:pt idx="19417">
                  <c:v>2402</c:v>
                </c:pt>
                <c:pt idx="19418">
                  <c:v>369</c:v>
                </c:pt>
                <c:pt idx="19419">
                  <c:v>2805</c:v>
                </c:pt>
                <c:pt idx="19420">
                  <c:v>724</c:v>
                </c:pt>
                <c:pt idx="19421">
                  <c:v>328</c:v>
                </c:pt>
                <c:pt idx="19422">
                  <c:v>333</c:v>
                </c:pt>
                <c:pt idx="19423">
                  <c:v>1790</c:v>
                </c:pt>
                <c:pt idx="19424">
                  <c:v>1039</c:v>
                </c:pt>
                <c:pt idx="19425">
                  <c:v>940</c:v>
                </c:pt>
                <c:pt idx="19426">
                  <c:v>899</c:v>
                </c:pt>
                <c:pt idx="19427">
                  <c:v>1448</c:v>
                </c:pt>
                <c:pt idx="19428">
                  <c:v>219</c:v>
                </c:pt>
                <c:pt idx="19429">
                  <c:v>13897</c:v>
                </c:pt>
                <c:pt idx="19430">
                  <c:v>11479</c:v>
                </c:pt>
                <c:pt idx="19431">
                  <c:v>20365</c:v>
                </c:pt>
                <c:pt idx="19432">
                  <c:v>611</c:v>
                </c:pt>
                <c:pt idx="19433">
                  <c:v>4034</c:v>
                </c:pt>
                <c:pt idx="19434">
                  <c:v>8198</c:v>
                </c:pt>
                <c:pt idx="19435">
                  <c:v>5047</c:v>
                </c:pt>
                <c:pt idx="19436">
                  <c:v>7070</c:v>
                </c:pt>
                <c:pt idx="19437">
                  <c:v>509</c:v>
                </c:pt>
                <c:pt idx="19438">
                  <c:v>1388</c:v>
                </c:pt>
                <c:pt idx="19439">
                  <c:v>451</c:v>
                </c:pt>
                <c:pt idx="19440">
                  <c:v>836</c:v>
                </c:pt>
                <c:pt idx="19441">
                  <c:v>136</c:v>
                </c:pt>
                <c:pt idx="19442">
                  <c:v>97</c:v>
                </c:pt>
                <c:pt idx="19443">
                  <c:v>4569</c:v>
                </c:pt>
                <c:pt idx="19444">
                  <c:v>790</c:v>
                </c:pt>
                <c:pt idx="19445">
                  <c:v>100</c:v>
                </c:pt>
                <c:pt idx="19446">
                  <c:v>485</c:v>
                </c:pt>
                <c:pt idx="19447">
                  <c:v>206</c:v>
                </c:pt>
                <c:pt idx="19448">
                  <c:v>139</c:v>
                </c:pt>
                <c:pt idx="19449">
                  <c:v>123</c:v>
                </c:pt>
                <c:pt idx="19450">
                  <c:v>3076</c:v>
                </c:pt>
                <c:pt idx="19451">
                  <c:v>963</c:v>
                </c:pt>
                <c:pt idx="19452">
                  <c:v>806</c:v>
                </c:pt>
                <c:pt idx="19453">
                  <c:v>748</c:v>
                </c:pt>
                <c:pt idx="19454">
                  <c:v>392</c:v>
                </c:pt>
                <c:pt idx="19455">
                  <c:v>93</c:v>
                </c:pt>
                <c:pt idx="19456">
                  <c:v>523</c:v>
                </c:pt>
                <c:pt idx="19457">
                  <c:v>511</c:v>
                </c:pt>
                <c:pt idx="19458">
                  <c:v>189</c:v>
                </c:pt>
                <c:pt idx="19459">
                  <c:v>3532</c:v>
                </c:pt>
                <c:pt idx="19460">
                  <c:v>150</c:v>
                </c:pt>
                <c:pt idx="19461">
                  <c:v>453</c:v>
                </c:pt>
                <c:pt idx="19462">
                  <c:v>418</c:v>
                </c:pt>
                <c:pt idx="19463">
                  <c:v>3712</c:v>
                </c:pt>
                <c:pt idx="19464">
                  <c:v>836</c:v>
                </c:pt>
                <c:pt idx="19465">
                  <c:v>2929</c:v>
                </c:pt>
                <c:pt idx="19466">
                  <c:v>34</c:v>
                </c:pt>
                <c:pt idx="19467">
                  <c:v>286</c:v>
                </c:pt>
                <c:pt idx="19468">
                  <c:v>45</c:v>
                </c:pt>
                <c:pt idx="19469">
                  <c:v>919</c:v>
                </c:pt>
                <c:pt idx="19470">
                  <c:v>368</c:v>
                </c:pt>
                <c:pt idx="19471">
                  <c:v>257</c:v>
                </c:pt>
                <c:pt idx="19472">
                  <c:v>868</c:v>
                </c:pt>
                <c:pt idx="19473">
                  <c:v>128</c:v>
                </c:pt>
                <c:pt idx="19474">
                  <c:v>62</c:v>
                </c:pt>
                <c:pt idx="19475">
                  <c:v>346</c:v>
                </c:pt>
                <c:pt idx="19476">
                  <c:v>604</c:v>
                </c:pt>
                <c:pt idx="19477">
                  <c:v>118</c:v>
                </c:pt>
                <c:pt idx="19478">
                  <c:v>1217</c:v>
                </c:pt>
                <c:pt idx="19479">
                  <c:v>2202</c:v>
                </c:pt>
                <c:pt idx="19480">
                  <c:v>191</c:v>
                </c:pt>
                <c:pt idx="19481">
                  <c:v>92</c:v>
                </c:pt>
                <c:pt idx="19482">
                  <c:v>158</c:v>
                </c:pt>
                <c:pt idx="19483">
                  <c:v>4249</c:v>
                </c:pt>
                <c:pt idx="19484">
                  <c:v>10035</c:v>
                </c:pt>
                <c:pt idx="19485">
                  <c:v>951</c:v>
                </c:pt>
                <c:pt idx="19486">
                  <c:v>98</c:v>
                </c:pt>
                <c:pt idx="19487">
                  <c:v>695</c:v>
                </c:pt>
                <c:pt idx="19488">
                  <c:v>1141</c:v>
                </c:pt>
                <c:pt idx="19489">
                  <c:v>995</c:v>
                </c:pt>
                <c:pt idx="19490">
                  <c:v>285</c:v>
                </c:pt>
                <c:pt idx="19491">
                  <c:v>535</c:v>
                </c:pt>
                <c:pt idx="19492">
                  <c:v>153</c:v>
                </c:pt>
                <c:pt idx="19493">
                  <c:v>546</c:v>
                </c:pt>
                <c:pt idx="19494">
                  <c:v>71</c:v>
                </c:pt>
                <c:pt idx="19495">
                  <c:v>184</c:v>
                </c:pt>
                <c:pt idx="19496">
                  <c:v>137</c:v>
                </c:pt>
                <c:pt idx="19497">
                  <c:v>251</c:v>
                </c:pt>
                <c:pt idx="19498">
                  <c:v>5138</c:v>
                </c:pt>
                <c:pt idx="19499">
                  <c:v>892</c:v>
                </c:pt>
                <c:pt idx="19500">
                  <c:v>334</c:v>
                </c:pt>
                <c:pt idx="19501">
                  <c:v>1265</c:v>
                </c:pt>
                <c:pt idx="19502">
                  <c:v>250</c:v>
                </c:pt>
                <c:pt idx="19503">
                  <c:v>136</c:v>
                </c:pt>
                <c:pt idx="19504">
                  <c:v>84</c:v>
                </c:pt>
                <c:pt idx="19505">
                  <c:v>826</c:v>
                </c:pt>
                <c:pt idx="19506">
                  <c:v>120</c:v>
                </c:pt>
                <c:pt idx="19507">
                  <c:v>887</c:v>
                </c:pt>
                <c:pt idx="19508">
                  <c:v>206</c:v>
                </c:pt>
                <c:pt idx="19509">
                  <c:v>83</c:v>
                </c:pt>
                <c:pt idx="19510">
                  <c:v>456</c:v>
                </c:pt>
                <c:pt idx="19511">
                  <c:v>464</c:v>
                </c:pt>
                <c:pt idx="19512">
                  <c:v>781</c:v>
                </c:pt>
                <c:pt idx="19513">
                  <c:v>4569</c:v>
                </c:pt>
                <c:pt idx="19514">
                  <c:v>179</c:v>
                </c:pt>
                <c:pt idx="19515">
                  <c:v>1095</c:v>
                </c:pt>
                <c:pt idx="19516">
                  <c:v>642</c:v>
                </c:pt>
                <c:pt idx="19517">
                  <c:v>9507</c:v>
                </c:pt>
                <c:pt idx="19518">
                  <c:v>2209</c:v>
                </c:pt>
                <c:pt idx="19519">
                  <c:v>1201</c:v>
                </c:pt>
                <c:pt idx="19520">
                  <c:v>212</c:v>
                </c:pt>
                <c:pt idx="19521">
                  <c:v>2855</c:v>
                </c:pt>
                <c:pt idx="19522">
                  <c:v>644</c:v>
                </c:pt>
                <c:pt idx="19523">
                  <c:v>160</c:v>
                </c:pt>
                <c:pt idx="19524">
                  <c:v>927</c:v>
                </c:pt>
                <c:pt idx="19525">
                  <c:v>546</c:v>
                </c:pt>
                <c:pt idx="19526">
                  <c:v>609</c:v>
                </c:pt>
                <c:pt idx="19527">
                  <c:v>216</c:v>
                </c:pt>
                <c:pt idx="19528">
                  <c:v>352</c:v>
                </c:pt>
                <c:pt idx="19529">
                  <c:v>1094</c:v>
                </c:pt>
                <c:pt idx="19530">
                  <c:v>4969</c:v>
                </c:pt>
                <c:pt idx="19531">
                  <c:v>301</c:v>
                </c:pt>
                <c:pt idx="19532">
                  <c:v>1345</c:v>
                </c:pt>
                <c:pt idx="19533">
                  <c:v>87</c:v>
                </c:pt>
                <c:pt idx="19534">
                  <c:v>1512</c:v>
                </c:pt>
                <c:pt idx="19535">
                  <c:v>149</c:v>
                </c:pt>
                <c:pt idx="19536">
                  <c:v>1360</c:v>
                </c:pt>
                <c:pt idx="19537">
                  <c:v>687</c:v>
                </c:pt>
                <c:pt idx="19538">
                  <c:v>142</c:v>
                </c:pt>
                <c:pt idx="19539">
                  <c:v>2140</c:v>
                </c:pt>
                <c:pt idx="19540">
                  <c:v>455</c:v>
                </c:pt>
                <c:pt idx="19541">
                  <c:v>516</c:v>
                </c:pt>
                <c:pt idx="19542">
                  <c:v>471</c:v>
                </c:pt>
                <c:pt idx="19543">
                  <c:v>291</c:v>
                </c:pt>
                <c:pt idx="19544">
                  <c:v>866</c:v>
                </c:pt>
                <c:pt idx="19545">
                  <c:v>831</c:v>
                </c:pt>
                <c:pt idx="19546">
                  <c:v>1064</c:v>
                </c:pt>
                <c:pt idx="19547">
                  <c:v>182</c:v>
                </c:pt>
                <c:pt idx="19548">
                  <c:v>288</c:v>
                </c:pt>
                <c:pt idx="19549">
                  <c:v>298</c:v>
                </c:pt>
                <c:pt idx="19550">
                  <c:v>139</c:v>
                </c:pt>
                <c:pt idx="19551">
                  <c:v>4882</c:v>
                </c:pt>
                <c:pt idx="19552">
                  <c:v>85</c:v>
                </c:pt>
                <c:pt idx="19553">
                  <c:v>5816</c:v>
                </c:pt>
                <c:pt idx="19554">
                  <c:v>288</c:v>
                </c:pt>
                <c:pt idx="19555">
                  <c:v>2466</c:v>
                </c:pt>
                <c:pt idx="19556">
                  <c:v>1242</c:v>
                </c:pt>
                <c:pt idx="19557">
                  <c:v>51</c:v>
                </c:pt>
                <c:pt idx="19558">
                  <c:v>238</c:v>
                </c:pt>
                <c:pt idx="19559">
                  <c:v>265</c:v>
                </c:pt>
                <c:pt idx="19560">
                  <c:v>173</c:v>
                </c:pt>
                <c:pt idx="19561">
                  <c:v>835</c:v>
                </c:pt>
                <c:pt idx="19562">
                  <c:v>11377</c:v>
                </c:pt>
                <c:pt idx="19563">
                  <c:v>4489</c:v>
                </c:pt>
                <c:pt idx="19564">
                  <c:v>217</c:v>
                </c:pt>
                <c:pt idx="19565">
                  <c:v>301</c:v>
                </c:pt>
                <c:pt idx="19566">
                  <c:v>5520</c:v>
                </c:pt>
                <c:pt idx="19567">
                  <c:v>81</c:v>
                </c:pt>
                <c:pt idx="19568">
                  <c:v>227</c:v>
                </c:pt>
                <c:pt idx="19569">
                  <c:v>498</c:v>
                </c:pt>
                <c:pt idx="19570">
                  <c:v>708</c:v>
                </c:pt>
                <c:pt idx="19571">
                  <c:v>88</c:v>
                </c:pt>
                <c:pt idx="19572">
                  <c:v>287</c:v>
                </c:pt>
                <c:pt idx="19573">
                  <c:v>452</c:v>
                </c:pt>
                <c:pt idx="19574">
                  <c:v>368</c:v>
                </c:pt>
                <c:pt idx="19575">
                  <c:v>692</c:v>
                </c:pt>
                <c:pt idx="19576">
                  <c:v>636</c:v>
                </c:pt>
                <c:pt idx="19577">
                  <c:v>413</c:v>
                </c:pt>
                <c:pt idx="19578">
                  <c:v>444</c:v>
                </c:pt>
                <c:pt idx="19579">
                  <c:v>392</c:v>
                </c:pt>
                <c:pt idx="19580">
                  <c:v>327</c:v>
                </c:pt>
                <c:pt idx="19581">
                  <c:v>406</c:v>
                </c:pt>
                <c:pt idx="19582">
                  <c:v>238</c:v>
                </c:pt>
                <c:pt idx="19583">
                  <c:v>1388</c:v>
                </c:pt>
                <c:pt idx="19584">
                  <c:v>121</c:v>
                </c:pt>
                <c:pt idx="19585">
                  <c:v>244</c:v>
                </c:pt>
                <c:pt idx="19586">
                  <c:v>649</c:v>
                </c:pt>
                <c:pt idx="19587">
                  <c:v>9435</c:v>
                </c:pt>
                <c:pt idx="19588">
                  <c:v>17466</c:v>
                </c:pt>
                <c:pt idx="19589">
                  <c:v>17992</c:v>
                </c:pt>
                <c:pt idx="19590">
                  <c:v>6203</c:v>
                </c:pt>
                <c:pt idx="19591">
                  <c:v>689</c:v>
                </c:pt>
                <c:pt idx="19592">
                  <c:v>260</c:v>
                </c:pt>
                <c:pt idx="19593">
                  <c:v>939</c:v>
                </c:pt>
                <c:pt idx="19594">
                  <c:v>3628</c:v>
                </c:pt>
                <c:pt idx="19595">
                  <c:v>20218</c:v>
                </c:pt>
                <c:pt idx="19596">
                  <c:v>2232</c:v>
                </c:pt>
                <c:pt idx="19597">
                  <c:v>8985</c:v>
                </c:pt>
                <c:pt idx="19598">
                  <c:v>29830</c:v>
                </c:pt>
                <c:pt idx="19599">
                  <c:v>2362</c:v>
                </c:pt>
                <c:pt idx="19600">
                  <c:v>9045</c:v>
                </c:pt>
                <c:pt idx="19601">
                  <c:v>22162</c:v>
                </c:pt>
                <c:pt idx="19602">
                  <c:v>12868</c:v>
                </c:pt>
                <c:pt idx="19603">
                  <c:v>100</c:v>
                </c:pt>
                <c:pt idx="19604">
                  <c:v>23398</c:v>
                </c:pt>
                <c:pt idx="19605">
                  <c:v>20180</c:v>
                </c:pt>
                <c:pt idx="19606">
                  <c:v>9021</c:v>
                </c:pt>
                <c:pt idx="19607">
                  <c:v>466</c:v>
                </c:pt>
                <c:pt idx="19608">
                  <c:v>1437</c:v>
                </c:pt>
                <c:pt idx="19609">
                  <c:v>3749</c:v>
                </c:pt>
                <c:pt idx="19610">
                  <c:v>177</c:v>
                </c:pt>
                <c:pt idx="19611">
                  <c:v>4273</c:v>
                </c:pt>
                <c:pt idx="19612">
                  <c:v>9302</c:v>
                </c:pt>
                <c:pt idx="19613">
                  <c:v>12711</c:v>
                </c:pt>
                <c:pt idx="19614">
                  <c:v>4937</c:v>
                </c:pt>
                <c:pt idx="19615">
                  <c:v>1805</c:v>
                </c:pt>
                <c:pt idx="19616">
                  <c:v>9265</c:v>
                </c:pt>
                <c:pt idx="19617">
                  <c:v>7665</c:v>
                </c:pt>
                <c:pt idx="19618">
                  <c:v>6296</c:v>
                </c:pt>
                <c:pt idx="19619">
                  <c:v>15883</c:v>
                </c:pt>
                <c:pt idx="19620">
                  <c:v>31</c:v>
                </c:pt>
                <c:pt idx="19621">
                  <c:v>935</c:v>
                </c:pt>
                <c:pt idx="19622">
                  <c:v>720</c:v>
                </c:pt>
                <c:pt idx="19623">
                  <c:v>720</c:v>
                </c:pt>
                <c:pt idx="19624">
                  <c:v>2659</c:v>
                </c:pt>
                <c:pt idx="19625">
                  <c:v>6804</c:v>
                </c:pt>
                <c:pt idx="19626">
                  <c:v>3758</c:v>
                </c:pt>
                <c:pt idx="19627">
                  <c:v>493</c:v>
                </c:pt>
                <c:pt idx="19628">
                  <c:v>2030</c:v>
                </c:pt>
                <c:pt idx="19629">
                  <c:v>794</c:v>
                </c:pt>
                <c:pt idx="19630">
                  <c:v>8405</c:v>
                </c:pt>
                <c:pt idx="19631">
                  <c:v>4733</c:v>
                </c:pt>
                <c:pt idx="19632">
                  <c:v>36</c:v>
                </c:pt>
                <c:pt idx="19633">
                  <c:v>5668</c:v>
                </c:pt>
                <c:pt idx="19634">
                  <c:v>9461</c:v>
                </c:pt>
                <c:pt idx="19635">
                  <c:v>299</c:v>
                </c:pt>
                <c:pt idx="19636">
                  <c:v>4410</c:v>
                </c:pt>
                <c:pt idx="19637">
                  <c:v>2883</c:v>
                </c:pt>
                <c:pt idx="19638">
                  <c:v>10884</c:v>
                </c:pt>
                <c:pt idx="19639">
                  <c:v>662</c:v>
                </c:pt>
                <c:pt idx="19640">
                  <c:v>2474</c:v>
                </c:pt>
                <c:pt idx="19641">
                  <c:v>1294</c:v>
                </c:pt>
                <c:pt idx="19642">
                  <c:v>4799</c:v>
                </c:pt>
                <c:pt idx="19643">
                  <c:v>12155</c:v>
                </c:pt>
                <c:pt idx="19644">
                  <c:v>8196</c:v>
                </c:pt>
                <c:pt idx="19645">
                  <c:v>2991</c:v>
                </c:pt>
                <c:pt idx="19646">
                  <c:v>3359</c:v>
                </c:pt>
                <c:pt idx="19647">
                  <c:v>10884</c:v>
                </c:pt>
                <c:pt idx="19648">
                  <c:v>15550</c:v>
                </c:pt>
                <c:pt idx="19649">
                  <c:v>10459</c:v>
                </c:pt>
                <c:pt idx="19650">
                  <c:v>9085</c:v>
                </c:pt>
                <c:pt idx="19651">
                  <c:v>9196</c:v>
                </c:pt>
                <c:pt idx="19652">
                  <c:v>4095</c:v>
                </c:pt>
                <c:pt idx="19653">
                  <c:v>17354</c:v>
                </c:pt>
                <c:pt idx="19654">
                  <c:v>6422</c:v>
                </c:pt>
                <c:pt idx="19655">
                  <c:v>23237</c:v>
                </c:pt>
                <c:pt idx="19656">
                  <c:v>5923</c:v>
                </c:pt>
                <c:pt idx="19657">
                  <c:v>13553</c:v>
                </c:pt>
                <c:pt idx="19658">
                  <c:v>18005</c:v>
                </c:pt>
                <c:pt idx="19659">
                  <c:v>2123</c:v>
                </c:pt>
                <c:pt idx="19660">
                  <c:v>10670</c:v>
                </c:pt>
                <c:pt idx="19661">
                  <c:v>19465</c:v>
                </c:pt>
                <c:pt idx="19662">
                  <c:v>27382</c:v>
                </c:pt>
                <c:pt idx="19663">
                  <c:v>5006</c:v>
                </c:pt>
                <c:pt idx="19664">
                  <c:v>15654</c:v>
                </c:pt>
                <c:pt idx="19665">
                  <c:v>8256</c:v>
                </c:pt>
                <c:pt idx="19666">
                  <c:v>2350</c:v>
                </c:pt>
                <c:pt idx="19667">
                  <c:v>15032</c:v>
                </c:pt>
                <c:pt idx="19668">
                  <c:v>26431</c:v>
                </c:pt>
                <c:pt idx="19669">
                  <c:v>14759</c:v>
                </c:pt>
                <c:pt idx="19670">
                  <c:v>8425</c:v>
                </c:pt>
                <c:pt idx="19671">
                  <c:v>7616</c:v>
                </c:pt>
                <c:pt idx="19672">
                  <c:v>2837</c:v>
                </c:pt>
                <c:pt idx="19673">
                  <c:v>5859</c:v>
                </c:pt>
                <c:pt idx="19674">
                  <c:v>8284</c:v>
                </c:pt>
                <c:pt idx="19675">
                  <c:v>18242</c:v>
                </c:pt>
                <c:pt idx="19676">
                  <c:v>8524</c:v>
                </c:pt>
                <c:pt idx="19677">
                  <c:v>8277</c:v>
                </c:pt>
                <c:pt idx="19678">
                  <c:v>12828</c:v>
                </c:pt>
                <c:pt idx="19679">
                  <c:v>10879</c:v>
                </c:pt>
                <c:pt idx="19680">
                  <c:v>5932</c:v>
                </c:pt>
                <c:pt idx="19681">
                  <c:v>5432</c:v>
                </c:pt>
                <c:pt idx="19682">
                  <c:v>17224</c:v>
                </c:pt>
                <c:pt idx="19683">
                  <c:v>3050</c:v>
                </c:pt>
                <c:pt idx="19684">
                  <c:v>27241</c:v>
                </c:pt>
                <c:pt idx="19685">
                  <c:v>26763</c:v>
                </c:pt>
                <c:pt idx="19686">
                  <c:v>22117</c:v>
                </c:pt>
                <c:pt idx="19687">
                  <c:v>760</c:v>
                </c:pt>
                <c:pt idx="19688">
                  <c:v>359</c:v>
                </c:pt>
                <c:pt idx="19689">
                  <c:v>2508</c:v>
                </c:pt>
                <c:pt idx="19690">
                  <c:v>118</c:v>
                </c:pt>
                <c:pt idx="19691">
                  <c:v>399</c:v>
                </c:pt>
                <c:pt idx="19692">
                  <c:v>394</c:v>
                </c:pt>
                <c:pt idx="19693">
                  <c:v>1861</c:v>
                </c:pt>
                <c:pt idx="19694">
                  <c:v>1912</c:v>
                </c:pt>
                <c:pt idx="19695">
                  <c:v>772</c:v>
                </c:pt>
                <c:pt idx="19696">
                  <c:v>320</c:v>
                </c:pt>
                <c:pt idx="19697">
                  <c:v>1247</c:v>
                </c:pt>
                <c:pt idx="19698">
                  <c:v>5418</c:v>
                </c:pt>
                <c:pt idx="19699">
                  <c:v>749</c:v>
                </c:pt>
                <c:pt idx="19700">
                  <c:v>307</c:v>
                </c:pt>
                <c:pt idx="19701">
                  <c:v>908</c:v>
                </c:pt>
                <c:pt idx="19702">
                  <c:v>463</c:v>
                </c:pt>
                <c:pt idx="19703">
                  <c:v>1995</c:v>
                </c:pt>
                <c:pt idx="19704">
                  <c:v>3273</c:v>
                </c:pt>
                <c:pt idx="19705">
                  <c:v>711</c:v>
                </c:pt>
                <c:pt idx="19706">
                  <c:v>2301</c:v>
                </c:pt>
                <c:pt idx="19707">
                  <c:v>4305</c:v>
                </c:pt>
                <c:pt idx="19708">
                  <c:v>654</c:v>
                </c:pt>
                <c:pt idx="19709">
                  <c:v>27692</c:v>
                </c:pt>
                <c:pt idx="19710">
                  <c:v>13565</c:v>
                </c:pt>
                <c:pt idx="19711">
                  <c:v>24570</c:v>
                </c:pt>
                <c:pt idx="19712">
                  <c:v>1059</c:v>
                </c:pt>
                <c:pt idx="19713">
                  <c:v>363</c:v>
                </c:pt>
                <c:pt idx="19714">
                  <c:v>39825</c:v>
                </c:pt>
                <c:pt idx="19715">
                  <c:v>1391</c:v>
                </c:pt>
                <c:pt idx="19716">
                  <c:v>12665</c:v>
                </c:pt>
                <c:pt idx="19717">
                  <c:v>358</c:v>
                </c:pt>
                <c:pt idx="19718">
                  <c:v>336</c:v>
                </c:pt>
                <c:pt idx="19719">
                  <c:v>1443</c:v>
                </c:pt>
                <c:pt idx="19720">
                  <c:v>7137</c:v>
                </c:pt>
                <c:pt idx="19721">
                  <c:v>817</c:v>
                </c:pt>
                <c:pt idx="19722">
                  <c:v>23197</c:v>
                </c:pt>
                <c:pt idx="19723">
                  <c:v>264</c:v>
                </c:pt>
                <c:pt idx="19724">
                  <c:v>69</c:v>
                </c:pt>
                <c:pt idx="19725">
                  <c:v>269</c:v>
                </c:pt>
                <c:pt idx="19726">
                  <c:v>2915</c:v>
                </c:pt>
                <c:pt idx="19727">
                  <c:v>4973</c:v>
                </c:pt>
                <c:pt idx="19728">
                  <c:v>9264</c:v>
                </c:pt>
                <c:pt idx="19729">
                  <c:v>231</c:v>
                </c:pt>
                <c:pt idx="19730">
                  <c:v>116</c:v>
                </c:pt>
                <c:pt idx="19731">
                  <c:v>149</c:v>
                </c:pt>
                <c:pt idx="19732">
                  <c:v>321</c:v>
                </c:pt>
                <c:pt idx="19733">
                  <c:v>1685</c:v>
                </c:pt>
                <c:pt idx="19734">
                  <c:v>568</c:v>
                </c:pt>
                <c:pt idx="19735">
                  <c:v>581</c:v>
                </c:pt>
                <c:pt idx="19736">
                  <c:v>126</c:v>
                </c:pt>
                <c:pt idx="19737">
                  <c:v>72</c:v>
                </c:pt>
                <c:pt idx="19738">
                  <c:v>352</c:v>
                </c:pt>
                <c:pt idx="19739">
                  <c:v>546</c:v>
                </c:pt>
                <c:pt idx="19740">
                  <c:v>135</c:v>
                </c:pt>
                <c:pt idx="19741">
                  <c:v>1516</c:v>
                </c:pt>
                <c:pt idx="19742">
                  <c:v>352</c:v>
                </c:pt>
                <c:pt idx="19743">
                  <c:v>623</c:v>
                </c:pt>
                <c:pt idx="19744">
                  <c:v>150</c:v>
                </c:pt>
                <c:pt idx="19745">
                  <c:v>747</c:v>
                </c:pt>
                <c:pt idx="19746">
                  <c:v>140</c:v>
                </c:pt>
                <c:pt idx="19747">
                  <c:v>590</c:v>
                </c:pt>
                <c:pt idx="19748">
                  <c:v>2252</c:v>
                </c:pt>
                <c:pt idx="19749">
                  <c:v>187</c:v>
                </c:pt>
                <c:pt idx="19750">
                  <c:v>1931</c:v>
                </c:pt>
                <c:pt idx="19751">
                  <c:v>200</c:v>
                </c:pt>
                <c:pt idx="19752">
                  <c:v>2683</c:v>
                </c:pt>
                <c:pt idx="19753">
                  <c:v>611</c:v>
                </c:pt>
                <c:pt idx="19754">
                  <c:v>388</c:v>
                </c:pt>
                <c:pt idx="19755">
                  <c:v>213</c:v>
                </c:pt>
                <c:pt idx="19756">
                  <c:v>1071</c:v>
                </c:pt>
                <c:pt idx="19757">
                  <c:v>482</c:v>
                </c:pt>
                <c:pt idx="19758">
                  <c:v>428</c:v>
                </c:pt>
                <c:pt idx="19759">
                  <c:v>206</c:v>
                </c:pt>
                <c:pt idx="19760">
                  <c:v>8538</c:v>
                </c:pt>
                <c:pt idx="19761">
                  <c:v>580</c:v>
                </c:pt>
                <c:pt idx="19762">
                  <c:v>182</c:v>
                </c:pt>
                <c:pt idx="19763">
                  <c:v>538</c:v>
                </c:pt>
                <c:pt idx="19764">
                  <c:v>357</c:v>
                </c:pt>
                <c:pt idx="19765">
                  <c:v>316</c:v>
                </c:pt>
                <c:pt idx="19766">
                  <c:v>466</c:v>
                </c:pt>
                <c:pt idx="19767">
                  <c:v>951</c:v>
                </c:pt>
                <c:pt idx="19768">
                  <c:v>61</c:v>
                </c:pt>
                <c:pt idx="19769">
                  <c:v>60</c:v>
                </c:pt>
                <c:pt idx="19770">
                  <c:v>333</c:v>
                </c:pt>
                <c:pt idx="19771">
                  <c:v>366</c:v>
                </c:pt>
                <c:pt idx="19772">
                  <c:v>307</c:v>
                </c:pt>
                <c:pt idx="19773">
                  <c:v>681</c:v>
                </c:pt>
                <c:pt idx="19774">
                  <c:v>180</c:v>
                </c:pt>
                <c:pt idx="19775">
                  <c:v>446</c:v>
                </c:pt>
                <c:pt idx="19776">
                  <c:v>908</c:v>
                </c:pt>
                <c:pt idx="19777">
                  <c:v>3308</c:v>
                </c:pt>
                <c:pt idx="19778">
                  <c:v>1340</c:v>
                </c:pt>
                <c:pt idx="19779">
                  <c:v>1482</c:v>
                </c:pt>
                <c:pt idx="19780">
                  <c:v>58</c:v>
                </c:pt>
                <c:pt idx="19781">
                  <c:v>281</c:v>
                </c:pt>
                <c:pt idx="19782">
                  <c:v>827</c:v>
                </c:pt>
                <c:pt idx="19783">
                  <c:v>61</c:v>
                </c:pt>
                <c:pt idx="19784">
                  <c:v>269</c:v>
                </c:pt>
                <c:pt idx="19785">
                  <c:v>286</c:v>
                </c:pt>
                <c:pt idx="19786">
                  <c:v>1595</c:v>
                </c:pt>
                <c:pt idx="19787">
                  <c:v>7914</c:v>
                </c:pt>
                <c:pt idx="19788">
                  <c:v>451</c:v>
                </c:pt>
                <c:pt idx="19789">
                  <c:v>527</c:v>
                </c:pt>
                <c:pt idx="19790">
                  <c:v>303</c:v>
                </c:pt>
                <c:pt idx="19791">
                  <c:v>303</c:v>
                </c:pt>
                <c:pt idx="19792">
                  <c:v>1428</c:v>
                </c:pt>
                <c:pt idx="19793">
                  <c:v>97</c:v>
                </c:pt>
                <c:pt idx="19794">
                  <c:v>458</c:v>
                </c:pt>
                <c:pt idx="19795">
                  <c:v>1452</c:v>
                </c:pt>
                <c:pt idx="19796">
                  <c:v>5845</c:v>
                </c:pt>
                <c:pt idx="19797">
                  <c:v>491</c:v>
                </c:pt>
                <c:pt idx="19798">
                  <c:v>1343</c:v>
                </c:pt>
                <c:pt idx="19799">
                  <c:v>425</c:v>
                </c:pt>
                <c:pt idx="19800">
                  <c:v>299</c:v>
                </c:pt>
                <c:pt idx="19801">
                  <c:v>208</c:v>
                </c:pt>
                <c:pt idx="19802">
                  <c:v>413</c:v>
                </c:pt>
                <c:pt idx="19803">
                  <c:v>1043</c:v>
                </c:pt>
                <c:pt idx="19804">
                  <c:v>10665</c:v>
                </c:pt>
                <c:pt idx="19805">
                  <c:v>4684</c:v>
                </c:pt>
                <c:pt idx="19806">
                  <c:v>540</c:v>
                </c:pt>
                <c:pt idx="19807">
                  <c:v>1563</c:v>
                </c:pt>
                <c:pt idx="19808">
                  <c:v>566</c:v>
                </c:pt>
                <c:pt idx="19809">
                  <c:v>201</c:v>
                </c:pt>
                <c:pt idx="19810">
                  <c:v>489</c:v>
                </c:pt>
                <c:pt idx="19811">
                  <c:v>199</c:v>
                </c:pt>
                <c:pt idx="19812">
                  <c:v>1037</c:v>
                </c:pt>
                <c:pt idx="19813">
                  <c:v>605</c:v>
                </c:pt>
                <c:pt idx="19814">
                  <c:v>333</c:v>
                </c:pt>
                <c:pt idx="19815">
                  <c:v>3457</c:v>
                </c:pt>
                <c:pt idx="19816">
                  <c:v>88</c:v>
                </c:pt>
                <c:pt idx="19817">
                  <c:v>5313</c:v>
                </c:pt>
                <c:pt idx="19818">
                  <c:v>1204</c:v>
                </c:pt>
                <c:pt idx="19819">
                  <c:v>18900</c:v>
                </c:pt>
                <c:pt idx="19820">
                  <c:v>3419</c:v>
                </c:pt>
                <c:pt idx="19821">
                  <c:v>1655</c:v>
                </c:pt>
                <c:pt idx="19822">
                  <c:v>561</c:v>
                </c:pt>
                <c:pt idx="19823">
                  <c:v>336</c:v>
                </c:pt>
                <c:pt idx="19824">
                  <c:v>1880</c:v>
                </c:pt>
                <c:pt idx="19825">
                  <c:v>307</c:v>
                </c:pt>
                <c:pt idx="19826">
                  <c:v>2421</c:v>
                </c:pt>
                <c:pt idx="19827">
                  <c:v>45</c:v>
                </c:pt>
                <c:pt idx="19828">
                  <c:v>92</c:v>
                </c:pt>
                <c:pt idx="19829">
                  <c:v>104</c:v>
                </c:pt>
                <c:pt idx="19830">
                  <c:v>301</c:v>
                </c:pt>
                <c:pt idx="19831">
                  <c:v>523</c:v>
                </c:pt>
                <c:pt idx="19832">
                  <c:v>493</c:v>
                </c:pt>
                <c:pt idx="19833">
                  <c:v>13642</c:v>
                </c:pt>
                <c:pt idx="19834">
                  <c:v>227</c:v>
                </c:pt>
                <c:pt idx="19835">
                  <c:v>217</c:v>
                </c:pt>
                <c:pt idx="19836">
                  <c:v>1735</c:v>
                </c:pt>
                <c:pt idx="19837">
                  <c:v>211</c:v>
                </c:pt>
                <c:pt idx="19838">
                  <c:v>75</c:v>
                </c:pt>
                <c:pt idx="19839">
                  <c:v>498</c:v>
                </c:pt>
                <c:pt idx="19840">
                  <c:v>2197</c:v>
                </c:pt>
                <c:pt idx="19841">
                  <c:v>1740</c:v>
                </c:pt>
                <c:pt idx="19842">
                  <c:v>562</c:v>
                </c:pt>
                <c:pt idx="19843">
                  <c:v>121</c:v>
                </c:pt>
                <c:pt idx="19844">
                  <c:v>5685</c:v>
                </c:pt>
                <c:pt idx="19845">
                  <c:v>1865</c:v>
                </c:pt>
                <c:pt idx="19846">
                  <c:v>534</c:v>
                </c:pt>
                <c:pt idx="19847">
                  <c:v>386</c:v>
                </c:pt>
                <c:pt idx="19848">
                  <c:v>129</c:v>
                </c:pt>
                <c:pt idx="19849">
                  <c:v>941</c:v>
                </c:pt>
                <c:pt idx="19850">
                  <c:v>536</c:v>
                </c:pt>
                <c:pt idx="19851">
                  <c:v>57</c:v>
                </c:pt>
                <c:pt idx="19852">
                  <c:v>336</c:v>
                </c:pt>
                <c:pt idx="19853">
                  <c:v>4893</c:v>
                </c:pt>
                <c:pt idx="19854">
                  <c:v>433</c:v>
                </c:pt>
                <c:pt idx="19855">
                  <c:v>2005</c:v>
                </c:pt>
                <c:pt idx="19856">
                  <c:v>188</c:v>
                </c:pt>
                <c:pt idx="19857">
                  <c:v>330</c:v>
                </c:pt>
                <c:pt idx="19858">
                  <c:v>308</c:v>
                </c:pt>
                <c:pt idx="19859">
                  <c:v>1305</c:v>
                </c:pt>
                <c:pt idx="19860">
                  <c:v>399</c:v>
                </c:pt>
                <c:pt idx="19861">
                  <c:v>1504</c:v>
                </c:pt>
                <c:pt idx="19862">
                  <c:v>123</c:v>
                </c:pt>
                <c:pt idx="19863">
                  <c:v>747</c:v>
                </c:pt>
                <c:pt idx="19864">
                  <c:v>1301</c:v>
                </c:pt>
                <c:pt idx="19865">
                  <c:v>44</c:v>
                </c:pt>
                <c:pt idx="19866">
                  <c:v>328</c:v>
                </c:pt>
                <c:pt idx="19867">
                  <c:v>124</c:v>
                </c:pt>
                <c:pt idx="19868">
                  <c:v>13652</c:v>
                </c:pt>
                <c:pt idx="19869">
                  <c:v>399</c:v>
                </c:pt>
                <c:pt idx="19870">
                  <c:v>1272</c:v>
                </c:pt>
                <c:pt idx="19871">
                  <c:v>3048</c:v>
                </c:pt>
                <c:pt idx="19872">
                  <c:v>163</c:v>
                </c:pt>
                <c:pt idx="19873">
                  <c:v>1158</c:v>
                </c:pt>
                <c:pt idx="19874">
                  <c:v>350</c:v>
                </c:pt>
                <c:pt idx="19875">
                  <c:v>493</c:v>
                </c:pt>
                <c:pt idx="19876">
                  <c:v>190</c:v>
                </c:pt>
                <c:pt idx="19877">
                  <c:v>243</c:v>
                </c:pt>
                <c:pt idx="19878">
                  <c:v>468</c:v>
                </c:pt>
                <c:pt idx="19879">
                  <c:v>502</c:v>
                </c:pt>
                <c:pt idx="19880">
                  <c:v>71</c:v>
                </c:pt>
                <c:pt idx="19881">
                  <c:v>321</c:v>
                </c:pt>
                <c:pt idx="19882">
                  <c:v>419</c:v>
                </c:pt>
                <c:pt idx="19883">
                  <c:v>184</c:v>
                </c:pt>
                <c:pt idx="19884">
                  <c:v>1723</c:v>
                </c:pt>
                <c:pt idx="19885">
                  <c:v>1021</c:v>
                </c:pt>
                <c:pt idx="19886">
                  <c:v>1025</c:v>
                </c:pt>
                <c:pt idx="19887">
                  <c:v>1035</c:v>
                </c:pt>
                <c:pt idx="19888">
                  <c:v>785</c:v>
                </c:pt>
                <c:pt idx="19889">
                  <c:v>612</c:v>
                </c:pt>
                <c:pt idx="19890">
                  <c:v>306</c:v>
                </c:pt>
                <c:pt idx="19891">
                  <c:v>2044</c:v>
                </c:pt>
                <c:pt idx="19892">
                  <c:v>13695</c:v>
                </c:pt>
                <c:pt idx="19893">
                  <c:v>13981</c:v>
                </c:pt>
                <c:pt idx="19894">
                  <c:v>15475</c:v>
                </c:pt>
                <c:pt idx="19895">
                  <c:v>2625</c:v>
                </c:pt>
                <c:pt idx="19896">
                  <c:v>123</c:v>
                </c:pt>
                <c:pt idx="19897">
                  <c:v>359</c:v>
                </c:pt>
                <c:pt idx="19898">
                  <c:v>980</c:v>
                </c:pt>
                <c:pt idx="19899">
                  <c:v>1457</c:v>
                </c:pt>
                <c:pt idx="19900">
                  <c:v>293</c:v>
                </c:pt>
                <c:pt idx="19901">
                  <c:v>51</c:v>
                </c:pt>
                <c:pt idx="19902">
                  <c:v>7260</c:v>
                </c:pt>
                <c:pt idx="19903">
                  <c:v>152</c:v>
                </c:pt>
                <c:pt idx="19904">
                  <c:v>10458</c:v>
                </c:pt>
                <c:pt idx="19905">
                  <c:v>12578</c:v>
                </c:pt>
                <c:pt idx="19906">
                  <c:v>4970</c:v>
                </c:pt>
                <c:pt idx="19907">
                  <c:v>495</c:v>
                </c:pt>
                <c:pt idx="19908">
                  <c:v>3039</c:v>
                </c:pt>
                <c:pt idx="19909">
                  <c:v>2756</c:v>
                </c:pt>
                <c:pt idx="19910">
                  <c:v>2292</c:v>
                </c:pt>
                <c:pt idx="19911">
                  <c:v>9867</c:v>
                </c:pt>
                <c:pt idx="19912">
                  <c:v>10518</c:v>
                </c:pt>
                <c:pt idx="19913">
                  <c:v>2805</c:v>
                </c:pt>
                <c:pt idx="19914">
                  <c:v>1325</c:v>
                </c:pt>
                <c:pt idx="19915">
                  <c:v>17218</c:v>
                </c:pt>
                <c:pt idx="19916">
                  <c:v>8057</c:v>
                </c:pt>
                <c:pt idx="19917">
                  <c:v>6522</c:v>
                </c:pt>
                <c:pt idx="19918">
                  <c:v>3196</c:v>
                </c:pt>
                <c:pt idx="19919">
                  <c:v>8004</c:v>
                </c:pt>
                <c:pt idx="19920">
                  <c:v>1357</c:v>
                </c:pt>
                <c:pt idx="19921">
                  <c:v>2883</c:v>
                </c:pt>
                <c:pt idx="19922">
                  <c:v>11182</c:v>
                </c:pt>
                <c:pt idx="19923">
                  <c:v>9646</c:v>
                </c:pt>
                <c:pt idx="19924">
                  <c:v>2825</c:v>
                </c:pt>
                <c:pt idx="19925">
                  <c:v>18788</c:v>
                </c:pt>
                <c:pt idx="19926">
                  <c:v>1613</c:v>
                </c:pt>
                <c:pt idx="19927">
                  <c:v>326</c:v>
                </c:pt>
                <c:pt idx="19928">
                  <c:v>137</c:v>
                </c:pt>
                <c:pt idx="19929">
                  <c:v>163</c:v>
                </c:pt>
                <c:pt idx="19930">
                  <c:v>5684</c:v>
                </c:pt>
                <c:pt idx="19931">
                  <c:v>4373</c:v>
                </c:pt>
                <c:pt idx="19932">
                  <c:v>684</c:v>
                </c:pt>
                <c:pt idx="19933">
                  <c:v>5247</c:v>
                </c:pt>
                <c:pt idx="19934">
                  <c:v>6550</c:v>
                </c:pt>
                <c:pt idx="19935">
                  <c:v>7035</c:v>
                </c:pt>
                <c:pt idx="19936">
                  <c:v>12833</c:v>
                </c:pt>
                <c:pt idx="19937">
                  <c:v>9514</c:v>
                </c:pt>
                <c:pt idx="19938">
                  <c:v>11718</c:v>
                </c:pt>
                <c:pt idx="19939">
                  <c:v>988</c:v>
                </c:pt>
                <c:pt idx="19940">
                  <c:v>3922</c:v>
                </c:pt>
                <c:pt idx="19941">
                  <c:v>12333</c:v>
                </c:pt>
                <c:pt idx="19942">
                  <c:v>741</c:v>
                </c:pt>
                <c:pt idx="19943">
                  <c:v>6783</c:v>
                </c:pt>
                <c:pt idx="19944">
                  <c:v>72</c:v>
                </c:pt>
                <c:pt idx="19945">
                  <c:v>13972</c:v>
                </c:pt>
                <c:pt idx="19946">
                  <c:v>514</c:v>
                </c:pt>
                <c:pt idx="19947">
                  <c:v>404</c:v>
                </c:pt>
                <c:pt idx="19948">
                  <c:v>1396</c:v>
                </c:pt>
                <c:pt idx="19949">
                  <c:v>4319</c:v>
                </c:pt>
                <c:pt idx="19950">
                  <c:v>5329</c:v>
                </c:pt>
                <c:pt idx="19951">
                  <c:v>5342</c:v>
                </c:pt>
                <c:pt idx="19952">
                  <c:v>5041</c:v>
                </c:pt>
                <c:pt idx="19953">
                  <c:v>9465</c:v>
                </c:pt>
                <c:pt idx="19954">
                  <c:v>12085</c:v>
                </c:pt>
                <c:pt idx="19955">
                  <c:v>5826</c:v>
                </c:pt>
                <c:pt idx="19956">
                  <c:v>6748</c:v>
                </c:pt>
                <c:pt idx="19957">
                  <c:v>15141</c:v>
                </c:pt>
                <c:pt idx="19958">
                  <c:v>9088</c:v>
                </c:pt>
                <c:pt idx="19959">
                  <c:v>7405</c:v>
                </c:pt>
                <c:pt idx="19960">
                  <c:v>22479</c:v>
                </c:pt>
                <c:pt idx="19961">
                  <c:v>17090</c:v>
                </c:pt>
                <c:pt idx="19962">
                  <c:v>231</c:v>
                </c:pt>
                <c:pt idx="19963">
                  <c:v>4853</c:v>
                </c:pt>
                <c:pt idx="19964">
                  <c:v>4585</c:v>
                </c:pt>
                <c:pt idx="19965">
                  <c:v>878</c:v>
                </c:pt>
                <c:pt idx="19966">
                  <c:v>2095</c:v>
                </c:pt>
                <c:pt idx="19967">
                  <c:v>6271</c:v>
                </c:pt>
                <c:pt idx="19968">
                  <c:v>4430</c:v>
                </c:pt>
                <c:pt idx="19969">
                  <c:v>3831</c:v>
                </c:pt>
                <c:pt idx="19970">
                  <c:v>8191</c:v>
                </c:pt>
                <c:pt idx="19971">
                  <c:v>12264</c:v>
                </c:pt>
                <c:pt idx="19972">
                  <c:v>5126</c:v>
                </c:pt>
                <c:pt idx="19973">
                  <c:v>18489</c:v>
                </c:pt>
                <c:pt idx="19974">
                  <c:v>10308</c:v>
                </c:pt>
                <c:pt idx="19975">
                  <c:v>755</c:v>
                </c:pt>
                <c:pt idx="19976">
                  <c:v>5555</c:v>
                </c:pt>
                <c:pt idx="19977">
                  <c:v>12500</c:v>
                </c:pt>
                <c:pt idx="19978">
                  <c:v>1407</c:v>
                </c:pt>
                <c:pt idx="19979">
                  <c:v>2299</c:v>
                </c:pt>
                <c:pt idx="19980">
                  <c:v>674</c:v>
                </c:pt>
                <c:pt idx="19981">
                  <c:v>164</c:v>
                </c:pt>
                <c:pt idx="19982">
                  <c:v>1913</c:v>
                </c:pt>
                <c:pt idx="19983">
                  <c:v>15021</c:v>
                </c:pt>
                <c:pt idx="19984">
                  <c:v>16259</c:v>
                </c:pt>
                <c:pt idx="19985">
                  <c:v>3471</c:v>
                </c:pt>
                <c:pt idx="19986">
                  <c:v>7458</c:v>
                </c:pt>
                <c:pt idx="19987">
                  <c:v>14835</c:v>
                </c:pt>
                <c:pt idx="19988">
                  <c:v>3653</c:v>
                </c:pt>
                <c:pt idx="19989">
                  <c:v>10947</c:v>
                </c:pt>
                <c:pt idx="19990">
                  <c:v>4121</c:v>
                </c:pt>
                <c:pt idx="19991">
                  <c:v>128</c:v>
                </c:pt>
                <c:pt idx="19992">
                  <c:v>511</c:v>
                </c:pt>
                <c:pt idx="19993">
                  <c:v>236</c:v>
                </c:pt>
                <c:pt idx="19994">
                  <c:v>285</c:v>
                </c:pt>
                <c:pt idx="19995">
                  <c:v>618</c:v>
                </c:pt>
                <c:pt idx="19996">
                  <c:v>1000</c:v>
                </c:pt>
                <c:pt idx="19997">
                  <c:v>526</c:v>
                </c:pt>
                <c:pt idx="19998">
                  <c:v>237</c:v>
                </c:pt>
                <c:pt idx="19999">
                  <c:v>408</c:v>
                </c:pt>
                <c:pt idx="20000">
                  <c:v>1637</c:v>
                </c:pt>
                <c:pt idx="20001">
                  <c:v>120</c:v>
                </c:pt>
                <c:pt idx="20002">
                  <c:v>374</c:v>
                </c:pt>
                <c:pt idx="20003">
                  <c:v>290</c:v>
                </c:pt>
                <c:pt idx="20004">
                  <c:v>3934</c:v>
                </c:pt>
                <c:pt idx="20005">
                  <c:v>221</c:v>
                </c:pt>
                <c:pt idx="20006">
                  <c:v>164</c:v>
                </c:pt>
                <c:pt idx="20007">
                  <c:v>29</c:v>
                </c:pt>
                <c:pt idx="20008">
                  <c:v>110</c:v>
                </c:pt>
                <c:pt idx="20009">
                  <c:v>266</c:v>
                </c:pt>
                <c:pt idx="20010">
                  <c:v>540</c:v>
                </c:pt>
                <c:pt idx="20011">
                  <c:v>226</c:v>
                </c:pt>
                <c:pt idx="20012">
                  <c:v>28</c:v>
                </c:pt>
                <c:pt idx="20013">
                  <c:v>777</c:v>
                </c:pt>
                <c:pt idx="20014">
                  <c:v>421</c:v>
                </c:pt>
                <c:pt idx="20015">
                  <c:v>474</c:v>
                </c:pt>
                <c:pt idx="20016">
                  <c:v>893</c:v>
                </c:pt>
                <c:pt idx="20017">
                  <c:v>656</c:v>
                </c:pt>
                <c:pt idx="20018">
                  <c:v>132</c:v>
                </c:pt>
                <c:pt idx="20019">
                  <c:v>554</c:v>
                </c:pt>
                <c:pt idx="20020">
                  <c:v>533</c:v>
                </c:pt>
                <c:pt idx="20021">
                  <c:v>320</c:v>
                </c:pt>
                <c:pt idx="20022">
                  <c:v>155</c:v>
                </c:pt>
                <c:pt idx="20023">
                  <c:v>82</c:v>
                </c:pt>
                <c:pt idx="20024">
                  <c:v>1184</c:v>
                </c:pt>
                <c:pt idx="20025">
                  <c:v>157</c:v>
                </c:pt>
                <c:pt idx="20026">
                  <c:v>646</c:v>
                </c:pt>
                <c:pt idx="20027">
                  <c:v>49</c:v>
                </c:pt>
                <c:pt idx="20028">
                  <c:v>213</c:v>
                </c:pt>
                <c:pt idx="20029">
                  <c:v>446</c:v>
                </c:pt>
                <c:pt idx="20030">
                  <c:v>688</c:v>
                </c:pt>
                <c:pt idx="20031">
                  <c:v>2018</c:v>
                </c:pt>
                <c:pt idx="20032">
                  <c:v>217</c:v>
                </c:pt>
                <c:pt idx="20033">
                  <c:v>7455</c:v>
                </c:pt>
                <c:pt idx="20034">
                  <c:v>1045</c:v>
                </c:pt>
                <c:pt idx="20035">
                  <c:v>736</c:v>
                </c:pt>
                <c:pt idx="20036">
                  <c:v>189</c:v>
                </c:pt>
                <c:pt idx="20037">
                  <c:v>622</c:v>
                </c:pt>
                <c:pt idx="20038">
                  <c:v>410</c:v>
                </c:pt>
                <c:pt idx="20039">
                  <c:v>121</c:v>
                </c:pt>
                <c:pt idx="20040">
                  <c:v>138</c:v>
                </c:pt>
                <c:pt idx="20041">
                  <c:v>1598</c:v>
                </c:pt>
                <c:pt idx="20042">
                  <c:v>366</c:v>
                </c:pt>
                <c:pt idx="20043">
                  <c:v>119</c:v>
                </c:pt>
                <c:pt idx="20044">
                  <c:v>422</c:v>
                </c:pt>
                <c:pt idx="20045">
                  <c:v>950</c:v>
                </c:pt>
                <c:pt idx="20046">
                  <c:v>244</c:v>
                </c:pt>
                <c:pt idx="20047">
                  <c:v>437</c:v>
                </c:pt>
                <c:pt idx="20048">
                  <c:v>3435</c:v>
                </c:pt>
                <c:pt idx="20049">
                  <c:v>94</c:v>
                </c:pt>
                <c:pt idx="20050">
                  <c:v>334</c:v>
                </c:pt>
                <c:pt idx="20051">
                  <c:v>919</c:v>
                </c:pt>
                <c:pt idx="20052">
                  <c:v>860</c:v>
                </c:pt>
                <c:pt idx="20053">
                  <c:v>885</c:v>
                </c:pt>
                <c:pt idx="20054">
                  <c:v>699</c:v>
                </c:pt>
                <c:pt idx="20055">
                  <c:v>470</c:v>
                </c:pt>
                <c:pt idx="20056">
                  <c:v>83</c:v>
                </c:pt>
                <c:pt idx="20057">
                  <c:v>146</c:v>
                </c:pt>
                <c:pt idx="20058">
                  <c:v>78</c:v>
                </c:pt>
                <c:pt idx="20059">
                  <c:v>78</c:v>
                </c:pt>
                <c:pt idx="20060">
                  <c:v>4745</c:v>
                </c:pt>
                <c:pt idx="20061">
                  <c:v>5580</c:v>
                </c:pt>
                <c:pt idx="20062">
                  <c:v>4466</c:v>
                </c:pt>
                <c:pt idx="20063">
                  <c:v>6131</c:v>
                </c:pt>
                <c:pt idx="20064">
                  <c:v>10138</c:v>
                </c:pt>
                <c:pt idx="20065">
                  <c:v>7030</c:v>
                </c:pt>
                <c:pt idx="20066">
                  <c:v>5361</c:v>
                </c:pt>
                <c:pt idx="20067">
                  <c:v>269</c:v>
                </c:pt>
                <c:pt idx="20068">
                  <c:v>191</c:v>
                </c:pt>
                <c:pt idx="20069">
                  <c:v>165</c:v>
                </c:pt>
                <c:pt idx="20070">
                  <c:v>613</c:v>
                </c:pt>
                <c:pt idx="20071">
                  <c:v>354</c:v>
                </c:pt>
                <c:pt idx="20072">
                  <c:v>2631</c:v>
                </c:pt>
                <c:pt idx="20073">
                  <c:v>307</c:v>
                </c:pt>
                <c:pt idx="20074">
                  <c:v>325</c:v>
                </c:pt>
                <c:pt idx="20075">
                  <c:v>157</c:v>
                </c:pt>
                <c:pt idx="20076">
                  <c:v>1929</c:v>
                </c:pt>
                <c:pt idx="20077">
                  <c:v>198</c:v>
                </c:pt>
                <c:pt idx="20078">
                  <c:v>129</c:v>
                </c:pt>
                <c:pt idx="20079">
                  <c:v>209</c:v>
                </c:pt>
                <c:pt idx="20080">
                  <c:v>253</c:v>
                </c:pt>
                <c:pt idx="20081">
                  <c:v>73</c:v>
                </c:pt>
                <c:pt idx="20082">
                  <c:v>1273</c:v>
                </c:pt>
                <c:pt idx="20083">
                  <c:v>306</c:v>
                </c:pt>
                <c:pt idx="20084">
                  <c:v>300</c:v>
                </c:pt>
                <c:pt idx="20085">
                  <c:v>479</c:v>
                </c:pt>
                <c:pt idx="20086">
                  <c:v>1258</c:v>
                </c:pt>
                <c:pt idx="20087">
                  <c:v>91</c:v>
                </c:pt>
                <c:pt idx="20088">
                  <c:v>148</c:v>
                </c:pt>
                <c:pt idx="20089">
                  <c:v>1076</c:v>
                </c:pt>
                <c:pt idx="20090">
                  <c:v>310</c:v>
                </c:pt>
                <c:pt idx="20091">
                  <c:v>225</c:v>
                </c:pt>
                <c:pt idx="20092">
                  <c:v>204</c:v>
                </c:pt>
                <c:pt idx="20093">
                  <c:v>159</c:v>
                </c:pt>
                <c:pt idx="20094">
                  <c:v>274</c:v>
                </c:pt>
                <c:pt idx="20095">
                  <c:v>114</c:v>
                </c:pt>
                <c:pt idx="20096">
                  <c:v>163</c:v>
                </c:pt>
                <c:pt idx="20097">
                  <c:v>1426</c:v>
                </c:pt>
                <c:pt idx="20098">
                  <c:v>473</c:v>
                </c:pt>
                <c:pt idx="20099">
                  <c:v>214</c:v>
                </c:pt>
                <c:pt idx="20100">
                  <c:v>376</c:v>
                </c:pt>
                <c:pt idx="20101">
                  <c:v>160</c:v>
                </c:pt>
                <c:pt idx="20102">
                  <c:v>115</c:v>
                </c:pt>
                <c:pt idx="20103">
                  <c:v>722</c:v>
                </c:pt>
                <c:pt idx="20104">
                  <c:v>306</c:v>
                </c:pt>
                <c:pt idx="20105">
                  <c:v>672</c:v>
                </c:pt>
                <c:pt idx="20106">
                  <c:v>974</c:v>
                </c:pt>
                <c:pt idx="20107">
                  <c:v>47</c:v>
                </c:pt>
                <c:pt idx="20108">
                  <c:v>390</c:v>
                </c:pt>
                <c:pt idx="20109">
                  <c:v>81</c:v>
                </c:pt>
                <c:pt idx="20110">
                  <c:v>133</c:v>
                </c:pt>
                <c:pt idx="20111">
                  <c:v>3443</c:v>
                </c:pt>
                <c:pt idx="20112">
                  <c:v>133</c:v>
                </c:pt>
                <c:pt idx="20113">
                  <c:v>305</c:v>
                </c:pt>
                <c:pt idx="20114">
                  <c:v>317</c:v>
                </c:pt>
                <c:pt idx="20115">
                  <c:v>6650</c:v>
                </c:pt>
                <c:pt idx="20116">
                  <c:v>1914</c:v>
                </c:pt>
                <c:pt idx="20117">
                  <c:v>207</c:v>
                </c:pt>
                <c:pt idx="20118">
                  <c:v>447</c:v>
                </c:pt>
                <c:pt idx="20119">
                  <c:v>754</c:v>
                </c:pt>
                <c:pt idx="20120">
                  <c:v>856</c:v>
                </c:pt>
                <c:pt idx="20121">
                  <c:v>116</c:v>
                </c:pt>
                <c:pt idx="20122">
                  <c:v>201</c:v>
                </c:pt>
                <c:pt idx="20123">
                  <c:v>2484</c:v>
                </c:pt>
                <c:pt idx="20124">
                  <c:v>597</c:v>
                </c:pt>
                <c:pt idx="20125">
                  <c:v>1090</c:v>
                </c:pt>
                <c:pt idx="20126">
                  <c:v>5469</c:v>
                </c:pt>
                <c:pt idx="20127">
                  <c:v>637</c:v>
                </c:pt>
                <c:pt idx="20128">
                  <c:v>476</c:v>
                </c:pt>
                <c:pt idx="20129">
                  <c:v>592</c:v>
                </c:pt>
                <c:pt idx="20130">
                  <c:v>68</c:v>
                </c:pt>
                <c:pt idx="20131">
                  <c:v>996</c:v>
                </c:pt>
                <c:pt idx="20132">
                  <c:v>101</c:v>
                </c:pt>
                <c:pt idx="20133">
                  <c:v>2916</c:v>
                </c:pt>
                <c:pt idx="20134">
                  <c:v>34</c:v>
                </c:pt>
                <c:pt idx="20135">
                  <c:v>692</c:v>
                </c:pt>
                <c:pt idx="20136">
                  <c:v>1905</c:v>
                </c:pt>
                <c:pt idx="20137">
                  <c:v>619</c:v>
                </c:pt>
                <c:pt idx="20138">
                  <c:v>148</c:v>
                </c:pt>
                <c:pt idx="20139">
                  <c:v>285</c:v>
                </c:pt>
                <c:pt idx="20140">
                  <c:v>1107</c:v>
                </c:pt>
                <c:pt idx="20141">
                  <c:v>257</c:v>
                </c:pt>
                <c:pt idx="20142">
                  <c:v>3038</c:v>
                </c:pt>
                <c:pt idx="20143">
                  <c:v>625</c:v>
                </c:pt>
                <c:pt idx="20144">
                  <c:v>721</c:v>
                </c:pt>
                <c:pt idx="20145">
                  <c:v>477</c:v>
                </c:pt>
                <c:pt idx="20146">
                  <c:v>201</c:v>
                </c:pt>
                <c:pt idx="20147">
                  <c:v>212</c:v>
                </c:pt>
                <c:pt idx="20148">
                  <c:v>563</c:v>
                </c:pt>
                <c:pt idx="20149">
                  <c:v>128</c:v>
                </c:pt>
                <c:pt idx="20150">
                  <c:v>5781</c:v>
                </c:pt>
                <c:pt idx="20151">
                  <c:v>1415</c:v>
                </c:pt>
                <c:pt idx="20152">
                  <c:v>172</c:v>
                </c:pt>
                <c:pt idx="20153">
                  <c:v>1065</c:v>
                </c:pt>
                <c:pt idx="20154">
                  <c:v>180</c:v>
                </c:pt>
                <c:pt idx="20155">
                  <c:v>22</c:v>
                </c:pt>
                <c:pt idx="20156">
                  <c:v>260</c:v>
                </c:pt>
                <c:pt idx="20157">
                  <c:v>454</c:v>
                </c:pt>
                <c:pt idx="20158">
                  <c:v>900</c:v>
                </c:pt>
                <c:pt idx="20159">
                  <c:v>410</c:v>
                </c:pt>
                <c:pt idx="20160">
                  <c:v>17537</c:v>
                </c:pt>
                <c:pt idx="20161">
                  <c:v>17444</c:v>
                </c:pt>
                <c:pt idx="20162">
                  <c:v>265</c:v>
                </c:pt>
                <c:pt idx="20163">
                  <c:v>2588</c:v>
                </c:pt>
                <c:pt idx="20164">
                  <c:v>573</c:v>
                </c:pt>
                <c:pt idx="20165">
                  <c:v>24</c:v>
                </c:pt>
                <c:pt idx="20166">
                  <c:v>4561</c:v>
                </c:pt>
                <c:pt idx="20167">
                  <c:v>811</c:v>
                </c:pt>
                <c:pt idx="20168">
                  <c:v>10826</c:v>
                </c:pt>
                <c:pt idx="20169">
                  <c:v>1235</c:v>
                </c:pt>
                <c:pt idx="20170">
                  <c:v>486</c:v>
                </c:pt>
                <c:pt idx="20171">
                  <c:v>431</c:v>
                </c:pt>
                <c:pt idx="20172">
                  <c:v>1502</c:v>
                </c:pt>
                <c:pt idx="20173">
                  <c:v>1932</c:v>
                </c:pt>
                <c:pt idx="20174">
                  <c:v>197</c:v>
                </c:pt>
                <c:pt idx="20175">
                  <c:v>326</c:v>
                </c:pt>
                <c:pt idx="20176">
                  <c:v>75</c:v>
                </c:pt>
                <c:pt idx="20177">
                  <c:v>10336</c:v>
                </c:pt>
                <c:pt idx="20178">
                  <c:v>1724</c:v>
                </c:pt>
                <c:pt idx="20179">
                  <c:v>1252</c:v>
                </c:pt>
                <c:pt idx="20180">
                  <c:v>1622</c:v>
                </c:pt>
                <c:pt idx="20181">
                  <c:v>200</c:v>
                </c:pt>
                <c:pt idx="20182">
                  <c:v>655</c:v>
                </c:pt>
                <c:pt idx="20183">
                  <c:v>378</c:v>
                </c:pt>
                <c:pt idx="20184">
                  <c:v>1802</c:v>
                </c:pt>
                <c:pt idx="20185">
                  <c:v>597</c:v>
                </c:pt>
                <c:pt idx="20186">
                  <c:v>2148</c:v>
                </c:pt>
                <c:pt idx="20187">
                  <c:v>385</c:v>
                </c:pt>
                <c:pt idx="20188">
                  <c:v>366</c:v>
                </c:pt>
                <c:pt idx="20189">
                  <c:v>6967</c:v>
                </c:pt>
                <c:pt idx="20190">
                  <c:v>289</c:v>
                </c:pt>
                <c:pt idx="20191">
                  <c:v>215</c:v>
                </c:pt>
                <c:pt idx="20192">
                  <c:v>193</c:v>
                </c:pt>
                <c:pt idx="20193">
                  <c:v>3845</c:v>
                </c:pt>
                <c:pt idx="20194">
                  <c:v>656</c:v>
                </c:pt>
                <c:pt idx="20195">
                  <c:v>1072</c:v>
                </c:pt>
                <c:pt idx="20196">
                  <c:v>1178</c:v>
                </c:pt>
                <c:pt idx="20197">
                  <c:v>916</c:v>
                </c:pt>
                <c:pt idx="20198">
                  <c:v>513</c:v>
                </c:pt>
                <c:pt idx="20199">
                  <c:v>3947</c:v>
                </c:pt>
                <c:pt idx="20200">
                  <c:v>6457</c:v>
                </c:pt>
                <c:pt idx="20201">
                  <c:v>760</c:v>
                </c:pt>
                <c:pt idx="20202">
                  <c:v>467</c:v>
                </c:pt>
                <c:pt idx="20203">
                  <c:v>335</c:v>
                </c:pt>
                <c:pt idx="20204">
                  <c:v>4610</c:v>
                </c:pt>
                <c:pt idx="20205">
                  <c:v>607</c:v>
                </c:pt>
                <c:pt idx="20206">
                  <c:v>266</c:v>
                </c:pt>
                <c:pt idx="20207">
                  <c:v>924</c:v>
                </c:pt>
                <c:pt idx="20208">
                  <c:v>1815</c:v>
                </c:pt>
                <c:pt idx="20209">
                  <c:v>1452</c:v>
                </c:pt>
                <c:pt idx="20210">
                  <c:v>558</c:v>
                </c:pt>
                <c:pt idx="20211">
                  <c:v>2474</c:v>
                </c:pt>
                <c:pt idx="20212">
                  <c:v>4874</c:v>
                </c:pt>
                <c:pt idx="20213">
                  <c:v>668</c:v>
                </c:pt>
                <c:pt idx="20214">
                  <c:v>748</c:v>
                </c:pt>
                <c:pt idx="20215">
                  <c:v>2950</c:v>
                </c:pt>
                <c:pt idx="20216">
                  <c:v>223</c:v>
                </c:pt>
                <c:pt idx="20217">
                  <c:v>2308</c:v>
                </c:pt>
                <c:pt idx="20218">
                  <c:v>1699</c:v>
                </c:pt>
                <c:pt idx="20219">
                  <c:v>810</c:v>
                </c:pt>
                <c:pt idx="20220">
                  <c:v>469</c:v>
                </c:pt>
                <c:pt idx="20221">
                  <c:v>337</c:v>
                </c:pt>
                <c:pt idx="20222">
                  <c:v>362</c:v>
                </c:pt>
                <c:pt idx="20223">
                  <c:v>207</c:v>
                </c:pt>
                <c:pt idx="20224">
                  <c:v>1868</c:v>
                </c:pt>
                <c:pt idx="20225">
                  <c:v>3177</c:v>
                </c:pt>
                <c:pt idx="20226">
                  <c:v>2835</c:v>
                </c:pt>
                <c:pt idx="20227">
                  <c:v>258</c:v>
                </c:pt>
                <c:pt idx="20228">
                  <c:v>334</c:v>
                </c:pt>
                <c:pt idx="20229">
                  <c:v>171</c:v>
                </c:pt>
                <c:pt idx="20230">
                  <c:v>806</c:v>
                </c:pt>
                <c:pt idx="20231">
                  <c:v>1465</c:v>
                </c:pt>
                <c:pt idx="20232">
                  <c:v>519</c:v>
                </c:pt>
                <c:pt idx="20233">
                  <c:v>284</c:v>
                </c:pt>
                <c:pt idx="20234">
                  <c:v>167</c:v>
                </c:pt>
                <c:pt idx="20235">
                  <c:v>1105</c:v>
                </c:pt>
                <c:pt idx="20236">
                  <c:v>1751</c:v>
                </c:pt>
                <c:pt idx="20237">
                  <c:v>736</c:v>
                </c:pt>
                <c:pt idx="20238">
                  <c:v>1440</c:v>
                </c:pt>
                <c:pt idx="20239">
                  <c:v>455</c:v>
                </c:pt>
                <c:pt idx="20240">
                  <c:v>2429</c:v>
                </c:pt>
                <c:pt idx="20241">
                  <c:v>668</c:v>
                </c:pt>
                <c:pt idx="20242">
                  <c:v>14199</c:v>
                </c:pt>
                <c:pt idx="20243">
                  <c:v>20490</c:v>
                </c:pt>
                <c:pt idx="20244">
                  <c:v>25150</c:v>
                </c:pt>
                <c:pt idx="20245">
                  <c:v>24555</c:v>
                </c:pt>
                <c:pt idx="20246">
                  <c:v>31216</c:v>
                </c:pt>
                <c:pt idx="20247">
                  <c:v>265</c:v>
                </c:pt>
                <c:pt idx="20248">
                  <c:v>1369</c:v>
                </c:pt>
                <c:pt idx="20249">
                  <c:v>148</c:v>
                </c:pt>
                <c:pt idx="20250">
                  <c:v>4540</c:v>
                </c:pt>
                <c:pt idx="20251">
                  <c:v>467</c:v>
                </c:pt>
                <c:pt idx="20252">
                  <c:v>604</c:v>
                </c:pt>
                <c:pt idx="20253">
                  <c:v>912</c:v>
                </c:pt>
                <c:pt idx="20254">
                  <c:v>3867</c:v>
                </c:pt>
                <c:pt idx="20255">
                  <c:v>1182</c:v>
                </c:pt>
                <c:pt idx="20256">
                  <c:v>173</c:v>
                </c:pt>
                <c:pt idx="20257">
                  <c:v>352</c:v>
                </c:pt>
                <c:pt idx="20258">
                  <c:v>1831</c:v>
                </c:pt>
                <c:pt idx="20259">
                  <c:v>181</c:v>
                </c:pt>
                <c:pt idx="20260">
                  <c:v>9076</c:v>
                </c:pt>
                <c:pt idx="20261">
                  <c:v>884</c:v>
                </c:pt>
                <c:pt idx="20262">
                  <c:v>2463</c:v>
                </c:pt>
                <c:pt idx="20263">
                  <c:v>972</c:v>
                </c:pt>
                <c:pt idx="20264">
                  <c:v>851</c:v>
                </c:pt>
                <c:pt idx="20265">
                  <c:v>260</c:v>
                </c:pt>
                <c:pt idx="20266">
                  <c:v>1302</c:v>
                </c:pt>
                <c:pt idx="20267">
                  <c:v>201</c:v>
                </c:pt>
                <c:pt idx="20268">
                  <c:v>536</c:v>
                </c:pt>
                <c:pt idx="20269">
                  <c:v>416</c:v>
                </c:pt>
                <c:pt idx="20270">
                  <c:v>576</c:v>
                </c:pt>
                <c:pt idx="20271">
                  <c:v>511</c:v>
                </c:pt>
                <c:pt idx="20272">
                  <c:v>6796</c:v>
                </c:pt>
                <c:pt idx="20273">
                  <c:v>7144</c:v>
                </c:pt>
                <c:pt idx="20274">
                  <c:v>815</c:v>
                </c:pt>
                <c:pt idx="20275">
                  <c:v>1113</c:v>
                </c:pt>
                <c:pt idx="20276">
                  <c:v>782</c:v>
                </c:pt>
                <c:pt idx="20277">
                  <c:v>50</c:v>
                </c:pt>
                <c:pt idx="20278">
                  <c:v>774</c:v>
                </c:pt>
                <c:pt idx="20279">
                  <c:v>1214</c:v>
                </c:pt>
                <c:pt idx="20280">
                  <c:v>155</c:v>
                </c:pt>
                <c:pt idx="20281">
                  <c:v>993</c:v>
                </c:pt>
                <c:pt idx="20282">
                  <c:v>232</c:v>
                </c:pt>
                <c:pt idx="20283">
                  <c:v>92</c:v>
                </c:pt>
                <c:pt idx="20284">
                  <c:v>15690</c:v>
                </c:pt>
                <c:pt idx="20285">
                  <c:v>184</c:v>
                </c:pt>
                <c:pt idx="20286">
                  <c:v>281</c:v>
                </c:pt>
                <c:pt idx="20287">
                  <c:v>380</c:v>
                </c:pt>
                <c:pt idx="20288">
                  <c:v>439</c:v>
                </c:pt>
                <c:pt idx="20289">
                  <c:v>1402</c:v>
                </c:pt>
                <c:pt idx="20290">
                  <c:v>414</c:v>
                </c:pt>
                <c:pt idx="20291">
                  <c:v>111</c:v>
                </c:pt>
                <c:pt idx="20292">
                  <c:v>185</c:v>
                </c:pt>
                <c:pt idx="20293">
                  <c:v>214</c:v>
                </c:pt>
                <c:pt idx="20294">
                  <c:v>707</c:v>
                </c:pt>
                <c:pt idx="20295">
                  <c:v>275</c:v>
                </c:pt>
                <c:pt idx="20296">
                  <c:v>452</c:v>
                </c:pt>
                <c:pt idx="20297">
                  <c:v>3317</c:v>
                </c:pt>
                <c:pt idx="20298">
                  <c:v>902</c:v>
                </c:pt>
                <c:pt idx="20299">
                  <c:v>1292</c:v>
                </c:pt>
                <c:pt idx="20300">
                  <c:v>185</c:v>
                </c:pt>
                <c:pt idx="20301">
                  <c:v>7164</c:v>
                </c:pt>
                <c:pt idx="20302">
                  <c:v>83</c:v>
                </c:pt>
                <c:pt idx="20303">
                  <c:v>145</c:v>
                </c:pt>
                <c:pt idx="20304">
                  <c:v>492</c:v>
                </c:pt>
                <c:pt idx="20305">
                  <c:v>570</c:v>
                </c:pt>
                <c:pt idx="20306">
                  <c:v>997</c:v>
                </c:pt>
                <c:pt idx="20307">
                  <c:v>863</c:v>
                </c:pt>
                <c:pt idx="20308">
                  <c:v>1070</c:v>
                </c:pt>
                <c:pt idx="20309">
                  <c:v>237</c:v>
                </c:pt>
                <c:pt idx="20310">
                  <c:v>3415</c:v>
                </c:pt>
                <c:pt idx="20311">
                  <c:v>1768</c:v>
                </c:pt>
                <c:pt idx="20312">
                  <c:v>13613</c:v>
                </c:pt>
                <c:pt idx="20313">
                  <c:v>1126</c:v>
                </c:pt>
                <c:pt idx="20314">
                  <c:v>184</c:v>
                </c:pt>
                <c:pt idx="20315">
                  <c:v>2114</c:v>
                </c:pt>
                <c:pt idx="20316">
                  <c:v>230</c:v>
                </c:pt>
                <c:pt idx="20317">
                  <c:v>433</c:v>
                </c:pt>
                <c:pt idx="20318">
                  <c:v>1175</c:v>
                </c:pt>
                <c:pt idx="20319">
                  <c:v>3333</c:v>
                </c:pt>
                <c:pt idx="20320">
                  <c:v>3060</c:v>
                </c:pt>
                <c:pt idx="20321">
                  <c:v>405</c:v>
                </c:pt>
                <c:pt idx="20322">
                  <c:v>711</c:v>
                </c:pt>
                <c:pt idx="20323">
                  <c:v>469</c:v>
                </c:pt>
                <c:pt idx="20324">
                  <c:v>441</c:v>
                </c:pt>
                <c:pt idx="20325">
                  <c:v>1982</c:v>
                </c:pt>
                <c:pt idx="20326">
                  <c:v>1569</c:v>
                </c:pt>
                <c:pt idx="20327">
                  <c:v>502</c:v>
                </c:pt>
                <c:pt idx="20328">
                  <c:v>12589</c:v>
                </c:pt>
                <c:pt idx="20329">
                  <c:v>1980</c:v>
                </c:pt>
                <c:pt idx="20330">
                  <c:v>240</c:v>
                </c:pt>
                <c:pt idx="20331">
                  <c:v>2036</c:v>
                </c:pt>
                <c:pt idx="20332">
                  <c:v>1428</c:v>
                </c:pt>
                <c:pt idx="20333">
                  <c:v>804</c:v>
                </c:pt>
                <c:pt idx="20334">
                  <c:v>617</c:v>
                </c:pt>
                <c:pt idx="20335">
                  <c:v>2133</c:v>
                </c:pt>
                <c:pt idx="20336">
                  <c:v>3515</c:v>
                </c:pt>
                <c:pt idx="20337">
                  <c:v>5281</c:v>
                </c:pt>
                <c:pt idx="20338">
                  <c:v>1893</c:v>
                </c:pt>
                <c:pt idx="20339">
                  <c:v>311</c:v>
                </c:pt>
                <c:pt idx="20340">
                  <c:v>507</c:v>
                </c:pt>
                <c:pt idx="20341">
                  <c:v>108</c:v>
                </c:pt>
                <c:pt idx="20342">
                  <c:v>596</c:v>
                </c:pt>
                <c:pt idx="20343">
                  <c:v>319</c:v>
                </c:pt>
                <c:pt idx="20344">
                  <c:v>937</c:v>
                </c:pt>
                <c:pt idx="20345">
                  <c:v>6392</c:v>
                </c:pt>
                <c:pt idx="20346">
                  <c:v>5669</c:v>
                </c:pt>
                <c:pt idx="20347">
                  <c:v>702</c:v>
                </c:pt>
                <c:pt idx="20348">
                  <c:v>862</c:v>
                </c:pt>
                <c:pt idx="20349">
                  <c:v>565</c:v>
                </c:pt>
                <c:pt idx="20350">
                  <c:v>265</c:v>
                </c:pt>
                <c:pt idx="20351">
                  <c:v>1520</c:v>
                </c:pt>
                <c:pt idx="20352">
                  <c:v>5490</c:v>
                </c:pt>
                <c:pt idx="20353">
                  <c:v>881</c:v>
                </c:pt>
                <c:pt idx="20354">
                  <c:v>2892</c:v>
                </c:pt>
                <c:pt idx="20355">
                  <c:v>312</c:v>
                </c:pt>
                <c:pt idx="20356">
                  <c:v>2197</c:v>
                </c:pt>
                <c:pt idx="20357">
                  <c:v>529</c:v>
                </c:pt>
                <c:pt idx="20358">
                  <c:v>924</c:v>
                </c:pt>
                <c:pt idx="20359">
                  <c:v>7345</c:v>
                </c:pt>
                <c:pt idx="20360">
                  <c:v>230</c:v>
                </c:pt>
                <c:pt idx="20361">
                  <c:v>12428</c:v>
                </c:pt>
                <c:pt idx="20362">
                  <c:v>668</c:v>
                </c:pt>
                <c:pt idx="20363">
                  <c:v>4708</c:v>
                </c:pt>
                <c:pt idx="20364">
                  <c:v>2726</c:v>
                </c:pt>
                <c:pt idx="20365">
                  <c:v>411</c:v>
                </c:pt>
                <c:pt idx="20366">
                  <c:v>3364</c:v>
                </c:pt>
                <c:pt idx="20367">
                  <c:v>746</c:v>
                </c:pt>
                <c:pt idx="20368">
                  <c:v>295</c:v>
                </c:pt>
                <c:pt idx="20369">
                  <c:v>217</c:v>
                </c:pt>
                <c:pt idx="20370">
                  <c:v>115</c:v>
                </c:pt>
                <c:pt idx="20371">
                  <c:v>3270</c:v>
                </c:pt>
                <c:pt idx="20372">
                  <c:v>1010</c:v>
                </c:pt>
                <c:pt idx="20373">
                  <c:v>1442</c:v>
                </c:pt>
                <c:pt idx="20374">
                  <c:v>307</c:v>
                </c:pt>
                <c:pt idx="20375">
                  <c:v>266</c:v>
                </c:pt>
                <c:pt idx="20376">
                  <c:v>217</c:v>
                </c:pt>
                <c:pt idx="20377">
                  <c:v>380</c:v>
                </c:pt>
                <c:pt idx="20378">
                  <c:v>310</c:v>
                </c:pt>
                <c:pt idx="20379">
                  <c:v>767</c:v>
                </c:pt>
                <c:pt idx="20380">
                  <c:v>679</c:v>
                </c:pt>
                <c:pt idx="20381">
                  <c:v>1177</c:v>
                </c:pt>
                <c:pt idx="20382">
                  <c:v>3113</c:v>
                </c:pt>
                <c:pt idx="20383">
                  <c:v>727</c:v>
                </c:pt>
                <c:pt idx="20384">
                  <c:v>764</c:v>
                </c:pt>
                <c:pt idx="20385">
                  <c:v>1565</c:v>
                </c:pt>
                <c:pt idx="20386">
                  <c:v>2197</c:v>
                </c:pt>
                <c:pt idx="20387">
                  <c:v>142</c:v>
                </c:pt>
                <c:pt idx="20388">
                  <c:v>683</c:v>
                </c:pt>
                <c:pt idx="20389">
                  <c:v>2033</c:v>
                </c:pt>
                <c:pt idx="20390">
                  <c:v>126</c:v>
                </c:pt>
                <c:pt idx="20391">
                  <c:v>442</c:v>
                </c:pt>
                <c:pt idx="20392">
                  <c:v>817</c:v>
                </c:pt>
                <c:pt idx="20393">
                  <c:v>579</c:v>
                </c:pt>
                <c:pt idx="20394">
                  <c:v>1126</c:v>
                </c:pt>
                <c:pt idx="20395">
                  <c:v>1118</c:v>
                </c:pt>
                <c:pt idx="20396">
                  <c:v>467</c:v>
                </c:pt>
                <c:pt idx="20397">
                  <c:v>1126</c:v>
                </c:pt>
                <c:pt idx="20398">
                  <c:v>4118</c:v>
                </c:pt>
                <c:pt idx="20399">
                  <c:v>923</c:v>
                </c:pt>
                <c:pt idx="20400">
                  <c:v>105</c:v>
                </c:pt>
                <c:pt idx="20401">
                  <c:v>1893</c:v>
                </c:pt>
                <c:pt idx="20402">
                  <c:v>333</c:v>
                </c:pt>
                <c:pt idx="20403">
                  <c:v>917</c:v>
                </c:pt>
                <c:pt idx="20404">
                  <c:v>995</c:v>
                </c:pt>
                <c:pt idx="20405">
                  <c:v>316</c:v>
                </c:pt>
                <c:pt idx="20406">
                  <c:v>1438</c:v>
                </c:pt>
                <c:pt idx="20407">
                  <c:v>2163</c:v>
                </c:pt>
                <c:pt idx="20408">
                  <c:v>294</c:v>
                </c:pt>
                <c:pt idx="20409">
                  <c:v>1434</c:v>
                </c:pt>
                <c:pt idx="20410">
                  <c:v>1921</c:v>
                </c:pt>
                <c:pt idx="20411">
                  <c:v>6961</c:v>
                </c:pt>
                <c:pt idx="20412">
                  <c:v>817</c:v>
                </c:pt>
                <c:pt idx="20413">
                  <c:v>6534</c:v>
                </c:pt>
                <c:pt idx="20414">
                  <c:v>599</c:v>
                </c:pt>
                <c:pt idx="20415">
                  <c:v>3245</c:v>
                </c:pt>
                <c:pt idx="20416">
                  <c:v>3513</c:v>
                </c:pt>
                <c:pt idx="20417">
                  <c:v>943</c:v>
                </c:pt>
                <c:pt idx="20418">
                  <c:v>16509</c:v>
                </c:pt>
                <c:pt idx="20419">
                  <c:v>958</c:v>
                </c:pt>
                <c:pt idx="20420">
                  <c:v>202</c:v>
                </c:pt>
                <c:pt idx="20421">
                  <c:v>16232</c:v>
                </c:pt>
                <c:pt idx="20422">
                  <c:v>513</c:v>
                </c:pt>
                <c:pt idx="20423">
                  <c:v>1211</c:v>
                </c:pt>
                <c:pt idx="20424">
                  <c:v>309</c:v>
                </c:pt>
                <c:pt idx="20425">
                  <c:v>1424</c:v>
                </c:pt>
                <c:pt idx="20426">
                  <c:v>71</c:v>
                </c:pt>
                <c:pt idx="20427">
                  <c:v>341</c:v>
                </c:pt>
                <c:pt idx="20428">
                  <c:v>351</c:v>
                </c:pt>
                <c:pt idx="20429">
                  <c:v>1212</c:v>
                </c:pt>
                <c:pt idx="20430">
                  <c:v>3076</c:v>
                </c:pt>
                <c:pt idx="20431">
                  <c:v>9559</c:v>
                </c:pt>
                <c:pt idx="20432">
                  <c:v>376</c:v>
                </c:pt>
                <c:pt idx="20433">
                  <c:v>1667</c:v>
                </c:pt>
                <c:pt idx="20434">
                  <c:v>6863</c:v>
                </c:pt>
                <c:pt idx="20435">
                  <c:v>1031</c:v>
                </c:pt>
                <c:pt idx="20436">
                  <c:v>3039</c:v>
                </c:pt>
                <c:pt idx="20437">
                  <c:v>1034</c:v>
                </c:pt>
                <c:pt idx="20438">
                  <c:v>178</c:v>
                </c:pt>
                <c:pt idx="20439">
                  <c:v>2046</c:v>
                </c:pt>
                <c:pt idx="20440">
                  <c:v>381</c:v>
                </c:pt>
                <c:pt idx="20441">
                  <c:v>292</c:v>
                </c:pt>
                <c:pt idx="20442">
                  <c:v>397</c:v>
                </c:pt>
                <c:pt idx="20443">
                  <c:v>3412</c:v>
                </c:pt>
                <c:pt idx="20444">
                  <c:v>413</c:v>
                </c:pt>
                <c:pt idx="20445">
                  <c:v>108</c:v>
                </c:pt>
                <c:pt idx="20446">
                  <c:v>240</c:v>
                </c:pt>
                <c:pt idx="20447">
                  <c:v>170</c:v>
                </c:pt>
                <c:pt idx="20448">
                  <c:v>475</c:v>
                </c:pt>
                <c:pt idx="20449">
                  <c:v>534</c:v>
                </c:pt>
                <c:pt idx="20450">
                  <c:v>1010</c:v>
                </c:pt>
                <c:pt idx="20451">
                  <c:v>1160</c:v>
                </c:pt>
                <c:pt idx="20452">
                  <c:v>682</c:v>
                </c:pt>
                <c:pt idx="20453">
                  <c:v>826</c:v>
                </c:pt>
                <c:pt idx="20454">
                  <c:v>573</c:v>
                </c:pt>
                <c:pt idx="20455">
                  <c:v>10161</c:v>
                </c:pt>
                <c:pt idx="20456">
                  <c:v>154</c:v>
                </c:pt>
                <c:pt idx="20457">
                  <c:v>392</c:v>
                </c:pt>
                <c:pt idx="20458">
                  <c:v>4327</c:v>
                </c:pt>
                <c:pt idx="20459">
                  <c:v>1956</c:v>
                </c:pt>
                <c:pt idx="20460">
                  <c:v>686</c:v>
                </c:pt>
                <c:pt idx="20461">
                  <c:v>473</c:v>
                </c:pt>
                <c:pt idx="20462">
                  <c:v>113</c:v>
                </c:pt>
                <c:pt idx="20463">
                  <c:v>376</c:v>
                </c:pt>
                <c:pt idx="20464">
                  <c:v>395</c:v>
                </c:pt>
                <c:pt idx="20465">
                  <c:v>1503</c:v>
                </c:pt>
                <c:pt idx="20466">
                  <c:v>2160</c:v>
                </c:pt>
                <c:pt idx="20467">
                  <c:v>20895</c:v>
                </c:pt>
                <c:pt idx="20468">
                  <c:v>18023</c:v>
                </c:pt>
                <c:pt idx="20469">
                  <c:v>19243</c:v>
                </c:pt>
                <c:pt idx="20470">
                  <c:v>6831</c:v>
                </c:pt>
                <c:pt idx="20471">
                  <c:v>29347</c:v>
                </c:pt>
                <c:pt idx="20472">
                  <c:v>5381</c:v>
                </c:pt>
                <c:pt idx="20473">
                  <c:v>132</c:v>
                </c:pt>
                <c:pt idx="20474">
                  <c:v>10583</c:v>
                </c:pt>
                <c:pt idx="20475">
                  <c:v>6264</c:v>
                </c:pt>
                <c:pt idx="20476">
                  <c:v>3578</c:v>
                </c:pt>
                <c:pt idx="20477">
                  <c:v>4490</c:v>
                </c:pt>
                <c:pt idx="20478">
                  <c:v>110</c:v>
                </c:pt>
                <c:pt idx="20479">
                  <c:v>270</c:v>
                </c:pt>
                <c:pt idx="20480">
                  <c:v>4734</c:v>
                </c:pt>
                <c:pt idx="20481">
                  <c:v>1225</c:v>
                </c:pt>
                <c:pt idx="20482">
                  <c:v>363</c:v>
                </c:pt>
                <c:pt idx="20483">
                  <c:v>295</c:v>
                </c:pt>
                <c:pt idx="20484">
                  <c:v>170</c:v>
                </c:pt>
                <c:pt idx="20485">
                  <c:v>3034</c:v>
                </c:pt>
                <c:pt idx="20486">
                  <c:v>695</c:v>
                </c:pt>
                <c:pt idx="20487">
                  <c:v>1419</c:v>
                </c:pt>
                <c:pt idx="20488">
                  <c:v>455</c:v>
                </c:pt>
                <c:pt idx="20489">
                  <c:v>280</c:v>
                </c:pt>
                <c:pt idx="20490">
                  <c:v>4276</c:v>
                </c:pt>
                <c:pt idx="20491">
                  <c:v>199</c:v>
                </c:pt>
                <c:pt idx="20492">
                  <c:v>13244</c:v>
                </c:pt>
                <c:pt idx="20493">
                  <c:v>1858</c:v>
                </c:pt>
                <c:pt idx="20494">
                  <c:v>358</c:v>
                </c:pt>
                <c:pt idx="20495">
                  <c:v>517</c:v>
                </c:pt>
                <c:pt idx="20496">
                  <c:v>272</c:v>
                </c:pt>
                <c:pt idx="20497">
                  <c:v>1434</c:v>
                </c:pt>
                <c:pt idx="20498">
                  <c:v>466</c:v>
                </c:pt>
                <c:pt idx="20499">
                  <c:v>278</c:v>
                </c:pt>
                <c:pt idx="20500">
                  <c:v>4672</c:v>
                </c:pt>
                <c:pt idx="20501">
                  <c:v>16762</c:v>
                </c:pt>
                <c:pt idx="20502">
                  <c:v>10571</c:v>
                </c:pt>
                <c:pt idx="20503">
                  <c:v>11444</c:v>
                </c:pt>
                <c:pt idx="20504">
                  <c:v>16741</c:v>
                </c:pt>
                <c:pt idx="20505">
                  <c:v>17620</c:v>
                </c:pt>
                <c:pt idx="20506">
                  <c:v>1080</c:v>
                </c:pt>
                <c:pt idx="20507">
                  <c:v>1026</c:v>
                </c:pt>
                <c:pt idx="20508">
                  <c:v>3843</c:v>
                </c:pt>
                <c:pt idx="20509">
                  <c:v>1217</c:v>
                </c:pt>
                <c:pt idx="20510">
                  <c:v>666</c:v>
                </c:pt>
                <c:pt idx="20511">
                  <c:v>108</c:v>
                </c:pt>
                <c:pt idx="20512">
                  <c:v>629</c:v>
                </c:pt>
                <c:pt idx="20513">
                  <c:v>34599</c:v>
                </c:pt>
                <c:pt idx="20514">
                  <c:v>41785</c:v>
                </c:pt>
                <c:pt idx="20515">
                  <c:v>2792</c:v>
                </c:pt>
                <c:pt idx="20516">
                  <c:v>1271</c:v>
                </c:pt>
                <c:pt idx="20517">
                  <c:v>7909</c:v>
                </c:pt>
                <c:pt idx="20518">
                  <c:v>923</c:v>
                </c:pt>
                <c:pt idx="20519">
                  <c:v>6607</c:v>
                </c:pt>
                <c:pt idx="20520">
                  <c:v>495</c:v>
                </c:pt>
                <c:pt idx="20521">
                  <c:v>1520</c:v>
                </c:pt>
                <c:pt idx="20522">
                  <c:v>1089</c:v>
                </c:pt>
                <c:pt idx="20523">
                  <c:v>1052</c:v>
                </c:pt>
                <c:pt idx="20524">
                  <c:v>508</c:v>
                </c:pt>
                <c:pt idx="20525">
                  <c:v>347</c:v>
                </c:pt>
                <c:pt idx="20526">
                  <c:v>491</c:v>
                </c:pt>
                <c:pt idx="20527">
                  <c:v>5815</c:v>
                </c:pt>
                <c:pt idx="20528">
                  <c:v>5257</c:v>
                </c:pt>
                <c:pt idx="20529">
                  <c:v>5300</c:v>
                </c:pt>
                <c:pt idx="20530">
                  <c:v>1124</c:v>
                </c:pt>
                <c:pt idx="20531">
                  <c:v>1447</c:v>
                </c:pt>
                <c:pt idx="20532">
                  <c:v>1345</c:v>
                </c:pt>
                <c:pt idx="20533">
                  <c:v>235</c:v>
                </c:pt>
                <c:pt idx="20534">
                  <c:v>2266</c:v>
                </c:pt>
                <c:pt idx="20535">
                  <c:v>259</c:v>
                </c:pt>
                <c:pt idx="20536">
                  <c:v>173</c:v>
                </c:pt>
                <c:pt idx="20537">
                  <c:v>544</c:v>
                </c:pt>
                <c:pt idx="20538">
                  <c:v>494</c:v>
                </c:pt>
                <c:pt idx="20539">
                  <c:v>4906</c:v>
                </c:pt>
                <c:pt idx="20540">
                  <c:v>12654</c:v>
                </c:pt>
                <c:pt idx="20541">
                  <c:v>7726</c:v>
                </c:pt>
                <c:pt idx="20542">
                  <c:v>10663</c:v>
                </c:pt>
                <c:pt idx="20543">
                  <c:v>1004</c:v>
                </c:pt>
                <c:pt idx="20544">
                  <c:v>10853</c:v>
                </c:pt>
                <c:pt idx="20545">
                  <c:v>14229</c:v>
                </c:pt>
                <c:pt idx="20546">
                  <c:v>4969</c:v>
                </c:pt>
                <c:pt idx="20547">
                  <c:v>5684</c:v>
                </c:pt>
                <c:pt idx="20548">
                  <c:v>9939</c:v>
                </c:pt>
                <c:pt idx="20549">
                  <c:v>10545</c:v>
                </c:pt>
                <c:pt idx="20550">
                  <c:v>11675</c:v>
                </c:pt>
                <c:pt idx="20551">
                  <c:v>7951</c:v>
                </c:pt>
                <c:pt idx="20552">
                  <c:v>5572</c:v>
                </c:pt>
                <c:pt idx="20553">
                  <c:v>7845</c:v>
                </c:pt>
                <c:pt idx="20554">
                  <c:v>11527</c:v>
                </c:pt>
                <c:pt idx="20555">
                  <c:v>9915</c:v>
                </c:pt>
                <c:pt idx="20556">
                  <c:v>11732</c:v>
                </c:pt>
                <c:pt idx="20557">
                  <c:v>2769</c:v>
                </c:pt>
                <c:pt idx="20558">
                  <c:v>19084</c:v>
                </c:pt>
                <c:pt idx="20559">
                  <c:v>16737</c:v>
                </c:pt>
                <c:pt idx="20560">
                  <c:v>6459</c:v>
                </c:pt>
                <c:pt idx="20561">
                  <c:v>14114</c:v>
                </c:pt>
                <c:pt idx="20562">
                  <c:v>13472</c:v>
                </c:pt>
                <c:pt idx="20563">
                  <c:v>2898</c:v>
                </c:pt>
                <c:pt idx="20564">
                  <c:v>4653</c:v>
                </c:pt>
                <c:pt idx="20565">
                  <c:v>8967</c:v>
                </c:pt>
                <c:pt idx="20566">
                  <c:v>3975</c:v>
                </c:pt>
                <c:pt idx="20567">
                  <c:v>11960</c:v>
                </c:pt>
                <c:pt idx="20568">
                  <c:v>13137</c:v>
                </c:pt>
                <c:pt idx="20569">
                  <c:v>6020</c:v>
                </c:pt>
                <c:pt idx="20570">
                  <c:v>8228</c:v>
                </c:pt>
                <c:pt idx="20571">
                  <c:v>3931</c:v>
                </c:pt>
                <c:pt idx="20572">
                  <c:v>863</c:v>
                </c:pt>
                <c:pt idx="20573">
                  <c:v>404</c:v>
                </c:pt>
                <c:pt idx="20574">
                  <c:v>1596</c:v>
                </c:pt>
                <c:pt idx="20575">
                  <c:v>313</c:v>
                </c:pt>
                <c:pt idx="20576">
                  <c:v>158</c:v>
                </c:pt>
                <c:pt idx="20577">
                  <c:v>237</c:v>
                </c:pt>
                <c:pt idx="20578">
                  <c:v>160</c:v>
                </c:pt>
                <c:pt idx="20579">
                  <c:v>1845</c:v>
                </c:pt>
                <c:pt idx="20580">
                  <c:v>574</c:v>
                </c:pt>
                <c:pt idx="20581">
                  <c:v>234</c:v>
                </c:pt>
                <c:pt idx="20582">
                  <c:v>775</c:v>
                </c:pt>
                <c:pt idx="20583">
                  <c:v>1150</c:v>
                </c:pt>
                <c:pt idx="20584">
                  <c:v>291</c:v>
                </c:pt>
                <c:pt idx="20585">
                  <c:v>245</c:v>
                </c:pt>
                <c:pt idx="20586">
                  <c:v>262</c:v>
                </c:pt>
                <c:pt idx="20587">
                  <c:v>236</c:v>
                </c:pt>
                <c:pt idx="20588">
                  <c:v>118</c:v>
                </c:pt>
                <c:pt idx="20589">
                  <c:v>526</c:v>
                </c:pt>
                <c:pt idx="20590">
                  <c:v>278</c:v>
                </c:pt>
                <c:pt idx="20591">
                  <c:v>314</c:v>
                </c:pt>
                <c:pt idx="20592">
                  <c:v>604</c:v>
                </c:pt>
                <c:pt idx="20593">
                  <c:v>111</c:v>
                </c:pt>
                <c:pt idx="20594">
                  <c:v>233</c:v>
                </c:pt>
                <c:pt idx="20595">
                  <c:v>224</c:v>
                </c:pt>
                <c:pt idx="20596">
                  <c:v>2184</c:v>
                </c:pt>
                <c:pt idx="20597">
                  <c:v>2936</c:v>
                </c:pt>
                <c:pt idx="20598">
                  <c:v>74</c:v>
                </c:pt>
                <c:pt idx="20599">
                  <c:v>1071</c:v>
                </c:pt>
                <c:pt idx="20600">
                  <c:v>814</c:v>
                </c:pt>
                <c:pt idx="20601">
                  <c:v>12852</c:v>
                </c:pt>
                <c:pt idx="20602">
                  <c:v>588</c:v>
                </c:pt>
                <c:pt idx="20603">
                  <c:v>766</c:v>
                </c:pt>
                <c:pt idx="20604">
                  <c:v>218</c:v>
                </c:pt>
                <c:pt idx="20605">
                  <c:v>25565</c:v>
                </c:pt>
                <c:pt idx="20606">
                  <c:v>9006</c:v>
                </c:pt>
                <c:pt idx="20607">
                  <c:v>477</c:v>
                </c:pt>
                <c:pt idx="20608">
                  <c:v>2086</c:v>
                </c:pt>
                <c:pt idx="20609">
                  <c:v>1234</c:v>
                </c:pt>
                <c:pt idx="20610">
                  <c:v>287</c:v>
                </c:pt>
                <c:pt idx="20611">
                  <c:v>1313</c:v>
                </c:pt>
                <c:pt idx="20612">
                  <c:v>1044</c:v>
                </c:pt>
                <c:pt idx="20613">
                  <c:v>223</c:v>
                </c:pt>
                <c:pt idx="20614">
                  <c:v>183</c:v>
                </c:pt>
                <c:pt idx="20615">
                  <c:v>730</c:v>
                </c:pt>
                <c:pt idx="20616">
                  <c:v>108</c:v>
                </c:pt>
                <c:pt idx="20617">
                  <c:v>334</c:v>
                </c:pt>
                <c:pt idx="20618">
                  <c:v>627</c:v>
                </c:pt>
                <c:pt idx="20619">
                  <c:v>1663</c:v>
                </c:pt>
                <c:pt idx="20620">
                  <c:v>1161</c:v>
                </c:pt>
                <c:pt idx="20621">
                  <c:v>397</c:v>
                </c:pt>
                <c:pt idx="20622">
                  <c:v>76</c:v>
                </c:pt>
                <c:pt idx="20623">
                  <c:v>241</c:v>
                </c:pt>
                <c:pt idx="20624">
                  <c:v>880</c:v>
                </c:pt>
                <c:pt idx="20625">
                  <c:v>278</c:v>
                </c:pt>
                <c:pt idx="20626">
                  <c:v>890</c:v>
                </c:pt>
                <c:pt idx="20627">
                  <c:v>1887</c:v>
                </c:pt>
                <c:pt idx="20628">
                  <c:v>1566</c:v>
                </c:pt>
                <c:pt idx="20629">
                  <c:v>1799</c:v>
                </c:pt>
                <c:pt idx="20630">
                  <c:v>618</c:v>
                </c:pt>
                <c:pt idx="20631">
                  <c:v>1624</c:v>
                </c:pt>
                <c:pt idx="20632">
                  <c:v>1239</c:v>
                </c:pt>
                <c:pt idx="20633">
                  <c:v>211</c:v>
                </c:pt>
                <c:pt idx="20634">
                  <c:v>1396</c:v>
                </c:pt>
                <c:pt idx="20635">
                  <c:v>577</c:v>
                </c:pt>
                <c:pt idx="20636">
                  <c:v>158</c:v>
                </c:pt>
                <c:pt idx="20637">
                  <c:v>540</c:v>
                </c:pt>
                <c:pt idx="20638">
                  <c:v>4423</c:v>
                </c:pt>
                <c:pt idx="20639">
                  <c:v>461</c:v>
                </c:pt>
                <c:pt idx="20640">
                  <c:v>732</c:v>
                </c:pt>
                <c:pt idx="20641">
                  <c:v>234</c:v>
                </c:pt>
                <c:pt idx="20642">
                  <c:v>241</c:v>
                </c:pt>
                <c:pt idx="20643">
                  <c:v>300</c:v>
                </c:pt>
                <c:pt idx="20644">
                  <c:v>572</c:v>
                </c:pt>
                <c:pt idx="20645">
                  <c:v>11093</c:v>
                </c:pt>
                <c:pt idx="20646">
                  <c:v>9146</c:v>
                </c:pt>
                <c:pt idx="20647">
                  <c:v>4944</c:v>
                </c:pt>
                <c:pt idx="20648">
                  <c:v>3198</c:v>
                </c:pt>
                <c:pt idx="20649">
                  <c:v>2171</c:v>
                </c:pt>
                <c:pt idx="20650">
                  <c:v>3318</c:v>
                </c:pt>
                <c:pt idx="20651">
                  <c:v>4941</c:v>
                </c:pt>
                <c:pt idx="20652">
                  <c:v>4925</c:v>
                </c:pt>
                <c:pt idx="20653">
                  <c:v>944</c:v>
                </c:pt>
                <c:pt idx="20654">
                  <c:v>16638</c:v>
                </c:pt>
                <c:pt idx="20655">
                  <c:v>1551</c:v>
                </c:pt>
                <c:pt idx="20656">
                  <c:v>2614</c:v>
                </c:pt>
                <c:pt idx="20657">
                  <c:v>4622</c:v>
                </c:pt>
                <c:pt idx="20658">
                  <c:v>5136</c:v>
                </c:pt>
                <c:pt idx="20659">
                  <c:v>1220</c:v>
                </c:pt>
                <c:pt idx="20660">
                  <c:v>4999</c:v>
                </c:pt>
                <c:pt idx="20661">
                  <c:v>228</c:v>
                </c:pt>
                <c:pt idx="20662">
                  <c:v>243</c:v>
                </c:pt>
                <c:pt idx="20663">
                  <c:v>878</c:v>
                </c:pt>
                <c:pt idx="20664">
                  <c:v>2767</c:v>
                </c:pt>
                <c:pt idx="20665">
                  <c:v>84</c:v>
                </c:pt>
                <c:pt idx="20666">
                  <c:v>274</c:v>
                </c:pt>
                <c:pt idx="20667">
                  <c:v>252</c:v>
                </c:pt>
                <c:pt idx="20668">
                  <c:v>4642</c:v>
                </c:pt>
                <c:pt idx="20669">
                  <c:v>564</c:v>
                </c:pt>
                <c:pt idx="20670">
                  <c:v>2289</c:v>
                </c:pt>
                <c:pt idx="20671">
                  <c:v>106</c:v>
                </c:pt>
                <c:pt idx="20672">
                  <c:v>1083</c:v>
                </c:pt>
                <c:pt idx="20673">
                  <c:v>1561</c:v>
                </c:pt>
                <c:pt idx="20674">
                  <c:v>18</c:v>
                </c:pt>
                <c:pt idx="20675">
                  <c:v>163</c:v>
                </c:pt>
                <c:pt idx="20676">
                  <c:v>2422</c:v>
                </c:pt>
                <c:pt idx="20677">
                  <c:v>68</c:v>
                </c:pt>
                <c:pt idx="20678">
                  <c:v>134</c:v>
                </c:pt>
                <c:pt idx="20679">
                  <c:v>1798</c:v>
                </c:pt>
                <c:pt idx="20680">
                  <c:v>1334</c:v>
                </c:pt>
                <c:pt idx="20681">
                  <c:v>3395</c:v>
                </c:pt>
                <c:pt idx="20682">
                  <c:v>316</c:v>
                </c:pt>
                <c:pt idx="20683">
                  <c:v>479</c:v>
                </c:pt>
                <c:pt idx="20684">
                  <c:v>427</c:v>
                </c:pt>
                <c:pt idx="20685">
                  <c:v>541</c:v>
                </c:pt>
                <c:pt idx="20686">
                  <c:v>1446</c:v>
                </c:pt>
                <c:pt idx="20687">
                  <c:v>135</c:v>
                </c:pt>
                <c:pt idx="20688">
                  <c:v>12330</c:v>
                </c:pt>
                <c:pt idx="20689">
                  <c:v>1542</c:v>
                </c:pt>
                <c:pt idx="20690">
                  <c:v>218</c:v>
                </c:pt>
                <c:pt idx="20691">
                  <c:v>375</c:v>
                </c:pt>
                <c:pt idx="20692">
                  <c:v>521</c:v>
                </c:pt>
                <c:pt idx="20693">
                  <c:v>237</c:v>
                </c:pt>
                <c:pt idx="20694">
                  <c:v>127</c:v>
                </c:pt>
                <c:pt idx="20695">
                  <c:v>684</c:v>
                </c:pt>
                <c:pt idx="20696">
                  <c:v>136</c:v>
                </c:pt>
                <c:pt idx="20697">
                  <c:v>282</c:v>
                </c:pt>
                <c:pt idx="20698">
                  <c:v>201</c:v>
                </c:pt>
                <c:pt idx="20699">
                  <c:v>240</c:v>
                </c:pt>
                <c:pt idx="20700">
                  <c:v>42</c:v>
                </c:pt>
                <c:pt idx="20701">
                  <c:v>937</c:v>
                </c:pt>
                <c:pt idx="20702">
                  <c:v>14275</c:v>
                </c:pt>
                <c:pt idx="20703">
                  <c:v>107</c:v>
                </c:pt>
                <c:pt idx="20704">
                  <c:v>376</c:v>
                </c:pt>
                <c:pt idx="20705">
                  <c:v>570</c:v>
                </c:pt>
                <c:pt idx="20706">
                  <c:v>97</c:v>
                </c:pt>
                <c:pt idx="20707">
                  <c:v>1685</c:v>
                </c:pt>
                <c:pt idx="20708">
                  <c:v>267</c:v>
                </c:pt>
                <c:pt idx="20709">
                  <c:v>293</c:v>
                </c:pt>
                <c:pt idx="20710">
                  <c:v>553</c:v>
                </c:pt>
                <c:pt idx="20711">
                  <c:v>1625</c:v>
                </c:pt>
                <c:pt idx="20712">
                  <c:v>262</c:v>
                </c:pt>
                <c:pt idx="20713">
                  <c:v>98</c:v>
                </c:pt>
                <c:pt idx="20714">
                  <c:v>240</c:v>
                </c:pt>
                <c:pt idx="20715">
                  <c:v>254</c:v>
                </c:pt>
                <c:pt idx="20716">
                  <c:v>148</c:v>
                </c:pt>
                <c:pt idx="20717">
                  <c:v>292</c:v>
                </c:pt>
                <c:pt idx="20718">
                  <c:v>858</c:v>
                </c:pt>
                <c:pt idx="20719">
                  <c:v>422</c:v>
                </c:pt>
                <c:pt idx="20720">
                  <c:v>189</c:v>
                </c:pt>
                <c:pt idx="20721">
                  <c:v>112</c:v>
                </c:pt>
                <c:pt idx="20722">
                  <c:v>659</c:v>
                </c:pt>
                <c:pt idx="20723">
                  <c:v>1358</c:v>
                </c:pt>
                <c:pt idx="20724">
                  <c:v>29</c:v>
                </c:pt>
                <c:pt idx="20725">
                  <c:v>182</c:v>
                </c:pt>
                <c:pt idx="20726">
                  <c:v>602</c:v>
                </c:pt>
                <c:pt idx="20727">
                  <c:v>810</c:v>
                </c:pt>
                <c:pt idx="20728">
                  <c:v>425</c:v>
                </c:pt>
                <c:pt idx="20729">
                  <c:v>341</c:v>
                </c:pt>
                <c:pt idx="20730">
                  <c:v>58</c:v>
                </c:pt>
                <c:pt idx="20731">
                  <c:v>606</c:v>
                </c:pt>
                <c:pt idx="20732">
                  <c:v>372</c:v>
                </c:pt>
                <c:pt idx="20733">
                  <c:v>117</c:v>
                </c:pt>
                <c:pt idx="20734">
                  <c:v>2923</c:v>
                </c:pt>
                <c:pt idx="20735">
                  <c:v>32</c:v>
                </c:pt>
                <c:pt idx="20736">
                  <c:v>144</c:v>
                </c:pt>
                <c:pt idx="20737">
                  <c:v>1005</c:v>
                </c:pt>
                <c:pt idx="20738">
                  <c:v>108</c:v>
                </c:pt>
                <c:pt idx="20739">
                  <c:v>380</c:v>
                </c:pt>
                <c:pt idx="20740">
                  <c:v>524</c:v>
                </c:pt>
                <c:pt idx="20741">
                  <c:v>229</c:v>
                </c:pt>
                <c:pt idx="20742">
                  <c:v>179</c:v>
                </c:pt>
                <c:pt idx="20743">
                  <c:v>32</c:v>
                </c:pt>
                <c:pt idx="20744">
                  <c:v>55</c:v>
                </c:pt>
                <c:pt idx="20745">
                  <c:v>205</c:v>
                </c:pt>
                <c:pt idx="20746">
                  <c:v>103</c:v>
                </c:pt>
                <c:pt idx="20747">
                  <c:v>362</c:v>
                </c:pt>
                <c:pt idx="20748">
                  <c:v>108</c:v>
                </c:pt>
                <c:pt idx="20749">
                  <c:v>241</c:v>
                </c:pt>
                <c:pt idx="20750">
                  <c:v>284</c:v>
                </c:pt>
                <c:pt idx="20751">
                  <c:v>363</c:v>
                </c:pt>
                <c:pt idx="20752">
                  <c:v>204</c:v>
                </c:pt>
                <c:pt idx="20753">
                  <c:v>348</c:v>
                </c:pt>
                <c:pt idx="20754">
                  <c:v>471</c:v>
                </c:pt>
                <c:pt idx="20755">
                  <c:v>154</c:v>
                </c:pt>
                <c:pt idx="20756">
                  <c:v>93</c:v>
                </c:pt>
                <c:pt idx="20757">
                  <c:v>61</c:v>
                </c:pt>
                <c:pt idx="20758">
                  <c:v>127</c:v>
                </c:pt>
                <c:pt idx="20759">
                  <c:v>105</c:v>
                </c:pt>
                <c:pt idx="20760">
                  <c:v>63</c:v>
                </c:pt>
                <c:pt idx="20761">
                  <c:v>327</c:v>
                </c:pt>
                <c:pt idx="20762">
                  <c:v>899</c:v>
                </c:pt>
                <c:pt idx="20763">
                  <c:v>644</c:v>
                </c:pt>
                <c:pt idx="20764">
                  <c:v>31</c:v>
                </c:pt>
                <c:pt idx="20765">
                  <c:v>925</c:v>
                </c:pt>
                <c:pt idx="20766">
                  <c:v>7454</c:v>
                </c:pt>
                <c:pt idx="20767">
                  <c:v>915</c:v>
                </c:pt>
                <c:pt idx="20768">
                  <c:v>323</c:v>
                </c:pt>
                <c:pt idx="20769">
                  <c:v>6526</c:v>
                </c:pt>
                <c:pt idx="20770">
                  <c:v>207</c:v>
                </c:pt>
                <c:pt idx="20771">
                  <c:v>374</c:v>
                </c:pt>
                <c:pt idx="20772">
                  <c:v>7066</c:v>
                </c:pt>
                <c:pt idx="20773">
                  <c:v>1328</c:v>
                </c:pt>
                <c:pt idx="20774">
                  <c:v>189</c:v>
                </c:pt>
                <c:pt idx="20775">
                  <c:v>867</c:v>
                </c:pt>
                <c:pt idx="20776">
                  <c:v>436</c:v>
                </c:pt>
                <c:pt idx="20777">
                  <c:v>651</c:v>
                </c:pt>
                <c:pt idx="20778">
                  <c:v>552</c:v>
                </c:pt>
                <c:pt idx="20779">
                  <c:v>78</c:v>
                </c:pt>
                <c:pt idx="20780">
                  <c:v>463</c:v>
                </c:pt>
                <c:pt idx="20781">
                  <c:v>1883</c:v>
                </c:pt>
                <c:pt idx="20782">
                  <c:v>2392</c:v>
                </c:pt>
                <c:pt idx="20783">
                  <c:v>95</c:v>
                </c:pt>
                <c:pt idx="20784">
                  <c:v>465</c:v>
                </c:pt>
                <c:pt idx="20785">
                  <c:v>1500</c:v>
                </c:pt>
                <c:pt idx="20786">
                  <c:v>1193</c:v>
                </c:pt>
                <c:pt idx="20787">
                  <c:v>452</c:v>
                </c:pt>
                <c:pt idx="20788">
                  <c:v>37</c:v>
                </c:pt>
                <c:pt idx="20789">
                  <c:v>14209</c:v>
                </c:pt>
                <c:pt idx="20790">
                  <c:v>325</c:v>
                </c:pt>
                <c:pt idx="20791">
                  <c:v>1355</c:v>
                </c:pt>
                <c:pt idx="20792">
                  <c:v>128</c:v>
                </c:pt>
                <c:pt idx="20793">
                  <c:v>7338</c:v>
                </c:pt>
                <c:pt idx="20794">
                  <c:v>1500</c:v>
                </c:pt>
                <c:pt idx="20795">
                  <c:v>261</c:v>
                </c:pt>
                <c:pt idx="20796">
                  <c:v>1098</c:v>
                </c:pt>
                <c:pt idx="20797">
                  <c:v>177</c:v>
                </c:pt>
                <c:pt idx="20798">
                  <c:v>4267</c:v>
                </c:pt>
                <c:pt idx="20799">
                  <c:v>243</c:v>
                </c:pt>
                <c:pt idx="20800">
                  <c:v>581</c:v>
                </c:pt>
                <c:pt idx="20801">
                  <c:v>1419</c:v>
                </c:pt>
                <c:pt idx="20802">
                  <c:v>93</c:v>
                </c:pt>
                <c:pt idx="20803">
                  <c:v>798</c:v>
                </c:pt>
                <c:pt idx="20804">
                  <c:v>440</c:v>
                </c:pt>
                <c:pt idx="20805">
                  <c:v>6332</c:v>
                </c:pt>
                <c:pt idx="20806">
                  <c:v>1694</c:v>
                </c:pt>
                <c:pt idx="20807">
                  <c:v>1765</c:v>
                </c:pt>
                <c:pt idx="20808">
                  <c:v>102</c:v>
                </c:pt>
                <c:pt idx="20809">
                  <c:v>1246</c:v>
                </c:pt>
                <c:pt idx="20810">
                  <c:v>1829</c:v>
                </c:pt>
                <c:pt idx="20811">
                  <c:v>482</c:v>
                </c:pt>
                <c:pt idx="20812">
                  <c:v>74</c:v>
                </c:pt>
                <c:pt idx="20813">
                  <c:v>155</c:v>
                </c:pt>
                <c:pt idx="20814">
                  <c:v>517</c:v>
                </c:pt>
                <c:pt idx="20815">
                  <c:v>2486</c:v>
                </c:pt>
                <c:pt idx="20816">
                  <c:v>93</c:v>
                </c:pt>
                <c:pt idx="20817">
                  <c:v>807</c:v>
                </c:pt>
                <c:pt idx="20818">
                  <c:v>84</c:v>
                </c:pt>
                <c:pt idx="20819">
                  <c:v>245</c:v>
                </c:pt>
                <c:pt idx="20820">
                  <c:v>1245</c:v>
                </c:pt>
                <c:pt idx="20821">
                  <c:v>834</c:v>
                </c:pt>
                <c:pt idx="20822">
                  <c:v>199</c:v>
                </c:pt>
                <c:pt idx="20823">
                  <c:v>3829</c:v>
                </c:pt>
                <c:pt idx="20824">
                  <c:v>108</c:v>
                </c:pt>
                <c:pt idx="20825">
                  <c:v>144</c:v>
                </c:pt>
                <c:pt idx="20826">
                  <c:v>10494</c:v>
                </c:pt>
                <c:pt idx="20827">
                  <c:v>968</c:v>
                </c:pt>
                <c:pt idx="20828">
                  <c:v>347</c:v>
                </c:pt>
                <c:pt idx="20829">
                  <c:v>470</c:v>
                </c:pt>
                <c:pt idx="20830">
                  <c:v>446</c:v>
                </c:pt>
                <c:pt idx="20831">
                  <c:v>386</c:v>
                </c:pt>
                <c:pt idx="20832">
                  <c:v>3895</c:v>
                </c:pt>
                <c:pt idx="20833">
                  <c:v>375</c:v>
                </c:pt>
                <c:pt idx="20834">
                  <c:v>91</c:v>
                </c:pt>
                <c:pt idx="20835">
                  <c:v>156</c:v>
                </c:pt>
                <c:pt idx="20836">
                  <c:v>3167</c:v>
                </c:pt>
                <c:pt idx="20837">
                  <c:v>162</c:v>
                </c:pt>
                <c:pt idx="20838">
                  <c:v>1938</c:v>
                </c:pt>
                <c:pt idx="20839">
                  <c:v>181</c:v>
                </c:pt>
                <c:pt idx="20840">
                  <c:v>295</c:v>
                </c:pt>
                <c:pt idx="20841">
                  <c:v>511</c:v>
                </c:pt>
                <c:pt idx="20842">
                  <c:v>152</c:v>
                </c:pt>
                <c:pt idx="20843">
                  <c:v>1134</c:v>
                </c:pt>
                <c:pt idx="20844">
                  <c:v>951</c:v>
                </c:pt>
                <c:pt idx="20845">
                  <c:v>4737</c:v>
                </c:pt>
                <c:pt idx="20846">
                  <c:v>587</c:v>
                </c:pt>
                <c:pt idx="20847">
                  <c:v>3637</c:v>
                </c:pt>
                <c:pt idx="20848">
                  <c:v>746</c:v>
                </c:pt>
                <c:pt idx="20849">
                  <c:v>6163</c:v>
                </c:pt>
                <c:pt idx="20850">
                  <c:v>69</c:v>
                </c:pt>
                <c:pt idx="20851">
                  <c:v>14758</c:v>
                </c:pt>
                <c:pt idx="20852">
                  <c:v>10540</c:v>
                </c:pt>
                <c:pt idx="20853">
                  <c:v>9762</c:v>
                </c:pt>
                <c:pt idx="20854">
                  <c:v>8195</c:v>
                </c:pt>
                <c:pt idx="20855">
                  <c:v>15393</c:v>
                </c:pt>
                <c:pt idx="20856">
                  <c:v>9104</c:v>
                </c:pt>
                <c:pt idx="20857">
                  <c:v>6754</c:v>
                </c:pt>
                <c:pt idx="20858">
                  <c:v>3665</c:v>
                </c:pt>
                <c:pt idx="20859">
                  <c:v>8995</c:v>
                </c:pt>
                <c:pt idx="20860">
                  <c:v>22336</c:v>
                </c:pt>
                <c:pt idx="20861">
                  <c:v>9479</c:v>
                </c:pt>
                <c:pt idx="20862">
                  <c:v>6492</c:v>
                </c:pt>
                <c:pt idx="20863">
                  <c:v>2880</c:v>
                </c:pt>
                <c:pt idx="20864">
                  <c:v>8774</c:v>
                </c:pt>
                <c:pt idx="20865">
                  <c:v>14385</c:v>
                </c:pt>
                <c:pt idx="20866">
                  <c:v>10979</c:v>
                </c:pt>
                <c:pt idx="20867">
                  <c:v>5661</c:v>
                </c:pt>
                <c:pt idx="20868">
                  <c:v>7165</c:v>
                </c:pt>
                <c:pt idx="20869">
                  <c:v>289</c:v>
                </c:pt>
                <c:pt idx="20870">
                  <c:v>10892</c:v>
                </c:pt>
                <c:pt idx="20871">
                  <c:v>1423</c:v>
                </c:pt>
                <c:pt idx="20872">
                  <c:v>5542</c:v>
                </c:pt>
                <c:pt idx="20873">
                  <c:v>7416</c:v>
                </c:pt>
                <c:pt idx="20874">
                  <c:v>5906</c:v>
                </c:pt>
                <c:pt idx="20875">
                  <c:v>812</c:v>
                </c:pt>
                <c:pt idx="20876">
                  <c:v>84</c:v>
                </c:pt>
                <c:pt idx="20877">
                  <c:v>1058</c:v>
                </c:pt>
                <c:pt idx="20878">
                  <c:v>25</c:v>
                </c:pt>
                <c:pt idx="20879">
                  <c:v>1469</c:v>
                </c:pt>
                <c:pt idx="20880">
                  <c:v>466</c:v>
                </c:pt>
                <c:pt idx="20881">
                  <c:v>4678</c:v>
                </c:pt>
                <c:pt idx="20882">
                  <c:v>147</c:v>
                </c:pt>
                <c:pt idx="20883">
                  <c:v>265</c:v>
                </c:pt>
                <c:pt idx="20884">
                  <c:v>331</c:v>
                </c:pt>
                <c:pt idx="20885">
                  <c:v>263</c:v>
                </c:pt>
                <c:pt idx="20886">
                  <c:v>153</c:v>
                </c:pt>
                <c:pt idx="20887">
                  <c:v>192</c:v>
                </c:pt>
                <c:pt idx="20888">
                  <c:v>337</c:v>
                </c:pt>
                <c:pt idx="20889">
                  <c:v>156</c:v>
                </c:pt>
                <c:pt idx="20890">
                  <c:v>228</c:v>
                </c:pt>
                <c:pt idx="20891">
                  <c:v>176</c:v>
                </c:pt>
                <c:pt idx="20892">
                  <c:v>260</c:v>
                </c:pt>
                <c:pt idx="20893">
                  <c:v>85</c:v>
                </c:pt>
                <c:pt idx="20894">
                  <c:v>1153</c:v>
                </c:pt>
                <c:pt idx="20895">
                  <c:v>5527</c:v>
                </c:pt>
                <c:pt idx="20896">
                  <c:v>163</c:v>
                </c:pt>
                <c:pt idx="20897">
                  <c:v>630</c:v>
                </c:pt>
                <c:pt idx="20898">
                  <c:v>114</c:v>
                </c:pt>
                <c:pt idx="20899">
                  <c:v>75</c:v>
                </c:pt>
                <c:pt idx="20900">
                  <c:v>25156</c:v>
                </c:pt>
                <c:pt idx="20901">
                  <c:v>5231</c:v>
                </c:pt>
                <c:pt idx="20902">
                  <c:v>481</c:v>
                </c:pt>
                <c:pt idx="20903">
                  <c:v>55</c:v>
                </c:pt>
                <c:pt idx="20904">
                  <c:v>1752</c:v>
                </c:pt>
                <c:pt idx="20905">
                  <c:v>576</c:v>
                </c:pt>
                <c:pt idx="20906">
                  <c:v>138</c:v>
                </c:pt>
                <c:pt idx="20907">
                  <c:v>393</c:v>
                </c:pt>
                <c:pt idx="20908">
                  <c:v>138</c:v>
                </c:pt>
                <c:pt idx="20909">
                  <c:v>741</c:v>
                </c:pt>
                <c:pt idx="20910">
                  <c:v>256</c:v>
                </c:pt>
                <c:pt idx="20911">
                  <c:v>893</c:v>
                </c:pt>
                <c:pt idx="20912">
                  <c:v>2484</c:v>
                </c:pt>
                <c:pt idx="20913">
                  <c:v>234</c:v>
                </c:pt>
                <c:pt idx="20914">
                  <c:v>478</c:v>
                </c:pt>
                <c:pt idx="20915">
                  <c:v>114</c:v>
                </c:pt>
                <c:pt idx="20916">
                  <c:v>1235</c:v>
                </c:pt>
                <c:pt idx="20917">
                  <c:v>500</c:v>
                </c:pt>
                <c:pt idx="20918">
                  <c:v>948</c:v>
                </c:pt>
                <c:pt idx="20919">
                  <c:v>254</c:v>
                </c:pt>
                <c:pt idx="20920">
                  <c:v>305</c:v>
                </c:pt>
                <c:pt idx="20921">
                  <c:v>344</c:v>
                </c:pt>
                <c:pt idx="20922">
                  <c:v>133</c:v>
                </c:pt>
                <c:pt idx="20923">
                  <c:v>512</c:v>
                </c:pt>
                <c:pt idx="20924">
                  <c:v>1294</c:v>
                </c:pt>
                <c:pt idx="20925">
                  <c:v>218</c:v>
                </c:pt>
                <c:pt idx="20926">
                  <c:v>442</c:v>
                </c:pt>
                <c:pt idx="20927">
                  <c:v>113</c:v>
                </c:pt>
                <c:pt idx="20928">
                  <c:v>388</c:v>
                </c:pt>
                <c:pt idx="20929">
                  <c:v>711</c:v>
                </c:pt>
                <c:pt idx="20930">
                  <c:v>81</c:v>
                </c:pt>
                <c:pt idx="20931">
                  <c:v>2001</c:v>
                </c:pt>
                <c:pt idx="20932">
                  <c:v>327</c:v>
                </c:pt>
                <c:pt idx="20933">
                  <c:v>261</c:v>
                </c:pt>
                <c:pt idx="20934">
                  <c:v>204</c:v>
                </c:pt>
                <c:pt idx="20935">
                  <c:v>8411</c:v>
                </c:pt>
                <c:pt idx="20936">
                  <c:v>496</c:v>
                </c:pt>
                <c:pt idx="20937">
                  <c:v>365</c:v>
                </c:pt>
                <c:pt idx="20938">
                  <c:v>1231</c:v>
                </c:pt>
                <c:pt idx="20939">
                  <c:v>147</c:v>
                </c:pt>
                <c:pt idx="20940">
                  <c:v>206</c:v>
                </c:pt>
                <c:pt idx="20941">
                  <c:v>1004</c:v>
                </c:pt>
                <c:pt idx="20942">
                  <c:v>100</c:v>
                </c:pt>
                <c:pt idx="20943">
                  <c:v>55</c:v>
                </c:pt>
                <c:pt idx="20944">
                  <c:v>833</c:v>
                </c:pt>
                <c:pt idx="20945">
                  <c:v>411</c:v>
                </c:pt>
                <c:pt idx="20946">
                  <c:v>217</c:v>
                </c:pt>
                <c:pt idx="20947">
                  <c:v>464</c:v>
                </c:pt>
                <c:pt idx="20948">
                  <c:v>190</c:v>
                </c:pt>
                <c:pt idx="20949">
                  <c:v>619</c:v>
                </c:pt>
                <c:pt idx="20950">
                  <c:v>470</c:v>
                </c:pt>
                <c:pt idx="20951">
                  <c:v>127</c:v>
                </c:pt>
                <c:pt idx="20952">
                  <c:v>87</c:v>
                </c:pt>
                <c:pt idx="20953">
                  <c:v>11292</c:v>
                </c:pt>
                <c:pt idx="20954">
                  <c:v>11408</c:v>
                </c:pt>
                <c:pt idx="20955">
                  <c:v>1245</c:v>
                </c:pt>
                <c:pt idx="20956">
                  <c:v>115</c:v>
                </c:pt>
                <c:pt idx="20957">
                  <c:v>91</c:v>
                </c:pt>
                <c:pt idx="20958">
                  <c:v>140</c:v>
                </c:pt>
                <c:pt idx="20959">
                  <c:v>343</c:v>
                </c:pt>
                <c:pt idx="20960">
                  <c:v>192</c:v>
                </c:pt>
                <c:pt idx="20961">
                  <c:v>51</c:v>
                </c:pt>
                <c:pt idx="20962">
                  <c:v>133</c:v>
                </c:pt>
                <c:pt idx="20963">
                  <c:v>98</c:v>
                </c:pt>
                <c:pt idx="20964">
                  <c:v>824</c:v>
                </c:pt>
                <c:pt idx="20965">
                  <c:v>184</c:v>
                </c:pt>
                <c:pt idx="20966">
                  <c:v>293</c:v>
                </c:pt>
                <c:pt idx="20967">
                  <c:v>472</c:v>
                </c:pt>
                <c:pt idx="20968">
                  <c:v>1148</c:v>
                </c:pt>
                <c:pt idx="20969">
                  <c:v>289</c:v>
                </c:pt>
                <c:pt idx="20970">
                  <c:v>8804</c:v>
                </c:pt>
                <c:pt idx="20971">
                  <c:v>1182</c:v>
                </c:pt>
                <c:pt idx="20972">
                  <c:v>1432</c:v>
                </c:pt>
                <c:pt idx="20973">
                  <c:v>1427</c:v>
                </c:pt>
                <c:pt idx="20974">
                  <c:v>741</c:v>
                </c:pt>
                <c:pt idx="20975">
                  <c:v>689</c:v>
                </c:pt>
                <c:pt idx="20976">
                  <c:v>2199</c:v>
                </c:pt>
                <c:pt idx="20977">
                  <c:v>339</c:v>
                </c:pt>
                <c:pt idx="20978">
                  <c:v>45</c:v>
                </c:pt>
                <c:pt idx="20979">
                  <c:v>1940</c:v>
                </c:pt>
                <c:pt idx="20980">
                  <c:v>64</c:v>
                </c:pt>
                <c:pt idx="20981">
                  <c:v>341</c:v>
                </c:pt>
                <c:pt idx="20982">
                  <c:v>817</c:v>
                </c:pt>
                <c:pt idx="20983">
                  <c:v>641</c:v>
                </c:pt>
                <c:pt idx="20984">
                  <c:v>189</c:v>
                </c:pt>
                <c:pt idx="20985">
                  <c:v>102</c:v>
                </c:pt>
                <c:pt idx="20986">
                  <c:v>221</c:v>
                </c:pt>
                <c:pt idx="20987">
                  <c:v>221</c:v>
                </c:pt>
                <c:pt idx="20988">
                  <c:v>326</c:v>
                </c:pt>
                <c:pt idx="20989">
                  <c:v>72</c:v>
                </c:pt>
                <c:pt idx="20990">
                  <c:v>644</c:v>
                </c:pt>
                <c:pt idx="20991">
                  <c:v>208</c:v>
                </c:pt>
                <c:pt idx="20992">
                  <c:v>74</c:v>
                </c:pt>
                <c:pt idx="20993">
                  <c:v>252</c:v>
                </c:pt>
                <c:pt idx="20994">
                  <c:v>959</c:v>
                </c:pt>
                <c:pt idx="20995">
                  <c:v>446</c:v>
                </c:pt>
                <c:pt idx="20996">
                  <c:v>1476</c:v>
                </c:pt>
                <c:pt idx="20997">
                  <c:v>199</c:v>
                </c:pt>
                <c:pt idx="20998">
                  <c:v>386</c:v>
                </c:pt>
                <c:pt idx="20999">
                  <c:v>77</c:v>
                </c:pt>
                <c:pt idx="21000">
                  <c:v>13579</c:v>
                </c:pt>
                <c:pt idx="21001">
                  <c:v>129</c:v>
                </c:pt>
                <c:pt idx="21002">
                  <c:v>348</c:v>
                </c:pt>
                <c:pt idx="21003">
                  <c:v>71</c:v>
                </c:pt>
                <c:pt idx="21004">
                  <c:v>117</c:v>
                </c:pt>
                <c:pt idx="21005">
                  <c:v>29</c:v>
                </c:pt>
                <c:pt idx="21006">
                  <c:v>41</c:v>
                </c:pt>
                <c:pt idx="21007">
                  <c:v>101</c:v>
                </c:pt>
                <c:pt idx="21008">
                  <c:v>103</c:v>
                </c:pt>
                <c:pt idx="21009">
                  <c:v>76</c:v>
                </c:pt>
                <c:pt idx="21010">
                  <c:v>1388</c:v>
                </c:pt>
                <c:pt idx="21011">
                  <c:v>138</c:v>
                </c:pt>
                <c:pt idx="21012">
                  <c:v>197</c:v>
                </c:pt>
                <c:pt idx="21013">
                  <c:v>892</c:v>
                </c:pt>
                <c:pt idx="21014">
                  <c:v>81</c:v>
                </c:pt>
                <c:pt idx="21015">
                  <c:v>208</c:v>
                </c:pt>
                <c:pt idx="21016">
                  <c:v>422</c:v>
                </c:pt>
                <c:pt idx="21017">
                  <c:v>84</c:v>
                </c:pt>
                <c:pt idx="21018">
                  <c:v>119</c:v>
                </c:pt>
                <c:pt idx="21019">
                  <c:v>134</c:v>
                </c:pt>
                <c:pt idx="21020">
                  <c:v>231</c:v>
                </c:pt>
                <c:pt idx="21021">
                  <c:v>165</c:v>
                </c:pt>
                <c:pt idx="21022">
                  <c:v>1604</c:v>
                </c:pt>
                <c:pt idx="21023">
                  <c:v>117</c:v>
                </c:pt>
                <c:pt idx="21024">
                  <c:v>1269</c:v>
                </c:pt>
                <c:pt idx="21025">
                  <c:v>1310</c:v>
                </c:pt>
                <c:pt idx="21026">
                  <c:v>174</c:v>
                </c:pt>
                <c:pt idx="21027">
                  <c:v>2267</c:v>
                </c:pt>
                <c:pt idx="21028">
                  <c:v>117</c:v>
                </c:pt>
                <c:pt idx="21029">
                  <c:v>771</c:v>
                </c:pt>
                <c:pt idx="21030">
                  <c:v>976</c:v>
                </c:pt>
                <c:pt idx="21031">
                  <c:v>1201</c:v>
                </c:pt>
                <c:pt idx="21032">
                  <c:v>76</c:v>
                </c:pt>
                <c:pt idx="21033">
                  <c:v>3187</c:v>
                </c:pt>
                <c:pt idx="21034">
                  <c:v>964</c:v>
                </c:pt>
                <c:pt idx="21035">
                  <c:v>395</c:v>
                </c:pt>
                <c:pt idx="21036">
                  <c:v>263</c:v>
                </c:pt>
                <c:pt idx="21037">
                  <c:v>149</c:v>
                </c:pt>
                <c:pt idx="21038">
                  <c:v>2615</c:v>
                </c:pt>
                <c:pt idx="21039">
                  <c:v>98</c:v>
                </c:pt>
                <c:pt idx="21040">
                  <c:v>240</c:v>
                </c:pt>
                <c:pt idx="21041">
                  <c:v>227</c:v>
                </c:pt>
                <c:pt idx="21042">
                  <c:v>96</c:v>
                </c:pt>
                <c:pt idx="21043">
                  <c:v>905</c:v>
                </c:pt>
                <c:pt idx="21044">
                  <c:v>270</c:v>
                </c:pt>
                <c:pt idx="21045">
                  <c:v>67</c:v>
                </c:pt>
                <c:pt idx="21046">
                  <c:v>94</c:v>
                </c:pt>
                <c:pt idx="21047">
                  <c:v>1286</c:v>
                </c:pt>
                <c:pt idx="21048">
                  <c:v>967</c:v>
                </c:pt>
                <c:pt idx="21049">
                  <c:v>118</c:v>
                </c:pt>
                <c:pt idx="21050">
                  <c:v>672</c:v>
                </c:pt>
                <c:pt idx="21051">
                  <c:v>271</c:v>
                </c:pt>
                <c:pt idx="21052">
                  <c:v>798</c:v>
                </c:pt>
                <c:pt idx="21053">
                  <c:v>213</c:v>
                </c:pt>
                <c:pt idx="21054">
                  <c:v>493</c:v>
                </c:pt>
                <c:pt idx="21055">
                  <c:v>112</c:v>
                </c:pt>
                <c:pt idx="21056">
                  <c:v>132</c:v>
                </c:pt>
                <c:pt idx="21057">
                  <c:v>215</c:v>
                </c:pt>
                <c:pt idx="21058">
                  <c:v>15131</c:v>
                </c:pt>
                <c:pt idx="21059">
                  <c:v>543</c:v>
                </c:pt>
                <c:pt idx="21060">
                  <c:v>525</c:v>
                </c:pt>
                <c:pt idx="21061">
                  <c:v>1386</c:v>
                </c:pt>
                <c:pt idx="21062">
                  <c:v>466</c:v>
                </c:pt>
                <c:pt idx="21063">
                  <c:v>550</c:v>
                </c:pt>
                <c:pt idx="21064">
                  <c:v>549</c:v>
                </c:pt>
                <c:pt idx="21065">
                  <c:v>167</c:v>
                </c:pt>
                <c:pt idx="21066">
                  <c:v>279</c:v>
                </c:pt>
                <c:pt idx="21067">
                  <c:v>370</c:v>
                </c:pt>
                <c:pt idx="21068">
                  <c:v>17285</c:v>
                </c:pt>
                <c:pt idx="21069">
                  <c:v>177</c:v>
                </c:pt>
                <c:pt idx="21070">
                  <c:v>271</c:v>
                </c:pt>
                <c:pt idx="21071">
                  <c:v>1547</c:v>
                </c:pt>
                <c:pt idx="21072">
                  <c:v>451</c:v>
                </c:pt>
                <c:pt idx="21073">
                  <c:v>602</c:v>
                </c:pt>
                <c:pt idx="21074">
                  <c:v>796</c:v>
                </c:pt>
                <c:pt idx="21075">
                  <c:v>35</c:v>
                </c:pt>
                <c:pt idx="21076">
                  <c:v>387</c:v>
                </c:pt>
                <c:pt idx="21077">
                  <c:v>1114</c:v>
                </c:pt>
                <c:pt idx="21078">
                  <c:v>916</c:v>
                </c:pt>
                <c:pt idx="21079">
                  <c:v>120</c:v>
                </c:pt>
                <c:pt idx="21080">
                  <c:v>157</c:v>
                </c:pt>
                <c:pt idx="21081">
                  <c:v>985</c:v>
                </c:pt>
                <c:pt idx="21082">
                  <c:v>409</c:v>
                </c:pt>
                <c:pt idx="21083">
                  <c:v>710</c:v>
                </c:pt>
                <c:pt idx="21084">
                  <c:v>709</c:v>
                </c:pt>
                <c:pt idx="21085">
                  <c:v>703</c:v>
                </c:pt>
                <c:pt idx="21086">
                  <c:v>2696</c:v>
                </c:pt>
                <c:pt idx="21087">
                  <c:v>845</c:v>
                </c:pt>
                <c:pt idx="21088">
                  <c:v>973</c:v>
                </c:pt>
                <c:pt idx="21089">
                  <c:v>1171</c:v>
                </c:pt>
                <c:pt idx="21090">
                  <c:v>684</c:v>
                </c:pt>
                <c:pt idx="21091">
                  <c:v>3268</c:v>
                </c:pt>
                <c:pt idx="21092">
                  <c:v>104</c:v>
                </c:pt>
                <c:pt idx="21093">
                  <c:v>10074</c:v>
                </c:pt>
                <c:pt idx="21094">
                  <c:v>738</c:v>
                </c:pt>
                <c:pt idx="21095">
                  <c:v>2053</c:v>
                </c:pt>
                <c:pt idx="21096">
                  <c:v>299</c:v>
                </c:pt>
                <c:pt idx="21097">
                  <c:v>31</c:v>
                </c:pt>
                <c:pt idx="21098">
                  <c:v>433</c:v>
                </c:pt>
                <c:pt idx="21099">
                  <c:v>23</c:v>
                </c:pt>
                <c:pt idx="21100">
                  <c:v>1172</c:v>
                </c:pt>
                <c:pt idx="21101">
                  <c:v>2444</c:v>
                </c:pt>
                <c:pt idx="21102">
                  <c:v>428</c:v>
                </c:pt>
                <c:pt idx="21103">
                  <c:v>10851</c:v>
                </c:pt>
                <c:pt idx="21104">
                  <c:v>7744</c:v>
                </c:pt>
                <c:pt idx="21105">
                  <c:v>6269</c:v>
                </c:pt>
                <c:pt idx="21106">
                  <c:v>175</c:v>
                </c:pt>
                <c:pt idx="21107">
                  <c:v>679</c:v>
                </c:pt>
                <c:pt idx="21108">
                  <c:v>214</c:v>
                </c:pt>
                <c:pt idx="21109">
                  <c:v>913</c:v>
                </c:pt>
                <c:pt idx="21110">
                  <c:v>266</c:v>
                </c:pt>
                <c:pt idx="21111">
                  <c:v>210</c:v>
                </c:pt>
                <c:pt idx="21112">
                  <c:v>249</c:v>
                </c:pt>
                <c:pt idx="21113">
                  <c:v>16092</c:v>
                </c:pt>
                <c:pt idx="21114">
                  <c:v>1313</c:v>
                </c:pt>
                <c:pt idx="21115">
                  <c:v>14982</c:v>
                </c:pt>
                <c:pt idx="21116">
                  <c:v>9400</c:v>
                </c:pt>
                <c:pt idx="21117">
                  <c:v>374</c:v>
                </c:pt>
                <c:pt idx="21118">
                  <c:v>357</c:v>
                </c:pt>
                <c:pt idx="21119">
                  <c:v>955</c:v>
                </c:pt>
                <c:pt idx="21120">
                  <c:v>171</c:v>
                </c:pt>
                <c:pt idx="21121">
                  <c:v>440</c:v>
                </c:pt>
                <c:pt idx="21122">
                  <c:v>209</c:v>
                </c:pt>
                <c:pt idx="21123">
                  <c:v>1530</c:v>
                </c:pt>
                <c:pt idx="21124">
                  <c:v>639</c:v>
                </c:pt>
                <c:pt idx="21125">
                  <c:v>317</c:v>
                </c:pt>
                <c:pt idx="21126">
                  <c:v>193</c:v>
                </c:pt>
                <c:pt idx="21127">
                  <c:v>580</c:v>
                </c:pt>
                <c:pt idx="21128">
                  <c:v>24</c:v>
                </c:pt>
                <c:pt idx="21129">
                  <c:v>339</c:v>
                </c:pt>
                <c:pt idx="21130">
                  <c:v>843</c:v>
                </c:pt>
                <c:pt idx="21131">
                  <c:v>17241</c:v>
                </c:pt>
                <c:pt idx="21132">
                  <c:v>923</c:v>
                </c:pt>
                <c:pt idx="21133">
                  <c:v>6601</c:v>
                </c:pt>
                <c:pt idx="21134">
                  <c:v>310</c:v>
                </c:pt>
                <c:pt idx="21135">
                  <c:v>151</c:v>
                </c:pt>
                <c:pt idx="21136">
                  <c:v>695</c:v>
                </c:pt>
                <c:pt idx="21137">
                  <c:v>141</c:v>
                </c:pt>
                <c:pt idx="21138">
                  <c:v>1685</c:v>
                </c:pt>
                <c:pt idx="21139">
                  <c:v>910</c:v>
                </c:pt>
                <c:pt idx="21140">
                  <c:v>187</c:v>
                </c:pt>
                <c:pt idx="21141">
                  <c:v>100</c:v>
                </c:pt>
                <c:pt idx="21142">
                  <c:v>1825</c:v>
                </c:pt>
                <c:pt idx="21143">
                  <c:v>655</c:v>
                </c:pt>
                <c:pt idx="21144">
                  <c:v>2707</c:v>
                </c:pt>
                <c:pt idx="21145">
                  <c:v>398</c:v>
                </c:pt>
                <c:pt idx="21146">
                  <c:v>98</c:v>
                </c:pt>
                <c:pt idx="21147">
                  <c:v>1635</c:v>
                </c:pt>
                <c:pt idx="21148">
                  <c:v>603</c:v>
                </c:pt>
                <c:pt idx="21149">
                  <c:v>684</c:v>
                </c:pt>
                <c:pt idx="21150">
                  <c:v>94</c:v>
                </c:pt>
                <c:pt idx="21151">
                  <c:v>1238</c:v>
                </c:pt>
                <c:pt idx="21152">
                  <c:v>5435</c:v>
                </c:pt>
                <c:pt idx="21153">
                  <c:v>19014</c:v>
                </c:pt>
                <c:pt idx="21154">
                  <c:v>12385</c:v>
                </c:pt>
                <c:pt idx="21155">
                  <c:v>12305</c:v>
                </c:pt>
                <c:pt idx="21156">
                  <c:v>12734</c:v>
                </c:pt>
                <c:pt idx="21157">
                  <c:v>6195</c:v>
                </c:pt>
                <c:pt idx="21158">
                  <c:v>3273</c:v>
                </c:pt>
                <c:pt idx="21159">
                  <c:v>8584</c:v>
                </c:pt>
                <c:pt idx="21160">
                  <c:v>5152</c:v>
                </c:pt>
                <c:pt idx="21161">
                  <c:v>9094</c:v>
                </c:pt>
                <c:pt idx="21162">
                  <c:v>18627</c:v>
                </c:pt>
                <c:pt idx="21163">
                  <c:v>4115</c:v>
                </c:pt>
                <c:pt idx="21164">
                  <c:v>4898</c:v>
                </c:pt>
                <c:pt idx="21165">
                  <c:v>6636</c:v>
                </c:pt>
                <c:pt idx="21166">
                  <c:v>17501</c:v>
                </c:pt>
                <c:pt idx="21167">
                  <c:v>7781</c:v>
                </c:pt>
                <c:pt idx="21168">
                  <c:v>11746</c:v>
                </c:pt>
                <c:pt idx="21169">
                  <c:v>10729</c:v>
                </c:pt>
                <c:pt idx="21170">
                  <c:v>10789</c:v>
                </c:pt>
                <c:pt idx="21171">
                  <c:v>7531</c:v>
                </c:pt>
                <c:pt idx="21172">
                  <c:v>7969</c:v>
                </c:pt>
                <c:pt idx="21173">
                  <c:v>7096</c:v>
                </c:pt>
                <c:pt idx="21174">
                  <c:v>15768</c:v>
                </c:pt>
                <c:pt idx="21175">
                  <c:v>16612</c:v>
                </c:pt>
                <c:pt idx="21176">
                  <c:v>10527</c:v>
                </c:pt>
                <c:pt idx="21177">
                  <c:v>13549</c:v>
                </c:pt>
                <c:pt idx="21178">
                  <c:v>6999</c:v>
                </c:pt>
                <c:pt idx="21179">
                  <c:v>3158</c:v>
                </c:pt>
                <c:pt idx="21180">
                  <c:v>14431</c:v>
                </c:pt>
                <c:pt idx="21181">
                  <c:v>5368</c:v>
                </c:pt>
                <c:pt idx="21182">
                  <c:v>3474</c:v>
                </c:pt>
                <c:pt idx="21183">
                  <c:v>12926</c:v>
                </c:pt>
                <c:pt idx="21184">
                  <c:v>2970</c:v>
                </c:pt>
                <c:pt idx="21185">
                  <c:v>17093</c:v>
                </c:pt>
                <c:pt idx="21186">
                  <c:v>915</c:v>
                </c:pt>
                <c:pt idx="21187">
                  <c:v>121</c:v>
                </c:pt>
                <c:pt idx="21188">
                  <c:v>180</c:v>
                </c:pt>
                <c:pt idx="21189">
                  <c:v>1776</c:v>
                </c:pt>
                <c:pt idx="21190">
                  <c:v>223</c:v>
                </c:pt>
                <c:pt idx="21191">
                  <c:v>37</c:v>
                </c:pt>
                <c:pt idx="21192">
                  <c:v>6885</c:v>
                </c:pt>
                <c:pt idx="21193">
                  <c:v>360</c:v>
                </c:pt>
                <c:pt idx="21194">
                  <c:v>234</c:v>
                </c:pt>
                <c:pt idx="21195">
                  <c:v>258</c:v>
                </c:pt>
                <c:pt idx="21196">
                  <c:v>1070</c:v>
                </c:pt>
                <c:pt idx="21197">
                  <c:v>159</c:v>
                </c:pt>
                <c:pt idx="21198">
                  <c:v>235</c:v>
                </c:pt>
                <c:pt idx="21199">
                  <c:v>179</c:v>
                </c:pt>
                <c:pt idx="21200">
                  <c:v>176</c:v>
                </c:pt>
                <c:pt idx="21201">
                  <c:v>280</c:v>
                </c:pt>
                <c:pt idx="21202">
                  <c:v>41</c:v>
                </c:pt>
                <c:pt idx="21203">
                  <c:v>77</c:v>
                </c:pt>
                <c:pt idx="21204">
                  <c:v>187</c:v>
                </c:pt>
                <c:pt idx="21205">
                  <c:v>213</c:v>
                </c:pt>
                <c:pt idx="21206">
                  <c:v>203</c:v>
                </c:pt>
                <c:pt idx="21207">
                  <c:v>306</c:v>
                </c:pt>
                <c:pt idx="21208">
                  <c:v>534</c:v>
                </c:pt>
                <c:pt idx="21209">
                  <c:v>48</c:v>
                </c:pt>
                <c:pt idx="21210">
                  <c:v>4034</c:v>
                </c:pt>
                <c:pt idx="21211">
                  <c:v>251</c:v>
                </c:pt>
                <c:pt idx="21212">
                  <c:v>342</c:v>
                </c:pt>
                <c:pt idx="21213">
                  <c:v>148</c:v>
                </c:pt>
                <c:pt idx="21214">
                  <c:v>107</c:v>
                </c:pt>
                <c:pt idx="21215">
                  <c:v>626</c:v>
                </c:pt>
                <c:pt idx="21216">
                  <c:v>441</c:v>
                </c:pt>
                <c:pt idx="21217">
                  <c:v>397</c:v>
                </c:pt>
                <c:pt idx="21218">
                  <c:v>304</c:v>
                </c:pt>
                <c:pt idx="21219">
                  <c:v>449</c:v>
                </c:pt>
                <c:pt idx="21220">
                  <c:v>241</c:v>
                </c:pt>
                <c:pt idx="21221">
                  <c:v>71</c:v>
                </c:pt>
                <c:pt idx="21222">
                  <c:v>287</c:v>
                </c:pt>
                <c:pt idx="21223">
                  <c:v>1358</c:v>
                </c:pt>
                <c:pt idx="21224">
                  <c:v>91</c:v>
                </c:pt>
                <c:pt idx="21225">
                  <c:v>598</c:v>
                </c:pt>
                <c:pt idx="21226">
                  <c:v>100</c:v>
                </c:pt>
                <c:pt idx="21227">
                  <c:v>459</c:v>
                </c:pt>
                <c:pt idx="21228">
                  <c:v>2332</c:v>
                </c:pt>
                <c:pt idx="21229">
                  <c:v>416</c:v>
                </c:pt>
                <c:pt idx="21230">
                  <c:v>2237</c:v>
                </c:pt>
                <c:pt idx="21231">
                  <c:v>221</c:v>
                </c:pt>
                <c:pt idx="21232">
                  <c:v>962</c:v>
                </c:pt>
                <c:pt idx="21233">
                  <c:v>797</c:v>
                </c:pt>
                <c:pt idx="21234">
                  <c:v>203</c:v>
                </c:pt>
                <c:pt idx="21235">
                  <c:v>1184</c:v>
                </c:pt>
                <c:pt idx="21236">
                  <c:v>104</c:v>
                </c:pt>
                <c:pt idx="21237">
                  <c:v>149</c:v>
                </c:pt>
                <c:pt idx="21238">
                  <c:v>444</c:v>
                </c:pt>
                <c:pt idx="21239">
                  <c:v>166</c:v>
                </c:pt>
                <c:pt idx="21240">
                  <c:v>263</c:v>
                </c:pt>
                <c:pt idx="21241">
                  <c:v>845</c:v>
                </c:pt>
                <c:pt idx="21242">
                  <c:v>592</c:v>
                </c:pt>
                <c:pt idx="21243">
                  <c:v>2091</c:v>
                </c:pt>
                <c:pt idx="21244">
                  <c:v>652</c:v>
                </c:pt>
                <c:pt idx="21245">
                  <c:v>241</c:v>
                </c:pt>
                <c:pt idx="21246">
                  <c:v>294</c:v>
                </c:pt>
                <c:pt idx="21247">
                  <c:v>32</c:v>
                </c:pt>
                <c:pt idx="21248">
                  <c:v>39</c:v>
                </c:pt>
                <c:pt idx="21249">
                  <c:v>14</c:v>
                </c:pt>
                <c:pt idx="21250">
                  <c:v>587</c:v>
                </c:pt>
                <c:pt idx="21251">
                  <c:v>603</c:v>
                </c:pt>
                <c:pt idx="21252">
                  <c:v>128</c:v>
                </c:pt>
                <c:pt idx="21253">
                  <c:v>133</c:v>
                </c:pt>
                <c:pt idx="21254">
                  <c:v>493</c:v>
                </c:pt>
                <c:pt idx="21255">
                  <c:v>1795</c:v>
                </c:pt>
                <c:pt idx="21256">
                  <c:v>196</c:v>
                </c:pt>
                <c:pt idx="21257">
                  <c:v>496</c:v>
                </c:pt>
                <c:pt idx="21258">
                  <c:v>346</c:v>
                </c:pt>
                <c:pt idx="21259">
                  <c:v>4423</c:v>
                </c:pt>
                <c:pt idx="21260">
                  <c:v>261</c:v>
                </c:pt>
                <c:pt idx="21261">
                  <c:v>108</c:v>
                </c:pt>
                <c:pt idx="21262">
                  <c:v>298</c:v>
                </c:pt>
                <c:pt idx="21263">
                  <c:v>109</c:v>
                </c:pt>
                <c:pt idx="21264">
                  <c:v>142</c:v>
                </c:pt>
                <c:pt idx="21265">
                  <c:v>601</c:v>
                </c:pt>
                <c:pt idx="21266">
                  <c:v>164</c:v>
                </c:pt>
                <c:pt idx="21267">
                  <c:v>499</c:v>
                </c:pt>
                <c:pt idx="21268">
                  <c:v>605</c:v>
                </c:pt>
                <c:pt idx="21269">
                  <c:v>428</c:v>
                </c:pt>
                <c:pt idx="21270">
                  <c:v>565</c:v>
                </c:pt>
                <c:pt idx="21271">
                  <c:v>328</c:v>
                </c:pt>
                <c:pt idx="21272">
                  <c:v>757</c:v>
                </c:pt>
                <c:pt idx="21273">
                  <c:v>42</c:v>
                </c:pt>
                <c:pt idx="21274">
                  <c:v>851</c:v>
                </c:pt>
                <c:pt idx="21275">
                  <c:v>95</c:v>
                </c:pt>
                <c:pt idx="21276">
                  <c:v>61</c:v>
                </c:pt>
                <c:pt idx="21277">
                  <c:v>4688</c:v>
                </c:pt>
                <c:pt idx="21278">
                  <c:v>332</c:v>
                </c:pt>
                <c:pt idx="21279">
                  <c:v>179</c:v>
                </c:pt>
                <c:pt idx="21280">
                  <c:v>52</c:v>
                </c:pt>
                <c:pt idx="21281">
                  <c:v>380</c:v>
                </c:pt>
                <c:pt idx="21282">
                  <c:v>71</c:v>
                </c:pt>
                <c:pt idx="21283">
                  <c:v>498</c:v>
                </c:pt>
                <c:pt idx="21284">
                  <c:v>1290</c:v>
                </c:pt>
                <c:pt idx="21285">
                  <c:v>151</c:v>
                </c:pt>
                <c:pt idx="21286">
                  <c:v>1051</c:v>
                </c:pt>
                <c:pt idx="21287">
                  <c:v>119</c:v>
                </c:pt>
                <c:pt idx="21288">
                  <c:v>377</c:v>
                </c:pt>
                <c:pt idx="21289">
                  <c:v>273</c:v>
                </c:pt>
                <c:pt idx="21290">
                  <c:v>745</c:v>
                </c:pt>
                <c:pt idx="21291">
                  <c:v>318</c:v>
                </c:pt>
                <c:pt idx="21292">
                  <c:v>78</c:v>
                </c:pt>
                <c:pt idx="21293">
                  <c:v>310</c:v>
                </c:pt>
                <c:pt idx="21294">
                  <c:v>302</c:v>
                </c:pt>
                <c:pt idx="21295">
                  <c:v>2153</c:v>
                </c:pt>
                <c:pt idx="21296">
                  <c:v>693</c:v>
                </c:pt>
                <c:pt idx="21297">
                  <c:v>262</c:v>
                </c:pt>
                <c:pt idx="21298">
                  <c:v>1382</c:v>
                </c:pt>
                <c:pt idx="21299">
                  <c:v>926</c:v>
                </c:pt>
                <c:pt idx="21300">
                  <c:v>4507</c:v>
                </c:pt>
                <c:pt idx="21301">
                  <c:v>14264</c:v>
                </c:pt>
                <c:pt idx="21302">
                  <c:v>8579</c:v>
                </c:pt>
                <c:pt idx="21303">
                  <c:v>9949</c:v>
                </c:pt>
                <c:pt idx="21304">
                  <c:v>9869</c:v>
                </c:pt>
                <c:pt idx="21305">
                  <c:v>15122</c:v>
                </c:pt>
                <c:pt idx="21306">
                  <c:v>8311</c:v>
                </c:pt>
                <c:pt idx="21307">
                  <c:v>8587</c:v>
                </c:pt>
                <c:pt idx="21308">
                  <c:v>10765</c:v>
                </c:pt>
                <c:pt idx="21309">
                  <c:v>7681</c:v>
                </c:pt>
                <c:pt idx="21310">
                  <c:v>125</c:v>
                </c:pt>
                <c:pt idx="21311">
                  <c:v>24815</c:v>
                </c:pt>
                <c:pt idx="21312">
                  <c:v>370</c:v>
                </c:pt>
                <c:pt idx="21313">
                  <c:v>1008</c:v>
                </c:pt>
                <c:pt idx="21314">
                  <c:v>21000</c:v>
                </c:pt>
                <c:pt idx="21315">
                  <c:v>6799</c:v>
                </c:pt>
                <c:pt idx="21316">
                  <c:v>899</c:v>
                </c:pt>
                <c:pt idx="21317">
                  <c:v>3301</c:v>
                </c:pt>
                <c:pt idx="21318">
                  <c:v>4225</c:v>
                </c:pt>
                <c:pt idx="21319">
                  <c:v>693</c:v>
                </c:pt>
                <c:pt idx="21320">
                  <c:v>3577</c:v>
                </c:pt>
                <c:pt idx="21321">
                  <c:v>190</c:v>
                </c:pt>
                <c:pt idx="21322">
                  <c:v>338</c:v>
                </c:pt>
                <c:pt idx="21323">
                  <c:v>15126</c:v>
                </c:pt>
                <c:pt idx="21324">
                  <c:v>1510</c:v>
                </c:pt>
                <c:pt idx="21325">
                  <c:v>122</c:v>
                </c:pt>
                <c:pt idx="21326">
                  <c:v>161</c:v>
                </c:pt>
                <c:pt idx="21327">
                  <c:v>213</c:v>
                </c:pt>
                <c:pt idx="21328">
                  <c:v>487</c:v>
                </c:pt>
                <c:pt idx="21329">
                  <c:v>327</c:v>
                </c:pt>
                <c:pt idx="21330">
                  <c:v>343</c:v>
                </c:pt>
                <c:pt idx="21331">
                  <c:v>447</c:v>
                </c:pt>
                <c:pt idx="21332">
                  <c:v>621</c:v>
                </c:pt>
                <c:pt idx="21333">
                  <c:v>157</c:v>
                </c:pt>
                <c:pt idx="21334">
                  <c:v>1907</c:v>
                </c:pt>
                <c:pt idx="21335">
                  <c:v>526</c:v>
                </c:pt>
                <c:pt idx="21336">
                  <c:v>363</c:v>
                </c:pt>
                <c:pt idx="21337">
                  <c:v>286</c:v>
                </c:pt>
                <c:pt idx="21338">
                  <c:v>673</c:v>
                </c:pt>
                <c:pt idx="21339">
                  <c:v>134</c:v>
                </c:pt>
                <c:pt idx="21340">
                  <c:v>859</c:v>
                </c:pt>
                <c:pt idx="21341">
                  <c:v>552</c:v>
                </c:pt>
                <c:pt idx="21342">
                  <c:v>482</c:v>
                </c:pt>
                <c:pt idx="21343">
                  <c:v>990</c:v>
                </c:pt>
                <c:pt idx="21344">
                  <c:v>503</c:v>
                </c:pt>
                <c:pt idx="21345">
                  <c:v>408</c:v>
                </c:pt>
                <c:pt idx="21346">
                  <c:v>408</c:v>
                </c:pt>
                <c:pt idx="21347">
                  <c:v>131</c:v>
                </c:pt>
                <c:pt idx="21348">
                  <c:v>1006</c:v>
                </c:pt>
                <c:pt idx="21349">
                  <c:v>607</c:v>
                </c:pt>
                <c:pt idx="21350">
                  <c:v>332</c:v>
                </c:pt>
                <c:pt idx="21351">
                  <c:v>372</c:v>
                </c:pt>
                <c:pt idx="21352">
                  <c:v>292</c:v>
                </c:pt>
                <c:pt idx="21353">
                  <c:v>25</c:v>
                </c:pt>
                <c:pt idx="21354">
                  <c:v>435</c:v>
                </c:pt>
                <c:pt idx="21355">
                  <c:v>69</c:v>
                </c:pt>
                <c:pt idx="21356">
                  <c:v>566</c:v>
                </c:pt>
                <c:pt idx="21357">
                  <c:v>3744</c:v>
                </c:pt>
                <c:pt idx="21358">
                  <c:v>695</c:v>
                </c:pt>
                <c:pt idx="21359">
                  <c:v>547</c:v>
                </c:pt>
                <c:pt idx="21360">
                  <c:v>163</c:v>
                </c:pt>
                <c:pt idx="21361">
                  <c:v>334</c:v>
                </c:pt>
                <c:pt idx="21362">
                  <c:v>736</c:v>
                </c:pt>
                <c:pt idx="21363">
                  <c:v>83</c:v>
                </c:pt>
                <c:pt idx="21364">
                  <c:v>183</c:v>
                </c:pt>
                <c:pt idx="21365">
                  <c:v>16279</c:v>
                </c:pt>
                <c:pt idx="21366">
                  <c:v>436</c:v>
                </c:pt>
                <c:pt idx="21367">
                  <c:v>1214</c:v>
                </c:pt>
                <c:pt idx="21368">
                  <c:v>592</c:v>
                </c:pt>
                <c:pt idx="21369">
                  <c:v>874</c:v>
                </c:pt>
                <c:pt idx="21370">
                  <c:v>447</c:v>
                </c:pt>
                <c:pt idx="21371">
                  <c:v>145</c:v>
                </c:pt>
                <c:pt idx="21372">
                  <c:v>852</c:v>
                </c:pt>
                <c:pt idx="21373">
                  <c:v>107</c:v>
                </c:pt>
                <c:pt idx="21374">
                  <c:v>133</c:v>
                </c:pt>
                <c:pt idx="21375">
                  <c:v>286</c:v>
                </c:pt>
                <c:pt idx="21376">
                  <c:v>315</c:v>
                </c:pt>
                <c:pt idx="21377">
                  <c:v>297</c:v>
                </c:pt>
                <c:pt idx="21378">
                  <c:v>373</c:v>
                </c:pt>
                <c:pt idx="21379">
                  <c:v>251</c:v>
                </c:pt>
                <c:pt idx="21380">
                  <c:v>102</c:v>
                </c:pt>
                <c:pt idx="21381">
                  <c:v>857</c:v>
                </c:pt>
                <c:pt idx="21382">
                  <c:v>997</c:v>
                </c:pt>
                <c:pt idx="21383">
                  <c:v>1881</c:v>
                </c:pt>
                <c:pt idx="21384">
                  <c:v>82</c:v>
                </c:pt>
                <c:pt idx="21385">
                  <c:v>603</c:v>
                </c:pt>
                <c:pt idx="21386">
                  <c:v>420</c:v>
                </c:pt>
                <c:pt idx="21387">
                  <c:v>1422</c:v>
                </c:pt>
                <c:pt idx="21388">
                  <c:v>487</c:v>
                </c:pt>
                <c:pt idx="21389">
                  <c:v>349</c:v>
                </c:pt>
                <c:pt idx="21390">
                  <c:v>165</c:v>
                </c:pt>
                <c:pt idx="21391">
                  <c:v>258</c:v>
                </c:pt>
                <c:pt idx="21392">
                  <c:v>821</c:v>
                </c:pt>
                <c:pt idx="21393">
                  <c:v>161</c:v>
                </c:pt>
                <c:pt idx="21394">
                  <c:v>1116</c:v>
                </c:pt>
                <c:pt idx="21395">
                  <c:v>28</c:v>
                </c:pt>
                <c:pt idx="21396">
                  <c:v>34</c:v>
                </c:pt>
                <c:pt idx="21397">
                  <c:v>445</c:v>
                </c:pt>
                <c:pt idx="21398">
                  <c:v>133</c:v>
                </c:pt>
                <c:pt idx="21399">
                  <c:v>856</c:v>
                </c:pt>
                <c:pt idx="21400">
                  <c:v>424</c:v>
                </c:pt>
                <c:pt idx="21401">
                  <c:v>580</c:v>
                </c:pt>
                <c:pt idx="21402">
                  <c:v>562</c:v>
                </c:pt>
                <c:pt idx="21403">
                  <c:v>212</c:v>
                </c:pt>
                <c:pt idx="21404">
                  <c:v>2327</c:v>
                </c:pt>
                <c:pt idx="21405">
                  <c:v>389</c:v>
                </c:pt>
                <c:pt idx="21406">
                  <c:v>560</c:v>
                </c:pt>
                <c:pt idx="21407">
                  <c:v>196</c:v>
                </c:pt>
                <c:pt idx="21408">
                  <c:v>1827</c:v>
                </c:pt>
                <c:pt idx="21409">
                  <c:v>886</c:v>
                </c:pt>
                <c:pt idx="21410">
                  <c:v>419</c:v>
                </c:pt>
                <c:pt idx="21411">
                  <c:v>753</c:v>
                </c:pt>
                <c:pt idx="21412">
                  <c:v>636</c:v>
                </c:pt>
                <c:pt idx="21413">
                  <c:v>742</c:v>
                </c:pt>
                <c:pt idx="21414">
                  <c:v>140</c:v>
                </c:pt>
                <c:pt idx="21415">
                  <c:v>179</c:v>
                </c:pt>
                <c:pt idx="21416">
                  <c:v>7458</c:v>
                </c:pt>
                <c:pt idx="21417">
                  <c:v>227</c:v>
                </c:pt>
                <c:pt idx="21418">
                  <c:v>342</c:v>
                </c:pt>
                <c:pt idx="21419">
                  <c:v>1296</c:v>
                </c:pt>
                <c:pt idx="21420">
                  <c:v>536</c:v>
                </c:pt>
                <c:pt idx="21421">
                  <c:v>785</c:v>
                </c:pt>
                <c:pt idx="21422">
                  <c:v>393</c:v>
                </c:pt>
                <c:pt idx="21423">
                  <c:v>141</c:v>
                </c:pt>
                <c:pt idx="21424">
                  <c:v>525</c:v>
                </c:pt>
                <c:pt idx="21425">
                  <c:v>3614</c:v>
                </c:pt>
                <c:pt idx="21426">
                  <c:v>2352</c:v>
                </c:pt>
                <c:pt idx="21427">
                  <c:v>506</c:v>
                </c:pt>
                <c:pt idx="21428">
                  <c:v>1019</c:v>
                </c:pt>
                <c:pt idx="21429">
                  <c:v>219</c:v>
                </c:pt>
                <c:pt idx="21430">
                  <c:v>14944</c:v>
                </c:pt>
                <c:pt idx="21431">
                  <c:v>12436</c:v>
                </c:pt>
                <c:pt idx="21432">
                  <c:v>519</c:v>
                </c:pt>
                <c:pt idx="21433">
                  <c:v>299</c:v>
                </c:pt>
                <c:pt idx="21434">
                  <c:v>218</c:v>
                </c:pt>
                <c:pt idx="21435">
                  <c:v>437</c:v>
                </c:pt>
                <c:pt idx="21436">
                  <c:v>335</c:v>
                </c:pt>
                <c:pt idx="21437">
                  <c:v>68</c:v>
                </c:pt>
                <c:pt idx="21438">
                  <c:v>201</c:v>
                </c:pt>
                <c:pt idx="21439">
                  <c:v>2912</c:v>
                </c:pt>
                <c:pt idx="21440">
                  <c:v>150</c:v>
                </c:pt>
                <c:pt idx="21441">
                  <c:v>2333</c:v>
                </c:pt>
                <c:pt idx="21442">
                  <c:v>1115</c:v>
                </c:pt>
                <c:pt idx="21443">
                  <c:v>774</c:v>
                </c:pt>
                <c:pt idx="21444">
                  <c:v>501</c:v>
                </c:pt>
                <c:pt idx="21445">
                  <c:v>1789</c:v>
                </c:pt>
                <c:pt idx="21446">
                  <c:v>357</c:v>
                </c:pt>
                <c:pt idx="21447">
                  <c:v>116</c:v>
                </c:pt>
                <c:pt idx="21448">
                  <c:v>342</c:v>
                </c:pt>
                <c:pt idx="21449">
                  <c:v>1287</c:v>
                </c:pt>
                <c:pt idx="21450">
                  <c:v>83</c:v>
                </c:pt>
                <c:pt idx="21451">
                  <c:v>87</c:v>
                </c:pt>
                <c:pt idx="21452">
                  <c:v>341</c:v>
                </c:pt>
                <c:pt idx="21453">
                  <c:v>1029</c:v>
                </c:pt>
                <c:pt idx="21454">
                  <c:v>51</c:v>
                </c:pt>
                <c:pt idx="21455">
                  <c:v>168</c:v>
                </c:pt>
                <c:pt idx="21456">
                  <c:v>1546</c:v>
                </c:pt>
                <c:pt idx="21457">
                  <c:v>353</c:v>
                </c:pt>
                <c:pt idx="21458">
                  <c:v>266</c:v>
                </c:pt>
                <c:pt idx="21459">
                  <c:v>421</c:v>
                </c:pt>
                <c:pt idx="21460">
                  <c:v>100</c:v>
                </c:pt>
                <c:pt idx="21461">
                  <c:v>11656</c:v>
                </c:pt>
                <c:pt idx="21462">
                  <c:v>167</c:v>
                </c:pt>
                <c:pt idx="21463">
                  <c:v>9105</c:v>
                </c:pt>
                <c:pt idx="21464">
                  <c:v>6083</c:v>
                </c:pt>
                <c:pt idx="21465">
                  <c:v>305</c:v>
                </c:pt>
                <c:pt idx="21466">
                  <c:v>642</c:v>
                </c:pt>
                <c:pt idx="21467">
                  <c:v>328</c:v>
                </c:pt>
                <c:pt idx="21468">
                  <c:v>145</c:v>
                </c:pt>
                <c:pt idx="21469">
                  <c:v>353</c:v>
                </c:pt>
                <c:pt idx="21470">
                  <c:v>210</c:v>
                </c:pt>
                <c:pt idx="21471">
                  <c:v>237</c:v>
                </c:pt>
                <c:pt idx="21472">
                  <c:v>131</c:v>
                </c:pt>
                <c:pt idx="21473">
                  <c:v>1359</c:v>
                </c:pt>
                <c:pt idx="21474">
                  <c:v>710</c:v>
                </c:pt>
                <c:pt idx="21475">
                  <c:v>545</c:v>
                </c:pt>
                <c:pt idx="21476">
                  <c:v>447</c:v>
                </c:pt>
                <c:pt idx="21477">
                  <c:v>555</c:v>
                </c:pt>
                <c:pt idx="21478">
                  <c:v>1163</c:v>
                </c:pt>
                <c:pt idx="21479">
                  <c:v>296</c:v>
                </c:pt>
                <c:pt idx="21480">
                  <c:v>116</c:v>
                </c:pt>
                <c:pt idx="21481">
                  <c:v>459</c:v>
                </c:pt>
                <c:pt idx="21482">
                  <c:v>1701</c:v>
                </c:pt>
                <c:pt idx="21483">
                  <c:v>327</c:v>
                </c:pt>
                <c:pt idx="21484">
                  <c:v>255</c:v>
                </c:pt>
                <c:pt idx="21485">
                  <c:v>957</c:v>
                </c:pt>
                <c:pt idx="21486">
                  <c:v>316</c:v>
                </c:pt>
                <c:pt idx="21487">
                  <c:v>212</c:v>
                </c:pt>
                <c:pt idx="21488">
                  <c:v>187</c:v>
                </c:pt>
                <c:pt idx="21489">
                  <c:v>1371</c:v>
                </c:pt>
                <c:pt idx="21490">
                  <c:v>12880</c:v>
                </c:pt>
                <c:pt idx="21491">
                  <c:v>728</c:v>
                </c:pt>
                <c:pt idx="21492">
                  <c:v>587</c:v>
                </c:pt>
                <c:pt idx="21493">
                  <c:v>44</c:v>
                </c:pt>
                <c:pt idx="21494">
                  <c:v>848</c:v>
                </c:pt>
                <c:pt idx="21495">
                  <c:v>235</c:v>
                </c:pt>
                <c:pt idx="21496">
                  <c:v>236</c:v>
                </c:pt>
                <c:pt idx="21497">
                  <c:v>585</c:v>
                </c:pt>
                <c:pt idx="21498">
                  <c:v>163</c:v>
                </c:pt>
                <c:pt idx="21499">
                  <c:v>72</c:v>
                </c:pt>
                <c:pt idx="21500">
                  <c:v>682</c:v>
                </c:pt>
                <c:pt idx="21501">
                  <c:v>11</c:v>
                </c:pt>
                <c:pt idx="21502">
                  <c:v>176</c:v>
                </c:pt>
                <c:pt idx="21503">
                  <c:v>481</c:v>
                </c:pt>
                <c:pt idx="21504">
                  <c:v>277</c:v>
                </c:pt>
                <c:pt idx="21505">
                  <c:v>75</c:v>
                </c:pt>
                <c:pt idx="21506">
                  <c:v>892</c:v>
                </c:pt>
                <c:pt idx="21507">
                  <c:v>282</c:v>
                </c:pt>
                <c:pt idx="21508">
                  <c:v>429</c:v>
                </c:pt>
                <c:pt idx="21509">
                  <c:v>227</c:v>
                </c:pt>
                <c:pt idx="21510">
                  <c:v>484</c:v>
                </c:pt>
                <c:pt idx="21511">
                  <c:v>184</c:v>
                </c:pt>
                <c:pt idx="21512">
                  <c:v>610</c:v>
                </c:pt>
                <c:pt idx="21513">
                  <c:v>102</c:v>
                </c:pt>
                <c:pt idx="21514">
                  <c:v>270</c:v>
                </c:pt>
                <c:pt idx="21515">
                  <c:v>154</c:v>
                </c:pt>
                <c:pt idx="21516">
                  <c:v>3390</c:v>
                </c:pt>
                <c:pt idx="21517">
                  <c:v>136</c:v>
                </c:pt>
                <c:pt idx="21518">
                  <c:v>1031</c:v>
                </c:pt>
                <c:pt idx="21519">
                  <c:v>626</c:v>
                </c:pt>
                <c:pt idx="21520">
                  <c:v>309</c:v>
                </c:pt>
                <c:pt idx="21521">
                  <c:v>267</c:v>
                </c:pt>
                <c:pt idx="21522">
                  <c:v>1902</c:v>
                </c:pt>
                <c:pt idx="21523">
                  <c:v>80</c:v>
                </c:pt>
                <c:pt idx="21524">
                  <c:v>358</c:v>
                </c:pt>
                <c:pt idx="21525">
                  <c:v>193</c:v>
                </c:pt>
                <c:pt idx="21526">
                  <c:v>581</c:v>
                </c:pt>
                <c:pt idx="21527">
                  <c:v>697</c:v>
                </c:pt>
                <c:pt idx="21528">
                  <c:v>151</c:v>
                </c:pt>
                <c:pt idx="21529">
                  <c:v>138</c:v>
                </c:pt>
                <c:pt idx="21530">
                  <c:v>210</c:v>
                </c:pt>
                <c:pt idx="21531">
                  <c:v>159</c:v>
                </c:pt>
                <c:pt idx="21532">
                  <c:v>129</c:v>
                </c:pt>
                <c:pt idx="21533">
                  <c:v>118</c:v>
                </c:pt>
                <c:pt idx="21534">
                  <c:v>1209</c:v>
                </c:pt>
                <c:pt idx="21535">
                  <c:v>899</c:v>
                </c:pt>
                <c:pt idx="21536">
                  <c:v>237</c:v>
                </c:pt>
                <c:pt idx="21537">
                  <c:v>122</c:v>
                </c:pt>
                <c:pt idx="21538">
                  <c:v>391</c:v>
                </c:pt>
                <c:pt idx="21539">
                  <c:v>4402</c:v>
                </c:pt>
                <c:pt idx="21540">
                  <c:v>300</c:v>
                </c:pt>
                <c:pt idx="21541">
                  <c:v>693</c:v>
                </c:pt>
                <c:pt idx="21542">
                  <c:v>871</c:v>
                </c:pt>
                <c:pt idx="21543">
                  <c:v>200</c:v>
                </c:pt>
                <c:pt idx="21544">
                  <c:v>587</c:v>
                </c:pt>
                <c:pt idx="21545">
                  <c:v>482</c:v>
                </c:pt>
                <c:pt idx="21546">
                  <c:v>91</c:v>
                </c:pt>
                <c:pt idx="21547">
                  <c:v>335</c:v>
                </c:pt>
                <c:pt idx="21548">
                  <c:v>181</c:v>
                </c:pt>
                <c:pt idx="21549">
                  <c:v>96</c:v>
                </c:pt>
                <c:pt idx="21550">
                  <c:v>247</c:v>
                </c:pt>
                <c:pt idx="21551">
                  <c:v>1254</c:v>
                </c:pt>
                <c:pt idx="21552">
                  <c:v>493</c:v>
                </c:pt>
                <c:pt idx="21553">
                  <c:v>19</c:v>
                </c:pt>
                <c:pt idx="21554">
                  <c:v>255</c:v>
                </c:pt>
                <c:pt idx="21555">
                  <c:v>59</c:v>
                </c:pt>
                <c:pt idx="21556">
                  <c:v>269</c:v>
                </c:pt>
                <c:pt idx="21557">
                  <c:v>184</c:v>
                </c:pt>
                <c:pt idx="21558">
                  <c:v>291</c:v>
                </c:pt>
                <c:pt idx="21559">
                  <c:v>335</c:v>
                </c:pt>
                <c:pt idx="21560">
                  <c:v>111</c:v>
                </c:pt>
                <c:pt idx="21561">
                  <c:v>13689</c:v>
                </c:pt>
                <c:pt idx="21562">
                  <c:v>542</c:v>
                </c:pt>
                <c:pt idx="21563">
                  <c:v>155</c:v>
                </c:pt>
                <c:pt idx="21564">
                  <c:v>325</c:v>
                </c:pt>
                <c:pt idx="21565">
                  <c:v>370</c:v>
                </c:pt>
                <c:pt idx="21566">
                  <c:v>130</c:v>
                </c:pt>
                <c:pt idx="21567">
                  <c:v>357</c:v>
                </c:pt>
                <c:pt idx="21568">
                  <c:v>186</c:v>
                </c:pt>
                <c:pt idx="21569">
                  <c:v>580</c:v>
                </c:pt>
                <c:pt idx="21570">
                  <c:v>2527</c:v>
                </c:pt>
                <c:pt idx="21571">
                  <c:v>337</c:v>
                </c:pt>
                <c:pt idx="21572">
                  <c:v>53</c:v>
                </c:pt>
                <c:pt idx="21573">
                  <c:v>170</c:v>
                </c:pt>
                <c:pt idx="21574">
                  <c:v>199</c:v>
                </c:pt>
                <c:pt idx="21575">
                  <c:v>2131</c:v>
                </c:pt>
                <c:pt idx="21576">
                  <c:v>834</c:v>
                </c:pt>
                <c:pt idx="21577">
                  <c:v>214</c:v>
                </c:pt>
                <c:pt idx="21578">
                  <c:v>79</c:v>
                </c:pt>
                <c:pt idx="21579">
                  <c:v>825</c:v>
                </c:pt>
                <c:pt idx="21580">
                  <c:v>1425</c:v>
                </c:pt>
                <c:pt idx="21581">
                  <c:v>58</c:v>
                </c:pt>
                <c:pt idx="21582">
                  <c:v>200</c:v>
                </c:pt>
                <c:pt idx="21583">
                  <c:v>375</c:v>
                </c:pt>
                <c:pt idx="21584">
                  <c:v>230</c:v>
                </c:pt>
                <c:pt idx="21585">
                  <c:v>519</c:v>
                </c:pt>
                <c:pt idx="21586">
                  <c:v>322</c:v>
                </c:pt>
                <c:pt idx="21587">
                  <c:v>2903</c:v>
                </c:pt>
                <c:pt idx="21588">
                  <c:v>405</c:v>
                </c:pt>
                <c:pt idx="21589">
                  <c:v>585</c:v>
                </c:pt>
                <c:pt idx="21590">
                  <c:v>347</c:v>
                </c:pt>
                <c:pt idx="21591">
                  <c:v>79</c:v>
                </c:pt>
                <c:pt idx="21592">
                  <c:v>27</c:v>
                </c:pt>
                <c:pt idx="21593">
                  <c:v>3460</c:v>
                </c:pt>
                <c:pt idx="21594">
                  <c:v>446</c:v>
                </c:pt>
                <c:pt idx="21595">
                  <c:v>1068</c:v>
                </c:pt>
                <c:pt idx="21596">
                  <c:v>284</c:v>
                </c:pt>
                <c:pt idx="21597">
                  <c:v>195</c:v>
                </c:pt>
                <c:pt idx="21598">
                  <c:v>65</c:v>
                </c:pt>
                <c:pt idx="21599">
                  <c:v>176</c:v>
                </c:pt>
                <c:pt idx="21600">
                  <c:v>108</c:v>
                </c:pt>
                <c:pt idx="21601">
                  <c:v>2100</c:v>
                </c:pt>
                <c:pt idx="21602">
                  <c:v>975</c:v>
                </c:pt>
                <c:pt idx="21603">
                  <c:v>201</c:v>
                </c:pt>
                <c:pt idx="21604">
                  <c:v>101</c:v>
                </c:pt>
                <c:pt idx="21605">
                  <c:v>154</c:v>
                </c:pt>
                <c:pt idx="21606">
                  <c:v>98</c:v>
                </c:pt>
                <c:pt idx="21607">
                  <c:v>120</c:v>
                </c:pt>
                <c:pt idx="21608">
                  <c:v>192</c:v>
                </c:pt>
                <c:pt idx="21609">
                  <c:v>4671</c:v>
                </c:pt>
                <c:pt idx="21610">
                  <c:v>953</c:v>
                </c:pt>
                <c:pt idx="21611">
                  <c:v>1042</c:v>
                </c:pt>
                <c:pt idx="21612">
                  <c:v>3521</c:v>
                </c:pt>
                <c:pt idx="21613">
                  <c:v>517</c:v>
                </c:pt>
                <c:pt idx="21614">
                  <c:v>5025</c:v>
                </c:pt>
                <c:pt idx="21615">
                  <c:v>1128</c:v>
                </c:pt>
                <c:pt idx="21616">
                  <c:v>216</c:v>
                </c:pt>
                <c:pt idx="21617">
                  <c:v>189</c:v>
                </c:pt>
                <c:pt idx="21618">
                  <c:v>650</c:v>
                </c:pt>
                <c:pt idx="21619">
                  <c:v>623</c:v>
                </c:pt>
                <c:pt idx="21620">
                  <c:v>197</c:v>
                </c:pt>
                <c:pt idx="21621">
                  <c:v>84</c:v>
                </c:pt>
                <c:pt idx="21622">
                  <c:v>237</c:v>
                </c:pt>
                <c:pt idx="21623">
                  <c:v>64</c:v>
                </c:pt>
                <c:pt idx="21624">
                  <c:v>863</c:v>
                </c:pt>
                <c:pt idx="21625">
                  <c:v>1740</c:v>
                </c:pt>
                <c:pt idx="21626">
                  <c:v>948</c:v>
                </c:pt>
                <c:pt idx="21627">
                  <c:v>603</c:v>
                </c:pt>
                <c:pt idx="21628">
                  <c:v>8102</c:v>
                </c:pt>
                <c:pt idx="21629">
                  <c:v>134</c:v>
                </c:pt>
                <c:pt idx="21630">
                  <c:v>132</c:v>
                </c:pt>
                <c:pt idx="21631">
                  <c:v>21213</c:v>
                </c:pt>
                <c:pt idx="21632">
                  <c:v>9761</c:v>
                </c:pt>
                <c:pt idx="21633">
                  <c:v>19411</c:v>
                </c:pt>
                <c:pt idx="21634">
                  <c:v>12331</c:v>
                </c:pt>
                <c:pt idx="21635">
                  <c:v>6610</c:v>
                </c:pt>
                <c:pt idx="21636">
                  <c:v>1964</c:v>
                </c:pt>
                <c:pt idx="21637">
                  <c:v>468</c:v>
                </c:pt>
                <c:pt idx="21638">
                  <c:v>1709</c:v>
                </c:pt>
                <c:pt idx="21639">
                  <c:v>317</c:v>
                </c:pt>
                <c:pt idx="21640">
                  <c:v>7692</c:v>
                </c:pt>
                <c:pt idx="21641">
                  <c:v>1069</c:v>
                </c:pt>
                <c:pt idx="21642">
                  <c:v>483</c:v>
                </c:pt>
                <c:pt idx="21643">
                  <c:v>925</c:v>
                </c:pt>
                <c:pt idx="21644">
                  <c:v>8842</c:v>
                </c:pt>
                <c:pt idx="21645">
                  <c:v>6151</c:v>
                </c:pt>
                <c:pt idx="21646">
                  <c:v>413</c:v>
                </c:pt>
                <c:pt idx="21647">
                  <c:v>534</c:v>
                </c:pt>
                <c:pt idx="21648">
                  <c:v>1496</c:v>
                </c:pt>
                <c:pt idx="21649">
                  <c:v>7371</c:v>
                </c:pt>
                <c:pt idx="21650">
                  <c:v>18709</c:v>
                </c:pt>
                <c:pt idx="21651">
                  <c:v>1989</c:v>
                </c:pt>
                <c:pt idx="21652">
                  <c:v>17254</c:v>
                </c:pt>
                <c:pt idx="21653">
                  <c:v>7872</c:v>
                </c:pt>
                <c:pt idx="21654">
                  <c:v>24946</c:v>
                </c:pt>
                <c:pt idx="21655">
                  <c:v>1113</c:v>
                </c:pt>
                <c:pt idx="21656">
                  <c:v>15264</c:v>
                </c:pt>
                <c:pt idx="21657">
                  <c:v>6426</c:v>
                </c:pt>
                <c:pt idx="21658">
                  <c:v>992</c:v>
                </c:pt>
                <c:pt idx="21659">
                  <c:v>25310</c:v>
                </c:pt>
                <c:pt idx="21660">
                  <c:v>2558</c:v>
                </c:pt>
                <c:pt idx="21661">
                  <c:v>1427</c:v>
                </c:pt>
                <c:pt idx="21662">
                  <c:v>375</c:v>
                </c:pt>
                <c:pt idx="21663">
                  <c:v>772</c:v>
                </c:pt>
                <c:pt idx="21664">
                  <c:v>1987</c:v>
                </c:pt>
                <c:pt idx="21665">
                  <c:v>1688</c:v>
                </c:pt>
                <c:pt idx="21666">
                  <c:v>721</c:v>
                </c:pt>
                <c:pt idx="21667">
                  <c:v>3299</c:v>
                </c:pt>
                <c:pt idx="21668">
                  <c:v>3177</c:v>
                </c:pt>
                <c:pt idx="21669">
                  <c:v>3534</c:v>
                </c:pt>
                <c:pt idx="21670">
                  <c:v>12083</c:v>
                </c:pt>
                <c:pt idx="21671">
                  <c:v>1706</c:v>
                </c:pt>
                <c:pt idx="21672">
                  <c:v>3194</c:v>
                </c:pt>
                <c:pt idx="21673">
                  <c:v>9337</c:v>
                </c:pt>
                <c:pt idx="21674">
                  <c:v>18327</c:v>
                </c:pt>
                <c:pt idx="21675">
                  <c:v>5393</c:v>
                </c:pt>
                <c:pt idx="21676">
                  <c:v>11633</c:v>
                </c:pt>
                <c:pt idx="21677">
                  <c:v>16363</c:v>
                </c:pt>
                <c:pt idx="21678">
                  <c:v>17746</c:v>
                </c:pt>
                <c:pt idx="21679">
                  <c:v>6230</c:v>
                </c:pt>
                <c:pt idx="21680">
                  <c:v>15620</c:v>
                </c:pt>
                <c:pt idx="21681">
                  <c:v>14655</c:v>
                </c:pt>
                <c:pt idx="21682">
                  <c:v>10630</c:v>
                </c:pt>
                <c:pt idx="21683">
                  <c:v>8257</c:v>
                </c:pt>
                <c:pt idx="21684">
                  <c:v>11130</c:v>
                </c:pt>
                <c:pt idx="21685">
                  <c:v>9636</c:v>
                </c:pt>
                <c:pt idx="21686">
                  <c:v>8689</c:v>
                </c:pt>
                <c:pt idx="21687">
                  <c:v>3714</c:v>
                </c:pt>
                <c:pt idx="21688">
                  <c:v>8363</c:v>
                </c:pt>
                <c:pt idx="21689">
                  <c:v>12639</c:v>
                </c:pt>
                <c:pt idx="21690">
                  <c:v>19932</c:v>
                </c:pt>
                <c:pt idx="21691">
                  <c:v>2015</c:v>
                </c:pt>
                <c:pt idx="21692">
                  <c:v>1641</c:v>
                </c:pt>
                <c:pt idx="21693">
                  <c:v>2022</c:v>
                </c:pt>
                <c:pt idx="21694">
                  <c:v>1783</c:v>
                </c:pt>
                <c:pt idx="21695">
                  <c:v>2096</c:v>
                </c:pt>
                <c:pt idx="21696">
                  <c:v>4110</c:v>
                </c:pt>
                <c:pt idx="21697">
                  <c:v>3673</c:v>
                </c:pt>
                <c:pt idx="21698">
                  <c:v>1643</c:v>
                </c:pt>
                <c:pt idx="21699">
                  <c:v>528</c:v>
                </c:pt>
                <c:pt idx="21700">
                  <c:v>669</c:v>
                </c:pt>
                <c:pt idx="21701">
                  <c:v>1108</c:v>
                </c:pt>
                <c:pt idx="21702">
                  <c:v>390</c:v>
                </c:pt>
                <c:pt idx="21703">
                  <c:v>4339</c:v>
                </c:pt>
                <c:pt idx="21704">
                  <c:v>13267</c:v>
                </c:pt>
                <c:pt idx="21705">
                  <c:v>8749</c:v>
                </c:pt>
                <c:pt idx="21706">
                  <c:v>145</c:v>
                </c:pt>
                <c:pt idx="21707">
                  <c:v>12712</c:v>
                </c:pt>
                <c:pt idx="21708">
                  <c:v>816</c:v>
                </c:pt>
                <c:pt idx="21709">
                  <c:v>2787</c:v>
                </c:pt>
                <c:pt idx="21710">
                  <c:v>2702</c:v>
                </c:pt>
                <c:pt idx="21711">
                  <c:v>77</c:v>
                </c:pt>
                <c:pt idx="21712">
                  <c:v>1575</c:v>
                </c:pt>
                <c:pt idx="21713">
                  <c:v>8145</c:v>
                </c:pt>
                <c:pt idx="21714">
                  <c:v>2763</c:v>
                </c:pt>
                <c:pt idx="21715">
                  <c:v>3401</c:v>
                </c:pt>
                <c:pt idx="21716">
                  <c:v>6106</c:v>
                </c:pt>
                <c:pt idx="21717">
                  <c:v>1934</c:v>
                </c:pt>
                <c:pt idx="21718">
                  <c:v>269</c:v>
                </c:pt>
                <c:pt idx="21719">
                  <c:v>9530</c:v>
                </c:pt>
                <c:pt idx="21720">
                  <c:v>13303</c:v>
                </c:pt>
                <c:pt idx="21721">
                  <c:v>3649</c:v>
                </c:pt>
                <c:pt idx="21722">
                  <c:v>4838</c:v>
                </c:pt>
                <c:pt idx="21723">
                  <c:v>1481</c:v>
                </c:pt>
                <c:pt idx="21724">
                  <c:v>5936</c:v>
                </c:pt>
                <c:pt idx="21725">
                  <c:v>1669</c:v>
                </c:pt>
                <c:pt idx="21726">
                  <c:v>18437</c:v>
                </c:pt>
                <c:pt idx="21727">
                  <c:v>9513</c:v>
                </c:pt>
                <c:pt idx="21728">
                  <c:v>3100</c:v>
                </c:pt>
                <c:pt idx="21729">
                  <c:v>8200</c:v>
                </c:pt>
                <c:pt idx="21730">
                  <c:v>2073</c:v>
                </c:pt>
                <c:pt idx="21731">
                  <c:v>2793</c:v>
                </c:pt>
                <c:pt idx="21732">
                  <c:v>4273</c:v>
                </c:pt>
                <c:pt idx="21733">
                  <c:v>4416</c:v>
                </c:pt>
                <c:pt idx="21734">
                  <c:v>2531</c:v>
                </c:pt>
                <c:pt idx="21735">
                  <c:v>8309</c:v>
                </c:pt>
                <c:pt idx="21736">
                  <c:v>12504</c:v>
                </c:pt>
                <c:pt idx="21737">
                  <c:v>1215</c:v>
                </c:pt>
                <c:pt idx="21738">
                  <c:v>1089</c:v>
                </c:pt>
                <c:pt idx="21739">
                  <c:v>5648</c:v>
                </c:pt>
                <c:pt idx="21740">
                  <c:v>13019</c:v>
                </c:pt>
                <c:pt idx="21741">
                  <c:v>938</c:v>
                </c:pt>
                <c:pt idx="21742">
                  <c:v>1648</c:v>
                </c:pt>
                <c:pt idx="21743">
                  <c:v>17608</c:v>
                </c:pt>
                <c:pt idx="21744">
                  <c:v>9251</c:v>
                </c:pt>
                <c:pt idx="21745">
                  <c:v>14973</c:v>
                </c:pt>
                <c:pt idx="21746">
                  <c:v>1901</c:v>
                </c:pt>
                <c:pt idx="21747">
                  <c:v>113</c:v>
                </c:pt>
                <c:pt idx="21748">
                  <c:v>3926</c:v>
                </c:pt>
                <c:pt idx="21749">
                  <c:v>10214</c:v>
                </c:pt>
                <c:pt idx="21750">
                  <c:v>10071</c:v>
                </c:pt>
                <c:pt idx="21751">
                  <c:v>15762</c:v>
                </c:pt>
                <c:pt idx="21752">
                  <c:v>19714</c:v>
                </c:pt>
                <c:pt idx="21753">
                  <c:v>9132</c:v>
                </c:pt>
                <c:pt idx="21754">
                  <c:v>20121</c:v>
                </c:pt>
                <c:pt idx="21755">
                  <c:v>10500</c:v>
                </c:pt>
                <c:pt idx="21756">
                  <c:v>4253</c:v>
                </c:pt>
                <c:pt idx="21757">
                  <c:v>671</c:v>
                </c:pt>
                <c:pt idx="21758">
                  <c:v>1055</c:v>
                </c:pt>
                <c:pt idx="21759">
                  <c:v>452</c:v>
                </c:pt>
                <c:pt idx="21760">
                  <c:v>11109</c:v>
                </c:pt>
                <c:pt idx="21761">
                  <c:v>8092</c:v>
                </c:pt>
                <c:pt idx="21762">
                  <c:v>9298</c:v>
                </c:pt>
                <c:pt idx="21763">
                  <c:v>285</c:v>
                </c:pt>
                <c:pt idx="21764">
                  <c:v>100</c:v>
                </c:pt>
                <c:pt idx="21765">
                  <c:v>5797</c:v>
                </c:pt>
                <c:pt idx="21766">
                  <c:v>5810</c:v>
                </c:pt>
                <c:pt idx="21767">
                  <c:v>861</c:v>
                </c:pt>
                <c:pt idx="21768">
                  <c:v>5902</c:v>
                </c:pt>
                <c:pt idx="21769">
                  <c:v>772</c:v>
                </c:pt>
                <c:pt idx="21770">
                  <c:v>979</c:v>
                </c:pt>
                <c:pt idx="21771">
                  <c:v>3013</c:v>
                </c:pt>
                <c:pt idx="21772">
                  <c:v>183</c:v>
                </c:pt>
                <c:pt idx="21773">
                  <c:v>6246</c:v>
                </c:pt>
                <c:pt idx="21774">
                  <c:v>4603</c:v>
                </c:pt>
                <c:pt idx="21775">
                  <c:v>269</c:v>
                </c:pt>
                <c:pt idx="21776">
                  <c:v>1041</c:v>
                </c:pt>
                <c:pt idx="21777">
                  <c:v>1699</c:v>
                </c:pt>
                <c:pt idx="21778">
                  <c:v>3820</c:v>
                </c:pt>
                <c:pt idx="21779">
                  <c:v>5978</c:v>
                </c:pt>
                <c:pt idx="21780">
                  <c:v>3369</c:v>
                </c:pt>
                <c:pt idx="21781">
                  <c:v>1125</c:v>
                </c:pt>
                <c:pt idx="21782">
                  <c:v>434</c:v>
                </c:pt>
                <c:pt idx="21783">
                  <c:v>1866</c:v>
                </c:pt>
                <c:pt idx="21784">
                  <c:v>3539</c:v>
                </c:pt>
                <c:pt idx="21785">
                  <c:v>196</c:v>
                </c:pt>
                <c:pt idx="21786">
                  <c:v>1332</c:v>
                </c:pt>
                <c:pt idx="21787">
                  <c:v>14197</c:v>
                </c:pt>
                <c:pt idx="21788">
                  <c:v>9241</c:v>
                </c:pt>
                <c:pt idx="21789">
                  <c:v>14572</c:v>
                </c:pt>
                <c:pt idx="21790">
                  <c:v>367</c:v>
                </c:pt>
                <c:pt idx="21791">
                  <c:v>1493</c:v>
                </c:pt>
                <c:pt idx="21792">
                  <c:v>7374</c:v>
                </c:pt>
                <c:pt idx="21793">
                  <c:v>467</c:v>
                </c:pt>
                <c:pt idx="21794">
                  <c:v>8333</c:v>
                </c:pt>
                <c:pt idx="21795">
                  <c:v>4720</c:v>
                </c:pt>
                <c:pt idx="21796">
                  <c:v>2768</c:v>
                </c:pt>
                <c:pt idx="21797">
                  <c:v>81</c:v>
                </c:pt>
                <c:pt idx="21798">
                  <c:v>6668</c:v>
                </c:pt>
                <c:pt idx="21799">
                  <c:v>1123</c:v>
                </c:pt>
                <c:pt idx="21800">
                  <c:v>2337</c:v>
                </c:pt>
                <c:pt idx="21801">
                  <c:v>14066</c:v>
                </c:pt>
                <c:pt idx="21802">
                  <c:v>14892</c:v>
                </c:pt>
                <c:pt idx="21803">
                  <c:v>19919</c:v>
                </c:pt>
                <c:pt idx="21804">
                  <c:v>13190</c:v>
                </c:pt>
                <c:pt idx="21805">
                  <c:v>9745</c:v>
                </c:pt>
                <c:pt idx="21806">
                  <c:v>4608</c:v>
                </c:pt>
                <c:pt idx="21807">
                  <c:v>625</c:v>
                </c:pt>
                <c:pt idx="21808">
                  <c:v>157</c:v>
                </c:pt>
                <c:pt idx="21809">
                  <c:v>3335</c:v>
                </c:pt>
                <c:pt idx="21810">
                  <c:v>10690</c:v>
                </c:pt>
                <c:pt idx="21811">
                  <c:v>444</c:v>
                </c:pt>
                <c:pt idx="21812">
                  <c:v>124</c:v>
                </c:pt>
                <c:pt idx="21813">
                  <c:v>90</c:v>
                </c:pt>
                <c:pt idx="21814">
                  <c:v>479</c:v>
                </c:pt>
                <c:pt idx="21815">
                  <c:v>4935</c:v>
                </c:pt>
                <c:pt idx="21816">
                  <c:v>2684</c:v>
                </c:pt>
                <c:pt idx="21817">
                  <c:v>497</c:v>
                </c:pt>
                <c:pt idx="21818">
                  <c:v>1287</c:v>
                </c:pt>
                <c:pt idx="21819">
                  <c:v>992</c:v>
                </c:pt>
                <c:pt idx="21820">
                  <c:v>972</c:v>
                </c:pt>
                <c:pt idx="21821">
                  <c:v>1590</c:v>
                </c:pt>
                <c:pt idx="21822">
                  <c:v>256</c:v>
                </c:pt>
                <c:pt idx="21823">
                  <c:v>700</c:v>
                </c:pt>
                <c:pt idx="21824">
                  <c:v>644</c:v>
                </c:pt>
                <c:pt idx="21825">
                  <c:v>11987</c:v>
                </c:pt>
                <c:pt idx="21826">
                  <c:v>5774</c:v>
                </c:pt>
                <c:pt idx="21827">
                  <c:v>2486</c:v>
                </c:pt>
                <c:pt idx="21828">
                  <c:v>3767</c:v>
                </c:pt>
                <c:pt idx="21829">
                  <c:v>10236</c:v>
                </c:pt>
                <c:pt idx="21830">
                  <c:v>3519</c:v>
                </c:pt>
                <c:pt idx="21831">
                  <c:v>2458</c:v>
                </c:pt>
                <c:pt idx="21832">
                  <c:v>8721</c:v>
                </c:pt>
                <c:pt idx="21833">
                  <c:v>459</c:v>
                </c:pt>
                <c:pt idx="21834">
                  <c:v>1521</c:v>
                </c:pt>
                <c:pt idx="21835">
                  <c:v>217</c:v>
                </c:pt>
                <c:pt idx="21836">
                  <c:v>1966</c:v>
                </c:pt>
                <c:pt idx="21837">
                  <c:v>440</c:v>
                </c:pt>
                <c:pt idx="21838">
                  <c:v>26487</c:v>
                </c:pt>
                <c:pt idx="21839">
                  <c:v>250</c:v>
                </c:pt>
                <c:pt idx="21840">
                  <c:v>85</c:v>
                </c:pt>
                <c:pt idx="21841">
                  <c:v>1469</c:v>
                </c:pt>
                <c:pt idx="21842">
                  <c:v>387</c:v>
                </c:pt>
                <c:pt idx="21843">
                  <c:v>550</c:v>
                </c:pt>
                <c:pt idx="21844">
                  <c:v>4989</c:v>
                </c:pt>
                <c:pt idx="21845">
                  <c:v>138</c:v>
                </c:pt>
                <c:pt idx="21846">
                  <c:v>22170</c:v>
                </c:pt>
                <c:pt idx="21847">
                  <c:v>7070</c:v>
                </c:pt>
                <c:pt idx="21848">
                  <c:v>305</c:v>
                </c:pt>
                <c:pt idx="21849">
                  <c:v>338</c:v>
                </c:pt>
                <c:pt idx="21850">
                  <c:v>2614</c:v>
                </c:pt>
                <c:pt idx="21851">
                  <c:v>1571</c:v>
                </c:pt>
                <c:pt idx="21852">
                  <c:v>527</c:v>
                </c:pt>
                <c:pt idx="21853">
                  <c:v>341</c:v>
                </c:pt>
                <c:pt idx="21854">
                  <c:v>390</c:v>
                </c:pt>
                <c:pt idx="21855">
                  <c:v>226</c:v>
                </c:pt>
                <c:pt idx="21856">
                  <c:v>5303</c:v>
                </c:pt>
                <c:pt idx="21857">
                  <c:v>661</c:v>
                </c:pt>
                <c:pt idx="21858">
                  <c:v>1141</c:v>
                </c:pt>
                <c:pt idx="21859">
                  <c:v>649</c:v>
                </c:pt>
                <c:pt idx="21860">
                  <c:v>2639</c:v>
                </c:pt>
                <c:pt idx="21861">
                  <c:v>149</c:v>
                </c:pt>
                <c:pt idx="21862">
                  <c:v>278</c:v>
                </c:pt>
                <c:pt idx="21863">
                  <c:v>2091</c:v>
                </c:pt>
                <c:pt idx="21864">
                  <c:v>6489</c:v>
                </c:pt>
                <c:pt idx="21865">
                  <c:v>6966</c:v>
                </c:pt>
                <c:pt idx="21866">
                  <c:v>23043</c:v>
                </c:pt>
                <c:pt idx="21867">
                  <c:v>1597</c:v>
                </c:pt>
                <c:pt idx="21868">
                  <c:v>660</c:v>
                </c:pt>
                <c:pt idx="21869">
                  <c:v>4557</c:v>
                </c:pt>
                <c:pt idx="21870">
                  <c:v>5080</c:v>
                </c:pt>
                <c:pt idx="21871">
                  <c:v>1733</c:v>
                </c:pt>
                <c:pt idx="21872">
                  <c:v>2138</c:v>
                </c:pt>
                <c:pt idx="21873">
                  <c:v>1764</c:v>
                </c:pt>
                <c:pt idx="21874">
                  <c:v>619</c:v>
                </c:pt>
                <c:pt idx="21875">
                  <c:v>1053</c:v>
                </c:pt>
                <c:pt idx="21876">
                  <c:v>10371</c:v>
                </c:pt>
                <c:pt idx="21877">
                  <c:v>1282</c:v>
                </c:pt>
                <c:pt idx="21878">
                  <c:v>193</c:v>
                </c:pt>
                <c:pt idx="21879">
                  <c:v>14353</c:v>
                </c:pt>
                <c:pt idx="21880">
                  <c:v>10757</c:v>
                </c:pt>
                <c:pt idx="21881">
                  <c:v>9128</c:v>
                </c:pt>
                <c:pt idx="21882">
                  <c:v>13858</c:v>
                </c:pt>
                <c:pt idx="21883">
                  <c:v>5870</c:v>
                </c:pt>
                <c:pt idx="21884">
                  <c:v>18400</c:v>
                </c:pt>
                <c:pt idx="21885">
                  <c:v>14834</c:v>
                </c:pt>
                <c:pt idx="21886">
                  <c:v>21209</c:v>
                </c:pt>
                <c:pt idx="21887">
                  <c:v>5697</c:v>
                </c:pt>
                <c:pt idx="21888">
                  <c:v>3991</c:v>
                </c:pt>
                <c:pt idx="21889">
                  <c:v>5732</c:v>
                </c:pt>
                <c:pt idx="21890">
                  <c:v>13413</c:v>
                </c:pt>
                <c:pt idx="21891">
                  <c:v>22587</c:v>
                </c:pt>
                <c:pt idx="21892">
                  <c:v>17829</c:v>
                </c:pt>
                <c:pt idx="21893">
                  <c:v>4127</c:v>
                </c:pt>
                <c:pt idx="21894">
                  <c:v>1649</c:v>
                </c:pt>
                <c:pt idx="21895">
                  <c:v>10844</c:v>
                </c:pt>
                <c:pt idx="21896">
                  <c:v>1429</c:v>
                </c:pt>
                <c:pt idx="21897">
                  <c:v>461</c:v>
                </c:pt>
                <c:pt idx="21898">
                  <c:v>190</c:v>
                </c:pt>
                <c:pt idx="21899">
                  <c:v>7143</c:v>
                </c:pt>
                <c:pt idx="21900">
                  <c:v>183</c:v>
                </c:pt>
                <c:pt idx="21901">
                  <c:v>504</c:v>
                </c:pt>
                <c:pt idx="21902">
                  <c:v>488</c:v>
                </c:pt>
                <c:pt idx="21903">
                  <c:v>2657</c:v>
                </c:pt>
                <c:pt idx="21904">
                  <c:v>192</c:v>
                </c:pt>
                <c:pt idx="21905">
                  <c:v>1117</c:v>
                </c:pt>
                <c:pt idx="21906">
                  <c:v>567</c:v>
                </c:pt>
                <c:pt idx="21907">
                  <c:v>60</c:v>
                </c:pt>
                <c:pt idx="21908">
                  <c:v>331</c:v>
                </c:pt>
                <c:pt idx="21909">
                  <c:v>221</c:v>
                </c:pt>
                <c:pt idx="21910">
                  <c:v>903</c:v>
                </c:pt>
                <c:pt idx="21911">
                  <c:v>1764</c:v>
                </c:pt>
                <c:pt idx="21912">
                  <c:v>131</c:v>
                </c:pt>
                <c:pt idx="21913">
                  <c:v>9425</c:v>
                </c:pt>
                <c:pt idx="21914">
                  <c:v>1229</c:v>
                </c:pt>
                <c:pt idx="21915">
                  <c:v>458</c:v>
                </c:pt>
                <c:pt idx="21916">
                  <c:v>2237</c:v>
                </c:pt>
                <c:pt idx="21917">
                  <c:v>159</c:v>
                </c:pt>
                <c:pt idx="21918">
                  <c:v>243</c:v>
                </c:pt>
                <c:pt idx="21919">
                  <c:v>285</c:v>
                </c:pt>
                <c:pt idx="21920">
                  <c:v>309</c:v>
                </c:pt>
                <c:pt idx="21921">
                  <c:v>3798</c:v>
                </c:pt>
                <c:pt idx="21922">
                  <c:v>51</c:v>
                </c:pt>
                <c:pt idx="21923">
                  <c:v>1166</c:v>
                </c:pt>
                <c:pt idx="21924">
                  <c:v>851</c:v>
                </c:pt>
                <c:pt idx="21925">
                  <c:v>2985</c:v>
                </c:pt>
                <c:pt idx="21926">
                  <c:v>6676</c:v>
                </c:pt>
                <c:pt idx="21927">
                  <c:v>888</c:v>
                </c:pt>
                <c:pt idx="21928">
                  <c:v>497</c:v>
                </c:pt>
                <c:pt idx="21929">
                  <c:v>292</c:v>
                </c:pt>
                <c:pt idx="21930">
                  <c:v>1234</c:v>
                </c:pt>
                <c:pt idx="21931">
                  <c:v>300</c:v>
                </c:pt>
                <c:pt idx="21932">
                  <c:v>1457</c:v>
                </c:pt>
                <c:pt idx="21933">
                  <c:v>1132</c:v>
                </c:pt>
                <c:pt idx="21934">
                  <c:v>174</c:v>
                </c:pt>
                <c:pt idx="21935">
                  <c:v>483</c:v>
                </c:pt>
                <c:pt idx="21936">
                  <c:v>763</c:v>
                </c:pt>
                <c:pt idx="21937">
                  <c:v>576</c:v>
                </c:pt>
                <c:pt idx="21938">
                  <c:v>974</c:v>
                </c:pt>
                <c:pt idx="21939">
                  <c:v>1481</c:v>
                </c:pt>
                <c:pt idx="21940">
                  <c:v>3196</c:v>
                </c:pt>
                <c:pt idx="21941">
                  <c:v>1364</c:v>
                </c:pt>
                <c:pt idx="21942">
                  <c:v>1997</c:v>
                </c:pt>
                <c:pt idx="21943">
                  <c:v>2019</c:v>
                </c:pt>
                <c:pt idx="21944">
                  <c:v>6455</c:v>
                </c:pt>
                <c:pt idx="21945">
                  <c:v>9978</c:v>
                </c:pt>
                <c:pt idx="21946">
                  <c:v>13948</c:v>
                </c:pt>
                <c:pt idx="21947">
                  <c:v>11703</c:v>
                </c:pt>
                <c:pt idx="21948">
                  <c:v>7714</c:v>
                </c:pt>
                <c:pt idx="21949">
                  <c:v>6602</c:v>
                </c:pt>
                <c:pt idx="21950">
                  <c:v>18050</c:v>
                </c:pt>
                <c:pt idx="21951">
                  <c:v>14821</c:v>
                </c:pt>
                <c:pt idx="21952">
                  <c:v>7752</c:v>
                </c:pt>
                <c:pt idx="21953">
                  <c:v>9902</c:v>
                </c:pt>
                <c:pt idx="21954">
                  <c:v>4437</c:v>
                </c:pt>
                <c:pt idx="21955">
                  <c:v>6213</c:v>
                </c:pt>
                <c:pt idx="21956">
                  <c:v>9809</c:v>
                </c:pt>
                <c:pt idx="21957">
                  <c:v>7698</c:v>
                </c:pt>
                <c:pt idx="21958">
                  <c:v>16942</c:v>
                </c:pt>
                <c:pt idx="21959">
                  <c:v>432</c:v>
                </c:pt>
                <c:pt idx="21960">
                  <c:v>7470</c:v>
                </c:pt>
                <c:pt idx="21961">
                  <c:v>987</c:v>
                </c:pt>
                <c:pt idx="21962">
                  <c:v>144</c:v>
                </c:pt>
                <c:pt idx="21963">
                  <c:v>3391</c:v>
                </c:pt>
                <c:pt idx="21964">
                  <c:v>766</c:v>
                </c:pt>
                <c:pt idx="21965">
                  <c:v>1546</c:v>
                </c:pt>
                <c:pt idx="21966">
                  <c:v>326</c:v>
                </c:pt>
                <c:pt idx="21967">
                  <c:v>2019</c:v>
                </c:pt>
                <c:pt idx="21968">
                  <c:v>2228</c:v>
                </c:pt>
                <c:pt idx="21969">
                  <c:v>1725</c:v>
                </c:pt>
                <c:pt idx="21970">
                  <c:v>332</c:v>
                </c:pt>
                <c:pt idx="21971">
                  <c:v>1129</c:v>
                </c:pt>
                <c:pt idx="21972">
                  <c:v>2982</c:v>
                </c:pt>
                <c:pt idx="21973">
                  <c:v>100</c:v>
                </c:pt>
                <c:pt idx="21974">
                  <c:v>1265</c:v>
                </c:pt>
                <c:pt idx="21975">
                  <c:v>267</c:v>
                </c:pt>
                <c:pt idx="21976">
                  <c:v>2451</c:v>
                </c:pt>
                <c:pt idx="21977">
                  <c:v>1225</c:v>
                </c:pt>
                <c:pt idx="21978">
                  <c:v>326</c:v>
                </c:pt>
                <c:pt idx="21979">
                  <c:v>899</c:v>
                </c:pt>
                <c:pt idx="21980">
                  <c:v>746</c:v>
                </c:pt>
                <c:pt idx="21981">
                  <c:v>414</c:v>
                </c:pt>
                <c:pt idx="21982">
                  <c:v>2600</c:v>
                </c:pt>
                <c:pt idx="21983">
                  <c:v>376</c:v>
                </c:pt>
                <c:pt idx="21984">
                  <c:v>559</c:v>
                </c:pt>
                <c:pt idx="21985">
                  <c:v>1058</c:v>
                </c:pt>
                <c:pt idx="21986">
                  <c:v>4358</c:v>
                </c:pt>
                <c:pt idx="21987">
                  <c:v>15093</c:v>
                </c:pt>
                <c:pt idx="21988">
                  <c:v>1300</c:v>
                </c:pt>
                <c:pt idx="21989">
                  <c:v>815</c:v>
                </c:pt>
                <c:pt idx="21990">
                  <c:v>2129</c:v>
                </c:pt>
                <c:pt idx="21991">
                  <c:v>2807</c:v>
                </c:pt>
                <c:pt idx="21992">
                  <c:v>122</c:v>
                </c:pt>
                <c:pt idx="21993">
                  <c:v>16716</c:v>
                </c:pt>
                <c:pt idx="21994">
                  <c:v>8903</c:v>
                </c:pt>
                <c:pt idx="21995">
                  <c:v>4577</c:v>
                </c:pt>
                <c:pt idx="21996">
                  <c:v>8014</c:v>
                </c:pt>
                <c:pt idx="21997">
                  <c:v>4883</c:v>
                </c:pt>
                <c:pt idx="21998">
                  <c:v>9685</c:v>
                </c:pt>
                <c:pt idx="21999">
                  <c:v>1556</c:v>
                </c:pt>
                <c:pt idx="22000">
                  <c:v>364</c:v>
                </c:pt>
                <c:pt idx="22001">
                  <c:v>723</c:v>
                </c:pt>
                <c:pt idx="22002">
                  <c:v>299</c:v>
                </c:pt>
                <c:pt idx="22003">
                  <c:v>1717</c:v>
                </c:pt>
                <c:pt idx="22004">
                  <c:v>3133</c:v>
                </c:pt>
                <c:pt idx="22005">
                  <c:v>431</c:v>
                </c:pt>
                <c:pt idx="22006">
                  <c:v>2443</c:v>
                </c:pt>
                <c:pt idx="22007">
                  <c:v>529</c:v>
                </c:pt>
                <c:pt idx="22008">
                  <c:v>312</c:v>
                </c:pt>
                <c:pt idx="22009">
                  <c:v>1440</c:v>
                </c:pt>
                <c:pt idx="22010">
                  <c:v>2940</c:v>
                </c:pt>
                <c:pt idx="22011">
                  <c:v>2232</c:v>
                </c:pt>
                <c:pt idx="22012">
                  <c:v>720</c:v>
                </c:pt>
                <c:pt idx="22013">
                  <c:v>1595</c:v>
                </c:pt>
                <c:pt idx="22014">
                  <c:v>4568</c:v>
                </c:pt>
                <c:pt idx="22015">
                  <c:v>505</c:v>
                </c:pt>
                <c:pt idx="22016">
                  <c:v>498</c:v>
                </c:pt>
                <c:pt idx="22017">
                  <c:v>877</c:v>
                </c:pt>
                <c:pt idx="22018">
                  <c:v>146</c:v>
                </c:pt>
                <c:pt idx="22019">
                  <c:v>511</c:v>
                </c:pt>
                <c:pt idx="22020">
                  <c:v>382</c:v>
                </c:pt>
                <c:pt idx="22021">
                  <c:v>15617</c:v>
                </c:pt>
                <c:pt idx="22022">
                  <c:v>764</c:v>
                </c:pt>
                <c:pt idx="22023">
                  <c:v>407</c:v>
                </c:pt>
                <c:pt idx="22024">
                  <c:v>812</c:v>
                </c:pt>
                <c:pt idx="22025">
                  <c:v>813</c:v>
                </c:pt>
                <c:pt idx="22026">
                  <c:v>1091</c:v>
                </c:pt>
                <c:pt idx="22027">
                  <c:v>1782</c:v>
                </c:pt>
                <c:pt idx="22028">
                  <c:v>218</c:v>
                </c:pt>
                <c:pt idx="22029">
                  <c:v>740</c:v>
                </c:pt>
                <c:pt idx="22030">
                  <c:v>1775</c:v>
                </c:pt>
                <c:pt idx="22031">
                  <c:v>342</c:v>
                </c:pt>
                <c:pt idx="22032">
                  <c:v>2458</c:v>
                </c:pt>
                <c:pt idx="22033">
                  <c:v>533</c:v>
                </c:pt>
                <c:pt idx="22034">
                  <c:v>2230</c:v>
                </c:pt>
                <c:pt idx="22035">
                  <c:v>903</c:v>
                </c:pt>
                <c:pt idx="22036">
                  <c:v>88</c:v>
                </c:pt>
                <c:pt idx="22037">
                  <c:v>249</c:v>
                </c:pt>
                <c:pt idx="22038">
                  <c:v>2053</c:v>
                </c:pt>
                <c:pt idx="22039">
                  <c:v>1738</c:v>
                </c:pt>
                <c:pt idx="22040">
                  <c:v>696</c:v>
                </c:pt>
                <c:pt idx="22041">
                  <c:v>569</c:v>
                </c:pt>
                <c:pt idx="22042">
                  <c:v>1744</c:v>
                </c:pt>
                <c:pt idx="22043">
                  <c:v>593</c:v>
                </c:pt>
                <c:pt idx="22044">
                  <c:v>40</c:v>
                </c:pt>
                <c:pt idx="22045">
                  <c:v>1055</c:v>
                </c:pt>
                <c:pt idx="22046">
                  <c:v>1188</c:v>
                </c:pt>
                <c:pt idx="22047">
                  <c:v>401</c:v>
                </c:pt>
                <c:pt idx="22048">
                  <c:v>1841</c:v>
                </c:pt>
                <c:pt idx="22049">
                  <c:v>1066</c:v>
                </c:pt>
                <c:pt idx="22050">
                  <c:v>636</c:v>
                </c:pt>
                <c:pt idx="22051">
                  <c:v>784</c:v>
                </c:pt>
                <c:pt idx="22052">
                  <c:v>8564</c:v>
                </c:pt>
                <c:pt idx="22053">
                  <c:v>356</c:v>
                </c:pt>
                <c:pt idx="22054">
                  <c:v>2598</c:v>
                </c:pt>
                <c:pt idx="22055">
                  <c:v>733</c:v>
                </c:pt>
                <c:pt idx="22056">
                  <c:v>493</c:v>
                </c:pt>
                <c:pt idx="22057">
                  <c:v>9281</c:v>
                </c:pt>
                <c:pt idx="22058">
                  <c:v>960</c:v>
                </c:pt>
                <c:pt idx="22059">
                  <c:v>599</c:v>
                </c:pt>
                <c:pt idx="22060">
                  <c:v>2587</c:v>
                </c:pt>
                <c:pt idx="22061">
                  <c:v>1419</c:v>
                </c:pt>
                <c:pt idx="22062">
                  <c:v>319</c:v>
                </c:pt>
                <c:pt idx="22063">
                  <c:v>2120</c:v>
                </c:pt>
                <c:pt idx="22064">
                  <c:v>197</c:v>
                </c:pt>
                <c:pt idx="22065">
                  <c:v>746</c:v>
                </c:pt>
                <c:pt idx="22066">
                  <c:v>111</c:v>
                </c:pt>
                <c:pt idx="22067">
                  <c:v>141</c:v>
                </c:pt>
                <c:pt idx="22068">
                  <c:v>231</c:v>
                </c:pt>
                <c:pt idx="22069">
                  <c:v>206</c:v>
                </c:pt>
                <c:pt idx="22070">
                  <c:v>3249</c:v>
                </c:pt>
                <c:pt idx="22071">
                  <c:v>1306</c:v>
                </c:pt>
                <c:pt idx="22072">
                  <c:v>1651</c:v>
                </c:pt>
                <c:pt idx="22073">
                  <c:v>4450</c:v>
                </c:pt>
                <c:pt idx="22074">
                  <c:v>6179</c:v>
                </c:pt>
                <c:pt idx="22075">
                  <c:v>11793</c:v>
                </c:pt>
                <c:pt idx="22076">
                  <c:v>160</c:v>
                </c:pt>
                <c:pt idx="22077">
                  <c:v>135</c:v>
                </c:pt>
                <c:pt idx="22078">
                  <c:v>3886</c:v>
                </c:pt>
                <c:pt idx="22079">
                  <c:v>821</c:v>
                </c:pt>
                <c:pt idx="22080">
                  <c:v>2133</c:v>
                </c:pt>
                <c:pt idx="22081">
                  <c:v>707</c:v>
                </c:pt>
                <c:pt idx="22082">
                  <c:v>224</c:v>
                </c:pt>
                <c:pt idx="22083">
                  <c:v>311</c:v>
                </c:pt>
                <c:pt idx="22084">
                  <c:v>94</c:v>
                </c:pt>
                <c:pt idx="22085">
                  <c:v>2394</c:v>
                </c:pt>
                <c:pt idx="22086">
                  <c:v>761</c:v>
                </c:pt>
                <c:pt idx="22087">
                  <c:v>557</c:v>
                </c:pt>
                <c:pt idx="22088">
                  <c:v>1481</c:v>
                </c:pt>
                <c:pt idx="22089">
                  <c:v>1761</c:v>
                </c:pt>
                <c:pt idx="22090">
                  <c:v>6036</c:v>
                </c:pt>
                <c:pt idx="22091">
                  <c:v>200</c:v>
                </c:pt>
                <c:pt idx="22092">
                  <c:v>391</c:v>
                </c:pt>
                <c:pt idx="22093">
                  <c:v>106</c:v>
                </c:pt>
                <c:pt idx="22094">
                  <c:v>263</c:v>
                </c:pt>
                <c:pt idx="22095">
                  <c:v>1843</c:v>
                </c:pt>
                <c:pt idx="22096">
                  <c:v>2644</c:v>
                </c:pt>
                <c:pt idx="22097">
                  <c:v>351</c:v>
                </c:pt>
                <c:pt idx="22098">
                  <c:v>3245</c:v>
                </c:pt>
                <c:pt idx="22099">
                  <c:v>198</c:v>
                </c:pt>
                <c:pt idx="22100">
                  <c:v>854</c:v>
                </c:pt>
                <c:pt idx="22101">
                  <c:v>158</c:v>
                </c:pt>
                <c:pt idx="22102">
                  <c:v>6845</c:v>
                </c:pt>
                <c:pt idx="22103">
                  <c:v>805</c:v>
                </c:pt>
                <c:pt idx="22104">
                  <c:v>141</c:v>
                </c:pt>
                <c:pt idx="22105">
                  <c:v>103</c:v>
                </c:pt>
                <c:pt idx="22106">
                  <c:v>251</c:v>
                </c:pt>
                <c:pt idx="22107">
                  <c:v>11487</c:v>
                </c:pt>
                <c:pt idx="22108">
                  <c:v>514</c:v>
                </c:pt>
                <c:pt idx="22109">
                  <c:v>1731</c:v>
                </c:pt>
                <c:pt idx="22110">
                  <c:v>1229</c:v>
                </c:pt>
                <c:pt idx="22111">
                  <c:v>1181</c:v>
                </c:pt>
                <c:pt idx="22112">
                  <c:v>62</c:v>
                </c:pt>
                <c:pt idx="22113">
                  <c:v>392</c:v>
                </c:pt>
                <c:pt idx="22114">
                  <c:v>1178</c:v>
                </c:pt>
                <c:pt idx="22115">
                  <c:v>235</c:v>
                </c:pt>
                <c:pt idx="22116">
                  <c:v>303</c:v>
                </c:pt>
                <c:pt idx="22117">
                  <c:v>6464</c:v>
                </c:pt>
                <c:pt idx="22118">
                  <c:v>218</c:v>
                </c:pt>
                <c:pt idx="22119">
                  <c:v>1200</c:v>
                </c:pt>
                <c:pt idx="22120">
                  <c:v>671</c:v>
                </c:pt>
                <c:pt idx="22121">
                  <c:v>869</c:v>
                </c:pt>
                <c:pt idx="22122">
                  <c:v>234</c:v>
                </c:pt>
                <c:pt idx="22123">
                  <c:v>1151</c:v>
                </c:pt>
                <c:pt idx="22124">
                  <c:v>6479</c:v>
                </c:pt>
                <c:pt idx="22125">
                  <c:v>3308</c:v>
                </c:pt>
                <c:pt idx="22126">
                  <c:v>23</c:v>
                </c:pt>
                <c:pt idx="22127">
                  <c:v>115</c:v>
                </c:pt>
                <c:pt idx="22128">
                  <c:v>436</c:v>
                </c:pt>
                <c:pt idx="22129">
                  <c:v>439</c:v>
                </c:pt>
                <c:pt idx="22130">
                  <c:v>4244</c:v>
                </c:pt>
                <c:pt idx="22131">
                  <c:v>648</c:v>
                </c:pt>
                <c:pt idx="22132">
                  <c:v>316</c:v>
                </c:pt>
                <c:pt idx="22133">
                  <c:v>494</c:v>
                </c:pt>
                <c:pt idx="22134">
                  <c:v>1130</c:v>
                </c:pt>
                <c:pt idx="22135">
                  <c:v>1813</c:v>
                </c:pt>
                <c:pt idx="22136">
                  <c:v>329</c:v>
                </c:pt>
                <c:pt idx="22137">
                  <c:v>166</c:v>
                </c:pt>
                <c:pt idx="22138">
                  <c:v>333</c:v>
                </c:pt>
                <c:pt idx="22139">
                  <c:v>928</c:v>
                </c:pt>
                <c:pt idx="22140">
                  <c:v>641</c:v>
                </c:pt>
                <c:pt idx="22141">
                  <c:v>29</c:v>
                </c:pt>
                <c:pt idx="22142">
                  <c:v>994</c:v>
                </c:pt>
                <c:pt idx="22143">
                  <c:v>827</c:v>
                </c:pt>
                <c:pt idx="22144">
                  <c:v>4502</c:v>
                </c:pt>
                <c:pt idx="22145">
                  <c:v>78</c:v>
                </c:pt>
                <c:pt idx="22146">
                  <c:v>14088</c:v>
                </c:pt>
                <c:pt idx="22147">
                  <c:v>74</c:v>
                </c:pt>
                <c:pt idx="22148">
                  <c:v>1959</c:v>
                </c:pt>
                <c:pt idx="22149">
                  <c:v>596</c:v>
                </c:pt>
                <c:pt idx="22150">
                  <c:v>537</c:v>
                </c:pt>
                <c:pt idx="22151">
                  <c:v>669</c:v>
                </c:pt>
                <c:pt idx="22152">
                  <c:v>338</c:v>
                </c:pt>
                <c:pt idx="22153">
                  <c:v>115</c:v>
                </c:pt>
                <c:pt idx="22154">
                  <c:v>228</c:v>
                </c:pt>
                <c:pt idx="22155">
                  <c:v>12017</c:v>
                </c:pt>
                <c:pt idx="22156">
                  <c:v>4617</c:v>
                </c:pt>
                <c:pt idx="22157">
                  <c:v>19618</c:v>
                </c:pt>
                <c:pt idx="22158">
                  <c:v>1559</c:v>
                </c:pt>
                <c:pt idx="22159">
                  <c:v>58</c:v>
                </c:pt>
                <c:pt idx="22160">
                  <c:v>6867</c:v>
                </c:pt>
                <c:pt idx="22161">
                  <c:v>1683</c:v>
                </c:pt>
                <c:pt idx="22162">
                  <c:v>600</c:v>
                </c:pt>
                <c:pt idx="22163">
                  <c:v>264</c:v>
                </c:pt>
                <c:pt idx="22164">
                  <c:v>847</c:v>
                </c:pt>
                <c:pt idx="22165">
                  <c:v>677</c:v>
                </c:pt>
                <c:pt idx="22166">
                  <c:v>738</c:v>
                </c:pt>
                <c:pt idx="22167">
                  <c:v>64</c:v>
                </c:pt>
                <c:pt idx="22168">
                  <c:v>1569</c:v>
                </c:pt>
                <c:pt idx="22169">
                  <c:v>312</c:v>
                </c:pt>
                <c:pt idx="22170">
                  <c:v>378</c:v>
                </c:pt>
                <c:pt idx="22171">
                  <c:v>327</c:v>
                </c:pt>
                <c:pt idx="22172">
                  <c:v>192</c:v>
                </c:pt>
                <c:pt idx="22173">
                  <c:v>5005</c:v>
                </c:pt>
                <c:pt idx="22174">
                  <c:v>593</c:v>
                </c:pt>
                <c:pt idx="22175">
                  <c:v>917</c:v>
                </c:pt>
                <c:pt idx="22176">
                  <c:v>974</c:v>
                </c:pt>
                <c:pt idx="22177">
                  <c:v>358</c:v>
                </c:pt>
                <c:pt idx="22178">
                  <c:v>540</c:v>
                </c:pt>
                <c:pt idx="22179">
                  <c:v>423</c:v>
                </c:pt>
                <c:pt idx="22180">
                  <c:v>268</c:v>
                </c:pt>
                <c:pt idx="22181">
                  <c:v>2111</c:v>
                </c:pt>
                <c:pt idx="22182">
                  <c:v>43</c:v>
                </c:pt>
                <c:pt idx="22183">
                  <c:v>2324</c:v>
                </c:pt>
                <c:pt idx="22184">
                  <c:v>106</c:v>
                </c:pt>
                <c:pt idx="22185">
                  <c:v>142</c:v>
                </c:pt>
                <c:pt idx="22186">
                  <c:v>163</c:v>
                </c:pt>
                <c:pt idx="22187">
                  <c:v>177</c:v>
                </c:pt>
                <c:pt idx="22188">
                  <c:v>653</c:v>
                </c:pt>
                <c:pt idx="22189">
                  <c:v>156</c:v>
                </c:pt>
                <c:pt idx="22190">
                  <c:v>10239</c:v>
                </c:pt>
                <c:pt idx="22191">
                  <c:v>358</c:v>
                </c:pt>
                <c:pt idx="22192">
                  <c:v>269</c:v>
                </c:pt>
                <c:pt idx="22193">
                  <c:v>47</c:v>
                </c:pt>
                <c:pt idx="22194">
                  <c:v>958</c:v>
                </c:pt>
                <c:pt idx="22195">
                  <c:v>4279</c:v>
                </c:pt>
                <c:pt idx="22196">
                  <c:v>2009</c:v>
                </c:pt>
                <c:pt idx="22197">
                  <c:v>2240</c:v>
                </c:pt>
                <c:pt idx="22198">
                  <c:v>6192</c:v>
                </c:pt>
                <c:pt idx="22199">
                  <c:v>752</c:v>
                </c:pt>
                <c:pt idx="22200">
                  <c:v>13190</c:v>
                </c:pt>
                <c:pt idx="22201">
                  <c:v>974</c:v>
                </c:pt>
                <c:pt idx="22202">
                  <c:v>149</c:v>
                </c:pt>
                <c:pt idx="22203">
                  <c:v>14856</c:v>
                </c:pt>
                <c:pt idx="22204">
                  <c:v>1125</c:v>
                </c:pt>
                <c:pt idx="22205">
                  <c:v>1342</c:v>
                </c:pt>
                <c:pt idx="22206">
                  <c:v>9349</c:v>
                </c:pt>
                <c:pt idx="22207">
                  <c:v>16854</c:v>
                </c:pt>
                <c:pt idx="22208">
                  <c:v>1745</c:v>
                </c:pt>
                <c:pt idx="22209">
                  <c:v>299</c:v>
                </c:pt>
                <c:pt idx="22210">
                  <c:v>509</c:v>
                </c:pt>
                <c:pt idx="22211">
                  <c:v>447</c:v>
                </c:pt>
                <c:pt idx="22212">
                  <c:v>2303</c:v>
                </c:pt>
                <c:pt idx="22213">
                  <c:v>15815</c:v>
                </c:pt>
                <c:pt idx="22214">
                  <c:v>24707</c:v>
                </c:pt>
                <c:pt idx="22215">
                  <c:v>200</c:v>
                </c:pt>
                <c:pt idx="22216">
                  <c:v>896</c:v>
                </c:pt>
                <c:pt idx="22217">
                  <c:v>941</c:v>
                </c:pt>
                <c:pt idx="22218">
                  <c:v>442</c:v>
                </c:pt>
                <c:pt idx="22219">
                  <c:v>2201</c:v>
                </c:pt>
                <c:pt idx="22220">
                  <c:v>386</c:v>
                </c:pt>
                <c:pt idx="22221">
                  <c:v>485</c:v>
                </c:pt>
                <c:pt idx="22222">
                  <c:v>1730</c:v>
                </c:pt>
                <c:pt idx="22223">
                  <c:v>398</c:v>
                </c:pt>
                <c:pt idx="22224">
                  <c:v>278</c:v>
                </c:pt>
                <c:pt idx="22225">
                  <c:v>49</c:v>
                </c:pt>
                <c:pt idx="22226">
                  <c:v>292</c:v>
                </c:pt>
                <c:pt idx="22227">
                  <c:v>671</c:v>
                </c:pt>
                <c:pt idx="22228">
                  <c:v>8616</c:v>
                </c:pt>
                <c:pt idx="22229">
                  <c:v>209</c:v>
                </c:pt>
                <c:pt idx="22230">
                  <c:v>725</c:v>
                </c:pt>
                <c:pt idx="22231">
                  <c:v>1307</c:v>
                </c:pt>
                <c:pt idx="22232">
                  <c:v>2682</c:v>
                </c:pt>
                <c:pt idx="22233">
                  <c:v>904</c:v>
                </c:pt>
                <c:pt idx="22234">
                  <c:v>466</c:v>
                </c:pt>
                <c:pt idx="22235">
                  <c:v>523</c:v>
                </c:pt>
                <c:pt idx="22236">
                  <c:v>797</c:v>
                </c:pt>
                <c:pt idx="22237">
                  <c:v>114</c:v>
                </c:pt>
                <c:pt idx="22238">
                  <c:v>430</c:v>
                </c:pt>
                <c:pt idx="22239">
                  <c:v>71</c:v>
                </c:pt>
                <c:pt idx="22240">
                  <c:v>17292</c:v>
                </c:pt>
                <c:pt idx="22241">
                  <c:v>224</c:v>
                </c:pt>
                <c:pt idx="22242">
                  <c:v>2896</c:v>
                </c:pt>
                <c:pt idx="22243">
                  <c:v>769</c:v>
                </c:pt>
                <c:pt idx="22244">
                  <c:v>74</c:v>
                </c:pt>
                <c:pt idx="22245">
                  <c:v>387</c:v>
                </c:pt>
                <c:pt idx="22246">
                  <c:v>102</c:v>
                </c:pt>
                <c:pt idx="22247">
                  <c:v>5647</c:v>
                </c:pt>
                <c:pt idx="22248">
                  <c:v>573</c:v>
                </c:pt>
                <c:pt idx="22249">
                  <c:v>652</c:v>
                </c:pt>
                <c:pt idx="22250">
                  <c:v>1343</c:v>
                </c:pt>
                <c:pt idx="22251">
                  <c:v>1257</c:v>
                </c:pt>
                <c:pt idx="22252">
                  <c:v>6403</c:v>
                </c:pt>
                <c:pt idx="22253">
                  <c:v>8876</c:v>
                </c:pt>
                <c:pt idx="22254">
                  <c:v>2820</c:v>
                </c:pt>
                <c:pt idx="22255">
                  <c:v>21</c:v>
                </c:pt>
                <c:pt idx="22256">
                  <c:v>4841</c:v>
                </c:pt>
                <c:pt idx="22257">
                  <c:v>591</c:v>
                </c:pt>
                <c:pt idx="22258">
                  <c:v>3650</c:v>
                </c:pt>
                <c:pt idx="22259">
                  <c:v>13728</c:v>
                </c:pt>
                <c:pt idx="22260">
                  <c:v>3943</c:v>
                </c:pt>
                <c:pt idx="22261">
                  <c:v>10387</c:v>
                </c:pt>
                <c:pt idx="22262">
                  <c:v>5621</c:v>
                </c:pt>
                <c:pt idx="22263">
                  <c:v>10064</c:v>
                </c:pt>
                <c:pt idx="22264">
                  <c:v>16469</c:v>
                </c:pt>
                <c:pt idx="22265">
                  <c:v>1371</c:v>
                </c:pt>
                <c:pt idx="22266">
                  <c:v>415</c:v>
                </c:pt>
                <c:pt idx="22267">
                  <c:v>118</c:v>
                </c:pt>
                <c:pt idx="22268">
                  <c:v>239</c:v>
                </c:pt>
                <c:pt idx="22269">
                  <c:v>1399</c:v>
                </c:pt>
                <c:pt idx="22270">
                  <c:v>1097</c:v>
                </c:pt>
                <c:pt idx="22271">
                  <c:v>298</c:v>
                </c:pt>
                <c:pt idx="22272">
                  <c:v>620</c:v>
                </c:pt>
                <c:pt idx="22273">
                  <c:v>170</c:v>
                </c:pt>
                <c:pt idx="22274">
                  <c:v>1529</c:v>
                </c:pt>
                <c:pt idx="22275">
                  <c:v>1386</c:v>
                </c:pt>
                <c:pt idx="22276">
                  <c:v>196</c:v>
                </c:pt>
                <c:pt idx="22277">
                  <c:v>1534</c:v>
                </c:pt>
                <c:pt idx="22278">
                  <c:v>1009</c:v>
                </c:pt>
                <c:pt idx="22279">
                  <c:v>615</c:v>
                </c:pt>
                <c:pt idx="22280">
                  <c:v>82</c:v>
                </c:pt>
                <c:pt idx="22281">
                  <c:v>118</c:v>
                </c:pt>
                <c:pt idx="22282">
                  <c:v>114</c:v>
                </c:pt>
                <c:pt idx="22283">
                  <c:v>923</c:v>
                </c:pt>
                <c:pt idx="22284">
                  <c:v>13889</c:v>
                </c:pt>
                <c:pt idx="22285">
                  <c:v>4988</c:v>
                </c:pt>
                <c:pt idx="22286">
                  <c:v>1168</c:v>
                </c:pt>
                <c:pt idx="22287">
                  <c:v>348</c:v>
                </c:pt>
                <c:pt idx="22288">
                  <c:v>521</c:v>
                </c:pt>
                <c:pt idx="22289">
                  <c:v>4345</c:v>
                </c:pt>
                <c:pt idx="22290">
                  <c:v>47</c:v>
                </c:pt>
                <c:pt idx="22291">
                  <c:v>425</c:v>
                </c:pt>
                <c:pt idx="22292">
                  <c:v>38</c:v>
                </c:pt>
                <c:pt idx="22293">
                  <c:v>157</c:v>
                </c:pt>
                <c:pt idx="22294">
                  <c:v>4393</c:v>
                </c:pt>
                <c:pt idx="22295">
                  <c:v>106</c:v>
                </c:pt>
                <c:pt idx="22296">
                  <c:v>3860</c:v>
                </c:pt>
                <c:pt idx="22297">
                  <c:v>122</c:v>
                </c:pt>
                <c:pt idx="22298">
                  <c:v>723</c:v>
                </c:pt>
                <c:pt idx="22299">
                  <c:v>5315</c:v>
                </c:pt>
                <c:pt idx="22300">
                  <c:v>14064</c:v>
                </c:pt>
                <c:pt idx="22301">
                  <c:v>11416</c:v>
                </c:pt>
                <c:pt idx="22302">
                  <c:v>7974</c:v>
                </c:pt>
                <c:pt idx="22303">
                  <c:v>6085</c:v>
                </c:pt>
                <c:pt idx="22304">
                  <c:v>14233</c:v>
                </c:pt>
                <c:pt idx="22305">
                  <c:v>6738</c:v>
                </c:pt>
                <c:pt idx="22306">
                  <c:v>13061</c:v>
                </c:pt>
                <c:pt idx="22307">
                  <c:v>6181</c:v>
                </c:pt>
                <c:pt idx="22308">
                  <c:v>12972</c:v>
                </c:pt>
                <c:pt idx="22309">
                  <c:v>5799</c:v>
                </c:pt>
                <c:pt idx="22310">
                  <c:v>9460</c:v>
                </c:pt>
                <c:pt idx="22311">
                  <c:v>8792</c:v>
                </c:pt>
                <c:pt idx="22312">
                  <c:v>987</c:v>
                </c:pt>
                <c:pt idx="22313">
                  <c:v>896</c:v>
                </c:pt>
                <c:pt idx="22314">
                  <c:v>592</c:v>
                </c:pt>
                <c:pt idx="22315">
                  <c:v>178</c:v>
                </c:pt>
                <c:pt idx="22316">
                  <c:v>817</c:v>
                </c:pt>
                <c:pt idx="22317">
                  <c:v>121</c:v>
                </c:pt>
                <c:pt idx="22318">
                  <c:v>5241</c:v>
                </c:pt>
                <c:pt idx="22319">
                  <c:v>78</c:v>
                </c:pt>
                <c:pt idx="22320">
                  <c:v>1058</c:v>
                </c:pt>
                <c:pt idx="22321">
                  <c:v>269</c:v>
                </c:pt>
                <c:pt idx="22322">
                  <c:v>294</c:v>
                </c:pt>
                <c:pt idx="22323">
                  <c:v>1041</c:v>
                </c:pt>
                <c:pt idx="22324">
                  <c:v>300</c:v>
                </c:pt>
                <c:pt idx="22325">
                  <c:v>232</c:v>
                </c:pt>
                <c:pt idx="22326">
                  <c:v>738</c:v>
                </c:pt>
                <c:pt idx="22327">
                  <c:v>591</c:v>
                </c:pt>
                <c:pt idx="22328">
                  <c:v>533</c:v>
                </c:pt>
                <c:pt idx="22329">
                  <c:v>101</c:v>
                </c:pt>
                <c:pt idx="22330">
                  <c:v>1646</c:v>
                </c:pt>
                <c:pt idx="22331">
                  <c:v>7902</c:v>
                </c:pt>
                <c:pt idx="22332">
                  <c:v>921</c:v>
                </c:pt>
                <c:pt idx="22333">
                  <c:v>718</c:v>
                </c:pt>
                <c:pt idx="22334">
                  <c:v>649</c:v>
                </c:pt>
                <c:pt idx="22335">
                  <c:v>2815</c:v>
                </c:pt>
                <c:pt idx="22336">
                  <c:v>632</c:v>
                </c:pt>
                <c:pt idx="22337">
                  <c:v>244</c:v>
                </c:pt>
                <c:pt idx="22338">
                  <c:v>212</c:v>
                </c:pt>
                <c:pt idx="22339">
                  <c:v>599</c:v>
                </c:pt>
                <c:pt idx="22340">
                  <c:v>262</c:v>
                </c:pt>
                <c:pt idx="22341">
                  <c:v>688</c:v>
                </c:pt>
                <c:pt idx="22342">
                  <c:v>186</c:v>
                </c:pt>
                <c:pt idx="22343">
                  <c:v>2487</c:v>
                </c:pt>
                <c:pt idx="22344">
                  <c:v>250</c:v>
                </c:pt>
                <c:pt idx="22345">
                  <c:v>136</c:v>
                </c:pt>
                <c:pt idx="22346">
                  <c:v>581</c:v>
                </c:pt>
                <c:pt idx="22347">
                  <c:v>5243</c:v>
                </c:pt>
                <c:pt idx="22348">
                  <c:v>18015</c:v>
                </c:pt>
                <c:pt idx="22349">
                  <c:v>14426</c:v>
                </c:pt>
                <c:pt idx="22350">
                  <c:v>7822</c:v>
                </c:pt>
                <c:pt idx="22351">
                  <c:v>168</c:v>
                </c:pt>
                <c:pt idx="22352">
                  <c:v>1115</c:v>
                </c:pt>
                <c:pt idx="22353">
                  <c:v>130</c:v>
                </c:pt>
                <c:pt idx="22354">
                  <c:v>252</c:v>
                </c:pt>
                <c:pt idx="22355">
                  <c:v>118</c:v>
                </c:pt>
                <c:pt idx="22356">
                  <c:v>438</c:v>
                </c:pt>
                <c:pt idx="22357">
                  <c:v>2401</c:v>
                </c:pt>
                <c:pt idx="22358">
                  <c:v>2829</c:v>
                </c:pt>
                <c:pt idx="22359">
                  <c:v>619</c:v>
                </c:pt>
                <c:pt idx="22360">
                  <c:v>157</c:v>
                </c:pt>
                <c:pt idx="22361">
                  <c:v>1878</c:v>
                </c:pt>
                <c:pt idx="22362">
                  <c:v>37</c:v>
                </c:pt>
                <c:pt idx="22363">
                  <c:v>79</c:v>
                </c:pt>
                <c:pt idx="22364">
                  <c:v>59</c:v>
                </c:pt>
                <c:pt idx="22365">
                  <c:v>18</c:v>
                </c:pt>
                <c:pt idx="22366">
                  <c:v>117</c:v>
                </c:pt>
                <c:pt idx="22367">
                  <c:v>161</c:v>
                </c:pt>
                <c:pt idx="22368">
                  <c:v>2648</c:v>
                </c:pt>
                <c:pt idx="22369">
                  <c:v>939</c:v>
                </c:pt>
                <c:pt idx="22370">
                  <c:v>770</c:v>
                </c:pt>
                <c:pt idx="22371">
                  <c:v>336</c:v>
                </c:pt>
                <c:pt idx="22372">
                  <c:v>1685</c:v>
                </c:pt>
                <c:pt idx="22373">
                  <c:v>864</c:v>
                </c:pt>
                <c:pt idx="22374">
                  <c:v>47</c:v>
                </c:pt>
                <c:pt idx="22375">
                  <c:v>2211</c:v>
                </c:pt>
                <c:pt idx="22376">
                  <c:v>1203</c:v>
                </c:pt>
                <c:pt idx="22377">
                  <c:v>667</c:v>
                </c:pt>
                <c:pt idx="22378">
                  <c:v>770</c:v>
                </c:pt>
                <c:pt idx="22379">
                  <c:v>38</c:v>
                </c:pt>
                <c:pt idx="22380">
                  <c:v>16723</c:v>
                </c:pt>
                <c:pt idx="22381">
                  <c:v>53</c:v>
                </c:pt>
                <c:pt idx="22382">
                  <c:v>2145</c:v>
                </c:pt>
                <c:pt idx="22383">
                  <c:v>5013</c:v>
                </c:pt>
                <c:pt idx="22384">
                  <c:v>233</c:v>
                </c:pt>
                <c:pt idx="22385">
                  <c:v>109</c:v>
                </c:pt>
                <c:pt idx="22386">
                  <c:v>220</c:v>
                </c:pt>
                <c:pt idx="22387">
                  <c:v>546</c:v>
                </c:pt>
                <c:pt idx="22388">
                  <c:v>1410</c:v>
                </c:pt>
                <c:pt idx="22389">
                  <c:v>171</c:v>
                </c:pt>
                <c:pt idx="22390">
                  <c:v>314</c:v>
                </c:pt>
                <c:pt idx="22391">
                  <c:v>423</c:v>
                </c:pt>
                <c:pt idx="22392">
                  <c:v>98</c:v>
                </c:pt>
                <c:pt idx="22393">
                  <c:v>396</c:v>
                </c:pt>
                <c:pt idx="22394">
                  <c:v>3776</c:v>
                </c:pt>
                <c:pt idx="22395">
                  <c:v>897</c:v>
                </c:pt>
                <c:pt idx="22396">
                  <c:v>3075</c:v>
                </c:pt>
                <c:pt idx="22397">
                  <c:v>534</c:v>
                </c:pt>
                <c:pt idx="22398">
                  <c:v>397</c:v>
                </c:pt>
                <c:pt idx="22399">
                  <c:v>11466</c:v>
                </c:pt>
                <c:pt idx="22400">
                  <c:v>597</c:v>
                </c:pt>
                <c:pt idx="22401">
                  <c:v>991</c:v>
                </c:pt>
                <c:pt idx="22402">
                  <c:v>739</c:v>
                </c:pt>
                <c:pt idx="22403">
                  <c:v>2194</c:v>
                </c:pt>
                <c:pt idx="22404">
                  <c:v>211</c:v>
                </c:pt>
                <c:pt idx="22405">
                  <c:v>306</c:v>
                </c:pt>
                <c:pt idx="22406">
                  <c:v>37</c:v>
                </c:pt>
                <c:pt idx="22407">
                  <c:v>249</c:v>
                </c:pt>
                <c:pt idx="22408">
                  <c:v>1219</c:v>
                </c:pt>
                <c:pt idx="22409">
                  <c:v>364</c:v>
                </c:pt>
                <c:pt idx="22410">
                  <c:v>277</c:v>
                </c:pt>
                <c:pt idx="22411">
                  <c:v>309</c:v>
                </c:pt>
                <c:pt idx="22412">
                  <c:v>40</c:v>
                </c:pt>
                <c:pt idx="22413">
                  <c:v>495</c:v>
                </c:pt>
                <c:pt idx="22414">
                  <c:v>116</c:v>
                </c:pt>
                <c:pt idx="22415">
                  <c:v>202</c:v>
                </c:pt>
                <c:pt idx="22416">
                  <c:v>137</c:v>
                </c:pt>
                <c:pt idx="22417">
                  <c:v>1274</c:v>
                </c:pt>
                <c:pt idx="22418">
                  <c:v>5083</c:v>
                </c:pt>
                <c:pt idx="22419">
                  <c:v>220</c:v>
                </c:pt>
                <c:pt idx="22420">
                  <c:v>1178</c:v>
                </c:pt>
                <c:pt idx="22421">
                  <c:v>1277</c:v>
                </c:pt>
                <c:pt idx="22422">
                  <c:v>2631</c:v>
                </c:pt>
                <c:pt idx="22423">
                  <c:v>201</c:v>
                </c:pt>
                <c:pt idx="22424">
                  <c:v>1026</c:v>
                </c:pt>
                <c:pt idx="22425">
                  <c:v>182</c:v>
                </c:pt>
                <c:pt idx="22426">
                  <c:v>354</c:v>
                </c:pt>
                <c:pt idx="22427">
                  <c:v>214</c:v>
                </c:pt>
                <c:pt idx="22428">
                  <c:v>473</c:v>
                </c:pt>
                <c:pt idx="22429">
                  <c:v>101</c:v>
                </c:pt>
                <c:pt idx="22430">
                  <c:v>868</c:v>
                </c:pt>
                <c:pt idx="22431">
                  <c:v>541</c:v>
                </c:pt>
                <c:pt idx="22432">
                  <c:v>408</c:v>
                </c:pt>
                <c:pt idx="22433">
                  <c:v>578</c:v>
                </c:pt>
                <c:pt idx="22434">
                  <c:v>12978</c:v>
                </c:pt>
                <c:pt idx="22435">
                  <c:v>688</c:v>
                </c:pt>
                <c:pt idx="22436">
                  <c:v>4549</c:v>
                </c:pt>
                <c:pt idx="22437">
                  <c:v>175</c:v>
                </c:pt>
                <c:pt idx="22438">
                  <c:v>444</c:v>
                </c:pt>
                <c:pt idx="22439">
                  <c:v>361</c:v>
                </c:pt>
                <c:pt idx="22440">
                  <c:v>167</c:v>
                </c:pt>
                <c:pt idx="22441">
                  <c:v>415</c:v>
                </c:pt>
                <c:pt idx="22442">
                  <c:v>275</c:v>
                </c:pt>
                <c:pt idx="22443">
                  <c:v>38</c:v>
                </c:pt>
                <c:pt idx="22444">
                  <c:v>1624</c:v>
                </c:pt>
                <c:pt idx="22445">
                  <c:v>1840</c:v>
                </c:pt>
                <c:pt idx="22446">
                  <c:v>814</c:v>
                </c:pt>
                <c:pt idx="22447">
                  <c:v>1585</c:v>
                </c:pt>
                <c:pt idx="22448">
                  <c:v>1408</c:v>
                </c:pt>
                <c:pt idx="22449">
                  <c:v>3009</c:v>
                </c:pt>
                <c:pt idx="22450">
                  <c:v>293</c:v>
                </c:pt>
                <c:pt idx="22451">
                  <c:v>852</c:v>
                </c:pt>
                <c:pt idx="22452">
                  <c:v>732</c:v>
                </c:pt>
                <c:pt idx="22453">
                  <c:v>991</c:v>
                </c:pt>
                <c:pt idx="22454">
                  <c:v>596</c:v>
                </c:pt>
                <c:pt idx="22455">
                  <c:v>156</c:v>
                </c:pt>
                <c:pt idx="22456">
                  <c:v>1444</c:v>
                </c:pt>
                <c:pt idx="22457">
                  <c:v>631</c:v>
                </c:pt>
                <c:pt idx="22458">
                  <c:v>10248</c:v>
                </c:pt>
                <c:pt idx="22459">
                  <c:v>323</c:v>
                </c:pt>
                <c:pt idx="22460">
                  <c:v>159</c:v>
                </c:pt>
                <c:pt idx="22461">
                  <c:v>128</c:v>
                </c:pt>
                <c:pt idx="22462">
                  <c:v>1165</c:v>
                </c:pt>
                <c:pt idx="22463">
                  <c:v>131</c:v>
                </c:pt>
                <c:pt idx="22464">
                  <c:v>583</c:v>
                </c:pt>
                <c:pt idx="22465">
                  <c:v>307</c:v>
                </c:pt>
                <c:pt idx="22466">
                  <c:v>384</c:v>
                </c:pt>
                <c:pt idx="22467">
                  <c:v>142</c:v>
                </c:pt>
                <c:pt idx="22468">
                  <c:v>352</c:v>
                </c:pt>
                <c:pt idx="22469">
                  <c:v>2460</c:v>
                </c:pt>
                <c:pt idx="22470">
                  <c:v>20282</c:v>
                </c:pt>
                <c:pt idx="22471">
                  <c:v>17733</c:v>
                </c:pt>
                <c:pt idx="22472">
                  <c:v>16851</c:v>
                </c:pt>
                <c:pt idx="22473">
                  <c:v>18422</c:v>
                </c:pt>
                <c:pt idx="22474">
                  <c:v>11775</c:v>
                </c:pt>
                <c:pt idx="22475">
                  <c:v>6387</c:v>
                </c:pt>
                <c:pt idx="22476">
                  <c:v>6682</c:v>
                </c:pt>
                <c:pt idx="22477">
                  <c:v>547</c:v>
                </c:pt>
                <c:pt idx="22478">
                  <c:v>2232</c:v>
                </c:pt>
                <c:pt idx="22479">
                  <c:v>8702</c:v>
                </c:pt>
                <c:pt idx="22480">
                  <c:v>67</c:v>
                </c:pt>
                <c:pt idx="22481">
                  <c:v>1209</c:v>
                </c:pt>
                <c:pt idx="22482">
                  <c:v>3084</c:v>
                </c:pt>
                <c:pt idx="22483">
                  <c:v>4605</c:v>
                </c:pt>
                <c:pt idx="22484">
                  <c:v>2401</c:v>
                </c:pt>
                <c:pt idx="22485">
                  <c:v>4585</c:v>
                </c:pt>
                <c:pt idx="22486">
                  <c:v>3527</c:v>
                </c:pt>
                <c:pt idx="22487">
                  <c:v>1072</c:v>
                </c:pt>
                <c:pt idx="22488">
                  <c:v>3740</c:v>
                </c:pt>
                <c:pt idx="22489">
                  <c:v>1750</c:v>
                </c:pt>
                <c:pt idx="22490">
                  <c:v>6316</c:v>
                </c:pt>
                <c:pt idx="22491">
                  <c:v>4292</c:v>
                </c:pt>
                <c:pt idx="22492">
                  <c:v>4450</c:v>
                </c:pt>
                <c:pt idx="22493">
                  <c:v>20668</c:v>
                </c:pt>
                <c:pt idx="22494">
                  <c:v>22281</c:v>
                </c:pt>
                <c:pt idx="22495">
                  <c:v>131</c:v>
                </c:pt>
                <c:pt idx="22496">
                  <c:v>9584</c:v>
                </c:pt>
                <c:pt idx="22497">
                  <c:v>20409</c:v>
                </c:pt>
                <c:pt idx="22498">
                  <c:v>28308</c:v>
                </c:pt>
                <c:pt idx="22499">
                  <c:v>584</c:v>
                </c:pt>
                <c:pt idx="22500">
                  <c:v>523</c:v>
                </c:pt>
                <c:pt idx="22501">
                  <c:v>3332</c:v>
                </c:pt>
                <c:pt idx="22502">
                  <c:v>250</c:v>
                </c:pt>
                <c:pt idx="22503">
                  <c:v>7524</c:v>
                </c:pt>
                <c:pt idx="22504">
                  <c:v>10445</c:v>
                </c:pt>
                <c:pt idx="22505">
                  <c:v>634</c:v>
                </c:pt>
                <c:pt idx="22506">
                  <c:v>2541</c:v>
                </c:pt>
                <c:pt idx="22507">
                  <c:v>847</c:v>
                </c:pt>
                <c:pt idx="22508">
                  <c:v>7133</c:v>
                </c:pt>
                <c:pt idx="22509">
                  <c:v>189</c:v>
                </c:pt>
                <c:pt idx="22510">
                  <c:v>1624</c:v>
                </c:pt>
                <c:pt idx="22511">
                  <c:v>4779</c:v>
                </c:pt>
                <c:pt idx="22512">
                  <c:v>122</c:v>
                </c:pt>
                <c:pt idx="22513">
                  <c:v>2802</c:v>
                </c:pt>
                <c:pt idx="22514">
                  <c:v>107</c:v>
                </c:pt>
                <c:pt idx="22515">
                  <c:v>825</c:v>
                </c:pt>
                <c:pt idx="22516">
                  <c:v>417</c:v>
                </c:pt>
                <c:pt idx="22517">
                  <c:v>799</c:v>
                </c:pt>
                <c:pt idx="22518">
                  <c:v>269</c:v>
                </c:pt>
                <c:pt idx="22519">
                  <c:v>1425</c:v>
                </c:pt>
                <c:pt idx="22520">
                  <c:v>1238</c:v>
                </c:pt>
                <c:pt idx="22521">
                  <c:v>205</c:v>
                </c:pt>
                <c:pt idx="22522">
                  <c:v>871</c:v>
                </c:pt>
                <c:pt idx="22523">
                  <c:v>225</c:v>
                </c:pt>
                <c:pt idx="22524">
                  <c:v>2531</c:v>
                </c:pt>
                <c:pt idx="22525">
                  <c:v>558</c:v>
                </c:pt>
                <c:pt idx="22526">
                  <c:v>1463</c:v>
                </c:pt>
                <c:pt idx="22527">
                  <c:v>730</c:v>
                </c:pt>
                <c:pt idx="22528">
                  <c:v>643</c:v>
                </c:pt>
                <c:pt idx="22529">
                  <c:v>9179</c:v>
                </c:pt>
                <c:pt idx="22530">
                  <c:v>12784</c:v>
                </c:pt>
                <c:pt idx="22531">
                  <c:v>8279</c:v>
                </c:pt>
                <c:pt idx="22532">
                  <c:v>6726</c:v>
                </c:pt>
                <c:pt idx="22533">
                  <c:v>5418</c:v>
                </c:pt>
                <c:pt idx="22534">
                  <c:v>5018</c:v>
                </c:pt>
                <c:pt idx="22535">
                  <c:v>2349</c:v>
                </c:pt>
                <c:pt idx="22536">
                  <c:v>277</c:v>
                </c:pt>
                <c:pt idx="22537">
                  <c:v>3489</c:v>
                </c:pt>
                <c:pt idx="22538">
                  <c:v>262</c:v>
                </c:pt>
                <c:pt idx="22539">
                  <c:v>783</c:v>
                </c:pt>
                <c:pt idx="22540">
                  <c:v>2149</c:v>
                </c:pt>
                <c:pt idx="22541">
                  <c:v>227</c:v>
                </c:pt>
                <c:pt idx="22542">
                  <c:v>5913</c:v>
                </c:pt>
                <c:pt idx="22543">
                  <c:v>1371</c:v>
                </c:pt>
                <c:pt idx="22544">
                  <c:v>626</c:v>
                </c:pt>
                <c:pt idx="22545">
                  <c:v>719</c:v>
                </c:pt>
                <c:pt idx="22546">
                  <c:v>2339</c:v>
                </c:pt>
                <c:pt idx="22547">
                  <c:v>1077</c:v>
                </c:pt>
                <c:pt idx="22548">
                  <c:v>1082</c:v>
                </c:pt>
                <c:pt idx="22549">
                  <c:v>148</c:v>
                </c:pt>
                <c:pt idx="22550">
                  <c:v>1260</c:v>
                </c:pt>
                <c:pt idx="22551">
                  <c:v>1371</c:v>
                </c:pt>
                <c:pt idx="22552">
                  <c:v>3755</c:v>
                </c:pt>
                <c:pt idx="22553">
                  <c:v>274</c:v>
                </c:pt>
                <c:pt idx="22554">
                  <c:v>269</c:v>
                </c:pt>
                <c:pt idx="22555">
                  <c:v>813</c:v>
                </c:pt>
                <c:pt idx="22556">
                  <c:v>14735</c:v>
                </c:pt>
                <c:pt idx="22557">
                  <c:v>2906</c:v>
                </c:pt>
                <c:pt idx="22558">
                  <c:v>834</c:v>
                </c:pt>
                <c:pt idx="22559">
                  <c:v>448</c:v>
                </c:pt>
                <c:pt idx="22560">
                  <c:v>11803</c:v>
                </c:pt>
                <c:pt idx="22561">
                  <c:v>399</c:v>
                </c:pt>
                <c:pt idx="22562">
                  <c:v>3172</c:v>
                </c:pt>
                <c:pt idx="22563">
                  <c:v>1032</c:v>
                </c:pt>
                <c:pt idx="22564">
                  <c:v>1541</c:v>
                </c:pt>
                <c:pt idx="22565">
                  <c:v>9887</c:v>
                </c:pt>
                <c:pt idx="22566">
                  <c:v>339</c:v>
                </c:pt>
                <c:pt idx="22567">
                  <c:v>9698</c:v>
                </c:pt>
                <c:pt idx="22568">
                  <c:v>229</c:v>
                </c:pt>
                <c:pt idx="22569">
                  <c:v>21268</c:v>
                </c:pt>
                <c:pt idx="22570">
                  <c:v>28174</c:v>
                </c:pt>
                <c:pt idx="22571">
                  <c:v>552</c:v>
                </c:pt>
                <c:pt idx="22572">
                  <c:v>903</c:v>
                </c:pt>
                <c:pt idx="22573">
                  <c:v>1056</c:v>
                </c:pt>
                <c:pt idx="22574">
                  <c:v>559</c:v>
                </c:pt>
                <c:pt idx="22575">
                  <c:v>8339</c:v>
                </c:pt>
                <c:pt idx="22576">
                  <c:v>11137</c:v>
                </c:pt>
                <c:pt idx="22577">
                  <c:v>87</c:v>
                </c:pt>
                <c:pt idx="22578">
                  <c:v>230</c:v>
                </c:pt>
                <c:pt idx="22579">
                  <c:v>7667</c:v>
                </c:pt>
                <c:pt idx="22580">
                  <c:v>4989</c:v>
                </c:pt>
                <c:pt idx="22581">
                  <c:v>1581</c:v>
                </c:pt>
                <c:pt idx="22582">
                  <c:v>605</c:v>
                </c:pt>
                <c:pt idx="22583">
                  <c:v>2020</c:v>
                </c:pt>
                <c:pt idx="22584">
                  <c:v>81</c:v>
                </c:pt>
                <c:pt idx="22585">
                  <c:v>218</c:v>
                </c:pt>
                <c:pt idx="22586">
                  <c:v>21499</c:v>
                </c:pt>
                <c:pt idx="22587">
                  <c:v>8725</c:v>
                </c:pt>
                <c:pt idx="22588">
                  <c:v>646</c:v>
                </c:pt>
                <c:pt idx="22589">
                  <c:v>376</c:v>
                </c:pt>
                <c:pt idx="22590">
                  <c:v>560</c:v>
                </c:pt>
                <c:pt idx="22591">
                  <c:v>223</c:v>
                </c:pt>
                <c:pt idx="22592">
                  <c:v>423</c:v>
                </c:pt>
                <c:pt idx="22593">
                  <c:v>72</c:v>
                </c:pt>
                <c:pt idx="22594">
                  <c:v>11063</c:v>
                </c:pt>
                <c:pt idx="22595">
                  <c:v>4720</c:v>
                </c:pt>
                <c:pt idx="22596">
                  <c:v>1551</c:v>
                </c:pt>
                <c:pt idx="22597">
                  <c:v>1047</c:v>
                </c:pt>
                <c:pt idx="22598">
                  <c:v>2761</c:v>
                </c:pt>
                <c:pt idx="22599">
                  <c:v>2933</c:v>
                </c:pt>
                <c:pt idx="22600">
                  <c:v>2794</c:v>
                </c:pt>
                <c:pt idx="22601">
                  <c:v>286</c:v>
                </c:pt>
                <c:pt idx="22602">
                  <c:v>1950</c:v>
                </c:pt>
                <c:pt idx="22603">
                  <c:v>3706</c:v>
                </c:pt>
                <c:pt idx="22604">
                  <c:v>268</c:v>
                </c:pt>
                <c:pt idx="22605">
                  <c:v>872</c:v>
                </c:pt>
                <c:pt idx="22606">
                  <c:v>1279</c:v>
                </c:pt>
                <c:pt idx="22607">
                  <c:v>780</c:v>
                </c:pt>
                <c:pt idx="22608">
                  <c:v>524</c:v>
                </c:pt>
                <c:pt idx="22609">
                  <c:v>357</c:v>
                </c:pt>
                <c:pt idx="22610">
                  <c:v>13232</c:v>
                </c:pt>
                <c:pt idx="22611">
                  <c:v>5117</c:v>
                </c:pt>
                <c:pt idx="22612">
                  <c:v>856</c:v>
                </c:pt>
                <c:pt idx="22613">
                  <c:v>205</c:v>
                </c:pt>
                <c:pt idx="22614">
                  <c:v>5543</c:v>
                </c:pt>
                <c:pt idx="22615">
                  <c:v>14215</c:v>
                </c:pt>
                <c:pt idx="22616">
                  <c:v>22997</c:v>
                </c:pt>
                <c:pt idx="22617">
                  <c:v>22878</c:v>
                </c:pt>
                <c:pt idx="22618">
                  <c:v>155</c:v>
                </c:pt>
                <c:pt idx="22619">
                  <c:v>496</c:v>
                </c:pt>
                <c:pt idx="22620">
                  <c:v>3881</c:v>
                </c:pt>
                <c:pt idx="22621">
                  <c:v>2817</c:v>
                </c:pt>
                <c:pt idx="22622">
                  <c:v>5804</c:v>
                </c:pt>
                <c:pt idx="22623">
                  <c:v>276</c:v>
                </c:pt>
                <c:pt idx="22624">
                  <c:v>4195</c:v>
                </c:pt>
                <c:pt idx="22625">
                  <c:v>1139</c:v>
                </c:pt>
                <c:pt idx="22626">
                  <c:v>2532</c:v>
                </c:pt>
                <c:pt idx="22627">
                  <c:v>3414</c:v>
                </c:pt>
                <c:pt idx="22628">
                  <c:v>6611</c:v>
                </c:pt>
                <c:pt idx="22629">
                  <c:v>302</c:v>
                </c:pt>
                <c:pt idx="22630">
                  <c:v>285</c:v>
                </c:pt>
                <c:pt idx="22631">
                  <c:v>1671</c:v>
                </c:pt>
                <c:pt idx="22632">
                  <c:v>1034</c:v>
                </c:pt>
                <c:pt idx="22633">
                  <c:v>7142</c:v>
                </c:pt>
                <c:pt idx="22634">
                  <c:v>1630</c:v>
                </c:pt>
                <c:pt idx="22635">
                  <c:v>41765</c:v>
                </c:pt>
                <c:pt idx="22636">
                  <c:v>1155</c:v>
                </c:pt>
                <c:pt idx="22637">
                  <c:v>3399</c:v>
                </c:pt>
                <c:pt idx="22638">
                  <c:v>2120</c:v>
                </c:pt>
                <c:pt idx="22639">
                  <c:v>3093</c:v>
                </c:pt>
                <c:pt idx="22640">
                  <c:v>6827</c:v>
                </c:pt>
                <c:pt idx="22641">
                  <c:v>13559</c:v>
                </c:pt>
                <c:pt idx="22642">
                  <c:v>4868</c:v>
                </c:pt>
                <c:pt idx="22643">
                  <c:v>7619</c:v>
                </c:pt>
                <c:pt idx="22644">
                  <c:v>14831</c:v>
                </c:pt>
                <c:pt idx="22645">
                  <c:v>4068</c:v>
                </c:pt>
                <c:pt idx="22646">
                  <c:v>17457</c:v>
                </c:pt>
                <c:pt idx="22647">
                  <c:v>8891</c:v>
                </c:pt>
                <c:pt idx="22648">
                  <c:v>9103</c:v>
                </c:pt>
                <c:pt idx="22649">
                  <c:v>5460</c:v>
                </c:pt>
                <c:pt idx="22650">
                  <c:v>2107</c:v>
                </c:pt>
                <c:pt idx="22651">
                  <c:v>8752</c:v>
                </c:pt>
                <c:pt idx="22652">
                  <c:v>12139</c:v>
                </c:pt>
                <c:pt idx="22653">
                  <c:v>19991</c:v>
                </c:pt>
                <c:pt idx="22654">
                  <c:v>1435</c:v>
                </c:pt>
                <c:pt idx="22655">
                  <c:v>5863</c:v>
                </c:pt>
                <c:pt idx="22656">
                  <c:v>11032</c:v>
                </c:pt>
                <c:pt idx="22657">
                  <c:v>3842</c:v>
                </c:pt>
                <c:pt idx="22658">
                  <c:v>8619</c:v>
                </c:pt>
                <c:pt idx="22659">
                  <c:v>9357</c:v>
                </c:pt>
                <c:pt idx="22660">
                  <c:v>1769</c:v>
                </c:pt>
                <c:pt idx="22661">
                  <c:v>14092</c:v>
                </c:pt>
                <c:pt idx="22662">
                  <c:v>4691</c:v>
                </c:pt>
                <c:pt idx="22663">
                  <c:v>9941</c:v>
                </c:pt>
                <c:pt idx="22664">
                  <c:v>9272</c:v>
                </c:pt>
                <c:pt idx="22665">
                  <c:v>884</c:v>
                </c:pt>
                <c:pt idx="22666">
                  <c:v>7619</c:v>
                </c:pt>
                <c:pt idx="22667">
                  <c:v>2174</c:v>
                </c:pt>
                <c:pt idx="22668">
                  <c:v>2490</c:v>
                </c:pt>
                <c:pt idx="22669">
                  <c:v>976</c:v>
                </c:pt>
                <c:pt idx="22670">
                  <c:v>15525</c:v>
                </c:pt>
                <c:pt idx="22671">
                  <c:v>32275</c:v>
                </c:pt>
                <c:pt idx="22672">
                  <c:v>15287</c:v>
                </c:pt>
                <c:pt idx="22673">
                  <c:v>3662</c:v>
                </c:pt>
                <c:pt idx="22674">
                  <c:v>1613</c:v>
                </c:pt>
                <c:pt idx="22675">
                  <c:v>21200</c:v>
                </c:pt>
                <c:pt idx="22676">
                  <c:v>2195</c:v>
                </c:pt>
                <c:pt idx="22677">
                  <c:v>2780</c:v>
                </c:pt>
                <c:pt idx="22678">
                  <c:v>15935</c:v>
                </c:pt>
                <c:pt idx="22679">
                  <c:v>510</c:v>
                </c:pt>
                <c:pt idx="22680">
                  <c:v>441</c:v>
                </c:pt>
                <c:pt idx="22681">
                  <c:v>1029</c:v>
                </c:pt>
                <c:pt idx="22682">
                  <c:v>216</c:v>
                </c:pt>
                <c:pt idx="22683">
                  <c:v>31</c:v>
                </c:pt>
                <c:pt idx="22684">
                  <c:v>69</c:v>
                </c:pt>
                <c:pt idx="22685">
                  <c:v>1113</c:v>
                </c:pt>
                <c:pt idx="22686">
                  <c:v>2366</c:v>
                </c:pt>
                <c:pt idx="22687">
                  <c:v>94</c:v>
                </c:pt>
                <c:pt idx="22688">
                  <c:v>43</c:v>
                </c:pt>
                <c:pt idx="22689">
                  <c:v>145</c:v>
                </c:pt>
                <c:pt idx="22690">
                  <c:v>1477</c:v>
                </c:pt>
                <c:pt idx="22691">
                  <c:v>3360</c:v>
                </c:pt>
                <c:pt idx="22692">
                  <c:v>449</c:v>
                </c:pt>
                <c:pt idx="22693">
                  <c:v>2511</c:v>
                </c:pt>
                <c:pt idx="22694">
                  <c:v>1167</c:v>
                </c:pt>
                <c:pt idx="22695">
                  <c:v>498</c:v>
                </c:pt>
                <c:pt idx="22696">
                  <c:v>202</c:v>
                </c:pt>
                <c:pt idx="22697">
                  <c:v>225</c:v>
                </c:pt>
                <c:pt idx="22698">
                  <c:v>616</c:v>
                </c:pt>
                <c:pt idx="22699">
                  <c:v>464</c:v>
                </c:pt>
                <c:pt idx="22700">
                  <c:v>514</c:v>
                </c:pt>
                <c:pt idx="22701">
                  <c:v>1625</c:v>
                </c:pt>
                <c:pt idx="22702">
                  <c:v>257</c:v>
                </c:pt>
                <c:pt idx="22703">
                  <c:v>1433</c:v>
                </c:pt>
                <c:pt idx="22704">
                  <c:v>437</c:v>
                </c:pt>
                <c:pt idx="22705">
                  <c:v>42</c:v>
                </c:pt>
                <c:pt idx="22706">
                  <c:v>312</c:v>
                </c:pt>
                <c:pt idx="22707">
                  <c:v>6932</c:v>
                </c:pt>
                <c:pt idx="22708">
                  <c:v>23230</c:v>
                </c:pt>
                <c:pt idx="22709">
                  <c:v>9009</c:v>
                </c:pt>
                <c:pt idx="22710">
                  <c:v>24</c:v>
                </c:pt>
                <c:pt idx="22711">
                  <c:v>9371</c:v>
                </c:pt>
                <c:pt idx="22712">
                  <c:v>879</c:v>
                </c:pt>
                <c:pt idx="22713">
                  <c:v>2043</c:v>
                </c:pt>
                <c:pt idx="22714">
                  <c:v>237</c:v>
                </c:pt>
                <c:pt idx="22715">
                  <c:v>1689</c:v>
                </c:pt>
                <c:pt idx="22716">
                  <c:v>182</c:v>
                </c:pt>
                <c:pt idx="22717">
                  <c:v>193</c:v>
                </c:pt>
                <c:pt idx="22718">
                  <c:v>263</c:v>
                </c:pt>
                <c:pt idx="22719">
                  <c:v>11409</c:v>
                </c:pt>
                <c:pt idx="22720">
                  <c:v>263</c:v>
                </c:pt>
                <c:pt idx="22721">
                  <c:v>2638</c:v>
                </c:pt>
                <c:pt idx="22722">
                  <c:v>75</c:v>
                </c:pt>
                <c:pt idx="22723">
                  <c:v>150</c:v>
                </c:pt>
                <c:pt idx="22724">
                  <c:v>1621</c:v>
                </c:pt>
                <c:pt idx="22725">
                  <c:v>1643</c:v>
                </c:pt>
                <c:pt idx="22726">
                  <c:v>856</c:v>
                </c:pt>
                <c:pt idx="22727">
                  <c:v>102</c:v>
                </c:pt>
                <c:pt idx="22728">
                  <c:v>420</c:v>
                </c:pt>
                <c:pt idx="22729">
                  <c:v>163</c:v>
                </c:pt>
                <c:pt idx="22730">
                  <c:v>157</c:v>
                </c:pt>
                <c:pt idx="22731">
                  <c:v>934</c:v>
                </c:pt>
                <c:pt idx="22732">
                  <c:v>612</c:v>
                </c:pt>
                <c:pt idx="22733">
                  <c:v>1192</c:v>
                </c:pt>
                <c:pt idx="22734">
                  <c:v>78</c:v>
                </c:pt>
                <c:pt idx="22735">
                  <c:v>59</c:v>
                </c:pt>
                <c:pt idx="22736">
                  <c:v>99</c:v>
                </c:pt>
                <c:pt idx="22737">
                  <c:v>142</c:v>
                </c:pt>
                <c:pt idx="22738">
                  <c:v>268</c:v>
                </c:pt>
                <c:pt idx="22739">
                  <c:v>280</c:v>
                </c:pt>
                <c:pt idx="22740">
                  <c:v>224</c:v>
                </c:pt>
                <c:pt idx="22741">
                  <c:v>256</c:v>
                </c:pt>
                <c:pt idx="22742">
                  <c:v>512</c:v>
                </c:pt>
                <c:pt idx="22743">
                  <c:v>285</c:v>
                </c:pt>
                <c:pt idx="22744">
                  <c:v>319</c:v>
                </c:pt>
                <c:pt idx="22745">
                  <c:v>176</c:v>
                </c:pt>
                <c:pt idx="22746">
                  <c:v>467</c:v>
                </c:pt>
                <c:pt idx="22747">
                  <c:v>1411</c:v>
                </c:pt>
                <c:pt idx="22748">
                  <c:v>913</c:v>
                </c:pt>
                <c:pt idx="22749">
                  <c:v>5030</c:v>
                </c:pt>
                <c:pt idx="22750">
                  <c:v>664</c:v>
                </c:pt>
                <c:pt idx="22751">
                  <c:v>128</c:v>
                </c:pt>
                <c:pt idx="22752">
                  <c:v>841</c:v>
                </c:pt>
                <c:pt idx="22753">
                  <c:v>497</c:v>
                </c:pt>
                <c:pt idx="22754">
                  <c:v>751</c:v>
                </c:pt>
                <c:pt idx="22755">
                  <c:v>1332</c:v>
                </c:pt>
                <c:pt idx="22756">
                  <c:v>382</c:v>
                </c:pt>
                <c:pt idx="22757">
                  <c:v>224</c:v>
                </c:pt>
                <c:pt idx="22758">
                  <c:v>53</c:v>
                </c:pt>
                <c:pt idx="22759">
                  <c:v>6269</c:v>
                </c:pt>
                <c:pt idx="22760">
                  <c:v>432</c:v>
                </c:pt>
                <c:pt idx="22761">
                  <c:v>152</c:v>
                </c:pt>
                <c:pt idx="22762">
                  <c:v>247</c:v>
                </c:pt>
                <c:pt idx="22763">
                  <c:v>435</c:v>
                </c:pt>
                <c:pt idx="22764">
                  <c:v>1743</c:v>
                </c:pt>
                <c:pt idx="22765">
                  <c:v>308</c:v>
                </c:pt>
                <c:pt idx="22766">
                  <c:v>235</c:v>
                </c:pt>
                <c:pt idx="22767">
                  <c:v>144</c:v>
                </c:pt>
                <c:pt idx="22768">
                  <c:v>116</c:v>
                </c:pt>
                <c:pt idx="22769">
                  <c:v>356</c:v>
                </c:pt>
                <c:pt idx="22770">
                  <c:v>1533</c:v>
                </c:pt>
                <c:pt idx="22771">
                  <c:v>553</c:v>
                </c:pt>
                <c:pt idx="22772">
                  <c:v>636</c:v>
                </c:pt>
                <c:pt idx="22773">
                  <c:v>117</c:v>
                </c:pt>
                <c:pt idx="22774">
                  <c:v>185</c:v>
                </c:pt>
                <c:pt idx="22775">
                  <c:v>747</c:v>
                </c:pt>
                <c:pt idx="22776">
                  <c:v>212</c:v>
                </c:pt>
                <c:pt idx="22777">
                  <c:v>11575</c:v>
                </c:pt>
                <c:pt idx="22778">
                  <c:v>13539</c:v>
                </c:pt>
                <c:pt idx="22779">
                  <c:v>253</c:v>
                </c:pt>
                <c:pt idx="22780">
                  <c:v>3480</c:v>
                </c:pt>
                <c:pt idx="22781">
                  <c:v>257</c:v>
                </c:pt>
                <c:pt idx="22782">
                  <c:v>43</c:v>
                </c:pt>
                <c:pt idx="22783">
                  <c:v>65</c:v>
                </c:pt>
                <c:pt idx="22784">
                  <c:v>148</c:v>
                </c:pt>
                <c:pt idx="22785">
                  <c:v>248</c:v>
                </c:pt>
                <c:pt idx="22786">
                  <c:v>169</c:v>
                </c:pt>
                <c:pt idx="22787">
                  <c:v>34</c:v>
                </c:pt>
                <c:pt idx="22788">
                  <c:v>992</c:v>
                </c:pt>
                <c:pt idx="22789">
                  <c:v>218</c:v>
                </c:pt>
                <c:pt idx="22790">
                  <c:v>383</c:v>
                </c:pt>
                <c:pt idx="22791">
                  <c:v>57</c:v>
                </c:pt>
                <c:pt idx="22792">
                  <c:v>102</c:v>
                </c:pt>
                <c:pt idx="22793">
                  <c:v>256</c:v>
                </c:pt>
                <c:pt idx="22794">
                  <c:v>299</c:v>
                </c:pt>
                <c:pt idx="22795">
                  <c:v>238</c:v>
                </c:pt>
                <c:pt idx="22796">
                  <c:v>1455</c:v>
                </c:pt>
                <c:pt idx="22797">
                  <c:v>418</c:v>
                </c:pt>
                <c:pt idx="22798">
                  <c:v>195</c:v>
                </c:pt>
                <c:pt idx="22799">
                  <c:v>161</c:v>
                </c:pt>
                <c:pt idx="22800">
                  <c:v>1590</c:v>
                </c:pt>
                <c:pt idx="22801">
                  <c:v>39</c:v>
                </c:pt>
                <c:pt idx="22802">
                  <c:v>193</c:v>
                </c:pt>
                <c:pt idx="22803">
                  <c:v>3341</c:v>
                </c:pt>
                <c:pt idx="22804">
                  <c:v>312</c:v>
                </c:pt>
                <c:pt idx="22805">
                  <c:v>511</c:v>
                </c:pt>
                <c:pt idx="22806">
                  <c:v>237</c:v>
                </c:pt>
                <c:pt idx="22807">
                  <c:v>142</c:v>
                </c:pt>
                <c:pt idx="22808">
                  <c:v>55</c:v>
                </c:pt>
                <c:pt idx="22809">
                  <c:v>536</c:v>
                </c:pt>
                <c:pt idx="22810">
                  <c:v>192</c:v>
                </c:pt>
                <c:pt idx="22811">
                  <c:v>117</c:v>
                </c:pt>
                <c:pt idx="22812">
                  <c:v>972</c:v>
                </c:pt>
                <c:pt idx="22813">
                  <c:v>500</c:v>
                </c:pt>
                <c:pt idx="22814">
                  <c:v>47</c:v>
                </c:pt>
                <c:pt idx="22815">
                  <c:v>564</c:v>
                </c:pt>
                <c:pt idx="22816">
                  <c:v>683</c:v>
                </c:pt>
                <c:pt idx="22817">
                  <c:v>1181</c:v>
                </c:pt>
                <c:pt idx="22818">
                  <c:v>998</c:v>
                </c:pt>
                <c:pt idx="22819">
                  <c:v>7074</c:v>
                </c:pt>
                <c:pt idx="22820">
                  <c:v>438</c:v>
                </c:pt>
                <c:pt idx="22821">
                  <c:v>588</c:v>
                </c:pt>
                <c:pt idx="22822">
                  <c:v>132</c:v>
                </c:pt>
                <c:pt idx="22823">
                  <c:v>323</c:v>
                </c:pt>
                <c:pt idx="22824">
                  <c:v>285</c:v>
                </c:pt>
                <c:pt idx="22825">
                  <c:v>224</c:v>
                </c:pt>
                <c:pt idx="22826">
                  <c:v>227</c:v>
                </c:pt>
                <c:pt idx="22827">
                  <c:v>292</c:v>
                </c:pt>
                <c:pt idx="22828">
                  <c:v>201</c:v>
                </c:pt>
                <c:pt idx="22829">
                  <c:v>719</c:v>
                </c:pt>
                <c:pt idx="22830">
                  <c:v>49</c:v>
                </c:pt>
                <c:pt idx="22831">
                  <c:v>901</c:v>
                </c:pt>
                <c:pt idx="22832">
                  <c:v>224</c:v>
                </c:pt>
                <c:pt idx="22833">
                  <c:v>85</c:v>
                </c:pt>
                <c:pt idx="22834">
                  <c:v>451</c:v>
                </c:pt>
                <c:pt idx="22835">
                  <c:v>647</c:v>
                </c:pt>
                <c:pt idx="22836">
                  <c:v>626</c:v>
                </c:pt>
                <c:pt idx="22837">
                  <c:v>495</c:v>
                </c:pt>
                <c:pt idx="22838">
                  <c:v>89</c:v>
                </c:pt>
                <c:pt idx="22839">
                  <c:v>256</c:v>
                </c:pt>
                <c:pt idx="22840">
                  <c:v>875</c:v>
                </c:pt>
                <c:pt idx="22841">
                  <c:v>717</c:v>
                </c:pt>
                <c:pt idx="22842">
                  <c:v>113</c:v>
                </c:pt>
                <c:pt idx="22843">
                  <c:v>337</c:v>
                </c:pt>
                <c:pt idx="22844">
                  <c:v>682</c:v>
                </c:pt>
                <c:pt idx="22845">
                  <c:v>7836</c:v>
                </c:pt>
                <c:pt idx="22846">
                  <c:v>323</c:v>
                </c:pt>
                <c:pt idx="22847">
                  <c:v>924</c:v>
                </c:pt>
                <c:pt idx="22848">
                  <c:v>235</c:v>
                </c:pt>
                <c:pt idx="22849">
                  <c:v>606</c:v>
                </c:pt>
                <c:pt idx="22850">
                  <c:v>624</c:v>
                </c:pt>
                <c:pt idx="22851">
                  <c:v>383</c:v>
                </c:pt>
                <c:pt idx="22852">
                  <c:v>147</c:v>
                </c:pt>
                <c:pt idx="22853">
                  <c:v>683</c:v>
                </c:pt>
                <c:pt idx="22854">
                  <c:v>5993</c:v>
                </c:pt>
                <c:pt idx="22855">
                  <c:v>11865</c:v>
                </c:pt>
                <c:pt idx="22856">
                  <c:v>14587</c:v>
                </c:pt>
                <c:pt idx="22857">
                  <c:v>4107</c:v>
                </c:pt>
                <c:pt idx="22858">
                  <c:v>15311</c:v>
                </c:pt>
                <c:pt idx="22859">
                  <c:v>31797</c:v>
                </c:pt>
                <c:pt idx="22860">
                  <c:v>19560</c:v>
                </c:pt>
                <c:pt idx="22861">
                  <c:v>4410</c:v>
                </c:pt>
                <c:pt idx="22862">
                  <c:v>2321</c:v>
                </c:pt>
                <c:pt idx="22863">
                  <c:v>12896</c:v>
                </c:pt>
                <c:pt idx="22864">
                  <c:v>8998</c:v>
                </c:pt>
                <c:pt idx="22865">
                  <c:v>3132</c:v>
                </c:pt>
                <c:pt idx="22866">
                  <c:v>10722</c:v>
                </c:pt>
                <c:pt idx="22867">
                  <c:v>703</c:v>
                </c:pt>
                <c:pt idx="22868">
                  <c:v>4559</c:v>
                </c:pt>
                <c:pt idx="22869">
                  <c:v>331</c:v>
                </c:pt>
                <c:pt idx="22870">
                  <c:v>381</c:v>
                </c:pt>
                <c:pt idx="22871">
                  <c:v>550</c:v>
                </c:pt>
                <c:pt idx="22872">
                  <c:v>1964</c:v>
                </c:pt>
                <c:pt idx="22873">
                  <c:v>1322</c:v>
                </c:pt>
                <c:pt idx="22874">
                  <c:v>938</c:v>
                </c:pt>
                <c:pt idx="22875">
                  <c:v>6822</c:v>
                </c:pt>
                <c:pt idx="22876">
                  <c:v>37</c:v>
                </c:pt>
                <c:pt idx="22877">
                  <c:v>1219</c:v>
                </c:pt>
                <c:pt idx="22878">
                  <c:v>3128</c:v>
                </c:pt>
                <c:pt idx="22879">
                  <c:v>10723</c:v>
                </c:pt>
                <c:pt idx="22880">
                  <c:v>773</c:v>
                </c:pt>
                <c:pt idx="22881">
                  <c:v>1718</c:v>
                </c:pt>
                <c:pt idx="22882">
                  <c:v>1408</c:v>
                </c:pt>
                <c:pt idx="22883">
                  <c:v>173</c:v>
                </c:pt>
                <c:pt idx="22884">
                  <c:v>3367</c:v>
                </c:pt>
                <c:pt idx="22885">
                  <c:v>131</c:v>
                </c:pt>
                <c:pt idx="22886">
                  <c:v>3585</c:v>
                </c:pt>
                <c:pt idx="22887">
                  <c:v>2162</c:v>
                </c:pt>
                <c:pt idx="22888">
                  <c:v>271</c:v>
                </c:pt>
                <c:pt idx="22889">
                  <c:v>1041</c:v>
                </c:pt>
                <c:pt idx="22890">
                  <c:v>360</c:v>
                </c:pt>
                <c:pt idx="22891">
                  <c:v>2532</c:v>
                </c:pt>
                <c:pt idx="22892">
                  <c:v>242</c:v>
                </c:pt>
                <c:pt idx="22893">
                  <c:v>23005</c:v>
                </c:pt>
                <c:pt idx="22894">
                  <c:v>2232</c:v>
                </c:pt>
                <c:pt idx="22895">
                  <c:v>1366</c:v>
                </c:pt>
                <c:pt idx="22896">
                  <c:v>2263</c:v>
                </c:pt>
                <c:pt idx="22897">
                  <c:v>165</c:v>
                </c:pt>
                <c:pt idx="22898">
                  <c:v>1024</c:v>
                </c:pt>
                <c:pt idx="22899">
                  <c:v>359</c:v>
                </c:pt>
                <c:pt idx="22900">
                  <c:v>13676</c:v>
                </c:pt>
                <c:pt idx="22901">
                  <c:v>13735</c:v>
                </c:pt>
                <c:pt idx="22902">
                  <c:v>6593</c:v>
                </c:pt>
                <c:pt idx="22903">
                  <c:v>52</c:v>
                </c:pt>
                <c:pt idx="22904">
                  <c:v>703</c:v>
                </c:pt>
                <c:pt idx="22905">
                  <c:v>2439</c:v>
                </c:pt>
                <c:pt idx="22906">
                  <c:v>15651</c:v>
                </c:pt>
                <c:pt idx="22907">
                  <c:v>11750</c:v>
                </c:pt>
                <c:pt idx="22908">
                  <c:v>1842</c:v>
                </c:pt>
                <c:pt idx="22909">
                  <c:v>1370</c:v>
                </c:pt>
                <c:pt idx="22910">
                  <c:v>725</c:v>
                </c:pt>
                <c:pt idx="22911">
                  <c:v>146</c:v>
                </c:pt>
                <c:pt idx="22912">
                  <c:v>447</c:v>
                </c:pt>
                <c:pt idx="22913">
                  <c:v>166</c:v>
                </c:pt>
                <c:pt idx="22914">
                  <c:v>824</c:v>
                </c:pt>
                <c:pt idx="22915">
                  <c:v>6437</c:v>
                </c:pt>
                <c:pt idx="22916">
                  <c:v>13177</c:v>
                </c:pt>
                <c:pt idx="22917">
                  <c:v>6193</c:v>
                </c:pt>
                <c:pt idx="22918">
                  <c:v>8792</c:v>
                </c:pt>
                <c:pt idx="22919">
                  <c:v>3197</c:v>
                </c:pt>
                <c:pt idx="22920">
                  <c:v>5428</c:v>
                </c:pt>
                <c:pt idx="22921">
                  <c:v>10917</c:v>
                </c:pt>
                <c:pt idx="22922">
                  <c:v>8817</c:v>
                </c:pt>
                <c:pt idx="22923">
                  <c:v>9517</c:v>
                </c:pt>
                <c:pt idx="22924">
                  <c:v>1487</c:v>
                </c:pt>
                <c:pt idx="22925">
                  <c:v>1825</c:v>
                </c:pt>
                <c:pt idx="22926">
                  <c:v>3303</c:v>
                </c:pt>
                <c:pt idx="22927">
                  <c:v>4121</c:v>
                </c:pt>
                <c:pt idx="22928">
                  <c:v>6850</c:v>
                </c:pt>
                <c:pt idx="22929">
                  <c:v>5589</c:v>
                </c:pt>
                <c:pt idx="22930">
                  <c:v>8681</c:v>
                </c:pt>
                <c:pt idx="22931">
                  <c:v>753</c:v>
                </c:pt>
                <c:pt idx="22932">
                  <c:v>1029</c:v>
                </c:pt>
                <c:pt idx="22933">
                  <c:v>4804</c:v>
                </c:pt>
                <c:pt idx="22934">
                  <c:v>24400</c:v>
                </c:pt>
                <c:pt idx="22935">
                  <c:v>10808</c:v>
                </c:pt>
                <c:pt idx="22936">
                  <c:v>10129</c:v>
                </c:pt>
                <c:pt idx="22937">
                  <c:v>14767</c:v>
                </c:pt>
                <c:pt idx="22938">
                  <c:v>13824</c:v>
                </c:pt>
                <c:pt idx="22939">
                  <c:v>9302</c:v>
                </c:pt>
                <c:pt idx="22940">
                  <c:v>6957</c:v>
                </c:pt>
                <c:pt idx="22941">
                  <c:v>4084</c:v>
                </c:pt>
                <c:pt idx="22942">
                  <c:v>1263</c:v>
                </c:pt>
                <c:pt idx="22943">
                  <c:v>2856</c:v>
                </c:pt>
                <c:pt idx="22944">
                  <c:v>598</c:v>
                </c:pt>
                <c:pt idx="22945">
                  <c:v>344</c:v>
                </c:pt>
                <c:pt idx="22946">
                  <c:v>1906</c:v>
                </c:pt>
                <c:pt idx="22947">
                  <c:v>1953</c:v>
                </c:pt>
                <c:pt idx="22948">
                  <c:v>855</c:v>
                </c:pt>
                <c:pt idx="22949">
                  <c:v>55</c:v>
                </c:pt>
                <c:pt idx="22950">
                  <c:v>801</c:v>
                </c:pt>
                <c:pt idx="22951">
                  <c:v>1345</c:v>
                </c:pt>
                <c:pt idx="22952">
                  <c:v>5340</c:v>
                </c:pt>
                <c:pt idx="22953">
                  <c:v>2918</c:v>
                </c:pt>
                <c:pt idx="22954">
                  <c:v>965</c:v>
                </c:pt>
                <c:pt idx="22955">
                  <c:v>268</c:v>
                </c:pt>
                <c:pt idx="22956">
                  <c:v>335</c:v>
                </c:pt>
                <c:pt idx="22957">
                  <c:v>2282</c:v>
                </c:pt>
                <c:pt idx="22958">
                  <c:v>7058</c:v>
                </c:pt>
                <c:pt idx="22959">
                  <c:v>98</c:v>
                </c:pt>
                <c:pt idx="22960">
                  <c:v>74</c:v>
                </c:pt>
                <c:pt idx="22961">
                  <c:v>7379</c:v>
                </c:pt>
                <c:pt idx="22962">
                  <c:v>1116</c:v>
                </c:pt>
                <c:pt idx="22963">
                  <c:v>646</c:v>
                </c:pt>
                <c:pt idx="22964">
                  <c:v>1915</c:v>
                </c:pt>
                <c:pt idx="22965">
                  <c:v>465</c:v>
                </c:pt>
                <c:pt idx="22966">
                  <c:v>215</c:v>
                </c:pt>
                <c:pt idx="22967">
                  <c:v>20</c:v>
                </c:pt>
                <c:pt idx="22968">
                  <c:v>703</c:v>
                </c:pt>
                <c:pt idx="22969">
                  <c:v>1315</c:v>
                </c:pt>
                <c:pt idx="22970">
                  <c:v>5730</c:v>
                </c:pt>
                <c:pt idx="22971">
                  <c:v>12303</c:v>
                </c:pt>
                <c:pt idx="22972">
                  <c:v>1746</c:v>
                </c:pt>
                <c:pt idx="22973">
                  <c:v>485</c:v>
                </c:pt>
                <c:pt idx="22974">
                  <c:v>307</c:v>
                </c:pt>
                <c:pt idx="22975">
                  <c:v>406</c:v>
                </c:pt>
                <c:pt idx="22976">
                  <c:v>3174</c:v>
                </c:pt>
                <c:pt idx="22977">
                  <c:v>609</c:v>
                </c:pt>
                <c:pt idx="22978">
                  <c:v>196</c:v>
                </c:pt>
                <c:pt idx="22979">
                  <c:v>255</c:v>
                </c:pt>
                <c:pt idx="22980">
                  <c:v>7090</c:v>
                </c:pt>
                <c:pt idx="22981">
                  <c:v>261</c:v>
                </c:pt>
                <c:pt idx="22982">
                  <c:v>302</c:v>
                </c:pt>
                <c:pt idx="22983">
                  <c:v>3108</c:v>
                </c:pt>
                <c:pt idx="22984">
                  <c:v>4215</c:v>
                </c:pt>
                <c:pt idx="22985">
                  <c:v>1022</c:v>
                </c:pt>
                <c:pt idx="22986">
                  <c:v>1931</c:v>
                </c:pt>
                <c:pt idx="22987">
                  <c:v>3256</c:v>
                </c:pt>
                <c:pt idx="22988">
                  <c:v>109</c:v>
                </c:pt>
                <c:pt idx="22989">
                  <c:v>1994</c:v>
                </c:pt>
                <c:pt idx="22990">
                  <c:v>332</c:v>
                </c:pt>
                <c:pt idx="22991">
                  <c:v>1174</c:v>
                </c:pt>
                <c:pt idx="22992">
                  <c:v>192</c:v>
                </c:pt>
                <c:pt idx="22993">
                  <c:v>5919</c:v>
                </c:pt>
                <c:pt idx="22994">
                  <c:v>557</c:v>
                </c:pt>
                <c:pt idx="22995">
                  <c:v>1459</c:v>
                </c:pt>
                <c:pt idx="22996">
                  <c:v>103</c:v>
                </c:pt>
                <c:pt idx="22997">
                  <c:v>1602</c:v>
                </c:pt>
                <c:pt idx="22998">
                  <c:v>800</c:v>
                </c:pt>
                <c:pt idx="22999">
                  <c:v>47</c:v>
                </c:pt>
                <c:pt idx="23000">
                  <c:v>79</c:v>
                </c:pt>
                <c:pt idx="23001">
                  <c:v>54</c:v>
                </c:pt>
                <c:pt idx="23002">
                  <c:v>21</c:v>
                </c:pt>
                <c:pt idx="23003">
                  <c:v>2697</c:v>
                </c:pt>
                <c:pt idx="23004">
                  <c:v>13298</c:v>
                </c:pt>
                <c:pt idx="23005">
                  <c:v>5591</c:v>
                </c:pt>
                <c:pt idx="23006">
                  <c:v>122</c:v>
                </c:pt>
                <c:pt idx="23007">
                  <c:v>795</c:v>
                </c:pt>
                <c:pt idx="23008">
                  <c:v>484</c:v>
                </c:pt>
                <c:pt idx="23009">
                  <c:v>541</c:v>
                </c:pt>
                <c:pt idx="23010">
                  <c:v>220</c:v>
                </c:pt>
                <c:pt idx="23011">
                  <c:v>11315</c:v>
                </c:pt>
                <c:pt idx="23012">
                  <c:v>33</c:v>
                </c:pt>
                <c:pt idx="23013">
                  <c:v>103</c:v>
                </c:pt>
                <c:pt idx="23014">
                  <c:v>1835</c:v>
                </c:pt>
                <c:pt idx="23015">
                  <c:v>3209</c:v>
                </c:pt>
                <c:pt idx="23016">
                  <c:v>37</c:v>
                </c:pt>
                <c:pt idx="23017">
                  <c:v>58</c:v>
                </c:pt>
                <c:pt idx="23018">
                  <c:v>259</c:v>
                </c:pt>
                <c:pt idx="23019">
                  <c:v>439</c:v>
                </c:pt>
                <c:pt idx="23020">
                  <c:v>34</c:v>
                </c:pt>
                <c:pt idx="23021">
                  <c:v>473</c:v>
                </c:pt>
                <c:pt idx="23022">
                  <c:v>1519</c:v>
                </c:pt>
                <c:pt idx="23023">
                  <c:v>59</c:v>
                </c:pt>
                <c:pt idx="23024">
                  <c:v>130</c:v>
                </c:pt>
                <c:pt idx="23025">
                  <c:v>229</c:v>
                </c:pt>
                <c:pt idx="23026">
                  <c:v>1220</c:v>
                </c:pt>
                <c:pt idx="23027">
                  <c:v>53</c:v>
                </c:pt>
                <c:pt idx="23028">
                  <c:v>392</c:v>
                </c:pt>
                <c:pt idx="23029">
                  <c:v>487</c:v>
                </c:pt>
                <c:pt idx="23030">
                  <c:v>751</c:v>
                </c:pt>
                <c:pt idx="23031">
                  <c:v>235</c:v>
                </c:pt>
                <c:pt idx="23032">
                  <c:v>135</c:v>
                </c:pt>
                <c:pt idx="23033">
                  <c:v>167</c:v>
                </c:pt>
                <c:pt idx="23034">
                  <c:v>132</c:v>
                </c:pt>
                <c:pt idx="23035">
                  <c:v>174</c:v>
                </c:pt>
                <c:pt idx="23036">
                  <c:v>642</c:v>
                </c:pt>
                <c:pt idx="23037">
                  <c:v>291</c:v>
                </c:pt>
                <c:pt idx="23038">
                  <c:v>632</c:v>
                </c:pt>
                <c:pt idx="23039">
                  <c:v>216</c:v>
                </c:pt>
                <c:pt idx="23040">
                  <c:v>35</c:v>
                </c:pt>
                <c:pt idx="23041">
                  <c:v>259</c:v>
                </c:pt>
                <c:pt idx="23042">
                  <c:v>377</c:v>
                </c:pt>
                <c:pt idx="23043">
                  <c:v>1040</c:v>
                </c:pt>
                <c:pt idx="23044">
                  <c:v>320</c:v>
                </c:pt>
                <c:pt idx="23045">
                  <c:v>422</c:v>
                </c:pt>
                <c:pt idx="23046">
                  <c:v>44</c:v>
                </c:pt>
                <c:pt idx="23047">
                  <c:v>60</c:v>
                </c:pt>
                <c:pt idx="23048">
                  <c:v>2162</c:v>
                </c:pt>
                <c:pt idx="23049">
                  <c:v>8543</c:v>
                </c:pt>
                <c:pt idx="23050">
                  <c:v>4907</c:v>
                </c:pt>
                <c:pt idx="23051">
                  <c:v>247</c:v>
                </c:pt>
                <c:pt idx="23052">
                  <c:v>2749</c:v>
                </c:pt>
                <c:pt idx="23053">
                  <c:v>172</c:v>
                </c:pt>
                <c:pt idx="23054">
                  <c:v>86</c:v>
                </c:pt>
                <c:pt idx="23055">
                  <c:v>618</c:v>
                </c:pt>
                <c:pt idx="23056">
                  <c:v>93</c:v>
                </c:pt>
                <c:pt idx="23057">
                  <c:v>230</c:v>
                </c:pt>
                <c:pt idx="23058">
                  <c:v>373</c:v>
                </c:pt>
                <c:pt idx="23059">
                  <c:v>189</c:v>
                </c:pt>
                <c:pt idx="23060">
                  <c:v>1251</c:v>
                </c:pt>
                <c:pt idx="23061">
                  <c:v>189</c:v>
                </c:pt>
                <c:pt idx="23062">
                  <c:v>278</c:v>
                </c:pt>
                <c:pt idx="23063">
                  <c:v>332</c:v>
                </c:pt>
                <c:pt idx="23064">
                  <c:v>1573</c:v>
                </c:pt>
                <c:pt idx="23065">
                  <c:v>11728</c:v>
                </c:pt>
                <c:pt idx="23066">
                  <c:v>176</c:v>
                </c:pt>
                <c:pt idx="23067">
                  <c:v>94</c:v>
                </c:pt>
                <c:pt idx="23068">
                  <c:v>369</c:v>
                </c:pt>
                <c:pt idx="23069">
                  <c:v>77</c:v>
                </c:pt>
                <c:pt idx="23070">
                  <c:v>585</c:v>
                </c:pt>
                <c:pt idx="23071">
                  <c:v>787</c:v>
                </c:pt>
                <c:pt idx="23072">
                  <c:v>4340</c:v>
                </c:pt>
                <c:pt idx="23073">
                  <c:v>1035</c:v>
                </c:pt>
                <c:pt idx="23074">
                  <c:v>2249</c:v>
                </c:pt>
                <c:pt idx="23075">
                  <c:v>651</c:v>
                </c:pt>
                <c:pt idx="23076">
                  <c:v>1230</c:v>
                </c:pt>
                <c:pt idx="23077">
                  <c:v>339</c:v>
                </c:pt>
                <c:pt idx="23078">
                  <c:v>682</c:v>
                </c:pt>
                <c:pt idx="23079">
                  <c:v>370</c:v>
                </c:pt>
                <c:pt idx="23080">
                  <c:v>174</c:v>
                </c:pt>
                <c:pt idx="23081">
                  <c:v>625</c:v>
                </c:pt>
                <c:pt idx="23082">
                  <c:v>396</c:v>
                </c:pt>
                <c:pt idx="23083">
                  <c:v>2925</c:v>
                </c:pt>
                <c:pt idx="23084">
                  <c:v>3830</c:v>
                </c:pt>
                <c:pt idx="23085">
                  <c:v>112</c:v>
                </c:pt>
                <c:pt idx="23086">
                  <c:v>203</c:v>
                </c:pt>
                <c:pt idx="23087">
                  <c:v>90</c:v>
                </c:pt>
                <c:pt idx="23088">
                  <c:v>204</c:v>
                </c:pt>
                <c:pt idx="23089">
                  <c:v>252</c:v>
                </c:pt>
                <c:pt idx="23090">
                  <c:v>506</c:v>
                </c:pt>
                <c:pt idx="23091">
                  <c:v>20</c:v>
                </c:pt>
                <c:pt idx="23092">
                  <c:v>1452</c:v>
                </c:pt>
                <c:pt idx="23093">
                  <c:v>438</c:v>
                </c:pt>
                <c:pt idx="23094">
                  <c:v>8890</c:v>
                </c:pt>
                <c:pt idx="23095">
                  <c:v>9344</c:v>
                </c:pt>
                <c:pt idx="23096">
                  <c:v>14256</c:v>
                </c:pt>
                <c:pt idx="23097">
                  <c:v>464</c:v>
                </c:pt>
                <c:pt idx="23098">
                  <c:v>625</c:v>
                </c:pt>
                <c:pt idx="23099">
                  <c:v>476</c:v>
                </c:pt>
                <c:pt idx="23100">
                  <c:v>119</c:v>
                </c:pt>
                <c:pt idx="23101">
                  <c:v>255</c:v>
                </c:pt>
                <c:pt idx="23102">
                  <c:v>65</c:v>
                </c:pt>
                <c:pt idx="23103">
                  <c:v>280</c:v>
                </c:pt>
                <c:pt idx="23104">
                  <c:v>361</c:v>
                </c:pt>
                <c:pt idx="23105">
                  <c:v>209</c:v>
                </c:pt>
                <c:pt idx="23106">
                  <c:v>3162</c:v>
                </c:pt>
                <c:pt idx="23107">
                  <c:v>30</c:v>
                </c:pt>
                <c:pt idx="23108">
                  <c:v>199</c:v>
                </c:pt>
                <c:pt idx="23109">
                  <c:v>887</c:v>
                </c:pt>
                <c:pt idx="23110">
                  <c:v>117</c:v>
                </c:pt>
                <c:pt idx="23111">
                  <c:v>124</c:v>
                </c:pt>
                <c:pt idx="23112">
                  <c:v>118</c:v>
                </c:pt>
                <c:pt idx="23113">
                  <c:v>136</c:v>
                </c:pt>
                <c:pt idx="23114">
                  <c:v>2525</c:v>
                </c:pt>
                <c:pt idx="23115">
                  <c:v>1030</c:v>
                </c:pt>
                <c:pt idx="23116">
                  <c:v>83</c:v>
                </c:pt>
                <c:pt idx="23117">
                  <c:v>4289</c:v>
                </c:pt>
                <c:pt idx="23118">
                  <c:v>519</c:v>
                </c:pt>
                <c:pt idx="23119">
                  <c:v>731</c:v>
                </c:pt>
                <c:pt idx="23120">
                  <c:v>1732</c:v>
                </c:pt>
                <c:pt idx="23121">
                  <c:v>356</c:v>
                </c:pt>
                <c:pt idx="23122">
                  <c:v>5010</c:v>
                </c:pt>
                <c:pt idx="23123">
                  <c:v>2098</c:v>
                </c:pt>
                <c:pt idx="23124">
                  <c:v>607</c:v>
                </c:pt>
                <c:pt idx="23125">
                  <c:v>1980</c:v>
                </c:pt>
                <c:pt idx="23126">
                  <c:v>842</c:v>
                </c:pt>
                <c:pt idx="23127">
                  <c:v>190</c:v>
                </c:pt>
                <c:pt idx="23128">
                  <c:v>4602</c:v>
                </c:pt>
                <c:pt idx="23129">
                  <c:v>351</c:v>
                </c:pt>
                <c:pt idx="23130">
                  <c:v>1037</c:v>
                </c:pt>
                <c:pt idx="23131">
                  <c:v>1169</c:v>
                </c:pt>
                <c:pt idx="23132">
                  <c:v>4828</c:v>
                </c:pt>
                <c:pt idx="23133">
                  <c:v>549</c:v>
                </c:pt>
                <c:pt idx="23134">
                  <c:v>607</c:v>
                </c:pt>
                <c:pt idx="23135">
                  <c:v>674</c:v>
                </c:pt>
                <c:pt idx="23136">
                  <c:v>1991</c:v>
                </c:pt>
                <c:pt idx="23137">
                  <c:v>672</c:v>
                </c:pt>
                <c:pt idx="23138">
                  <c:v>1871</c:v>
                </c:pt>
                <c:pt idx="23139">
                  <c:v>647</c:v>
                </c:pt>
                <c:pt idx="23140">
                  <c:v>1845</c:v>
                </c:pt>
                <c:pt idx="23141">
                  <c:v>661</c:v>
                </c:pt>
                <c:pt idx="23142">
                  <c:v>500</c:v>
                </c:pt>
                <c:pt idx="23143">
                  <c:v>953</c:v>
                </c:pt>
                <c:pt idx="23144">
                  <c:v>51</c:v>
                </c:pt>
                <c:pt idx="23145">
                  <c:v>548</c:v>
                </c:pt>
                <c:pt idx="23146">
                  <c:v>1916</c:v>
                </c:pt>
                <c:pt idx="23147">
                  <c:v>97</c:v>
                </c:pt>
                <c:pt idx="23148">
                  <c:v>1094</c:v>
                </c:pt>
                <c:pt idx="23149">
                  <c:v>933</c:v>
                </c:pt>
                <c:pt idx="23150">
                  <c:v>46</c:v>
                </c:pt>
                <c:pt idx="23151">
                  <c:v>39</c:v>
                </c:pt>
                <c:pt idx="23152">
                  <c:v>384</c:v>
                </c:pt>
                <c:pt idx="23153">
                  <c:v>52</c:v>
                </c:pt>
                <c:pt idx="23154">
                  <c:v>23</c:v>
                </c:pt>
                <c:pt idx="23155">
                  <c:v>4528</c:v>
                </c:pt>
                <c:pt idx="23156">
                  <c:v>64</c:v>
                </c:pt>
                <c:pt idx="23157">
                  <c:v>563</c:v>
                </c:pt>
                <c:pt idx="23158">
                  <c:v>4947</c:v>
                </c:pt>
                <c:pt idx="23159">
                  <c:v>2251</c:v>
                </c:pt>
                <c:pt idx="23160">
                  <c:v>5409</c:v>
                </c:pt>
                <c:pt idx="23161">
                  <c:v>717</c:v>
                </c:pt>
                <c:pt idx="23162">
                  <c:v>254</c:v>
                </c:pt>
                <c:pt idx="23163">
                  <c:v>2441</c:v>
                </c:pt>
                <c:pt idx="23164">
                  <c:v>4246</c:v>
                </c:pt>
                <c:pt idx="23165">
                  <c:v>1351</c:v>
                </c:pt>
                <c:pt idx="23166">
                  <c:v>143</c:v>
                </c:pt>
                <c:pt idx="23167">
                  <c:v>787</c:v>
                </c:pt>
                <c:pt idx="23168">
                  <c:v>1878</c:v>
                </c:pt>
                <c:pt idx="23169">
                  <c:v>1293</c:v>
                </c:pt>
                <c:pt idx="23170">
                  <c:v>11006</c:v>
                </c:pt>
                <c:pt idx="23171">
                  <c:v>34820</c:v>
                </c:pt>
                <c:pt idx="23172">
                  <c:v>26429</c:v>
                </c:pt>
                <c:pt idx="23173">
                  <c:v>31615</c:v>
                </c:pt>
                <c:pt idx="23174">
                  <c:v>11650</c:v>
                </c:pt>
                <c:pt idx="23175">
                  <c:v>18000</c:v>
                </c:pt>
                <c:pt idx="23176">
                  <c:v>24510</c:v>
                </c:pt>
                <c:pt idx="23177">
                  <c:v>24454</c:v>
                </c:pt>
                <c:pt idx="23178">
                  <c:v>9776</c:v>
                </c:pt>
                <c:pt idx="23179">
                  <c:v>4343</c:v>
                </c:pt>
                <c:pt idx="23180">
                  <c:v>13571</c:v>
                </c:pt>
                <c:pt idx="23181">
                  <c:v>26684</c:v>
                </c:pt>
                <c:pt idx="23182">
                  <c:v>23866</c:v>
                </c:pt>
                <c:pt idx="23183">
                  <c:v>27211</c:v>
                </c:pt>
                <c:pt idx="23184">
                  <c:v>25093</c:v>
                </c:pt>
                <c:pt idx="23185">
                  <c:v>17768</c:v>
                </c:pt>
                <c:pt idx="23186">
                  <c:v>21889</c:v>
                </c:pt>
                <c:pt idx="23187">
                  <c:v>25167</c:v>
                </c:pt>
                <c:pt idx="23188">
                  <c:v>41072</c:v>
                </c:pt>
                <c:pt idx="23189">
                  <c:v>14349</c:v>
                </c:pt>
                <c:pt idx="23190">
                  <c:v>18499</c:v>
                </c:pt>
                <c:pt idx="23191">
                  <c:v>14801</c:v>
                </c:pt>
                <c:pt idx="23192">
                  <c:v>31394</c:v>
                </c:pt>
                <c:pt idx="23193">
                  <c:v>14833</c:v>
                </c:pt>
                <c:pt idx="23194">
                  <c:v>17841</c:v>
                </c:pt>
                <c:pt idx="23195">
                  <c:v>31643</c:v>
                </c:pt>
                <c:pt idx="23196">
                  <c:v>23382</c:v>
                </c:pt>
                <c:pt idx="23197">
                  <c:v>14642</c:v>
                </c:pt>
                <c:pt idx="23198">
                  <c:v>22246</c:v>
                </c:pt>
                <c:pt idx="23199">
                  <c:v>16075</c:v>
                </c:pt>
                <c:pt idx="23200">
                  <c:v>48149</c:v>
                </c:pt>
                <c:pt idx="23201">
                  <c:v>7533</c:v>
                </c:pt>
                <c:pt idx="23202">
                  <c:v>37076</c:v>
                </c:pt>
                <c:pt idx="23203">
                  <c:v>9195</c:v>
                </c:pt>
                <c:pt idx="23204">
                  <c:v>1625</c:v>
                </c:pt>
                <c:pt idx="23205">
                  <c:v>22869</c:v>
                </c:pt>
                <c:pt idx="23206">
                  <c:v>27610</c:v>
                </c:pt>
                <c:pt idx="23207">
                  <c:v>26372</c:v>
                </c:pt>
                <c:pt idx="23208">
                  <c:v>23087</c:v>
                </c:pt>
                <c:pt idx="23209">
                  <c:v>7033</c:v>
                </c:pt>
                <c:pt idx="23210">
                  <c:v>38950</c:v>
                </c:pt>
                <c:pt idx="23211">
                  <c:v>32974</c:v>
                </c:pt>
                <c:pt idx="23212">
                  <c:v>17896</c:v>
                </c:pt>
                <c:pt idx="23213">
                  <c:v>29139</c:v>
                </c:pt>
                <c:pt idx="23214">
                  <c:v>31707</c:v>
                </c:pt>
                <c:pt idx="23215">
                  <c:v>26278</c:v>
                </c:pt>
                <c:pt idx="23216">
                  <c:v>26797</c:v>
                </c:pt>
                <c:pt idx="23217">
                  <c:v>19342</c:v>
                </c:pt>
                <c:pt idx="23218">
                  <c:v>4447</c:v>
                </c:pt>
                <c:pt idx="23219">
                  <c:v>20123</c:v>
                </c:pt>
                <c:pt idx="23220">
                  <c:v>16583</c:v>
                </c:pt>
                <c:pt idx="23221">
                  <c:v>25829</c:v>
                </c:pt>
                <c:pt idx="23222">
                  <c:v>19157</c:v>
                </c:pt>
                <c:pt idx="23223">
                  <c:v>15201</c:v>
                </c:pt>
                <c:pt idx="23224">
                  <c:v>19475</c:v>
                </c:pt>
                <c:pt idx="23225">
                  <c:v>14500</c:v>
                </c:pt>
                <c:pt idx="23226">
                  <c:v>18301</c:v>
                </c:pt>
                <c:pt idx="23227">
                  <c:v>10291</c:v>
                </c:pt>
                <c:pt idx="23228">
                  <c:v>13741</c:v>
                </c:pt>
                <c:pt idx="23229">
                  <c:v>23997</c:v>
                </c:pt>
                <c:pt idx="23230">
                  <c:v>10964</c:v>
                </c:pt>
                <c:pt idx="23231">
                  <c:v>33959</c:v>
                </c:pt>
                <c:pt idx="23232">
                  <c:v>267</c:v>
                </c:pt>
                <c:pt idx="23233">
                  <c:v>790</c:v>
                </c:pt>
                <c:pt idx="23234">
                  <c:v>6553</c:v>
                </c:pt>
                <c:pt idx="23235">
                  <c:v>23294</c:v>
                </c:pt>
                <c:pt idx="23236">
                  <c:v>88</c:v>
                </c:pt>
                <c:pt idx="23237">
                  <c:v>1799</c:v>
                </c:pt>
                <c:pt idx="23238">
                  <c:v>13242</c:v>
                </c:pt>
                <c:pt idx="23239">
                  <c:v>2754</c:v>
                </c:pt>
                <c:pt idx="23240">
                  <c:v>28283</c:v>
                </c:pt>
                <c:pt idx="23241">
                  <c:v>8372</c:v>
                </c:pt>
                <c:pt idx="23242">
                  <c:v>2175</c:v>
                </c:pt>
                <c:pt idx="23243">
                  <c:v>14097</c:v>
                </c:pt>
                <c:pt idx="23244">
                  <c:v>1700</c:v>
                </c:pt>
                <c:pt idx="23245">
                  <c:v>3288</c:v>
                </c:pt>
                <c:pt idx="23246">
                  <c:v>30209</c:v>
                </c:pt>
                <c:pt idx="23247">
                  <c:v>605</c:v>
                </c:pt>
                <c:pt idx="23248">
                  <c:v>8940</c:v>
                </c:pt>
                <c:pt idx="23249">
                  <c:v>3629</c:v>
                </c:pt>
                <c:pt idx="23250">
                  <c:v>8747</c:v>
                </c:pt>
                <c:pt idx="23251">
                  <c:v>2584</c:v>
                </c:pt>
                <c:pt idx="23252">
                  <c:v>1304</c:v>
                </c:pt>
                <c:pt idx="23253">
                  <c:v>10512</c:v>
                </c:pt>
                <c:pt idx="23254">
                  <c:v>5857</c:v>
                </c:pt>
                <c:pt idx="23255">
                  <c:v>1478</c:v>
                </c:pt>
                <c:pt idx="23256">
                  <c:v>10859</c:v>
                </c:pt>
                <c:pt idx="23257">
                  <c:v>3053</c:v>
                </c:pt>
                <c:pt idx="23258">
                  <c:v>2487</c:v>
                </c:pt>
                <c:pt idx="23259">
                  <c:v>26929</c:v>
                </c:pt>
                <c:pt idx="23260">
                  <c:v>31871</c:v>
                </c:pt>
                <c:pt idx="23261">
                  <c:v>2898</c:v>
                </c:pt>
                <c:pt idx="23262">
                  <c:v>219</c:v>
                </c:pt>
                <c:pt idx="23263">
                  <c:v>22463</c:v>
                </c:pt>
                <c:pt idx="23264">
                  <c:v>1296</c:v>
                </c:pt>
                <c:pt idx="23265">
                  <c:v>5742</c:v>
                </c:pt>
                <c:pt idx="23266">
                  <c:v>109</c:v>
                </c:pt>
                <c:pt idx="23267">
                  <c:v>2519</c:v>
                </c:pt>
                <c:pt idx="23268">
                  <c:v>8661</c:v>
                </c:pt>
                <c:pt idx="23269">
                  <c:v>10887</c:v>
                </c:pt>
                <c:pt idx="23270">
                  <c:v>3953</c:v>
                </c:pt>
                <c:pt idx="23271">
                  <c:v>118</c:v>
                </c:pt>
                <c:pt idx="23272">
                  <c:v>22943</c:v>
                </c:pt>
                <c:pt idx="23273">
                  <c:v>3253</c:v>
                </c:pt>
                <c:pt idx="23274">
                  <c:v>6618</c:v>
                </c:pt>
                <c:pt idx="23275">
                  <c:v>6073</c:v>
                </c:pt>
                <c:pt idx="23276">
                  <c:v>2661</c:v>
                </c:pt>
                <c:pt idx="23277">
                  <c:v>4035</c:v>
                </c:pt>
                <c:pt idx="23278">
                  <c:v>11066</c:v>
                </c:pt>
                <c:pt idx="23279">
                  <c:v>12697</c:v>
                </c:pt>
                <c:pt idx="23280">
                  <c:v>3923</c:v>
                </c:pt>
                <c:pt idx="23281">
                  <c:v>17283</c:v>
                </c:pt>
                <c:pt idx="23282">
                  <c:v>13791</c:v>
                </c:pt>
                <c:pt idx="23283">
                  <c:v>1709</c:v>
                </c:pt>
                <c:pt idx="23284">
                  <c:v>7190</c:v>
                </c:pt>
                <c:pt idx="23285">
                  <c:v>23109</c:v>
                </c:pt>
                <c:pt idx="23286">
                  <c:v>11722</c:v>
                </c:pt>
                <c:pt idx="23287">
                  <c:v>25848</c:v>
                </c:pt>
                <c:pt idx="23288">
                  <c:v>16198</c:v>
                </c:pt>
                <c:pt idx="23289">
                  <c:v>8261</c:v>
                </c:pt>
                <c:pt idx="23290">
                  <c:v>3250</c:v>
                </c:pt>
                <c:pt idx="23291">
                  <c:v>33804</c:v>
                </c:pt>
                <c:pt idx="23292">
                  <c:v>9783</c:v>
                </c:pt>
                <c:pt idx="23293">
                  <c:v>19619</c:v>
                </c:pt>
                <c:pt idx="23294">
                  <c:v>7522</c:v>
                </c:pt>
                <c:pt idx="23295">
                  <c:v>18660</c:v>
                </c:pt>
                <c:pt idx="23296">
                  <c:v>32971</c:v>
                </c:pt>
                <c:pt idx="23297">
                  <c:v>11931</c:v>
                </c:pt>
                <c:pt idx="23298">
                  <c:v>18240</c:v>
                </c:pt>
                <c:pt idx="23299">
                  <c:v>20587</c:v>
                </c:pt>
                <c:pt idx="23300">
                  <c:v>7407</c:v>
                </c:pt>
                <c:pt idx="23301">
                  <c:v>14590</c:v>
                </c:pt>
                <c:pt idx="23302">
                  <c:v>9196</c:v>
                </c:pt>
                <c:pt idx="23303">
                  <c:v>3320</c:v>
                </c:pt>
                <c:pt idx="23304">
                  <c:v>25322</c:v>
                </c:pt>
                <c:pt idx="23305">
                  <c:v>32073</c:v>
                </c:pt>
                <c:pt idx="23306">
                  <c:v>17641</c:v>
                </c:pt>
                <c:pt idx="23307">
                  <c:v>14246</c:v>
                </c:pt>
                <c:pt idx="23308">
                  <c:v>21349</c:v>
                </c:pt>
                <c:pt idx="23309">
                  <c:v>14198</c:v>
                </c:pt>
                <c:pt idx="23310">
                  <c:v>7198</c:v>
                </c:pt>
                <c:pt idx="23311">
                  <c:v>18037</c:v>
                </c:pt>
                <c:pt idx="23312">
                  <c:v>10554</c:v>
                </c:pt>
                <c:pt idx="23313">
                  <c:v>8641</c:v>
                </c:pt>
                <c:pt idx="23314">
                  <c:v>8391</c:v>
                </c:pt>
                <c:pt idx="23315">
                  <c:v>16776</c:v>
                </c:pt>
                <c:pt idx="23316">
                  <c:v>13853</c:v>
                </c:pt>
                <c:pt idx="23317">
                  <c:v>10058</c:v>
                </c:pt>
                <c:pt idx="23318">
                  <c:v>33119</c:v>
                </c:pt>
                <c:pt idx="23319">
                  <c:v>7739</c:v>
                </c:pt>
                <c:pt idx="23320">
                  <c:v>1399</c:v>
                </c:pt>
                <c:pt idx="23321">
                  <c:v>20600</c:v>
                </c:pt>
                <c:pt idx="23322">
                  <c:v>8522</c:v>
                </c:pt>
                <c:pt idx="23323">
                  <c:v>14842</c:v>
                </c:pt>
                <c:pt idx="23324">
                  <c:v>9389</c:v>
                </c:pt>
                <c:pt idx="23325">
                  <c:v>14789</c:v>
                </c:pt>
                <c:pt idx="23326">
                  <c:v>31781</c:v>
                </c:pt>
                <c:pt idx="23327">
                  <c:v>9250</c:v>
                </c:pt>
                <c:pt idx="23328">
                  <c:v>8546</c:v>
                </c:pt>
                <c:pt idx="23329">
                  <c:v>12651</c:v>
                </c:pt>
                <c:pt idx="23330">
                  <c:v>10333</c:v>
                </c:pt>
                <c:pt idx="23331">
                  <c:v>1801</c:v>
                </c:pt>
                <c:pt idx="23332">
                  <c:v>290</c:v>
                </c:pt>
                <c:pt idx="23333">
                  <c:v>268</c:v>
                </c:pt>
                <c:pt idx="23334">
                  <c:v>68</c:v>
                </c:pt>
                <c:pt idx="23335">
                  <c:v>1346</c:v>
                </c:pt>
                <c:pt idx="23336">
                  <c:v>1301</c:v>
                </c:pt>
                <c:pt idx="23337">
                  <c:v>912</c:v>
                </c:pt>
                <c:pt idx="23338">
                  <c:v>5202</c:v>
                </c:pt>
                <c:pt idx="23339">
                  <c:v>763</c:v>
                </c:pt>
                <c:pt idx="23340">
                  <c:v>1251</c:v>
                </c:pt>
                <c:pt idx="23341">
                  <c:v>1374</c:v>
                </c:pt>
                <c:pt idx="23342">
                  <c:v>1634</c:v>
                </c:pt>
                <c:pt idx="23343">
                  <c:v>1508</c:v>
                </c:pt>
                <c:pt idx="23344">
                  <c:v>5001</c:v>
                </c:pt>
                <c:pt idx="23345">
                  <c:v>579</c:v>
                </c:pt>
                <c:pt idx="23346">
                  <c:v>1416</c:v>
                </c:pt>
                <c:pt idx="23347">
                  <c:v>1317</c:v>
                </c:pt>
                <c:pt idx="23348">
                  <c:v>424</c:v>
                </c:pt>
                <c:pt idx="23349">
                  <c:v>843</c:v>
                </c:pt>
                <c:pt idx="23350">
                  <c:v>446</c:v>
                </c:pt>
                <c:pt idx="23351">
                  <c:v>453</c:v>
                </c:pt>
                <c:pt idx="23352">
                  <c:v>533</c:v>
                </c:pt>
                <c:pt idx="23353">
                  <c:v>2636</c:v>
                </c:pt>
                <c:pt idx="23354">
                  <c:v>4252</c:v>
                </c:pt>
                <c:pt idx="23355">
                  <c:v>1219</c:v>
                </c:pt>
                <c:pt idx="23356">
                  <c:v>452</c:v>
                </c:pt>
                <c:pt idx="23357">
                  <c:v>298</c:v>
                </c:pt>
                <c:pt idx="23358">
                  <c:v>454</c:v>
                </c:pt>
                <c:pt idx="23359">
                  <c:v>210</c:v>
                </c:pt>
                <c:pt idx="23360">
                  <c:v>597</c:v>
                </c:pt>
                <c:pt idx="23361">
                  <c:v>2050</c:v>
                </c:pt>
                <c:pt idx="23362">
                  <c:v>1143</c:v>
                </c:pt>
                <c:pt idx="23363">
                  <c:v>7570</c:v>
                </c:pt>
                <c:pt idx="23364">
                  <c:v>11818</c:v>
                </c:pt>
                <c:pt idx="23365">
                  <c:v>2841</c:v>
                </c:pt>
                <c:pt idx="23366">
                  <c:v>2974</c:v>
                </c:pt>
                <c:pt idx="23367">
                  <c:v>11383</c:v>
                </c:pt>
                <c:pt idx="23368">
                  <c:v>4682</c:v>
                </c:pt>
                <c:pt idx="23369">
                  <c:v>433</c:v>
                </c:pt>
                <c:pt idx="23370">
                  <c:v>152</c:v>
                </c:pt>
                <c:pt idx="23371">
                  <c:v>115</c:v>
                </c:pt>
                <c:pt idx="23372">
                  <c:v>849</c:v>
                </c:pt>
                <c:pt idx="23373">
                  <c:v>1879</c:v>
                </c:pt>
                <c:pt idx="23374">
                  <c:v>1673</c:v>
                </c:pt>
                <c:pt idx="23375">
                  <c:v>6896</c:v>
                </c:pt>
                <c:pt idx="23376">
                  <c:v>476</c:v>
                </c:pt>
                <c:pt idx="23377">
                  <c:v>286</c:v>
                </c:pt>
                <c:pt idx="23378">
                  <c:v>1104</c:v>
                </c:pt>
                <c:pt idx="23379">
                  <c:v>620</c:v>
                </c:pt>
                <c:pt idx="23380">
                  <c:v>162</c:v>
                </c:pt>
                <c:pt idx="23381">
                  <c:v>12028</c:v>
                </c:pt>
                <c:pt idx="23382">
                  <c:v>1332</c:v>
                </c:pt>
                <c:pt idx="23383">
                  <c:v>636</c:v>
                </c:pt>
                <c:pt idx="23384">
                  <c:v>319</c:v>
                </c:pt>
                <c:pt idx="23385">
                  <c:v>407</c:v>
                </c:pt>
                <c:pt idx="23386">
                  <c:v>1661</c:v>
                </c:pt>
                <c:pt idx="23387">
                  <c:v>2246</c:v>
                </c:pt>
                <c:pt idx="23388">
                  <c:v>141</c:v>
                </c:pt>
                <c:pt idx="23389">
                  <c:v>291</c:v>
                </c:pt>
                <c:pt idx="23390">
                  <c:v>4017</c:v>
                </c:pt>
                <c:pt idx="23391">
                  <c:v>4517</c:v>
                </c:pt>
                <c:pt idx="23392">
                  <c:v>1533</c:v>
                </c:pt>
                <c:pt idx="23393">
                  <c:v>1453</c:v>
                </c:pt>
                <c:pt idx="23394">
                  <c:v>13919</c:v>
                </c:pt>
                <c:pt idx="23395">
                  <c:v>12377</c:v>
                </c:pt>
                <c:pt idx="23396">
                  <c:v>407</c:v>
                </c:pt>
                <c:pt idx="23397">
                  <c:v>4592</c:v>
                </c:pt>
                <c:pt idx="23398">
                  <c:v>835</c:v>
                </c:pt>
                <c:pt idx="23399">
                  <c:v>458</c:v>
                </c:pt>
                <c:pt idx="23400">
                  <c:v>503</c:v>
                </c:pt>
                <c:pt idx="23401">
                  <c:v>733</c:v>
                </c:pt>
                <c:pt idx="23402">
                  <c:v>1923</c:v>
                </c:pt>
                <c:pt idx="23403">
                  <c:v>485</c:v>
                </c:pt>
                <c:pt idx="23404">
                  <c:v>2034</c:v>
                </c:pt>
                <c:pt idx="23405">
                  <c:v>1061</c:v>
                </c:pt>
                <c:pt idx="23406">
                  <c:v>170</c:v>
                </c:pt>
                <c:pt idx="23407">
                  <c:v>1678</c:v>
                </c:pt>
                <c:pt idx="23408">
                  <c:v>1230</c:v>
                </c:pt>
                <c:pt idx="23409">
                  <c:v>1920</c:v>
                </c:pt>
                <c:pt idx="23410">
                  <c:v>3774</c:v>
                </c:pt>
                <c:pt idx="23411">
                  <c:v>1016</c:v>
                </c:pt>
                <c:pt idx="23412">
                  <c:v>1387</c:v>
                </c:pt>
                <c:pt idx="23413">
                  <c:v>425</c:v>
                </c:pt>
                <c:pt idx="23414">
                  <c:v>6750</c:v>
                </c:pt>
                <c:pt idx="23415">
                  <c:v>9240</c:v>
                </c:pt>
                <c:pt idx="23416">
                  <c:v>2931</c:v>
                </c:pt>
                <c:pt idx="23417">
                  <c:v>13245</c:v>
                </c:pt>
                <c:pt idx="23418">
                  <c:v>17060</c:v>
                </c:pt>
                <c:pt idx="23419">
                  <c:v>781</c:v>
                </c:pt>
                <c:pt idx="23420">
                  <c:v>1188</c:v>
                </c:pt>
                <c:pt idx="23421">
                  <c:v>5701</c:v>
                </c:pt>
                <c:pt idx="23422">
                  <c:v>2019</c:v>
                </c:pt>
                <c:pt idx="23423">
                  <c:v>965</c:v>
                </c:pt>
                <c:pt idx="23424">
                  <c:v>2594</c:v>
                </c:pt>
                <c:pt idx="23425">
                  <c:v>854</c:v>
                </c:pt>
                <c:pt idx="23426">
                  <c:v>4287</c:v>
                </c:pt>
                <c:pt idx="23427">
                  <c:v>4318</c:v>
                </c:pt>
                <c:pt idx="23428">
                  <c:v>5005</c:v>
                </c:pt>
                <c:pt idx="23429">
                  <c:v>557</c:v>
                </c:pt>
                <c:pt idx="23430">
                  <c:v>4202</c:v>
                </c:pt>
                <c:pt idx="23431">
                  <c:v>881</c:v>
                </c:pt>
                <c:pt idx="23432">
                  <c:v>4637</c:v>
                </c:pt>
                <c:pt idx="23433">
                  <c:v>5877</c:v>
                </c:pt>
                <c:pt idx="23434">
                  <c:v>1631</c:v>
                </c:pt>
                <c:pt idx="23435">
                  <c:v>2788</c:v>
                </c:pt>
                <c:pt idx="23436">
                  <c:v>881</c:v>
                </c:pt>
                <c:pt idx="23437">
                  <c:v>10850</c:v>
                </c:pt>
                <c:pt idx="23438">
                  <c:v>634</c:v>
                </c:pt>
                <c:pt idx="23439">
                  <c:v>738</c:v>
                </c:pt>
                <c:pt idx="23440">
                  <c:v>193</c:v>
                </c:pt>
                <c:pt idx="23441">
                  <c:v>7218</c:v>
                </c:pt>
                <c:pt idx="23442">
                  <c:v>7090</c:v>
                </c:pt>
                <c:pt idx="23443">
                  <c:v>1123</c:v>
                </c:pt>
                <c:pt idx="23444">
                  <c:v>233</c:v>
                </c:pt>
                <c:pt idx="23445">
                  <c:v>1480</c:v>
                </c:pt>
                <c:pt idx="23446">
                  <c:v>2655</c:v>
                </c:pt>
                <c:pt idx="23447">
                  <c:v>5364</c:v>
                </c:pt>
                <c:pt idx="23448">
                  <c:v>2139</c:v>
                </c:pt>
                <c:pt idx="23449">
                  <c:v>1756</c:v>
                </c:pt>
                <c:pt idx="23450">
                  <c:v>2920</c:v>
                </c:pt>
                <c:pt idx="23451">
                  <c:v>16805</c:v>
                </c:pt>
                <c:pt idx="23452">
                  <c:v>11890</c:v>
                </c:pt>
                <c:pt idx="23453">
                  <c:v>20811</c:v>
                </c:pt>
                <c:pt idx="23454">
                  <c:v>4236</c:v>
                </c:pt>
                <c:pt idx="23455">
                  <c:v>4446</c:v>
                </c:pt>
                <c:pt idx="23456">
                  <c:v>6719</c:v>
                </c:pt>
                <c:pt idx="23457">
                  <c:v>4579</c:v>
                </c:pt>
                <c:pt idx="23458">
                  <c:v>2400</c:v>
                </c:pt>
                <c:pt idx="23459">
                  <c:v>1549</c:v>
                </c:pt>
                <c:pt idx="23460">
                  <c:v>7041</c:v>
                </c:pt>
                <c:pt idx="23461">
                  <c:v>3019</c:v>
                </c:pt>
                <c:pt idx="23462">
                  <c:v>3589</c:v>
                </c:pt>
                <c:pt idx="23463">
                  <c:v>1941</c:v>
                </c:pt>
                <c:pt idx="23464">
                  <c:v>2188</c:v>
                </c:pt>
                <c:pt idx="23465">
                  <c:v>5567</c:v>
                </c:pt>
                <c:pt idx="23466">
                  <c:v>3567</c:v>
                </c:pt>
                <c:pt idx="23467">
                  <c:v>909</c:v>
                </c:pt>
                <c:pt idx="23468">
                  <c:v>6738</c:v>
                </c:pt>
                <c:pt idx="23469">
                  <c:v>2426</c:v>
                </c:pt>
                <c:pt idx="23470">
                  <c:v>116</c:v>
                </c:pt>
                <c:pt idx="23471">
                  <c:v>2610</c:v>
                </c:pt>
                <c:pt idx="23472">
                  <c:v>10583</c:v>
                </c:pt>
                <c:pt idx="23473">
                  <c:v>984</c:v>
                </c:pt>
                <c:pt idx="23474">
                  <c:v>9144</c:v>
                </c:pt>
                <c:pt idx="23475">
                  <c:v>5240</c:v>
                </c:pt>
                <c:pt idx="23476">
                  <c:v>943</c:v>
                </c:pt>
                <c:pt idx="23477">
                  <c:v>196</c:v>
                </c:pt>
                <c:pt idx="23478">
                  <c:v>3073</c:v>
                </c:pt>
                <c:pt idx="23479">
                  <c:v>298</c:v>
                </c:pt>
                <c:pt idx="23480">
                  <c:v>3581</c:v>
                </c:pt>
                <c:pt idx="23481">
                  <c:v>3901</c:v>
                </c:pt>
                <c:pt idx="23482">
                  <c:v>1543</c:v>
                </c:pt>
                <c:pt idx="23483">
                  <c:v>7079</c:v>
                </c:pt>
                <c:pt idx="23484">
                  <c:v>1157</c:v>
                </c:pt>
                <c:pt idx="23485">
                  <c:v>7881</c:v>
                </c:pt>
                <c:pt idx="23486">
                  <c:v>5662</c:v>
                </c:pt>
                <c:pt idx="23487">
                  <c:v>1876</c:v>
                </c:pt>
                <c:pt idx="23488">
                  <c:v>813</c:v>
                </c:pt>
                <c:pt idx="23489">
                  <c:v>4036</c:v>
                </c:pt>
                <c:pt idx="23490">
                  <c:v>150</c:v>
                </c:pt>
                <c:pt idx="23491">
                  <c:v>2414</c:v>
                </c:pt>
                <c:pt idx="23492">
                  <c:v>2536</c:v>
                </c:pt>
                <c:pt idx="23493">
                  <c:v>2133</c:v>
                </c:pt>
                <c:pt idx="23494">
                  <c:v>849</c:v>
                </c:pt>
                <c:pt idx="23495">
                  <c:v>1041</c:v>
                </c:pt>
                <c:pt idx="23496">
                  <c:v>532</c:v>
                </c:pt>
                <c:pt idx="23497">
                  <c:v>35</c:v>
                </c:pt>
                <c:pt idx="23498">
                  <c:v>846</c:v>
                </c:pt>
                <c:pt idx="23499">
                  <c:v>372</c:v>
                </c:pt>
                <c:pt idx="23500">
                  <c:v>310</c:v>
                </c:pt>
                <c:pt idx="23501">
                  <c:v>1046</c:v>
                </c:pt>
                <c:pt idx="23502">
                  <c:v>799</c:v>
                </c:pt>
                <c:pt idx="23503">
                  <c:v>2089</c:v>
                </c:pt>
                <c:pt idx="23504">
                  <c:v>829</c:v>
                </c:pt>
                <c:pt idx="23505">
                  <c:v>3199</c:v>
                </c:pt>
                <c:pt idx="23506">
                  <c:v>12480</c:v>
                </c:pt>
                <c:pt idx="23507">
                  <c:v>15089</c:v>
                </c:pt>
                <c:pt idx="23508">
                  <c:v>1454</c:v>
                </c:pt>
                <c:pt idx="23509">
                  <c:v>472</c:v>
                </c:pt>
                <c:pt idx="23510">
                  <c:v>271</c:v>
                </c:pt>
                <c:pt idx="23511">
                  <c:v>517</c:v>
                </c:pt>
                <c:pt idx="23512">
                  <c:v>434</c:v>
                </c:pt>
                <c:pt idx="23513">
                  <c:v>658</c:v>
                </c:pt>
                <c:pt idx="23514">
                  <c:v>403</c:v>
                </c:pt>
                <c:pt idx="23515">
                  <c:v>620</c:v>
                </c:pt>
                <c:pt idx="23516">
                  <c:v>5072</c:v>
                </c:pt>
                <c:pt idx="23517">
                  <c:v>294</c:v>
                </c:pt>
                <c:pt idx="23518">
                  <c:v>525</c:v>
                </c:pt>
                <c:pt idx="23519">
                  <c:v>844</c:v>
                </c:pt>
                <c:pt idx="23520">
                  <c:v>2157</c:v>
                </c:pt>
                <c:pt idx="23521">
                  <c:v>2919</c:v>
                </c:pt>
                <c:pt idx="23522">
                  <c:v>507</c:v>
                </c:pt>
                <c:pt idx="23523">
                  <c:v>298</c:v>
                </c:pt>
                <c:pt idx="23524">
                  <c:v>1462</c:v>
                </c:pt>
                <c:pt idx="23525">
                  <c:v>1570</c:v>
                </c:pt>
                <c:pt idx="23526">
                  <c:v>3313</c:v>
                </c:pt>
                <c:pt idx="23527">
                  <c:v>5529</c:v>
                </c:pt>
                <c:pt idx="23528">
                  <c:v>1056</c:v>
                </c:pt>
                <c:pt idx="23529">
                  <c:v>2769</c:v>
                </c:pt>
                <c:pt idx="23530">
                  <c:v>223</c:v>
                </c:pt>
                <c:pt idx="23531">
                  <c:v>326</c:v>
                </c:pt>
                <c:pt idx="23532">
                  <c:v>7306</c:v>
                </c:pt>
                <c:pt idx="23533">
                  <c:v>7506</c:v>
                </c:pt>
                <c:pt idx="23534">
                  <c:v>8549</c:v>
                </c:pt>
                <c:pt idx="23535">
                  <c:v>1672</c:v>
                </c:pt>
                <c:pt idx="23536">
                  <c:v>717</c:v>
                </c:pt>
                <c:pt idx="23537">
                  <c:v>1694</c:v>
                </c:pt>
                <c:pt idx="23538">
                  <c:v>2178</c:v>
                </c:pt>
                <c:pt idx="23539">
                  <c:v>1125</c:v>
                </c:pt>
                <c:pt idx="23540">
                  <c:v>1115</c:v>
                </c:pt>
                <c:pt idx="23541">
                  <c:v>1703</c:v>
                </c:pt>
                <c:pt idx="23542">
                  <c:v>422</c:v>
                </c:pt>
                <c:pt idx="23543">
                  <c:v>118</c:v>
                </c:pt>
                <c:pt idx="23544">
                  <c:v>3516</c:v>
                </c:pt>
                <c:pt idx="23545">
                  <c:v>891</c:v>
                </c:pt>
                <c:pt idx="23546">
                  <c:v>17191</c:v>
                </c:pt>
                <c:pt idx="23547">
                  <c:v>17758</c:v>
                </c:pt>
                <c:pt idx="23548">
                  <c:v>2180</c:v>
                </c:pt>
                <c:pt idx="23549">
                  <c:v>14895</c:v>
                </c:pt>
                <c:pt idx="23550">
                  <c:v>10717</c:v>
                </c:pt>
                <c:pt idx="23551">
                  <c:v>8982</c:v>
                </c:pt>
                <c:pt idx="23552">
                  <c:v>24067</c:v>
                </c:pt>
                <c:pt idx="23553">
                  <c:v>11798</c:v>
                </c:pt>
                <c:pt idx="23554">
                  <c:v>14008</c:v>
                </c:pt>
                <c:pt idx="23555">
                  <c:v>17368</c:v>
                </c:pt>
                <c:pt idx="23556">
                  <c:v>15460</c:v>
                </c:pt>
                <c:pt idx="23557">
                  <c:v>9011</c:v>
                </c:pt>
                <c:pt idx="23558">
                  <c:v>14826</c:v>
                </c:pt>
                <c:pt idx="23559">
                  <c:v>24566</c:v>
                </c:pt>
                <c:pt idx="23560">
                  <c:v>15521</c:v>
                </c:pt>
                <c:pt idx="23561">
                  <c:v>14987</c:v>
                </c:pt>
                <c:pt idx="23562">
                  <c:v>18568</c:v>
                </c:pt>
                <c:pt idx="23563">
                  <c:v>7500</c:v>
                </c:pt>
                <c:pt idx="23564">
                  <c:v>3660</c:v>
                </c:pt>
                <c:pt idx="23565">
                  <c:v>36000</c:v>
                </c:pt>
                <c:pt idx="23566">
                  <c:v>7873</c:v>
                </c:pt>
                <c:pt idx="23567">
                  <c:v>11713</c:v>
                </c:pt>
                <c:pt idx="23568">
                  <c:v>12327</c:v>
                </c:pt>
                <c:pt idx="23569">
                  <c:v>1422</c:v>
                </c:pt>
                <c:pt idx="23570">
                  <c:v>13850</c:v>
                </c:pt>
                <c:pt idx="23571">
                  <c:v>23870</c:v>
                </c:pt>
                <c:pt idx="23572">
                  <c:v>16139</c:v>
                </c:pt>
                <c:pt idx="23573">
                  <c:v>174</c:v>
                </c:pt>
                <c:pt idx="23574">
                  <c:v>3194</c:v>
                </c:pt>
                <c:pt idx="23575">
                  <c:v>3036</c:v>
                </c:pt>
                <c:pt idx="23576">
                  <c:v>10544</c:v>
                </c:pt>
                <c:pt idx="23577">
                  <c:v>12715</c:v>
                </c:pt>
                <c:pt idx="23578">
                  <c:v>3341</c:v>
                </c:pt>
                <c:pt idx="23579">
                  <c:v>28783</c:v>
                </c:pt>
                <c:pt idx="23580">
                  <c:v>13867</c:v>
                </c:pt>
                <c:pt idx="23581">
                  <c:v>14982</c:v>
                </c:pt>
                <c:pt idx="23582">
                  <c:v>6419</c:v>
                </c:pt>
                <c:pt idx="23583">
                  <c:v>1350</c:v>
                </c:pt>
                <c:pt idx="23584">
                  <c:v>9798</c:v>
                </c:pt>
                <c:pt idx="23585">
                  <c:v>2237</c:v>
                </c:pt>
                <c:pt idx="23586">
                  <c:v>4466</c:v>
                </c:pt>
                <c:pt idx="23587">
                  <c:v>38044</c:v>
                </c:pt>
                <c:pt idx="23588">
                  <c:v>900</c:v>
                </c:pt>
                <c:pt idx="23589">
                  <c:v>20364</c:v>
                </c:pt>
                <c:pt idx="23590">
                  <c:v>1628</c:v>
                </c:pt>
                <c:pt idx="23591">
                  <c:v>8374</c:v>
                </c:pt>
                <c:pt idx="23592">
                  <c:v>1901</c:v>
                </c:pt>
                <c:pt idx="23593">
                  <c:v>3295</c:v>
                </c:pt>
                <c:pt idx="23594">
                  <c:v>4201</c:v>
                </c:pt>
                <c:pt idx="23595">
                  <c:v>9890</c:v>
                </c:pt>
                <c:pt idx="23596">
                  <c:v>4298</c:v>
                </c:pt>
                <c:pt idx="23597">
                  <c:v>5480</c:v>
                </c:pt>
                <c:pt idx="23598">
                  <c:v>9722</c:v>
                </c:pt>
                <c:pt idx="23599">
                  <c:v>13532</c:v>
                </c:pt>
                <c:pt idx="23600">
                  <c:v>6735</c:v>
                </c:pt>
                <c:pt idx="23601">
                  <c:v>13505</c:v>
                </c:pt>
                <c:pt idx="23602">
                  <c:v>1405</c:v>
                </c:pt>
                <c:pt idx="23603">
                  <c:v>3812</c:v>
                </c:pt>
                <c:pt idx="23604">
                  <c:v>7513</c:v>
                </c:pt>
                <c:pt idx="23605">
                  <c:v>7869</c:v>
                </c:pt>
                <c:pt idx="23606">
                  <c:v>9091</c:v>
                </c:pt>
                <c:pt idx="23607">
                  <c:v>16357</c:v>
                </c:pt>
                <c:pt idx="23608">
                  <c:v>17032</c:v>
                </c:pt>
                <c:pt idx="23609">
                  <c:v>20684</c:v>
                </c:pt>
                <c:pt idx="23610">
                  <c:v>12173</c:v>
                </c:pt>
                <c:pt idx="23611">
                  <c:v>15216</c:v>
                </c:pt>
                <c:pt idx="23612">
                  <c:v>10309</c:v>
                </c:pt>
                <c:pt idx="23613">
                  <c:v>19972</c:v>
                </c:pt>
                <c:pt idx="23614">
                  <c:v>12871</c:v>
                </c:pt>
                <c:pt idx="23615">
                  <c:v>8565</c:v>
                </c:pt>
                <c:pt idx="23616">
                  <c:v>23859</c:v>
                </c:pt>
                <c:pt idx="23617">
                  <c:v>14717</c:v>
                </c:pt>
                <c:pt idx="23618">
                  <c:v>9096</c:v>
                </c:pt>
                <c:pt idx="23619">
                  <c:v>19002</c:v>
                </c:pt>
                <c:pt idx="23620">
                  <c:v>11053</c:v>
                </c:pt>
                <c:pt idx="23621">
                  <c:v>18578</c:v>
                </c:pt>
                <c:pt idx="23622">
                  <c:v>11843</c:v>
                </c:pt>
                <c:pt idx="23623">
                  <c:v>23714</c:v>
                </c:pt>
                <c:pt idx="23624">
                  <c:v>13946</c:v>
                </c:pt>
                <c:pt idx="23625">
                  <c:v>24271</c:v>
                </c:pt>
                <c:pt idx="23626">
                  <c:v>13046</c:v>
                </c:pt>
                <c:pt idx="23627">
                  <c:v>9604</c:v>
                </c:pt>
                <c:pt idx="23628">
                  <c:v>33601</c:v>
                </c:pt>
                <c:pt idx="23629">
                  <c:v>13709</c:v>
                </c:pt>
                <c:pt idx="23630">
                  <c:v>12770</c:v>
                </c:pt>
                <c:pt idx="23631">
                  <c:v>6582</c:v>
                </c:pt>
                <c:pt idx="23632">
                  <c:v>11080</c:v>
                </c:pt>
                <c:pt idx="23633">
                  <c:v>36346</c:v>
                </c:pt>
                <c:pt idx="23634">
                  <c:v>19541</c:v>
                </c:pt>
                <c:pt idx="23635">
                  <c:v>15953</c:v>
                </c:pt>
                <c:pt idx="23636">
                  <c:v>15643</c:v>
                </c:pt>
                <c:pt idx="23637">
                  <c:v>11287</c:v>
                </c:pt>
                <c:pt idx="23638">
                  <c:v>7311</c:v>
                </c:pt>
                <c:pt idx="23639">
                  <c:v>12318</c:v>
                </c:pt>
                <c:pt idx="23640">
                  <c:v>14358</c:v>
                </c:pt>
                <c:pt idx="23641">
                  <c:v>24425</c:v>
                </c:pt>
                <c:pt idx="23642">
                  <c:v>1810</c:v>
                </c:pt>
                <c:pt idx="23643">
                  <c:v>16868</c:v>
                </c:pt>
                <c:pt idx="23644">
                  <c:v>22734</c:v>
                </c:pt>
                <c:pt idx="23645">
                  <c:v>525</c:v>
                </c:pt>
                <c:pt idx="23646">
                  <c:v>4127</c:v>
                </c:pt>
                <c:pt idx="23647">
                  <c:v>1687</c:v>
                </c:pt>
                <c:pt idx="23648">
                  <c:v>9322</c:v>
                </c:pt>
                <c:pt idx="23649">
                  <c:v>186</c:v>
                </c:pt>
                <c:pt idx="23650">
                  <c:v>481</c:v>
                </c:pt>
                <c:pt idx="23651">
                  <c:v>13805</c:v>
                </c:pt>
                <c:pt idx="23652">
                  <c:v>37784</c:v>
                </c:pt>
                <c:pt idx="23653">
                  <c:v>500</c:v>
                </c:pt>
                <c:pt idx="23654">
                  <c:v>8359</c:v>
                </c:pt>
                <c:pt idx="23655">
                  <c:v>20218</c:v>
                </c:pt>
                <c:pt idx="23656">
                  <c:v>5080</c:v>
                </c:pt>
                <c:pt idx="23657">
                  <c:v>480</c:v>
                </c:pt>
                <c:pt idx="23658">
                  <c:v>238</c:v>
                </c:pt>
                <c:pt idx="23659">
                  <c:v>1348</c:v>
                </c:pt>
                <c:pt idx="23660">
                  <c:v>1971</c:v>
                </c:pt>
                <c:pt idx="23661">
                  <c:v>3549</c:v>
                </c:pt>
                <c:pt idx="23662">
                  <c:v>2847</c:v>
                </c:pt>
                <c:pt idx="23663">
                  <c:v>74</c:v>
                </c:pt>
                <c:pt idx="23664">
                  <c:v>20312</c:v>
                </c:pt>
                <c:pt idx="23665">
                  <c:v>653</c:v>
                </c:pt>
                <c:pt idx="23666">
                  <c:v>674</c:v>
                </c:pt>
                <c:pt idx="23667">
                  <c:v>9666</c:v>
                </c:pt>
                <c:pt idx="23668">
                  <c:v>816</c:v>
                </c:pt>
                <c:pt idx="23669">
                  <c:v>1017</c:v>
                </c:pt>
                <c:pt idx="23670">
                  <c:v>2344</c:v>
                </c:pt>
                <c:pt idx="23671">
                  <c:v>4728</c:v>
                </c:pt>
                <c:pt idx="23672">
                  <c:v>6015</c:v>
                </c:pt>
                <c:pt idx="23673">
                  <c:v>5277</c:v>
                </c:pt>
                <c:pt idx="23674">
                  <c:v>2062</c:v>
                </c:pt>
                <c:pt idx="23675">
                  <c:v>5973</c:v>
                </c:pt>
                <c:pt idx="23676">
                  <c:v>10473</c:v>
                </c:pt>
                <c:pt idx="23677">
                  <c:v>6731</c:v>
                </c:pt>
                <c:pt idx="23678">
                  <c:v>9873</c:v>
                </c:pt>
                <c:pt idx="23679">
                  <c:v>787</c:v>
                </c:pt>
                <c:pt idx="23680">
                  <c:v>5334</c:v>
                </c:pt>
                <c:pt idx="23681">
                  <c:v>215</c:v>
                </c:pt>
                <c:pt idx="23682">
                  <c:v>1100</c:v>
                </c:pt>
                <c:pt idx="23683">
                  <c:v>104</c:v>
                </c:pt>
                <c:pt idx="23684">
                  <c:v>1943</c:v>
                </c:pt>
                <c:pt idx="23685">
                  <c:v>854</c:v>
                </c:pt>
                <c:pt idx="23686">
                  <c:v>4878</c:v>
                </c:pt>
                <c:pt idx="23687">
                  <c:v>231</c:v>
                </c:pt>
                <c:pt idx="23688">
                  <c:v>706</c:v>
                </c:pt>
                <c:pt idx="23689">
                  <c:v>377</c:v>
                </c:pt>
                <c:pt idx="23690">
                  <c:v>1385</c:v>
                </c:pt>
                <c:pt idx="23691">
                  <c:v>149</c:v>
                </c:pt>
                <c:pt idx="23692">
                  <c:v>334</c:v>
                </c:pt>
                <c:pt idx="23693">
                  <c:v>1350</c:v>
                </c:pt>
                <c:pt idx="23694">
                  <c:v>5439</c:v>
                </c:pt>
                <c:pt idx="23695">
                  <c:v>123</c:v>
                </c:pt>
                <c:pt idx="23696">
                  <c:v>782</c:v>
                </c:pt>
                <c:pt idx="23697">
                  <c:v>13500</c:v>
                </c:pt>
                <c:pt idx="23698">
                  <c:v>3403</c:v>
                </c:pt>
                <c:pt idx="23699">
                  <c:v>5244</c:v>
                </c:pt>
                <c:pt idx="23700">
                  <c:v>374</c:v>
                </c:pt>
                <c:pt idx="23701">
                  <c:v>1020</c:v>
                </c:pt>
                <c:pt idx="23702">
                  <c:v>1627</c:v>
                </c:pt>
                <c:pt idx="23703">
                  <c:v>432</c:v>
                </c:pt>
                <c:pt idx="23704">
                  <c:v>833</c:v>
                </c:pt>
                <c:pt idx="23705">
                  <c:v>185</c:v>
                </c:pt>
                <c:pt idx="23706">
                  <c:v>2430</c:v>
                </c:pt>
                <c:pt idx="23707">
                  <c:v>3160</c:v>
                </c:pt>
                <c:pt idx="23708">
                  <c:v>652</c:v>
                </c:pt>
                <c:pt idx="23709">
                  <c:v>1707</c:v>
                </c:pt>
                <c:pt idx="23710">
                  <c:v>4403</c:v>
                </c:pt>
                <c:pt idx="23711">
                  <c:v>1750</c:v>
                </c:pt>
                <c:pt idx="23712">
                  <c:v>1060</c:v>
                </c:pt>
                <c:pt idx="23713">
                  <c:v>5833</c:v>
                </c:pt>
                <c:pt idx="23714">
                  <c:v>561</c:v>
                </c:pt>
                <c:pt idx="23715">
                  <c:v>631</c:v>
                </c:pt>
                <c:pt idx="23716">
                  <c:v>405</c:v>
                </c:pt>
                <c:pt idx="23717">
                  <c:v>1651</c:v>
                </c:pt>
                <c:pt idx="23718">
                  <c:v>1998</c:v>
                </c:pt>
                <c:pt idx="23719">
                  <c:v>217</c:v>
                </c:pt>
                <c:pt idx="23720">
                  <c:v>2300</c:v>
                </c:pt>
                <c:pt idx="23721">
                  <c:v>272</c:v>
                </c:pt>
                <c:pt idx="23722">
                  <c:v>178</c:v>
                </c:pt>
                <c:pt idx="23723">
                  <c:v>1399</c:v>
                </c:pt>
                <c:pt idx="23724">
                  <c:v>575</c:v>
                </c:pt>
                <c:pt idx="23725">
                  <c:v>668</c:v>
                </c:pt>
                <c:pt idx="23726">
                  <c:v>61</c:v>
                </c:pt>
                <c:pt idx="23727">
                  <c:v>371</c:v>
                </c:pt>
                <c:pt idx="23728">
                  <c:v>1435</c:v>
                </c:pt>
                <c:pt idx="23729">
                  <c:v>446</c:v>
                </c:pt>
                <c:pt idx="23730">
                  <c:v>226</c:v>
                </c:pt>
                <c:pt idx="23731">
                  <c:v>165</c:v>
                </c:pt>
                <c:pt idx="23732">
                  <c:v>542</c:v>
                </c:pt>
                <c:pt idx="23733">
                  <c:v>1247</c:v>
                </c:pt>
                <c:pt idx="23734">
                  <c:v>214</c:v>
                </c:pt>
                <c:pt idx="23735">
                  <c:v>6709</c:v>
                </c:pt>
                <c:pt idx="23736">
                  <c:v>19400</c:v>
                </c:pt>
                <c:pt idx="23737">
                  <c:v>10295</c:v>
                </c:pt>
                <c:pt idx="23738">
                  <c:v>1101</c:v>
                </c:pt>
                <c:pt idx="23739">
                  <c:v>19200</c:v>
                </c:pt>
                <c:pt idx="23740">
                  <c:v>517</c:v>
                </c:pt>
                <c:pt idx="23741">
                  <c:v>2648</c:v>
                </c:pt>
                <c:pt idx="23742">
                  <c:v>17897</c:v>
                </c:pt>
                <c:pt idx="23743">
                  <c:v>1695</c:v>
                </c:pt>
                <c:pt idx="23744">
                  <c:v>453</c:v>
                </c:pt>
                <c:pt idx="23745">
                  <c:v>1883</c:v>
                </c:pt>
                <c:pt idx="23746">
                  <c:v>7147</c:v>
                </c:pt>
                <c:pt idx="23747">
                  <c:v>1085</c:v>
                </c:pt>
                <c:pt idx="23748">
                  <c:v>1832</c:v>
                </c:pt>
                <c:pt idx="23749">
                  <c:v>1299</c:v>
                </c:pt>
                <c:pt idx="23750">
                  <c:v>5625</c:v>
                </c:pt>
                <c:pt idx="23751">
                  <c:v>469</c:v>
                </c:pt>
                <c:pt idx="23752">
                  <c:v>3185</c:v>
                </c:pt>
                <c:pt idx="23753">
                  <c:v>7549</c:v>
                </c:pt>
                <c:pt idx="23754">
                  <c:v>23270</c:v>
                </c:pt>
                <c:pt idx="23755">
                  <c:v>15048</c:v>
                </c:pt>
                <c:pt idx="23756">
                  <c:v>15250</c:v>
                </c:pt>
                <c:pt idx="23757">
                  <c:v>22596</c:v>
                </c:pt>
                <c:pt idx="23758">
                  <c:v>5696</c:v>
                </c:pt>
                <c:pt idx="23759">
                  <c:v>1151</c:v>
                </c:pt>
                <c:pt idx="23760">
                  <c:v>841</c:v>
                </c:pt>
                <c:pt idx="23761">
                  <c:v>2905</c:v>
                </c:pt>
                <c:pt idx="23762">
                  <c:v>3114</c:v>
                </c:pt>
                <c:pt idx="23763">
                  <c:v>553</c:v>
                </c:pt>
                <c:pt idx="23764">
                  <c:v>94</c:v>
                </c:pt>
                <c:pt idx="23765">
                  <c:v>3938</c:v>
                </c:pt>
                <c:pt idx="23766">
                  <c:v>1412</c:v>
                </c:pt>
                <c:pt idx="23767">
                  <c:v>952</c:v>
                </c:pt>
                <c:pt idx="23768">
                  <c:v>4119</c:v>
                </c:pt>
                <c:pt idx="23769">
                  <c:v>8596</c:v>
                </c:pt>
                <c:pt idx="23770">
                  <c:v>1496</c:v>
                </c:pt>
                <c:pt idx="23771">
                  <c:v>642</c:v>
                </c:pt>
                <c:pt idx="23772">
                  <c:v>2621</c:v>
                </c:pt>
                <c:pt idx="23773">
                  <c:v>520</c:v>
                </c:pt>
                <c:pt idx="23774">
                  <c:v>807</c:v>
                </c:pt>
                <c:pt idx="23775">
                  <c:v>902</c:v>
                </c:pt>
                <c:pt idx="23776">
                  <c:v>584</c:v>
                </c:pt>
                <c:pt idx="23777">
                  <c:v>849</c:v>
                </c:pt>
                <c:pt idx="23778">
                  <c:v>562</c:v>
                </c:pt>
                <c:pt idx="23779">
                  <c:v>738</c:v>
                </c:pt>
                <c:pt idx="23780">
                  <c:v>270</c:v>
                </c:pt>
                <c:pt idx="23781">
                  <c:v>585</c:v>
                </c:pt>
                <c:pt idx="23782">
                  <c:v>2853</c:v>
                </c:pt>
                <c:pt idx="23783">
                  <c:v>3027</c:v>
                </c:pt>
                <c:pt idx="23784">
                  <c:v>554</c:v>
                </c:pt>
                <c:pt idx="23785">
                  <c:v>699</c:v>
                </c:pt>
                <c:pt idx="23786">
                  <c:v>131</c:v>
                </c:pt>
                <c:pt idx="23787">
                  <c:v>1331</c:v>
                </c:pt>
                <c:pt idx="23788">
                  <c:v>678</c:v>
                </c:pt>
                <c:pt idx="23789">
                  <c:v>1264</c:v>
                </c:pt>
                <c:pt idx="23790">
                  <c:v>644</c:v>
                </c:pt>
                <c:pt idx="23791">
                  <c:v>2164</c:v>
                </c:pt>
                <c:pt idx="23792">
                  <c:v>7421</c:v>
                </c:pt>
                <c:pt idx="23793">
                  <c:v>4620</c:v>
                </c:pt>
                <c:pt idx="23794">
                  <c:v>902</c:v>
                </c:pt>
                <c:pt idx="23795">
                  <c:v>236</c:v>
                </c:pt>
                <c:pt idx="23796">
                  <c:v>71</c:v>
                </c:pt>
                <c:pt idx="23797">
                  <c:v>1739</c:v>
                </c:pt>
                <c:pt idx="23798">
                  <c:v>400</c:v>
                </c:pt>
                <c:pt idx="23799">
                  <c:v>624</c:v>
                </c:pt>
                <c:pt idx="23800">
                  <c:v>102</c:v>
                </c:pt>
                <c:pt idx="23801">
                  <c:v>4641</c:v>
                </c:pt>
                <c:pt idx="23802">
                  <c:v>1224</c:v>
                </c:pt>
                <c:pt idx="23803">
                  <c:v>5632</c:v>
                </c:pt>
                <c:pt idx="23804">
                  <c:v>193</c:v>
                </c:pt>
                <c:pt idx="23805">
                  <c:v>1867</c:v>
                </c:pt>
                <c:pt idx="23806">
                  <c:v>1498</c:v>
                </c:pt>
                <c:pt idx="23807">
                  <c:v>1308</c:v>
                </c:pt>
                <c:pt idx="23808">
                  <c:v>82</c:v>
                </c:pt>
                <c:pt idx="23809">
                  <c:v>4002</c:v>
                </c:pt>
                <c:pt idx="23810">
                  <c:v>820</c:v>
                </c:pt>
                <c:pt idx="23811">
                  <c:v>511</c:v>
                </c:pt>
                <c:pt idx="23812">
                  <c:v>499</c:v>
                </c:pt>
                <c:pt idx="23813">
                  <c:v>107</c:v>
                </c:pt>
                <c:pt idx="23814">
                  <c:v>497</c:v>
                </c:pt>
                <c:pt idx="23815">
                  <c:v>267</c:v>
                </c:pt>
                <c:pt idx="23816">
                  <c:v>1479</c:v>
                </c:pt>
                <c:pt idx="23817">
                  <c:v>77</c:v>
                </c:pt>
                <c:pt idx="23818">
                  <c:v>643</c:v>
                </c:pt>
                <c:pt idx="23819">
                  <c:v>1883</c:v>
                </c:pt>
                <c:pt idx="23820">
                  <c:v>431</c:v>
                </c:pt>
                <c:pt idx="23821">
                  <c:v>2948</c:v>
                </c:pt>
                <c:pt idx="23822">
                  <c:v>3995</c:v>
                </c:pt>
                <c:pt idx="23823">
                  <c:v>698</c:v>
                </c:pt>
                <c:pt idx="23824">
                  <c:v>943</c:v>
                </c:pt>
                <c:pt idx="23825">
                  <c:v>2832</c:v>
                </c:pt>
                <c:pt idx="23826">
                  <c:v>13049</c:v>
                </c:pt>
                <c:pt idx="23827">
                  <c:v>17852</c:v>
                </c:pt>
                <c:pt idx="23828">
                  <c:v>6707</c:v>
                </c:pt>
                <c:pt idx="23829">
                  <c:v>12546</c:v>
                </c:pt>
                <c:pt idx="23830">
                  <c:v>11131</c:v>
                </c:pt>
                <c:pt idx="23831">
                  <c:v>5216</c:v>
                </c:pt>
                <c:pt idx="23832">
                  <c:v>12785</c:v>
                </c:pt>
                <c:pt idx="23833">
                  <c:v>11154</c:v>
                </c:pt>
                <c:pt idx="23834">
                  <c:v>2650</c:v>
                </c:pt>
                <c:pt idx="23835">
                  <c:v>1988</c:v>
                </c:pt>
                <c:pt idx="23836">
                  <c:v>1125</c:v>
                </c:pt>
                <c:pt idx="23837">
                  <c:v>2883</c:v>
                </c:pt>
                <c:pt idx="23838">
                  <c:v>181</c:v>
                </c:pt>
                <c:pt idx="23839">
                  <c:v>277</c:v>
                </c:pt>
                <c:pt idx="23840">
                  <c:v>2150</c:v>
                </c:pt>
                <c:pt idx="23841">
                  <c:v>412</c:v>
                </c:pt>
                <c:pt idx="23842">
                  <c:v>1419</c:v>
                </c:pt>
                <c:pt idx="23843">
                  <c:v>116</c:v>
                </c:pt>
                <c:pt idx="23844">
                  <c:v>1807</c:v>
                </c:pt>
                <c:pt idx="23845">
                  <c:v>112</c:v>
                </c:pt>
                <c:pt idx="23846">
                  <c:v>626</c:v>
                </c:pt>
                <c:pt idx="23847">
                  <c:v>1505</c:v>
                </c:pt>
                <c:pt idx="23848">
                  <c:v>97</c:v>
                </c:pt>
                <c:pt idx="23849">
                  <c:v>770</c:v>
                </c:pt>
                <c:pt idx="23850">
                  <c:v>947</c:v>
                </c:pt>
                <c:pt idx="23851">
                  <c:v>310</c:v>
                </c:pt>
                <c:pt idx="23852">
                  <c:v>134</c:v>
                </c:pt>
                <c:pt idx="23853">
                  <c:v>388</c:v>
                </c:pt>
                <c:pt idx="23854">
                  <c:v>43</c:v>
                </c:pt>
                <c:pt idx="23855">
                  <c:v>277</c:v>
                </c:pt>
                <c:pt idx="23856">
                  <c:v>220</c:v>
                </c:pt>
                <c:pt idx="23857">
                  <c:v>259</c:v>
                </c:pt>
                <c:pt idx="23858">
                  <c:v>1584</c:v>
                </c:pt>
                <c:pt idx="23859">
                  <c:v>739</c:v>
                </c:pt>
                <c:pt idx="23860">
                  <c:v>111</c:v>
                </c:pt>
                <c:pt idx="23861">
                  <c:v>339</c:v>
                </c:pt>
                <c:pt idx="23862">
                  <c:v>16225</c:v>
                </c:pt>
                <c:pt idx="23863">
                  <c:v>13224</c:v>
                </c:pt>
                <c:pt idx="23864">
                  <c:v>18937</c:v>
                </c:pt>
                <c:pt idx="23865">
                  <c:v>5494</c:v>
                </c:pt>
                <c:pt idx="23866">
                  <c:v>1484</c:v>
                </c:pt>
                <c:pt idx="23867">
                  <c:v>587</c:v>
                </c:pt>
                <c:pt idx="23868">
                  <c:v>245</c:v>
                </c:pt>
                <c:pt idx="23869">
                  <c:v>726</c:v>
                </c:pt>
                <c:pt idx="23870">
                  <c:v>981</c:v>
                </c:pt>
                <c:pt idx="23871">
                  <c:v>20428</c:v>
                </c:pt>
                <c:pt idx="23872">
                  <c:v>511</c:v>
                </c:pt>
                <c:pt idx="23873">
                  <c:v>1509</c:v>
                </c:pt>
                <c:pt idx="23874">
                  <c:v>727</c:v>
                </c:pt>
                <c:pt idx="23875">
                  <c:v>1507</c:v>
                </c:pt>
                <c:pt idx="23876">
                  <c:v>577</c:v>
                </c:pt>
                <c:pt idx="23877">
                  <c:v>91</c:v>
                </c:pt>
                <c:pt idx="23878">
                  <c:v>71</c:v>
                </c:pt>
                <c:pt idx="23879">
                  <c:v>6251</c:v>
                </c:pt>
                <c:pt idx="23880">
                  <c:v>6736</c:v>
                </c:pt>
                <c:pt idx="23881">
                  <c:v>15577</c:v>
                </c:pt>
                <c:pt idx="23882">
                  <c:v>12293</c:v>
                </c:pt>
                <c:pt idx="23883">
                  <c:v>15924</c:v>
                </c:pt>
                <c:pt idx="23884">
                  <c:v>29707</c:v>
                </c:pt>
                <c:pt idx="23885">
                  <c:v>24302</c:v>
                </c:pt>
                <c:pt idx="23886">
                  <c:v>19494</c:v>
                </c:pt>
                <c:pt idx="23887">
                  <c:v>7234</c:v>
                </c:pt>
                <c:pt idx="23888">
                  <c:v>7424</c:v>
                </c:pt>
                <c:pt idx="23889">
                  <c:v>7068</c:v>
                </c:pt>
                <c:pt idx="23890">
                  <c:v>16589</c:v>
                </c:pt>
                <c:pt idx="23891">
                  <c:v>25184</c:v>
                </c:pt>
                <c:pt idx="23892">
                  <c:v>10590</c:v>
                </c:pt>
                <c:pt idx="23893">
                  <c:v>14362</c:v>
                </c:pt>
                <c:pt idx="23894">
                  <c:v>14270</c:v>
                </c:pt>
                <c:pt idx="23895">
                  <c:v>13738</c:v>
                </c:pt>
                <c:pt idx="23896">
                  <c:v>10538</c:v>
                </c:pt>
                <c:pt idx="23897">
                  <c:v>10450</c:v>
                </c:pt>
                <c:pt idx="23898">
                  <c:v>11607</c:v>
                </c:pt>
                <c:pt idx="23899">
                  <c:v>12058</c:v>
                </c:pt>
                <c:pt idx="23900">
                  <c:v>17605</c:v>
                </c:pt>
                <c:pt idx="23901">
                  <c:v>14952</c:v>
                </c:pt>
                <c:pt idx="23902">
                  <c:v>7781</c:v>
                </c:pt>
                <c:pt idx="23903">
                  <c:v>12641</c:v>
                </c:pt>
                <c:pt idx="23904">
                  <c:v>6791</c:v>
                </c:pt>
                <c:pt idx="23905">
                  <c:v>6253</c:v>
                </c:pt>
                <c:pt idx="23906">
                  <c:v>5809</c:v>
                </c:pt>
                <c:pt idx="23907">
                  <c:v>7613</c:v>
                </c:pt>
                <c:pt idx="23908">
                  <c:v>5929</c:v>
                </c:pt>
                <c:pt idx="23909">
                  <c:v>9012</c:v>
                </c:pt>
                <c:pt idx="23910">
                  <c:v>17313</c:v>
                </c:pt>
                <c:pt idx="23911">
                  <c:v>16142</c:v>
                </c:pt>
                <c:pt idx="23912">
                  <c:v>35221</c:v>
                </c:pt>
                <c:pt idx="23913">
                  <c:v>7618</c:v>
                </c:pt>
                <c:pt idx="23914">
                  <c:v>13394</c:v>
                </c:pt>
                <c:pt idx="23915">
                  <c:v>11397</c:v>
                </c:pt>
                <c:pt idx="23916">
                  <c:v>25623</c:v>
                </c:pt>
                <c:pt idx="23917">
                  <c:v>16059</c:v>
                </c:pt>
                <c:pt idx="23918">
                  <c:v>21327</c:v>
                </c:pt>
                <c:pt idx="23919">
                  <c:v>12949</c:v>
                </c:pt>
                <c:pt idx="23920">
                  <c:v>23595</c:v>
                </c:pt>
                <c:pt idx="23921">
                  <c:v>13938</c:v>
                </c:pt>
                <c:pt idx="23922">
                  <c:v>16041</c:v>
                </c:pt>
                <c:pt idx="23923">
                  <c:v>7495</c:v>
                </c:pt>
                <c:pt idx="23924">
                  <c:v>17912</c:v>
                </c:pt>
                <c:pt idx="23925">
                  <c:v>2257</c:v>
                </c:pt>
                <c:pt idx="23926">
                  <c:v>6456</c:v>
                </c:pt>
                <c:pt idx="23927">
                  <c:v>13634</c:v>
                </c:pt>
                <c:pt idx="23928">
                  <c:v>15095</c:v>
                </c:pt>
                <c:pt idx="23929">
                  <c:v>21695</c:v>
                </c:pt>
                <c:pt idx="23930">
                  <c:v>12947</c:v>
                </c:pt>
                <c:pt idx="23931">
                  <c:v>24745</c:v>
                </c:pt>
                <c:pt idx="23932">
                  <c:v>9561</c:v>
                </c:pt>
                <c:pt idx="23933">
                  <c:v>7791</c:v>
                </c:pt>
                <c:pt idx="23934">
                  <c:v>19524</c:v>
                </c:pt>
                <c:pt idx="23935">
                  <c:v>11883</c:v>
                </c:pt>
                <c:pt idx="23936">
                  <c:v>11953</c:v>
                </c:pt>
                <c:pt idx="23937">
                  <c:v>21006</c:v>
                </c:pt>
                <c:pt idx="23938">
                  <c:v>25070</c:v>
                </c:pt>
                <c:pt idx="23939">
                  <c:v>20047</c:v>
                </c:pt>
                <c:pt idx="23940">
                  <c:v>17633</c:v>
                </c:pt>
                <c:pt idx="23941">
                  <c:v>14566</c:v>
                </c:pt>
                <c:pt idx="23942">
                  <c:v>5439</c:v>
                </c:pt>
                <c:pt idx="23943">
                  <c:v>9332</c:v>
                </c:pt>
                <c:pt idx="23944">
                  <c:v>28996</c:v>
                </c:pt>
                <c:pt idx="23945">
                  <c:v>11877</c:v>
                </c:pt>
                <c:pt idx="23946">
                  <c:v>28385</c:v>
                </c:pt>
                <c:pt idx="23947">
                  <c:v>17261</c:v>
                </c:pt>
                <c:pt idx="23948">
                  <c:v>19637</c:v>
                </c:pt>
                <c:pt idx="23949">
                  <c:v>13675</c:v>
                </c:pt>
                <c:pt idx="23950">
                  <c:v>33236</c:v>
                </c:pt>
                <c:pt idx="23951">
                  <c:v>4695</c:v>
                </c:pt>
                <c:pt idx="23952">
                  <c:v>16814</c:v>
                </c:pt>
                <c:pt idx="23953">
                  <c:v>22491</c:v>
                </c:pt>
                <c:pt idx="23954">
                  <c:v>25649</c:v>
                </c:pt>
                <c:pt idx="23955">
                  <c:v>28004</c:v>
                </c:pt>
                <c:pt idx="23956">
                  <c:v>36948</c:v>
                </c:pt>
                <c:pt idx="23957">
                  <c:v>52243</c:v>
                </c:pt>
                <c:pt idx="23958">
                  <c:v>8305</c:v>
                </c:pt>
                <c:pt idx="23959">
                  <c:v>13692</c:v>
                </c:pt>
                <c:pt idx="23960">
                  <c:v>14526</c:v>
                </c:pt>
                <c:pt idx="23961">
                  <c:v>22062</c:v>
                </c:pt>
                <c:pt idx="23962">
                  <c:v>26680</c:v>
                </c:pt>
                <c:pt idx="23963">
                  <c:v>19676</c:v>
                </c:pt>
                <c:pt idx="23964">
                  <c:v>12818</c:v>
                </c:pt>
                <c:pt idx="23965">
                  <c:v>18893</c:v>
                </c:pt>
                <c:pt idx="23966">
                  <c:v>17662</c:v>
                </c:pt>
                <c:pt idx="23967">
                  <c:v>4797</c:v>
                </c:pt>
                <c:pt idx="23968">
                  <c:v>37164</c:v>
                </c:pt>
                <c:pt idx="23969">
                  <c:v>15630</c:v>
                </c:pt>
                <c:pt idx="23970">
                  <c:v>9951</c:v>
                </c:pt>
                <c:pt idx="23971">
                  <c:v>20897</c:v>
                </c:pt>
                <c:pt idx="23972">
                  <c:v>14728</c:v>
                </c:pt>
                <c:pt idx="23973">
                  <c:v>8574</c:v>
                </c:pt>
                <c:pt idx="23974">
                  <c:v>10936</c:v>
                </c:pt>
                <c:pt idx="23975">
                  <c:v>19300</c:v>
                </c:pt>
                <c:pt idx="23976">
                  <c:v>6989</c:v>
                </c:pt>
                <c:pt idx="23977">
                  <c:v>13511</c:v>
                </c:pt>
                <c:pt idx="23978">
                  <c:v>8165</c:v>
                </c:pt>
                <c:pt idx="23979">
                  <c:v>11045</c:v>
                </c:pt>
                <c:pt idx="23980">
                  <c:v>10836</c:v>
                </c:pt>
                <c:pt idx="23981">
                  <c:v>6066</c:v>
                </c:pt>
                <c:pt idx="23982">
                  <c:v>2706</c:v>
                </c:pt>
                <c:pt idx="23983">
                  <c:v>1214</c:v>
                </c:pt>
                <c:pt idx="23984">
                  <c:v>4875</c:v>
                </c:pt>
                <c:pt idx="23985">
                  <c:v>22742</c:v>
                </c:pt>
                <c:pt idx="23986">
                  <c:v>19974</c:v>
                </c:pt>
                <c:pt idx="23987">
                  <c:v>14364</c:v>
                </c:pt>
                <c:pt idx="23988">
                  <c:v>12073</c:v>
                </c:pt>
                <c:pt idx="23989">
                  <c:v>33049</c:v>
                </c:pt>
                <c:pt idx="23990">
                  <c:v>11618</c:v>
                </c:pt>
                <c:pt idx="23991">
                  <c:v>17197</c:v>
                </c:pt>
                <c:pt idx="23992">
                  <c:v>14092</c:v>
                </c:pt>
                <c:pt idx="23993">
                  <c:v>13330</c:v>
                </c:pt>
                <c:pt idx="23994">
                  <c:v>14278</c:v>
                </c:pt>
                <c:pt idx="23995">
                  <c:v>2242</c:v>
                </c:pt>
                <c:pt idx="23996">
                  <c:v>2018</c:v>
                </c:pt>
                <c:pt idx="23997">
                  <c:v>2751</c:v>
                </c:pt>
                <c:pt idx="23998">
                  <c:v>1075</c:v>
                </c:pt>
                <c:pt idx="23999">
                  <c:v>808</c:v>
                </c:pt>
                <c:pt idx="24000">
                  <c:v>17109</c:v>
                </c:pt>
                <c:pt idx="24001">
                  <c:v>124</c:v>
                </c:pt>
                <c:pt idx="24002">
                  <c:v>2644</c:v>
                </c:pt>
                <c:pt idx="24003">
                  <c:v>6188</c:v>
                </c:pt>
                <c:pt idx="24004">
                  <c:v>31601</c:v>
                </c:pt>
                <c:pt idx="24005">
                  <c:v>30704</c:v>
                </c:pt>
                <c:pt idx="24006">
                  <c:v>18222</c:v>
                </c:pt>
                <c:pt idx="24007">
                  <c:v>8284</c:v>
                </c:pt>
                <c:pt idx="24008">
                  <c:v>37203</c:v>
                </c:pt>
                <c:pt idx="24009">
                  <c:v>15902</c:v>
                </c:pt>
                <c:pt idx="24010">
                  <c:v>15847</c:v>
                </c:pt>
                <c:pt idx="24011">
                  <c:v>18247</c:v>
                </c:pt>
                <c:pt idx="24012">
                  <c:v>10100</c:v>
                </c:pt>
                <c:pt idx="24013">
                  <c:v>12605</c:v>
                </c:pt>
                <c:pt idx="24014">
                  <c:v>31738</c:v>
                </c:pt>
                <c:pt idx="24015">
                  <c:v>26343</c:v>
                </c:pt>
                <c:pt idx="24016">
                  <c:v>18616</c:v>
                </c:pt>
                <c:pt idx="24017">
                  <c:v>28541</c:v>
                </c:pt>
                <c:pt idx="24018">
                  <c:v>8112</c:v>
                </c:pt>
                <c:pt idx="24019">
                  <c:v>27861</c:v>
                </c:pt>
                <c:pt idx="24020">
                  <c:v>35412</c:v>
                </c:pt>
                <c:pt idx="24021">
                  <c:v>9372</c:v>
                </c:pt>
                <c:pt idx="24022">
                  <c:v>897</c:v>
                </c:pt>
                <c:pt idx="24023">
                  <c:v>4438</c:v>
                </c:pt>
                <c:pt idx="24024">
                  <c:v>336</c:v>
                </c:pt>
                <c:pt idx="24025">
                  <c:v>964</c:v>
                </c:pt>
                <c:pt idx="24026">
                  <c:v>4534</c:v>
                </c:pt>
                <c:pt idx="24027">
                  <c:v>6234</c:v>
                </c:pt>
                <c:pt idx="24028">
                  <c:v>957</c:v>
                </c:pt>
                <c:pt idx="24029">
                  <c:v>43896</c:v>
                </c:pt>
                <c:pt idx="24030">
                  <c:v>710</c:v>
                </c:pt>
                <c:pt idx="24031">
                  <c:v>45820</c:v>
                </c:pt>
                <c:pt idx="24032">
                  <c:v>1524</c:v>
                </c:pt>
                <c:pt idx="24033">
                  <c:v>1527</c:v>
                </c:pt>
                <c:pt idx="24034">
                  <c:v>7770</c:v>
                </c:pt>
                <c:pt idx="24035">
                  <c:v>9761</c:v>
                </c:pt>
                <c:pt idx="24036">
                  <c:v>417</c:v>
                </c:pt>
                <c:pt idx="24037">
                  <c:v>6005</c:v>
                </c:pt>
                <c:pt idx="24038">
                  <c:v>1667</c:v>
                </c:pt>
                <c:pt idx="24039">
                  <c:v>8318</c:v>
                </c:pt>
                <c:pt idx="24040">
                  <c:v>58990</c:v>
                </c:pt>
                <c:pt idx="24041">
                  <c:v>34504</c:v>
                </c:pt>
                <c:pt idx="24042">
                  <c:v>197</c:v>
                </c:pt>
                <c:pt idx="24043">
                  <c:v>898</c:v>
                </c:pt>
                <c:pt idx="24044">
                  <c:v>310</c:v>
                </c:pt>
                <c:pt idx="24045">
                  <c:v>37576</c:v>
                </c:pt>
                <c:pt idx="24046">
                  <c:v>5029</c:v>
                </c:pt>
                <c:pt idx="24047">
                  <c:v>125</c:v>
                </c:pt>
                <c:pt idx="24048">
                  <c:v>3147</c:v>
                </c:pt>
                <c:pt idx="24049">
                  <c:v>203</c:v>
                </c:pt>
                <c:pt idx="24050">
                  <c:v>27464</c:v>
                </c:pt>
                <c:pt idx="24051">
                  <c:v>19079</c:v>
                </c:pt>
                <c:pt idx="24052">
                  <c:v>6977</c:v>
                </c:pt>
                <c:pt idx="24053">
                  <c:v>243</c:v>
                </c:pt>
                <c:pt idx="24054">
                  <c:v>85</c:v>
                </c:pt>
                <c:pt idx="24055">
                  <c:v>17818</c:v>
                </c:pt>
                <c:pt idx="24056">
                  <c:v>11520</c:v>
                </c:pt>
                <c:pt idx="24057">
                  <c:v>42738</c:v>
                </c:pt>
                <c:pt idx="24058">
                  <c:v>3008</c:v>
                </c:pt>
                <c:pt idx="24059">
                  <c:v>35</c:v>
                </c:pt>
                <c:pt idx="24060">
                  <c:v>660</c:v>
                </c:pt>
                <c:pt idx="24061">
                  <c:v>6490</c:v>
                </c:pt>
                <c:pt idx="24062">
                  <c:v>1562</c:v>
                </c:pt>
                <c:pt idx="24063">
                  <c:v>2908</c:v>
                </c:pt>
                <c:pt idx="24064">
                  <c:v>6237</c:v>
                </c:pt>
                <c:pt idx="24065">
                  <c:v>18934</c:v>
                </c:pt>
                <c:pt idx="24066">
                  <c:v>23067</c:v>
                </c:pt>
                <c:pt idx="24067">
                  <c:v>54934</c:v>
                </c:pt>
                <c:pt idx="24068">
                  <c:v>26343</c:v>
                </c:pt>
                <c:pt idx="24069">
                  <c:v>15553</c:v>
                </c:pt>
                <c:pt idx="24070">
                  <c:v>10674</c:v>
                </c:pt>
                <c:pt idx="24071">
                  <c:v>11308</c:v>
                </c:pt>
                <c:pt idx="24072">
                  <c:v>10809</c:v>
                </c:pt>
                <c:pt idx="24073">
                  <c:v>14523</c:v>
                </c:pt>
                <c:pt idx="24074">
                  <c:v>6245</c:v>
                </c:pt>
                <c:pt idx="24075">
                  <c:v>22634</c:v>
                </c:pt>
                <c:pt idx="24076">
                  <c:v>2238</c:v>
                </c:pt>
                <c:pt idx="24077">
                  <c:v>14203</c:v>
                </c:pt>
                <c:pt idx="24078">
                  <c:v>2277</c:v>
                </c:pt>
                <c:pt idx="24079">
                  <c:v>4729</c:v>
                </c:pt>
                <c:pt idx="24080">
                  <c:v>225</c:v>
                </c:pt>
                <c:pt idx="24081">
                  <c:v>15235</c:v>
                </c:pt>
                <c:pt idx="24082">
                  <c:v>26200</c:v>
                </c:pt>
                <c:pt idx="24083">
                  <c:v>12598</c:v>
                </c:pt>
                <c:pt idx="24084">
                  <c:v>12226</c:v>
                </c:pt>
                <c:pt idx="24085">
                  <c:v>7676</c:v>
                </c:pt>
                <c:pt idx="24086">
                  <c:v>14358</c:v>
                </c:pt>
                <c:pt idx="24087">
                  <c:v>436</c:v>
                </c:pt>
                <c:pt idx="24088">
                  <c:v>1416</c:v>
                </c:pt>
                <c:pt idx="24089">
                  <c:v>13313</c:v>
                </c:pt>
                <c:pt idx="24090">
                  <c:v>15955</c:v>
                </c:pt>
                <c:pt idx="24091">
                  <c:v>316</c:v>
                </c:pt>
                <c:pt idx="24092">
                  <c:v>22371</c:v>
                </c:pt>
                <c:pt idx="24093">
                  <c:v>7194</c:v>
                </c:pt>
                <c:pt idx="24094">
                  <c:v>13459</c:v>
                </c:pt>
                <c:pt idx="24095">
                  <c:v>25793</c:v>
                </c:pt>
                <c:pt idx="24096">
                  <c:v>3526</c:v>
                </c:pt>
                <c:pt idx="24097">
                  <c:v>10383</c:v>
                </c:pt>
                <c:pt idx="24098">
                  <c:v>10408</c:v>
                </c:pt>
                <c:pt idx="24099">
                  <c:v>4527</c:v>
                </c:pt>
                <c:pt idx="24100">
                  <c:v>3775</c:v>
                </c:pt>
                <c:pt idx="24101">
                  <c:v>4475</c:v>
                </c:pt>
                <c:pt idx="24102">
                  <c:v>510</c:v>
                </c:pt>
                <c:pt idx="24103">
                  <c:v>3322</c:v>
                </c:pt>
                <c:pt idx="24104">
                  <c:v>14603</c:v>
                </c:pt>
                <c:pt idx="24105">
                  <c:v>9035</c:v>
                </c:pt>
                <c:pt idx="24106">
                  <c:v>17452</c:v>
                </c:pt>
                <c:pt idx="24107">
                  <c:v>46926</c:v>
                </c:pt>
                <c:pt idx="24108">
                  <c:v>5534</c:v>
                </c:pt>
                <c:pt idx="24109">
                  <c:v>499</c:v>
                </c:pt>
                <c:pt idx="24110">
                  <c:v>12012</c:v>
                </c:pt>
                <c:pt idx="24111">
                  <c:v>24841</c:v>
                </c:pt>
                <c:pt idx="24112">
                  <c:v>16689</c:v>
                </c:pt>
                <c:pt idx="24113">
                  <c:v>44530</c:v>
                </c:pt>
                <c:pt idx="24114">
                  <c:v>11809</c:v>
                </c:pt>
                <c:pt idx="24115">
                  <c:v>6950</c:v>
                </c:pt>
                <c:pt idx="24116">
                  <c:v>14223</c:v>
                </c:pt>
                <c:pt idx="24117">
                  <c:v>6611</c:v>
                </c:pt>
                <c:pt idx="24118">
                  <c:v>14819</c:v>
                </c:pt>
                <c:pt idx="24119">
                  <c:v>4911</c:v>
                </c:pt>
                <c:pt idx="24120">
                  <c:v>3376</c:v>
                </c:pt>
                <c:pt idx="24121">
                  <c:v>359</c:v>
                </c:pt>
                <c:pt idx="24122">
                  <c:v>181</c:v>
                </c:pt>
                <c:pt idx="24123">
                  <c:v>190</c:v>
                </c:pt>
                <c:pt idx="24124">
                  <c:v>7829</c:v>
                </c:pt>
                <c:pt idx="24125">
                  <c:v>879</c:v>
                </c:pt>
                <c:pt idx="24126">
                  <c:v>377</c:v>
                </c:pt>
                <c:pt idx="24127">
                  <c:v>184</c:v>
                </c:pt>
                <c:pt idx="24128">
                  <c:v>2779</c:v>
                </c:pt>
                <c:pt idx="24129">
                  <c:v>10562</c:v>
                </c:pt>
                <c:pt idx="24130">
                  <c:v>327</c:v>
                </c:pt>
                <c:pt idx="24131">
                  <c:v>12185</c:v>
                </c:pt>
                <c:pt idx="24132">
                  <c:v>9533</c:v>
                </c:pt>
                <c:pt idx="24133">
                  <c:v>6012</c:v>
                </c:pt>
                <c:pt idx="24134">
                  <c:v>14050</c:v>
                </c:pt>
                <c:pt idx="24135">
                  <c:v>743</c:v>
                </c:pt>
                <c:pt idx="24136">
                  <c:v>6214</c:v>
                </c:pt>
                <c:pt idx="24137">
                  <c:v>150</c:v>
                </c:pt>
                <c:pt idx="24138">
                  <c:v>6790</c:v>
                </c:pt>
                <c:pt idx="24139">
                  <c:v>9753</c:v>
                </c:pt>
                <c:pt idx="24140">
                  <c:v>2384</c:v>
                </c:pt>
                <c:pt idx="24141">
                  <c:v>375</c:v>
                </c:pt>
                <c:pt idx="24142">
                  <c:v>11421</c:v>
                </c:pt>
                <c:pt idx="24143">
                  <c:v>708</c:v>
                </c:pt>
                <c:pt idx="24144">
                  <c:v>2808</c:v>
                </c:pt>
                <c:pt idx="24145">
                  <c:v>5058</c:v>
                </c:pt>
                <c:pt idx="24146">
                  <c:v>1725</c:v>
                </c:pt>
                <c:pt idx="24147">
                  <c:v>3762</c:v>
                </c:pt>
                <c:pt idx="24148">
                  <c:v>12377</c:v>
                </c:pt>
                <c:pt idx="24149">
                  <c:v>13165</c:v>
                </c:pt>
                <c:pt idx="24150">
                  <c:v>8270</c:v>
                </c:pt>
                <c:pt idx="24151">
                  <c:v>6294</c:v>
                </c:pt>
                <c:pt idx="24152">
                  <c:v>6490</c:v>
                </c:pt>
                <c:pt idx="24153">
                  <c:v>6631</c:v>
                </c:pt>
                <c:pt idx="24154">
                  <c:v>12691</c:v>
                </c:pt>
                <c:pt idx="24155">
                  <c:v>13355</c:v>
                </c:pt>
                <c:pt idx="24156">
                  <c:v>5597</c:v>
                </c:pt>
                <c:pt idx="24157">
                  <c:v>7003</c:v>
                </c:pt>
                <c:pt idx="24158">
                  <c:v>1615</c:v>
                </c:pt>
                <c:pt idx="24159">
                  <c:v>1232</c:v>
                </c:pt>
                <c:pt idx="24160">
                  <c:v>12478</c:v>
                </c:pt>
                <c:pt idx="24161">
                  <c:v>1644</c:v>
                </c:pt>
                <c:pt idx="24162">
                  <c:v>4927</c:v>
                </c:pt>
                <c:pt idx="24163">
                  <c:v>556</c:v>
                </c:pt>
                <c:pt idx="24164">
                  <c:v>26115</c:v>
                </c:pt>
                <c:pt idx="24165">
                  <c:v>36048</c:v>
                </c:pt>
                <c:pt idx="24166">
                  <c:v>499</c:v>
                </c:pt>
                <c:pt idx="24167">
                  <c:v>1744</c:v>
                </c:pt>
                <c:pt idx="24168">
                  <c:v>328</c:v>
                </c:pt>
                <c:pt idx="24169">
                  <c:v>2971</c:v>
                </c:pt>
                <c:pt idx="24170">
                  <c:v>943</c:v>
                </c:pt>
                <c:pt idx="24171">
                  <c:v>3032</c:v>
                </c:pt>
                <c:pt idx="24172">
                  <c:v>787</c:v>
                </c:pt>
                <c:pt idx="24173">
                  <c:v>6108</c:v>
                </c:pt>
                <c:pt idx="24174">
                  <c:v>1189</c:v>
                </c:pt>
                <c:pt idx="24175">
                  <c:v>769</c:v>
                </c:pt>
                <c:pt idx="24176">
                  <c:v>643</c:v>
                </c:pt>
                <c:pt idx="24177">
                  <c:v>1949</c:v>
                </c:pt>
                <c:pt idx="24178">
                  <c:v>975</c:v>
                </c:pt>
                <c:pt idx="24179">
                  <c:v>18139</c:v>
                </c:pt>
                <c:pt idx="24180">
                  <c:v>13718</c:v>
                </c:pt>
                <c:pt idx="24181">
                  <c:v>7410</c:v>
                </c:pt>
                <c:pt idx="24182">
                  <c:v>65</c:v>
                </c:pt>
                <c:pt idx="24183">
                  <c:v>473</c:v>
                </c:pt>
                <c:pt idx="24184">
                  <c:v>4018</c:v>
                </c:pt>
                <c:pt idx="24185">
                  <c:v>3530</c:v>
                </c:pt>
                <c:pt idx="24186">
                  <c:v>1516</c:v>
                </c:pt>
                <c:pt idx="24187">
                  <c:v>2038</c:v>
                </c:pt>
                <c:pt idx="24188">
                  <c:v>3559</c:v>
                </c:pt>
                <c:pt idx="24189">
                  <c:v>1348</c:v>
                </c:pt>
                <c:pt idx="24190">
                  <c:v>148</c:v>
                </c:pt>
                <c:pt idx="24191">
                  <c:v>209</c:v>
                </c:pt>
                <c:pt idx="24192">
                  <c:v>792</c:v>
                </c:pt>
                <c:pt idx="24193">
                  <c:v>262</c:v>
                </c:pt>
                <c:pt idx="24194">
                  <c:v>229</c:v>
                </c:pt>
                <c:pt idx="24195">
                  <c:v>8038</c:v>
                </c:pt>
                <c:pt idx="24196">
                  <c:v>424</c:v>
                </c:pt>
                <c:pt idx="24197">
                  <c:v>851</c:v>
                </c:pt>
                <c:pt idx="24198">
                  <c:v>1860</c:v>
                </c:pt>
                <c:pt idx="24199">
                  <c:v>299</c:v>
                </c:pt>
                <c:pt idx="24200">
                  <c:v>175</c:v>
                </c:pt>
                <c:pt idx="24201">
                  <c:v>4441</c:v>
                </c:pt>
                <c:pt idx="24202">
                  <c:v>3795</c:v>
                </c:pt>
                <c:pt idx="24203">
                  <c:v>3469</c:v>
                </c:pt>
                <c:pt idx="24204">
                  <c:v>207</c:v>
                </c:pt>
                <c:pt idx="24205">
                  <c:v>1403</c:v>
                </c:pt>
                <c:pt idx="24206">
                  <c:v>17733</c:v>
                </c:pt>
                <c:pt idx="24207">
                  <c:v>3538</c:v>
                </c:pt>
                <c:pt idx="24208">
                  <c:v>2114</c:v>
                </c:pt>
                <c:pt idx="24209">
                  <c:v>666</c:v>
                </c:pt>
                <c:pt idx="24210">
                  <c:v>94</c:v>
                </c:pt>
                <c:pt idx="24211">
                  <c:v>2681</c:v>
                </c:pt>
                <c:pt idx="24212">
                  <c:v>2033</c:v>
                </c:pt>
                <c:pt idx="24213">
                  <c:v>9617</c:v>
                </c:pt>
                <c:pt idx="24214">
                  <c:v>4742</c:v>
                </c:pt>
                <c:pt idx="24215">
                  <c:v>1263</c:v>
                </c:pt>
                <c:pt idx="24216">
                  <c:v>627</c:v>
                </c:pt>
                <c:pt idx="24217">
                  <c:v>1750</c:v>
                </c:pt>
                <c:pt idx="24218">
                  <c:v>14466</c:v>
                </c:pt>
                <c:pt idx="24219">
                  <c:v>527</c:v>
                </c:pt>
                <c:pt idx="24220">
                  <c:v>2353</c:v>
                </c:pt>
                <c:pt idx="24221">
                  <c:v>2616</c:v>
                </c:pt>
                <c:pt idx="24222">
                  <c:v>16837</c:v>
                </c:pt>
                <c:pt idx="24223">
                  <c:v>1282</c:v>
                </c:pt>
                <c:pt idx="24224">
                  <c:v>13153</c:v>
                </c:pt>
                <c:pt idx="24225">
                  <c:v>20435</c:v>
                </c:pt>
                <c:pt idx="24226">
                  <c:v>18260</c:v>
                </c:pt>
                <c:pt idx="24227">
                  <c:v>30819</c:v>
                </c:pt>
                <c:pt idx="24228">
                  <c:v>25531</c:v>
                </c:pt>
                <c:pt idx="24229">
                  <c:v>183</c:v>
                </c:pt>
                <c:pt idx="24230">
                  <c:v>2561</c:v>
                </c:pt>
                <c:pt idx="24231">
                  <c:v>729</c:v>
                </c:pt>
                <c:pt idx="24232">
                  <c:v>960</c:v>
                </c:pt>
                <c:pt idx="24233">
                  <c:v>291</c:v>
                </c:pt>
                <c:pt idx="24234">
                  <c:v>2367</c:v>
                </c:pt>
                <c:pt idx="24235">
                  <c:v>3897</c:v>
                </c:pt>
                <c:pt idx="24236">
                  <c:v>4141</c:v>
                </c:pt>
                <c:pt idx="24237">
                  <c:v>6272</c:v>
                </c:pt>
                <c:pt idx="24238">
                  <c:v>4588</c:v>
                </c:pt>
                <c:pt idx="24239">
                  <c:v>227</c:v>
                </c:pt>
                <c:pt idx="24240">
                  <c:v>2698</c:v>
                </c:pt>
                <c:pt idx="24241">
                  <c:v>8385</c:v>
                </c:pt>
                <c:pt idx="24242">
                  <c:v>940</c:v>
                </c:pt>
                <c:pt idx="24243">
                  <c:v>212</c:v>
                </c:pt>
                <c:pt idx="24244">
                  <c:v>4836</c:v>
                </c:pt>
                <c:pt idx="24245">
                  <c:v>4473</c:v>
                </c:pt>
                <c:pt idx="24246">
                  <c:v>4014</c:v>
                </c:pt>
                <c:pt idx="24247">
                  <c:v>8468</c:v>
                </c:pt>
                <c:pt idx="24248">
                  <c:v>168</c:v>
                </c:pt>
                <c:pt idx="24249">
                  <c:v>19210</c:v>
                </c:pt>
                <c:pt idx="24250">
                  <c:v>23500</c:v>
                </c:pt>
                <c:pt idx="24251">
                  <c:v>4036</c:v>
                </c:pt>
                <c:pt idx="24252">
                  <c:v>1242</c:v>
                </c:pt>
                <c:pt idx="24253">
                  <c:v>10500</c:v>
                </c:pt>
                <c:pt idx="24254">
                  <c:v>225</c:v>
                </c:pt>
                <c:pt idx="24255">
                  <c:v>1434</c:v>
                </c:pt>
                <c:pt idx="24256">
                  <c:v>1861</c:v>
                </c:pt>
                <c:pt idx="24257">
                  <c:v>6860</c:v>
                </c:pt>
                <c:pt idx="24258">
                  <c:v>149</c:v>
                </c:pt>
                <c:pt idx="24259">
                  <c:v>1273</c:v>
                </c:pt>
                <c:pt idx="24260">
                  <c:v>3448</c:v>
                </c:pt>
                <c:pt idx="24261">
                  <c:v>41453</c:v>
                </c:pt>
                <c:pt idx="24262">
                  <c:v>16235</c:v>
                </c:pt>
                <c:pt idx="24263">
                  <c:v>8946</c:v>
                </c:pt>
                <c:pt idx="24264">
                  <c:v>1632</c:v>
                </c:pt>
                <c:pt idx="24265">
                  <c:v>269</c:v>
                </c:pt>
                <c:pt idx="24266">
                  <c:v>261</c:v>
                </c:pt>
                <c:pt idx="24267">
                  <c:v>759</c:v>
                </c:pt>
                <c:pt idx="24268">
                  <c:v>10927</c:v>
                </c:pt>
                <c:pt idx="24269">
                  <c:v>572</c:v>
                </c:pt>
                <c:pt idx="24270">
                  <c:v>1200</c:v>
                </c:pt>
                <c:pt idx="24271">
                  <c:v>20707</c:v>
                </c:pt>
                <c:pt idx="24272">
                  <c:v>23829</c:v>
                </c:pt>
                <c:pt idx="24273">
                  <c:v>259</c:v>
                </c:pt>
                <c:pt idx="24274">
                  <c:v>2298</c:v>
                </c:pt>
                <c:pt idx="24275">
                  <c:v>118</c:v>
                </c:pt>
                <c:pt idx="24276">
                  <c:v>6218</c:v>
                </c:pt>
                <c:pt idx="24277">
                  <c:v>1303</c:v>
                </c:pt>
                <c:pt idx="24278">
                  <c:v>20554</c:v>
                </c:pt>
                <c:pt idx="24279">
                  <c:v>4356</c:v>
                </c:pt>
                <c:pt idx="24280">
                  <c:v>2806</c:v>
                </c:pt>
                <c:pt idx="24281">
                  <c:v>5250</c:v>
                </c:pt>
                <c:pt idx="24282">
                  <c:v>770</c:v>
                </c:pt>
                <c:pt idx="24283">
                  <c:v>16223</c:v>
                </c:pt>
                <c:pt idx="24284">
                  <c:v>1420</c:v>
                </c:pt>
                <c:pt idx="24285">
                  <c:v>22686</c:v>
                </c:pt>
                <c:pt idx="24286">
                  <c:v>14454</c:v>
                </c:pt>
                <c:pt idx="24287">
                  <c:v>13317</c:v>
                </c:pt>
                <c:pt idx="24288">
                  <c:v>13963</c:v>
                </c:pt>
                <c:pt idx="24289">
                  <c:v>20970</c:v>
                </c:pt>
                <c:pt idx="24290">
                  <c:v>8846</c:v>
                </c:pt>
                <c:pt idx="24291">
                  <c:v>23242</c:v>
                </c:pt>
                <c:pt idx="24292">
                  <c:v>16841</c:v>
                </c:pt>
                <c:pt idx="24293">
                  <c:v>17211</c:v>
                </c:pt>
                <c:pt idx="24294">
                  <c:v>6102</c:v>
                </c:pt>
                <c:pt idx="24295">
                  <c:v>5624</c:v>
                </c:pt>
                <c:pt idx="24296">
                  <c:v>18703</c:v>
                </c:pt>
                <c:pt idx="24297">
                  <c:v>10105</c:v>
                </c:pt>
                <c:pt idx="24298">
                  <c:v>22374</c:v>
                </c:pt>
                <c:pt idx="24299">
                  <c:v>8940</c:v>
                </c:pt>
                <c:pt idx="24300">
                  <c:v>6363</c:v>
                </c:pt>
                <c:pt idx="24301">
                  <c:v>2604</c:v>
                </c:pt>
                <c:pt idx="24302">
                  <c:v>18853</c:v>
                </c:pt>
                <c:pt idx="24303">
                  <c:v>23187</c:v>
                </c:pt>
                <c:pt idx="24304">
                  <c:v>18356</c:v>
                </c:pt>
                <c:pt idx="24305">
                  <c:v>22987</c:v>
                </c:pt>
                <c:pt idx="24306">
                  <c:v>5047</c:v>
                </c:pt>
                <c:pt idx="24307">
                  <c:v>18917</c:v>
                </c:pt>
                <c:pt idx="24308">
                  <c:v>22223</c:v>
                </c:pt>
                <c:pt idx="24309">
                  <c:v>14224</c:v>
                </c:pt>
                <c:pt idx="24310">
                  <c:v>12158</c:v>
                </c:pt>
                <c:pt idx="24311">
                  <c:v>12892</c:v>
                </c:pt>
                <c:pt idx="24312">
                  <c:v>28229</c:v>
                </c:pt>
                <c:pt idx="24313">
                  <c:v>12446</c:v>
                </c:pt>
                <c:pt idx="24314">
                  <c:v>17432</c:v>
                </c:pt>
                <c:pt idx="24315">
                  <c:v>43061</c:v>
                </c:pt>
                <c:pt idx="24316">
                  <c:v>26233</c:v>
                </c:pt>
                <c:pt idx="24317">
                  <c:v>7428</c:v>
                </c:pt>
                <c:pt idx="24318">
                  <c:v>34029</c:v>
                </c:pt>
                <c:pt idx="24319">
                  <c:v>31229</c:v>
                </c:pt>
                <c:pt idx="24320">
                  <c:v>32529</c:v>
                </c:pt>
                <c:pt idx="24321">
                  <c:v>6564</c:v>
                </c:pt>
                <c:pt idx="24322">
                  <c:v>28696</c:v>
                </c:pt>
                <c:pt idx="24323">
                  <c:v>36998</c:v>
                </c:pt>
                <c:pt idx="24324">
                  <c:v>8305</c:v>
                </c:pt>
                <c:pt idx="24325">
                  <c:v>6451</c:v>
                </c:pt>
                <c:pt idx="24326">
                  <c:v>5745</c:v>
                </c:pt>
                <c:pt idx="24327">
                  <c:v>23573</c:v>
                </c:pt>
                <c:pt idx="24328">
                  <c:v>12912</c:v>
                </c:pt>
                <c:pt idx="24329">
                  <c:v>16314</c:v>
                </c:pt>
                <c:pt idx="24330">
                  <c:v>12176</c:v>
                </c:pt>
                <c:pt idx="24331">
                  <c:v>2339</c:v>
                </c:pt>
                <c:pt idx="24332">
                  <c:v>4993</c:v>
                </c:pt>
                <c:pt idx="24333">
                  <c:v>3303</c:v>
                </c:pt>
                <c:pt idx="24334">
                  <c:v>209</c:v>
                </c:pt>
                <c:pt idx="24335">
                  <c:v>10933</c:v>
                </c:pt>
                <c:pt idx="24336">
                  <c:v>4626</c:v>
                </c:pt>
                <c:pt idx="24337">
                  <c:v>186</c:v>
                </c:pt>
                <c:pt idx="24338">
                  <c:v>440</c:v>
                </c:pt>
                <c:pt idx="24339">
                  <c:v>1677</c:v>
                </c:pt>
                <c:pt idx="24340">
                  <c:v>190</c:v>
                </c:pt>
                <c:pt idx="24341">
                  <c:v>101</c:v>
                </c:pt>
                <c:pt idx="24342">
                  <c:v>184</c:v>
                </c:pt>
                <c:pt idx="24343">
                  <c:v>2646</c:v>
                </c:pt>
                <c:pt idx="24344">
                  <c:v>1209</c:v>
                </c:pt>
                <c:pt idx="24345">
                  <c:v>854</c:v>
                </c:pt>
                <c:pt idx="24346">
                  <c:v>2124</c:v>
                </c:pt>
                <c:pt idx="24347">
                  <c:v>4918</c:v>
                </c:pt>
                <c:pt idx="24348">
                  <c:v>12571</c:v>
                </c:pt>
                <c:pt idx="24349">
                  <c:v>3109</c:v>
                </c:pt>
                <c:pt idx="24350">
                  <c:v>1945</c:v>
                </c:pt>
                <c:pt idx="24351">
                  <c:v>1541</c:v>
                </c:pt>
                <c:pt idx="24352">
                  <c:v>1420</c:v>
                </c:pt>
                <c:pt idx="24353">
                  <c:v>9247</c:v>
                </c:pt>
                <c:pt idx="24354">
                  <c:v>1345</c:v>
                </c:pt>
                <c:pt idx="24355">
                  <c:v>89</c:v>
                </c:pt>
                <c:pt idx="24356">
                  <c:v>1219</c:v>
                </c:pt>
                <c:pt idx="24357">
                  <c:v>681</c:v>
                </c:pt>
                <c:pt idx="24358">
                  <c:v>9454</c:v>
                </c:pt>
                <c:pt idx="24359">
                  <c:v>7543</c:v>
                </c:pt>
                <c:pt idx="24360">
                  <c:v>1841</c:v>
                </c:pt>
                <c:pt idx="24361">
                  <c:v>1966</c:v>
                </c:pt>
                <c:pt idx="24362">
                  <c:v>3736</c:v>
                </c:pt>
                <c:pt idx="24363">
                  <c:v>605</c:v>
                </c:pt>
                <c:pt idx="24364">
                  <c:v>2133</c:v>
                </c:pt>
                <c:pt idx="24365">
                  <c:v>868</c:v>
                </c:pt>
                <c:pt idx="24366">
                  <c:v>1312</c:v>
                </c:pt>
                <c:pt idx="24367">
                  <c:v>7303</c:v>
                </c:pt>
                <c:pt idx="24368">
                  <c:v>5854</c:v>
                </c:pt>
                <c:pt idx="24369">
                  <c:v>1018</c:v>
                </c:pt>
                <c:pt idx="24370">
                  <c:v>3500</c:v>
                </c:pt>
                <c:pt idx="24371">
                  <c:v>1113</c:v>
                </c:pt>
                <c:pt idx="24372">
                  <c:v>12268</c:v>
                </c:pt>
                <c:pt idx="24373">
                  <c:v>11850</c:v>
                </c:pt>
                <c:pt idx="24374">
                  <c:v>19060</c:v>
                </c:pt>
                <c:pt idx="24375">
                  <c:v>18690</c:v>
                </c:pt>
                <c:pt idx="24376">
                  <c:v>23741</c:v>
                </c:pt>
                <c:pt idx="24377">
                  <c:v>17133</c:v>
                </c:pt>
                <c:pt idx="24378">
                  <c:v>5692</c:v>
                </c:pt>
                <c:pt idx="24379">
                  <c:v>2039</c:v>
                </c:pt>
                <c:pt idx="24380">
                  <c:v>14277</c:v>
                </c:pt>
                <c:pt idx="24381">
                  <c:v>26430</c:v>
                </c:pt>
                <c:pt idx="24382">
                  <c:v>8398</c:v>
                </c:pt>
                <c:pt idx="24383">
                  <c:v>26136</c:v>
                </c:pt>
                <c:pt idx="24384">
                  <c:v>11868</c:v>
                </c:pt>
                <c:pt idx="24385">
                  <c:v>24448</c:v>
                </c:pt>
                <c:pt idx="24386">
                  <c:v>33366</c:v>
                </c:pt>
                <c:pt idx="24387">
                  <c:v>24928</c:v>
                </c:pt>
                <c:pt idx="24388">
                  <c:v>341</c:v>
                </c:pt>
                <c:pt idx="24389">
                  <c:v>172</c:v>
                </c:pt>
                <c:pt idx="24390">
                  <c:v>16287</c:v>
                </c:pt>
                <c:pt idx="24391">
                  <c:v>3988</c:v>
                </c:pt>
                <c:pt idx="24392">
                  <c:v>16747</c:v>
                </c:pt>
                <c:pt idx="24393">
                  <c:v>18675</c:v>
                </c:pt>
                <c:pt idx="24394">
                  <c:v>29044</c:v>
                </c:pt>
                <c:pt idx="24395">
                  <c:v>3331</c:v>
                </c:pt>
                <c:pt idx="24396">
                  <c:v>564</c:v>
                </c:pt>
                <c:pt idx="24397">
                  <c:v>161</c:v>
                </c:pt>
                <c:pt idx="24398">
                  <c:v>21864</c:v>
                </c:pt>
                <c:pt idx="24399">
                  <c:v>16488</c:v>
                </c:pt>
                <c:pt idx="24400">
                  <c:v>6189</c:v>
                </c:pt>
                <c:pt idx="24401">
                  <c:v>4421</c:v>
                </c:pt>
                <c:pt idx="24402">
                  <c:v>1510</c:v>
                </c:pt>
                <c:pt idx="24403">
                  <c:v>210</c:v>
                </c:pt>
                <c:pt idx="24404">
                  <c:v>747</c:v>
                </c:pt>
                <c:pt idx="24405">
                  <c:v>8987</c:v>
                </c:pt>
                <c:pt idx="24406">
                  <c:v>96</c:v>
                </c:pt>
                <c:pt idx="24407">
                  <c:v>1758</c:v>
                </c:pt>
                <c:pt idx="24408">
                  <c:v>11568</c:v>
                </c:pt>
                <c:pt idx="24409">
                  <c:v>27346</c:v>
                </c:pt>
                <c:pt idx="24410">
                  <c:v>15508</c:v>
                </c:pt>
                <c:pt idx="24411">
                  <c:v>21682</c:v>
                </c:pt>
                <c:pt idx="24412">
                  <c:v>2188</c:v>
                </c:pt>
                <c:pt idx="24413">
                  <c:v>3397</c:v>
                </c:pt>
                <c:pt idx="24414">
                  <c:v>29875</c:v>
                </c:pt>
                <c:pt idx="24415">
                  <c:v>3494</c:v>
                </c:pt>
                <c:pt idx="24416">
                  <c:v>5410</c:v>
                </c:pt>
                <c:pt idx="24417">
                  <c:v>15847</c:v>
                </c:pt>
                <c:pt idx="24418">
                  <c:v>2011</c:v>
                </c:pt>
                <c:pt idx="24419">
                  <c:v>5954</c:v>
                </c:pt>
                <c:pt idx="24420">
                  <c:v>17875</c:v>
                </c:pt>
                <c:pt idx="24421">
                  <c:v>15645</c:v>
                </c:pt>
                <c:pt idx="24422">
                  <c:v>208</c:v>
                </c:pt>
                <c:pt idx="24423">
                  <c:v>211</c:v>
                </c:pt>
                <c:pt idx="24424">
                  <c:v>1681</c:v>
                </c:pt>
                <c:pt idx="24425">
                  <c:v>490</c:v>
                </c:pt>
                <c:pt idx="24426">
                  <c:v>2826</c:v>
                </c:pt>
                <c:pt idx="24427">
                  <c:v>13840</c:v>
                </c:pt>
                <c:pt idx="24428">
                  <c:v>1293</c:v>
                </c:pt>
                <c:pt idx="24429">
                  <c:v>12621</c:v>
                </c:pt>
                <c:pt idx="24430">
                  <c:v>14979</c:v>
                </c:pt>
                <c:pt idx="24431">
                  <c:v>3579</c:v>
                </c:pt>
                <c:pt idx="24432">
                  <c:v>3107</c:v>
                </c:pt>
                <c:pt idx="24433">
                  <c:v>722</c:v>
                </c:pt>
                <c:pt idx="24434">
                  <c:v>21710</c:v>
                </c:pt>
                <c:pt idx="24435">
                  <c:v>5403</c:v>
                </c:pt>
                <c:pt idx="24436">
                  <c:v>7706</c:v>
                </c:pt>
                <c:pt idx="24437">
                  <c:v>45443</c:v>
                </c:pt>
                <c:pt idx="24438">
                  <c:v>243</c:v>
                </c:pt>
                <c:pt idx="24439">
                  <c:v>687</c:v>
                </c:pt>
                <c:pt idx="24440">
                  <c:v>3577</c:v>
                </c:pt>
                <c:pt idx="24441">
                  <c:v>13827</c:v>
                </c:pt>
                <c:pt idx="24442">
                  <c:v>71</c:v>
                </c:pt>
                <c:pt idx="24443">
                  <c:v>3344</c:v>
                </c:pt>
                <c:pt idx="24444">
                  <c:v>9463</c:v>
                </c:pt>
                <c:pt idx="24445">
                  <c:v>11985</c:v>
                </c:pt>
                <c:pt idx="24446">
                  <c:v>139</c:v>
                </c:pt>
                <c:pt idx="24447">
                  <c:v>518</c:v>
                </c:pt>
                <c:pt idx="24448">
                  <c:v>10308</c:v>
                </c:pt>
                <c:pt idx="24449">
                  <c:v>18850</c:v>
                </c:pt>
                <c:pt idx="24450">
                  <c:v>18166</c:v>
                </c:pt>
                <c:pt idx="24451">
                  <c:v>5107</c:v>
                </c:pt>
                <c:pt idx="24452">
                  <c:v>1240</c:v>
                </c:pt>
                <c:pt idx="24453">
                  <c:v>602</c:v>
                </c:pt>
                <c:pt idx="24454">
                  <c:v>7687</c:v>
                </c:pt>
                <c:pt idx="24455">
                  <c:v>20720</c:v>
                </c:pt>
                <c:pt idx="24456">
                  <c:v>1586</c:v>
                </c:pt>
                <c:pt idx="24457">
                  <c:v>822</c:v>
                </c:pt>
                <c:pt idx="24458">
                  <c:v>3202</c:v>
                </c:pt>
                <c:pt idx="24459">
                  <c:v>31279</c:v>
                </c:pt>
                <c:pt idx="24460">
                  <c:v>41300</c:v>
                </c:pt>
                <c:pt idx="24461">
                  <c:v>9418</c:v>
                </c:pt>
                <c:pt idx="24462">
                  <c:v>2990</c:v>
                </c:pt>
                <c:pt idx="24463">
                  <c:v>8543</c:v>
                </c:pt>
                <c:pt idx="24464">
                  <c:v>6239</c:v>
                </c:pt>
                <c:pt idx="24465">
                  <c:v>3519</c:v>
                </c:pt>
                <c:pt idx="24466">
                  <c:v>1027</c:v>
                </c:pt>
                <c:pt idx="24467">
                  <c:v>2710</c:v>
                </c:pt>
                <c:pt idx="24468">
                  <c:v>14454</c:v>
                </c:pt>
                <c:pt idx="24469">
                  <c:v>8227</c:v>
                </c:pt>
                <c:pt idx="24470">
                  <c:v>1983</c:v>
                </c:pt>
                <c:pt idx="24471">
                  <c:v>1446</c:v>
                </c:pt>
                <c:pt idx="24472">
                  <c:v>2784</c:v>
                </c:pt>
                <c:pt idx="24473">
                  <c:v>1478</c:v>
                </c:pt>
                <c:pt idx="24474">
                  <c:v>60795</c:v>
                </c:pt>
                <c:pt idx="24475">
                  <c:v>128</c:v>
                </c:pt>
                <c:pt idx="24476">
                  <c:v>1279</c:v>
                </c:pt>
                <c:pt idx="24477">
                  <c:v>385</c:v>
                </c:pt>
                <c:pt idx="24478">
                  <c:v>33974</c:v>
                </c:pt>
                <c:pt idx="24479">
                  <c:v>31323</c:v>
                </c:pt>
                <c:pt idx="24480">
                  <c:v>43235</c:v>
                </c:pt>
                <c:pt idx="24481">
                  <c:v>4887</c:v>
                </c:pt>
                <c:pt idx="24482">
                  <c:v>67</c:v>
                </c:pt>
                <c:pt idx="24483">
                  <c:v>378</c:v>
                </c:pt>
                <c:pt idx="24484">
                  <c:v>245</c:v>
                </c:pt>
                <c:pt idx="24485">
                  <c:v>84</c:v>
                </c:pt>
                <c:pt idx="24486">
                  <c:v>6578</c:v>
                </c:pt>
                <c:pt idx="24487">
                  <c:v>29090</c:v>
                </c:pt>
                <c:pt idx="24488">
                  <c:v>7303</c:v>
                </c:pt>
                <c:pt idx="24489">
                  <c:v>14653</c:v>
                </c:pt>
                <c:pt idx="24490">
                  <c:v>13943</c:v>
                </c:pt>
                <c:pt idx="24491">
                  <c:v>34607</c:v>
                </c:pt>
                <c:pt idx="24492">
                  <c:v>13799</c:v>
                </c:pt>
                <c:pt idx="24493">
                  <c:v>17953</c:v>
                </c:pt>
                <c:pt idx="24494">
                  <c:v>1020</c:v>
                </c:pt>
                <c:pt idx="24495">
                  <c:v>5655</c:v>
                </c:pt>
                <c:pt idx="24496">
                  <c:v>3949</c:v>
                </c:pt>
                <c:pt idx="24497">
                  <c:v>20118</c:v>
                </c:pt>
                <c:pt idx="24498">
                  <c:v>11783</c:v>
                </c:pt>
                <c:pt idx="24499">
                  <c:v>5205</c:v>
                </c:pt>
                <c:pt idx="24500">
                  <c:v>7625</c:v>
                </c:pt>
                <c:pt idx="24501">
                  <c:v>17501</c:v>
                </c:pt>
                <c:pt idx="24502">
                  <c:v>16071</c:v>
                </c:pt>
                <c:pt idx="24503">
                  <c:v>19136</c:v>
                </c:pt>
                <c:pt idx="24504">
                  <c:v>5159</c:v>
                </c:pt>
                <c:pt idx="24505">
                  <c:v>13967</c:v>
                </c:pt>
                <c:pt idx="24506">
                  <c:v>10067</c:v>
                </c:pt>
                <c:pt idx="24507">
                  <c:v>4300</c:v>
                </c:pt>
                <c:pt idx="24508">
                  <c:v>10255</c:v>
                </c:pt>
                <c:pt idx="24509">
                  <c:v>10534</c:v>
                </c:pt>
                <c:pt idx="24510">
                  <c:v>4830</c:v>
                </c:pt>
                <c:pt idx="24511">
                  <c:v>10527</c:v>
                </c:pt>
                <c:pt idx="24512">
                  <c:v>12290</c:v>
                </c:pt>
                <c:pt idx="24513">
                  <c:v>9792</c:v>
                </c:pt>
                <c:pt idx="24514">
                  <c:v>30112</c:v>
                </c:pt>
                <c:pt idx="24515">
                  <c:v>26773</c:v>
                </c:pt>
                <c:pt idx="24516">
                  <c:v>38550</c:v>
                </c:pt>
                <c:pt idx="24517">
                  <c:v>13482</c:v>
                </c:pt>
                <c:pt idx="24518">
                  <c:v>11382</c:v>
                </c:pt>
                <c:pt idx="24519">
                  <c:v>31201</c:v>
                </c:pt>
                <c:pt idx="24520">
                  <c:v>19957</c:v>
                </c:pt>
                <c:pt idx="24521">
                  <c:v>16671</c:v>
                </c:pt>
                <c:pt idx="24522">
                  <c:v>11725</c:v>
                </c:pt>
                <c:pt idx="24523">
                  <c:v>12968</c:v>
                </c:pt>
                <c:pt idx="24524">
                  <c:v>31522</c:v>
                </c:pt>
                <c:pt idx="24525">
                  <c:v>16362</c:v>
                </c:pt>
                <c:pt idx="24526">
                  <c:v>5995</c:v>
                </c:pt>
                <c:pt idx="24527">
                  <c:v>13964</c:v>
                </c:pt>
                <c:pt idx="24528">
                  <c:v>29522</c:v>
                </c:pt>
                <c:pt idx="24529">
                  <c:v>26283</c:v>
                </c:pt>
                <c:pt idx="24530">
                  <c:v>8802</c:v>
                </c:pt>
                <c:pt idx="24531">
                  <c:v>289</c:v>
                </c:pt>
                <c:pt idx="24532">
                  <c:v>410</c:v>
                </c:pt>
                <c:pt idx="24533">
                  <c:v>137</c:v>
                </c:pt>
                <c:pt idx="24534">
                  <c:v>1149</c:v>
                </c:pt>
                <c:pt idx="24535">
                  <c:v>300</c:v>
                </c:pt>
                <c:pt idx="24536">
                  <c:v>2106</c:v>
                </c:pt>
                <c:pt idx="24537">
                  <c:v>1527</c:v>
                </c:pt>
                <c:pt idx="24538">
                  <c:v>3262</c:v>
                </c:pt>
                <c:pt idx="24539">
                  <c:v>20015</c:v>
                </c:pt>
                <c:pt idx="24540">
                  <c:v>21356</c:v>
                </c:pt>
                <c:pt idx="24541">
                  <c:v>5104</c:v>
                </c:pt>
                <c:pt idx="24542">
                  <c:v>491</c:v>
                </c:pt>
                <c:pt idx="24543">
                  <c:v>346</c:v>
                </c:pt>
                <c:pt idx="24544">
                  <c:v>492</c:v>
                </c:pt>
                <c:pt idx="24545">
                  <c:v>567</c:v>
                </c:pt>
                <c:pt idx="24546">
                  <c:v>507</c:v>
                </c:pt>
                <c:pt idx="24547">
                  <c:v>91</c:v>
                </c:pt>
                <c:pt idx="24548">
                  <c:v>531</c:v>
                </c:pt>
                <c:pt idx="24549">
                  <c:v>212</c:v>
                </c:pt>
                <c:pt idx="24550">
                  <c:v>567</c:v>
                </c:pt>
                <c:pt idx="24551">
                  <c:v>2890</c:v>
                </c:pt>
                <c:pt idx="24552">
                  <c:v>100</c:v>
                </c:pt>
                <c:pt idx="24553">
                  <c:v>1015</c:v>
                </c:pt>
                <c:pt idx="24554">
                  <c:v>1285</c:v>
                </c:pt>
                <c:pt idx="24555">
                  <c:v>61</c:v>
                </c:pt>
                <c:pt idx="24556">
                  <c:v>4414</c:v>
                </c:pt>
                <c:pt idx="24557">
                  <c:v>327</c:v>
                </c:pt>
                <c:pt idx="24558">
                  <c:v>4562</c:v>
                </c:pt>
                <c:pt idx="24559">
                  <c:v>401</c:v>
                </c:pt>
                <c:pt idx="24560">
                  <c:v>2012</c:v>
                </c:pt>
                <c:pt idx="24561">
                  <c:v>323</c:v>
                </c:pt>
                <c:pt idx="24562">
                  <c:v>109</c:v>
                </c:pt>
                <c:pt idx="24563">
                  <c:v>1185</c:v>
                </c:pt>
                <c:pt idx="24564">
                  <c:v>525</c:v>
                </c:pt>
                <c:pt idx="24565">
                  <c:v>2447</c:v>
                </c:pt>
                <c:pt idx="24566">
                  <c:v>4736</c:v>
                </c:pt>
                <c:pt idx="24567">
                  <c:v>714</c:v>
                </c:pt>
                <c:pt idx="24568">
                  <c:v>2337</c:v>
                </c:pt>
                <c:pt idx="24569">
                  <c:v>335</c:v>
                </c:pt>
                <c:pt idx="24570">
                  <c:v>70</c:v>
                </c:pt>
                <c:pt idx="24571">
                  <c:v>91</c:v>
                </c:pt>
                <c:pt idx="24572">
                  <c:v>808</c:v>
                </c:pt>
                <c:pt idx="24573">
                  <c:v>5987</c:v>
                </c:pt>
                <c:pt idx="24574">
                  <c:v>890</c:v>
                </c:pt>
                <c:pt idx="24575">
                  <c:v>97</c:v>
                </c:pt>
                <c:pt idx="24576">
                  <c:v>1578</c:v>
                </c:pt>
                <c:pt idx="24577">
                  <c:v>11501</c:v>
                </c:pt>
                <c:pt idx="24578">
                  <c:v>156</c:v>
                </c:pt>
                <c:pt idx="24579">
                  <c:v>833</c:v>
                </c:pt>
                <c:pt idx="24580">
                  <c:v>40</c:v>
                </c:pt>
                <c:pt idx="24581">
                  <c:v>4953</c:v>
                </c:pt>
                <c:pt idx="24582">
                  <c:v>179</c:v>
                </c:pt>
                <c:pt idx="24583">
                  <c:v>2278</c:v>
                </c:pt>
                <c:pt idx="24584">
                  <c:v>7115</c:v>
                </c:pt>
                <c:pt idx="24585">
                  <c:v>470</c:v>
                </c:pt>
                <c:pt idx="24586">
                  <c:v>53</c:v>
                </c:pt>
                <c:pt idx="24587">
                  <c:v>225</c:v>
                </c:pt>
                <c:pt idx="24588">
                  <c:v>2897</c:v>
                </c:pt>
                <c:pt idx="24589">
                  <c:v>2195</c:v>
                </c:pt>
                <c:pt idx="24590">
                  <c:v>343</c:v>
                </c:pt>
                <c:pt idx="24591">
                  <c:v>921</c:v>
                </c:pt>
                <c:pt idx="24592">
                  <c:v>1021</c:v>
                </c:pt>
                <c:pt idx="24593">
                  <c:v>513</c:v>
                </c:pt>
                <c:pt idx="24594">
                  <c:v>618</c:v>
                </c:pt>
                <c:pt idx="24595">
                  <c:v>209</c:v>
                </c:pt>
                <c:pt idx="24596">
                  <c:v>8440</c:v>
                </c:pt>
                <c:pt idx="24597">
                  <c:v>217</c:v>
                </c:pt>
                <c:pt idx="24598">
                  <c:v>632</c:v>
                </c:pt>
                <c:pt idx="24599">
                  <c:v>171</c:v>
                </c:pt>
                <c:pt idx="24600">
                  <c:v>565</c:v>
                </c:pt>
                <c:pt idx="24601">
                  <c:v>297</c:v>
                </c:pt>
                <c:pt idx="24602">
                  <c:v>117</c:v>
                </c:pt>
                <c:pt idx="24603">
                  <c:v>182</c:v>
                </c:pt>
                <c:pt idx="24604">
                  <c:v>309</c:v>
                </c:pt>
                <c:pt idx="24605">
                  <c:v>882</c:v>
                </c:pt>
                <c:pt idx="24606">
                  <c:v>8307</c:v>
                </c:pt>
                <c:pt idx="24607">
                  <c:v>1791</c:v>
                </c:pt>
                <c:pt idx="24608">
                  <c:v>4803</c:v>
                </c:pt>
                <c:pt idx="24609">
                  <c:v>10831</c:v>
                </c:pt>
                <c:pt idx="24610">
                  <c:v>1281</c:v>
                </c:pt>
                <c:pt idx="24611">
                  <c:v>123</c:v>
                </c:pt>
                <c:pt idx="24612">
                  <c:v>1296</c:v>
                </c:pt>
                <c:pt idx="24613">
                  <c:v>72</c:v>
                </c:pt>
                <c:pt idx="24614">
                  <c:v>735</c:v>
                </c:pt>
                <c:pt idx="24615">
                  <c:v>689</c:v>
                </c:pt>
                <c:pt idx="24616">
                  <c:v>1377</c:v>
                </c:pt>
                <c:pt idx="24617">
                  <c:v>336</c:v>
                </c:pt>
                <c:pt idx="24618">
                  <c:v>1788</c:v>
                </c:pt>
                <c:pt idx="24619">
                  <c:v>711</c:v>
                </c:pt>
                <c:pt idx="24620">
                  <c:v>1231</c:v>
                </c:pt>
                <c:pt idx="24621">
                  <c:v>867</c:v>
                </c:pt>
                <c:pt idx="24622">
                  <c:v>536</c:v>
                </c:pt>
                <c:pt idx="24623">
                  <c:v>129</c:v>
                </c:pt>
                <c:pt idx="24624">
                  <c:v>778</c:v>
                </c:pt>
                <c:pt idx="24625">
                  <c:v>4199</c:v>
                </c:pt>
                <c:pt idx="24626">
                  <c:v>4973</c:v>
                </c:pt>
                <c:pt idx="24627">
                  <c:v>3043</c:v>
                </c:pt>
                <c:pt idx="24628">
                  <c:v>12832</c:v>
                </c:pt>
                <c:pt idx="24629">
                  <c:v>13234</c:v>
                </c:pt>
                <c:pt idx="24630">
                  <c:v>4966</c:v>
                </c:pt>
                <c:pt idx="24631">
                  <c:v>21884</c:v>
                </c:pt>
                <c:pt idx="24632">
                  <c:v>9041</c:v>
                </c:pt>
                <c:pt idx="24633">
                  <c:v>13636</c:v>
                </c:pt>
                <c:pt idx="24634">
                  <c:v>11363</c:v>
                </c:pt>
                <c:pt idx="24635">
                  <c:v>2679</c:v>
                </c:pt>
                <c:pt idx="24636">
                  <c:v>5148</c:v>
                </c:pt>
                <c:pt idx="24637">
                  <c:v>2919</c:v>
                </c:pt>
                <c:pt idx="24638">
                  <c:v>103</c:v>
                </c:pt>
                <c:pt idx="24639">
                  <c:v>455</c:v>
                </c:pt>
                <c:pt idx="24640">
                  <c:v>1102</c:v>
                </c:pt>
                <c:pt idx="24641">
                  <c:v>483</c:v>
                </c:pt>
                <c:pt idx="24642">
                  <c:v>106</c:v>
                </c:pt>
                <c:pt idx="24643">
                  <c:v>1279</c:v>
                </c:pt>
                <c:pt idx="24644">
                  <c:v>86</c:v>
                </c:pt>
                <c:pt idx="24645">
                  <c:v>279</c:v>
                </c:pt>
                <c:pt idx="24646">
                  <c:v>40</c:v>
                </c:pt>
                <c:pt idx="24647">
                  <c:v>65</c:v>
                </c:pt>
                <c:pt idx="24648">
                  <c:v>910</c:v>
                </c:pt>
                <c:pt idx="24649">
                  <c:v>414</c:v>
                </c:pt>
                <c:pt idx="24650">
                  <c:v>909</c:v>
                </c:pt>
                <c:pt idx="24651">
                  <c:v>654</c:v>
                </c:pt>
                <c:pt idx="24652">
                  <c:v>542</c:v>
                </c:pt>
                <c:pt idx="24653">
                  <c:v>36</c:v>
                </c:pt>
                <c:pt idx="24654">
                  <c:v>1452</c:v>
                </c:pt>
                <c:pt idx="24655">
                  <c:v>189</c:v>
                </c:pt>
                <c:pt idx="24656">
                  <c:v>126</c:v>
                </c:pt>
                <c:pt idx="24657">
                  <c:v>385</c:v>
                </c:pt>
                <c:pt idx="24658">
                  <c:v>151</c:v>
                </c:pt>
                <c:pt idx="24659">
                  <c:v>1577</c:v>
                </c:pt>
                <c:pt idx="24660">
                  <c:v>473</c:v>
                </c:pt>
                <c:pt idx="24661">
                  <c:v>602</c:v>
                </c:pt>
                <c:pt idx="24662">
                  <c:v>4106</c:v>
                </c:pt>
                <c:pt idx="24663">
                  <c:v>735</c:v>
                </c:pt>
                <c:pt idx="24664">
                  <c:v>3122</c:v>
                </c:pt>
                <c:pt idx="24665">
                  <c:v>774</c:v>
                </c:pt>
                <c:pt idx="24666">
                  <c:v>1409</c:v>
                </c:pt>
                <c:pt idx="24667">
                  <c:v>3940</c:v>
                </c:pt>
                <c:pt idx="24668">
                  <c:v>6826</c:v>
                </c:pt>
                <c:pt idx="24669">
                  <c:v>2861</c:v>
                </c:pt>
                <c:pt idx="24670">
                  <c:v>143</c:v>
                </c:pt>
                <c:pt idx="24671">
                  <c:v>832</c:v>
                </c:pt>
                <c:pt idx="24672">
                  <c:v>511</c:v>
                </c:pt>
                <c:pt idx="24673">
                  <c:v>897</c:v>
                </c:pt>
                <c:pt idx="24674">
                  <c:v>2708</c:v>
                </c:pt>
                <c:pt idx="24675">
                  <c:v>330</c:v>
                </c:pt>
                <c:pt idx="24676">
                  <c:v>559</c:v>
                </c:pt>
                <c:pt idx="24677">
                  <c:v>722</c:v>
                </c:pt>
                <c:pt idx="24678">
                  <c:v>1648</c:v>
                </c:pt>
                <c:pt idx="24679">
                  <c:v>962</c:v>
                </c:pt>
                <c:pt idx="24680">
                  <c:v>606</c:v>
                </c:pt>
                <c:pt idx="24681">
                  <c:v>1370</c:v>
                </c:pt>
                <c:pt idx="24682">
                  <c:v>6185</c:v>
                </c:pt>
                <c:pt idx="24683">
                  <c:v>2857</c:v>
                </c:pt>
                <c:pt idx="24684">
                  <c:v>3239</c:v>
                </c:pt>
                <c:pt idx="24685">
                  <c:v>636</c:v>
                </c:pt>
                <c:pt idx="24686">
                  <c:v>323</c:v>
                </c:pt>
                <c:pt idx="24687">
                  <c:v>411</c:v>
                </c:pt>
                <c:pt idx="24688">
                  <c:v>835</c:v>
                </c:pt>
                <c:pt idx="24689">
                  <c:v>616</c:v>
                </c:pt>
                <c:pt idx="24690">
                  <c:v>1346</c:v>
                </c:pt>
                <c:pt idx="24691">
                  <c:v>64</c:v>
                </c:pt>
                <c:pt idx="24692">
                  <c:v>113</c:v>
                </c:pt>
                <c:pt idx="24693">
                  <c:v>206</c:v>
                </c:pt>
                <c:pt idx="24694">
                  <c:v>616</c:v>
                </c:pt>
                <c:pt idx="24695">
                  <c:v>4009</c:v>
                </c:pt>
                <c:pt idx="24696">
                  <c:v>29</c:v>
                </c:pt>
                <c:pt idx="24697">
                  <c:v>4447</c:v>
                </c:pt>
                <c:pt idx="24698">
                  <c:v>6304</c:v>
                </c:pt>
                <c:pt idx="24699">
                  <c:v>3741</c:v>
                </c:pt>
                <c:pt idx="24700">
                  <c:v>11759</c:v>
                </c:pt>
                <c:pt idx="24701">
                  <c:v>5456</c:v>
                </c:pt>
                <c:pt idx="24702">
                  <c:v>3555</c:v>
                </c:pt>
                <c:pt idx="24703">
                  <c:v>6943</c:v>
                </c:pt>
                <c:pt idx="24704">
                  <c:v>11263</c:v>
                </c:pt>
                <c:pt idx="24705">
                  <c:v>9959</c:v>
                </c:pt>
                <c:pt idx="24706">
                  <c:v>7342</c:v>
                </c:pt>
                <c:pt idx="24707">
                  <c:v>17225</c:v>
                </c:pt>
                <c:pt idx="24708">
                  <c:v>21481</c:v>
                </c:pt>
                <c:pt idx="24709">
                  <c:v>25745</c:v>
                </c:pt>
                <c:pt idx="24710">
                  <c:v>1036</c:v>
                </c:pt>
                <c:pt idx="24711">
                  <c:v>575</c:v>
                </c:pt>
                <c:pt idx="24712">
                  <c:v>79</c:v>
                </c:pt>
                <c:pt idx="24713">
                  <c:v>1621</c:v>
                </c:pt>
                <c:pt idx="24714">
                  <c:v>98</c:v>
                </c:pt>
                <c:pt idx="24715">
                  <c:v>205</c:v>
                </c:pt>
                <c:pt idx="24716">
                  <c:v>495</c:v>
                </c:pt>
                <c:pt idx="24717">
                  <c:v>3393</c:v>
                </c:pt>
                <c:pt idx="24718">
                  <c:v>499</c:v>
                </c:pt>
                <c:pt idx="24719">
                  <c:v>2889</c:v>
                </c:pt>
                <c:pt idx="24720">
                  <c:v>1056</c:v>
                </c:pt>
                <c:pt idx="24721">
                  <c:v>1384</c:v>
                </c:pt>
                <c:pt idx="24722">
                  <c:v>61</c:v>
                </c:pt>
                <c:pt idx="24723">
                  <c:v>1281</c:v>
                </c:pt>
                <c:pt idx="24724">
                  <c:v>297</c:v>
                </c:pt>
                <c:pt idx="24725">
                  <c:v>105</c:v>
                </c:pt>
                <c:pt idx="24726">
                  <c:v>176</c:v>
                </c:pt>
                <c:pt idx="24727">
                  <c:v>467</c:v>
                </c:pt>
                <c:pt idx="24728">
                  <c:v>234</c:v>
                </c:pt>
                <c:pt idx="24729">
                  <c:v>374</c:v>
                </c:pt>
                <c:pt idx="24730">
                  <c:v>168</c:v>
                </c:pt>
                <c:pt idx="24731">
                  <c:v>83</c:v>
                </c:pt>
                <c:pt idx="24732">
                  <c:v>37</c:v>
                </c:pt>
                <c:pt idx="24733">
                  <c:v>2420</c:v>
                </c:pt>
                <c:pt idx="24734">
                  <c:v>80</c:v>
                </c:pt>
                <c:pt idx="24735">
                  <c:v>698</c:v>
                </c:pt>
                <c:pt idx="24736">
                  <c:v>240</c:v>
                </c:pt>
                <c:pt idx="24737">
                  <c:v>775</c:v>
                </c:pt>
                <c:pt idx="24738">
                  <c:v>784</c:v>
                </c:pt>
                <c:pt idx="24739">
                  <c:v>246</c:v>
                </c:pt>
                <c:pt idx="24740">
                  <c:v>59</c:v>
                </c:pt>
                <c:pt idx="24741">
                  <c:v>6127</c:v>
                </c:pt>
                <c:pt idx="24742">
                  <c:v>1137</c:v>
                </c:pt>
                <c:pt idx="24743">
                  <c:v>5148</c:v>
                </c:pt>
                <c:pt idx="24744">
                  <c:v>60</c:v>
                </c:pt>
                <c:pt idx="24745">
                  <c:v>297</c:v>
                </c:pt>
                <c:pt idx="24746">
                  <c:v>1752</c:v>
                </c:pt>
                <c:pt idx="24747">
                  <c:v>448</c:v>
                </c:pt>
                <c:pt idx="24748">
                  <c:v>101</c:v>
                </c:pt>
                <c:pt idx="24749">
                  <c:v>54</c:v>
                </c:pt>
                <c:pt idx="24750">
                  <c:v>1350</c:v>
                </c:pt>
                <c:pt idx="24751">
                  <c:v>10109</c:v>
                </c:pt>
                <c:pt idx="24752">
                  <c:v>12983</c:v>
                </c:pt>
                <c:pt idx="24753">
                  <c:v>11171</c:v>
                </c:pt>
                <c:pt idx="24754">
                  <c:v>14756</c:v>
                </c:pt>
                <c:pt idx="24755">
                  <c:v>13847</c:v>
                </c:pt>
                <c:pt idx="24756">
                  <c:v>2305</c:v>
                </c:pt>
                <c:pt idx="24757">
                  <c:v>13538</c:v>
                </c:pt>
                <c:pt idx="24758">
                  <c:v>11508</c:v>
                </c:pt>
                <c:pt idx="24759">
                  <c:v>21302</c:v>
                </c:pt>
                <c:pt idx="24760">
                  <c:v>14188</c:v>
                </c:pt>
                <c:pt idx="24761">
                  <c:v>19785</c:v>
                </c:pt>
                <c:pt idx="24762">
                  <c:v>314</c:v>
                </c:pt>
                <c:pt idx="24763">
                  <c:v>8677</c:v>
                </c:pt>
                <c:pt idx="24764">
                  <c:v>13263</c:v>
                </c:pt>
                <c:pt idx="24765">
                  <c:v>1951</c:v>
                </c:pt>
                <c:pt idx="24766">
                  <c:v>609</c:v>
                </c:pt>
                <c:pt idx="24767">
                  <c:v>5092</c:v>
                </c:pt>
                <c:pt idx="24768">
                  <c:v>509</c:v>
                </c:pt>
                <c:pt idx="24769">
                  <c:v>110</c:v>
                </c:pt>
                <c:pt idx="24770">
                  <c:v>261</c:v>
                </c:pt>
                <c:pt idx="24771">
                  <c:v>151</c:v>
                </c:pt>
                <c:pt idx="24772">
                  <c:v>660</c:v>
                </c:pt>
                <c:pt idx="24773">
                  <c:v>2804</c:v>
                </c:pt>
                <c:pt idx="24774">
                  <c:v>213</c:v>
                </c:pt>
                <c:pt idx="24775">
                  <c:v>823</c:v>
                </c:pt>
                <c:pt idx="24776">
                  <c:v>4254</c:v>
                </c:pt>
                <c:pt idx="24777">
                  <c:v>1098</c:v>
                </c:pt>
                <c:pt idx="24778">
                  <c:v>14173</c:v>
                </c:pt>
                <c:pt idx="24779">
                  <c:v>19898</c:v>
                </c:pt>
                <c:pt idx="24780">
                  <c:v>14178</c:v>
                </c:pt>
                <c:pt idx="24781">
                  <c:v>12645</c:v>
                </c:pt>
                <c:pt idx="24782">
                  <c:v>10557</c:v>
                </c:pt>
                <c:pt idx="24783">
                  <c:v>3610</c:v>
                </c:pt>
                <c:pt idx="24784">
                  <c:v>5937</c:v>
                </c:pt>
                <c:pt idx="24785">
                  <c:v>77</c:v>
                </c:pt>
                <c:pt idx="24786">
                  <c:v>495</c:v>
                </c:pt>
                <c:pt idx="24787">
                  <c:v>1980</c:v>
                </c:pt>
                <c:pt idx="24788">
                  <c:v>146</c:v>
                </c:pt>
                <c:pt idx="24789">
                  <c:v>371</c:v>
                </c:pt>
                <c:pt idx="24790">
                  <c:v>559</c:v>
                </c:pt>
                <c:pt idx="24791">
                  <c:v>2303</c:v>
                </c:pt>
                <c:pt idx="24792">
                  <c:v>4027</c:v>
                </c:pt>
                <c:pt idx="24793">
                  <c:v>4528</c:v>
                </c:pt>
                <c:pt idx="24794">
                  <c:v>3004</c:v>
                </c:pt>
                <c:pt idx="24795">
                  <c:v>122</c:v>
                </c:pt>
                <c:pt idx="24796">
                  <c:v>1983</c:v>
                </c:pt>
                <c:pt idx="24797">
                  <c:v>338</c:v>
                </c:pt>
                <c:pt idx="24798">
                  <c:v>244</c:v>
                </c:pt>
                <c:pt idx="24799">
                  <c:v>1640</c:v>
                </c:pt>
                <c:pt idx="24800">
                  <c:v>953</c:v>
                </c:pt>
                <c:pt idx="24801">
                  <c:v>328</c:v>
                </c:pt>
                <c:pt idx="24802">
                  <c:v>5118</c:v>
                </c:pt>
                <c:pt idx="24803">
                  <c:v>281</c:v>
                </c:pt>
                <c:pt idx="24804">
                  <c:v>1216</c:v>
                </c:pt>
                <c:pt idx="24805">
                  <c:v>721</c:v>
                </c:pt>
                <c:pt idx="24806">
                  <c:v>2283</c:v>
                </c:pt>
                <c:pt idx="24807">
                  <c:v>8843</c:v>
                </c:pt>
                <c:pt idx="24808">
                  <c:v>6515</c:v>
                </c:pt>
                <c:pt idx="24809">
                  <c:v>11771</c:v>
                </c:pt>
                <c:pt idx="24810">
                  <c:v>7097</c:v>
                </c:pt>
                <c:pt idx="24811">
                  <c:v>20229</c:v>
                </c:pt>
                <c:pt idx="24812">
                  <c:v>3695</c:v>
                </c:pt>
                <c:pt idx="24813">
                  <c:v>38424</c:v>
                </c:pt>
                <c:pt idx="24814">
                  <c:v>13650</c:v>
                </c:pt>
                <c:pt idx="24815">
                  <c:v>3564</c:v>
                </c:pt>
                <c:pt idx="24816">
                  <c:v>24700</c:v>
                </c:pt>
                <c:pt idx="24817">
                  <c:v>18578</c:v>
                </c:pt>
                <c:pt idx="24818">
                  <c:v>18290</c:v>
                </c:pt>
                <c:pt idx="24819">
                  <c:v>32648</c:v>
                </c:pt>
                <c:pt idx="24820">
                  <c:v>12756</c:v>
                </c:pt>
                <c:pt idx="24821">
                  <c:v>13616</c:v>
                </c:pt>
                <c:pt idx="24822">
                  <c:v>13542</c:v>
                </c:pt>
                <c:pt idx="24823">
                  <c:v>8549</c:v>
                </c:pt>
                <c:pt idx="24824">
                  <c:v>50853</c:v>
                </c:pt>
                <c:pt idx="24825">
                  <c:v>38704</c:v>
                </c:pt>
                <c:pt idx="24826">
                  <c:v>11490</c:v>
                </c:pt>
                <c:pt idx="24827">
                  <c:v>19563</c:v>
                </c:pt>
                <c:pt idx="24828">
                  <c:v>19263</c:v>
                </c:pt>
                <c:pt idx="24829">
                  <c:v>15965</c:v>
                </c:pt>
                <c:pt idx="24830">
                  <c:v>9059</c:v>
                </c:pt>
                <c:pt idx="24831">
                  <c:v>19873</c:v>
                </c:pt>
                <c:pt idx="24832">
                  <c:v>25637</c:v>
                </c:pt>
                <c:pt idx="24833">
                  <c:v>25892</c:v>
                </c:pt>
                <c:pt idx="24834">
                  <c:v>40911</c:v>
                </c:pt>
                <c:pt idx="24835">
                  <c:v>20625</c:v>
                </c:pt>
                <c:pt idx="24836">
                  <c:v>38762</c:v>
                </c:pt>
                <c:pt idx="24837">
                  <c:v>33110</c:v>
                </c:pt>
                <c:pt idx="24838">
                  <c:v>21808</c:v>
                </c:pt>
                <c:pt idx="24839">
                  <c:v>7739</c:v>
                </c:pt>
                <c:pt idx="24840">
                  <c:v>2728</c:v>
                </c:pt>
                <c:pt idx="24841">
                  <c:v>30730</c:v>
                </c:pt>
                <c:pt idx="24842">
                  <c:v>22325</c:v>
                </c:pt>
                <c:pt idx="24843">
                  <c:v>27569</c:v>
                </c:pt>
                <c:pt idx="24844">
                  <c:v>12407</c:v>
                </c:pt>
                <c:pt idx="24845">
                  <c:v>18293</c:v>
                </c:pt>
                <c:pt idx="24846">
                  <c:v>18289</c:v>
                </c:pt>
                <c:pt idx="24847">
                  <c:v>7881</c:v>
                </c:pt>
                <c:pt idx="24848">
                  <c:v>20323</c:v>
                </c:pt>
                <c:pt idx="24849">
                  <c:v>14693</c:v>
                </c:pt>
                <c:pt idx="24850">
                  <c:v>148</c:v>
                </c:pt>
                <c:pt idx="24851">
                  <c:v>3432</c:v>
                </c:pt>
                <c:pt idx="24852">
                  <c:v>1189</c:v>
                </c:pt>
                <c:pt idx="24853">
                  <c:v>18912</c:v>
                </c:pt>
                <c:pt idx="24854">
                  <c:v>875</c:v>
                </c:pt>
                <c:pt idx="24855">
                  <c:v>2376</c:v>
                </c:pt>
                <c:pt idx="24856">
                  <c:v>7191</c:v>
                </c:pt>
                <c:pt idx="24857">
                  <c:v>16368</c:v>
                </c:pt>
                <c:pt idx="24858">
                  <c:v>13040</c:v>
                </c:pt>
                <c:pt idx="24859">
                  <c:v>13758</c:v>
                </c:pt>
                <c:pt idx="24860">
                  <c:v>17134</c:v>
                </c:pt>
                <c:pt idx="24861">
                  <c:v>19152</c:v>
                </c:pt>
                <c:pt idx="24862">
                  <c:v>12124</c:v>
                </c:pt>
                <c:pt idx="24863">
                  <c:v>2106</c:v>
                </c:pt>
                <c:pt idx="24864">
                  <c:v>1434</c:v>
                </c:pt>
                <c:pt idx="24865">
                  <c:v>3241</c:v>
                </c:pt>
                <c:pt idx="24866">
                  <c:v>15891</c:v>
                </c:pt>
                <c:pt idx="24867">
                  <c:v>8886</c:v>
                </c:pt>
                <c:pt idx="24868">
                  <c:v>17302</c:v>
                </c:pt>
                <c:pt idx="24869">
                  <c:v>24553</c:v>
                </c:pt>
                <c:pt idx="24870">
                  <c:v>12542</c:v>
                </c:pt>
                <c:pt idx="24871">
                  <c:v>6113</c:v>
                </c:pt>
                <c:pt idx="24872">
                  <c:v>23486</c:v>
                </c:pt>
                <c:pt idx="24873">
                  <c:v>23484</c:v>
                </c:pt>
                <c:pt idx="24874">
                  <c:v>20195</c:v>
                </c:pt>
                <c:pt idx="24875">
                  <c:v>16621</c:v>
                </c:pt>
                <c:pt idx="24876">
                  <c:v>14492</c:v>
                </c:pt>
                <c:pt idx="24877">
                  <c:v>166</c:v>
                </c:pt>
                <c:pt idx="24878">
                  <c:v>13301</c:v>
                </c:pt>
                <c:pt idx="24879">
                  <c:v>1530</c:v>
                </c:pt>
                <c:pt idx="24880">
                  <c:v>40184</c:v>
                </c:pt>
                <c:pt idx="24881">
                  <c:v>2210</c:v>
                </c:pt>
                <c:pt idx="24882">
                  <c:v>2977</c:v>
                </c:pt>
                <c:pt idx="24883">
                  <c:v>821</c:v>
                </c:pt>
                <c:pt idx="24884">
                  <c:v>18696</c:v>
                </c:pt>
                <c:pt idx="24885">
                  <c:v>13001</c:v>
                </c:pt>
                <c:pt idx="24886">
                  <c:v>16495</c:v>
                </c:pt>
                <c:pt idx="24887">
                  <c:v>19547</c:v>
                </c:pt>
                <c:pt idx="24888">
                  <c:v>20171</c:v>
                </c:pt>
                <c:pt idx="24889">
                  <c:v>16431</c:v>
                </c:pt>
                <c:pt idx="24890">
                  <c:v>11840</c:v>
                </c:pt>
                <c:pt idx="24891">
                  <c:v>15165</c:v>
                </c:pt>
                <c:pt idx="24892">
                  <c:v>21876</c:v>
                </c:pt>
                <c:pt idx="24893">
                  <c:v>23845</c:v>
                </c:pt>
                <c:pt idx="24894">
                  <c:v>12334</c:v>
                </c:pt>
                <c:pt idx="24895">
                  <c:v>15367</c:v>
                </c:pt>
                <c:pt idx="24896">
                  <c:v>9757</c:v>
                </c:pt>
                <c:pt idx="24897">
                  <c:v>8778</c:v>
                </c:pt>
                <c:pt idx="24898">
                  <c:v>13790</c:v>
                </c:pt>
                <c:pt idx="24899">
                  <c:v>30594</c:v>
                </c:pt>
                <c:pt idx="24900">
                  <c:v>21387</c:v>
                </c:pt>
                <c:pt idx="24901">
                  <c:v>20861</c:v>
                </c:pt>
                <c:pt idx="24902">
                  <c:v>13986</c:v>
                </c:pt>
                <c:pt idx="24903">
                  <c:v>11692</c:v>
                </c:pt>
                <c:pt idx="24904">
                  <c:v>9658</c:v>
                </c:pt>
                <c:pt idx="24905">
                  <c:v>17099</c:v>
                </c:pt>
                <c:pt idx="24906">
                  <c:v>19052</c:v>
                </c:pt>
                <c:pt idx="24907">
                  <c:v>20109</c:v>
                </c:pt>
                <c:pt idx="24908">
                  <c:v>29211</c:v>
                </c:pt>
                <c:pt idx="24909">
                  <c:v>5685</c:v>
                </c:pt>
                <c:pt idx="24910">
                  <c:v>20705</c:v>
                </c:pt>
                <c:pt idx="24911">
                  <c:v>12189</c:v>
                </c:pt>
                <c:pt idx="24912">
                  <c:v>25461</c:v>
                </c:pt>
                <c:pt idx="24913">
                  <c:v>16261</c:v>
                </c:pt>
                <c:pt idx="24914">
                  <c:v>4839</c:v>
                </c:pt>
                <c:pt idx="24915">
                  <c:v>7554</c:v>
                </c:pt>
                <c:pt idx="24916">
                  <c:v>13420</c:v>
                </c:pt>
                <c:pt idx="24917">
                  <c:v>14623</c:v>
                </c:pt>
                <c:pt idx="24918">
                  <c:v>21214</c:v>
                </c:pt>
                <c:pt idx="24919">
                  <c:v>18241</c:v>
                </c:pt>
                <c:pt idx="24920">
                  <c:v>9475</c:v>
                </c:pt>
                <c:pt idx="24921">
                  <c:v>15926</c:v>
                </c:pt>
                <c:pt idx="24922">
                  <c:v>18160</c:v>
                </c:pt>
                <c:pt idx="24923">
                  <c:v>16658</c:v>
                </c:pt>
                <c:pt idx="24924">
                  <c:v>14358</c:v>
                </c:pt>
                <c:pt idx="24925">
                  <c:v>16160</c:v>
                </c:pt>
                <c:pt idx="24926">
                  <c:v>13295</c:v>
                </c:pt>
                <c:pt idx="24927">
                  <c:v>13627</c:v>
                </c:pt>
                <c:pt idx="24928">
                  <c:v>8981</c:v>
                </c:pt>
                <c:pt idx="24929">
                  <c:v>21924</c:v>
                </c:pt>
                <c:pt idx="24930">
                  <c:v>10800</c:v>
                </c:pt>
                <c:pt idx="24931">
                  <c:v>453</c:v>
                </c:pt>
                <c:pt idx="24932">
                  <c:v>4455</c:v>
                </c:pt>
                <c:pt idx="24933">
                  <c:v>2605</c:v>
                </c:pt>
                <c:pt idx="24934">
                  <c:v>7118</c:v>
                </c:pt>
                <c:pt idx="24935">
                  <c:v>422</c:v>
                </c:pt>
                <c:pt idx="24936">
                  <c:v>226</c:v>
                </c:pt>
                <c:pt idx="24937">
                  <c:v>4710</c:v>
                </c:pt>
                <c:pt idx="24938">
                  <c:v>4273</c:v>
                </c:pt>
                <c:pt idx="24939">
                  <c:v>181</c:v>
                </c:pt>
                <c:pt idx="24940">
                  <c:v>436</c:v>
                </c:pt>
                <c:pt idx="24941">
                  <c:v>12888</c:v>
                </c:pt>
                <c:pt idx="24942">
                  <c:v>1549</c:v>
                </c:pt>
                <c:pt idx="24943">
                  <c:v>1349</c:v>
                </c:pt>
                <c:pt idx="24944">
                  <c:v>2415</c:v>
                </c:pt>
                <c:pt idx="24945">
                  <c:v>575</c:v>
                </c:pt>
                <c:pt idx="24946">
                  <c:v>2199</c:v>
                </c:pt>
                <c:pt idx="24947">
                  <c:v>1304</c:v>
                </c:pt>
                <c:pt idx="24948">
                  <c:v>406</c:v>
                </c:pt>
                <c:pt idx="24949">
                  <c:v>471</c:v>
                </c:pt>
                <c:pt idx="24950">
                  <c:v>2071</c:v>
                </c:pt>
                <c:pt idx="24951">
                  <c:v>808</c:v>
                </c:pt>
                <c:pt idx="24952">
                  <c:v>242</c:v>
                </c:pt>
                <c:pt idx="24953">
                  <c:v>198</c:v>
                </c:pt>
                <c:pt idx="24954">
                  <c:v>314</c:v>
                </c:pt>
                <c:pt idx="24955">
                  <c:v>1112</c:v>
                </c:pt>
                <c:pt idx="24956">
                  <c:v>4092</c:v>
                </c:pt>
                <c:pt idx="24957">
                  <c:v>8627</c:v>
                </c:pt>
                <c:pt idx="24958">
                  <c:v>2030</c:v>
                </c:pt>
                <c:pt idx="24959">
                  <c:v>1318</c:v>
                </c:pt>
                <c:pt idx="24960">
                  <c:v>186</c:v>
                </c:pt>
                <c:pt idx="24961">
                  <c:v>1865</c:v>
                </c:pt>
                <c:pt idx="24962">
                  <c:v>74</c:v>
                </c:pt>
                <c:pt idx="24963">
                  <c:v>911</c:v>
                </c:pt>
                <c:pt idx="24964">
                  <c:v>529</c:v>
                </c:pt>
                <c:pt idx="24965">
                  <c:v>305</c:v>
                </c:pt>
                <c:pt idx="24966">
                  <c:v>653</c:v>
                </c:pt>
                <c:pt idx="24967">
                  <c:v>264</c:v>
                </c:pt>
                <c:pt idx="24968">
                  <c:v>10248</c:v>
                </c:pt>
                <c:pt idx="24969">
                  <c:v>5335</c:v>
                </c:pt>
                <c:pt idx="24970">
                  <c:v>23509</c:v>
                </c:pt>
                <c:pt idx="24971">
                  <c:v>19244</c:v>
                </c:pt>
                <c:pt idx="24972">
                  <c:v>30723</c:v>
                </c:pt>
                <c:pt idx="24973">
                  <c:v>283</c:v>
                </c:pt>
                <c:pt idx="24974">
                  <c:v>983</c:v>
                </c:pt>
                <c:pt idx="24975">
                  <c:v>8305</c:v>
                </c:pt>
                <c:pt idx="24976">
                  <c:v>3193</c:v>
                </c:pt>
                <c:pt idx="24977">
                  <c:v>324</c:v>
                </c:pt>
                <c:pt idx="24978">
                  <c:v>16813</c:v>
                </c:pt>
                <c:pt idx="24979">
                  <c:v>5075</c:v>
                </c:pt>
                <c:pt idx="24980">
                  <c:v>1008</c:v>
                </c:pt>
                <c:pt idx="24981">
                  <c:v>20434</c:v>
                </c:pt>
                <c:pt idx="24982">
                  <c:v>19617</c:v>
                </c:pt>
                <c:pt idx="24983">
                  <c:v>31452</c:v>
                </c:pt>
                <c:pt idx="24984">
                  <c:v>25133</c:v>
                </c:pt>
                <c:pt idx="24985">
                  <c:v>11744</c:v>
                </c:pt>
                <c:pt idx="24986">
                  <c:v>3208</c:v>
                </c:pt>
                <c:pt idx="24987">
                  <c:v>10154</c:v>
                </c:pt>
                <c:pt idx="24988">
                  <c:v>1261</c:v>
                </c:pt>
                <c:pt idx="24989">
                  <c:v>1009</c:v>
                </c:pt>
                <c:pt idx="24990">
                  <c:v>22814</c:v>
                </c:pt>
                <c:pt idx="24991">
                  <c:v>22855</c:v>
                </c:pt>
                <c:pt idx="24992">
                  <c:v>2464</c:v>
                </c:pt>
                <c:pt idx="24993">
                  <c:v>2390</c:v>
                </c:pt>
                <c:pt idx="24994">
                  <c:v>4318</c:v>
                </c:pt>
                <c:pt idx="24995">
                  <c:v>412</c:v>
                </c:pt>
                <c:pt idx="24996">
                  <c:v>113</c:v>
                </c:pt>
                <c:pt idx="24997">
                  <c:v>3005</c:v>
                </c:pt>
                <c:pt idx="24998">
                  <c:v>6591</c:v>
                </c:pt>
                <c:pt idx="24999">
                  <c:v>19709</c:v>
                </c:pt>
                <c:pt idx="25000">
                  <c:v>19635</c:v>
                </c:pt>
                <c:pt idx="25001">
                  <c:v>21329</c:v>
                </c:pt>
                <c:pt idx="25002">
                  <c:v>8452</c:v>
                </c:pt>
                <c:pt idx="25003">
                  <c:v>1716</c:v>
                </c:pt>
                <c:pt idx="25004">
                  <c:v>431</c:v>
                </c:pt>
                <c:pt idx="25005">
                  <c:v>170</c:v>
                </c:pt>
                <c:pt idx="25006">
                  <c:v>4689</c:v>
                </c:pt>
                <c:pt idx="25007">
                  <c:v>9794</c:v>
                </c:pt>
                <c:pt idx="25008">
                  <c:v>6434</c:v>
                </c:pt>
                <c:pt idx="25009">
                  <c:v>611</c:v>
                </c:pt>
                <c:pt idx="25010">
                  <c:v>547</c:v>
                </c:pt>
                <c:pt idx="25011">
                  <c:v>24181</c:v>
                </c:pt>
                <c:pt idx="25012">
                  <c:v>30119</c:v>
                </c:pt>
                <c:pt idx="25013">
                  <c:v>7589</c:v>
                </c:pt>
                <c:pt idx="25014">
                  <c:v>2782</c:v>
                </c:pt>
                <c:pt idx="25015">
                  <c:v>1832</c:v>
                </c:pt>
                <c:pt idx="25016">
                  <c:v>1338</c:v>
                </c:pt>
                <c:pt idx="25017">
                  <c:v>2518</c:v>
                </c:pt>
                <c:pt idx="25018">
                  <c:v>557</c:v>
                </c:pt>
                <c:pt idx="25019">
                  <c:v>230</c:v>
                </c:pt>
                <c:pt idx="25020">
                  <c:v>707</c:v>
                </c:pt>
                <c:pt idx="25021">
                  <c:v>2024</c:v>
                </c:pt>
                <c:pt idx="25022">
                  <c:v>398</c:v>
                </c:pt>
                <c:pt idx="25023">
                  <c:v>1295</c:v>
                </c:pt>
                <c:pt idx="25024">
                  <c:v>7572</c:v>
                </c:pt>
                <c:pt idx="25025">
                  <c:v>451</c:v>
                </c:pt>
                <c:pt idx="25026">
                  <c:v>1109</c:v>
                </c:pt>
                <c:pt idx="25027">
                  <c:v>230</c:v>
                </c:pt>
                <c:pt idx="25028">
                  <c:v>229</c:v>
                </c:pt>
                <c:pt idx="25029">
                  <c:v>3049</c:v>
                </c:pt>
                <c:pt idx="25030">
                  <c:v>218</c:v>
                </c:pt>
                <c:pt idx="25031">
                  <c:v>262</c:v>
                </c:pt>
                <c:pt idx="25032">
                  <c:v>519</c:v>
                </c:pt>
                <c:pt idx="25033">
                  <c:v>216</c:v>
                </c:pt>
                <c:pt idx="25034">
                  <c:v>601</c:v>
                </c:pt>
                <c:pt idx="25035">
                  <c:v>257</c:v>
                </c:pt>
                <c:pt idx="25036">
                  <c:v>1283</c:v>
                </c:pt>
                <c:pt idx="25037">
                  <c:v>168</c:v>
                </c:pt>
                <c:pt idx="25038">
                  <c:v>269</c:v>
                </c:pt>
                <c:pt idx="25039">
                  <c:v>674</c:v>
                </c:pt>
                <c:pt idx="25040">
                  <c:v>30</c:v>
                </c:pt>
                <c:pt idx="25041">
                  <c:v>616</c:v>
                </c:pt>
                <c:pt idx="25042">
                  <c:v>162</c:v>
                </c:pt>
                <c:pt idx="25043">
                  <c:v>522</c:v>
                </c:pt>
                <c:pt idx="25044">
                  <c:v>219</c:v>
                </c:pt>
                <c:pt idx="25045">
                  <c:v>42</c:v>
                </c:pt>
                <c:pt idx="25046">
                  <c:v>238</c:v>
                </c:pt>
                <c:pt idx="25047">
                  <c:v>144</c:v>
                </c:pt>
                <c:pt idx="25048">
                  <c:v>71</c:v>
                </c:pt>
                <c:pt idx="25049">
                  <c:v>8572</c:v>
                </c:pt>
                <c:pt idx="25050">
                  <c:v>64</c:v>
                </c:pt>
                <c:pt idx="25051">
                  <c:v>98</c:v>
                </c:pt>
                <c:pt idx="25052">
                  <c:v>1570</c:v>
                </c:pt>
                <c:pt idx="25053">
                  <c:v>2206</c:v>
                </c:pt>
                <c:pt idx="25054">
                  <c:v>38</c:v>
                </c:pt>
                <c:pt idx="25055">
                  <c:v>116</c:v>
                </c:pt>
                <c:pt idx="25056">
                  <c:v>167</c:v>
                </c:pt>
                <c:pt idx="25057">
                  <c:v>2214</c:v>
                </c:pt>
                <c:pt idx="25058">
                  <c:v>2989</c:v>
                </c:pt>
                <c:pt idx="25059">
                  <c:v>482</c:v>
                </c:pt>
                <c:pt idx="25060">
                  <c:v>515</c:v>
                </c:pt>
                <c:pt idx="25061">
                  <c:v>134</c:v>
                </c:pt>
                <c:pt idx="25062">
                  <c:v>698</c:v>
                </c:pt>
                <c:pt idx="25063">
                  <c:v>1517</c:v>
                </c:pt>
                <c:pt idx="25064">
                  <c:v>316</c:v>
                </c:pt>
                <c:pt idx="25065">
                  <c:v>3055</c:v>
                </c:pt>
                <c:pt idx="25066">
                  <c:v>14639</c:v>
                </c:pt>
                <c:pt idx="25067">
                  <c:v>141</c:v>
                </c:pt>
                <c:pt idx="25068">
                  <c:v>445</c:v>
                </c:pt>
                <c:pt idx="25069">
                  <c:v>308</c:v>
                </c:pt>
                <c:pt idx="25070">
                  <c:v>504</c:v>
                </c:pt>
                <c:pt idx="25071">
                  <c:v>103</c:v>
                </c:pt>
                <c:pt idx="25072">
                  <c:v>94</c:v>
                </c:pt>
                <c:pt idx="25073">
                  <c:v>194</c:v>
                </c:pt>
                <c:pt idx="25074">
                  <c:v>220</c:v>
                </c:pt>
                <c:pt idx="25075">
                  <c:v>1024</c:v>
                </c:pt>
                <c:pt idx="25076">
                  <c:v>3085</c:v>
                </c:pt>
                <c:pt idx="25077">
                  <c:v>28</c:v>
                </c:pt>
                <c:pt idx="25078">
                  <c:v>14556</c:v>
                </c:pt>
                <c:pt idx="25079">
                  <c:v>376</c:v>
                </c:pt>
                <c:pt idx="25080">
                  <c:v>486</c:v>
                </c:pt>
                <c:pt idx="25081">
                  <c:v>110</c:v>
                </c:pt>
                <c:pt idx="25082">
                  <c:v>334</c:v>
                </c:pt>
                <c:pt idx="25083">
                  <c:v>445</c:v>
                </c:pt>
                <c:pt idx="25084">
                  <c:v>228</c:v>
                </c:pt>
                <c:pt idx="25085">
                  <c:v>116</c:v>
                </c:pt>
                <c:pt idx="25086">
                  <c:v>6154</c:v>
                </c:pt>
                <c:pt idx="25087">
                  <c:v>570</c:v>
                </c:pt>
                <c:pt idx="25088">
                  <c:v>9201</c:v>
                </c:pt>
                <c:pt idx="25089">
                  <c:v>10912</c:v>
                </c:pt>
                <c:pt idx="25090">
                  <c:v>8793</c:v>
                </c:pt>
                <c:pt idx="25091">
                  <c:v>17144</c:v>
                </c:pt>
                <c:pt idx="25092">
                  <c:v>14891</c:v>
                </c:pt>
                <c:pt idx="25093">
                  <c:v>10293</c:v>
                </c:pt>
                <c:pt idx="25094">
                  <c:v>19118</c:v>
                </c:pt>
                <c:pt idx="25095">
                  <c:v>14722</c:v>
                </c:pt>
                <c:pt idx="25096">
                  <c:v>17006</c:v>
                </c:pt>
                <c:pt idx="25097">
                  <c:v>11631</c:v>
                </c:pt>
                <c:pt idx="25098">
                  <c:v>18666</c:v>
                </c:pt>
                <c:pt idx="25099">
                  <c:v>15455</c:v>
                </c:pt>
                <c:pt idx="25100">
                  <c:v>25673</c:v>
                </c:pt>
                <c:pt idx="25101">
                  <c:v>14108</c:v>
                </c:pt>
                <c:pt idx="25102">
                  <c:v>19202</c:v>
                </c:pt>
                <c:pt idx="25103">
                  <c:v>11009</c:v>
                </c:pt>
                <c:pt idx="25104">
                  <c:v>16199</c:v>
                </c:pt>
                <c:pt idx="25105">
                  <c:v>17223</c:v>
                </c:pt>
                <c:pt idx="25106">
                  <c:v>6325</c:v>
                </c:pt>
                <c:pt idx="25107">
                  <c:v>6262</c:v>
                </c:pt>
                <c:pt idx="25108">
                  <c:v>1021</c:v>
                </c:pt>
                <c:pt idx="25109">
                  <c:v>2602</c:v>
                </c:pt>
                <c:pt idx="25110">
                  <c:v>341</c:v>
                </c:pt>
                <c:pt idx="25111">
                  <c:v>526</c:v>
                </c:pt>
                <c:pt idx="25112">
                  <c:v>2554</c:v>
                </c:pt>
                <c:pt idx="25113">
                  <c:v>12526</c:v>
                </c:pt>
                <c:pt idx="25114">
                  <c:v>4729</c:v>
                </c:pt>
                <c:pt idx="25115">
                  <c:v>10039</c:v>
                </c:pt>
                <c:pt idx="25116">
                  <c:v>14253</c:v>
                </c:pt>
                <c:pt idx="25117">
                  <c:v>4842</c:v>
                </c:pt>
                <c:pt idx="25118">
                  <c:v>14763</c:v>
                </c:pt>
                <c:pt idx="25119">
                  <c:v>5313</c:v>
                </c:pt>
                <c:pt idx="25120">
                  <c:v>676</c:v>
                </c:pt>
                <c:pt idx="25121">
                  <c:v>400</c:v>
                </c:pt>
                <c:pt idx="25122">
                  <c:v>634</c:v>
                </c:pt>
                <c:pt idx="25123">
                  <c:v>407</c:v>
                </c:pt>
                <c:pt idx="25124">
                  <c:v>54</c:v>
                </c:pt>
                <c:pt idx="25125">
                  <c:v>244</c:v>
                </c:pt>
                <c:pt idx="25126">
                  <c:v>63</c:v>
                </c:pt>
                <c:pt idx="25127">
                  <c:v>165</c:v>
                </c:pt>
                <c:pt idx="25128">
                  <c:v>54</c:v>
                </c:pt>
                <c:pt idx="25129">
                  <c:v>189</c:v>
                </c:pt>
                <c:pt idx="25130">
                  <c:v>516</c:v>
                </c:pt>
                <c:pt idx="25131">
                  <c:v>661</c:v>
                </c:pt>
                <c:pt idx="25132">
                  <c:v>288</c:v>
                </c:pt>
                <c:pt idx="25133">
                  <c:v>31</c:v>
                </c:pt>
                <c:pt idx="25134">
                  <c:v>41</c:v>
                </c:pt>
                <c:pt idx="25135">
                  <c:v>588</c:v>
                </c:pt>
                <c:pt idx="25136">
                  <c:v>72</c:v>
                </c:pt>
                <c:pt idx="25137">
                  <c:v>3845</c:v>
                </c:pt>
                <c:pt idx="25138">
                  <c:v>3901</c:v>
                </c:pt>
                <c:pt idx="25139">
                  <c:v>1179</c:v>
                </c:pt>
                <c:pt idx="25140">
                  <c:v>567</c:v>
                </c:pt>
                <c:pt idx="25141">
                  <c:v>200</c:v>
                </c:pt>
                <c:pt idx="25142">
                  <c:v>413</c:v>
                </c:pt>
                <c:pt idx="25143">
                  <c:v>248</c:v>
                </c:pt>
                <c:pt idx="25144">
                  <c:v>903</c:v>
                </c:pt>
                <c:pt idx="25145">
                  <c:v>117</c:v>
                </c:pt>
                <c:pt idx="25146">
                  <c:v>1875</c:v>
                </c:pt>
                <c:pt idx="25147">
                  <c:v>924</c:v>
                </c:pt>
                <c:pt idx="25148">
                  <c:v>114</c:v>
                </c:pt>
                <c:pt idx="25149">
                  <c:v>710</c:v>
                </c:pt>
                <c:pt idx="25150">
                  <c:v>345</c:v>
                </c:pt>
                <c:pt idx="25151">
                  <c:v>282</c:v>
                </c:pt>
                <c:pt idx="25152">
                  <c:v>91</c:v>
                </c:pt>
                <c:pt idx="25153">
                  <c:v>4755</c:v>
                </c:pt>
                <c:pt idx="25154">
                  <c:v>23</c:v>
                </c:pt>
                <c:pt idx="25155">
                  <c:v>54</c:v>
                </c:pt>
                <c:pt idx="25156">
                  <c:v>1665</c:v>
                </c:pt>
                <c:pt idx="25157">
                  <c:v>394</c:v>
                </c:pt>
                <c:pt idx="25158">
                  <c:v>306</c:v>
                </c:pt>
                <c:pt idx="25159">
                  <c:v>405</c:v>
                </c:pt>
                <c:pt idx="25160">
                  <c:v>6588</c:v>
                </c:pt>
                <c:pt idx="25161">
                  <c:v>887</c:v>
                </c:pt>
                <c:pt idx="25162">
                  <c:v>127</c:v>
                </c:pt>
                <c:pt idx="25163">
                  <c:v>4407</c:v>
                </c:pt>
                <c:pt idx="25164">
                  <c:v>338</c:v>
                </c:pt>
                <c:pt idx="25165">
                  <c:v>1596</c:v>
                </c:pt>
                <c:pt idx="25166">
                  <c:v>176</c:v>
                </c:pt>
                <c:pt idx="25167">
                  <c:v>417</c:v>
                </c:pt>
                <c:pt idx="25168">
                  <c:v>327</c:v>
                </c:pt>
                <c:pt idx="25169">
                  <c:v>1283</c:v>
                </c:pt>
                <c:pt idx="25170">
                  <c:v>272</c:v>
                </c:pt>
                <c:pt idx="25171">
                  <c:v>127</c:v>
                </c:pt>
                <c:pt idx="25172">
                  <c:v>2661</c:v>
                </c:pt>
                <c:pt idx="25173">
                  <c:v>704</c:v>
                </c:pt>
                <c:pt idx="25174">
                  <c:v>503</c:v>
                </c:pt>
                <c:pt idx="25175">
                  <c:v>252</c:v>
                </c:pt>
                <c:pt idx="25176">
                  <c:v>3016</c:v>
                </c:pt>
                <c:pt idx="25177">
                  <c:v>482</c:v>
                </c:pt>
                <c:pt idx="25178">
                  <c:v>5575</c:v>
                </c:pt>
                <c:pt idx="25179">
                  <c:v>123</c:v>
                </c:pt>
                <c:pt idx="25180">
                  <c:v>402</c:v>
                </c:pt>
                <c:pt idx="25181">
                  <c:v>666</c:v>
                </c:pt>
                <c:pt idx="25182">
                  <c:v>368</c:v>
                </c:pt>
                <c:pt idx="25183">
                  <c:v>402</c:v>
                </c:pt>
                <c:pt idx="25184">
                  <c:v>4496</c:v>
                </c:pt>
                <c:pt idx="25185">
                  <c:v>3279</c:v>
                </c:pt>
                <c:pt idx="25186">
                  <c:v>9787</c:v>
                </c:pt>
                <c:pt idx="25187">
                  <c:v>141</c:v>
                </c:pt>
                <c:pt idx="25188">
                  <c:v>544</c:v>
                </c:pt>
                <c:pt idx="25189">
                  <c:v>2015</c:v>
                </c:pt>
                <c:pt idx="25190">
                  <c:v>728</c:v>
                </c:pt>
                <c:pt idx="25191">
                  <c:v>2532</c:v>
                </c:pt>
                <c:pt idx="25192">
                  <c:v>6059</c:v>
                </c:pt>
                <c:pt idx="25193">
                  <c:v>494</c:v>
                </c:pt>
                <c:pt idx="25194">
                  <c:v>340</c:v>
                </c:pt>
                <c:pt idx="25195">
                  <c:v>382</c:v>
                </c:pt>
                <c:pt idx="25196">
                  <c:v>1414</c:v>
                </c:pt>
                <c:pt idx="25197">
                  <c:v>104</c:v>
                </c:pt>
                <c:pt idx="25198">
                  <c:v>733</c:v>
                </c:pt>
                <c:pt idx="25199">
                  <c:v>231</c:v>
                </c:pt>
                <c:pt idx="25200">
                  <c:v>1487</c:v>
                </c:pt>
                <c:pt idx="25201">
                  <c:v>15796</c:v>
                </c:pt>
                <c:pt idx="25202">
                  <c:v>4868</c:v>
                </c:pt>
                <c:pt idx="25203">
                  <c:v>174</c:v>
                </c:pt>
                <c:pt idx="25204">
                  <c:v>5886</c:v>
                </c:pt>
                <c:pt idx="25205">
                  <c:v>2378</c:v>
                </c:pt>
                <c:pt idx="25206">
                  <c:v>686</c:v>
                </c:pt>
                <c:pt idx="25207">
                  <c:v>1193</c:v>
                </c:pt>
                <c:pt idx="25208">
                  <c:v>1812</c:v>
                </c:pt>
                <c:pt idx="25209">
                  <c:v>65</c:v>
                </c:pt>
                <c:pt idx="25210">
                  <c:v>222</c:v>
                </c:pt>
                <c:pt idx="25211">
                  <c:v>470</c:v>
                </c:pt>
                <c:pt idx="25212">
                  <c:v>9899</c:v>
                </c:pt>
                <c:pt idx="25213">
                  <c:v>5049</c:v>
                </c:pt>
                <c:pt idx="25214">
                  <c:v>760</c:v>
                </c:pt>
                <c:pt idx="25215">
                  <c:v>2050</c:v>
                </c:pt>
                <c:pt idx="25216">
                  <c:v>659</c:v>
                </c:pt>
                <c:pt idx="25217">
                  <c:v>4984</c:v>
                </c:pt>
                <c:pt idx="25218">
                  <c:v>580</c:v>
                </c:pt>
                <c:pt idx="25219">
                  <c:v>1218</c:v>
                </c:pt>
                <c:pt idx="25220">
                  <c:v>188</c:v>
                </c:pt>
                <c:pt idx="25221">
                  <c:v>942</c:v>
                </c:pt>
                <c:pt idx="25222">
                  <c:v>315</c:v>
                </c:pt>
                <c:pt idx="25223">
                  <c:v>2439</c:v>
                </c:pt>
                <c:pt idx="25224">
                  <c:v>127</c:v>
                </c:pt>
                <c:pt idx="25225">
                  <c:v>575</c:v>
                </c:pt>
                <c:pt idx="25226">
                  <c:v>1616</c:v>
                </c:pt>
                <c:pt idx="25227">
                  <c:v>466</c:v>
                </c:pt>
                <c:pt idx="25228">
                  <c:v>231</c:v>
                </c:pt>
                <c:pt idx="25229">
                  <c:v>1373</c:v>
                </c:pt>
                <c:pt idx="25230">
                  <c:v>352</c:v>
                </c:pt>
                <c:pt idx="25231">
                  <c:v>3356</c:v>
                </c:pt>
                <c:pt idx="25232">
                  <c:v>11145</c:v>
                </c:pt>
                <c:pt idx="25233">
                  <c:v>7216</c:v>
                </c:pt>
                <c:pt idx="25234">
                  <c:v>13993</c:v>
                </c:pt>
                <c:pt idx="25235">
                  <c:v>396</c:v>
                </c:pt>
                <c:pt idx="25236">
                  <c:v>6473</c:v>
                </c:pt>
                <c:pt idx="25237">
                  <c:v>5166</c:v>
                </c:pt>
                <c:pt idx="25238">
                  <c:v>7062</c:v>
                </c:pt>
                <c:pt idx="25239">
                  <c:v>6367</c:v>
                </c:pt>
                <c:pt idx="25240">
                  <c:v>7048</c:v>
                </c:pt>
                <c:pt idx="25241">
                  <c:v>360</c:v>
                </c:pt>
                <c:pt idx="25242">
                  <c:v>1316</c:v>
                </c:pt>
                <c:pt idx="25243">
                  <c:v>360</c:v>
                </c:pt>
                <c:pt idx="25244">
                  <c:v>2460</c:v>
                </c:pt>
                <c:pt idx="25245">
                  <c:v>935</c:v>
                </c:pt>
                <c:pt idx="25246">
                  <c:v>8923</c:v>
                </c:pt>
                <c:pt idx="25247">
                  <c:v>151</c:v>
                </c:pt>
                <c:pt idx="25248">
                  <c:v>6637</c:v>
                </c:pt>
                <c:pt idx="25249">
                  <c:v>6396</c:v>
                </c:pt>
                <c:pt idx="25250">
                  <c:v>3747</c:v>
                </c:pt>
                <c:pt idx="25251">
                  <c:v>9636</c:v>
                </c:pt>
                <c:pt idx="25252">
                  <c:v>657</c:v>
                </c:pt>
                <c:pt idx="25253">
                  <c:v>5806</c:v>
                </c:pt>
                <c:pt idx="25254">
                  <c:v>3548</c:v>
                </c:pt>
                <c:pt idx="25255">
                  <c:v>503</c:v>
                </c:pt>
                <c:pt idx="25256">
                  <c:v>4662</c:v>
                </c:pt>
                <c:pt idx="25257">
                  <c:v>5342</c:v>
                </c:pt>
                <c:pt idx="25258">
                  <c:v>3066</c:v>
                </c:pt>
                <c:pt idx="25259">
                  <c:v>5241</c:v>
                </c:pt>
                <c:pt idx="25260">
                  <c:v>1547</c:v>
                </c:pt>
                <c:pt idx="25261">
                  <c:v>1611</c:v>
                </c:pt>
                <c:pt idx="25262">
                  <c:v>254</c:v>
                </c:pt>
                <c:pt idx="25263">
                  <c:v>681</c:v>
                </c:pt>
                <c:pt idx="25264">
                  <c:v>83</c:v>
                </c:pt>
                <c:pt idx="25265">
                  <c:v>1163</c:v>
                </c:pt>
                <c:pt idx="25266">
                  <c:v>159</c:v>
                </c:pt>
                <c:pt idx="25267">
                  <c:v>7621</c:v>
                </c:pt>
                <c:pt idx="25268">
                  <c:v>3014</c:v>
                </c:pt>
                <c:pt idx="25269">
                  <c:v>751</c:v>
                </c:pt>
                <c:pt idx="25270">
                  <c:v>3336</c:v>
                </c:pt>
                <c:pt idx="25271">
                  <c:v>19910</c:v>
                </c:pt>
                <c:pt idx="25272">
                  <c:v>10550</c:v>
                </c:pt>
                <c:pt idx="25273">
                  <c:v>16429</c:v>
                </c:pt>
                <c:pt idx="25274">
                  <c:v>133</c:v>
                </c:pt>
                <c:pt idx="25275">
                  <c:v>551</c:v>
                </c:pt>
                <c:pt idx="25276">
                  <c:v>111</c:v>
                </c:pt>
                <c:pt idx="25277">
                  <c:v>300</c:v>
                </c:pt>
                <c:pt idx="25278">
                  <c:v>40</c:v>
                </c:pt>
                <c:pt idx="25279">
                  <c:v>10096</c:v>
                </c:pt>
                <c:pt idx="25280">
                  <c:v>9427</c:v>
                </c:pt>
                <c:pt idx="25281">
                  <c:v>870</c:v>
                </c:pt>
                <c:pt idx="25282">
                  <c:v>143</c:v>
                </c:pt>
                <c:pt idx="25283">
                  <c:v>3194</c:v>
                </c:pt>
                <c:pt idx="25284">
                  <c:v>105</c:v>
                </c:pt>
                <c:pt idx="25285">
                  <c:v>263</c:v>
                </c:pt>
                <c:pt idx="25286">
                  <c:v>121</c:v>
                </c:pt>
                <c:pt idx="25287">
                  <c:v>455</c:v>
                </c:pt>
                <c:pt idx="25288">
                  <c:v>244</c:v>
                </c:pt>
                <c:pt idx="25289">
                  <c:v>709</c:v>
                </c:pt>
                <c:pt idx="25290">
                  <c:v>85</c:v>
                </c:pt>
                <c:pt idx="25291">
                  <c:v>4470</c:v>
                </c:pt>
                <c:pt idx="25292">
                  <c:v>209</c:v>
                </c:pt>
                <c:pt idx="25293">
                  <c:v>3754</c:v>
                </c:pt>
                <c:pt idx="25294">
                  <c:v>312</c:v>
                </c:pt>
                <c:pt idx="25295">
                  <c:v>110</c:v>
                </c:pt>
                <c:pt idx="25296">
                  <c:v>87</c:v>
                </c:pt>
                <c:pt idx="25297">
                  <c:v>325</c:v>
                </c:pt>
                <c:pt idx="25298">
                  <c:v>299</c:v>
                </c:pt>
                <c:pt idx="25299">
                  <c:v>140</c:v>
                </c:pt>
                <c:pt idx="25300">
                  <c:v>1337</c:v>
                </c:pt>
                <c:pt idx="25301">
                  <c:v>322</c:v>
                </c:pt>
                <c:pt idx="25302">
                  <c:v>3474</c:v>
                </c:pt>
                <c:pt idx="25303">
                  <c:v>829</c:v>
                </c:pt>
                <c:pt idx="25304">
                  <c:v>287</c:v>
                </c:pt>
                <c:pt idx="25305">
                  <c:v>205</c:v>
                </c:pt>
                <c:pt idx="25306">
                  <c:v>7580</c:v>
                </c:pt>
                <c:pt idx="25307">
                  <c:v>293</c:v>
                </c:pt>
                <c:pt idx="25308">
                  <c:v>94</c:v>
                </c:pt>
                <c:pt idx="25309">
                  <c:v>89</c:v>
                </c:pt>
                <c:pt idx="25310">
                  <c:v>1268</c:v>
                </c:pt>
                <c:pt idx="25311">
                  <c:v>14</c:v>
                </c:pt>
                <c:pt idx="25312">
                  <c:v>1303</c:v>
                </c:pt>
                <c:pt idx="25313">
                  <c:v>141</c:v>
                </c:pt>
                <c:pt idx="25314">
                  <c:v>426</c:v>
                </c:pt>
                <c:pt idx="25315">
                  <c:v>5447</c:v>
                </c:pt>
                <c:pt idx="25316">
                  <c:v>104</c:v>
                </c:pt>
                <c:pt idx="25317">
                  <c:v>401</c:v>
                </c:pt>
                <c:pt idx="25318">
                  <c:v>2078</c:v>
                </c:pt>
                <c:pt idx="25319">
                  <c:v>7881</c:v>
                </c:pt>
                <c:pt idx="25320">
                  <c:v>302</c:v>
                </c:pt>
                <c:pt idx="25321">
                  <c:v>558</c:v>
                </c:pt>
                <c:pt idx="25322">
                  <c:v>407</c:v>
                </c:pt>
                <c:pt idx="25323">
                  <c:v>231</c:v>
                </c:pt>
                <c:pt idx="25324">
                  <c:v>146</c:v>
                </c:pt>
                <c:pt idx="25325">
                  <c:v>5700</c:v>
                </c:pt>
                <c:pt idx="25326">
                  <c:v>348</c:v>
                </c:pt>
                <c:pt idx="25327">
                  <c:v>14492</c:v>
                </c:pt>
                <c:pt idx="25328">
                  <c:v>12277</c:v>
                </c:pt>
                <c:pt idx="25329">
                  <c:v>9970</c:v>
                </c:pt>
                <c:pt idx="25330">
                  <c:v>169</c:v>
                </c:pt>
                <c:pt idx="25331">
                  <c:v>4716</c:v>
                </c:pt>
                <c:pt idx="25332">
                  <c:v>2188</c:v>
                </c:pt>
                <c:pt idx="25333">
                  <c:v>1921</c:v>
                </c:pt>
                <c:pt idx="25334">
                  <c:v>292</c:v>
                </c:pt>
                <c:pt idx="25335">
                  <c:v>106</c:v>
                </c:pt>
                <c:pt idx="25336">
                  <c:v>686</c:v>
                </c:pt>
                <c:pt idx="25337">
                  <c:v>430</c:v>
                </c:pt>
                <c:pt idx="25338">
                  <c:v>2250</c:v>
                </c:pt>
                <c:pt idx="25339">
                  <c:v>115</c:v>
                </c:pt>
                <c:pt idx="25340">
                  <c:v>8672</c:v>
                </c:pt>
                <c:pt idx="25341">
                  <c:v>12933</c:v>
                </c:pt>
                <c:pt idx="25342">
                  <c:v>428</c:v>
                </c:pt>
                <c:pt idx="25343">
                  <c:v>1343</c:v>
                </c:pt>
                <c:pt idx="25344">
                  <c:v>670</c:v>
                </c:pt>
                <c:pt idx="25345">
                  <c:v>1363</c:v>
                </c:pt>
                <c:pt idx="25346">
                  <c:v>778</c:v>
                </c:pt>
                <c:pt idx="25347">
                  <c:v>1059</c:v>
                </c:pt>
                <c:pt idx="25348">
                  <c:v>12221</c:v>
                </c:pt>
                <c:pt idx="25349">
                  <c:v>135</c:v>
                </c:pt>
                <c:pt idx="25350">
                  <c:v>3413</c:v>
                </c:pt>
                <c:pt idx="25351">
                  <c:v>218</c:v>
                </c:pt>
                <c:pt idx="25352">
                  <c:v>526</c:v>
                </c:pt>
                <c:pt idx="25353">
                  <c:v>262</c:v>
                </c:pt>
                <c:pt idx="25354">
                  <c:v>721</c:v>
                </c:pt>
                <c:pt idx="25355">
                  <c:v>13809</c:v>
                </c:pt>
                <c:pt idx="25356">
                  <c:v>7323</c:v>
                </c:pt>
                <c:pt idx="25357">
                  <c:v>362</c:v>
                </c:pt>
                <c:pt idx="25358">
                  <c:v>57</c:v>
                </c:pt>
                <c:pt idx="25359">
                  <c:v>5885</c:v>
                </c:pt>
                <c:pt idx="25360">
                  <c:v>1197</c:v>
                </c:pt>
                <c:pt idx="25361">
                  <c:v>570</c:v>
                </c:pt>
                <c:pt idx="25362">
                  <c:v>2631</c:v>
                </c:pt>
                <c:pt idx="25363">
                  <c:v>70</c:v>
                </c:pt>
                <c:pt idx="25364">
                  <c:v>11259</c:v>
                </c:pt>
                <c:pt idx="25365">
                  <c:v>1412</c:v>
                </c:pt>
                <c:pt idx="25366">
                  <c:v>1369</c:v>
                </c:pt>
                <c:pt idx="25367">
                  <c:v>2436</c:v>
                </c:pt>
                <c:pt idx="25368">
                  <c:v>1072</c:v>
                </c:pt>
                <c:pt idx="25369">
                  <c:v>303</c:v>
                </c:pt>
                <c:pt idx="25370">
                  <c:v>208</c:v>
                </c:pt>
                <c:pt idx="25371">
                  <c:v>389</c:v>
                </c:pt>
                <c:pt idx="25372">
                  <c:v>192</c:v>
                </c:pt>
                <c:pt idx="25373">
                  <c:v>395</c:v>
                </c:pt>
                <c:pt idx="25374">
                  <c:v>389</c:v>
                </c:pt>
                <c:pt idx="25375">
                  <c:v>389</c:v>
                </c:pt>
                <c:pt idx="25376">
                  <c:v>1696</c:v>
                </c:pt>
                <c:pt idx="25377">
                  <c:v>707</c:v>
                </c:pt>
                <c:pt idx="25378">
                  <c:v>17303</c:v>
                </c:pt>
                <c:pt idx="25379">
                  <c:v>9991</c:v>
                </c:pt>
                <c:pt idx="25380">
                  <c:v>8254</c:v>
                </c:pt>
                <c:pt idx="25381">
                  <c:v>1850</c:v>
                </c:pt>
                <c:pt idx="25382">
                  <c:v>2817</c:v>
                </c:pt>
                <c:pt idx="25383">
                  <c:v>179</c:v>
                </c:pt>
                <c:pt idx="25384">
                  <c:v>470</c:v>
                </c:pt>
                <c:pt idx="25385">
                  <c:v>331</c:v>
                </c:pt>
                <c:pt idx="25386">
                  <c:v>483</c:v>
                </c:pt>
                <c:pt idx="25387">
                  <c:v>213</c:v>
                </c:pt>
                <c:pt idx="25388">
                  <c:v>11797</c:v>
                </c:pt>
                <c:pt idx="25389">
                  <c:v>92</c:v>
                </c:pt>
                <c:pt idx="25390">
                  <c:v>622</c:v>
                </c:pt>
                <c:pt idx="25391">
                  <c:v>547</c:v>
                </c:pt>
                <c:pt idx="25392">
                  <c:v>183</c:v>
                </c:pt>
                <c:pt idx="25393">
                  <c:v>597</c:v>
                </c:pt>
                <c:pt idx="25394">
                  <c:v>936</c:v>
                </c:pt>
                <c:pt idx="25395">
                  <c:v>626</c:v>
                </c:pt>
                <c:pt idx="25396">
                  <c:v>296</c:v>
                </c:pt>
                <c:pt idx="25397">
                  <c:v>1042</c:v>
                </c:pt>
                <c:pt idx="25398">
                  <c:v>216</c:v>
                </c:pt>
                <c:pt idx="25399">
                  <c:v>925</c:v>
                </c:pt>
                <c:pt idx="25400">
                  <c:v>443</c:v>
                </c:pt>
                <c:pt idx="25401">
                  <c:v>693</c:v>
                </c:pt>
                <c:pt idx="25402">
                  <c:v>412</c:v>
                </c:pt>
                <c:pt idx="25403">
                  <c:v>2128</c:v>
                </c:pt>
                <c:pt idx="25404">
                  <c:v>1513</c:v>
                </c:pt>
                <c:pt idx="25405">
                  <c:v>363</c:v>
                </c:pt>
                <c:pt idx="25406">
                  <c:v>236</c:v>
                </c:pt>
                <c:pt idx="25407">
                  <c:v>437</c:v>
                </c:pt>
                <c:pt idx="25408">
                  <c:v>4176</c:v>
                </c:pt>
                <c:pt idx="25409">
                  <c:v>104</c:v>
                </c:pt>
                <c:pt idx="25410">
                  <c:v>113</c:v>
                </c:pt>
                <c:pt idx="25411">
                  <c:v>4721</c:v>
                </c:pt>
                <c:pt idx="25412">
                  <c:v>1746</c:v>
                </c:pt>
                <c:pt idx="25413">
                  <c:v>94</c:v>
                </c:pt>
                <c:pt idx="25414">
                  <c:v>686</c:v>
                </c:pt>
                <c:pt idx="25415">
                  <c:v>28037</c:v>
                </c:pt>
                <c:pt idx="25416">
                  <c:v>105</c:v>
                </c:pt>
                <c:pt idx="25417">
                  <c:v>271</c:v>
                </c:pt>
                <c:pt idx="25418">
                  <c:v>2475</c:v>
                </c:pt>
                <c:pt idx="25419">
                  <c:v>476</c:v>
                </c:pt>
                <c:pt idx="25420">
                  <c:v>4608</c:v>
                </c:pt>
                <c:pt idx="25421">
                  <c:v>8646</c:v>
                </c:pt>
                <c:pt idx="25422">
                  <c:v>567</c:v>
                </c:pt>
                <c:pt idx="25423">
                  <c:v>184</c:v>
                </c:pt>
                <c:pt idx="25424">
                  <c:v>731</c:v>
                </c:pt>
                <c:pt idx="25425">
                  <c:v>260</c:v>
                </c:pt>
                <c:pt idx="25426">
                  <c:v>287</c:v>
                </c:pt>
                <c:pt idx="25427">
                  <c:v>324</c:v>
                </c:pt>
                <c:pt idx="25428">
                  <c:v>2230</c:v>
                </c:pt>
                <c:pt idx="25429">
                  <c:v>2808</c:v>
                </c:pt>
                <c:pt idx="25430">
                  <c:v>1019</c:v>
                </c:pt>
                <c:pt idx="25431">
                  <c:v>5770</c:v>
                </c:pt>
                <c:pt idx="25432">
                  <c:v>1125</c:v>
                </c:pt>
                <c:pt idx="25433">
                  <c:v>788</c:v>
                </c:pt>
                <c:pt idx="25434">
                  <c:v>2810</c:v>
                </c:pt>
                <c:pt idx="25435">
                  <c:v>9937</c:v>
                </c:pt>
                <c:pt idx="25436">
                  <c:v>3154</c:v>
                </c:pt>
                <c:pt idx="25437">
                  <c:v>3849</c:v>
                </c:pt>
                <c:pt idx="25438">
                  <c:v>517</c:v>
                </c:pt>
                <c:pt idx="25439">
                  <c:v>586</c:v>
                </c:pt>
                <c:pt idx="25440">
                  <c:v>656</c:v>
                </c:pt>
                <c:pt idx="25441">
                  <c:v>1394</c:v>
                </c:pt>
                <c:pt idx="25442">
                  <c:v>642</c:v>
                </c:pt>
                <c:pt idx="25443">
                  <c:v>5531</c:v>
                </c:pt>
                <c:pt idx="25444">
                  <c:v>1510</c:v>
                </c:pt>
                <c:pt idx="25445">
                  <c:v>760</c:v>
                </c:pt>
                <c:pt idx="25446">
                  <c:v>2538</c:v>
                </c:pt>
                <c:pt idx="25447">
                  <c:v>20740</c:v>
                </c:pt>
                <c:pt idx="25448">
                  <c:v>12562</c:v>
                </c:pt>
                <c:pt idx="25449">
                  <c:v>10933</c:v>
                </c:pt>
                <c:pt idx="25450">
                  <c:v>8279</c:v>
                </c:pt>
                <c:pt idx="25451">
                  <c:v>1171</c:v>
                </c:pt>
                <c:pt idx="25452">
                  <c:v>162</c:v>
                </c:pt>
                <c:pt idx="25453">
                  <c:v>1972</c:v>
                </c:pt>
                <c:pt idx="25454">
                  <c:v>396</c:v>
                </c:pt>
                <c:pt idx="25455">
                  <c:v>241</c:v>
                </c:pt>
                <c:pt idx="25456">
                  <c:v>1061</c:v>
                </c:pt>
                <c:pt idx="25457">
                  <c:v>199</c:v>
                </c:pt>
                <c:pt idx="25458">
                  <c:v>224</c:v>
                </c:pt>
                <c:pt idx="25459">
                  <c:v>449</c:v>
                </c:pt>
                <c:pt idx="25460">
                  <c:v>795</c:v>
                </c:pt>
                <c:pt idx="25461">
                  <c:v>284</c:v>
                </c:pt>
                <c:pt idx="25462">
                  <c:v>391</c:v>
                </c:pt>
                <c:pt idx="25463">
                  <c:v>102</c:v>
                </c:pt>
                <c:pt idx="25464">
                  <c:v>22938</c:v>
                </c:pt>
                <c:pt idx="25465">
                  <c:v>10382</c:v>
                </c:pt>
                <c:pt idx="25466">
                  <c:v>490</c:v>
                </c:pt>
                <c:pt idx="25467">
                  <c:v>555</c:v>
                </c:pt>
                <c:pt idx="25468">
                  <c:v>2992</c:v>
                </c:pt>
                <c:pt idx="25469">
                  <c:v>1385</c:v>
                </c:pt>
                <c:pt idx="25470">
                  <c:v>86</c:v>
                </c:pt>
                <c:pt idx="25471">
                  <c:v>491</c:v>
                </c:pt>
                <c:pt idx="25472">
                  <c:v>379</c:v>
                </c:pt>
                <c:pt idx="25473">
                  <c:v>1122</c:v>
                </c:pt>
                <c:pt idx="25474">
                  <c:v>95</c:v>
                </c:pt>
                <c:pt idx="25475">
                  <c:v>3010</c:v>
                </c:pt>
                <c:pt idx="25476">
                  <c:v>133</c:v>
                </c:pt>
                <c:pt idx="25477">
                  <c:v>2601</c:v>
                </c:pt>
                <c:pt idx="25478">
                  <c:v>81</c:v>
                </c:pt>
                <c:pt idx="25479">
                  <c:v>17698</c:v>
                </c:pt>
                <c:pt idx="25480">
                  <c:v>1028</c:v>
                </c:pt>
                <c:pt idx="25481">
                  <c:v>345</c:v>
                </c:pt>
                <c:pt idx="25482">
                  <c:v>440</c:v>
                </c:pt>
                <c:pt idx="25483">
                  <c:v>135</c:v>
                </c:pt>
                <c:pt idx="25484">
                  <c:v>2546</c:v>
                </c:pt>
                <c:pt idx="25485">
                  <c:v>93</c:v>
                </c:pt>
                <c:pt idx="25486">
                  <c:v>495</c:v>
                </c:pt>
                <c:pt idx="25487">
                  <c:v>1432</c:v>
                </c:pt>
                <c:pt idx="25488">
                  <c:v>403</c:v>
                </c:pt>
                <c:pt idx="25489">
                  <c:v>709</c:v>
                </c:pt>
                <c:pt idx="25490">
                  <c:v>857</c:v>
                </c:pt>
                <c:pt idx="25491">
                  <c:v>356</c:v>
                </c:pt>
                <c:pt idx="25492">
                  <c:v>238</c:v>
                </c:pt>
                <c:pt idx="25493">
                  <c:v>2274</c:v>
                </c:pt>
                <c:pt idx="25494">
                  <c:v>153</c:v>
                </c:pt>
                <c:pt idx="25495">
                  <c:v>159</c:v>
                </c:pt>
                <c:pt idx="25496">
                  <c:v>128</c:v>
                </c:pt>
                <c:pt idx="25497">
                  <c:v>50</c:v>
                </c:pt>
                <c:pt idx="25498">
                  <c:v>186</c:v>
                </c:pt>
                <c:pt idx="25499">
                  <c:v>222</c:v>
                </c:pt>
                <c:pt idx="25500">
                  <c:v>346</c:v>
                </c:pt>
                <c:pt idx="25501">
                  <c:v>127</c:v>
                </c:pt>
                <c:pt idx="25502">
                  <c:v>200</c:v>
                </c:pt>
                <c:pt idx="25503">
                  <c:v>15400</c:v>
                </c:pt>
                <c:pt idx="25504">
                  <c:v>14464</c:v>
                </c:pt>
                <c:pt idx="25505">
                  <c:v>410</c:v>
                </c:pt>
                <c:pt idx="25506">
                  <c:v>702</c:v>
                </c:pt>
                <c:pt idx="25507">
                  <c:v>564</c:v>
                </c:pt>
                <c:pt idx="25508">
                  <c:v>480</c:v>
                </c:pt>
                <c:pt idx="25509">
                  <c:v>14362</c:v>
                </c:pt>
                <c:pt idx="25510">
                  <c:v>7106</c:v>
                </c:pt>
                <c:pt idx="25511">
                  <c:v>3501</c:v>
                </c:pt>
                <c:pt idx="25512">
                  <c:v>935</c:v>
                </c:pt>
                <c:pt idx="25513">
                  <c:v>584</c:v>
                </c:pt>
                <c:pt idx="25514">
                  <c:v>732</c:v>
                </c:pt>
                <c:pt idx="25515">
                  <c:v>451</c:v>
                </c:pt>
                <c:pt idx="25516">
                  <c:v>158</c:v>
                </c:pt>
                <c:pt idx="25517">
                  <c:v>2221</c:v>
                </c:pt>
                <c:pt idx="25518">
                  <c:v>890</c:v>
                </c:pt>
                <c:pt idx="25519">
                  <c:v>210</c:v>
                </c:pt>
                <c:pt idx="25520">
                  <c:v>280</c:v>
                </c:pt>
                <c:pt idx="25521">
                  <c:v>13591</c:v>
                </c:pt>
                <c:pt idx="25522">
                  <c:v>434</c:v>
                </c:pt>
                <c:pt idx="25523">
                  <c:v>3605</c:v>
                </c:pt>
                <c:pt idx="25524">
                  <c:v>1173</c:v>
                </c:pt>
                <c:pt idx="25525">
                  <c:v>1850</c:v>
                </c:pt>
                <c:pt idx="25526">
                  <c:v>27865</c:v>
                </c:pt>
                <c:pt idx="25527">
                  <c:v>17</c:v>
                </c:pt>
                <c:pt idx="25528">
                  <c:v>6783</c:v>
                </c:pt>
                <c:pt idx="25529">
                  <c:v>361</c:v>
                </c:pt>
                <c:pt idx="25530">
                  <c:v>33693</c:v>
                </c:pt>
                <c:pt idx="25531">
                  <c:v>10105</c:v>
                </c:pt>
                <c:pt idx="25532">
                  <c:v>256</c:v>
                </c:pt>
                <c:pt idx="25533">
                  <c:v>16892</c:v>
                </c:pt>
                <c:pt idx="25534">
                  <c:v>774</c:v>
                </c:pt>
                <c:pt idx="25535">
                  <c:v>2394</c:v>
                </c:pt>
                <c:pt idx="25536">
                  <c:v>396</c:v>
                </c:pt>
                <c:pt idx="25537">
                  <c:v>71</c:v>
                </c:pt>
                <c:pt idx="25538">
                  <c:v>2599</c:v>
                </c:pt>
                <c:pt idx="25539">
                  <c:v>4268</c:v>
                </c:pt>
                <c:pt idx="25540">
                  <c:v>6020</c:v>
                </c:pt>
                <c:pt idx="25541">
                  <c:v>343</c:v>
                </c:pt>
                <c:pt idx="25542">
                  <c:v>3087</c:v>
                </c:pt>
                <c:pt idx="25543">
                  <c:v>2414</c:v>
                </c:pt>
                <c:pt idx="25544">
                  <c:v>24534</c:v>
                </c:pt>
                <c:pt idx="25545">
                  <c:v>16595</c:v>
                </c:pt>
                <c:pt idx="25546">
                  <c:v>12683</c:v>
                </c:pt>
                <c:pt idx="25547">
                  <c:v>9682</c:v>
                </c:pt>
                <c:pt idx="25548">
                  <c:v>21167</c:v>
                </c:pt>
                <c:pt idx="25549">
                  <c:v>16286</c:v>
                </c:pt>
                <c:pt idx="25550">
                  <c:v>19316</c:v>
                </c:pt>
                <c:pt idx="25551">
                  <c:v>29400</c:v>
                </c:pt>
                <c:pt idx="25552">
                  <c:v>5049</c:v>
                </c:pt>
                <c:pt idx="25553">
                  <c:v>14728</c:v>
                </c:pt>
                <c:pt idx="25554">
                  <c:v>11826</c:v>
                </c:pt>
                <c:pt idx="25555">
                  <c:v>10305</c:v>
                </c:pt>
                <c:pt idx="25556">
                  <c:v>2950</c:v>
                </c:pt>
                <c:pt idx="25557">
                  <c:v>289</c:v>
                </c:pt>
                <c:pt idx="25558">
                  <c:v>3445</c:v>
                </c:pt>
                <c:pt idx="25559">
                  <c:v>68</c:v>
                </c:pt>
                <c:pt idx="25560">
                  <c:v>48</c:v>
                </c:pt>
                <c:pt idx="25561">
                  <c:v>531</c:v>
                </c:pt>
                <c:pt idx="25562">
                  <c:v>488</c:v>
                </c:pt>
                <c:pt idx="25563">
                  <c:v>391</c:v>
                </c:pt>
                <c:pt idx="25564">
                  <c:v>13167</c:v>
                </c:pt>
                <c:pt idx="25565">
                  <c:v>17470</c:v>
                </c:pt>
                <c:pt idx="25566">
                  <c:v>127</c:v>
                </c:pt>
                <c:pt idx="25567">
                  <c:v>840</c:v>
                </c:pt>
                <c:pt idx="25568">
                  <c:v>713</c:v>
                </c:pt>
                <c:pt idx="25569">
                  <c:v>591</c:v>
                </c:pt>
                <c:pt idx="25570">
                  <c:v>190</c:v>
                </c:pt>
                <c:pt idx="25571">
                  <c:v>77</c:v>
                </c:pt>
                <c:pt idx="25572">
                  <c:v>35</c:v>
                </c:pt>
                <c:pt idx="25573">
                  <c:v>63</c:v>
                </c:pt>
                <c:pt idx="25574">
                  <c:v>872</c:v>
                </c:pt>
                <c:pt idx="25575">
                  <c:v>733</c:v>
                </c:pt>
                <c:pt idx="25576">
                  <c:v>9943</c:v>
                </c:pt>
                <c:pt idx="25577">
                  <c:v>345</c:v>
                </c:pt>
                <c:pt idx="25578">
                  <c:v>1362</c:v>
                </c:pt>
                <c:pt idx="25579">
                  <c:v>432</c:v>
                </c:pt>
                <c:pt idx="25580">
                  <c:v>393</c:v>
                </c:pt>
                <c:pt idx="25581">
                  <c:v>13851</c:v>
                </c:pt>
                <c:pt idx="25582">
                  <c:v>721</c:v>
                </c:pt>
                <c:pt idx="25583">
                  <c:v>289</c:v>
                </c:pt>
                <c:pt idx="25584">
                  <c:v>405</c:v>
                </c:pt>
                <c:pt idx="25585">
                  <c:v>970</c:v>
                </c:pt>
                <c:pt idx="25586">
                  <c:v>983</c:v>
                </c:pt>
                <c:pt idx="25587">
                  <c:v>779</c:v>
                </c:pt>
                <c:pt idx="25588">
                  <c:v>553</c:v>
                </c:pt>
                <c:pt idx="25589">
                  <c:v>21726</c:v>
                </c:pt>
                <c:pt idx="25590">
                  <c:v>2628</c:v>
                </c:pt>
                <c:pt idx="25591">
                  <c:v>437</c:v>
                </c:pt>
                <c:pt idx="25592">
                  <c:v>8590</c:v>
                </c:pt>
                <c:pt idx="25593">
                  <c:v>3263</c:v>
                </c:pt>
                <c:pt idx="25594">
                  <c:v>2729</c:v>
                </c:pt>
                <c:pt idx="25595">
                  <c:v>8022</c:v>
                </c:pt>
                <c:pt idx="25596">
                  <c:v>141</c:v>
                </c:pt>
                <c:pt idx="25597">
                  <c:v>277</c:v>
                </c:pt>
                <c:pt idx="25598">
                  <c:v>2210</c:v>
                </c:pt>
                <c:pt idx="25599">
                  <c:v>71</c:v>
                </c:pt>
                <c:pt idx="25600">
                  <c:v>921</c:v>
                </c:pt>
                <c:pt idx="25601">
                  <c:v>354</c:v>
                </c:pt>
                <c:pt idx="25602">
                  <c:v>643</c:v>
                </c:pt>
                <c:pt idx="25603">
                  <c:v>612</c:v>
                </c:pt>
                <c:pt idx="25604">
                  <c:v>303</c:v>
                </c:pt>
                <c:pt idx="25605">
                  <c:v>142</c:v>
                </c:pt>
                <c:pt idx="25606">
                  <c:v>23876</c:v>
                </c:pt>
                <c:pt idx="25607">
                  <c:v>4232</c:v>
                </c:pt>
                <c:pt idx="25608">
                  <c:v>17557</c:v>
                </c:pt>
                <c:pt idx="25609">
                  <c:v>541</c:v>
                </c:pt>
                <c:pt idx="25610">
                  <c:v>232</c:v>
                </c:pt>
                <c:pt idx="25611">
                  <c:v>18273</c:v>
                </c:pt>
                <c:pt idx="25612">
                  <c:v>22489</c:v>
                </c:pt>
                <c:pt idx="25613">
                  <c:v>459</c:v>
                </c:pt>
                <c:pt idx="25614">
                  <c:v>8358</c:v>
                </c:pt>
                <c:pt idx="25615">
                  <c:v>34203</c:v>
                </c:pt>
                <c:pt idx="25616">
                  <c:v>2590</c:v>
                </c:pt>
                <c:pt idx="25617">
                  <c:v>23572</c:v>
                </c:pt>
                <c:pt idx="25618">
                  <c:v>1347</c:v>
                </c:pt>
                <c:pt idx="25619">
                  <c:v>62</c:v>
                </c:pt>
                <c:pt idx="25620">
                  <c:v>10378</c:v>
                </c:pt>
                <c:pt idx="25621">
                  <c:v>207</c:v>
                </c:pt>
                <c:pt idx="25622">
                  <c:v>217</c:v>
                </c:pt>
                <c:pt idx="25623">
                  <c:v>138</c:v>
                </c:pt>
                <c:pt idx="25624">
                  <c:v>5570</c:v>
                </c:pt>
                <c:pt idx="25625">
                  <c:v>12180</c:v>
                </c:pt>
                <c:pt idx="25626">
                  <c:v>553</c:v>
                </c:pt>
                <c:pt idx="25627">
                  <c:v>54</c:v>
                </c:pt>
                <c:pt idx="25628">
                  <c:v>168</c:v>
                </c:pt>
                <c:pt idx="25629">
                  <c:v>4352</c:v>
                </c:pt>
                <c:pt idx="25630">
                  <c:v>17060</c:v>
                </c:pt>
                <c:pt idx="25631">
                  <c:v>277</c:v>
                </c:pt>
                <c:pt idx="25632">
                  <c:v>164</c:v>
                </c:pt>
                <c:pt idx="25633">
                  <c:v>13216</c:v>
                </c:pt>
                <c:pt idx="25634">
                  <c:v>28412</c:v>
                </c:pt>
                <c:pt idx="25635">
                  <c:v>4958</c:v>
                </c:pt>
                <c:pt idx="25636">
                  <c:v>33428</c:v>
                </c:pt>
                <c:pt idx="25637">
                  <c:v>14858</c:v>
                </c:pt>
                <c:pt idx="25638">
                  <c:v>14314</c:v>
                </c:pt>
                <c:pt idx="25639">
                  <c:v>123</c:v>
                </c:pt>
                <c:pt idx="25640">
                  <c:v>20572</c:v>
                </c:pt>
                <c:pt idx="25641">
                  <c:v>2740</c:v>
                </c:pt>
                <c:pt idx="25642">
                  <c:v>5059</c:v>
                </c:pt>
                <c:pt idx="25643">
                  <c:v>231</c:v>
                </c:pt>
                <c:pt idx="25644">
                  <c:v>453</c:v>
                </c:pt>
                <c:pt idx="25645">
                  <c:v>234</c:v>
                </c:pt>
                <c:pt idx="25646">
                  <c:v>11023</c:v>
                </c:pt>
                <c:pt idx="25647">
                  <c:v>786</c:v>
                </c:pt>
                <c:pt idx="25648">
                  <c:v>19478</c:v>
                </c:pt>
                <c:pt idx="25649">
                  <c:v>17855</c:v>
                </c:pt>
                <c:pt idx="25650">
                  <c:v>7442</c:v>
                </c:pt>
                <c:pt idx="25651">
                  <c:v>5171</c:v>
                </c:pt>
                <c:pt idx="25652">
                  <c:v>227</c:v>
                </c:pt>
                <c:pt idx="25653">
                  <c:v>21484</c:v>
                </c:pt>
                <c:pt idx="25654">
                  <c:v>106</c:v>
                </c:pt>
                <c:pt idx="25655">
                  <c:v>302</c:v>
                </c:pt>
                <c:pt idx="25656">
                  <c:v>23750</c:v>
                </c:pt>
                <c:pt idx="25657">
                  <c:v>5196</c:v>
                </c:pt>
                <c:pt idx="25658">
                  <c:v>20045</c:v>
                </c:pt>
                <c:pt idx="25659">
                  <c:v>227</c:v>
                </c:pt>
                <c:pt idx="25660">
                  <c:v>15736</c:v>
                </c:pt>
                <c:pt idx="25661">
                  <c:v>922</c:v>
                </c:pt>
                <c:pt idx="25662">
                  <c:v>173</c:v>
                </c:pt>
                <c:pt idx="25663">
                  <c:v>122</c:v>
                </c:pt>
                <c:pt idx="25664">
                  <c:v>26784</c:v>
                </c:pt>
                <c:pt idx="25665">
                  <c:v>15143</c:v>
                </c:pt>
                <c:pt idx="25666">
                  <c:v>11920</c:v>
                </c:pt>
                <c:pt idx="25667">
                  <c:v>90</c:v>
                </c:pt>
                <c:pt idx="25668">
                  <c:v>26809</c:v>
                </c:pt>
                <c:pt idx="25669">
                  <c:v>489</c:v>
                </c:pt>
                <c:pt idx="25670">
                  <c:v>636</c:v>
                </c:pt>
                <c:pt idx="25671">
                  <c:v>16721</c:v>
                </c:pt>
                <c:pt idx="25672">
                  <c:v>197</c:v>
                </c:pt>
                <c:pt idx="25673">
                  <c:v>8316</c:v>
                </c:pt>
                <c:pt idx="25674">
                  <c:v>21405</c:v>
                </c:pt>
                <c:pt idx="25675">
                  <c:v>13855</c:v>
                </c:pt>
                <c:pt idx="25676">
                  <c:v>11616</c:v>
                </c:pt>
                <c:pt idx="25677">
                  <c:v>15406</c:v>
                </c:pt>
                <c:pt idx="25678">
                  <c:v>18974</c:v>
                </c:pt>
                <c:pt idx="25679">
                  <c:v>32452</c:v>
                </c:pt>
                <c:pt idx="25680">
                  <c:v>10026</c:v>
                </c:pt>
                <c:pt idx="25681">
                  <c:v>10385</c:v>
                </c:pt>
                <c:pt idx="25682">
                  <c:v>3964</c:v>
                </c:pt>
                <c:pt idx="25683">
                  <c:v>12649</c:v>
                </c:pt>
                <c:pt idx="25684">
                  <c:v>14534</c:v>
                </c:pt>
                <c:pt idx="25685">
                  <c:v>12618</c:v>
                </c:pt>
                <c:pt idx="25686">
                  <c:v>14664</c:v>
                </c:pt>
                <c:pt idx="25687">
                  <c:v>19902</c:v>
                </c:pt>
                <c:pt idx="25688">
                  <c:v>20504</c:v>
                </c:pt>
                <c:pt idx="25689">
                  <c:v>11368</c:v>
                </c:pt>
                <c:pt idx="25690">
                  <c:v>12886</c:v>
                </c:pt>
                <c:pt idx="25691">
                  <c:v>7161</c:v>
                </c:pt>
                <c:pt idx="25692">
                  <c:v>15101</c:v>
                </c:pt>
                <c:pt idx="25693">
                  <c:v>17109</c:v>
                </c:pt>
                <c:pt idx="25694">
                  <c:v>11806</c:v>
                </c:pt>
                <c:pt idx="25695">
                  <c:v>20371</c:v>
                </c:pt>
                <c:pt idx="25696">
                  <c:v>25805</c:v>
                </c:pt>
                <c:pt idx="25697">
                  <c:v>25240</c:v>
                </c:pt>
                <c:pt idx="25698">
                  <c:v>21719</c:v>
                </c:pt>
                <c:pt idx="25699">
                  <c:v>19832</c:v>
                </c:pt>
                <c:pt idx="25700">
                  <c:v>12063</c:v>
                </c:pt>
                <c:pt idx="25701">
                  <c:v>15710</c:v>
                </c:pt>
                <c:pt idx="25702">
                  <c:v>19239</c:v>
                </c:pt>
                <c:pt idx="25703">
                  <c:v>373</c:v>
                </c:pt>
                <c:pt idx="25704">
                  <c:v>11871</c:v>
                </c:pt>
                <c:pt idx="25705">
                  <c:v>318</c:v>
                </c:pt>
                <c:pt idx="25706">
                  <c:v>85</c:v>
                </c:pt>
                <c:pt idx="25707">
                  <c:v>591</c:v>
                </c:pt>
                <c:pt idx="25708">
                  <c:v>139</c:v>
                </c:pt>
                <c:pt idx="25709">
                  <c:v>225</c:v>
                </c:pt>
                <c:pt idx="25710">
                  <c:v>2546</c:v>
                </c:pt>
                <c:pt idx="25711">
                  <c:v>303</c:v>
                </c:pt>
                <c:pt idx="25712">
                  <c:v>2137</c:v>
                </c:pt>
                <c:pt idx="25713">
                  <c:v>569</c:v>
                </c:pt>
                <c:pt idx="25714">
                  <c:v>4437</c:v>
                </c:pt>
                <c:pt idx="25715">
                  <c:v>171</c:v>
                </c:pt>
                <c:pt idx="25716">
                  <c:v>1425</c:v>
                </c:pt>
                <c:pt idx="25717">
                  <c:v>2052</c:v>
                </c:pt>
                <c:pt idx="25718">
                  <c:v>4295</c:v>
                </c:pt>
                <c:pt idx="25719">
                  <c:v>1167</c:v>
                </c:pt>
                <c:pt idx="25720">
                  <c:v>25749</c:v>
                </c:pt>
                <c:pt idx="25721">
                  <c:v>489</c:v>
                </c:pt>
                <c:pt idx="25722">
                  <c:v>1222</c:v>
                </c:pt>
                <c:pt idx="25723">
                  <c:v>875</c:v>
                </c:pt>
                <c:pt idx="25724">
                  <c:v>410</c:v>
                </c:pt>
                <c:pt idx="25725">
                  <c:v>623</c:v>
                </c:pt>
                <c:pt idx="25726">
                  <c:v>163</c:v>
                </c:pt>
                <c:pt idx="25727">
                  <c:v>91</c:v>
                </c:pt>
                <c:pt idx="25728">
                  <c:v>3378</c:v>
                </c:pt>
                <c:pt idx="25729">
                  <c:v>1372</c:v>
                </c:pt>
                <c:pt idx="25730">
                  <c:v>119</c:v>
                </c:pt>
                <c:pt idx="25731">
                  <c:v>6423</c:v>
                </c:pt>
                <c:pt idx="25732">
                  <c:v>100</c:v>
                </c:pt>
                <c:pt idx="25733">
                  <c:v>6613</c:v>
                </c:pt>
                <c:pt idx="25734">
                  <c:v>279</c:v>
                </c:pt>
                <c:pt idx="25735">
                  <c:v>2628</c:v>
                </c:pt>
                <c:pt idx="25736">
                  <c:v>1639</c:v>
                </c:pt>
                <c:pt idx="25737">
                  <c:v>12649</c:v>
                </c:pt>
                <c:pt idx="25738">
                  <c:v>21826</c:v>
                </c:pt>
                <c:pt idx="25739">
                  <c:v>18859</c:v>
                </c:pt>
                <c:pt idx="25740">
                  <c:v>31133</c:v>
                </c:pt>
                <c:pt idx="25741">
                  <c:v>16168</c:v>
                </c:pt>
                <c:pt idx="25742">
                  <c:v>15778</c:v>
                </c:pt>
                <c:pt idx="25743">
                  <c:v>5111</c:v>
                </c:pt>
                <c:pt idx="25744">
                  <c:v>1945</c:v>
                </c:pt>
                <c:pt idx="25745">
                  <c:v>182</c:v>
                </c:pt>
                <c:pt idx="25746">
                  <c:v>382</c:v>
                </c:pt>
                <c:pt idx="25747">
                  <c:v>18</c:v>
                </c:pt>
                <c:pt idx="25748">
                  <c:v>354</c:v>
                </c:pt>
                <c:pt idx="25749">
                  <c:v>345</c:v>
                </c:pt>
                <c:pt idx="25750">
                  <c:v>188</c:v>
                </c:pt>
                <c:pt idx="25751">
                  <c:v>156</c:v>
                </c:pt>
                <c:pt idx="25752">
                  <c:v>593</c:v>
                </c:pt>
                <c:pt idx="25753">
                  <c:v>360</c:v>
                </c:pt>
                <c:pt idx="25754">
                  <c:v>1889</c:v>
                </c:pt>
                <c:pt idx="25755">
                  <c:v>1257</c:v>
                </c:pt>
                <c:pt idx="25756">
                  <c:v>176</c:v>
                </c:pt>
                <c:pt idx="25757">
                  <c:v>5445</c:v>
                </c:pt>
                <c:pt idx="25758">
                  <c:v>820</c:v>
                </c:pt>
                <c:pt idx="25759">
                  <c:v>1133</c:v>
                </c:pt>
                <c:pt idx="25760">
                  <c:v>514</c:v>
                </c:pt>
                <c:pt idx="25761">
                  <c:v>453</c:v>
                </c:pt>
                <c:pt idx="25762">
                  <c:v>115</c:v>
                </c:pt>
                <c:pt idx="25763">
                  <c:v>504</c:v>
                </c:pt>
                <c:pt idx="25764">
                  <c:v>17783</c:v>
                </c:pt>
                <c:pt idx="25765">
                  <c:v>22404</c:v>
                </c:pt>
                <c:pt idx="25766">
                  <c:v>21260</c:v>
                </c:pt>
                <c:pt idx="25767">
                  <c:v>626</c:v>
                </c:pt>
                <c:pt idx="25768">
                  <c:v>608</c:v>
                </c:pt>
                <c:pt idx="25769">
                  <c:v>2356</c:v>
                </c:pt>
                <c:pt idx="25770">
                  <c:v>180</c:v>
                </c:pt>
                <c:pt idx="25771">
                  <c:v>2734</c:v>
                </c:pt>
                <c:pt idx="25772">
                  <c:v>236</c:v>
                </c:pt>
                <c:pt idx="25773">
                  <c:v>1567</c:v>
                </c:pt>
                <c:pt idx="25774">
                  <c:v>124</c:v>
                </c:pt>
                <c:pt idx="25775">
                  <c:v>1298</c:v>
                </c:pt>
                <c:pt idx="25776">
                  <c:v>537</c:v>
                </c:pt>
                <c:pt idx="25777">
                  <c:v>480</c:v>
                </c:pt>
                <c:pt idx="25778">
                  <c:v>889</c:v>
                </c:pt>
                <c:pt idx="25779">
                  <c:v>450</c:v>
                </c:pt>
                <c:pt idx="25780">
                  <c:v>221</c:v>
                </c:pt>
                <c:pt idx="25781">
                  <c:v>242</c:v>
                </c:pt>
                <c:pt idx="25782">
                  <c:v>129</c:v>
                </c:pt>
                <c:pt idx="25783">
                  <c:v>322</c:v>
                </c:pt>
                <c:pt idx="25784">
                  <c:v>1527</c:v>
                </c:pt>
                <c:pt idx="25785">
                  <c:v>283</c:v>
                </c:pt>
                <c:pt idx="25786">
                  <c:v>92</c:v>
                </c:pt>
                <c:pt idx="25787">
                  <c:v>1281</c:v>
                </c:pt>
                <c:pt idx="25788">
                  <c:v>588</c:v>
                </c:pt>
                <c:pt idx="25789">
                  <c:v>2107</c:v>
                </c:pt>
                <c:pt idx="25790">
                  <c:v>3237</c:v>
                </c:pt>
                <c:pt idx="25791">
                  <c:v>312</c:v>
                </c:pt>
                <c:pt idx="25792">
                  <c:v>12905</c:v>
                </c:pt>
                <c:pt idx="25793">
                  <c:v>422</c:v>
                </c:pt>
                <c:pt idx="25794">
                  <c:v>4663</c:v>
                </c:pt>
                <c:pt idx="25795">
                  <c:v>1072</c:v>
                </c:pt>
                <c:pt idx="25796">
                  <c:v>6693</c:v>
                </c:pt>
                <c:pt idx="25797">
                  <c:v>165</c:v>
                </c:pt>
                <c:pt idx="25798">
                  <c:v>246</c:v>
                </c:pt>
                <c:pt idx="25799">
                  <c:v>20671</c:v>
                </c:pt>
                <c:pt idx="25800">
                  <c:v>521</c:v>
                </c:pt>
                <c:pt idx="25801">
                  <c:v>15104</c:v>
                </c:pt>
                <c:pt idx="25802">
                  <c:v>4566</c:v>
                </c:pt>
                <c:pt idx="25803">
                  <c:v>181</c:v>
                </c:pt>
                <c:pt idx="25804">
                  <c:v>127</c:v>
                </c:pt>
                <c:pt idx="25805">
                  <c:v>3241</c:v>
                </c:pt>
                <c:pt idx="25806">
                  <c:v>77</c:v>
                </c:pt>
                <c:pt idx="25807">
                  <c:v>379</c:v>
                </c:pt>
                <c:pt idx="25808">
                  <c:v>57</c:v>
                </c:pt>
                <c:pt idx="25809">
                  <c:v>1397</c:v>
                </c:pt>
                <c:pt idx="25810">
                  <c:v>396</c:v>
                </c:pt>
                <c:pt idx="25811">
                  <c:v>157</c:v>
                </c:pt>
                <c:pt idx="25812">
                  <c:v>168</c:v>
                </c:pt>
                <c:pt idx="25813">
                  <c:v>204</c:v>
                </c:pt>
                <c:pt idx="25814">
                  <c:v>10329</c:v>
                </c:pt>
                <c:pt idx="25815">
                  <c:v>12174</c:v>
                </c:pt>
                <c:pt idx="25816">
                  <c:v>364</c:v>
                </c:pt>
                <c:pt idx="25817">
                  <c:v>196</c:v>
                </c:pt>
                <c:pt idx="25818">
                  <c:v>376</c:v>
                </c:pt>
                <c:pt idx="25819">
                  <c:v>492</c:v>
                </c:pt>
                <c:pt idx="25820">
                  <c:v>415</c:v>
                </c:pt>
                <c:pt idx="25821">
                  <c:v>153</c:v>
                </c:pt>
                <c:pt idx="25822">
                  <c:v>260</c:v>
                </c:pt>
                <c:pt idx="25823">
                  <c:v>172</c:v>
                </c:pt>
                <c:pt idx="25824">
                  <c:v>37</c:v>
                </c:pt>
                <c:pt idx="25825">
                  <c:v>148</c:v>
                </c:pt>
                <c:pt idx="25826">
                  <c:v>8699</c:v>
                </c:pt>
                <c:pt idx="25827">
                  <c:v>3228</c:v>
                </c:pt>
                <c:pt idx="25828">
                  <c:v>308</c:v>
                </c:pt>
                <c:pt idx="25829">
                  <c:v>58</c:v>
                </c:pt>
                <c:pt idx="25830">
                  <c:v>2857</c:v>
                </c:pt>
                <c:pt idx="25831">
                  <c:v>159</c:v>
                </c:pt>
                <c:pt idx="25832">
                  <c:v>78</c:v>
                </c:pt>
                <c:pt idx="25833">
                  <c:v>1827</c:v>
                </c:pt>
                <c:pt idx="25834">
                  <c:v>521</c:v>
                </c:pt>
                <c:pt idx="25835">
                  <c:v>434</c:v>
                </c:pt>
                <c:pt idx="25836">
                  <c:v>110</c:v>
                </c:pt>
                <c:pt idx="25837">
                  <c:v>227</c:v>
                </c:pt>
                <c:pt idx="25838">
                  <c:v>985</c:v>
                </c:pt>
                <c:pt idx="25839">
                  <c:v>429</c:v>
                </c:pt>
                <c:pt idx="25840">
                  <c:v>1858</c:v>
                </c:pt>
                <c:pt idx="25841">
                  <c:v>566</c:v>
                </c:pt>
                <c:pt idx="25842">
                  <c:v>211</c:v>
                </c:pt>
                <c:pt idx="25843">
                  <c:v>802</c:v>
                </c:pt>
                <c:pt idx="25844">
                  <c:v>367</c:v>
                </c:pt>
                <c:pt idx="25845">
                  <c:v>1002</c:v>
                </c:pt>
                <c:pt idx="25846">
                  <c:v>91</c:v>
                </c:pt>
                <c:pt idx="25847">
                  <c:v>3411</c:v>
                </c:pt>
                <c:pt idx="25848">
                  <c:v>288</c:v>
                </c:pt>
                <c:pt idx="25849">
                  <c:v>19588</c:v>
                </c:pt>
                <c:pt idx="25850">
                  <c:v>124</c:v>
                </c:pt>
                <c:pt idx="25851">
                  <c:v>767</c:v>
                </c:pt>
                <c:pt idx="25852">
                  <c:v>188</c:v>
                </c:pt>
                <c:pt idx="25853">
                  <c:v>280</c:v>
                </c:pt>
                <c:pt idx="25854">
                  <c:v>12100</c:v>
                </c:pt>
                <c:pt idx="25855">
                  <c:v>269</c:v>
                </c:pt>
                <c:pt idx="25856">
                  <c:v>232</c:v>
                </c:pt>
                <c:pt idx="25857">
                  <c:v>404</c:v>
                </c:pt>
                <c:pt idx="25858">
                  <c:v>20487</c:v>
                </c:pt>
                <c:pt idx="25859">
                  <c:v>4352</c:v>
                </c:pt>
                <c:pt idx="25860">
                  <c:v>5372</c:v>
                </c:pt>
                <c:pt idx="25861">
                  <c:v>12060</c:v>
                </c:pt>
                <c:pt idx="25862">
                  <c:v>6336</c:v>
                </c:pt>
                <c:pt idx="25863">
                  <c:v>33242</c:v>
                </c:pt>
                <c:pt idx="25864">
                  <c:v>20150</c:v>
                </c:pt>
                <c:pt idx="25865">
                  <c:v>4462</c:v>
                </c:pt>
                <c:pt idx="25866">
                  <c:v>12322</c:v>
                </c:pt>
                <c:pt idx="25867">
                  <c:v>14465</c:v>
                </c:pt>
                <c:pt idx="25868">
                  <c:v>19108</c:v>
                </c:pt>
                <c:pt idx="25869">
                  <c:v>22059</c:v>
                </c:pt>
                <c:pt idx="25870">
                  <c:v>18032</c:v>
                </c:pt>
                <c:pt idx="25871">
                  <c:v>20363</c:v>
                </c:pt>
                <c:pt idx="25872">
                  <c:v>11898</c:v>
                </c:pt>
                <c:pt idx="25873">
                  <c:v>17969</c:v>
                </c:pt>
                <c:pt idx="25874">
                  <c:v>17711</c:v>
                </c:pt>
                <c:pt idx="25875">
                  <c:v>27614</c:v>
                </c:pt>
                <c:pt idx="25876">
                  <c:v>17030</c:v>
                </c:pt>
                <c:pt idx="25877">
                  <c:v>13523</c:v>
                </c:pt>
                <c:pt idx="25878">
                  <c:v>20989</c:v>
                </c:pt>
                <c:pt idx="25879">
                  <c:v>9628</c:v>
                </c:pt>
                <c:pt idx="25880">
                  <c:v>23362</c:v>
                </c:pt>
                <c:pt idx="25881">
                  <c:v>14191</c:v>
                </c:pt>
                <c:pt idx="25882">
                  <c:v>36870</c:v>
                </c:pt>
                <c:pt idx="25883">
                  <c:v>26016</c:v>
                </c:pt>
                <c:pt idx="25884">
                  <c:v>2516</c:v>
                </c:pt>
                <c:pt idx="25885">
                  <c:v>23474</c:v>
                </c:pt>
                <c:pt idx="25886">
                  <c:v>23678</c:v>
                </c:pt>
                <c:pt idx="25887">
                  <c:v>14739</c:v>
                </c:pt>
                <c:pt idx="25888">
                  <c:v>26780</c:v>
                </c:pt>
                <c:pt idx="25889">
                  <c:v>22430</c:v>
                </c:pt>
                <c:pt idx="25890">
                  <c:v>17746</c:v>
                </c:pt>
                <c:pt idx="25891">
                  <c:v>22361</c:v>
                </c:pt>
                <c:pt idx="25892">
                  <c:v>3644</c:v>
                </c:pt>
                <c:pt idx="25893">
                  <c:v>18076</c:v>
                </c:pt>
                <c:pt idx="25894">
                  <c:v>16208</c:v>
                </c:pt>
                <c:pt idx="25895">
                  <c:v>19877</c:v>
                </c:pt>
                <c:pt idx="25896">
                  <c:v>13287</c:v>
                </c:pt>
                <c:pt idx="25897">
                  <c:v>5126</c:v>
                </c:pt>
                <c:pt idx="25898">
                  <c:v>10106</c:v>
                </c:pt>
                <c:pt idx="25899">
                  <c:v>14103</c:v>
                </c:pt>
                <c:pt idx="25900">
                  <c:v>21056</c:v>
                </c:pt>
                <c:pt idx="25901">
                  <c:v>3664</c:v>
                </c:pt>
                <c:pt idx="25902">
                  <c:v>3363</c:v>
                </c:pt>
                <c:pt idx="25903">
                  <c:v>8935</c:v>
                </c:pt>
                <c:pt idx="25904">
                  <c:v>10116</c:v>
                </c:pt>
                <c:pt idx="25905">
                  <c:v>724</c:v>
                </c:pt>
                <c:pt idx="25906">
                  <c:v>22808</c:v>
                </c:pt>
                <c:pt idx="25907">
                  <c:v>2918</c:v>
                </c:pt>
                <c:pt idx="25908">
                  <c:v>6546</c:v>
                </c:pt>
                <c:pt idx="25909">
                  <c:v>3485</c:v>
                </c:pt>
                <c:pt idx="25910">
                  <c:v>9244</c:v>
                </c:pt>
                <c:pt idx="25911">
                  <c:v>96</c:v>
                </c:pt>
                <c:pt idx="25912">
                  <c:v>992</c:v>
                </c:pt>
                <c:pt idx="25913">
                  <c:v>20597</c:v>
                </c:pt>
                <c:pt idx="25914">
                  <c:v>8015</c:v>
                </c:pt>
                <c:pt idx="25915">
                  <c:v>19466</c:v>
                </c:pt>
                <c:pt idx="25916">
                  <c:v>36056</c:v>
                </c:pt>
                <c:pt idx="25917">
                  <c:v>17276</c:v>
                </c:pt>
                <c:pt idx="25918">
                  <c:v>1391</c:v>
                </c:pt>
                <c:pt idx="25919">
                  <c:v>1135</c:v>
                </c:pt>
                <c:pt idx="25920">
                  <c:v>926</c:v>
                </c:pt>
                <c:pt idx="25921">
                  <c:v>1041</c:v>
                </c:pt>
                <c:pt idx="25922">
                  <c:v>816</c:v>
                </c:pt>
                <c:pt idx="25923">
                  <c:v>1931</c:v>
                </c:pt>
                <c:pt idx="25924">
                  <c:v>2014</c:v>
                </c:pt>
                <c:pt idx="25925">
                  <c:v>27815</c:v>
                </c:pt>
                <c:pt idx="25926">
                  <c:v>21648</c:v>
                </c:pt>
                <c:pt idx="25927">
                  <c:v>18179</c:v>
                </c:pt>
                <c:pt idx="25928">
                  <c:v>33321</c:v>
                </c:pt>
                <c:pt idx="25929">
                  <c:v>19273</c:v>
                </c:pt>
                <c:pt idx="25930">
                  <c:v>14526</c:v>
                </c:pt>
                <c:pt idx="25931">
                  <c:v>22884</c:v>
                </c:pt>
                <c:pt idx="25932">
                  <c:v>14642</c:v>
                </c:pt>
                <c:pt idx="25933">
                  <c:v>17762</c:v>
                </c:pt>
                <c:pt idx="25934">
                  <c:v>20720</c:v>
                </c:pt>
                <c:pt idx="25935">
                  <c:v>21546</c:v>
                </c:pt>
                <c:pt idx="25936">
                  <c:v>16554</c:v>
                </c:pt>
                <c:pt idx="25937">
                  <c:v>6732</c:v>
                </c:pt>
                <c:pt idx="25938">
                  <c:v>27325</c:v>
                </c:pt>
                <c:pt idx="25939">
                  <c:v>39752</c:v>
                </c:pt>
                <c:pt idx="25940">
                  <c:v>23432</c:v>
                </c:pt>
                <c:pt idx="25941">
                  <c:v>19984</c:v>
                </c:pt>
                <c:pt idx="25942">
                  <c:v>26138</c:v>
                </c:pt>
                <c:pt idx="25943">
                  <c:v>13813</c:v>
                </c:pt>
                <c:pt idx="25944">
                  <c:v>20522</c:v>
                </c:pt>
                <c:pt idx="25945">
                  <c:v>9121</c:v>
                </c:pt>
                <c:pt idx="25946">
                  <c:v>24713</c:v>
                </c:pt>
                <c:pt idx="25947">
                  <c:v>7942</c:v>
                </c:pt>
                <c:pt idx="25948">
                  <c:v>23639</c:v>
                </c:pt>
                <c:pt idx="25949">
                  <c:v>18213</c:v>
                </c:pt>
                <c:pt idx="25950">
                  <c:v>1323</c:v>
                </c:pt>
                <c:pt idx="25951">
                  <c:v>18244</c:v>
                </c:pt>
                <c:pt idx="25952">
                  <c:v>11622</c:v>
                </c:pt>
                <c:pt idx="25953">
                  <c:v>10622</c:v>
                </c:pt>
                <c:pt idx="25954">
                  <c:v>20522</c:v>
                </c:pt>
                <c:pt idx="25955">
                  <c:v>5294</c:v>
                </c:pt>
                <c:pt idx="25956">
                  <c:v>1135</c:v>
                </c:pt>
                <c:pt idx="25957">
                  <c:v>484</c:v>
                </c:pt>
                <c:pt idx="25958">
                  <c:v>4645</c:v>
                </c:pt>
                <c:pt idx="25959">
                  <c:v>10368</c:v>
                </c:pt>
                <c:pt idx="25960">
                  <c:v>38027</c:v>
                </c:pt>
                <c:pt idx="25961">
                  <c:v>29508</c:v>
                </c:pt>
                <c:pt idx="25962">
                  <c:v>24914</c:v>
                </c:pt>
                <c:pt idx="25963">
                  <c:v>10191</c:v>
                </c:pt>
                <c:pt idx="25964">
                  <c:v>24965</c:v>
                </c:pt>
                <c:pt idx="25965">
                  <c:v>27893</c:v>
                </c:pt>
                <c:pt idx="25966">
                  <c:v>25891</c:v>
                </c:pt>
                <c:pt idx="25967">
                  <c:v>16540</c:v>
                </c:pt>
                <c:pt idx="25968">
                  <c:v>19262</c:v>
                </c:pt>
                <c:pt idx="25969">
                  <c:v>26073</c:v>
                </c:pt>
                <c:pt idx="25970">
                  <c:v>18428</c:v>
                </c:pt>
                <c:pt idx="25971">
                  <c:v>15582</c:v>
                </c:pt>
                <c:pt idx="25972">
                  <c:v>13126</c:v>
                </c:pt>
                <c:pt idx="25973">
                  <c:v>7782</c:v>
                </c:pt>
                <c:pt idx="25974">
                  <c:v>12086</c:v>
                </c:pt>
                <c:pt idx="25975">
                  <c:v>6468</c:v>
                </c:pt>
                <c:pt idx="25976">
                  <c:v>33600</c:v>
                </c:pt>
                <c:pt idx="25977">
                  <c:v>10431</c:v>
                </c:pt>
                <c:pt idx="25978">
                  <c:v>212</c:v>
                </c:pt>
                <c:pt idx="25979">
                  <c:v>1148</c:v>
                </c:pt>
                <c:pt idx="25980">
                  <c:v>243</c:v>
                </c:pt>
                <c:pt idx="25981">
                  <c:v>20773</c:v>
                </c:pt>
                <c:pt idx="25982">
                  <c:v>850</c:v>
                </c:pt>
                <c:pt idx="25983">
                  <c:v>167</c:v>
                </c:pt>
                <c:pt idx="25984">
                  <c:v>30014</c:v>
                </c:pt>
                <c:pt idx="25985">
                  <c:v>958</c:v>
                </c:pt>
                <c:pt idx="25986">
                  <c:v>15247</c:v>
                </c:pt>
                <c:pt idx="25987">
                  <c:v>362</c:v>
                </c:pt>
                <c:pt idx="25988">
                  <c:v>160</c:v>
                </c:pt>
                <c:pt idx="25989">
                  <c:v>16783</c:v>
                </c:pt>
                <c:pt idx="25990">
                  <c:v>4138</c:v>
                </c:pt>
                <c:pt idx="25991">
                  <c:v>1098</c:v>
                </c:pt>
                <c:pt idx="25992">
                  <c:v>27038</c:v>
                </c:pt>
                <c:pt idx="25993">
                  <c:v>22216</c:v>
                </c:pt>
                <c:pt idx="25994">
                  <c:v>17433</c:v>
                </c:pt>
                <c:pt idx="25995">
                  <c:v>690</c:v>
                </c:pt>
                <c:pt idx="25996">
                  <c:v>3619</c:v>
                </c:pt>
                <c:pt idx="25997">
                  <c:v>27560</c:v>
                </c:pt>
                <c:pt idx="25998">
                  <c:v>434</c:v>
                </c:pt>
                <c:pt idx="25999">
                  <c:v>315</c:v>
                </c:pt>
                <c:pt idx="26000">
                  <c:v>276</c:v>
                </c:pt>
                <c:pt idx="26001">
                  <c:v>8265</c:v>
                </c:pt>
                <c:pt idx="26002">
                  <c:v>7193</c:v>
                </c:pt>
                <c:pt idx="26003">
                  <c:v>4803</c:v>
                </c:pt>
                <c:pt idx="26004">
                  <c:v>19519</c:v>
                </c:pt>
                <c:pt idx="26005">
                  <c:v>2921</c:v>
                </c:pt>
                <c:pt idx="26006">
                  <c:v>6075</c:v>
                </c:pt>
                <c:pt idx="26007">
                  <c:v>1489</c:v>
                </c:pt>
                <c:pt idx="26008">
                  <c:v>234</c:v>
                </c:pt>
                <c:pt idx="26009">
                  <c:v>3165</c:v>
                </c:pt>
                <c:pt idx="26010">
                  <c:v>150</c:v>
                </c:pt>
                <c:pt idx="26011">
                  <c:v>2893</c:v>
                </c:pt>
                <c:pt idx="26012">
                  <c:v>29613</c:v>
                </c:pt>
                <c:pt idx="26013">
                  <c:v>20771</c:v>
                </c:pt>
                <c:pt idx="26014">
                  <c:v>5343</c:v>
                </c:pt>
                <c:pt idx="26015">
                  <c:v>6557</c:v>
                </c:pt>
                <c:pt idx="26016">
                  <c:v>13989</c:v>
                </c:pt>
                <c:pt idx="26017">
                  <c:v>3430</c:v>
                </c:pt>
                <c:pt idx="26018">
                  <c:v>1231</c:v>
                </c:pt>
                <c:pt idx="26019">
                  <c:v>3803</c:v>
                </c:pt>
                <c:pt idx="26020">
                  <c:v>22619</c:v>
                </c:pt>
                <c:pt idx="26021">
                  <c:v>14367</c:v>
                </c:pt>
                <c:pt idx="26022">
                  <c:v>19622</c:v>
                </c:pt>
                <c:pt idx="26023">
                  <c:v>31106</c:v>
                </c:pt>
                <c:pt idx="26024">
                  <c:v>5379</c:v>
                </c:pt>
                <c:pt idx="26025">
                  <c:v>15009</c:v>
                </c:pt>
                <c:pt idx="26026">
                  <c:v>3687</c:v>
                </c:pt>
                <c:pt idx="26027">
                  <c:v>19302</c:v>
                </c:pt>
                <c:pt idx="26028">
                  <c:v>13131</c:v>
                </c:pt>
                <c:pt idx="26029">
                  <c:v>12665</c:v>
                </c:pt>
                <c:pt idx="26030">
                  <c:v>5372</c:v>
                </c:pt>
                <c:pt idx="26031">
                  <c:v>411</c:v>
                </c:pt>
                <c:pt idx="26032">
                  <c:v>288</c:v>
                </c:pt>
                <c:pt idx="26033">
                  <c:v>1243</c:v>
                </c:pt>
                <c:pt idx="26034">
                  <c:v>1011</c:v>
                </c:pt>
                <c:pt idx="26035">
                  <c:v>165</c:v>
                </c:pt>
                <c:pt idx="26036">
                  <c:v>1123</c:v>
                </c:pt>
                <c:pt idx="26037">
                  <c:v>8310</c:v>
                </c:pt>
                <c:pt idx="26038">
                  <c:v>804</c:v>
                </c:pt>
                <c:pt idx="26039">
                  <c:v>1360</c:v>
                </c:pt>
                <c:pt idx="26040">
                  <c:v>832</c:v>
                </c:pt>
                <c:pt idx="26041">
                  <c:v>7282</c:v>
                </c:pt>
                <c:pt idx="26042">
                  <c:v>1596</c:v>
                </c:pt>
                <c:pt idx="26043">
                  <c:v>164</c:v>
                </c:pt>
                <c:pt idx="26044">
                  <c:v>2587</c:v>
                </c:pt>
                <c:pt idx="26045">
                  <c:v>253</c:v>
                </c:pt>
                <c:pt idx="26046">
                  <c:v>93</c:v>
                </c:pt>
                <c:pt idx="26047">
                  <c:v>216</c:v>
                </c:pt>
                <c:pt idx="26048">
                  <c:v>3343</c:v>
                </c:pt>
                <c:pt idx="26049">
                  <c:v>2137</c:v>
                </c:pt>
                <c:pt idx="26050">
                  <c:v>182</c:v>
                </c:pt>
                <c:pt idx="26051">
                  <c:v>321</c:v>
                </c:pt>
                <c:pt idx="26052">
                  <c:v>5563</c:v>
                </c:pt>
                <c:pt idx="26053">
                  <c:v>251</c:v>
                </c:pt>
                <c:pt idx="26054">
                  <c:v>444</c:v>
                </c:pt>
                <c:pt idx="26055">
                  <c:v>4643</c:v>
                </c:pt>
                <c:pt idx="26056">
                  <c:v>3483</c:v>
                </c:pt>
                <c:pt idx="26057">
                  <c:v>2009</c:v>
                </c:pt>
                <c:pt idx="26058">
                  <c:v>317</c:v>
                </c:pt>
                <c:pt idx="26059">
                  <c:v>348</c:v>
                </c:pt>
                <c:pt idx="26060">
                  <c:v>293</c:v>
                </c:pt>
                <c:pt idx="26061">
                  <c:v>7918</c:v>
                </c:pt>
                <c:pt idx="26062">
                  <c:v>758</c:v>
                </c:pt>
                <c:pt idx="26063">
                  <c:v>1408</c:v>
                </c:pt>
                <c:pt idx="26064">
                  <c:v>460</c:v>
                </c:pt>
                <c:pt idx="26065">
                  <c:v>588</c:v>
                </c:pt>
                <c:pt idx="26066">
                  <c:v>547</c:v>
                </c:pt>
                <c:pt idx="26067">
                  <c:v>150</c:v>
                </c:pt>
                <c:pt idx="26068">
                  <c:v>12298</c:v>
                </c:pt>
                <c:pt idx="26069">
                  <c:v>647</c:v>
                </c:pt>
                <c:pt idx="26070">
                  <c:v>1272</c:v>
                </c:pt>
                <c:pt idx="26071">
                  <c:v>255</c:v>
                </c:pt>
                <c:pt idx="26072">
                  <c:v>1559</c:v>
                </c:pt>
                <c:pt idx="26073">
                  <c:v>14898</c:v>
                </c:pt>
                <c:pt idx="26074">
                  <c:v>280</c:v>
                </c:pt>
                <c:pt idx="26075">
                  <c:v>642</c:v>
                </c:pt>
                <c:pt idx="26076">
                  <c:v>14197</c:v>
                </c:pt>
                <c:pt idx="26077">
                  <c:v>3250</c:v>
                </c:pt>
                <c:pt idx="26078">
                  <c:v>493</c:v>
                </c:pt>
                <c:pt idx="26079">
                  <c:v>427</c:v>
                </c:pt>
                <c:pt idx="26080">
                  <c:v>8825</c:v>
                </c:pt>
                <c:pt idx="26081">
                  <c:v>5063</c:v>
                </c:pt>
                <c:pt idx="26082">
                  <c:v>8426</c:v>
                </c:pt>
                <c:pt idx="26083">
                  <c:v>6400</c:v>
                </c:pt>
                <c:pt idx="26084">
                  <c:v>2842</c:v>
                </c:pt>
                <c:pt idx="26085">
                  <c:v>16079</c:v>
                </c:pt>
                <c:pt idx="26086">
                  <c:v>25065</c:v>
                </c:pt>
                <c:pt idx="26087">
                  <c:v>23654</c:v>
                </c:pt>
                <c:pt idx="26088">
                  <c:v>24421</c:v>
                </c:pt>
                <c:pt idx="26089">
                  <c:v>19273</c:v>
                </c:pt>
                <c:pt idx="26090">
                  <c:v>14614</c:v>
                </c:pt>
                <c:pt idx="26091">
                  <c:v>17857</c:v>
                </c:pt>
                <c:pt idx="26092">
                  <c:v>6717</c:v>
                </c:pt>
                <c:pt idx="26093">
                  <c:v>8853</c:v>
                </c:pt>
                <c:pt idx="26094">
                  <c:v>15927</c:v>
                </c:pt>
                <c:pt idx="26095">
                  <c:v>12889</c:v>
                </c:pt>
                <c:pt idx="26096">
                  <c:v>24028</c:v>
                </c:pt>
                <c:pt idx="26097">
                  <c:v>17915</c:v>
                </c:pt>
                <c:pt idx="26098">
                  <c:v>4130</c:v>
                </c:pt>
                <c:pt idx="26099">
                  <c:v>1725</c:v>
                </c:pt>
                <c:pt idx="26100">
                  <c:v>8561</c:v>
                </c:pt>
                <c:pt idx="26101">
                  <c:v>4439</c:v>
                </c:pt>
                <c:pt idx="26102">
                  <c:v>17802</c:v>
                </c:pt>
                <c:pt idx="26103">
                  <c:v>14118</c:v>
                </c:pt>
                <c:pt idx="26104">
                  <c:v>13188</c:v>
                </c:pt>
                <c:pt idx="26105">
                  <c:v>18733</c:v>
                </c:pt>
                <c:pt idx="26106">
                  <c:v>21307</c:v>
                </c:pt>
                <c:pt idx="26107">
                  <c:v>12358</c:v>
                </c:pt>
                <c:pt idx="26108">
                  <c:v>9838</c:v>
                </c:pt>
                <c:pt idx="26109">
                  <c:v>7753</c:v>
                </c:pt>
                <c:pt idx="26110">
                  <c:v>10867</c:v>
                </c:pt>
                <c:pt idx="26111">
                  <c:v>5646</c:v>
                </c:pt>
                <c:pt idx="26112">
                  <c:v>14684</c:v>
                </c:pt>
                <c:pt idx="26113">
                  <c:v>8765</c:v>
                </c:pt>
                <c:pt idx="26114">
                  <c:v>6867</c:v>
                </c:pt>
                <c:pt idx="26115">
                  <c:v>325</c:v>
                </c:pt>
                <c:pt idx="26116">
                  <c:v>121</c:v>
                </c:pt>
                <c:pt idx="26117">
                  <c:v>145</c:v>
                </c:pt>
                <c:pt idx="26118">
                  <c:v>411</c:v>
                </c:pt>
                <c:pt idx="26119">
                  <c:v>1442</c:v>
                </c:pt>
                <c:pt idx="26120">
                  <c:v>155</c:v>
                </c:pt>
                <c:pt idx="26121">
                  <c:v>132</c:v>
                </c:pt>
                <c:pt idx="26122">
                  <c:v>2562</c:v>
                </c:pt>
                <c:pt idx="26123">
                  <c:v>489</c:v>
                </c:pt>
                <c:pt idx="26124">
                  <c:v>50</c:v>
                </c:pt>
                <c:pt idx="26125">
                  <c:v>737</c:v>
                </c:pt>
                <c:pt idx="26126">
                  <c:v>177</c:v>
                </c:pt>
                <c:pt idx="26127">
                  <c:v>1591</c:v>
                </c:pt>
                <c:pt idx="26128">
                  <c:v>1009</c:v>
                </c:pt>
                <c:pt idx="26129">
                  <c:v>2951</c:v>
                </c:pt>
                <c:pt idx="26130">
                  <c:v>868</c:v>
                </c:pt>
                <c:pt idx="26131">
                  <c:v>1314</c:v>
                </c:pt>
                <c:pt idx="26132">
                  <c:v>523</c:v>
                </c:pt>
                <c:pt idx="26133">
                  <c:v>2719</c:v>
                </c:pt>
                <c:pt idx="26134">
                  <c:v>18789</c:v>
                </c:pt>
                <c:pt idx="26135">
                  <c:v>45</c:v>
                </c:pt>
                <c:pt idx="26136">
                  <c:v>18352</c:v>
                </c:pt>
                <c:pt idx="26137">
                  <c:v>7880</c:v>
                </c:pt>
                <c:pt idx="26138">
                  <c:v>834</c:v>
                </c:pt>
                <c:pt idx="26139">
                  <c:v>272</c:v>
                </c:pt>
                <c:pt idx="26140">
                  <c:v>272</c:v>
                </c:pt>
                <c:pt idx="26141">
                  <c:v>676</c:v>
                </c:pt>
                <c:pt idx="26142">
                  <c:v>1194</c:v>
                </c:pt>
                <c:pt idx="26143">
                  <c:v>756</c:v>
                </c:pt>
                <c:pt idx="26144">
                  <c:v>1456</c:v>
                </c:pt>
                <c:pt idx="26145">
                  <c:v>285</c:v>
                </c:pt>
                <c:pt idx="26146">
                  <c:v>1749</c:v>
                </c:pt>
                <c:pt idx="26147">
                  <c:v>218</c:v>
                </c:pt>
                <c:pt idx="26148">
                  <c:v>388</c:v>
                </c:pt>
                <c:pt idx="26149">
                  <c:v>765</c:v>
                </c:pt>
                <c:pt idx="26150">
                  <c:v>2233</c:v>
                </c:pt>
                <c:pt idx="26151">
                  <c:v>336</c:v>
                </c:pt>
                <c:pt idx="26152">
                  <c:v>645</c:v>
                </c:pt>
                <c:pt idx="26153">
                  <c:v>147</c:v>
                </c:pt>
                <c:pt idx="26154">
                  <c:v>470</c:v>
                </c:pt>
                <c:pt idx="26155">
                  <c:v>4685</c:v>
                </c:pt>
                <c:pt idx="26156">
                  <c:v>861</c:v>
                </c:pt>
                <c:pt idx="26157">
                  <c:v>751</c:v>
                </c:pt>
                <c:pt idx="26158">
                  <c:v>629</c:v>
                </c:pt>
                <c:pt idx="26159">
                  <c:v>3877</c:v>
                </c:pt>
                <c:pt idx="26160">
                  <c:v>2433</c:v>
                </c:pt>
                <c:pt idx="26161">
                  <c:v>4675</c:v>
                </c:pt>
                <c:pt idx="26162">
                  <c:v>681</c:v>
                </c:pt>
                <c:pt idx="26163">
                  <c:v>438</c:v>
                </c:pt>
                <c:pt idx="26164">
                  <c:v>8057</c:v>
                </c:pt>
                <c:pt idx="26165">
                  <c:v>6920</c:v>
                </c:pt>
                <c:pt idx="26166">
                  <c:v>6853</c:v>
                </c:pt>
                <c:pt idx="26167">
                  <c:v>16699</c:v>
                </c:pt>
                <c:pt idx="26168">
                  <c:v>3218</c:v>
                </c:pt>
                <c:pt idx="26169">
                  <c:v>803</c:v>
                </c:pt>
                <c:pt idx="26170">
                  <c:v>1270</c:v>
                </c:pt>
                <c:pt idx="26171">
                  <c:v>4744</c:v>
                </c:pt>
                <c:pt idx="26172">
                  <c:v>6918</c:v>
                </c:pt>
                <c:pt idx="26173">
                  <c:v>2111</c:v>
                </c:pt>
                <c:pt idx="26174">
                  <c:v>2946</c:v>
                </c:pt>
                <c:pt idx="26175">
                  <c:v>10720</c:v>
                </c:pt>
                <c:pt idx="26176">
                  <c:v>3859</c:v>
                </c:pt>
                <c:pt idx="26177">
                  <c:v>534</c:v>
                </c:pt>
                <c:pt idx="26178">
                  <c:v>230</c:v>
                </c:pt>
                <c:pt idx="26179">
                  <c:v>625</c:v>
                </c:pt>
                <c:pt idx="26180">
                  <c:v>2518</c:v>
                </c:pt>
                <c:pt idx="26181">
                  <c:v>1673</c:v>
                </c:pt>
                <c:pt idx="26182">
                  <c:v>1717</c:v>
                </c:pt>
                <c:pt idx="26183">
                  <c:v>4759</c:v>
                </c:pt>
                <c:pt idx="26184">
                  <c:v>564</c:v>
                </c:pt>
                <c:pt idx="26185">
                  <c:v>173</c:v>
                </c:pt>
                <c:pt idx="26186">
                  <c:v>2310</c:v>
                </c:pt>
                <c:pt idx="26187">
                  <c:v>10301</c:v>
                </c:pt>
                <c:pt idx="26188">
                  <c:v>6730</c:v>
                </c:pt>
                <c:pt idx="26189">
                  <c:v>6771</c:v>
                </c:pt>
                <c:pt idx="26190">
                  <c:v>8855</c:v>
                </c:pt>
                <c:pt idx="26191">
                  <c:v>11040</c:v>
                </c:pt>
                <c:pt idx="26192">
                  <c:v>200</c:v>
                </c:pt>
                <c:pt idx="26193">
                  <c:v>2729</c:v>
                </c:pt>
                <c:pt idx="26194">
                  <c:v>5723</c:v>
                </c:pt>
                <c:pt idx="26195">
                  <c:v>3188</c:v>
                </c:pt>
                <c:pt idx="26196">
                  <c:v>929</c:v>
                </c:pt>
                <c:pt idx="26197">
                  <c:v>483</c:v>
                </c:pt>
                <c:pt idx="26198">
                  <c:v>281</c:v>
                </c:pt>
                <c:pt idx="26199">
                  <c:v>153</c:v>
                </c:pt>
                <c:pt idx="26200">
                  <c:v>2934</c:v>
                </c:pt>
                <c:pt idx="26201">
                  <c:v>473</c:v>
                </c:pt>
                <c:pt idx="26202">
                  <c:v>12008</c:v>
                </c:pt>
                <c:pt idx="26203">
                  <c:v>261</c:v>
                </c:pt>
                <c:pt idx="26204">
                  <c:v>2048</c:v>
                </c:pt>
                <c:pt idx="26205">
                  <c:v>1866</c:v>
                </c:pt>
                <c:pt idx="26206">
                  <c:v>1937</c:v>
                </c:pt>
                <c:pt idx="26207">
                  <c:v>401</c:v>
                </c:pt>
                <c:pt idx="26208">
                  <c:v>335</c:v>
                </c:pt>
                <c:pt idx="26209">
                  <c:v>100</c:v>
                </c:pt>
                <c:pt idx="26210">
                  <c:v>813</c:v>
                </c:pt>
                <c:pt idx="26211">
                  <c:v>1190</c:v>
                </c:pt>
                <c:pt idx="26212">
                  <c:v>728</c:v>
                </c:pt>
                <c:pt idx="26213">
                  <c:v>834</c:v>
                </c:pt>
                <c:pt idx="26214">
                  <c:v>1001</c:v>
                </c:pt>
                <c:pt idx="26215">
                  <c:v>440</c:v>
                </c:pt>
                <c:pt idx="26216">
                  <c:v>370</c:v>
                </c:pt>
                <c:pt idx="26217">
                  <c:v>397</c:v>
                </c:pt>
                <c:pt idx="26218">
                  <c:v>224</c:v>
                </c:pt>
                <c:pt idx="26219">
                  <c:v>348</c:v>
                </c:pt>
                <c:pt idx="26220">
                  <c:v>263</c:v>
                </c:pt>
                <c:pt idx="26221">
                  <c:v>240</c:v>
                </c:pt>
                <c:pt idx="26222">
                  <c:v>702</c:v>
                </c:pt>
                <c:pt idx="26223">
                  <c:v>1273</c:v>
                </c:pt>
                <c:pt idx="26224">
                  <c:v>7168</c:v>
                </c:pt>
                <c:pt idx="26225">
                  <c:v>4871</c:v>
                </c:pt>
                <c:pt idx="26226">
                  <c:v>320</c:v>
                </c:pt>
                <c:pt idx="26227">
                  <c:v>1234</c:v>
                </c:pt>
                <c:pt idx="26228">
                  <c:v>398</c:v>
                </c:pt>
                <c:pt idx="26229">
                  <c:v>1342</c:v>
                </c:pt>
                <c:pt idx="26230">
                  <c:v>135</c:v>
                </c:pt>
                <c:pt idx="26231">
                  <c:v>6117</c:v>
                </c:pt>
                <c:pt idx="26232">
                  <c:v>587</c:v>
                </c:pt>
                <c:pt idx="26233">
                  <c:v>197</c:v>
                </c:pt>
                <c:pt idx="26234">
                  <c:v>257</c:v>
                </c:pt>
                <c:pt idx="26235">
                  <c:v>3185</c:v>
                </c:pt>
                <c:pt idx="26236">
                  <c:v>964</c:v>
                </c:pt>
                <c:pt idx="26237">
                  <c:v>140</c:v>
                </c:pt>
                <c:pt idx="26238">
                  <c:v>979</c:v>
                </c:pt>
                <c:pt idx="26239">
                  <c:v>744</c:v>
                </c:pt>
                <c:pt idx="26240">
                  <c:v>1558</c:v>
                </c:pt>
                <c:pt idx="26241">
                  <c:v>109</c:v>
                </c:pt>
                <c:pt idx="26242">
                  <c:v>17325</c:v>
                </c:pt>
                <c:pt idx="26243">
                  <c:v>1344</c:v>
                </c:pt>
                <c:pt idx="26244">
                  <c:v>2480</c:v>
                </c:pt>
                <c:pt idx="26245">
                  <c:v>501</c:v>
                </c:pt>
                <c:pt idx="26246">
                  <c:v>413</c:v>
                </c:pt>
                <c:pt idx="26247">
                  <c:v>256</c:v>
                </c:pt>
                <c:pt idx="26248">
                  <c:v>383</c:v>
                </c:pt>
                <c:pt idx="26249">
                  <c:v>1231</c:v>
                </c:pt>
                <c:pt idx="26250">
                  <c:v>1682</c:v>
                </c:pt>
                <c:pt idx="26251">
                  <c:v>541</c:v>
                </c:pt>
                <c:pt idx="26252">
                  <c:v>2004</c:v>
                </c:pt>
                <c:pt idx="26253">
                  <c:v>4132</c:v>
                </c:pt>
                <c:pt idx="26254">
                  <c:v>416</c:v>
                </c:pt>
                <c:pt idx="26255">
                  <c:v>402</c:v>
                </c:pt>
                <c:pt idx="26256">
                  <c:v>4174</c:v>
                </c:pt>
                <c:pt idx="26257">
                  <c:v>419</c:v>
                </c:pt>
                <c:pt idx="26258">
                  <c:v>153</c:v>
                </c:pt>
                <c:pt idx="26259">
                  <c:v>2138</c:v>
                </c:pt>
                <c:pt idx="26260">
                  <c:v>240</c:v>
                </c:pt>
                <c:pt idx="26261">
                  <c:v>140</c:v>
                </c:pt>
                <c:pt idx="26262">
                  <c:v>9354</c:v>
                </c:pt>
                <c:pt idx="26263">
                  <c:v>6229</c:v>
                </c:pt>
                <c:pt idx="26264">
                  <c:v>21414</c:v>
                </c:pt>
                <c:pt idx="26265">
                  <c:v>13920</c:v>
                </c:pt>
                <c:pt idx="26266">
                  <c:v>13542</c:v>
                </c:pt>
                <c:pt idx="26267">
                  <c:v>15906</c:v>
                </c:pt>
                <c:pt idx="26268">
                  <c:v>19356</c:v>
                </c:pt>
                <c:pt idx="26269">
                  <c:v>19686</c:v>
                </c:pt>
                <c:pt idx="26270">
                  <c:v>28366</c:v>
                </c:pt>
                <c:pt idx="26271">
                  <c:v>20214</c:v>
                </c:pt>
                <c:pt idx="26272">
                  <c:v>8634</c:v>
                </c:pt>
                <c:pt idx="26273">
                  <c:v>34327</c:v>
                </c:pt>
                <c:pt idx="26274">
                  <c:v>2236</c:v>
                </c:pt>
                <c:pt idx="26275">
                  <c:v>32540</c:v>
                </c:pt>
                <c:pt idx="26276">
                  <c:v>34108</c:v>
                </c:pt>
                <c:pt idx="26277">
                  <c:v>7841</c:v>
                </c:pt>
                <c:pt idx="26278">
                  <c:v>20961</c:v>
                </c:pt>
                <c:pt idx="26279">
                  <c:v>25909</c:v>
                </c:pt>
                <c:pt idx="26280">
                  <c:v>21127</c:v>
                </c:pt>
                <c:pt idx="26281">
                  <c:v>8195</c:v>
                </c:pt>
                <c:pt idx="26282">
                  <c:v>763</c:v>
                </c:pt>
                <c:pt idx="26283">
                  <c:v>346</c:v>
                </c:pt>
                <c:pt idx="26284">
                  <c:v>1618</c:v>
                </c:pt>
                <c:pt idx="26285">
                  <c:v>149</c:v>
                </c:pt>
                <c:pt idx="26286">
                  <c:v>1635</c:v>
                </c:pt>
                <c:pt idx="26287">
                  <c:v>646</c:v>
                </c:pt>
                <c:pt idx="26288">
                  <c:v>849</c:v>
                </c:pt>
                <c:pt idx="26289">
                  <c:v>172</c:v>
                </c:pt>
                <c:pt idx="26290">
                  <c:v>636</c:v>
                </c:pt>
                <c:pt idx="26291">
                  <c:v>119</c:v>
                </c:pt>
                <c:pt idx="26292">
                  <c:v>1167</c:v>
                </c:pt>
                <c:pt idx="26293">
                  <c:v>664</c:v>
                </c:pt>
                <c:pt idx="26294">
                  <c:v>613</c:v>
                </c:pt>
                <c:pt idx="26295">
                  <c:v>3049</c:v>
                </c:pt>
                <c:pt idx="26296">
                  <c:v>668</c:v>
                </c:pt>
                <c:pt idx="26297">
                  <c:v>434</c:v>
                </c:pt>
                <c:pt idx="26298">
                  <c:v>1463</c:v>
                </c:pt>
                <c:pt idx="26299">
                  <c:v>17604</c:v>
                </c:pt>
                <c:pt idx="26300">
                  <c:v>3934</c:v>
                </c:pt>
                <c:pt idx="26301">
                  <c:v>6045</c:v>
                </c:pt>
                <c:pt idx="26302">
                  <c:v>387</c:v>
                </c:pt>
                <c:pt idx="26303">
                  <c:v>5687</c:v>
                </c:pt>
                <c:pt idx="26304">
                  <c:v>876</c:v>
                </c:pt>
                <c:pt idx="26305">
                  <c:v>1495</c:v>
                </c:pt>
                <c:pt idx="26306">
                  <c:v>1373</c:v>
                </c:pt>
                <c:pt idx="26307">
                  <c:v>320</c:v>
                </c:pt>
                <c:pt idx="26308">
                  <c:v>220</c:v>
                </c:pt>
                <c:pt idx="26309">
                  <c:v>3859</c:v>
                </c:pt>
                <c:pt idx="26310">
                  <c:v>655</c:v>
                </c:pt>
                <c:pt idx="26311">
                  <c:v>566</c:v>
                </c:pt>
                <c:pt idx="26312">
                  <c:v>383</c:v>
                </c:pt>
                <c:pt idx="26313">
                  <c:v>390</c:v>
                </c:pt>
                <c:pt idx="26314">
                  <c:v>7052</c:v>
                </c:pt>
                <c:pt idx="26315">
                  <c:v>15275</c:v>
                </c:pt>
                <c:pt idx="26316">
                  <c:v>6246</c:v>
                </c:pt>
                <c:pt idx="26317">
                  <c:v>25366</c:v>
                </c:pt>
                <c:pt idx="26318">
                  <c:v>7473</c:v>
                </c:pt>
                <c:pt idx="26319">
                  <c:v>1501</c:v>
                </c:pt>
                <c:pt idx="26320">
                  <c:v>650</c:v>
                </c:pt>
                <c:pt idx="26321">
                  <c:v>399</c:v>
                </c:pt>
                <c:pt idx="26322">
                  <c:v>289</c:v>
                </c:pt>
                <c:pt idx="26323">
                  <c:v>1521</c:v>
                </c:pt>
                <c:pt idx="26324">
                  <c:v>232</c:v>
                </c:pt>
                <c:pt idx="26325">
                  <c:v>1057</c:v>
                </c:pt>
                <c:pt idx="26326">
                  <c:v>1801</c:v>
                </c:pt>
                <c:pt idx="26327">
                  <c:v>8326</c:v>
                </c:pt>
                <c:pt idx="26328">
                  <c:v>746</c:v>
                </c:pt>
                <c:pt idx="26329">
                  <c:v>588</c:v>
                </c:pt>
                <c:pt idx="26330">
                  <c:v>429</c:v>
                </c:pt>
                <c:pt idx="26331">
                  <c:v>7438</c:v>
                </c:pt>
                <c:pt idx="26332">
                  <c:v>2670</c:v>
                </c:pt>
                <c:pt idx="26333">
                  <c:v>585</c:v>
                </c:pt>
                <c:pt idx="26334">
                  <c:v>964</c:v>
                </c:pt>
                <c:pt idx="26335">
                  <c:v>516</c:v>
                </c:pt>
                <c:pt idx="26336">
                  <c:v>1406</c:v>
                </c:pt>
                <c:pt idx="26337">
                  <c:v>1483</c:v>
                </c:pt>
                <c:pt idx="26338">
                  <c:v>431</c:v>
                </c:pt>
                <c:pt idx="26339">
                  <c:v>472</c:v>
                </c:pt>
                <c:pt idx="26340">
                  <c:v>1237</c:v>
                </c:pt>
                <c:pt idx="26341">
                  <c:v>360</c:v>
                </c:pt>
                <c:pt idx="26342">
                  <c:v>4808</c:v>
                </c:pt>
                <c:pt idx="26343">
                  <c:v>521</c:v>
                </c:pt>
                <c:pt idx="26344">
                  <c:v>434</c:v>
                </c:pt>
                <c:pt idx="26345">
                  <c:v>167</c:v>
                </c:pt>
                <c:pt idx="26346">
                  <c:v>6903</c:v>
                </c:pt>
                <c:pt idx="26347">
                  <c:v>547</c:v>
                </c:pt>
                <c:pt idx="26348">
                  <c:v>264</c:v>
                </c:pt>
                <c:pt idx="26349">
                  <c:v>463</c:v>
                </c:pt>
                <c:pt idx="26350">
                  <c:v>166</c:v>
                </c:pt>
                <c:pt idx="26351">
                  <c:v>180</c:v>
                </c:pt>
                <c:pt idx="26352">
                  <c:v>39</c:v>
                </c:pt>
                <c:pt idx="26353">
                  <c:v>113</c:v>
                </c:pt>
                <c:pt idx="26354">
                  <c:v>36</c:v>
                </c:pt>
                <c:pt idx="26355">
                  <c:v>2694</c:v>
                </c:pt>
                <c:pt idx="26356">
                  <c:v>247</c:v>
                </c:pt>
                <c:pt idx="26357">
                  <c:v>559</c:v>
                </c:pt>
                <c:pt idx="26358">
                  <c:v>219</c:v>
                </c:pt>
                <c:pt idx="26359">
                  <c:v>3597</c:v>
                </c:pt>
                <c:pt idx="26360">
                  <c:v>759</c:v>
                </c:pt>
                <c:pt idx="26361">
                  <c:v>144</c:v>
                </c:pt>
                <c:pt idx="26362">
                  <c:v>95</c:v>
                </c:pt>
                <c:pt idx="26363">
                  <c:v>2078</c:v>
                </c:pt>
                <c:pt idx="26364">
                  <c:v>434</c:v>
                </c:pt>
                <c:pt idx="26365">
                  <c:v>1415</c:v>
                </c:pt>
                <c:pt idx="26366">
                  <c:v>477</c:v>
                </c:pt>
                <c:pt idx="26367">
                  <c:v>16570</c:v>
                </c:pt>
                <c:pt idx="26368">
                  <c:v>10918</c:v>
                </c:pt>
                <c:pt idx="26369">
                  <c:v>10258</c:v>
                </c:pt>
                <c:pt idx="26370">
                  <c:v>4733</c:v>
                </c:pt>
                <c:pt idx="26371">
                  <c:v>12668</c:v>
                </c:pt>
                <c:pt idx="26372">
                  <c:v>12888</c:v>
                </c:pt>
                <c:pt idx="26373">
                  <c:v>373</c:v>
                </c:pt>
                <c:pt idx="26374">
                  <c:v>5953</c:v>
                </c:pt>
                <c:pt idx="26375">
                  <c:v>257</c:v>
                </c:pt>
                <c:pt idx="26376">
                  <c:v>574</c:v>
                </c:pt>
                <c:pt idx="26377">
                  <c:v>329</c:v>
                </c:pt>
                <c:pt idx="26378">
                  <c:v>611</c:v>
                </c:pt>
                <c:pt idx="26379">
                  <c:v>290</c:v>
                </c:pt>
                <c:pt idx="26380">
                  <c:v>383</c:v>
                </c:pt>
                <c:pt idx="26381">
                  <c:v>7510</c:v>
                </c:pt>
                <c:pt idx="26382">
                  <c:v>224</c:v>
                </c:pt>
                <c:pt idx="26383">
                  <c:v>427</c:v>
                </c:pt>
                <c:pt idx="26384">
                  <c:v>641</c:v>
                </c:pt>
                <c:pt idx="26385">
                  <c:v>985</c:v>
                </c:pt>
                <c:pt idx="26386">
                  <c:v>1132</c:v>
                </c:pt>
                <c:pt idx="26387">
                  <c:v>329</c:v>
                </c:pt>
                <c:pt idx="26388">
                  <c:v>633</c:v>
                </c:pt>
                <c:pt idx="26389">
                  <c:v>1378</c:v>
                </c:pt>
                <c:pt idx="26390">
                  <c:v>6140</c:v>
                </c:pt>
                <c:pt idx="26391">
                  <c:v>4002</c:v>
                </c:pt>
                <c:pt idx="26392">
                  <c:v>807</c:v>
                </c:pt>
                <c:pt idx="26393">
                  <c:v>4791</c:v>
                </c:pt>
                <c:pt idx="26394">
                  <c:v>20840</c:v>
                </c:pt>
                <c:pt idx="26395">
                  <c:v>154</c:v>
                </c:pt>
                <c:pt idx="26396">
                  <c:v>77</c:v>
                </c:pt>
                <c:pt idx="26397">
                  <c:v>161</c:v>
                </c:pt>
                <c:pt idx="26398">
                  <c:v>529</c:v>
                </c:pt>
                <c:pt idx="26399">
                  <c:v>181</c:v>
                </c:pt>
                <c:pt idx="26400">
                  <c:v>57</c:v>
                </c:pt>
                <c:pt idx="26401">
                  <c:v>279</c:v>
                </c:pt>
                <c:pt idx="26402">
                  <c:v>7996</c:v>
                </c:pt>
                <c:pt idx="26403">
                  <c:v>130</c:v>
                </c:pt>
                <c:pt idx="26404">
                  <c:v>522</c:v>
                </c:pt>
                <c:pt idx="26405">
                  <c:v>11478</c:v>
                </c:pt>
                <c:pt idx="26406">
                  <c:v>11643</c:v>
                </c:pt>
                <c:pt idx="26407">
                  <c:v>8040</c:v>
                </c:pt>
                <c:pt idx="26408">
                  <c:v>17934</c:v>
                </c:pt>
                <c:pt idx="26409">
                  <c:v>1633</c:v>
                </c:pt>
                <c:pt idx="26410">
                  <c:v>1463</c:v>
                </c:pt>
                <c:pt idx="26411">
                  <c:v>961</c:v>
                </c:pt>
                <c:pt idx="26412">
                  <c:v>16855</c:v>
                </c:pt>
                <c:pt idx="26413">
                  <c:v>3277</c:v>
                </c:pt>
                <c:pt idx="26414">
                  <c:v>960</c:v>
                </c:pt>
                <c:pt idx="26415">
                  <c:v>445</c:v>
                </c:pt>
                <c:pt idx="26416">
                  <c:v>717</c:v>
                </c:pt>
                <c:pt idx="26417">
                  <c:v>6032</c:v>
                </c:pt>
                <c:pt idx="26418">
                  <c:v>684</c:v>
                </c:pt>
                <c:pt idx="26419">
                  <c:v>419</c:v>
                </c:pt>
                <c:pt idx="26420">
                  <c:v>15390</c:v>
                </c:pt>
                <c:pt idx="26421">
                  <c:v>270</c:v>
                </c:pt>
                <c:pt idx="26422">
                  <c:v>672</c:v>
                </c:pt>
                <c:pt idx="26423">
                  <c:v>845</c:v>
                </c:pt>
                <c:pt idx="26424">
                  <c:v>529</c:v>
                </c:pt>
                <c:pt idx="26425">
                  <c:v>141</c:v>
                </c:pt>
                <c:pt idx="26426">
                  <c:v>508</c:v>
                </c:pt>
                <c:pt idx="26427">
                  <c:v>782</c:v>
                </c:pt>
                <c:pt idx="26428">
                  <c:v>1271</c:v>
                </c:pt>
                <c:pt idx="26429">
                  <c:v>194</c:v>
                </c:pt>
                <c:pt idx="26430">
                  <c:v>3510</c:v>
                </c:pt>
                <c:pt idx="26431">
                  <c:v>1314</c:v>
                </c:pt>
                <c:pt idx="26432">
                  <c:v>1457</c:v>
                </c:pt>
                <c:pt idx="26433">
                  <c:v>178</c:v>
                </c:pt>
                <c:pt idx="26434">
                  <c:v>2541</c:v>
                </c:pt>
                <c:pt idx="26435">
                  <c:v>74</c:v>
                </c:pt>
                <c:pt idx="26436">
                  <c:v>990</c:v>
                </c:pt>
                <c:pt idx="26437">
                  <c:v>255</c:v>
                </c:pt>
                <c:pt idx="26438">
                  <c:v>90</c:v>
                </c:pt>
                <c:pt idx="26439">
                  <c:v>1050</c:v>
                </c:pt>
                <c:pt idx="26440">
                  <c:v>562</c:v>
                </c:pt>
                <c:pt idx="26441">
                  <c:v>17417</c:v>
                </c:pt>
                <c:pt idx="26442">
                  <c:v>420</c:v>
                </c:pt>
                <c:pt idx="26443">
                  <c:v>123</c:v>
                </c:pt>
                <c:pt idx="26444">
                  <c:v>5747</c:v>
                </c:pt>
                <c:pt idx="26445">
                  <c:v>365</c:v>
                </c:pt>
                <c:pt idx="26446">
                  <c:v>162</c:v>
                </c:pt>
                <c:pt idx="26447">
                  <c:v>14751</c:v>
                </c:pt>
                <c:pt idx="26448">
                  <c:v>17180</c:v>
                </c:pt>
                <c:pt idx="26449">
                  <c:v>64</c:v>
                </c:pt>
                <c:pt idx="26450">
                  <c:v>20173</c:v>
                </c:pt>
                <c:pt idx="26451">
                  <c:v>17141</c:v>
                </c:pt>
                <c:pt idx="26452">
                  <c:v>385</c:v>
                </c:pt>
                <c:pt idx="26453">
                  <c:v>784</c:v>
                </c:pt>
                <c:pt idx="26454">
                  <c:v>590</c:v>
                </c:pt>
                <c:pt idx="26455">
                  <c:v>1260</c:v>
                </c:pt>
                <c:pt idx="26456">
                  <c:v>299</c:v>
                </c:pt>
                <c:pt idx="26457">
                  <c:v>6018</c:v>
                </c:pt>
                <c:pt idx="26458">
                  <c:v>2736</c:v>
                </c:pt>
                <c:pt idx="26459">
                  <c:v>20716</c:v>
                </c:pt>
                <c:pt idx="26460">
                  <c:v>32752</c:v>
                </c:pt>
                <c:pt idx="26461">
                  <c:v>21316</c:v>
                </c:pt>
                <c:pt idx="26462">
                  <c:v>306</c:v>
                </c:pt>
                <c:pt idx="26463">
                  <c:v>1452</c:v>
                </c:pt>
                <c:pt idx="26464">
                  <c:v>437</c:v>
                </c:pt>
                <c:pt idx="26465">
                  <c:v>10454</c:v>
                </c:pt>
                <c:pt idx="26466">
                  <c:v>1301</c:v>
                </c:pt>
                <c:pt idx="26467">
                  <c:v>104</c:v>
                </c:pt>
                <c:pt idx="26468">
                  <c:v>142</c:v>
                </c:pt>
                <c:pt idx="26469">
                  <c:v>6976</c:v>
                </c:pt>
                <c:pt idx="26470">
                  <c:v>844</c:v>
                </c:pt>
                <c:pt idx="26471">
                  <c:v>25144</c:v>
                </c:pt>
                <c:pt idx="26472">
                  <c:v>3774</c:v>
                </c:pt>
                <c:pt idx="26473">
                  <c:v>2089</c:v>
                </c:pt>
                <c:pt idx="26474">
                  <c:v>26634</c:v>
                </c:pt>
                <c:pt idx="26475">
                  <c:v>18693</c:v>
                </c:pt>
                <c:pt idx="26476">
                  <c:v>13895</c:v>
                </c:pt>
                <c:pt idx="26477">
                  <c:v>1648</c:v>
                </c:pt>
                <c:pt idx="26478">
                  <c:v>2984</c:v>
                </c:pt>
                <c:pt idx="26479">
                  <c:v>167</c:v>
                </c:pt>
                <c:pt idx="26480">
                  <c:v>15969</c:v>
                </c:pt>
                <c:pt idx="26481">
                  <c:v>16384</c:v>
                </c:pt>
                <c:pt idx="26482">
                  <c:v>24406</c:v>
                </c:pt>
                <c:pt idx="26483">
                  <c:v>16756</c:v>
                </c:pt>
                <c:pt idx="26484">
                  <c:v>9582</c:v>
                </c:pt>
                <c:pt idx="26485">
                  <c:v>16526</c:v>
                </c:pt>
                <c:pt idx="26486">
                  <c:v>32351</c:v>
                </c:pt>
                <c:pt idx="26487">
                  <c:v>2496</c:v>
                </c:pt>
                <c:pt idx="26488">
                  <c:v>26815</c:v>
                </c:pt>
                <c:pt idx="26489">
                  <c:v>18127</c:v>
                </c:pt>
                <c:pt idx="26490">
                  <c:v>24074</c:v>
                </c:pt>
                <c:pt idx="26491">
                  <c:v>26462</c:v>
                </c:pt>
                <c:pt idx="26492">
                  <c:v>11759</c:v>
                </c:pt>
                <c:pt idx="26493">
                  <c:v>25135</c:v>
                </c:pt>
                <c:pt idx="26494">
                  <c:v>11918</c:v>
                </c:pt>
                <c:pt idx="26495">
                  <c:v>29141</c:v>
                </c:pt>
                <c:pt idx="26496">
                  <c:v>22093</c:v>
                </c:pt>
                <c:pt idx="26497">
                  <c:v>32655</c:v>
                </c:pt>
                <c:pt idx="26498">
                  <c:v>252</c:v>
                </c:pt>
                <c:pt idx="26499">
                  <c:v>18439</c:v>
                </c:pt>
                <c:pt idx="26500">
                  <c:v>27080</c:v>
                </c:pt>
                <c:pt idx="26501">
                  <c:v>15848</c:v>
                </c:pt>
                <c:pt idx="26502">
                  <c:v>23800</c:v>
                </c:pt>
                <c:pt idx="26503">
                  <c:v>7419</c:v>
                </c:pt>
                <c:pt idx="26504">
                  <c:v>13734</c:v>
                </c:pt>
                <c:pt idx="26505">
                  <c:v>9706</c:v>
                </c:pt>
                <c:pt idx="26506">
                  <c:v>22542</c:v>
                </c:pt>
                <c:pt idx="26507">
                  <c:v>19435</c:v>
                </c:pt>
                <c:pt idx="26508">
                  <c:v>14868</c:v>
                </c:pt>
                <c:pt idx="26509">
                  <c:v>5888</c:v>
                </c:pt>
                <c:pt idx="26510">
                  <c:v>9918</c:v>
                </c:pt>
                <c:pt idx="26511">
                  <c:v>12056</c:v>
                </c:pt>
                <c:pt idx="26512">
                  <c:v>9322</c:v>
                </c:pt>
                <c:pt idx="26513">
                  <c:v>28734</c:v>
                </c:pt>
                <c:pt idx="26514">
                  <c:v>30784</c:v>
                </c:pt>
                <c:pt idx="26515">
                  <c:v>21067</c:v>
                </c:pt>
                <c:pt idx="26516">
                  <c:v>13878</c:v>
                </c:pt>
                <c:pt idx="26517">
                  <c:v>271</c:v>
                </c:pt>
                <c:pt idx="26518">
                  <c:v>242</c:v>
                </c:pt>
                <c:pt idx="26519">
                  <c:v>13586</c:v>
                </c:pt>
                <c:pt idx="26520">
                  <c:v>9330</c:v>
                </c:pt>
                <c:pt idx="26521">
                  <c:v>20173</c:v>
                </c:pt>
                <c:pt idx="26522">
                  <c:v>6176</c:v>
                </c:pt>
                <c:pt idx="26523">
                  <c:v>20719</c:v>
                </c:pt>
                <c:pt idx="26524">
                  <c:v>2709</c:v>
                </c:pt>
                <c:pt idx="26525">
                  <c:v>79</c:v>
                </c:pt>
                <c:pt idx="26526">
                  <c:v>396</c:v>
                </c:pt>
                <c:pt idx="26527">
                  <c:v>105</c:v>
                </c:pt>
                <c:pt idx="26528">
                  <c:v>416</c:v>
                </c:pt>
                <c:pt idx="26529">
                  <c:v>7539</c:v>
                </c:pt>
                <c:pt idx="26530">
                  <c:v>11132</c:v>
                </c:pt>
                <c:pt idx="26531">
                  <c:v>10771</c:v>
                </c:pt>
                <c:pt idx="26532">
                  <c:v>4529</c:v>
                </c:pt>
                <c:pt idx="26533">
                  <c:v>482</c:v>
                </c:pt>
                <c:pt idx="26534">
                  <c:v>1160</c:v>
                </c:pt>
                <c:pt idx="26535">
                  <c:v>1562</c:v>
                </c:pt>
                <c:pt idx="26536">
                  <c:v>4335</c:v>
                </c:pt>
                <c:pt idx="26537">
                  <c:v>101</c:v>
                </c:pt>
                <c:pt idx="26538">
                  <c:v>360</c:v>
                </c:pt>
                <c:pt idx="26539">
                  <c:v>2501</c:v>
                </c:pt>
                <c:pt idx="26540">
                  <c:v>20102</c:v>
                </c:pt>
                <c:pt idx="26541">
                  <c:v>10326</c:v>
                </c:pt>
                <c:pt idx="26542">
                  <c:v>13879</c:v>
                </c:pt>
                <c:pt idx="26543">
                  <c:v>23436</c:v>
                </c:pt>
                <c:pt idx="26544">
                  <c:v>650</c:v>
                </c:pt>
                <c:pt idx="26545">
                  <c:v>6302</c:v>
                </c:pt>
                <c:pt idx="26546">
                  <c:v>411</c:v>
                </c:pt>
                <c:pt idx="26547">
                  <c:v>1036</c:v>
                </c:pt>
                <c:pt idx="26548">
                  <c:v>7974</c:v>
                </c:pt>
                <c:pt idx="26549">
                  <c:v>2458</c:v>
                </c:pt>
                <c:pt idx="26550">
                  <c:v>738</c:v>
                </c:pt>
                <c:pt idx="26551">
                  <c:v>1566</c:v>
                </c:pt>
                <c:pt idx="26552">
                  <c:v>4975</c:v>
                </c:pt>
                <c:pt idx="26553">
                  <c:v>6273</c:v>
                </c:pt>
                <c:pt idx="26554">
                  <c:v>1854</c:v>
                </c:pt>
                <c:pt idx="26555">
                  <c:v>23318</c:v>
                </c:pt>
                <c:pt idx="26556">
                  <c:v>16486</c:v>
                </c:pt>
                <c:pt idx="26557">
                  <c:v>22438</c:v>
                </c:pt>
                <c:pt idx="26558">
                  <c:v>6863</c:v>
                </c:pt>
                <c:pt idx="26559">
                  <c:v>19404</c:v>
                </c:pt>
                <c:pt idx="26560">
                  <c:v>566</c:v>
                </c:pt>
                <c:pt idx="26561">
                  <c:v>14112</c:v>
                </c:pt>
                <c:pt idx="26562">
                  <c:v>13436</c:v>
                </c:pt>
                <c:pt idx="26563">
                  <c:v>4249</c:v>
                </c:pt>
                <c:pt idx="26564">
                  <c:v>18193</c:v>
                </c:pt>
                <c:pt idx="26565">
                  <c:v>18253</c:v>
                </c:pt>
                <c:pt idx="26566">
                  <c:v>13436</c:v>
                </c:pt>
                <c:pt idx="26567">
                  <c:v>4397</c:v>
                </c:pt>
                <c:pt idx="26568">
                  <c:v>1959</c:v>
                </c:pt>
                <c:pt idx="26569">
                  <c:v>2232</c:v>
                </c:pt>
                <c:pt idx="26570">
                  <c:v>9802</c:v>
                </c:pt>
                <c:pt idx="26571">
                  <c:v>13043</c:v>
                </c:pt>
                <c:pt idx="26572">
                  <c:v>7338</c:v>
                </c:pt>
                <c:pt idx="26573">
                  <c:v>2501</c:v>
                </c:pt>
                <c:pt idx="26574">
                  <c:v>1077</c:v>
                </c:pt>
                <c:pt idx="26575">
                  <c:v>370</c:v>
                </c:pt>
                <c:pt idx="26576">
                  <c:v>650</c:v>
                </c:pt>
                <c:pt idx="26577">
                  <c:v>2614</c:v>
                </c:pt>
                <c:pt idx="26578">
                  <c:v>23435</c:v>
                </c:pt>
                <c:pt idx="26579">
                  <c:v>20870</c:v>
                </c:pt>
                <c:pt idx="26580">
                  <c:v>28900</c:v>
                </c:pt>
                <c:pt idx="26581">
                  <c:v>31651</c:v>
                </c:pt>
                <c:pt idx="26582">
                  <c:v>19851</c:v>
                </c:pt>
                <c:pt idx="26583">
                  <c:v>28655</c:v>
                </c:pt>
                <c:pt idx="26584">
                  <c:v>17186</c:v>
                </c:pt>
                <c:pt idx="26585">
                  <c:v>14523</c:v>
                </c:pt>
                <c:pt idx="26586">
                  <c:v>2504</c:v>
                </c:pt>
                <c:pt idx="26587">
                  <c:v>46045</c:v>
                </c:pt>
                <c:pt idx="26588">
                  <c:v>15790</c:v>
                </c:pt>
                <c:pt idx="26589">
                  <c:v>5884</c:v>
                </c:pt>
                <c:pt idx="26590">
                  <c:v>4509</c:v>
                </c:pt>
                <c:pt idx="26591">
                  <c:v>13894</c:v>
                </c:pt>
                <c:pt idx="26592">
                  <c:v>22657</c:v>
                </c:pt>
                <c:pt idx="26593">
                  <c:v>14887</c:v>
                </c:pt>
                <c:pt idx="26594">
                  <c:v>23204</c:v>
                </c:pt>
                <c:pt idx="26595">
                  <c:v>31124</c:v>
                </c:pt>
                <c:pt idx="26596">
                  <c:v>20213</c:v>
                </c:pt>
                <c:pt idx="26597">
                  <c:v>1261</c:v>
                </c:pt>
                <c:pt idx="26598">
                  <c:v>29441</c:v>
                </c:pt>
                <c:pt idx="26599">
                  <c:v>18102</c:v>
                </c:pt>
                <c:pt idx="26600">
                  <c:v>19801</c:v>
                </c:pt>
                <c:pt idx="26601">
                  <c:v>27575</c:v>
                </c:pt>
                <c:pt idx="26602">
                  <c:v>36543</c:v>
                </c:pt>
                <c:pt idx="26603">
                  <c:v>26180</c:v>
                </c:pt>
                <c:pt idx="26604">
                  <c:v>17608</c:v>
                </c:pt>
                <c:pt idx="26605">
                  <c:v>18557</c:v>
                </c:pt>
                <c:pt idx="26606">
                  <c:v>18233</c:v>
                </c:pt>
                <c:pt idx="26607">
                  <c:v>20282</c:v>
                </c:pt>
                <c:pt idx="26608">
                  <c:v>19780</c:v>
                </c:pt>
                <c:pt idx="26609">
                  <c:v>34667</c:v>
                </c:pt>
                <c:pt idx="26610">
                  <c:v>13984</c:v>
                </c:pt>
                <c:pt idx="26611">
                  <c:v>22009</c:v>
                </c:pt>
                <c:pt idx="26612">
                  <c:v>28990</c:v>
                </c:pt>
                <c:pt idx="26613">
                  <c:v>16398</c:v>
                </c:pt>
                <c:pt idx="26614">
                  <c:v>15793</c:v>
                </c:pt>
                <c:pt idx="26615">
                  <c:v>4921</c:v>
                </c:pt>
                <c:pt idx="26616">
                  <c:v>14285</c:v>
                </c:pt>
                <c:pt idx="26617">
                  <c:v>31103</c:v>
                </c:pt>
                <c:pt idx="26618">
                  <c:v>19563</c:v>
                </c:pt>
                <c:pt idx="26619">
                  <c:v>39008</c:v>
                </c:pt>
                <c:pt idx="26620">
                  <c:v>21130</c:v>
                </c:pt>
                <c:pt idx="26621">
                  <c:v>30927</c:v>
                </c:pt>
                <c:pt idx="26622">
                  <c:v>22178</c:v>
                </c:pt>
                <c:pt idx="26623">
                  <c:v>12180</c:v>
                </c:pt>
                <c:pt idx="26624">
                  <c:v>3545</c:v>
                </c:pt>
                <c:pt idx="26625">
                  <c:v>24343</c:v>
                </c:pt>
                <c:pt idx="26626">
                  <c:v>1648</c:v>
                </c:pt>
                <c:pt idx="26627">
                  <c:v>14917</c:v>
                </c:pt>
                <c:pt idx="26628">
                  <c:v>11826</c:v>
                </c:pt>
                <c:pt idx="26629">
                  <c:v>16035</c:v>
                </c:pt>
                <c:pt idx="26630">
                  <c:v>22970</c:v>
                </c:pt>
                <c:pt idx="26631">
                  <c:v>13829</c:v>
                </c:pt>
                <c:pt idx="26632">
                  <c:v>23651</c:v>
                </c:pt>
                <c:pt idx="26633">
                  <c:v>30877</c:v>
                </c:pt>
                <c:pt idx="26634">
                  <c:v>1009</c:v>
                </c:pt>
                <c:pt idx="26635">
                  <c:v>12903</c:v>
                </c:pt>
                <c:pt idx="26636">
                  <c:v>13516</c:v>
                </c:pt>
                <c:pt idx="26637">
                  <c:v>6444</c:v>
                </c:pt>
                <c:pt idx="26638">
                  <c:v>40544</c:v>
                </c:pt>
                <c:pt idx="26639">
                  <c:v>21190</c:v>
                </c:pt>
                <c:pt idx="26640">
                  <c:v>22077</c:v>
                </c:pt>
                <c:pt idx="26641">
                  <c:v>13793</c:v>
                </c:pt>
                <c:pt idx="26642">
                  <c:v>17122</c:v>
                </c:pt>
                <c:pt idx="26643">
                  <c:v>8291</c:v>
                </c:pt>
                <c:pt idx="26644">
                  <c:v>12717</c:v>
                </c:pt>
                <c:pt idx="26645">
                  <c:v>21259</c:v>
                </c:pt>
                <c:pt idx="26646">
                  <c:v>20284</c:v>
                </c:pt>
                <c:pt idx="26647">
                  <c:v>9627</c:v>
                </c:pt>
                <c:pt idx="26648">
                  <c:v>23941</c:v>
                </c:pt>
                <c:pt idx="26649">
                  <c:v>5728</c:v>
                </c:pt>
                <c:pt idx="26650">
                  <c:v>12539</c:v>
                </c:pt>
                <c:pt idx="26651">
                  <c:v>46280</c:v>
                </c:pt>
                <c:pt idx="26652">
                  <c:v>11362</c:v>
                </c:pt>
                <c:pt idx="26653">
                  <c:v>32966</c:v>
                </c:pt>
                <c:pt idx="26654">
                  <c:v>17084</c:v>
                </c:pt>
                <c:pt idx="26655">
                  <c:v>27331</c:v>
                </c:pt>
                <c:pt idx="26656">
                  <c:v>11510</c:v>
                </c:pt>
                <c:pt idx="26657">
                  <c:v>9775</c:v>
                </c:pt>
                <c:pt idx="26658">
                  <c:v>17851</c:v>
                </c:pt>
                <c:pt idx="26659">
                  <c:v>19630</c:v>
                </c:pt>
                <c:pt idx="26660">
                  <c:v>22548</c:v>
                </c:pt>
                <c:pt idx="26661">
                  <c:v>41765</c:v>
                </c:pt>
                <c:pt idx="26662">
                  <c:v>2661</c:v>
                </c:pt>
                <c:pt idx="26663">
                  <c:v>15433</c:v>
                </c:pt>
                <c:pt idx="26664">
                  <c:v>15531</c:v>
                </c:pt>
                <c:pt idx="26665">
                  <c:v>7507</c:v>
                </c:pt>
                <c:pt idx="26666">
                  <c:v>17821</c:v>
                </c:pt>
                <c:pt idx="26667">
                  <c:v>15265</c:v>
                </c:pt>
                <c:pt idx="26668">
                  <c:v>10454</c:v>
                </c:pt>
                <c:pt idx="26669">
                  <c:v>12688</c:v>
                </c:pt>
                <c:pt idx="26670">
                  <c:v>7755</c:v>
                </c:pt>
                <c:pt idx="26671">
                  <c:v>4409</c:v>
                </c:pt>
                <c:pt idx="26672">
                  <c:v>14110</c:v>
                </c:pt>
                <c:pt idx="26673">
                  <c:v>11829</c:v>
                </c:pt>
                <c:pt idx="26674">
                  <c:v>15125</c:v>
                </c:pt>
                <c:pt idx="26675">
                  <c:v>20218</c:v>
                </c:pt>
                <c:pt idx="26676">
                  <c:v>9160</c:v>
                </c:pt>
                <c:pt idx="26677">
                  <c:v>21748</c:v>
                </c:pt>
                <c:pt idx="26678">
                  <c:v>15928</c:v>
                </c:pt>
                <c:pt idx="26679">
                  <c:v>17099</c:v>
                </c:pt>
                <c:pt idx="26680">
                  <c:v>14591</c:v>
                </c:pt>
                <c:pt idx="26681">
                  <c:v>11783</c:v>
                </c:pt>
                <c:pt idx="26682">
                  <c:v>10210</c:v>
                </c:pt>
                <c:pt idx="26683">
                  <c:v>19364</c:v>
                </c:pt>
                <c:pt idx="26684">
                  <c:v>18980</c:v>
                </c:pt>
                <c:pt idx="26685">
                  <c:v>14573</c:v>
                </c:pt>
                <c:pt idx="26686">
                  <c:v>23677</c:v>
                </c:pt>
                <c:pt idx="26687">
                  <c:v>17877</c:v>
                </c:pt>
                <c:pt idx="26688">
                  <c:v>7260</c:v>
                </c:pt>
                <c:pt idx="26689">
                  <c:v>23953</c:v>
                </c:pt>
                <c:pt idx="26690">
                  <c:v>34730</c:v>
                </c:pt>
                <c:pt idx="26691">
                  <c:v>22970</c:v>
                </c:pt>
                <c:pt idx="26692">
                  <c:v>29782</c:v>
                </c:pt>
                <c:pt idx="26693">
                  <c:v>47132</c:v>
                </c:pt>
                <c:pt idx="26694">
                  <c:v>29538</c:v>
                </c:pt>
                <c:pt idx="26695">
                  <c:v>8109</c:v>
                </c:pt>
                <c:pt idx="26696">
                  <c:v>13806</c:v>
                </c:pt>
                <c:pt idx="26697">
                  <c:v>6971</c:v>
                </c:pt>
                <c:pt idx="26698">
                  <c:v>22271</c:v>
                </c:pt>
                <c:pt idx="26699">
                  <c:v>2171</c:v>
                </c:pt>
                <c:pt idx="26700">
                  <c:v>37753</c:v>
                </c:pt>
                <c:pt idx="26701">
                  <c:v>12587</c:v>
                </c:pt>
                <c:pt idx="26702">
                  <c:v>15722</c:v>
                </c:pt>
                <c:pt idx="26703">
                  <c:v>14829</c:v>
                </c:pt>
                <c:pt idx="26704">
                  <c:v>10732</c:v>
                </c:pt>
                <c:pt idx="26705">
                  <c:v>6260</c:v>
                </c:pt>
                <c:pt idx="26706">
                  <c:v>10937</c:v>
                </c:pt>
                <c:pt idx="26707">
                  <c:v>10799</c:v>
                </c:pt>
                <c:pt idx="26708">
                  <c:v>24412</c:v>
                </c:pt>
                <c:pt idx="26709">
                  <c:v>29242</c:v>
                </c:pt>
                <c:pt idx="26710">
                  <c:v>10208</c:v>
                </c:pt>
                <c:pt idx="26711">
                  <c:v>9485</c:v>
                </c:pt>
                <c:pt idx="26712">
                  <c:v>318</c:v>
                </c:pt>
                <c:pt idx="26713">
                  <c:v>23883</c:v>
                </c:pt>
                <c:pt idx="26714">
                  <c:v>27211</c:v>
                </c:pt>
                <c:pt idx="26715">
                  <c:v>12476</c:v>
                </c:pt>
                <c:pt idx="26716">
                  <c:v>6069</c:v>
                </c:pt>
                <c:pt idx="26717">
                  <c:v>23539</c:v>
                </c:pt>
                <c:pt idx="26718">
                  <c:v>19380</c:v>
                </c:pt>
                <c:pt idx="26719">
                  <c:v>20527</c:v>
                </c:pt>
                <c:pt idx="26720">
                  <c:v>42289</c:v>
                </c:pt>
                <c:pt idx="26721">
                  <c:v>18387</c:v>
                </c:pt>
                <c:pt idx="26722">
                  <c:v>17218</c:v>
                </c:pt>
                <c:pt idx="26723">
                  <c:v>19401</c:v>
                </c:pt>
                <c:pt idx="26724">
                  <c:v>16756</c:v>
                </c:pt>
                <c:pt idx="26725">
                  <c:v>23929</c:v>
                </c:pt>
                <c:pt idx="26726">
                  <c:v>11833</c:v>
                </c:pt>
                <c:pt idx="26727">
                  <c:v>20174</c:v>
                </c:pt>
                <c:pt idx="26728">
                  <c:v>17586</c:v>
                </c:pt>
                <c:pt idx="26729">
                  <c:v>14680</c:v>
                </c:pt>
                <c:pt idx="26730">
                  <c:v>14556</c:v>
                </c:pt>
                <c:pt idx="26731">
                  <c:v>312</c:v>
                </c:pt>
                <c:pt idx="26732">
                  <c:v>12757</c:v>
                </c:pt>
                <c:pt idx="26733">
                  <c:v>8572</c:v>
                </c:pt>
                <c:pt idx="26734">
                  <c:v>20825</c:v>
                </c:pt>
                <c:pt idx="26735">
                  <c:v>3601</c:v>
                </c:pt>
                <c:pt idx="26736">
                  <c:v>5936</c:v>
                </c:pt>
                <c:pt idx="26737">
                  <c:v>14339</c:v>
                </c:pt>
                <c:pt idx="26738">
                  <c:v>10326</c:v>
                </c:pt>
                <c:pt idx="26739">
                  <c:v>12335</c:v>
                </c:pt>
                <c:pt idx="26740">
                  <c:v>11665</c:v>
                </c:pt>
                <c:pt idx="26741">
                  <c:v>12308</c:v>
                </c:pt>
                <c:pt idx="26742">
                  <c:v>18223</c:v>
                </c:pt>
                <c:pt idx="26743">
                  <c:v>6119</c:v>
                </c:pt>
                <c:pt idx="26744">
                  <c:v>13569</c:v>
                </c:pt>
                <c:pt idx="26745">
                  <c:v>17364</c:v>
                </c:pt>
                <c:pt idx="26746">
                  <c:v>10717</c:v>
                </c:pt>
                <c:pt idx="26747">
                  <c:v>10896</c:v>
                </c:pt>
                <c:pt idx="26748">
                  <c:v>8391</c:v>
                </c:pt>
                <c:pt idx="26749">
                  <c:v>8841</c:v>
                </c:pt>
                <c:pt idx="26750">
                  <c:v>16339</c:v>
                </c:pt>
                <c:pt idx="26751">
                  <c:v>15133</c:v>
                </c:pt>
                <c:pt idx="26752">
                  <c:v>5461</c:v>
                </c:pt>
                <c:pt idx="26753">
                  <c:v>7359</c:v>
                </c:pt>
                <c:pt idx="26754">
                  <c:v>15535</c:v>
                </c:pt>
                <c:pt idx="26755">
                  <c:v>12418</c:v>
                </c:pt>
                <c:pt idx="26756">
                  <c:v>11478</c:v>
                </c:pt>
                <c:pt idx="26757">
                  <c:v>15978</c:v>
                </c:pt>
                <c:pt idx="26758">
                  <c:v>27666</c:v>
                </c:pt>
                <c:pt idx="26759">
                  <c:v>24394</c:v>
                </c:pt>
                <c:pt idx="26760">
                  <c:v>11735</c:v>
                </c:pt>
                <c:pt idx="26761">
                  <c:v>20539</c:v>
                </c:pt>
                <c:pt idx="26762">
                  <c:v>13502</c:v>
                </c:pt>
                <c:pt idx="26763">
                  <c:v>21406</c:v>
                </c:pt>
                <c:pt idx="26764">
                  <c:v>16424</c:v>
                </c:pt>
                <c:pt idx="26765">
                  <c:v>14860</c:v>
                </c:pt>
                <c:pt idx="26766">
                  <c:v>18408</c:v>
                </c:pt>
                <c:pt idx="26767">
                  <c:v>18038</c:v>
                </c:pt>
                <c:pt idx="26768">
                  <c:v>45360</c:v>
                </c:pt>
                <c:pt idx="26769">
                  <c:v>38323</c:v>
                </c:pt>
                <c:pt idx="26770">
                  <c:v>16492</c:v>
                </c:pt>
                <c:pt idx="26771">
                  <c:v>42393</c:v>
                </c:pt>
                <c:pt idx="26772">
                  <c:v>29829</c:v>
                </c:pt>
                <c:pt idx="26773">
                  <c:v>25378</c:v>
                </c:pt>
                <c:pt idx="26774">
                  <c:v>8829</c:v>
                </c:pt>
                <c:pt idx="26775">
                  <c:v>19793</c:v>
                </c:pt>
                <c:pt idx="26776">
                  <c:v>15953</c:v>
                </c:pt>
                <c:pt idx="26777">
                  <c:v>20896</c:v>
                </c:pt>
                <c:pt idx="26778">
                  <c:v>16544</c:v>
                </c:pt>
                <c:pt idx="26779">
                  <c:v>14454</c:v>
                </c:pt>
                <c:pt idx="26780">
                  <c:v>14602</c:v>
                </c:pt>
                <c:pt idx="26781">
                  <c:v>20044</c:v>
                </c:pt>
                <c:pt idx="26782">
                  <c:v>9196</c:v>
                </c:pt>
                <c:pt idx="26783">
                  <c:v>17436</c:v>
                </c:pt>
                <c:pt idx="26784">
                  <c:v>13273</c:v>
                </c:pt>
                <c:pt idx="26785">
                  <c:v>22447</c:v>
                </c:pt>
                <c:pt idx="26786">
                  <c:v>6377</c:v>
                </c:pt>
                <c:pt idx="26787">
                  <c:v>8704</c:v>
                </c:pt>
                <c:pt idx="26788">
                  <c:v>11069</c:v>
                </c:pt>
                <c:pt idx="26789">
                  <c:v>21504</c:v>
                </c:pt>
                <c:pt idx="26790">
                  <c:v>9296</c:v>
                </c:pt>
                <c:pt idx="26791">
                  <c:v>19933</c:v>
                </c:pt>
                <c:pt idx="26792">
                  <c:v>32876</c:v>
                </c:pt>
                <c:pt idx="26793">
                  <c:v>15058</c:v>
                </c:pt>
                <c:pt idx="26794">
                  <c:v>28062</c:v>
                </c:pt>
                <c:pt idx="26795">
                  <c:v>27665</c:v>
                </c:pt>
                <c:pt idx="26796">
                  <c:v>12278</c:v>
                </c:pt>
                <c:pt idx="26797">
                  <c:v>17903</c:v>
                </c:pt>
                <c:pt idx="26798">
                  <c:v>7311</c:v>
                </c:pt>
                <c:pt idx="26799">
                  <c:v>9689</c:v>
                </c:pt>
                <c:pt idx="26800">
                  <c:v>6291</c:v>
                </c:pt>
                <c:pt idx="26801">
                  <c:v>13316</c:v>
                </c:pt>
                <c:pt idx="26802">
                  <c:v>17036</c:v>
                </c:pt>
                <c:pt idx="26803">
                  <c:v>10267</c:v>
                </c:pt>
                <c:pt idx="26804">
                  <c:v>19585</c:v>
                </c:pt>
                <c:pt idx="26805">
                  <c:v>12127</c:v>
                </c:pt>
                <c:pt idx="26806">
                  <c:v>17942</c:v>
                </c:pt>
                <c:pt idx="26807">
                  <c:v>24645</c:v>
                </c:pt>
                <c:pt idx="26808">
                  <c:v>21641</c:v>
                </c:pt>
                <c:pt idx="26809">
                  <c:v>16714</c:v>
                </c:pt>
                <c:pt idx="26810">
                  <c:v>19013</c:v>
                </c:pt>
                <c:pt idx="26811">
                  <c:v>29664</c:v>
                </c:pt>
                <c:pt idx="26812">
                  <c:v>34280</c:v>
                </c:pt>
                <c:pt idx="26813">
                  <c:v>5830</c:v>
                </c:pt>
                <c:pt idx="26814">
                  <c:v>38069</c:v>
                </c:pt>
                <c:pt idx="26815">
                  <c:v>36258</c:v>
                </c:pt>
                <c:pt idx="26816">
                  <c:v>17058</c:v>
                </c:pt>
                <c:pt idx="26817">
                  <c:v>18027</c:v>
                </c:pt>
                <c:pt idx="26818">
                  <c:v>9705</c:v>
                </c:pt>
                <c:pt idx="26819">
                  <c:v>14202</c:v>
                </c:pt>
                <c:pt idx="26820">
                  <c:v>33747</c:v>
                </c:pt>
                <c:pt idx="26821">
                  <c:v>12001</c:v>
                </c:pt>
                <c:pt idx="26822">
                  <c:v>27309</c:v>
                </c:pt>
                <c:pt idx="26823">
                  <c:v>19286</c:v>
                </c:pt>
                <c:pt idx="26824">
                  <c:v>11155</c:v>
                </c:pt>
                <c:pt idx="26825">
                  <c:v>19870</c:v>
                </c:pt>
                <c:pt idx="26826">
                  <c:v>12790</c:v>
                </c:pt>
                <c:pt idx="26827">
                  <c:v>12450</c:v>
                </c:pt>
                <c:pt idx="26828">
                  <c:v>37806</c:v>
                </c:pt>
                <c:pt idx="26829">
                  <c:v>25465</c:v>
                </c:pt>
                <c:pt idx="26830">
                  <c:v>13464</c:v>
                </c:pt>
                <c:pt idx="26831">
                  <c:v>21003</c:v>
                </c:pt>
                <c:pt idx="26832">
                  <c:v>15199</c:v>
                </c:pt>
                <c:pt idx="26833">
                  <c:v>16371</c:v>
                </c:pt>
                <c:pt idx="26834">
                  <c:v>14939</c:v>
                </c:pt>
                <c:pt idx="26835">
                  <c:v>12176</c:v>
                </c:pt>
                <c:pt idx="26836">
                  <c:v>176</c:v>
                </c:pt>
                <c:pt idx="26837">
                  <c:v>29420</c:v>
                </c:pt>
                <c:pt idx="26838">
                  <c:v>28184</c:v>
                </c:pt>
                <c:pt idx="26839">
                  <c:v>16363</c:v>
                </c:pt>
                <c:pt idx="26840">
                  <c:v>26271</c:v>
                </c:pt>
                <c:pt idx="26841">
                  <c:v>21991</c:v>
                </c:pt>
                <c:pt idx="26842">
                  <c:v>31985</c:v>
                </c:pt>
                <c:pt idx="26843">
                  <c:v>22788</c:v>
                </c:pt>
                <c:pt idx="26844">
                  <c:v>15916</c:v>
                </c:pt>
                <c:pt idx="26845">
                  <c:v>27029</c:v>
                </c:pt>
                <c:pt idx="26846">
                  <c:v>15867</c:v>
                </c:pt>
                <c:pt idx="26847">
                  <c:v>11019</c:v>
                </c:pt>
                <c:pt idx="26848">
                  <c:v>18084</c:v>
                </c:pt>
                <c:pt idx="26849">
                  <c:v>16544</c:v>
                </c:pt>
                <c:pt idx="26850">
                  <c:v>13113</c:v>
                </c:pt>
                <c:pt idx="26851">
                  <c:v>26846</c:v>
                </c:pt>
                <c:pt idx="26852">
                  <c:v>19387</c:v>
                </c:pt>
                <c:pt idx="26853">
                  <c:v>21591</c:v>
                </c:pt>
                <c:pt idx="26854">
                  <c:v>15618</c:v>
                </c:pt>
                <c:pt idx="26855">
                  <c:v>15737</c:v>
                </c:pt>
                <c:pt idx="26856">
                  <c:v>26786</c:v>
                </c:pt>
                <c:pt idx="26857">
                  <c:v>14122</c:v>
                </c:pt>
                <c:pt idx="26858">
                  <c:v>8491</c:v>
                </c:pt>
                <c:pt idx="26859">
                  <c:v>8488</c:v>
                </c:pt>
                <c:pt idx="26860">
                  <c:v>212</c:v>
                </c:pt>
                <c:pt idx="26861">
                  <c:v>1558</c:v>
                </c:pt>
                <c:pt idx="26862">
                  <c:v>35758</c:v>
                </c:pt>
                <c:pt idx="26863">
                  <c:v>39513</c:v>
                </c:pt>
                <c:pt idx="26864">
                  <c:v>24923</c:v>
                </c:pt>
                <c:pt idx="26865">
                  <c:v>8572</c:v>
                </c:pt>
                <c:pt idx="26866">
                  <c:v>16701</c:v>
                </c:pt>
                <c:pt idx="26867">
                  <c:v>972</c:v>
                </c:pt>
                <c:pt idx="26868">
                  <c:v>280</c:v>
                </c:pt>
                <c:pt idx="26869">
                  <c:v>13301</c:v>
                </c:pt>
                <c:pt idx="26870">
                  <c:v>3780</c:v>
                </c:pt>
                <c:pt idx="26871">
                  <c:v>16219</c:v>
                </c:pt>
                <c:pt idx="26872">
                  <c:v>20823</c:v>
                </c:pt>
                <c:pt idx="26873">
                  <c:v>12950</c:v>
                </c:pt>
                <c:pt idx="26874">
                  <c:v>26750</c:v>
                </c:pt>
                <c:pt idx="26875">
                  <c:v>1067</c:v>
                </c:pt>
                <c:pt idx="26876">
                  <c:v>154</c:v>
                </c:pt>
                <c:pt idx="26877">
                  <c:v>29914</c:v>
                </c:pt>
                <c:pt idx="26878">
                  <c:v>5712</c:v>
                </c:pt>
                <c:pt idx="26879">
                  <c:v>1834</c:v>
                </c:pt>
                <c:pt idx="26880">
                  <c:v>1006</c:v>
                </c:pt>
                <c:pt idx="26881">
                  <c:v>5592</c:v>
                </c:pt>
                <c:pt idx="26882">
                  <c:v>14674</c:v>
                </c:pt>
                <c:pt idx="26883">
                  <c:v>22092</c:v>
                </c:pt>
                <c:pt idx="26884">
                  <c:v>7462</c:v>
                </c:pt>
                <c:pt idx="26885">
                  <c:v>10817</c:v>
                </c:pt>
                <c:pt idx="26886">
                  <c:v>6206</c:v>
                </c:pt>
                <c:pt idx="26887">
                  <c:v>21228</c:v>
                </c:pt>
                <c:pt idx="26888">
                  <c:v>26027</c:v>
                </c:pt>
                <c:pt idx="26889">
                  <c:v>30925</c:v>
                </c:pt>
                <c:pt idx="26890">
                  <c:v>25266</c:v>
                </c:pt>
                <c:pt idx="26891">
                  <c:v>22733</c:v>
                </c:pt>
                <c:pt idx="26892">
                  <c:v>25362</c:v>
                </c:pt>
                <c:pt idx="26893">
                  <c:v>26869</c:v>
                </c:pt>
                <c:pt idx="26894">
                  <c:v>21771</c:v>
                </c:pt>
                <c:pt idx="26895">
                  <c:v>9531</c:v>
                </c:pt>
                <c:pt idx="26896">
                  <c:v>1026</c:v>
                </c:pt>
                <c:pt idx="26897">
                  <c:v>16726</c:v>
                </c:pt>
                <c:pt idx="26898">
                  <c:v>20945</c:v>
                </c:pt>
                <c:pt idx="26899">
                  <c:v>19452</c:v>
                </c:pt>
                <c:pt idx="26900">
                  <c:v>25835</c:v>
                </c:pt>
                <c:pt idx="26901">
                  <c:v>29735</c:v>
                </c:pt>
                <c:pt idx="26902">
                  <c:v>23196</c:v>
                </c:pt>
                <c:pt idx="26903">
                  <c:v>501</c:v>
                </c:pt>
                <c:pt idx="26904">
                  <c:v>558</c:v>
                </c:pt>
                <c:pt idx="26905">
                  <c:v>22719</c:v>
                </c:pt>
                <c:pt idx="26906">
                  <c:v>18580</c:v>
                </c:pt>
                <c:pt idx="26907">
                  <c:v>143</c:v>
                </c:pt>
                <c:pt idx="26908">
                  <c:v>23099</c:v>
                </c:pt>
                <c:pt idx="26909">
                  <c:v>439</c:v>
                </c:pt>
                <c:pt idx="26910">
                  <c:v>27547</c:v>
                </c:pt>
                <c:pt idx="26911">
                  <c:v>5499</c:v>
                </c:pt>
                <c:pt idx="26912">
                  <c:v>23408</c:v>
                </c:pt>
                <c:pt idx="26913">
                  <c:v>15237</c:v>
                </c:pt>
                <c:pt idx="26914">
                  <c:v>9189</c:v>
                </c:pt>
                <c:pt idx="26915">
                  <c:v>19113</c:v>
                </c:pt>
                <c:pt idx="26916">
                  <c:v>23922</c:v>
                </c:pt>
                <c:pt idx="26917">
                  <c:v>436</c:v>
                </c:pt>
                <c:pt idx="26918">
                  <c:v>534</c:v>
                </c:pt>
                <c:pt idx="26919">
                  <c:v>26038</c:v>
                </c:pt>
                <c:pt idx="26920">
                  <c:v>20931</c:v>
                </c:pt>
                <c:pt idx="26921">
                  <c:v>21165</c:v>
                </c:pt>
                <c:pt idx="26922">
                  <c:v>29589</c:v>
                </c:pt>
                <c:pt idx="26923">
                  <c:v>32941</c:v>
                </c:pt>
                <c:pt idx="26924">
                  <c:v>10932</c:v>
                </c:pt>
                <c:pt idx="26925">
                  <c:v>17290</c:v>
                </c:pt>
                <c:pt idx="26926">
                  <c:v>14489</c:v>
                </c:pt>
                <c:pt idx="26927">
                  <c:v>31069</c:v>
                </c:pt>
                <c:pt idx="26928">
                  <c:v>15306</c:v>
                </c:pt>
                <c:pt idx="26929">
                  <c:v>24967</c:v>
                </c:pt>
                <c:pt idx="26930">
                  <c:v>22332</c:v>
                </c:pt>
                <c:pt idx="26931">
                  <c:v>30221</c:v>
                </c:pt>
                <c:pt idx="26932">
                  <c:v>29559</c:v>
                </c:pt>
                <c:pt idx="26933">
                  <c:v>21113</c:v>
                </c:pt>
                <c:pt idx="26934">
                  <c:v>29594</c:v>
                </c:pt>
                <c:pt idx="26935">
                  <c:v>9746</c:v>
                </c:pt>
                <c:pt idx="26936">
                  <c:v>11823</c:v>
                </c:pt>
                <c:pt idx="26937">
                  <c:v>14929</c:v>
                </c:pt>
                <c:pt idx="26938">
                  <c:v>2427</c:v>
                </c:pt>
                <c:pt idx="26939">
                  <c:v>23774</c:v>
                </c:pt>
                <c:pt idx="26940">
                  <c:v>17825</c:v>
                </c:pt>
                <c:pt idx="26941">
                  <c:v>14548</c:v>
                </c:pt>
                <c:pt idx="26942">
                  <c:v>41782</c:v>
                </c:pt>
                <c:pt idx="26943">
                  <c:v>23072</c:v>
                </c:pt>
                <c:pt idx="26944">
                  <c:v>24449</c:v>
                </c:pt>
                <c:pt idx="26945">
                  <c:v>26088</c:v>
                </c:pt>
                <c:pt idx="26946">
                  <c:v>28586</c:v>
                </c:pt>
                <c:pt idx="26947">
                  <c:v>17911</c:v>
                </c:pt>
                <c:pt idx="26948">
                  <c:v>17011</c:v>
                </c:pt>
                <c:pt idx="26949">
                  <c:v>36434</c:v>
                </c:pt>
                <c:pt idx="26950">
                  <c:v>12310</c:v>
                </c:pt>
                <c:pt idx="26951">
                  <c:v>27734</c:v>
                </c:pt>
                <c:pt idx="26952">
                  <c:v>13634</c:v>
                </c:pt>
                <c:pt idx="26953">
                  <c:v>1607</c:v>
                </c:pt>
                <c:pt idx="26954">
                  <c:v>8883</c:v>
                </c:pt>
                <c:pt idx="26955">
                  <c:v>10559</c:v>
                </c:pt>
                <c:pt idx="26956">
                  <c:v>24167</c:v>
                </c:pt>
                <c:pt idx="26957">
                  <c:v>5395</c:v>
                </c:pt>
                <c:pt idx="26958">
                  <c:v>8375</c:v>
                </c:pt>
                <c:pt idx="26959">
                  <c:v>1223</c:v>
                </c:pt>
                <c:pt idx="26960">
                  <c:v>12202</c:v>
                </c:pt>
                <c:pt idx="26961">
                  <c:v>1152</c:v>
                </c:pt>
                <c:pt idx="26962">
                  <c:v>22527</c:v>
                </c:pt>
                <c:pt idx="26963">
                  <c:v>20583</c:v>
                </c:pt>
                <c:pt idx="26964">
                  <c:v>15174</c:v>
                </c:pt>
                <c:pt idx="26965">
                  <c:v>2242</c:v>
                </c:pt>
                <c:pt idx="26966">
                  <c:v>415</c:v>
                </c:pt>
                <c:pt idx="26967">
                  <c:v>17601</c:v>
                </c:pt>
                <c:pt idx="26968">
                  <c:v>3046</c:v>
                </c:pt>
                <c:pt idx="26969">
                  <c:v>2854</c:v>
                </c:pt>
                <c:pt idx="26970">
                  <c:v>7682</c:v>
                </c:pt>
                <c:pt idx="26971">
                  <c:v>3361</c:v>
                </c:pt>
                <c:pt idx="26972">
                  <c:v>14992</c:v>
                </c:pt>
                <c:pt idx="26973">
                  <c:v>3792</c:v>
                </c:pt>
                <c:pt idx="26974">
                  <c:v>1357</c:v>
                </c:pt>
                <c:pt idx="26975">
                  <c:v>323</c:v>
                </c:pt>
                <c:pt idx="26976">
                  <c:v>208</c:v>
                </c:pt>
                <c:pt idx="26977">
                  <c:v>12327</c:v>
                </c:pt>
                <c:pt idx="26978">
                  <c:v>11265</c:v>
                </c:pt>
                <c:pt idx="26979">
                  <c:v>8082</c:v>
                </c:pt>
                <c:pt idx="26980">
                  <c:v>190</c:v>
                </c:pt>
                <c:pt idx="26981">
                  <c:v>5668</c:v>
                </c:pt>
                <c:pt idx="26982">
                  <c:v>574</c:v>
                </c:pt>
                <c:pt idx="26983">
                  <c:v>5798</c:v>
                </c:pt>
                <c:pt idx="26984">
                  <c:v>402</c:v>
                </c:pt>
                <c:pt idx="26985">
                  <c:v>3036</c:v>
                </c:pt>
                <c:pt idx="26986">
                  <c:v>10937</c:v>
                </c:pt>
                <c:pt idx="26987">
                  <c:v>694</c:v>
                </c:pt>
                <c:pt idx="26988">
                  <c:v>505</c:v>
                </c:pt>
                <c:pt idx="26989">
                  <c:v>10031</c:v>
                </c:pt>
                <c:pt idx="26990">
                  <c:v>1036</c:v>
                </c:pt>
                <c:pt idx="26991">
                  <c:v>11887</c:v>
                </c:pt>
                <c:pt idx="26992">
                  <c:v>164</c:v>
                </c:pt>
                <c:pt idx="26993">
                  <c:v>15031</c:v>
                </c:pt>
                <c:pt idx="26994">
                  <c:v>14282</c:v>
                </c:pt>
                <c:pt idx="26995">
                  <c:v>317</c:v>
                </c:pt>
                <c:pt idx="26996">
                  <c:v>11843</c:v>
                </c:pt>
                <c:pt idx="26997">
                  <c:v>6180</c:v>
                </c:pt>
                <c:pt idx="26998">
                  <c:v>4301</c:v>
                </c:pt>
                <c:pt idx="26999">
                  <c:v>2237</c:v>
                </c:pt>
                <c:pt idx="27000">
                  <c:v>12485</c:v>
                </c:pt>
                <c:pt idx="27001">
                  <c:v>279</c:v>
                </c:pt>
                <c:pt idx="27002">
                  <c:v>3827</c:v>
                </c:pt>
                <c:pt idx="27003">
                  <c:v>339</c:v>
                </c:pt>
                <c:pt idx="27004">
                  <c:v>435</c:v>
                </c:pt>
                <c:pt idx="27005">
                  <c:v>25095</c:v>
                </c:pt>
                <c:pt idx="27006">
                  <c:v>3666</c:v>
                </c:pt>
                <c:pt idx="27007">
                  <c:v>736</c:v>
                </c:pt>
                <c:pt idx="27008">
                  <c:v>243</c:v>
                </c:pt>
                <c:pt idx="27009">
                  <c:v>42391</c:v>
                </c:pt>
                <c:pt idx="27010">
                  <c:v>46440</c:v>
                </c:pt>
                <c:pt idx="27011">
                  <c:v>18532</c:v>
                </c:pt>
                <c:pt idx="27012">
                  <c:v>566</c:v>
                </c:pt>
                <c:pt idx="27013">
                  <c:v>101</c:v>
                </c:pt>
                <c:pt idx="27014">
                  <c:v>2657</c:v>
                </c:pt>
                <c:pt idx="27015">
                  <c:v>9496</c:v>
                </c:pt>
                <c:pt idx="27016">
                  <c:v>31231</c:v>
                </c:pt>
                <c:pt idx="27017">
                  <c:v>26317</c:v>
                </c:pt>
                <c:pt idx="27018">
                  <c:v>2388</c:v>
                </c:pt>
                <c:pt idx="27019">
                  <c:v>10029</c:v>
                </c:pt>
                <c:pt idx="27020">
                  <c:v>1865</c:v>
                </c:pt>
                <c:pt idx="27021">
                  <c:v>480</c:v>
                </c:pt>
                <c:pt idx="27022">
                  <c:v>4168</c:v>
                </c:pt>
                <c:pt idx="27023">
                  <c:v>1498</c:v>
                </c:pt>
                <c:pt idx="27024">
                  <c:v>711</c:v>
                </c:pt>
                <c:pt idx="27025">
                  <c:v>345</c:v>
                </c:pt>
                <c:pt idx="27026">
                  <c:v>7372</c:v>
                </c:pt>
                <c:pt idx="27027">
                  <c:v>1823</c:v>
                </c:pt>
                <c:pt idx="27028">
                  <c:v>15887</c:v>
                </c:pt>
                <c:pt idx="27029">
                  <c:v>20262</c:v>
                </c:pt>
                <c:pt idx="27030">
                  <c:v>36062</c:v>
                </c:pt>
                <c:pt idx="27031">
                  <c:v>9148</c:v>
                </c:pt>
                <c:pt idx="27032">
                  <c:v>134</c:v>
                </c:pt>
                <c:pt idx="27033">
                  <c:v>1762</c:v>
                </c:pt>
                <c:pt idx="27034">
                  <c:v>105</c:v>
                </c:pt>
                <c:pt idx="27035">
                  <c:v>641</c:v>
                </c:pt>
                <c:pt idx="27036">
                  <c:v>903</c:v>
                </c:pt>
                <c:pt idx="27037">
                  <c:v>23012</c:v>
                </c:pt>
                <c:pt idx="27038">
                  <c:v>12903</c:v>
                </c:pt>
                <c:pt idx="27039">
                  <c:v>17109</c:v>
                </c:pt>
                <c:pt idx="27040">
                  <c:v>2099</c:v>
                </c:pt>
                <c:pt idx="27041">
                  <c:v>24423</c:v>
                </c:pt>
                <c:pt idx="27042">
                  <c:v>896</c:v>
                </c:pt>
                <c:pt idx="27043">
                  <c:v>26765</c:v>
                </c:pt>
                <c:pt idx="27044">
                  <c:v>11783</c:v>
                </c:pt>
                <c:pt idx="27045">
                  <c:v>28464</c:v>
                </c:pt>
                <c:pt idx="27046">
                  <c:v>5608</c:v>
                </c:pt>
                <c:pt idx="27047">
                  <c:v>17232</c:v>
                </c:pt>
                <c:pt idx="27048">
                  <c:v>10321</c:v>
                </c:pt>
                <c:pt idx="27049">
                  <c:v>9993</c:v>
                </c:pt>
                <c:pt idx="27050">
                  <c:v>453</c:v>
                </c:pt>
                <c:pt idx="27051">
                  <c:v>41269</c:v>
                </c:pt>
                <c:pt idx="27052">
                  <c:v>25665</c:v>
                </c:pt>
                <c:pt idx="27053">
                  <c:v>24482</c:v>
                </c:pt>
                <c:pt idx="27054">
                  <c:v>20340</c:v>
                </c:pt>
                <c:pt idx="27055">
                  <c:v>26907</c:v>
                </c:pt>
                <c:pt idx="27056">
                  <c:v>17410</c:v>
                </c:pt>
                <c:pt idx="27057">
                  <c:v>34052</c:v>
                </c:pt>
                <c:pt idx="27058">
                  <c:v>24466</c:v>
                </c:pt>
                <c:pt idx="27059">
                  <c:v>11585</c:v>
                </c:pt>
                <c:pt idx="27060">
                  <c:v>825</c:v>
                </c:pt>
                <c:pt idx="27061">
                  <c:v>1956</c:v>
                </c:pt>
                <c:pt idx="27062">
                  <c:v>12519</c:v>
                </c:pt>
                <c:pt idx="27063">
                  <c:v>19669</c:v>
                </c:pt>
                <c:pt idx="27064">
                  <c:v>15380</c:v>
                </c:pt>
                <c:pt idx="27065">
                  <c:v>2656</c:v>
                </c:pt>
                <c:pt idx="27066">
                  <c:v>1177</c:v>
                </c:pt>
                <c:pt idx="27067">
                  <c:v>15629</c:v>
                </c:pt>
                <c:pt idx="27068">
                  <c:v>28696</c:v>
                </c:pt>
                <c:pt idx="27069">
                  <c:v>20004</c:v>
                </c:pt>
                <c:pt idx="27070">
                  <c:v>24184</c:v>
                </c:pt>
                <c:pt idx="27071">
                  <c:v>659</c:v>
                </c:pt>
                <c:pt idx="27072">
                  <c:v>27399</c:v>
                </c:pt>
                <c:pt idx="27073">
                  <c:v>32424</c:v>
                </c:pt>
                <c:pt idx="27074">
                  <c:v>4517</c:v>
                </c:pt>
                <c:pt idx="27075">
                  <c:v>25160</c:v>
                </c:pt>
                <c:pt idx="27076">
                  <c:v>24047</c:v>
                </c:pt>
                <c:pt idx="27077">
                  <c:v>8758</c:v>
                </c:pt>
                <c:pt idx="27078">
                  <c:v>12998</c:v>
                </c:pt>
                <c:pt idx="27079">
                  <c:v>23059</c:v>
                </c:pt>
                <c:pt idx="27080">
                  <c:v>10298</c:v>
                </c:pt>
                <c:pt idx="27081">
                  <c:v>6462</c:v>
                </c:pt>
                <c:pt idx="27082">
                  <c:v>7740</c:v>
                </c:pt>
                <c:pt idx="27083">
                  <c:v>2409</c:v>
                </c:pt>
                <c:pt idx="27084">
                  <c:v>18598</c:v>
                </c:pt>
                <c:pt idx="27085">
                  <c:v>36005</c:v>
                </c:pt>
                <c:pt idx="27086">
                  <c:v>14996</c:v>
                </c:pt>
                <c:pt idx="27087">
                  <c:v>13825</c:v>
                </c:pt>
                <c:pt idx="27088">
                  <c:v>13479</c:v>
                </c:pt>
                <c:pt idx="27089">
                  <c:v>9384</c:v>
                </c:pt>
                <c:pt idx="27090">
                  <c:v>13559</c:v>
                </c:pt>
                <c:pt idx="27091">
                  <c:v>12826</c:v>
                </c:pt>
                <c:pt idx="27092">
                  <c:v>7041</c:v>
                </c:pt>
                <c:pt idx="27093">
                  <c:v>17378</c:v>
                </c:pt>
                <c:pt idx="27094">
                  <c:v>15397</c:v>
                </c:pt>
                <c:pt idx="27095">
                  <c:v>6793</c:v>
                </c:pt>
                <c:pt idx="27096">
                  <c:v>27685</c:v>
                </c:pt>
                <c:pt idx="27097">
                  <c:v>27926</c:v>
                </c:pt>
                <c:pt idx="27098">
                  <c:v>3468</c:v>
                </c:pt>
                <c:pt idx="27099">
                  <c:v>28466</c:v>
                </c:pt>
                <c:pt idx="27100">
                  <c:v>34874</c:v>
                </c:pt>
                <c:pt idx="27101">
                  <c:v>13509</c:v>
                </c:pt>
                <c:pt idx="27102">
                  <c:v>33884</c:v>
                </c:pt>
                <c:pt idx="27103">
                  <c:v>3743</c:v>
                </c:pt>
                <c:pt idx="27104">
                  <c:v>27282</c:v>
                </c:pt>
                <c:pt idx="27105">
                  <c:v>31041</c:v>
                </c:pt>
                <c:pt idx="27106">
                  <c:v>24246</c:v>
                </c:pt>
                <c:pt idx="27107">
                  <c:v>18967</c:v>
                </c:pt>
                <c:pt idx="27108">
                  <c:v>14995</c:v>
                </c:pt>
                <c:pt idx="27109">
                  <c:v>3194</c:v>
                </c:pt>
                <c:pt idx="27110">
                  <c:v>29617</c:v>
                </c:pt>
                <c:pt idx="27111">
                  <c:v>18133</c:v>
                </c:pt>
                <c:pt idx="27112">
                  <c:v>12786</c:v>
                </c:pt>
                <c:pt idx="27113">
                  <c:v>20870</c:v>
                </c:pt>
                <c:pt idx="27114">
                  <c:v>13966</c:v>
                </c:pt>
                <c:pt idx="27115">
                  <c:v>17311</c:v>
                </c:pt>
                <c:pt idx="27116">
                  <c:v>879</c:v>
                </c:pt>
                <c:pt idx="27117">
                  <c:v>33327</c:v>
                </c:pt>
                <c:pt idx="27118">
                  <c:v>326</c:v>
                </c:pt>
                <c:pt idx="27119">
                  <c:v>16626</c:v>
                </c:pt>
                <c:pt idx="27120">
                  <c:v>40428</c:v>
                </c:pt>
                <c:pt idx="27121">
                  <c:v>24418</c:v>
                </c:pt>
                <c:pt idx="27122">
                  <c:v>24405</c:v>
                </c:pt>
                <c:pt idx="27123">
                  <c:v>22435</c:v>
                </c:pt>
                <c:pt idx="27124">
                  <c:v>16221</c:v>
                </c:pt>
                <c:pt idx="27125">
                  <c:v>22320</c:v>
                </c:pt>
                <c:pt idx="27126">
                  <c:v>29451</c:v>
                </c:pt>
                <c:pt idx="27127">
                  <c:v>40532</c:v>
                </c:pt>
                <c:pt idx="27128">
                  <c:v>23512</c:v>
                </c:pt>
                <c:pt idx="27129">
                  <c:v>17659</c:v>
                </c:pt>
                <c:pt idx="27130">
                  <c:v>30456</c:v>
                </c:pt>
                <c:pt idx="27131">
                  <c:v>26588</c:v>
                </c:pt>
                <c:pt idx="27132">
                  <c:v>27780</c:v>
                </c:pt>
                <c:pt idx="27133">
                  <c:v>15566</c:v>
                </c:pt>
                <c:pt idx="27134">
                  <c:v>32108</c:v>
                </c:pt>
                <c:pt idx="27135">
                  <c:v>20159</c:v>
                </c:pt>
                <c:pt idx="27136">
                  <c:v>39624</c:v>
                </c:pt>
                <c:pt idx="27137">
                  <c:v>36264</c:v>
                </c:pt>
                <c:pt idx="27138">
                  <c:v>21297</c:v>
                </c:pt>
                <c:pt idx="27139">
                  <c:v>18347</c:v>
                </c:pt>
                <c:pt idx="27140">
                  <c:v>12077</c:v>
                </c:pt>
                <c:pt idx="27141">
                  <c:v>20713</c:v>
                </c:pt>
                <c:pt idx="27142">
                  <c:v>2838</c:v>
                </c:pt>
                <c:pt idx="27143">
                  <c:v>17660</c:v>
                </c:pt>
                <c:pt idx="27144">
                  <c:v>11637</c:v>
                </c:pt>
                <c:pt idx="27145">
                  <c:v>25179</c:v>
                </c:pt>
                <c:pt idx="27146">
                  <c:v>11675</c:v>
                </c:pt>
                <c:pt idx="27147">
                  <c:v>26367</c:v>
                </c:pt>
                <c:pt idx="27148">
                  <c:v>15989</c:v>
                </c:pt>
                <c:pt idx="27149">
                  <c:v>22862</c:v>
                </c:pt>
                <c:pt idx="27150">
                  <c:v>10409</c:v>
                </c:pt>
                <c:pt idx="27151">
                  <c:v>7899</c:v>
                </c:pt>
                <c:pt idx="27152">
                  <c:v>11331</c:v>
                </c:pt>
                <c:pt idx="27153">
                  <c:v>2510</c:v>
                </c:pt>
                <c:pt idx="27154">
                  <c:v>11687</c:v>
                </c:pt>
                <c:pt idx="27155">
                  <c:v>8095</c:v>
                </c:pt>
                <c:pt idx="27156">
                  <c:v>21455</c:v>
                </c:pt>
                <c:pt idx="27157">
                  <c:v>12571</c:v>
                </c:pt>
                <c:pt idx="27158">
                  <c:v>18303</c:v>
                </c:pt>
                <c:pt idx="27159">
                  <c:v>26364</c:v>
                </c:pt>
                <c:pt idx="27160">
                  <c:v>22844</c:v>
                </c:pt>
                <c:pt idx="27161">
                  <c:v>35290</c:v>
                </c:pt>
                <c:pt idx="27162">
                  <c:v>14953</c:v>
                </c:pt>
                <c:pt idx="27163">
                  <c:v>32811</c:v>
                </c:pt>
                <c:pt idx="27164">
                  <c:v>16136</c:v>
                </c:pt>
                <c:pt idx="27165">
                  <c:v>23282</c:v>
                </c:pt>
                <c:pt idx="27166">
                  <c:v>9875</c:v>
                </c:pt>
                <c:pt idx="27167">
                  <c:v>16315</c:v>
                </c:pt>
                <c:pt idx="27168">
                  <c:v>25117</c:v>
                </c:pt>
                <c:pt idx="27169">
                  <c:v>14990</c:v>
                </c:pt>
                <c:pt idx="27170">
                  <c:v>21944</c:v>
                </c:pt>
                <c:pt idx="27171">
                  <c:v>16951</c:v>
                </c:pt>
                <c:pt idx="27172">
                  <c:v>7875</c:v>
                </c:pt>
                <c:pt idx="27173">
                  <c:v>8979</c:v>
                </c:pt>
                <c:pt idx="27174">
                  <c:v>18614</c:v>
                </c:pt>
                <c:pt idx="27175">
                  <c:v>3135</c:v>
                </c:pt>
                <c:pt idx="27176">
                  <c:v>9835</c:v>
                </c:pt>
                <c:pt idx="27177">
                  <c:v>27593</c:v>
                </c:pt>
                <c:pt idx="27178">
                  <c:v>37637</c:v>
                </c:pt>
                <c:pt idx="27179">
                  <c:v>13019</c:v>
                </c:pt>
                <c:pt idx="27180">
                  <c:v>22127</c:v>
                </c:pt>
                <c:pt idx="27181">
                  <c:v>759</c:v>
                </c:pt>
                <c:pt idx="27182">
                  <c:v>10931</c:v>
                </c:pt>
                <c:pt idx="27183">
                  <c:v>14655</c:v>
                </c:pt>
                <c:pt idx="27184">
                  <c:v>28635</c:v>
                </c:pt>
                <c:pt idx="27185">
                  <c:v>36490</c:v>
                </c:pt>
                <c:pt idx="27186">
                  <c:v>1221</c:v>
                </c:pt>
                <c:pt idx="27187">
                  <c:v>17852</c:v>
                </c:pt>
                <c:pt idx="27188">
                  <c:v>10581</c:v>
                </c:pt>
                <c:pt idx="27189">
                  <c:v>12911</c:v>
                </c:pt>
                <c:pt idx="27190">
                  <c:v>5051</c:v>
                </c:pt>
                <c:pt idx="27191">
                  <c:v>7670</c:v>
                </c:pt>
                <c:pt idx="27192">
                  <c:v>8435</c:v>
                </c:pt>
                <c:pt idx="27193">
                  <c:v>26925</c:v>
                </c:pt>
                <c:pt idx="27194">
                  <c:v>345</c:v>
                </c:pt>
                <c:pt idx="27195">
                  <c:v>1507</c:v>
                </c:pt>
                <c:pt idx="27196">
                  <c:v>7306</c:v>
                </c:pt>
                <c:pt idx="27197">
                  <c:v>3317</c:v>
                </c:pt>
                <c:pt idx="27198">
                  <c:v>364</c:v>
                </c:pt>
                <c:pt idx="27199">
                  <c:v>544</c:v>
                </c:pt>
                <c:pt idx="27200">
                  <c:v>67</c:v>
                </c:pt>
                <c:pt idx="27201">
                  <c:v>5755</c:v>
                </c:pt>
                <c:pt idx="27202">
                  <c:v>4705</c:v>
                </c:pt>
                <c:pt idx="27203">
                  <c:v>18990</c:v>
                </c:pt>
                <c:pt idx="27204">
                  <c:v>246</c:v>
                </c:pt>
                <c:pt idx="27205">
                  <c:v>4038</c:v>
                </c:pt>
                <c:pt idx="27206">
                  <c:v>5004</c:v>
                </c:pt>
                <c:pt idx="27207">
                  <c:v>619</c:v>
                </c:pt>
                <c:pt idx="27208">
                  <c:v>4155</c:v>
                </c:pt>
                <c:pt idx="27209">
                  <c:v>179</c:v>
                </c:pt>
                <c:pt idx="27210">
                  <c:v>2213</c:v>
                </c:pt>
                <c:pt idx="27211">
                  <c:v>27274</c:v>
                </c:pt>
                <c:pt idx="27212">
                  <c:v>2205</c:v>
                </c:pt>
                <c:pt idx="27213">
                  <c:v>1777</c:v>
                </c:pt>
                <c:pt idx="27214">
                  <c:v>1291</c:v>
                </c:pt>
                <c:pt idx="27215">
                  <c:v>5969</c:v>
                </c:pt>
                <c:pt idx="27216">
                  <c:v>1089</c:v>
                </c:pt>
                <c:pt idx="27217">
                  <c:v>327</c:v>
                </c:pt>
                <c:pt idx="27218">
                  <c:v>71</c:v>
                </c:pt>
                <c:pt idx="27219">
                  <c:v>16015</c:v>
                </c:pt>
                <c:pt idx="27220">
                  <c:v>5767</c:v>
                </c:pt>
                <c:pt idx="27221">
                  <c:v>791</c:v>
                </c:pt>
                <c:pt idx="27222">
                  <c:v>5518</c:v>
                </c:pt>
                <c:pt idx="27223">
                  <c:v>572</c:v>
                </c:pt>
                <c:pt idx="27224">
                  <c:v>315</c:v>
                </c:pt>
                <c:pt idx="27225">
                  <c:v>1852</c:v>
                </c:pt>
                <c:pt idx="27226">
                  <c:v>30031</c:v>
                </c:pt>
                <c:pt idx="27227">
                  <c:v>604</c:v>
                </c:pt>
                <c:pt idx="27228">
                  <c:v>8339</c:v>
                </c:pt>
                <c:pt idx="27229">
                  <c:v>1480</c:v>
                </c:pt>
                <c:pt idx="27230">
                  <c:v>1734</c:v>
                </c:pt>
                <c:pt idx="27231">
                  <c:v>5805</c:v>
                </c:pt>
                <c:pt idx="27232">
                  <c:v>1362</c:v>
                </c:pt>
                <c:pt idx="27233">
                  <c:v>1129</c:v>
                </c:pt>
                <c:pt idx="27234">
                  <c:v>1809</c:v>
                </c:pt>
                <c:pt idx="27235">
                  <c:v>30652</c:v>
                </c:pt>
                <c:pt idx="27236">
                  <c:v>23607</c:v>
                </c:pt>
                <c:pt idx="27237">
                  <c:v>8881</c:v>
                </c:pt>
                <c:pt idx="27238">
                  <c:v>551</c:v>
                </c:pt>
                <c:pt idx="27239">
                  <c:v>357</c:v>
                </c:pt>
                <c:pt idx="27240">
                  <c:v>3383</c:v>
                </c:pt>
                <c:pt idx="27241">
                  <c:v>49</c:v>
                </c:pt>
                <c:pt idx="27242">
                  <c:v>24980</c:v>
                </c:pt>
                <c:pt idx="27243">
                  <c:v>17730</c:v>
                </c:pt>
                <c:pt idx="27244">
                  <c:v>4206</c:v>
                </c:pt>
                <c:pt idx="27245">
                  <c:v>18609</c:v>
                </c:pt>
                <c:pt idx="27246">
                  <c:v>13346</c:v>
                </c:pt>
                <c:pt idx="27247">
                  <c:v>28511</c:v>
                </c:pt>
                <c:pt idx="27248">
                  <c:v>32327</c:v>
                </c:pt>
                <c:pt idx="27249">
                  <c:v>19652</c:v>
                </c:pt>
                <c:pt idx="27250">
                  <c:v>26731</c:v>
                </c:pt>
                <c:pt idx="27251">
                  <c:v>21992</c:v>
                </c:pt>
                <c:pt idx="27252">
                  <c:v>25732</c:v>
                </c:pt>
                <c:pt idx="27253">
                  <c:v>26905</c:v>
                </c:pt>
                <c:pt idx="27254">
                  <c:v>15060</c:v>
                </c:pt>
                <c:pt idx="27255">
                  <c:v>15287</c:v>
                </c:pt>
                <c:pt idx="27256">
                  <c:v>7171</c:v>
                </c:pt>
                <c:pt idx="27257">
                  <c:v>11807</c:v>
                </c:pt>
                <c:pt idx="27258">
                  <c:v>14006</c:v>
                </c:pt>
                <c:pt idx="27259">
                  <c:v>16107</c:v>
                </c:pt>
                <c:pt idx="27260">
                  <c:v>799</c:v>
                </c:pt>
                <c:pt idx="27261">
                  <c:v>3420</c:v>
                </c:pt>
                <c:pt idx="27262">
                  <c:v>2271</c:v>
                </c:pt>
                <c:pt idx="27263">
                  <c:v>1165</c:v>
                </c:pt>
                <c:pt idx="27264">
                  <c:v>537</c:v>
                </c:pt>
                <c:pt idx="27265">
                  <c:v>6954</c:v>
                </c:pt>
                <c:pt idx="27266">
                  <c:v>3305</c:v>
                </c:pt>
                <c:pt idx="27267">
                  <c:v>23126</c:v>
                </c:pt>
                <c:pt idx="27268">
                  <c:v>681</c:v>
                </c:pt>
                <c:pt idx="27269">
                  <c:v>404</c:v>
                </c:pt>
                <c:pt idx="27270">
                  <c:v>5017</c:v>
                </c:pt>
                <c:pt idx="27271">
                  <c:v>8965</c:v>
                </c:pt>
                <c:pt idx="27272">
                  <c:v>3085</c:v>
                </c:pt>
                <c:pt idx="27273">
                  <c:v>22250</c:v>
                </c:pt>
                <c:pt idx="27274">
                  <c:v>3823</c:v>
                </c:pt>
                <c:pt idx="27275">
                  <c:v>350</c:v>
                </c:pt>
                <c:pt idx="27276">
                  <c:v>2089</c:v>
                </c:pt>
                <c:pt idx="27277">
                  <c:v>222</c:v>
                </c:pt>
                <c:pt idx="27278">
                  <c:v>1048</c:v>
                </c:pt>
                <c:pt idx="27279">
                  <c:v>17741</c:v>
                </c:pt>
                <c:pt idx="27280">
                  <c:v>20784</c:v>
                </c:pt>
                <c:pt idx="27281">
                  <c:v>25737</c:v>
                </c:pt>
                <c:pt idx="27282">
                  <c:v>2834</c:v>
                </c:pt>
                <c:pt idx="27283">
                  <c:v>714</c:v>
                </c:pt>
                <c:pt idx="27284">
                  <c:v>4193</c:v>
                </c:pt>
                <c:pt idx="27285">
                  <c:v>4523</c:v>
                </c:pt>
                <c:pt idx="27286">
                  <c:v>1780</c:v>
                </c:pt>
                <c:pt idx="27287">
                  <c:v>4310</c:v>
                </c:pt>
                <c:pt idx="27288">
                  <c:v>3203</c:v>
                </c:pt>
                <c:pt idx="27289">
                  <c:v>90</c:v>
                </c:pt>
                <c:pt idx="27290">
                  <c:v>730</c:v>
                </c:pt>
                <c:pt idx="27291">
                  <c:v>6584</c:v>
                </c:pt>
                <c:pt idx="27292">
                  <c:v>860</c:v>
                </c:pt>
                <c:pt idx="27293">
                  <c:v>313</c:v>
                </c:pt>
                <c:pt idx="27294">
                  <c:v>283</c:v>
                </c:pt>
                <c:pt idx="27295">
                  <c:v>1486</c:v>
                </c:pt>
                <c:pt idx="27296">
                  <c:v>253</c:v>
                </c:pt>
                <c:pt idx="27297">
                  <c:v>673</c:v>
                </c:pt>
                <c:pt idx="27298">
                  <c:v>194</c:v>
                </c:pt>
                <c:pt idx="27299">
                  <c:v>1119</c:v>
                </c:pt>
                <c:pt idx="27300">
                  <c:v>15202</c:v>
                </c:pt>
                <c:pt idx="27301">
                  <c:v>26979</c:v>
                </c:pt>
                <c:pt idx="27302">
                  <c:v>296</c:v>
                </c:pt>
                <c:pt idx="27303">
                  <c:v>29627</c:v>
                </c:pt>
                <c:pt idx="27304">
                  <c:v>4979</c:v>
                </c:pt>
                <c:pt idx="27305">
                  <c:v>327</c:v>
                </c:pt>
                <c:pt idx="27306">
                  <c:v>535</c:v>
                </c:pt>
                <c:pt idx="27307">
                  <c:v>5154</c:v>
                </c:pt>
                <c:pt idx="27308">
                  <c:v>78</c:v>
                </c:pt>
                <c:pt idx="27309">
                  <c:v>31269</c:v>
                </c:pt>
                <c:pt idx="27310">
                  <c:v>23982</c:v>
                </c:pt>
                <c:pt idx="27311">
                  <c:v>16927</c:v>
                </c:pt>
                <c:pt idx="27312">
                  <c:v>430</c:v>
                </c:pt>
                <c:pt idx="27313">
                  <c:v>14484</c:v>
                </c:pt>
                <c:pt idx="27314">
                  <c:v>8277</c:v>
                </c:pt>
                <c:pt idx="27315">
                  <c:v>12254</c:v>
                </c:pt>
                <c:pt idx="27316">
                  <c:v>496</c:v>
                </c:pt>
                <c:pt idx="27317">
                  <c:v>2287</c:v>
                </c:pt>
                <c:pt idx="27318">
                  <c:v>553</c:v>
                </c:pt>
                <c:pt idx="27319">
                  <c:v>1003</c:v>
                </c:pt>
                <c:pt idx="27320">
                  <c:v>114</c:v>
                </c:pt>
                <c:pt idx="27321">
                  <c:v>486</c:v>
                </c:pt>
                <c:pt idx="27322">
                  <c:v>391</c:v>
                </c:pt>
                <c:pt idx="27323">
                  <c:v>2085</c:v>
                </c:pt>
                <c:pt idx="27324">
                  <c:v>6362</c:v>
                </c:pt>
                <c:pt idx="27325">
                  <c:v>20758</c:v>
                </c:pt>
                <c:pt idx="27326">
                  <c:v>15856</c:v>
                </c:pt>
                <c:pt idx="27327">
                  <c:v>4103</c:v>
                </c:pt>
                <c:pt idx="27328">
                  <c:v>1987</c:v>
                </c:pt>
                <c:pt idx="27329">
                  <c:v>1055</c:v>
                </c:pt>
                <c:pt idx="27330">
                  <c:v>11597</c:v>
                </c:pt>
                <c:pt idx="27331">
                  <c:v>21063</c:v>
                </c:pt>
                <c:pt idx="27332">
                  <c:v>3419</c:v>
                </c:pt>
                <c:pt idx="27333">
                  <c:v>2787</c:v>
                </c:pt>
                <c:pt idx="27334">
                  <c:v>3330</c:v>
                </c:pt>
                <c:pt idx="27335">
                  <c:v>996</c:v>
                </c:pt>
                <c:pt idx="27336">
                  <c:v>8232</c:v>
                </c:pt>
                <c:pt idx="27337">
                  <c:v>6915</c:v>
                </c:pt>
                <c:pt idx="27338">
                  <c:v>16872</c:v>
                </c:pt>
                <c:pt idx="27339">
                  <c:v>5385</c:v>
                </c:pt>
                <c:pt idx="27340">
                  <c:v>15876</c:v>
                </c:pt>
                <c:pt idx="27341">
                  <c:v>18653</c:v>
                </c:pt>
                <c:pt idx="27342">
                  <c:v>3888</c:v>
                </c:pt>
                <c:pt idx="27343">
                  <c:v>844</c:v>
                </c:pt>
                <c:pt idx="27344">
                  <c:v>3555</c:v>
                </c:pt>
                <c:pt idx="27345">
                  <c:v>3678</c:v>
                </c:pt>
                <c:pt idx="27346">
                  <c:v>3799</c:v>
                </c:pt>
                <c:pt idx="27347">
                  <c:v>6473</c:v>
                </c:pt>
                <c:pt idx="27348">
                  <c:v>1019</c:v>
                </c:pt>
                <c:pt idx="27349">
                  <c:v>820</c:v>
                </c:pt>
                <c:pt idx="27350">
                  <c:v>158</c:v>
                </c:pt>
                <c:pt idx="27351">
                  <c:v>685</c:v>
                </c:pt>
                <c:pt idx="27352">
                  <c:v>11562</c:v>
                </c:pt>
                <c:pt idx="27353">
                  <c:v>2056</c:v>
                </c:pt>
                <c:pt idx="27354">
                  <c:v>15205</c:v>
                </c:pt>
                <c:pt idx="27355">
                  <c:v>1019</c:v>
                </c:pt>
                <c:pt idx="27356">
                  <c:v>12080</c:v>
                </c:pt>
                <c:pt idx="27357">
                  <c:v>126</c:v>
                </c:pt>
                <c:pt idx="27358">
                  <c:v>648</c:v>
                </c:pt>
                <c:pt idx="27359">
                  <c:v>1098</c:v>
                </c:pt>
                <c:pt idx="27360">
                  <c:v>3991</c:v>
                </c:pt>
                <c:pt idx="27361">
                  <c:v>15436</c:v>
                </c:pt>
                <c:pt idx="27362">
                  <c:v>11823</c:v>
                </c:pt>
                <c:pt idx="27363">
                  <c:v>12791</c:v>
                </c:pt>
                <c:pt idx="27364">
                  <c:v>14855</c:v>
                </c:pt>
                <c:pt idx="27365">
                  <c:v>12666</c:v>
                </c:pt>
                <c:pt idx="27366">
                  <c:v>14368</c:v>
                </c:pt>
                <c:pt idx="27367">
                  <c:v>18074</c:v>
                </c:pt>
                <c:pt idx="27368">
                  <c:v>23232</c:v>
                </c:pt>
                <c:pt idx="27369">
                  <c:v>248</c:v>
                </c:pt>
                <c:pt idx="27370">
                  <c:v>1899</c:v>
                </c:pt>
                <c:pt idx="27371">
                  <c:v>38852</c:v>
                </c:pt>
                <c:pt idx="27372">
                  <c:v>5332</c:v>
                </c:pt>
                <c:pt idx="27373">
                  <c:v>9786</c:v>
                </c:pt>
                <c:pt idx="27374">
                  <c:v>17716</c:v>
                </c:pt>
                <c:pt idx="27375">
                  <c:v>31644</c:v>
                </c:pt>
                <c:pt idx="27376">
                  <c:v>7790</c:v>
                </c:pt>
                <c:pt idx="27377">
                  <c:v>5965</c:v>
                </c:pt>
                <c:pt idx="27378">
                  <c:v>2971</c:v>
                </c:pt>
                <c:pt idx="27379">
                  <c:v>13034</c:v>
                </c:pt>
                <c:pt idx="27380">
                  <c:v>25301</c:v>
                </c:pt>
                <c:pt idx="27381">
                  <c:v>29269</c:v>
                </c:pt>
                <c:pt idx="27382">
                  <c:v>11224</c:v>
                </c:pt>
                <c:pt idx="27383">
                  <c:v>5784</c:v>
                </c:pt>
                <c:pt idx="27384">
                  <c:v>888</c:v>
                </c:pt>
                <c:pt idx="27385">
                  <c:v>1041</c:v>
                </c:pt>
                <c:pt idx="27386">
                  <c:v>4762</c:v>
                </c:pt>
                <c:pt idx="27387">
                  <c:v>2828</c:v>
                </c:pt>
                <c:pt idx="27388">
                  <c:v>658</c:v>
                </c:pt>
                <c:pt idx="27389">
                  <c:v>4174</c:v>
                </c:pt>
                <c:pt idx="27390">
                  <c:v>7970</c:v>
                </c:pt>
                <c:pt idx="27391">
                  <c:v>6502</c:v>
                </c:pt>
                <c:pt idx="27392">
                  <c:v>252</c:v>
                </c:pt>
                <c:pt idx="27393">
                  <c:v>13452</c:v>
                </c:pt>
                <c:pt idx="27394">
                  <c:v>17161</c:v>
                </c:pt>
                <c:pt idx="27395">
                  <c:v>7213</c:v>
                </c:pt>
                <c:pt idx="27396">
                  <c:v>1228</c:v>
                </c:pt>
                <c:pt idx="27397">
                  <c:v>169</c:v>
                </c:pt>
                <c:pt idx="27398">
                  <c:v>15555</c:v>
                </c:pt>
                <c:pt idx="27399">
                  <c:v>6833</c:v>
                </c:pt>
                <c:pt idx="27400">
                  <c:v>14425</c:v>
                </c:pt>
                <c:pt idx="27401">
                  <c:v>2572</c:v>
                </c:pt>
                <c:pt idx="27402">
                  <c:v>26049</c:v>
                </c:pt>
                <c:pt idx="27403">
                  <c:v>35028</c:v>
                </c:pt>
                <c:pt idx="27404">
                  <c:v>2003</c:v>
                </c:pt>
                <c:pt idx="27405">
                  <c:v>7977</c:v>
                </c:pt>
                <c:pt idx="27406">
                  <c:v>1365</c:v>
                </c:pt>
                <c:pt idx="27407">
                  <c:v>11532</c:v>
                </c:pt>
                <c:pt idx="27408">
                  <c:v>1333</c:v>
                </c:pt>
                <c:pt idx="27409">
                  <c:v>1642</c:v>
                </c:pt>
                <c:pt idx="27410">
                  <c:v>8521</c:v>
                </c:pt>
                <c:pt idx="27411">
                  <c:v>19156</c:v>
                </c:pt>
                <c:pt idx="27412">
                  <c:v>20384</c:v>
                </c:pt>
                <c:pt idx="27413">
                  <c:v>817</c:v>
                </c:pt>
                <c:pt idx="27414">
                  <c:v>20591</c:v>
                </c:pt>
                <c:pt idx="27415">
                  <c:v>18388</c:v>
                </c:pt>
                <c:pt idx="27416">
                  <c:v>6144</c:v>
                </c:pt>
                <c:pt idx="27417">
                  <c:v>24342</c:v>
                </c:pt>
                <c:pt idx="27418">
                  <c:v>17029</c:v>
                </c:pt>
                <c:pt idx="27419">
                  <c:v>36345</c:v>
                </c:pt>
                <c:pt idx="27420">
                  <c:v>14639</c:v>
                </c:pt>
                <c:pt idx="27421">
                  <c:v>27719</c:v>
                </c:pt>
                <c:pt idx="27422">
                  <c:v>28383</c:v>
                </c:pt>
                <c:pt idx="27423">
                  <c:v>13559</c:v>
                </c:pt>
                <c:pt idx="27424">
                  <c:v>18858</c:v>
                </c:pt>
                <c:pt idx="27425">
                  <c:v>20492</c:v>
                </c:pt>
                <c:pt idx="27426">
                  <c:v>9509</c:v>
                </c:pt>
                <c:pt idx="27427">
                  <c:v>19297</c:v>
                </c:pt>
                <c:pt idx="27428">
                  <c:v>6338</c:v>
                </c:pt>
                <c:pt idx="27429">
                  <c:v>36356</c:v>
                </c:pt>
                <c:pt idx="27430">
                  <c:v>43752</c:v>
                </c:pt>
                <c:pt idx="27431">
                  <c:v>2277</c:v>
                </c:pt>
                <c:pt idx="27432">
                  <c:v>44423</c:v>
                </c:pt>
                <c:pt idx="27433">
                  <c:v>22483</c:v>
                </c:pt>
                <c:pt idx="27434">
                  <c:v>20863</c:v>
                </c:pt>
                <c:pt idx="27435">
                  <c:v>22990</c:v>
                </c:pt>
                <c:pt idx="27436">
                  <c:v>27792</c:v>
                </c:pt>
                <c:pt idx="27437">
                  <c:v>24121</c:v>
                </c:pt>
                <c:pt idx="27438">
                  <c:v>23717</c:v>
                </c:pt>
                <c:pt idx="27439">
                  <c:v>33365</c:v>
                </c:pt>
                <c:pt idx="27440">
                  <c:v>15769</c:v>
                </c:pt>
                <c:pt idx="27441">
                  <c:v>10426</c:v>
                </c:pt>
                <c:pt idx="27442">
                  <c:v>17775</c:v>
                </c:pt>
                <c:pt idx="27443">
                  <c:v>15931</c:v>
                </c:pt>
                <c:pt idx="27444">
                  <c:v>13985</c:v>
                </c:pt>
                <c:pt idx="27445">
                  <c:v>21226</c:v>
                </c:pt>
                <c:pt idx="27446">
                  <c:v>6504</c:v>
                </c:pt>
                <c:pt idx="27447">
                  <c:v>24254</c:v>
                </c:pt>
                <c:pt idx="27448">
                  <c:v>18256</c:v>
                </c:pt>
                <c:pt idx="27449">
                  <c:v>13453</c:v>
                </c:pt>
                <c:pt idx="27450">
                  <c:v>24095</c:v>
                </c:pt>
                <c:pt idx="27451">
                  <c:v>18901</c:v>
                </c:pt>
                <c:pt idx="27452">
                  <c:v>32836</c:v>
                </c:pt>
                <c:pt idx="27453">
                  <c:v>7663</c:v>
                </c:pt>
                <c:pt idx="27454">
                  <c:v>11012</c:v>
                </c:pt>
                <c:pt idx="27455">
                  <c:v>7533</c:v>
                </c:pt>
                <c:pt idx="27456">
                  <c:v>12225</c:v>
                </c:pt>
                <c:pt idx="27457">
                  <c:v>5932</c:v>
                </c:pt>
                <c:pt idx="27458">
                  <c:v>1821</c:v>
                </c:pt>
                <c:pt idx="27459">
                  <c:v>31341</c:v>
                </c:pt>
                <c:pt idx="27460">
                  <c:v>13791</c:v>
                </c:pt>
                <c:pt idx="27461">
                  <c:v>813</c:v>
                </c:pt>
                <c:pt idx="27462">
                  <c:v>29995</c:v>
                </c:pt>
                <c:pt idx="27463">
                  <c:v>857</c:v>
                </c:pt>
                <c:pt idx="27464">
                  <c:v>3436</c:v>
                </c:pt>
                <c:pt idx="27465">
                  <c:v>5272</c:v>
                </c:pt>
                <c:pt idx="27466">
                  <c:v>14331</c:v>
                </c:pt>
                <c:pt idx="27467">
                  <c:v>10221</c:v>
                </c:pt>
                <c:pt idx="27468">
                  <c:v>18267</c:v>
                </c:pt>
                <c:pt idx="27469">
                  <c:v>20682</c:v>
                </c:pt>
                <c:pt idx="27470">
                  <c:v>18108</c:v>
                </c:pt>
                <c:pt idx="27471">
                  <c:v>1772</c:v>
                </c:pt>
                <c:pt idx="27472">
                  <c:v>15935</c:v>
                </c:pt>
                <c:pt idx="27473">
                  <c:v>13501</c:v>
                </c:pt>
                <c:pt idx="27474">
                  <c:v>20713</c:v>
                </c:pt>
                <c:pt idx="27475">
                  <c:v>36426</c:v>
                </c:pt>
                <c:pt idx="27476">
                  <c:v>19547</c:v>
                </c:pt>
                <c:pt idx="27477">
                  <c:v>30944</c:v>
                </c:pt>
                <c:pt idx="27478">
                  <c:v>30686</c:v>
                </c:pt>
                <c:pt idx="27479">
                  <c:v>23117</c:v>
                </c:pt>
                <c:pt idx="27480">
                  <c:v>31412</c:v>
                </c:pt>
                <c:pt idx="27481">
                  <c:v>8444</c:v>
                </c:pt>
                <c:pt idx="27482">
                  <c:v>32669</c:v>
                </c:pt>
                <c:pt idx="27483">
                  <c:v>15459</c:v>
                </c:pt>
                <c:pt idx="27484">
                  <c:v>23307</c:v>
                </c:pt>
                <c:pt idx="27485">
                  <c:v>13427</c:v>
                </c:pt>
                <c:pt idx="27486">
                  <c:v>207</c:v>
                </c:pt>
                <c:pt idx="27487">
                  <c:v>13229</c:v>
                </c:pt>
                <c:pt idx="27488">
                  <c:v>25779</c:v>
                </c:pt>
                <c:pt idx="27489">
                  <c:v>21429</c:v>
                </c:pt>
                <c:pt idx="27490">
                  <c:v>7604</c:v>
                </c:pt>
                <c:pt idx="27491">
                  <c:v>25877</c:v>
                </c:pt>
                <c:pt idx="27492">
                  <c:v>15561</c:v>
                </c:pt>
                <c:pt idx="27493">
                  <c:v>6701</c:v>
                </c:pt>
                <c:pt idx="27494">
                  <c:v>33007</c:v>
                </c:pt>
                <c:pt idx="27495">
                  <c:v>13971</c:v>
                </c:pt>
                <c:pt idx="27496">
                  <c:v>22087</c:v>
                </c:pt>
                <c:pt idx="27497">
                  <c:v>20283</c:v>
                </c:pt>
                <c:pt idx="27498">
                  <c:v>9104</c:v>
                </c:pt>
                <c:pt idx="27499">
                  <c:v>9587</c:v>
                </c:pt>
                <c:pt idx="27500">
                  <c:v>45806</c:v>
                </c:pt>
                <c:pt idx="27501">
                  <c:v>22531</c:v>
                </c:pt>
                <c:pt idx="27502">
                  <c:v>276</c:v>
                </c:pt>
                <c:pt idx="27503">
                  <c:v>34561</c:v>
                </c:pt>
                <c:pt idx="27504">
                  <c:v>3530</c:v>
                </c:pt>
                <c:pt idx="27505">
                  <c:v>4432</c:v>
                </c:pt>
                <c:pt idx="27506">
                  <c:v>3881</c:v>
                </c:pt>
                <c:pt idx="27507">
                  <c:v>25638</c:v>
                </c:pt>
                <c:pt idx="27508">
                  <c:v>20770</c:v>
                </c:pt>
                <c:pt idx="27509">
                  <c:v>10328</c:v>
                </c:pt>
                <c:pt idx="27510">
                  <c:v>14761</c:v>
                </c:pt>
                <c:pt idx="27511">
                  <c:v>22617</c:v>
                </c:pt>
                <c:pt idx="27512">
                  <c:v>19459</c:v>
                </c:pt>
                <c:pt idx="27513">
                  <c:v>14044</c:v>
                </c:pt>
                <c:pt idx="27514">
                  <c:v>403</c:v>
                </c:pt>
                <c:pt idx="27515">
                  <c:v>30055</c:v>
                </c:pt>
                <c:pt idx="27516">
                  <c:v>17849</c:v>
                </c:pt>
                <c:pt idx="27517">
                  <c:v>13595</c:v>
                </c:pt>
                <c:pt idx="27518">
                  <c:v>18147</c:v>
                </c:pt>
                <c:pt idx="27519">
                  <c:v>27374</c:v>
                </c:pt>
                <c:pt idx="27520">
                  <c:v>587</c:v>
                </c:pt>
                <c:pt idx="27521">
                  <c:v>5263</c:v>
                </c:pt>
                <c:pt idx="27522">
                  <c:v>12904</c:v>
                </c:pt>
                <c:pt idx="27523">
                  <c:v>13113</c:v>
                </c:pt>
                <c:pt idx="27524">
                  <c:v>12580</c:v>
                </c:pt>
                <c:pt idx="27525">
                  <c:v>1454</c:v>
                </c:pt>
                <c:pt idx="27526">
                  <c:v>23764</c:v>
                </c:pt>
                <c:pt idx="27527">
                  <c:v>16849</c:v>
                </c:pt>
                <c:pt idx="27528">
                  <c:v>15733</c:v>
                </c:pt>
                <c:pt idx="27529">
                  <c:v>22165</c:v>
                </c:pt>
                <c:pt idx="27530">
                  <c:v>21846</c:v>
                </c:pt>
                <c:pt idx="27531">
                  <c:v>14474</c:v>
                </c:pt>
                <c:pt idx="27532">
                  <c:v>21628</c:v>
                </c:pt>
                <c:pt idx="27533">
                  <c:v>15165</c:v>
                </c:pt>
                <c:pt idx="27534">
                  <c:v>19865</c:v>
                </c:pt>
                <c:pt idx="27535">
                  <c:v>21513</c:v>
                </c:pt>
                <c:pt idx="27536">
                  <c:v>9654</c:v>
                </c:pt>
                <c:pt idx="27537">
                  <c:v>9508</c:v>
                </c:pt>
                <c:pt idx="27538">
                  <c:v>13304</c:v>
                </c:pt>
                <c:pt idx="27539">
                  <c:v>14692</c:v>
                </c:pt>
                <c:pt idx="27540">
                  <c:v>8349</c:v>
                </c:pt>
                <c:pt idx="27541">
                  <c:v>11441</c:v>
                </c:pt>
                <c:pt idx="27542">
                  <c:v>11222</c:v>
                </c:pt>
                <c:pt idx="27543">
                  <c:v>7298</c:v>
                </c:pt>
                <c:pt idx="27544">
                  <c:v>10512</c:v>
                </c:pt>
                <c:pt idx="27545">
                  <c:v>6008</c:v>
                </c:pt>
                <c:pt idx="27546">
                  <c:v>5707</c:v>
                </c:pt>
                <c:pt idx="27547">
                  <c:v>6486</c:v>
                </c:pt>
                <c:pt idx="27548">
                  <c:v>4545</c:v>
                </c:pt>
                <c:pt idx="27549">
                  <c:v>2009</c:v>
                </c:pt>
                <c:pt idx="27550">
                  <c:v>15274</c:v>
                </c:pt>
                <c:pt idx="27551">
                  <c:v>13187</c:v>
                </c:pt>
                <c:pt idx="27552">
                  <c:v>20914</c:v>
                </c:pt>
                <c:pt idx="27553">
                  <c:v>8484</c:v>
                </c:pt>
                <c:pt idx="27554">
                  <c:v>30019</c:v>
                </c:pt>
                <c:pt idx="27555">
                  <c:v>21937</c:v>
                </c:pt>
                <c:pt idx="27556">
                  <c:v>15234</c:v>
                </c:pt>
                <c:pt idx="27557">
                  <c:v>6252</c:v>
                </c:pt>
                <c:pt idx="27558">
                  <c:v>661</c:v>
                </c:pt>
                <c:pt idx="27559">
                  <c:v>697</c:v>
                </c:pt>
                <c:pt idx="27560">
                  <c:v>4594</c:v>
                </c:pt>
                <c:pt idx="27561">
                  <c:v>24197</c:v>
                </c:pt>
                <c:pt idx="27562">
                  <c:v>160</c:v>
                </c:pt>
                <c:pt idx="27563">
                  <c:v>4540</c:v>
                </c:pt>
                <c:pt idx="27564">
                  <c:v>4884</c:v>
                </c:pt>
                <c:pt idx="27565">
                  <c:v>620</c:v>
                </c:pt>
                <c:pt idx="27566">
                  <c:v>549</c:v>
                </c:pt>
                <c:pt idx="27567">
                  <c:v>244</c:v>
                </c:pt>
                <c:pt idx="27568">
                  <c:v>3858</c:v>
                </c:pt>
                <c:pt idx="27569">
                  <c:v>173</c:v>
                </c:pt>
                <c:pt idx="27570">
                  <c:v>15816</c:v>
                </c:pt>
                <c:pt idx="27571">
                  <c:v>8709</c:v>
                </c:pt>
                <c:pt idx="27572">
                  <c:v>340</c:v>
                </c:pt>
                <c:pt idx="27573">
                  <c:v>12063</c:v>
                </c:pt>
                <c:pt idx="27574">
                  <c:v>8805</c:v>
                </c:pt>
                <c:pt idx="27575">
                  <c:v>1645</c:v>
                </c:pt>
                <c:pt idx="27576">
                  <c:v>18295</c:v>
                </c:pt>
                <c:pt idx="27577">
                  <c:v>18313</c:v>
                </c:pt>
                <c:pt idx="27578">
                  <c:v>567</c:v>
                </c:pt>
                <c:pt idx="27579">
                  <c:v>7998</c:v>
                </c:pt>
                <c:pt idx="27580">
                  <c:v>193</c:v>
                </c:pt>
                <c:pt idx="27581">
                  <c:v>6352</c:v>
                </c:pt>
                <c:pt idx="27582">
                  <c:v>346</c:v>
                </c:pt>
                <c:pt idx="27583">
                  <c:v>168</c:v>
                </c:pt>
                <c:pt idx="27584">
                  <c:v>822</c:v>
                </c:pt>
                <c:pt idx="27585">
                  <c:v>872</c:v>
                </c:pt>
                <c:pt idx="27586">
                  <c:v>12590</c:v>
                </c:pt>
                <c:pt idx="27587">
                  <c:v>2267</c:v>
                </c:pt>
                <c:pt idx="27588">
                  <c:v>4007</c:v>
                </c:pt>
                <c:pt idx="27589">
                  <c:v>4583</c:v>
                </c:pt>
                <c:pt idx="27590">
                  <c:v>280</c:v>
                </c:pt>
                <c:pt idx="27591">
                  <c:v>26257</c:v>
                </c:pt>
                <c:pt idx="27592">
                  <c:v>4587</c:v>
                </c:pt>
                <c:pt idx="27593">
                  <c:v>4156</c:v>
                </c:pt>
                <c:pt idx="27594">
                  <c:v>383</c:v>
                </c:pt>
                <c:pt idx="27595">
                  <c:v>3100</c:v>
                </c:pt>
                <c:pt idx="27596">
                  <c:v>2974</c:v>
                </c:pt>
                <c:pt idx="27597">
                  <c:v>30636</c:v>
                </c:pt>
                <c:pt idx="27598">
                  <c:v>277</c:v>
                </c:pt>
                <c:pt idx="27599">
                  <c:v>25968</c:v>
                </c:pt>
                <c:pt idx="27600">
                  <c:v>12526</c:v>
                </c:pt>
                <c:pt idx="27601">
                  <c:v>5036</c:v>
                </c:pt>
                <c:pt idx="27602">
                  <c:v>39452</c:v>
                </c:pt>
                <c:pt idx="27603">
                  <c:v>24535</c:v>
                </c:pt>
                <c:pt idx="27604">
                  <c:v>487</c:v>
                </c:pt>
                <c:pt idx="27605">
                  <c:v>393</c:v>
                </c:pt>
                <c:pt idx="27606">
                  <c:v>326</c:v>
                </c:pt>
                <c:pt idx="27607">
                  <c:v>1977</c:v>
                </c:pt>
                <c:pt idx="27608">
                  <c:v>3201</c:v>
                </c:pt>
                <c:pt idx="27609">
                  <c:v>21851</c:v>
                </c:pt>
                <c:pt idx="27610">
                  <c:v>33746</c:v>
                </c:pt>
                <c:pt idx="27611">
                  <c:v>13371</c:v>
                </c:pt>
                <c:pt idx="27612">
                  <c:v>24724</c:v>
                </c:pt>
                <c:pt idx="27613">
                  <c:v>19459</c:v>
                </c:pt>
                <c:pt idx="27614">
                  <c:v>3625</c:v>
                </c:pt>
                <c:pt idx="27615">
                  <c:v>4106</c:v>
                </c:pt>
                <c:pt idx="27616">
                  <c:v>7801</c:v>
                </c:pt>
                <c:pt idx="27617">
                  <c:v>5554</c:v>
                </c:pt>
                <c:pt idx="27618">
                  <c:v>339</c:v>
                </c:pt>
                <c:pt idx="27619">
                  <c:v>37500</c:v>
                </c:pt>
                <c:pt idx="27620">
                  <c:v>10946</c:v>
                </c:pt>
                <c:pt idx="27621">
                  <c:v>28108</c:v>
                </c:pt>
                <c:pt idx="27622">
                  <c:v>31671</c:v>
                </c:pt>
                <c:pt idx="27623">
                  <c:v>1438</c:v>
                </c:pt>
                <c:pt idx="27624">
                  <c:v>24484</c:v>
                </c:pt>
                <c:pt idx="27625">
                  <c:v>15174</c:v>
                </c:pt>
                <c:pt idx="27626">
                  <c:v>16146</c:v>
                </c:pt>
                <c:pt idx="27627">
                  <c:v>4776</c:v>
                </c:pt>
                <c:pt idx="27628">
                  <c:v>17339</c:v>
                </c:pt>
                <c:pt idx="27629">
                  <c:v>18392</c:v>
                </c:pt>
                <c:pt idx="27630">
                  <c:v>25295</c:v>
                </c:pt>
                <c:pt idx="27631">
                  <c:v>36436</c:v>
                </c:pt>
                <c:pt idx="27632">
                  <c:v>27165</c:v>
                </c:pt>
                <c:pt idx="27633">
                  <c:v>26984</c:v>
                </c:pt>
                <c:pt idx="27634">
                  <c:v>21531</c:v>
                </c:pt>
                <c:pt idx="27635">
                  <c:v>31390</c:v>
                </c:pt>
                <c:pt idx="27636">
                  <c:v>20049</c:v>
                </c:pt>
                <c:pt idx="27637">
                  <c:v>19186</c:v>
                </c:pt>
                <c:pt idx="27638">
                  <c:v>6769</c:v>
                </c:pt>
                <c:pt idx="27639">
                  <c:v>16874</c:v>
                </c:pt>
                <c:pt idx="27640">
                  <c:v>21926</c:v>
                </c:pt>
                <c:pt idx="27641">
                  <c:v>13619</c:v>
                </c:pt>
                <c:pt idx="27642">
                  <c:v>21029</c:v>
                </c:pt>
                <c:pt idx="27643">
                  <c:v>9596</c:v>
                </c:pt>
                <c:pt idx="27644">
                  <c:v>25327</c:v>
                </c:pt>
                <c:pt idx="27645">
                  <c:v>10251</c:v>
                </c:pt>
                <c:pt idx="27646">
                  <c:v>3313</c:v>
                </c:pt>
                <c:pt idx="27647">
                  <c:v>23164</c:v>
                </c:pt>
                <c:pt idx="27648">
                  <c:v>1650</c:v>
                </c:pt>
                <c:pt idx="27649">
                  <c:v>6328</c:v>
                </c:pt>
                <c:pt idx="27650">
                  <c:v>12942</c:v>
                </c:pt>
                <c:pt idx="27651">
                  <c:v>15500</c:v>
                </c:pt>
                <c:pt idx="27652">
                  <c:v>26378</c:v>
                </c:pt>
                <c:pt idx="27653">
                  <c:v>21316</c:v>
                </c:pt>
                <c:pt idx="27654">
                  <c:v>18510</c:v>
                </c:pt>
                <c:pt idx="27655">
                  <c:v>14462</c:v>
                </c:pt>
                <c:pt idx="27656">
                  <c:v>11877</c:v>
                </c:pt>
                <c:pt idx="27657">
                  <c:v>8607</c:v>
                </c:pt>
                <c:pt idx="27658">
                  <c:v>13768</c:v>
                </c:pt>
                <c:pt idx="27659">
                  <c:v>3585</c:v>
                </c:pt>
                <c:pt idx="27660">
                  <c:v>1594</c:v>
                </c:pt>
                <c:pt idx="27661">
                  <c:v>988</c:v>
                </c:pt>
                <c:pt idx="27662">
                  <c:v>331</c:v>
                </c:pt>
                <c:pt idx="27663">
                  <c:v>322</c:v>
                </c:pt>
                <c:pt idx="27664">
                  <c:v>1814</c:v>
                </c:pt>
                <c:pt idx="27665">
                  <c:v>1398</c:v>
                </c:pt>
                <c:pt idx="27666">
                  <c:v>117</c:v>
                </c:pt>
                <c:pt idx="27667">
                  <c:v>1978</c:v>
                </c:pt>
                <c:pt idx="27668">
                  <c:v>1672</c:v>
                </c:pt>
                <c:pt idx="27669">
                  <c:v>20074</c:v>
                </c:pt>
                <c:pt idx="27670">
                  <c:v>12587</c:v>
                </c:pt>
                <c:pt idx="27671">
                  <c:v>916</c:v>
                </c:pt>
                <c:pt idx="27672">
                  <c:v>259</c:v>
                </c:pt>
                <c:pt idx="27673">
                  <c:v>1329</c:v>
                </c:pt>
                <c:pt idx="27674">
                  <c:v>1352</c:v>
                </c:pt>
                <c:pt idx="27675">
                  <c:v>337</c:v>
                </c:pt>
                <c:pt idx="27676">
                  <c:v>5976</c:v>
                </c:pt>
                <c:pt idx="27677">
                  <c:v>545</c:v>
                </c:pt>
                <c:pt idx="27678">
                  <c:v>2073</c:v>
                </c:pt>
                <c:pt idx="27679">
                  <c:v>16300</c:v>
                </c:pt>
                <c:pt idx="27680">
                  <c:v>385</c:v>
                </c:pt>
                <c:pt idx="27681">
                  <c:v>5992</c:v>
                </c:pt>
                <c:pt idx="27682">
                  <c:v>294</c:v>
                </c:pt>
                <c:pt idx="27683">
                  <c:v>18587</c:v>
                </c:pt>
                <c:pt idx="27684">
                  <c:v>617</c:v>
                </c:pt>
                <c:pt idx="27685">
                  <c:v>807</c:v>
                </c:pt>
                <c:pt idx="27686">
                  <c:v>79</c:v>
                </c:pt>
                <c:pt idx="27687">
                  <c:v>525</c:v>
                </c:pt>
                <c:pt idx="27688">
                  <c:v>5681</c:v>
                </c:pt>
                <c:pt idx="27689">
                  <c:v>3564</c:v>
                </c:pt>
                <c:pt idx="27690">
                  <c:v>385</c:v>
                </c:pt>
                <c:pt idx="27691">
                  <c:v>230</c:v>
                </c:pt>
                <c:pt idx="27692">
                  <c:v>790</c:v>
                </c:pt>
                <c:pt idx="27693">
                  <c:v>4717</c:v>
                </c:pt>
                <c:pt idx="27694">
                  <c:v>1336</c:v>
                </c:pt>
                <c:pt idx="27695">
                  <c:v>3186</c:v>
                </c:pt>
                <c:pt idx="27696">
                  <c:v>615</c:v>
                </c:pt>
                <c:pt idx="27697">
                  <c:v>3351</c:v>
                </c:pt>
                <c:pt idx="27698">
                  <c:v>4284</c:v>
                </c:pt>
                <c:pt idx="27699">
                  <c:v>2460</c:v>
                </c:pt>
                <c:pt idx="27700">
                  <c:v>1212</c:v>
                </c:pt>
                <c:pt idx="27701">
                  <c:v>922</c:v>
                </c:pt>
                <c:pt idx="27702">
                  <c:v>11495</c:v>
                </c:pt>
                <c:pt idx="27703">
                  <c:v>983</c:v>
                </c:pt>
                <c:pt idx="27704">
                  <c:v>7000</c:v>
                </c:pt>
                <c:pt idx="27705">
                  <c:v>18919</c:v>
                </c:pt>
                <c:pt idx="27706">
                  <c:v>18202</c:v>
                </c:pt>
                <c:pt idx="27707">
                  <c:v>3579</c:v>
                </c:pt>
                <c:pt idx="27708">
                  <c:v>13298</c:v>
                </c:pt>
                <c:pt idx="27709">
                  <c:v>11358</c:v>
                </c:pt>
                <c:pt idx="27710">
                  <c:v>282</c:v>
                </c:pt>
                <c:pt idx="27711">
                  <c:v>488</c:v>
                </c:pt>
                <c:pt idx="27712">
                  <c:v>13511</c:v>
                </c:pt>
                <c:pt idx="27713">
                  <c:v>22653</c:v>
                </c:pt>
                <c:pt idx="27714">
                  <c:v>17266</c:v>
                </c:pt>
                <c:pt idx="27715">
                  <c:v>9783</c:v>
                </c:pt>
                <c:pt idx="27716">
                  <c:v>26628</c:v>
                </c:pt>
                <c:pt idx="27717">
                  <c:v>14682</c:v>
                </c:pt>
                <c:pt idx="27718">
                  <c:v>6085</c:v>
                </c:pt>
                <c:pt idx="27719">
                  <c:v>11757</c:v>
                </c:pt>
                <c:pt idx="27720">
                  <c:v>6135</c:v>
                </c:pt>
                <c:pt idx="27721">
                  <c:v>14802</c:v>
                </c:pt>
                <c:pt idx="27722">
                  <c:v>12807</c:v>
                </c:pt>
                <c:pt idx="27723">
                  <c:v>1232</c:v>
                </c:pt>
                <c:pt idx="27724">
                  <c:v>8591</c:v>
                </c:pt>
                <c:pt idx="27725">
                  <c:v>10353</c:v>
                </c:pt>
                <c:pt idx="27726">
                  <c:v>6842</c:v>
                </c:pt>
                <c:pt idx="27727">
                  <c:v>317</c:v>
                </c:pt>
                <c:pt idx="27728">
                  <c:v>10839</c:v>
                </c:pt>
                <c:pt idx="27729">
                  <c:v>926</c:v>
                </c:pt>
                <c:pt idx="27730">
                  <c:v>644</c:v>
                </c:pt>
                <c:pt idx="27731">
                  <c:v>24879</c:v>
                </c:pt>
                <c:pt idx="27732">
                  <c:v>16049</c:v>
                </c:pt>
                <c:pt idx="27733">
                  <c:v>1626</c:v>
                </c:pt>
                <c:pt idx="27734">
                  <c:v>18229</c:v>
                </c:pt>
                <c:pt idx="27735">
                  <c:v>16705</c:v>
                </c:pt>
                <c:pt idx="27736">
                  <c:v>1762</c:v>
                </c:pt>
                <c:pt idx="27737">
                  <c:v>3866</c:v>
                </c:pt>
                <c:pt idx="27738">
                  <c:v>427</c:v>
                </c:pt>
                <c:pt idx="27739">
                  <c:v>4756</c:v>
                </c:pt>
                <c:pt idx="27740">
                  <c:v>1147</c:v>
                </c:pt>
                <c:pt idx="27741">
                  <c:v>9297</c:v>
                </c:pt>
                <c:pt idx="27742">
                  <c:v>19662</c:v>
                </c:pt>
                <c:pt idx="27743">
                  <c:v>22507</c:v>
                </c:pt>
                <c:pt idx="27744">
                  <c:v>18904</c:v>
                </c:pt>
                <c:pt idx="27745">
                  <c:v>11165</c:v>
                </c:pt>
                <c:pt idx="27746">
                  <c:v>21317</c:v>
                </c:pt>
                <c:pt idx="27747">
                  <c:v>10565</c:v>
                </c:pt>
                <c:pt idx="27748">
                  <c:v>473</c:v>
                </c:pt>
                <c:pt idx="27749">
                  <c:v>564</c:v>
                </c:pt>
                <c:pt idx="27750">
                  <c:v>783</c:v>
                </c:pt>
                <c:pt idx="27751">
                  <c:v>5029</c:v>
                </c:pt>
                <c:pt idx="27752">
                  <c:v>1114</c:v>
                </c:pt>
                <c:pt idx="27753">
                  <c:v>5793</c:v>
                </c:pt>
                <c:pt idx="27754">
                  <c:v>624</c:v>
                </c:pt>
                <c:pt idx="27755">
                  <c:v>361</c:v>
                </c:pt>
                <c:pt idx="27756">
                  <c:v>933</c:v>
                </c:pt>
                <c:pt idx="27757">
                  <c:v>371</c:v>
                </c:pt>
                <c:pt idx="27758">
                  <c:v>3379</c:v>
                </c:pt>
                <c:pt idx="27759">
                  <c:v>6210</c:v>
                </c:pt>
                <c:pt idx="27760">
                  <c:v>239</c:v>
                </c:pt>
                <c:pt idx="27761">
                  <c:v>943</c:v>
                </c:pt>
                <c:pt idx="27762">
                  <c:v>1265</c:v>
                </c:pt>
                <c:pt idx="27763">
                  <c:v>802</c:v>
                </c:pt>
                <c:pt idx="27764">
                  <c:v>2327</c:v>
                </c:pt>
                <c:pt idx="27765">
                  <c:v>8037</c:v>
                </c:pt>
                <c:pt idx="27766">
                  <c:v>647</c:v>
                </c:pt>
                <c:pt idx="27767">
                  <c:v>119</c:v>
                </c:pt>
                <c:pt idx="27768">
                  <c:v>4962</c:v>
                </c:pt>
                <c:pt idx="27769">
                  <c:v>889</c:v>
                </c:pt>
                <c:pt idx="27770">
                  <c:v>4293</c:v>
                </c:pt>
                <c:pt idx="27771">
                  <c:v>631</c:v>
                </c:pt>
                <c:pt idx="27772">
                  <c:v>227</c:v>
                </c:pt>
                <c:pt idx="27773">
                  <c:v>1151</c:v>
                </c:pt>
                <c:pt idx="27774">
                  <c:v>1117</c:v>
                </c:pt>
                <c:pt idx="27775">
                  <c:v>386</c:v>
                </c:pt>
                <c:pt idx="27776">
                  <c:v>1115</c:v>
                </c:pt>
                <c:pt idx="27777">
                  <c:v>1521</c:v>
                </c:pt>
                <c:pt idx="27778">
                  <c:v>525</c:v>
                </c:pt>
                <c:pt idx="27779">
                  <c:v>731</c:v>
                </c:pt>
                <c:pt idx="27780">
                  <c:v>676</c:v>
                </c:pt>
                <c:pt idx="27781">
                  <c:v>547</c:v>
                </c:pt>
                <c:pt idx="27782">
                  <c:v>2302</c:v>
                </c:pt>
                <c:pt idx="27783">
                  <c:v>637</c:v>
                </c:pt>
                <c:pt idx="27784">
                  <c:v>622</c:v>
                </c:pt>
                <c:pt idx="27785">
                  <c:v>2750</c:v>
                </c:pt>
                <c:pt idx="27786">
                  <c:v>303</c:v>
                </c:pt>
                <c:pt idx="27787">
                  <c:v>14995</c:v>
                </c:pt>
                <c:pt idx="27788">
                  <c:v>36</c:v>
                </c:pt>
                <c:pt idx="27789">
                  <c:v>16941</c:v>
                </c:pt>
                <c:pt idx="27790">
                  <c:v>14177</c:v>
                </c:pt>
                <c:pt idx="27791">
                  <c:v>1468</c:v>
                </c:pt>
                <c:pt idx="27792">
                  <c:v>5442</c:v>
                </c:pt>
                <c:pt idx="27793">
                  <c:v>15181</c:v>
                </c:pt>
                <c:pt idx="27794">
                  <c:v>301</c:v>
                </c:pt>
                <c:pt idx="27795">
                  <c:v>10372</c:v>
                </c:pt>
                <c:pt idx="27796">
                  <c:v>9712</c:v>
                </c:pt>
                <c:pt idx="27797">
                  <c:v>7693</c:v>
                </c:pt>
                <c:pt idx="27798">
                  <c:v>10468</c:v>
                </c:pt>
                <c:pt idx="27799">
                  <c:v>740</c:v>
                </c:pt>
                <c:pt idx="27800">
                  <c:v>609</c:v>
                </c:pt>
                <c:pt idx="27801">
                  <c:v>189</c:v>
                </c:pt>
                <c:pt idx="27802">
                  <c:v>128</c:v>
                </c:pt>
                <c:pt idx="27803">
                  <c:v>527</c:v>
                </c:pt>
                <c:pt idx="27804">
                  <c:v>7246</c:v>
                </c:pt>
                <c:pt idx="27805">
                  <c:v>1164</c:v>
                </c:pt>
                <c:pt idx="27806">
                  <c:v>318</c:v>
                </c:pt>
                <c:pt idx="27807">
                  <c:v>6381</c:v>
                </c:pt>
                <c:pt idx="27808">
                  <c:v>1130</c:v>
                </c:pt>
                <c:pt idx="27809">
                  <c:v>86</c:v>
                </c:pt>
                <c:pt idx="27810">
                  <c:v>869</c:v>
                </c:pt>
                <c:pt idx="27811">
                  <c:v>447</c:v>
                </c:pt>
                <c:pt idx="27812">
                  <c:v>252</c:v>
                </c:pt>
                <c:pt idx="27813">
                  <c:v>512</c:v>
                </c:pt>
                <c:pt idx="27814">
                  <c:v>925</c:v>
                </c:pt>
                <c:pt idx="27815">
                  <c:v>49</c:v>
                </c:pt>
                <c:pt idx="27816">
                  <c:v>124</c:v>
                </c:pt>
                <c:pt idx="27817">
                  <c:v>226</c:v>
                </c:pt>
                <c:pt idx="27818">
                  <c:v>115</c:v>
                </c:pt>
                <c:pt idx="27819">
                  <c:v>572</c:v>
                </c:pt>
                <c:pt idx="27820">
                  <c:v>1413</c:v>
                </c:pt>
                <c:pt idx="27821">
                  <c:v>475</c:v>
                </c:pt>
                <c:pt idx="27822">
                  <c:v>237</c:v>
                </c:pt>
                <c:pt idx="27823">
                  <c:v>289</c:v>
                </c:pt>
                <c:pt idx="27824">
                  <c:v>1042</c:v>
                </c:pt>
                <c:pt idx="27825">
                  <c:v>56</c:v>
                </c:pt>
                <c:pt idx="27826">
                  <c:v>126</c:v>
                </c:pt>
                <c:pt idx="27827">
                  <c:v>1074</c:v>
                </c:pt>
                <c:pt idx="27828">
                  <c:v>516</c:v>
                </c:pt>
                <c:pt idx="27829">
                  <c:v>148</c:v>
                </c:pt>
                <c:pt idx="27830">
                  <c:v>479</c:v>
                </c:pt>
                <c:pt idx="27831">
                  <c:v>161</c:v>
                </c:pt>
                <c:pt idx="27832">
                  <c:v>7956</c:v>
                </c:pt>
                <c:pt idx="27833">
                  <c:v>12021</c:v>
                </c:pt>
                <c:pt idx="27834">
                  <c:v>6012</c:v>
                </c:pt>
                <c:pt idx="27835">
                  <c:v>78</c:v>
                </c:pt>
                <c:pt idx="27836">
                  <c:v>28799</c:v>
                </c:pt>
                <c:pt idx="27837">
                  <c:v>22373</c:v>
                </c:pt>
                <c:pt idx="27838">
                  <c:v>739</c:v>
                </c:pt>
                <c:pt idx="27839">
                  <c:v>2039</c:v>
                </c:pt>
                <c:pt idx="27840">
                  <c:v>456</c:v>
                </c:pt>
                <c:pt idx="27841">
                  <c:v>21994</c:v>
                </c:pt>
                <c:pt idx="27842">
                  <c:v>12460</c:v>
                </c:pt>
                <c:pt idx="27843">
                  <c:v>2455</c:v>
                </c:pt>
                <c:pt idx="27844">
                  <c:v>10803</c:v>
                </c:pt>
                <c:pt idx="27845">
                  <c:v>20174</c:v>
                </c:pt>
                <c:pt idx="27846">
                  <c:v>1777</c:v>
                </c:pt>
                <c:pt idx="27847">
                  <c:v>31515</c:v>
                </c:pt>
                <c:pt idx="27848">
                  <c:v>2871</c:v>
                </c:pt>
                <c:pt idx="27849">
                  <c:v>1968</c:v>
                </c:pt>
                <c:pt idx="27850">
                  <c:v>20641</c:v>
                </c:pt>
                <c:pt idx="27851">
                  <c:v>380</c:v>
                </c:pt>
                <c:pt idx="27852">
                  <c:v>35669</c:v>
                </c:pt>
                <c:pt idx="27853">
                  <c:v>2410</c:v>
                </c:pt>
                <c:pt idx="27854">
                  <c:v>13773</c:v>
                </c:pt>
                <c:pt idx="27855">
                  <c:v>1127</c:v>
                </c:pt>
                <c:pt idx="27856">
                  <c:v>1023</c:v>
                </c:pt>
                <c:pt idx="27857">
                  <c:v>415</c:v>
                </c:pt>
                <c:pt idx="27858">
                  <c:v>488</c:v>
                </c:pt>
                <c:pt idx="27859">
                  <c:v>923</c:v>
                </c:pt>
                <c:pt idx="27860">
                  <c:v>4621</c:v>
                </c:pt>
                <c:pt idx="27861">
                  <c:v>653</c:v>
                </c:pt>
                <c:pt idx="27862">
                  <c:v>2765</c:v>
                </c:pt>
                <c:pt idx="27863">
                  <c:v>398</c:v>
                </c:pt>
                <c:pt idx="27864">
                  <c:v>21944</c:v>
                </c:pt>
                <c:pt idx="27865">
                  <c:v>6561</c:v>
                </c:pt>
                <c:pt idx="27866">
                  <c:v>286</c:v>
                </c:pt>
                <c:pt idx="27867">
                  <c:v>112</c:v>
                </c:pt>
                <c:pt idx="27868">
                  <c:v>2190</c:v>
                </c:pt>
                <c:pt idx="27869">
                  <c:v>2622</c:v>
                </c:pt>
                <c:pt idx="27870">
                  <c:v>327</c:v>
                </c:pt>
                <c:pt idx="27871">
                  <c:v>14489</c:v>
                </c:pt>
                <c:pt idx="27872">
                  <c:v>14977</c:v>
                </c:pt>
                <c:pt idx="27873">
                  <c:v>15922</c:v>
                </c:pt>
                <c:pt idx="27874">
                  <c:v>1312</c:v>
                </c:pt>
                <c:pt idx="27875">
                  <c:v>429</c:v>
                </c:pt>
                <c:pt idx="27876">
                  <c:v>1692</c:v>
                </c:pt>
                <c:pt idx="27877">
                  <c:v>1993</c:v>
                </c:pt>
                <c:pt idx="27878">
                  <c:v>15441</c:v>
                </c:pt>
                <c:pt idx="27879">
                  <c:v>194</c:v>
                </c:pt>
                <c:pt idx="27880">
                  <c:v>964</c:v>
                </c:pt>
                <c:pt idx="27881">
                  <c:v>27112</c:v>
                </c:pt>
                <c:pt idx="27882">
                  <c:v>2427</c:v>
                </c:pt>
                <c:pt idx="27883">
                  <c:v>7180</c:v>
                </c:pt>
                <c:pt idx="27884">
                  <c:v>357</c:v>
                </c:pt>
                <c:pt idx="27885">
                  <c:v>13416</c:v>
                </c:pt>
                <c:pt idx="27886">
                  <c:v>23938</c:v>
                </c:pt>
                <c:pt idx="27887">
                  <c:v>519</c:v>
                </c:pt>
                <c:pt idx="27888">
                  <c:v>13207</c:v>
                </c:pt>
                <c:pt idx="27889">
                  <c:v>2877</c:v>
                </c:pt>
                <c:pt idx="27890">
                  <c:v>1262</c:v>
                </c:pt>
                <c:pt idx="27891">
                  <c:v>1619</c:v>
                </c:pt>
                <c:pt idx="27892">
                  <c:v>417</c:v>
                </c:pt>
                <c:pt idx="27893">
                  <c:v>30705</c:v>
                </c:pt>
                <c:pt idx="27894">
                  <c:v>19199</c:v>
                </c:pt>
                <c:pt idx="27895">
                  <c:v>533</c:v>
                </c:pt>
                <c:pt idx="27896">
                  <c:v>957</c:v>
                </c:pt>
                <c:pt idx="27897">
                  <c:v>18870</c:v>
                </c:pt>
                <c:pt idx="27898">
                  <c:v>2323</c:v>
                </c:pt>
                <c:pt idx="27899">
                  <c:v>2908</c:v>
                </c:pt>
                <c:pt idx="27900">
                  <c:v>5004</c:v>
                </c:pt>
                <c:pt idx="27901">
                  <c:v>19387</c:v>
                </c:pt>
                <c:pt idx="27902">
                  <c:v>543</c:v>
                </c:pt>
                <c:pt idx="27903">
                  <c:v>1077</c:v>
                </c:pt>
                <c:pt idx="27904">
                  <c:v>2804</c:v>
                </c:pt>
                <c:pt idx="27905">
                  <c:v>4238</c:v>
                </c:pt>
                <c:pt idx="27906">
                  <c:v>142</c:v>
                </c:pt>
                <c:pt idx="27907">
                  <c:v>56</c:v>
                </c:pt>
                <c:pt idx="27908">
                  <c:v>1962</c:v>
                </c:pt>
                <c:pt idx="27909">
                  <c:v>3211</c:v>
                </c:pt>
                <c:pt idx="27910">
                  <c:v>183</c:v>
                </c:pt>
                <c:pt idx="27911">
                  <c:v>6557</c:v>
                </c:pt>
                <c:pt idx="27912">
                  <c:v>9834</c:v>
                </c:pt>
                <c:pt idx="27913">
                  <c:v>32981</c:v>
                </c:pt>
                <c:pt idx="27914">
                  <c:v>22821</c:v>
                </c:pt>
                <c:pt idx="27915">
                  <c:v>29775</c:v>
                </c:pt>
                <c:pt idx="27916">
                  <c:v>20079</c:v>
                </c:pt>
                <c:pt idx="27917">
                  <c:v>19341</c:v>
                </c:pt>
                <c:pt idx="27918">
                  <c:v>12160</c:v>
                </c:pt>
                <c:pt idx="27919">
                  <c:v>5167</c:v>
                </c:pt>
                <c:pt idx="27920">
                  <c:v>5697</c:v>
                </c:pt>
                <c:pt idx="27921">
                  <c:v>10724</c:v>
                </c:pt>
                <c:pt idx="27922">
                  <c:v>11946</c:v>
                </c:pt>
                <c:pt idx="27923">
                  <c:v>6904</c:v>
                </c:pt>
                <c:pt idx="27924">
                  <c:v>11861</c:v>
                </c:pt>
                <c:pt idx="27925">
                  <c:v>10145</c:v>
                </c:pt>
                <c:pt idx="27926">
                  <c:v>17059</c:v>
                </c:pt>
                <c:pt idx="27927">
                  <c:v>16393</c:v>
                </c:pt>
                <c:pt idx="27928">
                  <c:v>20006</c:v>
                </c:pt>
                <c:pt idx="27929">
                  <c:v>32668</c:v>
                </c:pt>
                <c:pt idx="27930">
                  <c:v>11945</c:v>
                </c:pt>
                <c:pt idx="27931">
                  <c:v>16983</c:v>
                </c:pt>
                <c:pt idx="27932">
                  <c:v>20550</c:v>
                </c:pt>
                <c:pt idx="27933">
                  <c:v>9632</c:v>
                </c:pt>
                <c:pt idx="27934">
                  <c:v>25296</c:v>
                </c:pt>
                <c:pt idx="27935">
                  <c:v>13454</c:v>
                </c:pt>
                <c:pt idx="27936">
                  <c:v>302</c:v>
                </c:pt>
                <c:pt idx="27937">
                  <c:v>20611</c:v>
                </c:pt>
                <c:pt idx="27938">
                  <c:v>4965</c:v>
                </c:pt>
                <c:pt idx="27939">
                  <c:v>20901</c:v>
                </c:pt>
                <c:pt idx="27940">
                  <c:v>16502</c:v>
                </c:pt>
                <c:pt idx="27941">
                  <c:v>20799</c:v>
                </c:pt>
                <c:pt idx="27942">
                  <c:v>134</c:v>
                </c:pt>
                <c:pt idx="27943">
                  <c:v>16451</c:v>
                </c:pt>
                <c:pt idx="27944">
                  <c:v>10384</c:v>
                </c:pt>
                <c:pt idx="27945">
                  <c:v>14043</c:v>
                </c:pt>
                <c:pt idx="27946">
                  <c:v>22073</c:v>
                </c:pt>
                <c:pt idx="27947">
                  <c:v>11428</c:v>
                </c:pt>
                <c:pt idx="27948">
                  <c:v>13908</c:v>
                </c:pt>
                <c:pt idx="27949">
                  <c:v>2333</c:v>
                </c:pt>
                <c:pt idx="27950">
                  <c:v>75</c:v>
                </c:pt>
                <c:pt idx="27951">
                  <c:v>96</c:v>
                </c:pt>
                <c:pt idx="27952">
                  <c:v>276</c:v>
                </c:pt>
                <c:pt idx="27953">
                  <c:v>1579</c:v>
                </c:pt>
                <c:pt idx="27954">
                  <c:v>539</c:v>
                </c:pt>
                <c:pt idx="27955">
                  <c:v>228</c:v>
                </c:pt>
                <c:pt idx="27956">
                  <c:v>21193</c:v>
                </c:pt>
                <c:pt idx="27957">
                  <c:v>18362</c:v>
                </c:pt>
                <c:pt idx="27958">
                  <c:v>3183</c:v>
                </c:pt>
                <c:pt idx="27959">
                  <c:v>1698</c:v>
                </c:pt>
                <c:pt idx="27960">
                  <c:v>198</c:v>
                </c:pt>
                <c:pt idx="27961">
                  <c:v>1169</c:v>
                </c:pt>
                <c:pt idx="27962">
                  <c:v>284</c:v>
                </c:pt>
                <c:pt idx="27963">
                  <c:v>11718</c:v>
                </c:pt>
                <c:pt idx="27964">
                  <c:v>3400</c:v>
                </c:pt>
                <c:pt idx="27965">
                  <c:v>707</c:v>
                </c:pt>
                <c:pt idx="27966">
                  <c:v>4781</c:v>
                </c:pt>
                <c:pt idx="27967">
                  <c:v>9726</c:v>
                </c:pt>
                <c:pt idx="27968">
                  <c:v>1140</c:v>
                </c:pt>
                <c:pt idx="27969">
                  <c:v>4522</c:v>
                </c:pt>
                <c:pt idx="27970">
                  <c:v>3929</c:v>
                </c:pt>
                <c:pt idx="27971">
                  <c:v>532</c:v>
                </c:pt>
                <c:pt idx="27972">
                  <c:v>368</c:v>
                </c:pt>
                <c:pt idx="27973">
                  <c:v>8451</c:v>
                </c:pt>
                <c:pt idx="27974">
                  <c:v>328</c:v>
                </c:pt>
                <c:pt idx="27975">
                  <c:v>12969</c:v>
                </c:pt>
                <c:pt idx="27976">
                  <c:v>403</c:v>
                </c:pt>
                <c:pt idx="27977">
                  <c:v>7051</c:v>
                </c:pt>
                <c:pt idx="27978">
                  <c:v>7259</c:v>
                </c:pt>
                <c:pt idx="27979">
                  <c:v>10138</c:v>
                </c:pt>
                <c:pt idx="27980">
                  <c:v>522</c:v>
                </c:pt>
                <c:pt idx="27981">
                  <c:v>2799</c:v>
                </c:pt>
                <c:pt idx="27982">
                  <c:v>165</c:v>
                </c:pt>
                <c:pt idx="27983">
                  <c:v>2870</c:v>
                </c:pt>
                <c:pt idx="27984">
                  <c:v>19010</c:v>
                </c:pt>
                <c:pt idx="27985">
                  <c:v>575</c:v>
                </c:pt>
                <c:pt idx="27986">
                  <c:v>662</c:v>
                </c:pt>
                <c:pt idx="27987">
                  <c:v>117</c:v>
                </c:pt>
                <c:pt idx="27988">
                  <c:v>1271</c:v>
                </c:pt>
                <c:pt idx="27989">
                  <c:v>2797</c:v>
                </c:pt>
                <c:pt idx="27990">
                  <c:v>3312</c:v>
                </c:pt>
                <c:pt idx="27991">
                  <c:v>17632</c:v>
                </c:pt>
                <c:pt idx="27992">
                  <c:v>16249</c:v>
                </c:pt>
                <c:pt idx="27993">
                  <c:v>14451</c:v>
                </c:pt>
                <c:pt idx="27994">
                  <c:v>14317</c:v>
                </c:pt>
                <c:pt idx="27995">
                  <c:v>19247</c:v>
                </c:pt>
                <c:pt idx="27996">
                  <c:v>230</c:v>
                </c:pt>
                <c:pt idx="27997">
                  <c:v>9299</c:v>
                </c:pt>
                <c:pt idx="27998">
                  <c:v>435</c:v>
                </c:pt>
                <c:pt idx="27999">
                  <c:v>112</c:v>
                </c:pt>
                <c:pt idx="28000">
                  <c:v>1396</c:v>
                </c:pt>
                <c:pt idx="28001">
                  <c:v>43</c:v>
                </c:pt>
                <c:pt idx="28002">
                  <c:v>3974</c:v>
                </c:pt>
                <c:pt idx="28003">
                  <c:v>1113</c:v>
                </c:pt>
                <c:pt idx="28004">
                  <c:v>6589</c:v>
                </c:pt>
                <c:pt idx="28005">
                  <c:v>5901</c:v>
                </c:pt>
                <c:pt idx="28006">
                  <c:v>451</c:v>
                </c:pt>
                <c:pt idx="28007">
                  <c:v>362</c:v>
                </c:pt>
                <c:pt idx="28008">
                  <c:v>844</c:v>
                </c:pt>
                <c:pt idx="28009">
                  <c:v>719</c:v>
                </c:pt>
                <c:pt idx="28010">
                  <c:v>628</c:v>
                </c:pt>
                <c:pt idx="28011">
                  <c:v>61</c:v>
                </c:pt>
                <c:pt idx="28012">
                  <c:v>922</c:v>
                </c:pt>
                <c:pt idx="28013">
                  <c:v>147</c:v>
                </c:pt>
                <c:pt idx="28014">
                  <c:v>118</c:v>
                </c:pt>
                <c:pt idx="28015">
                  <c:v>1338</c:v>
                </c:pt>
                <c:pt idx="28016">
                  <c:v>242</c:v>
                </c:pt>
                <c:pt idx="28017">
                  <c:v>258</c:v>
                </c:pt>
                <c:pt idx="28018">
                  <c:v>726</c:v>
                </c:pt>
                <c:pt idx="28019">
                  <c:v>419</c:v>
                </c:pt>
                <c:pt idx="28020">
                  <c:v>383</c:v>
                </c:pt>
                <c:pt idx="28021">
                  <c:v>519</c:v>
                </c:pt>
                <c:pt idx="28022">
                  <c:v>88</c:v>
                </c:pt>
                <c:pt idx="28023">
                  <c:v>351</c:v>
                </c:pt>
                <c:pt idx="28024">
                  <c:v>773</c:v>
                </c:pt>
                <c:pt idx="28025">
                  <c:v>90</c:v>
                </c:pt>
                <c:pt idx="28026">
                  <c:v>1547</c:v>
                </c:pt>
                <c:pt idx="28027">
                  <c:v>440</c:v>
                </c:pt>
                <c:pt idx="28028">
                  <c:v>364</c:v>
                </c:pt>
                <c:pt idx="28029">
                  <c:v>298</c:v>
                </c:pt>
                <c:pt idx="28030">
                  <c:v>514</c:v>
                </c:pt>
                <c:pt idx="28031">
                  <c:v>1601</c:v>
                </c:pt>
                <c:pt idx="28032">
                  <c:v>145</c:v>
                </c:pt>
                <c:pt idx="28033">
                  <c:v>3077</c:v>
                </c:pt>
                <c:pt idx="28034">
                  <c:v>329</c:v>
                </c:pt>
                <c:pt idx="28035">
                  <c:v>1942</c:v>
                </c:pt>
                <c:pt idx="28036">
                  <c:v>11885</c:v>
                </c:pt>
                <c:pt idx="28037">
                  <c:v>148</c:v>
                </c:pt>
                <c:pt idx="28038">
                  <c:v>50</c:v>
                </c:pt>
                <c:pt idx="28039">
                  <c:v>309</c:v>
                </c:pt>
                <c:pt idx="28040">
                  <c:v>1762</c:v>
                </c:pt>
                <c:pt idx="28041">
                  <c:v>180</c:v>
                </c:pt>
                <c:pt idx="28042">
                  <c:v>184</c:v>
                </c:pt>
                <c:pt idx="28043">
                  <c:v>148</c:v>
                </c:pt>
                <c:pt idx="28044">
                  <c:v>1891</c:v>
                </c:pt>
                <c:pt idx="28045">
                  <c:v>2413</c:v>
                </c:pt>
                <c:pt idx="28046">
                  <c:v>303</c:v>
                </c:pt>
                <c:pt idx="28047">
                  <c:v>3790</c:v>
                </c:pt>
                <c:pt idx="28048">
                  <c:v>1735</c:v>
                </c:pt>
                <c:pt idx="28049">
                  <c:v>474</c:v>
                </c:pt>
                <c:pt idx="28050">
                  <c:v>369</c:v>
                </c:pt>
                <c:pt idx="28051">
                  <c:v>118</c:v>
                </c:pt>
                <c:pt idx="28052">
                  <c:v>243</c:v>
                </c:pt>
                <c:pt idx="28053">
                  <c:v>443</c:v>
                </c:pt>
                <c:pt idx="28054">
                  <c:v>79</c:v>
                </c:pt>
                <c:pt idx="28055">
                  <c:v>1223</c:v>
                </c:pt>
                <c:pt idx="28056">
                  <c:v>593</c:v>
                </c:pt>
                <c:pt idx="28057">
                  <c:v>366</c:v>
                </c:pt>
                <c:pt idx="28058">
                  <c:v>1223</c:v>
                </c:pt>
                <c:pt idx="28059">
                  <c:v>161</c:v>
                </c:pt>
                <c:pt idx="28060">
                  <c:v>5207</c:v>
                </c:pt>
                <c:pt idx="28061">
                  <c:v>613</c:v>
                </c:pt>
                <c:pt idx="28062">
                  <c:v>850</c:v>
                </c:pt>
                <c:pt idx="28063">
                  <c:v>712</c:v>
                </c:pt>
                <c:pt idx="28064">
                  <c:v>304</c:v>
                </c:pt>
                <c:pt idx="28065">
                  <c:v>513</c:v>
                </c:pt>
                <c:pt idx="28066">
                  <c:v>2174</c:v>
                </c:pt>
                <c:pt idx="28067">
                  <c:v>1527</c:v>
                </c:pt>
                <c:pt idx="28068">
                  <c:v>707</c:v>
                </c:pt>
                <c:pt idx="28069">
                  <c:v>387</c:v>
                </c:pt>
                <c:pt idx="28070">
                  <c:v>16318</c:v>
                </c:pt>
                <c:pt idx="28071">
                  <c:v>10105</c:v>
                </c:pt>
                <c:pt idx="28072">
                  <c:v>20994</c:v>
                </c:pt>
                <c:pt idx="28073">
                  <c:v>1101</c:v>
                </c:pt>
                <c:pt idx="28074">
                  <c:v>4059</c:v>
                </c:pt>
                <c:pt idx="28075">
                  <c:v>1110</c:v>
                </c:pt>
                <c:pt idx="28076">
                  <c:v>40730</c:v>
                </c:pt>
                <c:pt idx="28077">
                  <c:v>24848</c:v>
                </c:pt>
                <c:pt idx="28078">
                  <c:v>5048</c:v>
                </c:pt>
                <c:pt idx="28079">
                  <c:v>3549</c:v>
                </c:pt>
                <c:pt idx="28080">
                  <c:v>427</c:v>
                </c:pt>
                <c:pt idx="28081">
                  <c:v>491</c:v>
                </c:pt>
                <c:pt idx="28082">
                  <c:v>1264</c:v>
                </c:pt>
                <c:pt idx="28083">
                  <c:v>2227</c:v>
                </c:pt>
                <c:pt idx="28084">
                  <c:v>536</c:v>
                </c:pt>
                <c:pt idx="28085">
                  <c:v>21372</c:v>
                </c:pt>
                <c:pt idx="28086">
                  <c:v>736</c:v>
                </c:pt>
                <c:pt idx="28087">
                  <c:v>1842</c:v>
                </c:pt>
                <c:pt idx="28088">
                  <c:v>1777</c:v>
                </c:pt>
                <c:pt idx="28089">
                  <c:v>216</c:v>
                </c:pt>
                <c:pt idx="28090">
                  <c:v>454</c:v>
                </c:pt>
                <c:pt idx="28091">
                  <c:v>770</c:v>
                </c:pt>
                <c:pt idx="28092">
                  <c:v>1288</c:v>
                </c:pt>
                <c:pt idx="28093">
                  <c:v>13707</c:v>
                </c:pt>
                <c:pt idx="28094">
                  <c:v>26592</c:v>
                </c:pt>
                <c:pt idx="28095">
                  <c:v>1057</c:v>
                </c:pt>
                <c:pt idx="28096">
                  <c:v>3602</c:v>
                </c:pt>
                <c:pt idx="28097">
                  <c:v>19743</c:v>
                </c:pt>
                <c:pt idx="28098">
                  <c:v>2676</c:v>
                </c:pt>
                <c:pt idx="28099">
                  <c:v>6212</c:v>
                </c:pt>
                <c:pt idx="28100">
                  <c:v>27438</c:v>
                </c:pt>
                <c:pt idx="28101">
                  <c:v>10579</c:v>
                </c:pt>
                <c:pt idx="28102">
                  <c:v>1343</c:v>
                </c:pt>
                <c:pt idx="28103">
                  <c:v>7857</c:v>
                </c:pt>
                <c:pt idx="28104">
                  <c:v>1690</c:v>
                </c:pt>
                <c:pt idx="28105">
                  <c:v>1371</c:v>
                </c:pt>
                <c:pt idx="28106">
                  <c:v>15007</c:v>
                </c:pt>
                <c:pt idx="28107">
                  <c:v>2122</c:v>
                </c:pt>
                <c:pt idx="28108">
                  <c:v>1486</c:v>
                </c:pt>
                <c:pt idx="28109">
                  <c:v>2563</c:v>
                </c:pt>
                <c:pt idx="28110">
                  <c:v>279</c:v>
                </c:pt>
                <c:pt idx="28111">
                  <c:v>1592</c:v>
                </c:pt>
                <c:pt idx="28112">
                  <c:v>12088</c:v>
                </c:pt>
                <c:pt idx="28113">
                  <c:v>3434</c:v>
                </c:pt>
                <c:pt idx="28114">
                  <c:v>1590</c:v>
                </c:pt>
                <c:pt idx="28115">
                  <c:v>225</c:v>
                </c:pt>
                <c:pt idx="28116">
                  <c:v>265</c:v>
                </c:pt>
                <c:pt idx="28117">
                  <c:v>8582</c:v>
                </c:pt>
                <c:pt idx="28118">
                  <c:v>9063</c:v>
                </c:pt>
                <c:pt idx="28119">
                  <c:v>119</c:v>
                </c:pt>
                <c:pt idx="28120">
                  <c:v>2252</c:v>
                </c:pt>
                <c:pt idx="28121">
                  <c:v>891</c:v>
                </c:pt>
                <c:pt idx="28122">
                  <c:v>60</c:v>
                </c:pt>
                <c:pt idx="28123">
                  <c:v>622</c:v>
                </c:pt>
                <c:pt idx="28124">
                  <c:v>832</c:v>
                </c:pt>
                <c:pt idx="28125">
                  <c:v>4848</c:v>
                </c:pt>
                <c:pt idx="28126">
                  <c:v>1417</c:v>
                </c:pt>
                <c:pt idx="28127">
                  <c:v>574</c:v>
                </c:pt>
                <c:pt idx="28128">
                  <c:v>18714</c:v>
                </c:pt>
                <c:pt idx="28129">
                  <c:v>731</c:v>
                </c:pt>
                <c:pt idx="28130">
                  <c:v>2160</c:v>
                </c:pt>
                <c:pt idx="28131">
                  <c:v>19336</c:v>
                </c:pt>
                <c:pt idx="28132">
                  <c:v>28676</c:v>
                </c:pt>
                <c:pt idx="28133">
                  <c:v>4154</c:v>
                </c:pt>
                <c:pt idx="28134">
                  <c:v>3403</c:v>
                </c:pt>
                <c:pt idx="28135">
                  <c:v>19502</c:v>
                </c:pt>
                <c:pt idx="28136">
                  <c:v>15263</c:v>
                </c:pt>
                <c:pt idx="28137">
                  <c:v>4397</c:v>
                </c:pt>
                <c:pt idx="28138">
                  <c:v>924</c:v>
                </c:pt>
                <c:pt idx="28139">
                  <c:v>37146</c:v>
                </c:pt>
                <c:pt idx="28140">
                  <c:v>14519</c:v>
                </c:pt>
                <c:pt idx="28141">
                  <c:v>13018</c:v>
                </c:pt>
                <c:pt idx="28142">
                  <c:v>14248</c:v>
                </c:pt>
                <c:pt idx="28143">
                  <c:v>26514</c:v>
                </c:pt>
                <c:pt idx="28144">
                  <c:v>24988</c:v>
                </c:pt>
                <c:pt idx="28145">
                  <c:v>29789</c:v>
                </c:pt>
                <c:pt idx="28146">
                  <c:v>23681</c:v>
                </c:pt>
                <c:pt idx="28147">
                  <c:v>9485</c:v>
                </c:pt>
                <c:pt idx="28148">
                  <c:v>25421</c:v>
                </c:pt>
                <c:pt idx="28149">
                  <c:v>14111</c:v>
                </c:pt>
                <c:pt idx="28150">
                  <c:v>16538</c:v>
                </c:pt>
                <c:pt idx="28151">
                  <c:v>2725</c:v>
                </c:pt>
                <c:pt idx="28152">
                  <c:v>15653</c:v>
                </c:pt>
                <c:pt idx="28153">
                  <c:v>1823</c:v>
                </c:pt>
                <c:pt idx="28154">
                  <c:v>14705</c:v>
                </c:pt>
                <c:pt idx="28155">
                  <c:v>24340</c:v>
                </c:pt>
                <c:pt idx="28156">
                  <c:v>25822</c:v>
                </c:pt>
                <c:pt idx="28157">
                  <c:v>16500</c:v>
                </c:pt>
                <c:pt idx="28158">
                  <c:v>4113</c:v>
                </c:pt>
                <c:pt idx="28159">
                  <c:v>414</c:v>
                </c:pt>
                <c:pt idx="28160">
                  <c:v>11739</c:v>
                </c:pt>
                <c:pt idx="28161">
                  <c:v>730</c:v>
                </c:pt>
                <c:pt idx="28162">
                  <c:v>11494</c:v>
                </c:pt>
                <c:pt idx="28163">
                  <c:v>2838</c:v>
                </c:pt>
                <c:pt idx="28164">
                  <c:v>1650</c:v>
                </c:pt>
                <c:pt idx="28165">
                  <c:v>755</c:v>
                </c:pt>
                <c:pt idx="28166">
                  <c:v>1524</c:v>
                </c:pt>
                <c:pt idx="28167">
                  <c:v>593</c:v>
                </c:pt>
                <c:pt idx="28168">
                  <c:v>589</c:v>
                </c:pt>
                <c:pt idx="28169">
                  <c:v>1795</c:v>
                </c:pt>
                <c:pt idx="28170">
                  <c:v>4411</c:v>
                </c:pt>
                <c:pt idx="28171">
                  <c:v>5764</c:v>
                </c:pt>
                <c:pt idx="28172">
                  <c:v>1800</c:v>
                </c:pt>
                <c:pt idx="28173">
                  <c:v>6190</c:v>
                </c:pt>
                <c:pt idx="28174">
                  <c:v>150</c:v>
                </c:pt>
                <c:pt idx="28175">
                  <c:v>18283</c:v>
                </c:pt>
                <c:pt idx="28176">
                  <c:v>10201</c:v>
                </c:pt>
                <c:pt idx="28177">
                  <c:v>2477</c:v>
                </c:pt>
                <c:pt idx="28178">
                  <c:v>9389</c:v>
                </c:pt>
                <c:pt idx="28179">
                  <c:v>12819</c:v>
                </c:pt>
                <c:pt idx="28180">
                  <c:v>343</c:v>
                </c:pt>
                <c:pt idx="28181">
                  <c:v>7619</c:v>
                </c:pt>
                <c:pt idx="28182">
                  <c:v>193</c:v>
                </c:pt>
                <c:pt idx="28183">
                  <c:v>845</c:v>
                </c:pt>
                <c:pt idx="28184">
                  <c:v>1383</c:v>
                </c:pt>
                <c:pt idx="28185">
                  <c:v>1263</c:v>
                </c:pt>
                <c:pt idx="28186">
                  <c:v>28006</c:v>
                </c:pt>
                <c:pt idx="28187">
                  <c:v>2723</c:v>
                </c:pt>
                <c:pt idx="28188">
                  <c:v>1116</c:v>
                </c:pt>
                <c:pt idx="28189">
                  <c:v>80</c:v>
                </c:pt>
                <c:pt idx="28190">
                  <c:v>7686</c:v>
                </c:pt>
                <c:pt idx="28191">
                  <c:v>1725</c:v>
                </c:pt>
                <c:pt idx="28192">
                  <c:v>632</c:v>
                </c:pt>
                <c:pt idx="28193">
                  <c:v>9095</c:v>
                </c:pt>
                <c:pt idx="28194">
                  <c:v>5706</c:v>
                </c:pt>
                <c:pt idx="28195">
                  <c:v>9160</c:v>
                </c:pt>
                <c:pt idx="28196">
                  <c:v>11026</c:v>
                </c:pt>
                <c:pt idx="28197">
                  <c:v>15035</c:v>
                </c:pt>
                <c:pt idx="28198">
                  <c:v>266</c:v>
                </c:pt>
                <c:pt idx="28199">
                  <c:v>1565</c:v>
                </c:pt>
                <c:pt idx="28200">
                  <c:v>279</c:v>
                </c:pt>
                <c:pt idx="28201">
                  <c:v>763</c:v>
                </c:pt>
                <c:pt idx="28202">
                  <c:v>13708</c:v>
                </c:pt>
                <c:pt idx="28203">
                  <c:v>12890</c:v>
                </c:pt>
                <c:pt idx="28204">
                  <c:v>13156</c:v>
                </c:pt>
                <c:pt idx="28205">
                  <c:v>11939</c:v>
                </c:pt>
                <c:pt idx="28206">
                  <c:v>21843</c:v>
                </c:pt>
                <c:pt idx="28207">
                  <c:v>15545</c:v>
                </c:pt>
                <c:pt idx="28208">
                  <c:v>7487</c:v>
                </c:pt>
                <c:pt idx="28209">
                  <c:v>2086</c:v>
                </c:pt>
                <c:pt idx="28210">
                  <c:v>162</c:v>
                </c:pt>
                <c:pt idx="28211">
                  <c:v>8389</c:v>
                </c:pt>
                <c:pt idx="28212">
                  <c:v>2397</c:v>
                </c:pt>
                <c:pt idx="28213">
                  <c:v>1104</c:v>
                </c:pt>
                <c:pt idx="28214">
                  <c:v>245</c:v>
                </c:pt>
                <c:pt idx="28215">
                  <c:v>267</c:v>
                </c:pt>
                <c:pt idx="28216">
                  <c:v>609</c:v>
                </c:pt>
                <c:pt idx="28217">
                  <c:v>1731</c:v>
                </c:pt>
                <c:pt idx="28218">
                  <c:v>761</c:v>
                </c:pt>
                <c:pt idx="28219">
                  <c:v>7151</c:v>
                </c:pt>
                <c:pt idx="28220">
                  <c:v>2147</c:v>
                </c:pt>
                <c:pt idx="28221">
                  <c:v>1925</c:v>
                </c:pt>
                <c:pt idx="28222">
                  <c:v>13942</c:v>
                </c:pt>
                <c:pt idx="28223">
                  <c:v>427</c:v>
                </c:pt>
                <c:pt idx="28224">
                  <c:v>271</c:v>
                </c:pt>
                <c:pt idx="28225">
                  <c:v>2595</c:v>
                </c:pt>
                <c:pt idx="28226">
                  <c:v>668</c:v>
                </c:pt>
                <c:pt idx="28227">
                  <c:v>23757</c:v>
                </c:pt>
                <c:pt idx="28228">
                  <c:v>29655</c:v>
                </c:pt>
                <c:pt idx="28229">
                  <c:v>2342</c:v>
                </c:pt>
                <c:pt idx="28230">
                  <c:v>16706</c:v>
                </c:pt>
                <c:pt idx="28231">
                  <c:v>180</c:v>
                </c:pt>
                <c:pt idx="28232">
                  <c:v>1078</c:v>
                </c:pt>
                <c:pt idx="28233">
                  <c:v>15368</c:v>
                </c:pt>
                <c:pt idx="28234">
                  <c:v>2899</c:v>
                </c:pt>
                <c:pt idx="28235">
                  <c:v>418</c:v>
                </c:pt>
                <c:pt idx="28236">
                  <c:v>895</c:v>
                </c:pt>
                <c:pt idx="28237">
                  <c:v>577</c:v>
                </c:pt>
                <c:pt idx="28238">
                  <c:v>4815</c:v>
                </c:pt>
                <c:pt idx="28239">
                  <c:v>13315</c:v>
                </c:pt>
                <c:pt idx="28240">
                  <c:v>5219</c:v>
                </c:pt>
                <c:pt idx="28241">
                  <c:v>3539</c:v>
                </c:pt>
                <c:pt idx="28242">
                  <c:v>173</c:v>
                </c:pt>
                <c:pt idx="28243">
                  <c:v>1670</c:v>
                </c:pt>
                <c:pt idx="28244">
                  <c:v>166</c:v>
                </c:pt>
                <c:pt idx="28245">
                  <c:v>9032</c:v>
                </c:pt>
                <c:pt idx="28246">
                  <c:v>23940</c:v>
                </c:pt>
                <c:pt idx="28247">
                  <c:v>17518</c:v>
                </c:pt>
                <c:pt idx="28248">
                  <c:v>4692</c:v>
                </c:pt>
                <c:pt idx="28249">
                  <c:v>30026</c:v>
                </c:pt>
                <c:pt idx="28250">
                  <c:v>12335</c:v>
                </c:pt>
                <c:pt idx="28251">
                  <c:v>7259</c:v>
                </c:pt>
                <c:pt idx="28252">
                  <c:v>19</c:v>
                </c:pt>
                <c:pt idx="28253">
                  <c:v>20139</c:v>
                </c:pt>
                <c:pt idx="28254">
                  <c:v>15579</c:v>
                </c:pt>
                <c:pt idx="28255">
                  <c:v>18994</c:v>
                </c:pt>
                <c:pt idx="28256">
                  <c:v>19373</c:v>
                </c:pt>
                <c:pt idx="28257">
                  <c:v>9663</c:v>
                </c:pt>
                <c:pt idx="28258">
                  <c:v>9725</c:v>
                </c:pt>
                <c:pt idx="28259">
                  <c:v>22140</c:v>
                </c:pt>
                <c:pt idx="28260">
                  <c:v>8890</c:v>
                </c:pt>
                <c:pt idx="28261">
                  <c:v>23860</c:v>
                </c:pt>
                <c:pt idx="28262">
                  <c:v>14770</c:v>
                </c:pt>
                <c:pt idx="28263">
                  <c:v>6627</c:v>
                </c:pt>
                <c:pt idx="28264">
                  <c:v>19441</c:v>
                </c:pt>
                <c:pt idx="28265">
                  <c:v>27524</c:v>
                </c:pt>
                <c:pt idx="28266">
                  <c:v>18231</c:v>
                </c:pt>
                <c:pt idx="28267">
                  <c:v>14232</c:v>
                </c:pt>
                <c:pt idx="28268">
                  <c:v>4343</c:v>
                </c:pt>
                <c:pt idx="28269">
                  <c:v>35260</c:v>
                </c:pt>
                <c:pt idx="28270">
                  <c:v>19374</c:v>
                </c:pt>
                <c:pt idx="28271">
                  <c:v>1777</c:v>
                </c:pt>
                <c:pt idx="28272">
                  <c:v>9490</c:v>
                </c:pt>
                <c:pt idx="28273">
                  <c:v>17682</c:v>
                </c:pt>
                <c:pt idx="28274">
                  <c:v>18636</c:v>
                </c:pt>
                <c:pt idx="28275">
                  <c:v>10083</c:v>
                </c:pt>
                <c:pt idx="28276">
                  <c:v>18723</c:v>
                </c:pt>
                <c:pt idx="28277">
                  <c:v>15360</c:v>
                </c:pt>
                <c:pt idx="28278">
                  <c:v>24057</c:v>
                </c:pt>
                <c:pt idx="28279">
                  <c:v>18949</c:v>
                </c:pt>
                <c:pt idx="28280">
                  <c:v>18907</c:v>
                </c:pt>
                <c:pt idx="28281">
                  <c:v>15326</c:v>
                </c:pt>
                <c:pt idx="28282">
                  <c:v>19712</c:v>
                </c:pt>
                <c:pt idx="28283">
                  <c:v>16159</c:v>
                </c:pt>
                <c:pt idx="28284">
                  <c:v>11471</c:v>
                </c:pt>
                <c:pt idx="28285">
                  <c:v>14025</c:v>
                </c:pt>
                <c:pt idx="28286">
                  <c:v>16379</c:v>
                </c:pt>
                <c:pt idx="28287">
                  <c:v>520</c:v>
                </c:pt>
                <c:pt idx="28288">
                  <c:v>3284</c:v>
                </c:pt>
                <c:pt idx="28289">
                  <c:v>454</c:v>
                </c:pt>
                <c:pt idx="28290">
                  <c:v>1538</c:v>
                </c:pt>
                <c:pt idx="28291">
                  <c:v>21778</c:v>
                </c:pt>
                <c:pt idx="28292">
                  <c:v>11658</c:v>
                </c:pt>
                <c:pt idx="28293">
                  <c:v>9987</c:v>
                </c:pt>
                <c:pt idx="28294">
                  <c:v>1242</c:v>
                </c:pt>
                <c:pt idx="28295">
                  <c:v>37</c:v>
                </c:pt>
                <c:pt idx="28296">
                  <c:v>180</c:v>
                </c:pt>
                <c:pt idx="28297">
                  <c:v>781</c:v>
                </c:pt>
                <c:pt idx="28298">
                  <c:v>195</c:v>
                </c:pt>
                <c:pt idx="28299">
                  <c:v>281</c:v>
                </c:pt>
                <c:pt idx="28300">
                  <c:v>357</c:v>
                </c:pt>
                <c:pt idx="28301">
                  <c:v>939</c:v>
                </c:pt>
                <c:pt idx="28302">
                  <c:v>64</c:v>
                </c:pt>
                <c:pt idx="28303">
                  <c:v>5480</c:v>
                </c:pt>
                <c:pt idx="28304">
                  <c:v>3254</c:v>
                </c:pt>
                <c:pt idx="28305">
                  <c:v>13914</c:v>
                </c:pt>
                <c:pt idx="28306">
                  <c:v>104</c:v>
                </c:pt>
                <c:pt idx="28307">
                  <c:v>1169</c:v>
                </c:pt>
                <c:pt idx="28308">
                  <c:v>1054</c:v>
                </c:pt>
                <c:pt idx="28309">
                  <c:v>5970</c:v>
                </c:pt>
                <c:pt idx="28310">
                  <c:v>1839</c:v>
                </c:pt>
                <c:pt idx="28311">
                  <c:v>252</c:v>
                </c:pt>
                <c:pt idx="28312">
                  <c:v>4455</c:v>
                </c:pt>
                <c:pt idx="28313">
                  <c:v>873</c:v>
                </c:pt>
                <c:pt idx="28314">
                  <c:v>4172</c:v>
                </c:pt>
                <c:pt idx="28315">
                  <c:v>1203</c:v>
                </c:pt>
                <c:pt idx="28316">
                  <c:v>40</c:v>
                </c:pt>
                <c:pt idx="28317">
                  <c:v>4778</c:v>
                </c:pt>
                <c:pt idx="28318">
                  <c:v>263</c:v>
                </c:pt>
                <c:pt idx="28319">
                  <c:v>1798</c:v>
                </c:pt>
                <c:pt idx="28320">
                  <c:v>554</c:v>
                </c:pt>
                <c:pt idx="28321">
                  <c:v>541</c:v>
                </c:pt>
                <c:pt idx="28322">
                  <c:v>413</c:v>
                </c:pt>
                <c:pt idx="28323">
                  <c:v>3294</c:v>
                </c:pt>
                <c:pt idx="28324">
                  <c:v>887</c:v>
                </c:pt>
                <c:pt idx="28325">
                  <c:v>7053</c:v>
                </c:pt>
                <c:pt idx="28326">
                  <c:v>4790</c:v>
                </c:pt>
                <c:pt idx="28327">
                  <c:v>1258</c:v>
                </c:pt>
                <c:pt idx="28328">
                  <c:v>5512</c:v>
                </c:pt>
                <c:pt idx="28329">
                  <c:v>300</c:v>
                </c:pt>
                <c:pt idx="28330">
                  <c:v>917</c:v>
                </c:pt>
                <c:pt idx="28331">
                  <c:v>292</c:v>
                </c:pt>
                <c:pt idx="28332">
                  <c:v>2246</c:v>
                </c:pt>
                <c:pt idx="28333">
                  <c:v>2557</c:v>
                </c:pt>
                <c:pt idx="28334">
                  <c:v>1927</c:v>
                </c:pt>
                <c:pt idx="28335">
                  <c:v>1446</c:v>
                </c:pt>
                <c:pt idx="28336">
                  <c:v>23398</c:v>
                </c:pt>
                <c:pt idx="28337">
                  <c:v>26512</c:v>
                </c:pt>
                <c:pt idx="28338">
                  <c:v>6321</c:v>
                </c:pt>
                <c:pt idx="28339">
                  <c:v>15875</c:v>
                </c:pt>
                <c:pt idx="28340">
                  <c:v>22539</c:v>
                </c:pt>
                <c:pt idx="28341">
                  <c:v>6918</c:v>
                </c:pt>
                <c:pt idx="28342">
                  <c:v>187</c:v>
                </c:pt>
                <c:pt idx="28343">
                  <c:v>2255</c:v>
                </c:pt>
                <c:pt idx="28344">
                  <c:v>258</c:v>
                </c:pt>
                <c:pt idx="28345">
                  <c:v>385</c:v>
                </c:pt>
                <c:pt idx="28346">
                  <c:v>5057</c:v>
                </c:pt>
                <c:pt idx="28347">
                  <c:v>423</c:v>
                </c:pt>
                <c:pt idx="28348">
                  <c:v>617</c:v>
                </c:pt>
                <c:pt idx="28349">
                  <c:v>263</c:v>
                </c:pt>
                <c:pt idx="28350">
                  <c:v>12047</c:v>
                </c:pt>
                <c:pt idx="28351">
                  <c:v>2396</c:v>
                </c:pt>
                <c:pt idx="28352">
                  <c:v>7920</c:v>
                </c:pt>
                <c:pt idx="28353">
                  <c:v>4992</c:v>
                </c:pt>
                <c:pt idx="28354">
                  <c:v>262</c:v>
                </c:pt>
                <c:pt idx="28355">
                  <c:v>146</c:v>
                </c:pt>
                <c:pt idx="28356">
                  <c:v>941</c:v>
                </c:pt>
                <c:pt idx="28357">
                  <c:v>232</c:v>
                </c:pt>
                <c:pt idx="28358">
                  <c:v>1088</c:v>
                </c:pt>
                <c:pt idx="28359">
                  <c:v>239</c:v>
                </c:pt>
                <c:pt idx="28360">
                  <c:v>1071</c:v>
                </c:pt>
                <c:pt idx="28361">
                  <c:v>612</c:v>
                </c:pt>
                <c:pt idx="28362">
                  <c:v>4686</c:v>
                </c:pt>
                <c:pt idx="28363">
                  <c:v>704</c:v>
                </c:pt>
                <c:pt idx="28364">
                  <c:v>903</c:v>
                </c:pt>
                <c:pt idx="28365">
                  <c:v>2270</c:v>
                </c:pt>
                <c:pt idx="28366">
                  <c:v>2321</c:v>
                </c:pt>
                <c:pt idx="28367">
                  <c:v>203</c:v>
                </c:pt>
                <c:pt idx="28368">
                  <c:v>6938</c:v>
                </c:pt>
                <c:pt idx="28369">
                  <c:v>538</c:v>
                </c:pt>
                <c:pt idx="28370">
                  <c:v>108</c:v>
                </c:pt>
                <c:pt idx="28371">
                  <c:v>675</c:v>
                </c:pt>
                <c:pt idx="28372">
                  <c:v>245</c:v>
                </c:pt>
                <c:pt idx="28373">
                  <c:v>522</c:v>
                </c:pt>
                <c:pt idx="28374">
                  <c:v>807</c:v>
                </c:pt>
                <c:pt idx="28375">
                  <c:v>1360</c:v>
                </c:pt>
                <c:pt idx="28376">
                  <c:v>3445</c:v>
                </c:pt>
                <c:pt idx="28377">
                  <c:v>1394</c:v>
                </c:pt>
                <c:pt idx="28378">
                  <c:v>6255</c:v>
                </c:pt>
                <c:pt idx="28379">
                  <c:v>447</c:v>
                </c:pt>
                <c:pt idx="28380">
                  <c:v>1664</c:v>
                </c:pt>
                <c:pt idx="28381">
                  <c:v>1017</c:v>
                </c:pt>
                <c:pt idx="28382">
                  <c:v>709</c:v>
                </c:pt>
                <c:pt idx="28383">
                  <c:v>266</c:v>
                </c:pt>
                <c:pt idx="28384">
                  <c:v>1899</c:v>
                </c:pt>
                <c:pt idx="28385">
                  <c:v>1014</c:v>
                </c:pt>
                <c:pt idx="28386">
                  <c:v>7885</c:v>
                </c:pt>
                <c:pt idx="28387">
                  <c:v>12365</c:v>
                </c:pt>
                <c:pt idx="28388">
                  <c:v>82</c:v>
                </c:pt>
                <c:pt idx="28389">
                  <c:v>18410</c:v>
                </c:pt>
                <c:pt idx="28390">
                  <c:v>18905</c:v>
                </c:pt>
                <c:pt idx="28391">
                  <c:v>4016</c:v>
                </c:pt>
                <c:pt idx="28392">
                  <c:v>118</c:v>
                </c:pt>
                <c:pt idx="28393">
                  <c:v>435</c:v>
                </c:pt>
                <c:pt idx="28394">
                  <c:v>53</c:v>
                </c:pt>
                <c:pt idx="28395">
                  <c:v>170</c:v>
                </c:pt>
                <c:pt idx="28396">
                  <c:v>3594</c:v>
                </c:pt>
                <c:pt idx="28397">
                  <c:v>288</c:v>
                </c:pt>
                <c:pt idx="28398">
                  <c:v>413</c:v>
                </c:pt>
                <c:pt idx="28399">
                  <c:v>208</c:v>
                </c:pt>
                <c:pt idx="28400">
                  <c:v>112</c:v>
                </c:pt>
                <c:pt idx="28401">
                  <c:v>133</c:v>
                </c:pt>
                <c:pt idx="28402">
                  <c:v>522</c:v>
                </c:pt>
                <c:pt idx="28403">
                  <c:v>2996</c:v>
                </c:pt>
                <c:pt idx="28404">
                  <c:v>287</c:v>
                </c:pt>
                <c:pt idx="28405">
                  <c:v>708</c:v>
                </c:pt>
                <c:pt idx="28406">
                  <c:v>513</c:v>
                </c:pt>
                <c:pt idx="28407">
                  <c:v>21974</c:v>
                </c:pt>
                <c:pt idx="28408">
                  <c:v>13862</c:v>
                </c:pt>
                <c:pt idx="28409">
                  <c:v>5547</c:v>
                </c:pt>
                <c:pt idx="28410">
                  <c:v>20761</c:v>
                </c:pt>
                <c:pt idx="28411">
                  <c:v>12403</c:v>
                </c:pt>
                <c:pt idx="28412">
                  <c:v>239</c:v>
                </c:pt>
                <c:pt idx="28413">
                  <c:v>2033</c:v>
                </c:pt>
                <c:pt idx="28414">
                  <c:v>6011</c:v>
                </c:pt>
                <c:pt idx="28415">
                  <c:v>1807</c:v>
                </c:pt>
                <c:pt idx="28416">
                  <c:v>14563</c:v>
                </c:pt>
                <c:pt idx="28417">
                  <c:v>13426</c:v>
                </c:pt>
                <c:pt idx="28418">
                  <c:v>3588</c:v>
                </c:pt>
                <c:pt idx="28419">
                  <c:v>898</c:v>
                </c:pt>
                <c:pt idx="28420">
                  <c:v>2044</c:v>
                </c:pt>
                <c:pt idx="28421">
                  <c:v>385</c:v>
                </c:pt>
                <c:pt idx="28422">
                  <c:v>2225</c:v>
                </c:pt>
                <c:pt idx="28423">
                  <c:v>646</c:v>
                </c:pt>
                <c:pt idx="28424">
                  <c:v>1105</c:v>
                </c:pt>
                <c:pt idx="28425">
                  <c:v>3651</c:v>
                </c:pt>
                <c:pt idx="28426">
                  <c:v>494</c:v>
                </c:pt>
                <c:pt idx="28427">
                  <c:v>202</c:v>
                </c:pt>
                <c:pt idx="28428">
                  <c:v>737</c:v>
                </c:pt>
                <c:pt idx="28429">
                  <c:v>9172</c:v>
                </c:pt>
                <c:pt idx="28430">
                  <c:v>12640</c:v>
                </c:pt>
                <c:pt idx="28431">
                  <c:v>989</c:v>
                </c:pt>
                <c:pt idx="28432">
                  <c:v>1168</c:v>
                </c:pt>
                <c:pt idx="28433">
                  <c:v>2001</c:v>
                </c:pt>
                <c:pt idx="28434">
                  <c:v>651</c:v>
                </c:pt>
                <c:pt idx="28435">
                  <c:v>588</c:v>
                </c:pt>
                <c:pt idx="28436">
                  <c:v>163</c:v>
                </c:pt>
                <c:pt idx="28437">
                  <c:v>174</c:v>
                </c:pt>
                <c:pt idx="28438">
                  <c:v>64</c:v>
                </c:pt>
                <c:pt idx="28439">
                  <c:v>193</c:v>
                </c:pt>
                <c:pt idx="28440">
                  <c:v>526</c:v>
                </c:pt>
                <c:pt idx="28441">
                  <c:v>20618</c:v>
                </c:pt>
                <c:pt idx="28442">
                  <c:v>25338</c:v>
                </c:pt>
                <c:pt idx="28443">
                  <c:v>16136</c:v>
                </c:pt>
                <c:pt idx="28444">
                  <c:v>2969</c:v>
                </c:pt>
                <c:pt idx="28445">
                  <c:v>34</c:v>
                </c:pt>
                <c:pt idx="28446">
                  <c:v>1582</c:v>
                </c:pt>
                <c:pt idx="28447">
                  <c:v>77</c:v>
                </c:pt>
                <c:pt idx="28448">
                  <c:v>224</c:v>
                </c:pt>
                <c:pt idx="28449">
                  <c:v>1626</c:v>
                </c:pt>
                <c:pt idx="28450">
                  <c:v>49</c:v>
                </c:pt>
                <c:pt idx="28451">
                  <c:v>1094</c:v>
                </c:pt>
                <c:pt idx="28452">
                  <c:v>4327</c:v>
                </c:pt>
                <c:pt idx="28453">
                  <c:v>4814</c:v>
                </c:pt>
                <c:pt idx="28454">
                  <c:v>135</c:v>
                </c:pt>
                <c:pt idx="28455">
                  <c:v>1207</c:v>
                </c:pt>
                <c:pt idx="28456">
                  <c:v>8935</c:v>
                </c:pt>
                <c:pt idx="28457">
                  <c:v>20122</c:v>
                </c:pt>
                <c:pt idx="28458">
                  <c:v>3144</c:v>
                </c:pt>
                <c:pt idx="28459">
                  <c:v>3428</c:v>
                </c:pt>
                <c:pt idx="28460">
                  <c:v>1095</c:v>
                </c:pt>
                <c:pt idx="28461">
                  <c:v>8571</c:v>
                </c:pt>
                <c:pt idx="28462">
                  <c:v>476</c:v>
                </c:pt>
                <c:pt idx="28463">
                  <c:v>380</c:v>
                </c:pt>
                <c:pt idx="28464">
                  <c:v>680</c:v>
                </c:pt>
                <c:pt idx="28465">
                  <c:v>4586</c:v>
                </c:pt>
                <c:pt idx="28466">
                  <c:v>2093</c:v>
                </c:pt>
                <c:pt idx="28467">
                  <c:v>428</c:v>
                </c:pt>
                <c:pt idx="28468">
                  <c:v>423</c:v>
                </c:pt>
                <c:pt idx="28469">
                  <c:v>678</c:v>
                </c:pt>
                <c:pt idx="28470">
                  <c:v>104</c:v>
                </c:pt>
                <c:pt idx="28471">
                  <c:v>518</c:v>
                </c:pt>
                <c:pt idx="28472">
                  <c:v>1009</c:v>
                </c:pt>
                <c:pt idx="28473">
                  <c:v>1461</c:v>
                </c:pt>
                <c:pt idx="28474">
                  <c:v>270</c:v>
                </c:pt>
                <c:pt idx="28475">
                  <c:v>297</c:v>
                </c:pt>
                <c:pt idx="28476">
                  <c:v>509</c:v>
                </c:pt>
                <c:pt idx="28477">
                  <c:v>176</c:v>
                </c:pt>
                <c:pt idx="28478">
                  <c:v>822</c:v>
                </c:pt>
                <c:pt idx="28479">
                  <c:v>25</c:v>
                </c:pt>
                <c:pt idx="28480">
                  <c:v>12270</c:v>
                </c:pt>
                <c:pt idx="28481">
                  <c:v>138</c:v>
                </c:pt>
                <c:pt idx="28482">
                  <c:v>278</c:v>
                </c:pt>
                <c:pt idx="28483">
                  <c:v>408</c:v>
                </c:pt>
                <c:pt idx="28484">
                  <c:v>1381</c:v>
                </c:pt>
                <c:pt idx="28485">
                  <c:v>1125</c:v>
                </c:pt>
                <c:pt idx="28486">
                  <c:v>997</c:v>
                </c:pt>
                <c:pt idx="28487">
                  <c:v>100</c:v>
                </c:pt>
                <c:pt idx="28488">
                  <c:v>7318</c:v>
                </c:pt>
                <c:pt idx="28489">
                  <c:v>186</c:v>
                </c:pt>
                <c:pt idx="28490">
                  <c:v>185</c:v>
                </c:pt>
                <c:pt idx="28491">
                  <c:v>5065</c:v>
                </c:pt>
                <c:pt idx="28492">
                  <c:v>83</c:v>
                </c:pt>
                <c:pt idx="28493">
                  <c:v>439</c:v>
                </c:pt>
                <c:pt idx="28494">
                  <c:v>371</c:v>
                </c:pt>
                <c:pt idx="28495">
                  <c:v>741</c:v>
                </c:pt>
                <c:pt idx="28496">
                  <c:v>286</c:v>
                </c:pt>
                <c:pt idx="28497">
                  <c:v>219</c:v>
                </c:pt>
                <c:pt idx="28498">
                  <c:v>91</c:v>
                </c:pt>
                <c:pt idx="28499">
                  <c:v>117</c:v>
                </c:pt>
                <c:pt idx="28500">
                  <c:v>1255</c:v>
                </c:pt>
                <c:pt idx="28501">
                  <c:v>351</c:v>
                </c:pt>
                <c:pt idx="28502">
                  <c:v>2361</c:v>
                </c:pt>
                <c:pt idx="28503">
                  <c:v>1168</c:v>
                </c:pt>
                <c:pt idx="28504">
                  <c:v>35</c:v>
                </c:pt>
                <c:pt idx="28505">
                  <c:v>669</c:v>
                </c:pt>
                <c:pt idx="28506">
                  <c:v>414</c:v>
                </c:pt>
                <c:pt idx="28507">
                  <c:v>280</c:v>
                </c:pt>
                <c:pt idx="28508">
                  <c:v>110</c:v>
                </c:pt>
                <c:pt idx="28509">
                  <c:v>117</c:v>
                </c:pt>
                <c:pt idx="28510">
                  <c:v>219</c:v>
                </c:pt>
                <c:pt idx="28511">
                  <c:v>227</c:v>
                </c:pt>
                <c:pt idx="28512">
                  <c:v>2001</c:v>
                </c:pt>
                <c:pt idx="28513">
                  <c:v>6601</c:v>
                </c:pt>
                <c:pt idx="28514">
                  <c:v>1849</c:v>
                </c:pt>
                <c:pt idx="28515">
                  <c:v>16945</c:v>
                </c:pt>
                <c:pt idx="28516">
                  <c:v>16701</c:v>
                </c:pt>
                <c:pt idx="28517">
                  <c:v>24379</c:v>
                </c:pt>
                <c:pt idx="28518">
                  <c:v>21250</c:v>
                </c:pt>
                <c:pt idx="28519">
                  <c:v>11398</c:v>
                </c:pt>
                <c:pt idx="28520">
                  <c:v>19373</c:v>
                </c:pt>
                <c:pt idx="28521">
                  <c:v>14804</c:v>
                </c:pt>
                <c:pt idx="28522">
                  <c:v>12193</c:v>
                </c:pt>
                <c:pt idx="28523">
                  <c:v>3385</c:v>
                </c:pt>
                <c:pt idx="28524">
                  <c:v>14447</c:v>
                </c:pt>
                <c:pt idx="28525">
                  <c:v>39647</c:v>
                </c:pt>
                <c:pt idx="28526">
                  <c:v>4109</c:v>
                </c:pt>
                <c:pt idx="28527">
                  <c:v>5996</c:v>
                </c:pt>
                <c:pt idx="28528">
                  <c:v>8960</c:v>
                </c:pt>
                <c:pt idx="28529">
                  <c:v>17104</c:v>
                </c:pt>
                <c:pt idx="28530">
                  <c:v>11027</c:v>
                </c:pt>
                <c:pt idx="28531">
                  <c:v>25421</c:v>
                </c:pt>
                <c:pt idx="28532">
                  <c:v>2869</c:v>
                </c:pt>
                <c:pt idx="28533">
                  <c:v>20824</c:v>
                </c:pt>
                <c:pt idx="28534">
                  <c:v>15044</c:v>
                </c:pt>
                <c:pt idx="28535">
                  <c:v>12772</c:v>
                </c:pt>
                <c:pt idx="28536">
                  <c:v>16448</c:v>
                </c:pt>
                <c:pt idx="28537">
                  <c:v>18992</c:v>
                </c:pt>
                <c:pt idx="28538">
                  <c:v>20663</c:v>
                </c:pt>
                <c:pt idx="28539">
                  <c:v>18765</c:v>
                </c:pt>
                <c:pt idx="28540">
                  <c:v>21270</c:v>
                </c:pt>
                <c:pt idx="28541">
                  <c:v>28633</c:v>
                </c:pt>
                <c:pt idx="28542">
                  <c:v>20014</c:v>
                </c:pt>
                <c:pt idx="28543">
                  <c:v>14694</c:v>
                </c:pt>
                <c:pt idx="28544">
                  <c:v>18054</c:v>
                </c:pt>
                <c:pt idx="28545">
                  <c:v>11953</c:v>
                </c:pt>
                <c:pt idx="28546">
                  <c:v>25030</c:v>
                </c:pt>
                <c:pt idx="28547">
                  <c:v>11581</c:v>
                </c:pt>
                <c:pt idx="28548">
                  <c:v>8132</c:v>
                </c:pt>
                <c:pt idx="28549">
                  <c:v>3718</c:v>
                </c:pt>
                <c:pt idx="28550">
                  <c:v>2189</c:v>
                </c:pt>
                <c:pt idx="28551">
                  <c:v>39198</c:v>
                </c:pt>
                <c:pt idx="28552">
                  <c:v>9736</c:v>
                </c:pt>
                <c:pt idx="28553">
                  <c:v>12774</c:v>
                </c:pt>
                <c:pt idx="28554">
                  <c:v>19910</c:v>
                </c:pt>
                <c:pt idx="28555">
                  <c:v>6771</c:v>
                </c:pt>
                <c:pt idx="28556">
                  <c:v>21960</c:v>
                </c:pt>
                <c:pt idx="28557">
                  <c:v>20658</c:v>
                </c:pt>
                <c:pt idx="28558">
                  <c:v>8646</c:v>
                </c:pt>
                <c:pt idx="28559">
                  <c:v>337</c:v>
                </c:pt>
                <c:pt idx="28560">
                  <c:v>5045</c:v>
                </c:pt>
                <c:pt idx="28561">
                  <c:v>13243</c:v>
                </c:pt>
                <c:pt idx="28562">
                  <c:v>14457</c:v>
                </c:pt>
                <c:pt idx="28563">
                  <c:v>12775</c:v>
                </c:pt>
                <c:pt idx="28564">
                  <c:v>5976</c:v>
                </c:pt>
                <c:pt idx="28565">
                  <c:v>22512</c:v>
                </c:pt>
                <c:pt idx="28566">
                  <c:v>25177</c:v>
                </c:pt>
                <c:pt idx="28567">
                  <c:v>10354</c:v>
                </c:pt>
                <c:pt idx="28568">
                  <c:v>19209</c:v>
                </c:pt>
                <c:pt idx="28569">
                  <c:v>34934</c:v>
                </c:pt>
                <c:pt idx="28570">
                  <c:v>7452</c:v>
                </c:pt>
                <c:pt idx="28571">
                  <c:v>25186</c:v>
                </c:pt>
                <c:pt idx="28572">
                  <c:v>15630</c:v>
                </c:pt>
                <c:pt idx="28573">
                  <c:v>18495</c:v>
                </c:pt>
                <c:pt idx="28574">
                  <c:v>12323</c:v>
                </c:pt>
                <c:pt idx="28575">
                  <c:v>21589</c:v>
                </c:pt>
                <c:pt idx="28576">
                  <c:v>11079</c:v>
                </c:pt>
                <c:pt idx="28577">
                  <c:v>13704</c:v>
                </c:pt>
                <c:pt idx="28578">
                  <c:v>31961</c:v>
                </c:pt>
                <c:pt idx="28579">
                  <c:v>16102</c:v>
                </c:pt>
                <c:pt idx="28580">
                  <c:v>20650</c:v>
                </c:pt>
                <c:pt idx="28581">
                  <c:v>26706</c:v>
                </c:pt>
                <c:pt idx="28582">
                  <c:v>17103</c:v>
                </c:pt>
                <c:pt idx="28583">
                  <c:v>15212</c:v>
                </c:pt>
                <c:pt idx="28584">
                  <c:v>27355</c:v>
                </c:pt>
                <c:pt idx="28585">
                  <c:v>24760</c:v>
                </c:pt>
                <c:pt idx="28586">
                  <c:v>12510</c:v>
                </c:pt>
                <c:pt idx="28587">
                  <c:v>27666</c:v>
                </c:pt>
                <c:pt idx="28588">
                  <c:v>503</c:v>
                </c:pt>
                <c:pt idx="28589">
                  <c:v>10555</c:v>
                </c:pt>
                <c:pt idx="28590">
                  <c:v>18978</c:v>
                </c:pt>
                <c:pt idx="28591">
                  <c:v>14289</c:v>
                </c:pt>
                <c:pt idx="28592">
                  <c:v>5859</c:v>
                </c:pt>
                <c:pt idx="28593">
                  <c:v>19464</c:v>
                </c:pt>
                <c:pt idx="28594">
                  <c:v>11434</c:v>
                </c:pt>
                <c:pt idx="28595">
                  <c:v>17310</c:v>
                </c:pt>
                <c:pt idx="28596">
                  <c:v>9671</c:v>
                </c:pt>
                <c:pt idx="28597">
                  <c:v>13503</c:v>
                </c:pt>
                <c:pt idx="28598">
                  <c:v>15213</c:v>
                </c:pt>
                <c:pt idx="28599">
                  <c:v>17497</c:v>
                </c:pt>
                <c:pt idx="28600">
                  <c:v>13137</c:v>
                </c:pt>
                <c:pt idx="28601">
                  <c:v>15242</c:v>
                </c:pt>
                <c:pt idx="28602">
                  <c:v>18777</c:v>
                </c:pt>
                <c:pt idx="28603">
                  <c:v>22228</c:v>
                </c:pt>
                <c:pt idx="28604">
                  <c:v>30039</c:v>
                </c:pt>
                <c:pt idx="28605">
                  <c:v>292</c:v>
                </c:pt>
                <c:pt idx="28606">
                  <c:v>9675</c:v>
                </c:pt>
                <c:pt idx="28607">
                  <c:v>22359</c:v>
                </c:pt>
                <c:pt idx="28608">
                  <c:v>85</c:v>
                </c:pt>
                <c:pt idx="28609">
                  <c:v>26200</c:v>
                </c:pt>
                <c:pt idx="28610">
                  <c:v>22735</c:v>
                </c:pt>
                <c:pt idx="28611">
                  <c:v>16610</c:v>
                </c:pt>
                <c:pt idx="28612">
                  <c:v>7706</c:v>
                </c:pt>
                <c:pt idx="28613">
                  <c:v>2179</c:v>
                </c:pt>
                <c:pt idx="28614">
                  <c:v>7675</c:v>
                </c:pt>
                <c:pt idx="28615">
                  <c:v>221</c:v>
                </c:pt>
                <c:pt idx="28616">
                  <c:v>2710</c:v>
                </c:pt>
                <c:pt idx="28617">
                  <c:v>1632</c:v>
                </c:pt>
                <c:pt idx="28618">
                  <c:v>2783</c:v>
                </c:pt>
                <c:pt idx="28619">
                  <c:v>1601</c:v>
                </c:pt>
                <c:pt idx="28620">
                  <c:v>745</c:v>
                </c:pt>
                <c:pt idx="28621">
                  <c:v>140</c:v>
                </c:pt>
                <c:pt idx="28622">
                  <c:v>1497</c:v>
                </c:pt>
                <c:pt idx="28623">
                  <c:v>1788</c:v>
                </c:pt>
                <c:pt idx="28624">
                  <c:v>3457</c:v>
                </c:pt>
                <c:pt idx="28625">
                  <c:v>11712</c:v>
                </c:pt>
                <c:pt idx="28626">
                  <c:v>1771</c:v>
                </c:pt>
                <c:pt idx="28627">
                  <c:v>4053</c:v>
                </c:pt>
                <c:pt idx="28628">
                  <c:v>2229</c:v>
                </c:pt>
                <c:pt idx="28629">
                  <c:v>4559</c:v>
                </c:pt>
                <c:pt idx="28630">
                  <c:v>942</c:v>
                </c:pt>
                <c:pt idx="28631">
                  <c:v>92</c:v>
                </c:pt>
                <c:pt idx="28632">
                  <c:v>144</c:v>
                </c:pt>
                <c:pt idx="28633">
                  <c:v>1709</c:v>
                </c:pt>
                <c:pt idx="28634">
                  <c:v>24956</c:v>
                </c:pt>
                <c:pt idx="28635">
                  <c:v>2151</c:v>
                </c:pt>
                <c:pt idx="28636">
                  <c:v>1219</c:v>
                </c:pt>
                <c:pt idx="28637">
                  <c:v>361</c:v>
                </c:pt>
                <c:pt idx="28638">
                  <c:v>118</c:v>
                </c:pt>
                <c:pt idx="28639">
                  <c:v>10302</c:v>
                </c:pt>
                <c:pt idx="28640">
                  <c:v>1398</c:v>
                </c:pt>
                <c:pt idx="28641">
                  <c:v>26692</c:v>
                </c:pt>
                <c:pt idx="28642">
                  <c:v>13804</c:v>
                </c:pt>
                <c:pt idx="28643">
                  <c:v>14349</c:v>
                </c:pt>
                <c:pt idx="28644">
                  <c:v>13210</c:v>
                </c:pt>
                <c:pt idx="28645">
                  <c:v>8437</c:v>
                </c:pt>
                <c:pt idx="28646">
                  <c:v>10826</c:v>
                </c:pt>
                <c:pt idx="28647">
                  <c:v>623</c:v>
                </c:pt>
                <c:pt idx="28648">
                  <c:v>18257</c:v>
                </c:pt>
                <c:pt idx="28649">
                  <c:v>284</c:v>
                </c:pt>
                <c:pt idx="28650">
                  <c:v>136</c:v>
                </c:pt>
                <c:pt idx="28651">
                  <c:v>563</c:v>
                </c:pt>
                <c:pt idx="28652">
                  <c:v>7415</c:v>
                </c:pt>
                <c:pt idx="28653">
                  <c:v>195</c:v>
                </c:pt>
                <c:pt idx="28654">
                  <c:v>12895</c:v>
                </c:pt>
                <c:pt idx="28655">
                  <c:v>74</c:v>
                </c:pt>
                <c:pt idx="28656">
                  <c:v>101</c:v>
                </c:pt>
                <c:pt idx="28657">
                  <c:v>19155</c:v>
                </c:pt>
                <c:pt idx="28658">
                  <c:v>10330</c:v>
                </c:pt>
                <c:pt idx="28659">
                  <c:v>3588</c:v>
                </c:pt>
                <c:pt idx="28660">
                  <c:v>1336</c:v>
                </c:pt>
                <c:pt idx="28661">
                  <c:v>14746</c:v>
                </c:pt>
                <c:pt idx="28662">
                  <c:v>511</c:v>
                </c:pt>
                <c:pt idx="28663">
                  <c:v>538</c:v>
                </c:pt>
                <c:pt idx="28664">
                  <c:v>10148</c:v>
                </c:pt>
                <c:pt idx="28665">
                  <c:v>13248</c:v>
                </c:pt>
                <c:pt idx="28666">
                  <c:v>14677</c:v>
                </c:pt>
                <c:pt idx="28667">
                  <c:v>387</c:v>
                </c:pt>
                <c:pt idx="28668">
                  <c:v>8454</c:v>
                </c:pt>
                <c:pt idx="28669">
                  <c:v>304</c:v>
                </c:pt>
                <c:pt idx="28670">
                  <c:v>763</c:v>
                </c:pt>
                <c:pt idx="28671">
                  <c:v>488</c:v>
                </c:pt>
                <c:pt idx="28672">
                  <c:v>5032</c:v>
                </c:pt>
                <c:pt idx="28673">
                  <c:v>4926</c:v>
                </c:pt>
                <c:pt idx="28674">
                  <c:v>5402</c:v>
                </c:pt>
                <c:pt idx="28675">
                  <c:v>2263</c:v>
                </c:pt>
                <c:pt idx="28676">
                  <c:v>7571</c:v>
                </c:pt>
                <c:pt idx="28677">
                  <c:v>1531</c:v>
                </c:pt>
                <c:pt idx="28678">
                  <c:v>12885</c:v>
                </c:pt>
                <c:pt idx="28679">
                  <c:v>198</c:v>
                </c:pt>
                <c:pt idx="28680">
                  <c:v>5520</c:v>
                </c:pt>
                <c:pt idx="28681">
                  <c:v>14434</c:v>
                </c:pt>
                <c:pt idx="28682">
                  <c:v>1481</c:v>
                </c:pt>
                <c:pt idx="28683">
                  <c:v>835</c:v>
                </c:pt>
                <c:pt idx="28684">
                  <c:v>611</c:v>
                </c:pt>
                <c:pt idx="28685">
                  <c:v>155</c:v>
                </c:pt>
                <c:pt idx="28686">
                  <c:v>4309</c:v>
                </c:pt>
                <c:pt idx="28687">
                  <c:v>1793</c:v>
                </c:pt>
                <c:pt idx="28688">
                  <c:v>89</c:v>
                </c:pt>
                <c:pt idx="28689">
                  <c:v>359</c:v>
                </c:pt>
                <c:pt idx="28690">
                  <c:v>4361</c:v>
                </c:pt>
                <c:pt idx="28691">
                  <c:v>646</c:v>
                </c:pt>
                <c:pt idx="28692">
                  <c:v>608</c:v>
                </c:pt>
                <c:pt idx="28693">
                  <c:v>397</c:v>
                </c:pt>
                <c:pt idx="28694">
                  <c:v>1981</c:v>
                </c:pt>
                <c:pt idx="28695">
                  <c:v>6857</c:v>
                </c:pt>
                <c:pt idx="28696">
                  <c:v>225</c:v>
                </c:pt>
                <c:pt idx="28697">
                  <c:v>9915</c:v>
                </c:pt>
                <c:pt idx="28698">
                  <c:v>5952</c:v>
                </c:pt>
                <c:pt idx="28699">
                  <c:v>1407</c:v>
                </c:pt>
                <c:pt idx="28700">
                  <c:v>17530</c:v>
                </c:pt>
                <c:pt idx="28701">
                  <c:v>13237</c:v>
                </c:pt>
                <c:pt idx="28702">
                  <c:v>5853</c:v>
                </c:pt>
                <c:pt idx="28703">
                  <c:v>15738</c:v>
                </c:pt>
                <c:pt idx="28704">
                  <c:v>10904</c:v>
                </c:pt>
                <c:pt idx="28705">
                  <c:v>14078</c:v>
                </c:pt>
                <c:pt idx="28706">
                  <c:v>15001</c:v>
                </c:pt>
                <c:pt idx="28707">
                  <c:v>20574</c:v>
                </c:pt>
                <c:pt idx="28708">
                  <c:v>15265</c:v>
                </c:pt>
                <c:pt idx="28709">
                  <c:v>825</c:v>
                </c:pt>
                <c:pt idx="28710">
                  <c:v>726</c:v>
                </c:pt>
                <c:pt idx="28711">
                  <c:v>2184</c:v>
                </c:pt>
                <c:pt idx="28712">
                  <c:v>101</c:v>
                </c:pt>
                <c:pt idx="28713">
                  <c:v>10102</c:v>
                </c:pt>
                <c:pt idx="28714">
                  <c:v>11115</c:v>
                </c:pt>
                <c:pt idx="28715">
                  <c:v>203</c:v>
                </c:pt>
                <c:pt idx="28716">
                  <c:v>24678</c:v>
                </c:pt>
                <c:pt idx="28717">
                  <c:v>3293</c:v>
                </c:pt>
                <c:pt idx="28718">
                  <c:v>5436</c:v>
                </c:pt>
                <c:pt idx="28719">
                  <c:v>27388</c:v>
                </c:pt>
                <c:pt idx="28720">
                  <c:v>1513</c:v>
                </c:pt>
                <c:pt idx="28721">
                  <c:v>605</c:v>
                </c:pt>
                <c:pt idx="28722">
                  <c:v>280</c:v>
                </c:pt>
                <c:pt idx="28723">
                  <c:v>3480</c:v>
                </c:pt>
                <c:pt idx="28724">
                  <c:v>5014</c:v>
                </c:pt>
                <c:pt idx="28725">
                  <c:v>16156</c:v>
                </c:pt>
                <c:pt idx="28726">
                  <c:v>12887</c:v>
                </c:pt>
                <c:pt idx="28727">
                  <c:v>11757</c:v>
                </c:pt>
                <c:pt idx="28728">
                  <c:v>10686</c:v>
                </c:pt>
                <c:pt idx="28729">
                  <c:v>10457</c:v>
                </c:pt>
                <c:pt idx="28730">
                  <c:v>14529</c:v>
                </c:pt>
                <c:pt idx="28731">
                  <c:v>4851</c:v>
                </c:pt>
                <c:pt idx="28732">
                  <c:v>10922</c:v>
                </c:pt>
                <c:pt idx="28733">
                  <c:v>6387</c:v>
                </c:pt>
                <c:pt idx="28734">
                  <c:v>2671</c:v>
                </c:pt>
                <c:pt idx="28735">
                  <c:v>16648</c:v>
                </c:pt>
                <c:pt idx="28736">
                  <c:v>15126</c:v>
                </c:pt>
                <c:pt idx="28737">
                  <c:v>5931</c:v>
                </c:pt>
                <c:pt idx="28738">
                  <c:v>3801</c:v>
                </c:pt>
                <c:pt idx="28739">
                  <c:v>14670</c:v>
                </c:pt>
                <c:pt idx="28740">
                  <c:v>6922</c:v>
                </c:pt>
                <c:pt idx="28741">
                  <c:v>13417</c:v>
                </c:pt>
                <c:pt idx="28742">
                  <c:v>15663</c:v>
                </c:pt>
                <c:pt idx="28743">
                  <c:v>21864</c:v>
                </c:pt>
                <c:pt idx="28744">
                  <c:v>16976</c:v>
                </c:pt>
                <c:pt idx="28745">
                  <c:v>19644</c:v>
                </c:pt>
                <c:pt idx="28746">
                  <c:v>8364</c:v>
                </c:pt>
                <c:pt idx="28747">
                  <c:v>15794</c:v>
                </c:pt>
                <c:pt idx="28748">
                  <c:v>16656</c:v>
                </c:pt>
                <c:pt idx="28749">
                  <c:v>11190</c:v>
                </c:pt>
                <c:pt idx="28750">
                  <c:v>8337</c:v>
                </c:pt>
                <c:pt idx="28751">
                  <c:v>2032</c:v>
                </c:pt>
                <c:pt idx="28752">
                  <c:v>80</c:v>
                </c:pt>
                <c:pt idx="28753">
                  <c:v>5026</c:v>
                </c:pt>
                <c:pt idx="28754">
                  <c:v>214</c:v>
                </c:pt>
                <c:pt idx="28755">
                  <c:v>10815</c:v>
                </c:pt>
                <c:pt idx="28756">
                  <c:v>11326</c:v>
                </c:pt>
                <c:pt idx="28757">
                  <c:v>1125</c:v>
                </c:pt>
                <c:pt idx="28758">
                  <c:v>146</c:v>
                </c:pt>
                <c:pt idx="28759">
                  <c:v>72</c:v>
                </c:pt>
                <c:pt idx="28760">
                  <c:v>3849</c:v>
                </c:pt>
                <c:pt idx="28761">
                  <c:v>280</c:v>
                </c:pt>
                <c:pt idx="28762">
                  <c:v>1269</c:v>
                </c:pt>
                <c:pt idx="28763">
                  <c:v>400</c:v>
                </c:pt>
                <c:pt idx="28764">
                  <c:v>557</c:v>
                </c:pt>
                <c:pt idx="28765">
                  <c:v>4636</c:v>
                </c:pt>
                <c:pt idx="28766">
                  <c:v>103</c:v>
                </c:pt>
                <c:pt idx="28767">
                  <c:v>1398</c:v>
                </c:pt>
                <c:pt idx="28768">
                  <c:v>2884</c:v>
                </c:pt>
                <c:pt idx="28769">
                  <c:v>1026</c:v>
                </c:pt>
                <c:pt idx="28770">
                  <c:v>118</c:v>
                </c:pt>
                <c:pt idx="28771">
                  <c:v>109</c:v>
                </c:pt>
                <c:pt idx="28772">
                  <c:v>1223</c:v>
                </c:pt>
                <c:pt idx="28773">
                  <c:v>2326</c:v>
                </c:pt>
                <c:pt idx="28774">
                  <c:v>1732</c:v>
                </c:pt>
                <c:pt idx="28775">
                  <c:v>401</c:v>
                </c:pt>
                <c:pt idx="28776">
                  <c:v>51</c:v>
                </c:pt>
                <c:pt idx="28777">
                  <c:v>2240</c:v>
                </c:pt>
                <c:pt idx="28778">
                  <c:v>2722</c:v>
                </c:pt>
                <c:pt idx="28779">
                  <c:v>6479</c:v>
                </c:pt>
                <c:pt idx="28780">
                  <c:v>5178</c:v>
                </c:pt>
                <c:pt idx="28781">
                  <c:v>14712</c:v>
                </c:pt>
                <c:pt idx="28782">
                  <c:v>200</c:v>
                </c:pt>
                <c:pt idx="28783">
                  <c:v>693</c:v>
                </c:pt>
                <c:pt idx="28784">
                  <c:v>254</c:v>
                </c:pt>
                <c:pt idx="28785">
                  <c:v>634</c:v>
                </c:pt>
                <c:pt idx="28786">
                  <c:v>3698</c:v>
                </c:pt>
                <c:pt idx="28787">
                  <c:v>254</c:v>
                </c:pt>
                <c:pt idx="28788">
                  <c:v>1463</c:v>
                </c:pt>
                <c:pt idx="28789">
                  <c:v>526</c:v>
                </c:pt>
                <c:pt idx="28790">
                  <c:v>400</c:v>
                </c:pt>
                <c:pt idx="28791">
                  <c:v>1112</c:v>
                </c:pt>
                <c:pt idx="28792">
                  <c:v>3239</c:v>
                </c:pt>
                <c:pt idx="28793">
                  <c:v>11631</c:v>
                </c:pt>
                <c:pt idx="28794">
                  <c:v>1178</c:v>
                </c:pt>
                <c:pt idx="28795">
                  <c:v>397</c:v>
                </c:pt>
                <c:pt idx="28796">
                  <c:v>16322</c:v>
                </c:pt>
                <c:pt idx="28797">
                  <c:v>537</c:v>
                </c:pt>
                <c:pt idx="28798">
                  <c:v>3956</c:v>
                </c:pt>
                <c:pt idx="28799">
                  <c:v>15781</c:v>
                </c:pt>
                <c:pt idx="28800">
                  <c:v>1195</c:v>
                </c:pt>
                <c:pt idx="28801">
                  <c:v>3482</c:v>
                </c:pt>
                <c:pt idx="28802">
                  <c:v>1109</c:v>
                </c:pt>
                <c:pt idx="28803">
                  <c:v>195</c:v>
                </c:pt>
                <c:pt idx="28804">
                  <c:v>58</c:v>
                </c:pt>
                <c:pt idx="28805">
                  <c:v>432</c:v>
                </c:pt>
                <c:pt idx="28806">
                  <c:v>243</c:v>
                </c:pt>
                <c:pt idx="28807">
                  <c:v>2476</c:v>
                </c:pt>
                <c:pt idx="28808">
                  <c:v>938</c:v>
                </c:pt>
                <c:pt idx="28809">
                  <c:v>3013</c:v>
                </c:pt>
                <c:pt idx="28810">
                  <c:v>10913</c:v>
                </c:pt>
                <c:pt idx="28811">
                  <c:v>118</c:v>
                </c:pt>
                <c:pt idx="28812">
                  <c:v>3806</c:v>
                </c:pt>
                <c:pt idx="28813">
                  <c:v>901</c:v>
                </c:pt>
                <c:pt idx="28814">
                  <c:v>21049</c:v>
                </c:pt>
                <c:pt idx="28815">
                  <c:v>665</c:v>
                </c:pt>
                <c:pt idx="28816">
                  <c:v>671</c:v>
                </c:pt>
                <c:pt idx="28817">
                  <c:v>663</c:v>
                </c:pt>
                <c:pt idx="28818">
                  <c:v>1273</c:v>
                </c:pt>
                <c:pt idx="28819">
                  <c:v>9688</c:v>
                </c:pt>
                <c:pt idx="28820">
                  <c:v>128</c:v>
                </c:pt>
                <c:pt idx="28821">
                  <c:v>753</c:v>
                </c:pt>
                <c:pt idx="28822">
                  <c:v>1296</c:v>
                </c:pt>
                <c:pt idx="28823">
                  <c:v>278</c:v>
                </c:pt>
                <c:pt idx="28824">
                  <c:v>546</c:v>
                </c:pt>
                <c:pt idx="28825">
                  <c:v>455</c:v>
                </c:pt>
                <c:pt idx="28826">
                  <c:v>6073</c:v>
                </c:pt>
                <c:pt idx="28827">
                  <c:v>24900</c:v>
                </c:pt>
                <c:pt idx="28828">
                  <c:v>17888</c:v>
                </c:pt>
                <c:pt idx="28829">
                  <c:v>7575</c:v>
                </c:pt>
                <c:pt idx="28830">
                  <c:v>10198</c:v>
                </c:pt>
                <c:pt idx="28831">
                  <c:v>13673</c:v>
                </c:pt>
                <c:pt idx="28832">
                  <c:v>11373</c:v>
                </c:pt>
                <c:pt idx="28833">
                  <c:v>3256</c:v>
                </c:pt>
                <c:pt idx="28834">
                  <c:v>145</c:v>
                </c:pt>
                <c:pt idx="28835">
                  <c:v>5824</c:v>
                </c:pt>
                <c:pt idx="28836">
                  <c:v>2639</c:v>
                </c:pt>
                <c:pt idx="28837">
                  <c:v>31763</c:v>
                </c:pt>
                <c:pt idx="28838">
                  <c:v>14617</c:v>
                </c:pt>
                <c:pt idx="28839">
                  <c:v>17010</c:v>
                </c:pt>
                <c:pt idx="28840">
                  <c:v>14440</c:v>
                </c:pt>
                <c:pt idx="28841">
                  <c:v>9411</c:v>
                </c:pt>
                <c:pt idx="28842">
                  <c:v>20704</c:v>
                </c:pt>
                <c:pt idx="28843">
                  <c:v>14864</c:v>
                </c:pt>
                <c:pt idx="28844">
                  <c:v>2259</c:v>
                </c:pt>
                <c:pt idx="28845">
                  <c:v>1193</c:v>
                </c:pt>
                <c:pt idx="28846">
                  <c:v>344</c:v>
                </c:pt>
                <c:pt idx="28847">
                  <c:v>3346</c:v>
                </c:pt>
                <c:pt idx="28848">
                  <c:v>2888</c:v>
                </c:pt>
                <c:pt idx="28849">
                  <c:v>53</c:v>
                </c:pt>
                <c:pt idx="28850">
                  <c:v>834</c:v>
                </c:pt>
                <c:pt idx="28851">
                  <c:v>5874</c:v>
                </c:pt>
                <c:pt idx="28852">
                  <c:v>83</c:v>
                </c:pt>
                <c:pt idx="28853">
                  <c:v>3255</c:v>
                </c:pt>
                <c:pt idx="28854">
                  <c:v>995</c:v>
                </c:pt>
                <c:pt idx="28855">
                  <c:v>134</c:v>
                </c:pt>
                <c:pt idx="28856">
                  <c:v>204</c:v>
                </c:pt>
                <c:pt idx="28857">
                  <c:v>1749</c:v>
                </c:pt>
                <c:pt idx="28858">
                  <c:v>82</c:v>
                </c:pt>
                <c:pt idx="28859">
                  <c:v>87</c:v>
                </c:pt>
                <c:pt idx="28860">
                  <c:v>331</c:v>
                </c:pt>
                <c:pt idx="28861">
                  <c:v>20620</c:v>
                </c:pt>
                <c:pt idx="28862">
                  <c:v>1819</c:v>
                </c:pt>
                <c:pt idx="28863">
                  <c:v>3445</c:v>
                </c:pt>
                <c:pt idx="28864">
                  <c:v>997</c:v>
                </c:pt>
                <c:pt idx="28865">
                  <c:v>1502</c:v>
                </c:pt>
                <c:pt idx="28866">
                  <c:v>114</c:v>
                </c:pt>
                <c:pt idx="28867">
                  <c:v>542</c:v>
                </c:pt>
                <c:pt idx="28868">
                  <c:v>1159</c:v>
                </c:pt>
                <c:pt idx="28869">
                  <c:v>5042</c:v>
                </c:pt>
                <c:pt idx="28870">
                  <c:v>413</c:v>
                </c:pt>
                <c:pt idx="28871">
                  <c:v>755</c:v>
                </c:pt>
                <c:pt idx="28872">
                  <c:v>1991</c:v>
                </c:pt>
                <c:pt idx="28873">
                  <c:v>2337</c:v>
                </c:pt>
                <c:pt idx="28874">
                  <c:v>1114</c:v>
                </c:pt>
                <c:pt idx="28875">
                  <c:v>1304</c:v>
                </c:pt>
                <c:pt idx="28876">
                  <c:v>989</c:v>
                </c:pt>
                <c:pt idx="28877">
                  <c:v>71</c:v>
                </c:pt>
                <c:pt idx="28878">
                  <c:v>1186</c:v>
                </c:pt>
                <c:pt idx="28879">
                  <c:v>12565</c:v>
                </c:pt>
                <c:pt idx="28880">
                  <c:v>19310</c:v>
                </c:pt>
                <c:pt idx="28881">
                  <c:v>6865</c:v>
                </c:pt>
                <c:pt idx="28882">
                  <c:v>16300</c:v>
                </c:pt>
                <c:pt idx="28883">
                  <c:v>3343</c:v>
                </c:pt>
                <c:pt idx="28884">
                  <c:v>482</c:v>
                </c:pt>
                <c:pt idx="28885">
                  <c:v>243</c:v>
                </c:pt>
                <c:pt idx="28886">
                  <c:v>15933</c:v>
                </c:pt>
                <c:pt idx="28887">
                  <c:v>6761</c:v>
                </c:pt>
                <c:pt idx="28888">
                  <c:v>2194</c:v>
                </c:pt>
                <c:pt idx="28889">
                  <c:v>511</c:v>
                </c:pt>
                <c:pt idx="28890">
                  <c:v>474</c:v>
                </c:pt>
                <c:pt idx="28891">
                  <c:v>1689</c:v>
                </c:pt>
                <c:pt idx="28892">
                  <c:v>3253</c:v>
                </c:pt>
                <c:pt idx="28893">
                  <c:v>2219</c:v>
                </c:pt>
                <c:pt idx="28894">
                  <c:v>956</c:v>
                </c:pt>
                <c:pt idx="28895">
                  <c:v>180</c:v>
                </c:pt>
                <c:pt idx="28896">
                  <c:v>370</c:v>
                </c:pt>
                <c:pt idx="28897">
                  <c:v>8525</c:v>
                </c:pt>
                <c:pt idx="28898">
                  <c:v>411</c:v>
                </c:pt>
                <c:pt idx="28899">
                  <c:v>9184</c:v>
                </c:pt>
                <c:pt idx="28900">
                  <c:v>135</c:v>
                </c:pt>
                <c:pt idx="28901">
                  <c:v>1243</c:v>
                </c:pt>
                <c:pt idx="28902">
                  <c:v>5042</c:v>
                </c:pt>
                <c:pt idx="28903">
                  <c:v>4807</c:v>
                </c:pt>
                <c:pt idx="28904">
                  <c:v>551</c:v>
                </c:pt>
                <c:pt idx="28905">
                  <c:v>2912</c:v>
                </c:pt>
                <c:pt idx="28906">
                  <c:v>2272</c:v>
                </c:pt>
                <c:pt idx="28907">
                  <c:v>1796</c:v>
                </c:pt>
                <c:pt idx="28908">
                  <c:v>10104</c:v>
                </c:pt>
                <c:pt idx="28909">
                  <c:v>5516</c:v>
                </c:pt>
                <c:pt idx="28910">
                  <c:v>5139</c:v>
                </c:pt>
                <c:pt idx="28911">
                  <c:v>115</c:v>
                </c:pt>
                <c:pt idx="28912">
                  <c:v>1884</c:v>
                </c:pt>
                <c:pt idx="28913">
                  <c:v>346</c:v>
                </c:pt>
                <c:pt idx="28914">
                  <c:v>462</c:v>
                </c:pt>
                <c:pt idx="28915">
                  <c:v>8200</c:v>
                </c:pt>
                <c:pt idx="28916">
                  <c:v>71</c:v>
                </c:pt>
                <c:pt idx="28917">
                  <c:v>118</c:v>
                </c:pt>
                <c:pt idx="28918">
                  <c:v>5019</c:v>
                </c:pt>
                <c:pt idx="28919">
                  <c:v>4028</c:v>
                </c:pt>
                <c:pt idx="28920">
                  <c:v>3555</c:v>
                </c:pt>
                <c:pt idx="28921">
                  <c:v>435</c:v>
                </c:pt>
                <c:pt idx="28922">
                  <c:v>3123</c:v>
                </c:pt>
                <c:pt idx="28923">
                  <c:v>3507</c:v>
                </c:pt>
                <c:pt idx="28924">
                  <c:v>2813</c:v>
                </c:pt>
                <c:pt idx="28925">
                  <c:v>546</c:v>
                </c:pt>
                <c:pt idx="28926">
                  <c:v>282</c:v>
                </c:pt>
                <c:pt idx="28927">
                  <c:v>740</c:v>
                </c:pt>
                <c:pt idx="28928">
                  <c:v>328</c:v>
                </c:pt>
                <c:pt idx="28929">
                  <c:v>316</c:v>
                </c:pt>
                <c:pt idx="28930">
                  <c:v>894</c:v>
                </c:pt>
                <c:pt idx="28931">
                  <c:v>7634</c:v>
                </c:pt>
                <c:pt idx="28932">
                  <c:v>99</c:v>
                </c:pt>
                <c:pt idx="28933">
                  <c:v>293</c:v>
                </c:pt>
                <c:pt idx="28934">
                  <c:v>630</c:v>
                </c:pt>
                <c:pt idx="28935">
                  <c:v>289</c:v>
                </c:pt>
                <c:pt idx="28936">
                  <c:v>248</c:v>
                </c:pt>
                <c:pt idx="28937">
                  <c:v>1794</c:v>
                </c:pt>
                <c:pt idx="28938">
                  <c:v>716</c:v>
                </c:pt>
                <c:pt idx="28939">
                  <c:v>1854</c:v>
                </c:pt>
                <c:pt idx="28940">
                  <c:v>233</c:v>
                </c:pt>
                <c:pt idx="28941">
                  <c:v>4765</c:v>
                </c:pt>
                <c:pt idx="28942">
                  <c:v>418</c:v>
                </c:pt>
                <c:pt idx="28943">
                  <c:v>712</c:v>
                </c:pt>
                <c:pt idx="28944">
                  <c:v>174</c:v>
                </c:pt>
                <c:pt idx="28945">
                  <c:v>270</c:v>
                </c:pt>
                <c:pt idx="28946">
                  <c:v>465</c:v>
                </c:pt>
                <c:pt idx="28947">
                  <c:v>107</c:v>
                </c:pt>
                <c:pt idx="28948">
                  <c:v>1601</c:v>
                </c:pt>
                <c:pt idx="28949">
                  <c:v>339</c:v>
                </c:pt>
                <c:pt idx="28950">
                  <c:v>92</c:v>
                </c:pt>
                <c:pt idx="28951">
                  <c:v>225</c:v>
                </c:pt>
                <c:pt idx="28952">
                  <c:v>200</c:v>
                </c:pt>
                <c:pt idx="28953">
                  <c:v>132</c:v>
                </c:pt>
                <c:pt idx="28954">
                  <c:v>197</c:v>
                </c:pt>
                <c:pt idx="28955">
                  <c:v>314</c:v>
                </c:pt>
                <c:pt idx="28956">
                  <c:v>28</c:v>
                </c:pt>
                <c:pt idx="28957">
                  <c:v>497</c:v>
                </c:pt>
                <c:pt idx="28958">
                  <c:v>220</c:v>
                </c:pt>
                <c:pt idx="28959">
                  <c:v>192</c:v>
                </c:pt>
                <c:pt idx="28960">
                  <c:v>87</c:v>
                </c:pt>
                <c:pt idx="28961">
                  <c:v>404</c:v>
                </c:pt>
                <c:pt idx="28962">
                  <c:v>278</c:v>
                </c:pt>
                <c:pt idx="28963">
                  <c:v>185</c:v>
                </c:pt>
                <c:pt idx="28964">
                  <c:v>2487</c:v>
                </c:pt>
                <c:pt idx="28965">
                  <c:v>295</c:v>
                </c:pt>
                <c:pt idx="28966">
                  <c:v>50</c:v>
                </c:pt>
                <c:pt idx="28967">
                  <c:v>904</c:v>
                </c:pt>
                <c:pt idx="28968">
                  <c:v>88</c:v>
                </c:pt>
                <c:pt idx="28969">
                  <c:v>71</c:v>
                </c:pt>
                <c:pt idx="28970">
                  <c:v>34</c:v>
                </c:pt>
                <c:pt idx="28971">
                  <c:v>105</c:v>
                </c:pt>
                <c:pt idx="28972">
                  <c:v>18</c:v>
                </c:pt>
                <c:pt idx="28973">
                  <c:v>403</c:v>
                </c:pt>
                <c:pt idx="28974">
                  <c:v>3404</c:v>
                </c:pt>
                <c:pt idx="28975">
                  <c:v>243</c:v>
                </c:pt>
                <c:pt idx="28976">
                  <c:v>239</c:v>
                </c:pt>
                <c:pt idx="28977">
                  <c:v>558</c:v>
                </c:pt>
                <c:pt idx="28978">
                  <c:v>654</c:v>
                </c:pt>
                <c:pt idx="28979">
                  <c:v>16140</c:v>
                </c:pt>
                <c:pt idx="28980">
                  <c:v>1026</c:v>
                </c:pt>
                <c:pt idx="28981">
                  <c:v>280</c:v>
                </c:pt>
                <c:pt idx="28982">
                  <c:v>1096</c:v>
                </c:pt>
                <c:pt idx="28983">
                  <c:v>458</c:v>
                </c:pt>
                <c:pt idx="28984">
                  <c:v>335</c:v>
                </c:pt>
                <c:pt idx="28985">
                  <c:v>463</c:v>
                </c:pt>
                <c:pt idx="28986">
                  <c:v>116</c:v>
                </c:pt>
                <c:pt idx="28987">
                  <c:v>222</c:v>
                </c:pt>
                <c:pt idx="28988">
                  <c:v>219</c:v>
                </c:pt>
                <c:pt idx="28989">
                  <c:v>573</c:v>
                </c:pt>
                <c:pt idx="28990">
                  <c:v>548</c:v>
                </c:pt>
                <c:pt idx="28991">
                  <c:v>6030</c:v>
                </c:pt>
                <c:pt idx="28992">
                  <c:v>8782</c:v>
                </c:pt>
                <c:pt idx="28993">
                  <c:v>10416</c:v>
                </c:pt>
                <c:pt idx="28994">
                  <c:v>4309</c:v>
                </c:pt>
                <c:pt idx="28995">
                  <c:v>21306</c:v>
                </c:pt>
                <c:pt idx="28996">
                  <c:v>19650</c:v>
                </c:pt>
                <c:pt idx="28997">
                  <c:v>14840</c:v>
                </c:pt>
                <c:pt idx="28998">
                  <c:v>25609</c:v>
                </c:pt>
                <c:pt idx="28999">
                  <c:v>10109</c:v>
                </c:pt>
                <c:pt idx="29000">
                  <c:v>13135</c:v>
                </c:pt>
                <c:pt idx="29001">
                  <c:v>9429</c:v>
                </c:pt>
                <c:pt idx="29002">
                  <c:v>6292</c:v>
                </c:pt>
                <c:pt idx="29003">
                  <c:v>15521</c:v>
                </c:pt>
                <c:pt idx="29004">
                  <c:v>10815</c:v>
                </c:pt>
                <c:pt idx="29005">
                  <c:v>36928</c:v>
                </c:pt>
                <c:pt idx="29006">
                  <c:v>3988</c:v>
                </c:pt>
                <c:pt idx="29007">
                  <c:v>1909</c:v>
                </c:pt>
                <c:pt idx="29008">
                  <c:v>4468</c:v>
                </c:pt>
                <c:pt idx="29009">
                  <c:v>1928</c:v>
                </c:pt>
                <c:pt idx="29010">
                  <c:v>1672</c:v>
                </c:pt>
                <c:pt idx="29011">
                  <c:v>74</c:v>
                </c:pt>
                <c:pt idx="29012">
                  <c:v>487</c:v>
                </c:pt>
                <c:pt idx="29013">
                  <c:v>63</c:v>
                </c:pt>
                <c:pt idx="29014">
                  <c:v>22063</c:v>
                </c:pt>
                <c:pt idx="29015">
                  <c:v>14029</c:v>
                </c:pt>
                <c:pt idx="29016">
                  <c:v>7514</c:v>
                </c:pt>
                <c:pt idx="29017">
                  <c:v>303</c:v>
                </c:pt>
                <c:pt idx="29018">
                  <c:v>6996</c:v>
                </c:pt>
                <c:pt idx="29019">
                  <c:v>87</c:v>
                </c:pt>
                <c:pt idx="29020">
                  <c:v>139</c:v>
                </c:pt>
                <c:pt idx="29021">
                  <c:v>859</c:v>
                </c:pt>
                <c:pt idx="29022">
                  <c:v>754</c:v>
                </c:pt>
                <c:pt idx="29023">
                  <c:v>3577</c:v>
                </c:pt>
                <c:pt idx="29024">
                  <c:v>5611</c:v>
                </c:pt>
                <c:pt idx="29025">
                  <c:v>16478</c:v>
                </c:pt>
                <c:pt idx="29026">
                  <c:v>7845</c:v>
                </c:pt>
                <c:pt idx="29027">
                  <c:v>11812</c:v>
                </c:pt>
                <c:pt idx="29028">
                  <c:v>85</c:v>
                </c:pt>
                <c:pt idx="29029">
                  <c:v>22</c:v>
                </c:pt>
                <c:pt idx="29030">
                  <c:v>1836</c:v>
                </c:pt>
                <c:pt idx="29031">
                  <c:v>69</c:v>
                </c:pt>
                <c:pt idx="29032">
                  <c:v>563</c:v>
                </c:pt>
                <c:pt idx="29033">
                  <c:v>794</c:v>
                </c:pt>
                <c:pt idx="29034">
                  <c:v>17737</c:v>
                </c:pt>
                <c:pt idx="29035">
                  <c:v>104</c:v>
                </c:pt>
                <c:pt idx="29036">
                  <c:v>511</c:v>
                </c:pt>
                <c:pt idx="29037">
                  <c:v>8774</c:v>
                </c:pt>
                <c:pt idx="29038">
                  <c:v>8231</c:v>
                </c:pt>
                <c:pt idx="29039">
                  <c:v>13463</c:v>
                </c:pt>
                <c:pt idx="29040">
                  <c:v>7086</c:v>
                </c:pt>
                <c:pt idx="29041">
                  <c:v>20523</c:v>
                </c:pt>
                <c:pt idx="29042">
                  <c:v>19422</c:v>
                </c:pt>
                <c:pt idx="29043">
                  <c:v>18218</c:v>
                </c:pt>
                <c:pt idx="29044">
                  <c:v>11153</c:v>
                </c:pt>
                <c:pt idx="29045">
                  <c:v>10883</c:v>
                </c:pt>
                <c:pt idx="29046">
                  <c:v>8266</c:v>
                </c:pt>
                <c:pt idx="29047">
                  <c:v>5809</c:v>
                </c:pt>
                <c:pt idx="29048">
                  <c:v>216</c:v>
                </c:pt>
                <c:pt idx="29049">
                  <c:v>168</c:v>
                </c:pt>
                <c:pt idx="29050">
                  <c:v>67</c:v>
                </c:pt>
                <c:pt idx="29051">
                  <c:v>126</c:v>
                </c:pt>
                <c:pt idx="29052">
                  <c:v>30</c:v>
                </c:pt>
                <c:pt idx="29053">
                  <c:v>898</c:v>
                </c:pt>
                <c:pt idx="29054">
                  <c:v>333</c:v>
                </c:pt>
                <c:pt idx="29055">
                  <c:v>3303</c:v>
                </c:pt>
                <c:pt idx="29056">
                  <c:v>3661</c:v>
                </c:pt>
                <c:pt idx="29057">
                  <c:v>207</c:v>
                </c:pt>
                <c:pt idx="29058">
                  <c:v>126</c:v>
                </c:pt>
                <c:pt idx="29059">
                  <c:v>344</c:v>
                </c:pt>
                <c:pt idx="29060">
                  <c:v>1375</c:v>
                </c:pt>
                <c:pt idx="29061">
                  <c:v>1110</c:v>
                </c:pt>
                <c:pt idx="29062">
                  <c:v>15189</c:v>
                </c:pt>
                <c:pt idx="29063">
                  <c:v>125</c:v>
                </c:pt>
                <c:pt idx="29064">
                  <c:v>1168</c:v>
                </c:pt>
                <c:pt idx="29065">
                  <c:v>480</c:v>
                </c:pt>
                <c:pt idx="29066">
                  <c:v>4696</c:v>
                </c:pt>
                <c:pt idx="29067">
                  <c:v>60</c:v>
                </c:pt>
                <c:pt idx="29068">
                  <c:v>83</c:v>
                </c:pt>
                <c:pt idx="29069">
                  <c:v>60</c:v>
                </c:pt>
                <c:pt idx="29070">
                  <c:v>743</c:v>
                </c:pt>
                <c:pt idx="29071">
                  <c:v>5399</c:v>
                </c:pt>
                <c:pt idx="29072">
                  <c:v>691</c:v>
                </c:pt>
                <c:pt idx="29073">
                  <c:v>261</c:v>
                </c:pt>
                <c:pt idx="29074">
                  <c:v>6711</c:v>
                </c:pt>
                <c:pt idx="29075">
                  <c:v>8333</c:v>
                </c:pt>
                <c:pt idx="29076">
                  <c:v>90</c:v>
                </c:pt>
                <c:pt idx="29077">
                  <c:v>234</c:v>
                </c:pt>
                <c:pt idx="29078">
                  <c:v>199</c:v>
                </c:pt>
                <c:pt idx="29079">
                  <c:v>290</c:v>
                </c:pt>
                <c:pt idx="29080">
                  <c:v>60</c:v>
                </c:pt>
                <c:pt idx="29081">
                  <c:v>52</c:v>
                </c:pt>
                <c:pt idx="29082">
                  <c:v>13570</c:v>
                </c:pt>
                <c:pt idx="29083">
                  <c:v>19</c:v>
                </c:pt>
                <c:pt idx="29084">
                  <c:v>48</c:v>
                </c:pt>
                <c:pt idx="29085">
                  <c:v>1395</c:v>
                </c:pt>
                <c:pt idx="29086">
                  <c:v>18461</c:v>
                </c:pt>
                <c:pt idx="29087">
                  <c:v>194</c:v>
                </c:pt>
                <c:pt idx="29088">
                  <c:v>303</c:v>
                </c:pt>
                <c:pt idx="29089">
                  <c:v>663</c:v>
                </c:pt>
                <c:pt idx="29090">
                  <c:v>177</c:v>
                </c:pt>
                <c:pt idx="29091">
                  <c:v>1878</c:v>
                </c:pt>
                <c:pt idx="29092">
                  <c:v>7853</c:v>
                </c:pt>
                <c:pt idx="29093">
                  <c:v>17</c:v>
                </c:pt>
                <c:pt idx="29094">
                  <c:v>1350</c:v>
                </c:pt>
                <c:pt idx="29095">
                  <c:v>461</c:v>
                </c:pt>
                <c:pt idx="29096">
                  <c:v>809</c:v>
                </c:pt>
                <c:pt idx="29097">
                  <c:v>177</c:v>
                </c:pt>
                <c:pt idx="29098">
                  <c:v>138</c:v>
                </c:pt>
                <c:pt idx="29099">
                  <c:v>185</c:v>
                </c:pt>
                <c:pt idx="29100">
                  <c:v>352</c:v>
                </c:pt>
                <c:pt idx="29101">
                  <c:v>2472</c:v>
                </c:pt>
                <c:pt idx="29102">
                  <c:v>1972</c:v>
                </c:pt>
                <c:pt idx="29103">
                  <c:v>791</c:v>
                </c:pt>
                <c:pt idx="29104">
                  <c:v>308</c:v>
                </c:pt>
                <c:pt idx="29105">
                  <c:v>147</c:v>
                </c:pt>
                <c:pt idx="29106">
                  <c:v>626</c:v>
                </c:pt>
                <c:pt idx="29107">
                  <c:v>8396</c:v>
                </c:pt>
                <c:pt idx="29108">
                  <c:v>11158</c:v>
                </c:pt>
                <c:pt idx="29109">
                  <c:v>13678</c:v>
                </c:pt>
                <c:pt idx="29110">
                  <c:v>7285</c:v>
                </c:pt>
                <c:pt idx="29111">
                  <c:v>450</c:v>
                </c:pt>
                <c:pt idx="29112">
                  <c:v>74</c:v>
                </c:pt>
                <c:pt idx="29113">
                  <c:v>2138</c:v>
                </c:pt>
                <c:pt idx="29114">
                  <c:v>14</c:v>
                </c:pt>
                <c:pt idx="29115">
                  <c:v>39</c:v>
                </c:pt>
                <c:pt idx="29116">
                  <c:v>1923</c:v>
                </c:pt>
                <c:pt idx="29117">
                  <c:v>37</c:v>
                </c:pt>
                <c:pt idx="29118">
                  <c:v>172</c:v>
                </c:pt>
                <c:pt idx="29119">
                  <c:v>275</c:v>
                </c:pt>
                <c:pt idx="29120">
                  <c:v>522</c:v>
                </c:pt>
                <c:pt idx="29121">
                  <c:v>47</c:v>
                </c:pt>
                <c:pt idx="29122">
                  <c:v>77</c:v>
                </c:pt>
                <c:pt idx="29123">
                  <c:v>1519</c:v>
                </c:pt>
                <c:pt idx="29124">
                  <c:v>71</c:v>
                </c:pt>
                <c:pt idx="29125">
                  <c:v>243</c:v>
                </c:pt>
                <c:pt idx="29126">
                  <c:v>1906</c:v>
                </c:pt>
                <c:pt idx="29127">
                  <c:v>106</c:v>
                </c:pt>
                <c:pt idx="29128">
                  <c:v>84</c:v>
                </c:pt>
                <c:pt idx="29129">
                  <c:v>209</c:v>
                </c:pt>
                <c:pt idx="29130">
                  <c:v>93</c:v>
                </c:pt>
                <c:pt idx="29131">
                  <c:v>74</c:v>
                </c:pt>
                <c:pt idx="29132">
                  <c:v>609</c:v>
                </c:pt>
                <c:pt idx="29133">
                  <c:v>205</c:v>
                </c:pt>
                <c:pt idx="29134">
                  <c:v>322</c:v>
                </c:pt>
                <c:pt idx="29135">
                  <c:v>15062</c:v>
                </c:pt>
                <c:pt idx="29136">
                  <c:v>190</c:v>
                </c:pt>
                <c:pt idx="29137">
                  <c:v>1180</c:v>
                </c:pt>
                <c:pt idx="29138">
                  <c:v>366</c:v>
                </c:pt>
                <c:pt idx="29139">
                  <c:v>901</c:v>
                </c:pt>
                <c:pt idx="29140">
                  <c:v>403</c:v>
                </c:pt>
                <c:pt idx="29141">
                  <c:v>177</c:v>
                </c:pt>
                <c:pt idx="29142">
                  <c:v>1570</c:v>
                </c:pt>
                <c:pt idx="29143">
                  <c:v>4593</c:v>
                </c:pt>
                <c:pt idx="29144">
                  <c:v>803</c:v>
                </c:pt>
                <c:pt idx="29145">
                  <c:v>7004</c:v>
                </c:pt>
                <c:pt idx="29146">
                  <c:v>220</c:v>
                </c:pt>
                <c:pt idx="29147">
                  <c:v>1006</c:v>
                </c:pt>
                <c:pt idx="29148">
                  <c:v>117</c:v>
                </c:pt>
                <c:pt idx="29149">
                  <c:v>394</c:v>
                </c:pt>
                <c:pt idx="29150">
                  <c:v>500</c:v>
                </c:pt>
                <c:pt idx="29151">
                  <c:v>749</c:v>
                </c:pt>
              </c:numCache>
            </c:numRef>
          </c:xVal>
          <c:yVal>
            <c:numRef>
              <c:f>Sheet1!$Q$2:$Q$29153</c:f>
              <c:numCache>
                <c:formatCode>General</c:formatCode>
                <c:ptCount val="291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2</c:v>
                </c:pt>
                <c:pt idx="69">
                  <c:v>2</c:v>
                </c:pt>
                <c:pt idx="70">
                  <c:v>0</c:v>
                </c:pt>
                <c:pt idx="71">
                  <c:v>0</c:v>
                </c:pt>
                <c:pt idx="72">
                  <c:v>0</c:v>
                </c:pt>
                <c:pt idx="73">
                  <c:v>0</c:v>
                </c:pt>
                <c:pt idx="74">
                  <c:v>3</c:v>
                </c:pt>
                <c:pt idx="75">
                  <c:v>2</c:v>
                </c:pt>
                <c:pt idx="76">
                  <c:v>0</c:v>
                </c:pt>
                <c:pt idx="77">
                  <c:v>0</c:v>
                </c:pt>
                <c:pt idx="78">
                  <c:v>0</c:v>
                </c:pt>
                <c:pt idx="79">
                  <c:v>0</c:v>
                </c:pt>
                <c:pt idx="80">
                  <c:v>0</c:v>
                </c:pt>
                <c:pt idx="81">
                  <c:v>0</c:v>
                </c:pt>
                <c:pt idx="82">
                  <c:v>0</c:v>
                </c:pt>
                <c:pt idx="83">
                  <c:v>0</c:v>
                </c:pt>
                <c:pt idx="84">
                  <c:v>0</c:v>
                </c:pt>
                <c:pt idx="85">
                  <c:v>0</c:v>
                </c:pt>
                <c:pt idx="86">
                  <c:v>0</c:v>
                </c:pt>
                <c:pt idx="87">
                  <c:v>0</c:v>
                </c:pt>
                <c:pt idx="88">
                  <c:v>0</c:v>
                </c:pt>
                <c:pt idx="89">
                  <c:v>1</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5</c:v>
                </c:pt>
                <c:pt idx="108">
                  <c:v>0</c:v>
                </c:pt>
                <c:pt idx="109">
                  <c:v>6</c:v>
                </c:pt>
                <c:pt idx="110">
                  <c:v>0</c:v>
                </c:pt>
                <c:pt idx="111">
                  <c:v>0</c:v>
                </c:pt>
                <c:pt idx="112">
                  <c:v>0</c:v>
                </c:pt>
                <c:pt idx="113">
                  <c:v>0</c:v>
                </c:pt>
                <c:pt idx="114">
                  <c:v>0</c:v>
                </c:pt>
                <c:pt idx="115">
                  <c:v>0</c:v>
                </c:pt>
                <c:pt idx="116">
                  <c:v>15</c:v>
                </c:pt>
                <c:pt idx="117">
                  <c:v>4</c:v>
                </c:pt>
                <c:pt idx="118">
                  <c:v>0</c:v>
                </c:pt>
                <c:pt idx="119">
                  <c:v>0</c:v>
                </c:pt>
                <c:pt idx="120">
                  <c:v>0</c:v>
                </c:pt>
                <c:pt idx="121">
                  <c:v>0</c:v>
                </c:pt>
                <c:pt idx="122">
                  <c:v>9</c:v>
                </c:pt>
                <c:pt idx="123">
                  <c:v>1</c:v>
                </c:pt>
                <c:pt idx="124">
                  <c:v>0</c:v>
                </c:pt>
                <c:pt idx="125">
                  <c:v>0</c:v>
                </c:pt>
                <c:pt idx="126">
                  <c:v>0</c:v>
                </c:pt>
                <c:pt idx="127">
                  <c:v>0</c:v>
                </c:pt>
                <c:pt idx="128">
                  <c:v>1</c:v>
                </c:pt>
                <c:pt idx="129">
                  <c:v>1</c:v>
                </c:pt>
                <c:pt idx="130">
                  <c:v>0</c:v>
                </c:pt>
                <c:pt idx="131">
                  <c:v>6</c:v>
                </c:pt>
                <c:pt idx="132">
                  <c:v>0</c:v>
                </c:pt>
                <c:pt idx="133">
                  <c:v>0</c:v>
                </c:pt>
                <c:pt idx="134">
                  <c:v>3</c:v>
                </c:pt>
                <c:pt idx="135">
                  <c:v>3</c:v>
                </c:pt>
                <c:pt idx="136">
                  <c:v>2</c:v>
                </c:pt>
                <c:pt idx="137">
                  <c:v>0</c:v>
                </c:pt>
                <c:pt idx="138">
                  <c:v>0</c:v>
                </c:pt>
                <c:pt idx="139">
                  <c:v>2</c:v>
                </c:pt>
                <c:pt idx="140">
                  <c:v>0</c:v>
                </c:pt>
                <c:pt idx="141">
                  <c:v>1</c:v>
                </c:pt>
                <c:pt idx="142">
                  <c:v>1</c:v>
                </c:pt>
                <c:pt idx="143">
                  <c:v>1</c:v>
                </c:pt>
                <c:pt idx="144">
                  <c:v>0</c:v>
                </c:pt>
                <c:pt idx="145">
                  <c:v>1</c:v>
                </c:pt>
                <c:pt idx="146">
                  <c:v>0</c:v>
                </c:pt>
                <c:pt idx="147">
                  <c:v>0</c:v>
                </c:pt>
                <c:pt idx="148">
                  <c:v>0</c:v>
                </c:pt>
                <c:pt idx="149">
                  <c:v>0</c:v>
                </c:pt>
                <c:pt idx="150">
                  <c:v>0</c:v>
                </c:pt>
                <c:pt idx="151">
                  <c:v>0</c:v>
                </c:pt>
                <c:pt idx="152">
                  <c:v>0</c:v>
                </c:pt>
                <c:pt idx="153">
                  <c:v>0</c:v>
                </c:pt>
                <c:pt idx="154">
                  <c:v>2</c:v>
                </c:pt>
                <c:pt idx="155">
                  <c:v>0</c:v>
                </c:pt>
                <c:pt idx="156">
                  <c:v>0</c:v>
                </c:pt>
                <c:pt idx="157">
                  <c:v>0</c:v>
                </c:pt>
                <c:pt idx="158">
                  <c:v>1</c:v>
                </c:pt>
                <c:pt idx="159">
                  <c:v>0</c:v>
                </c:pt>
                <c:pt idx="160">
                  <c:v>0</c:v>
                </c:pt>
                <c:pt idx="161">
                  <c:v>0</c:v>
                </c:pt>
                <c:pt idx="162">
                  <c:v>0</c:v>
                </c:pt>
                <c:pt idx="163">
                  <c:v>0</c:v>
                </c:pt>
                <c:pt idx="164">
                  <c:v>0</c:v>
                </c:pt>
                <c:pt idx="165">
                  <c:v>0</c:v>
                </c:pt>
                <c:pt idx="166">
                  <c:v>2</c:v>
                </c:pt>
                <c:pt idx="167">
                  <c:v>0</c:v>
                </c:pt>
                <c:pt idx="168">
                  <c:v>0</c:v>
                </c:pt>
                <c:pt idx="169">
                  <c:v>0</c:v>
                </c:pt>
                <c:pt idx="170">
                  <c:v>0</c:v>
                </c:pt>
                <c:pt idx="171">
                  <c:v>0</c:v>
                </c:pt>
                <c:pt idx="172">
                  <c:v>0</c:v>
                </c:pt>
                <c:pt idx="173">
                  <c:v>0</c:v>
                </c:pt>
                <c:pt idx="174">
                  <c:v>0</c:v>
                </c:pt>
                <c:pt idx="175">
                  <c:v>5</c:v>
                </c:pt>
                <c:pt idx="176">
                  <c:v>0</c:v>
                </c:pt>
                <c:pt idx="177">
                  <c:v>5</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1</c:v>
                </c:pt>
                <c:pt idx="193">
                  <c:v>0</c:v>
                </c:pt>
                <c:pt idx="194">
                  <c:v>1</c:v>
                </c:pt>
                <c:pt idx="195">
                  <c:v>0</c:v>
                </c:pt>
                <c:pt idx="196">
                  <c:v>0</c:v>
                </c:pt>
                <c:pt idx="197">
                  <c:v>0</c:v>
                </c:pt>
                <c:pt idx="198">
                  <c:v>0</c:v>
                </c:pt>
                <c:pt idx="199">
                  <c:v>0</c:v>
                </c:pt>
                <c:pt idx="200">
                  <c:v>2</c:v>
                </c:pt>
                <c:pt idx="201">
                  <c:v>0</c:v>
                </c:pt>
                <c:pt idx="202">
                  <c:v>0</c:v>
                </c:pt>
                <c:pt idx="203">
                  <c:v>2</c:v>
                </c:pt>
                <c:pt idx="204">
                  <c:v>1</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2</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1</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2</c:v>
                </c:pt>
                <c:pt idx="280">
                  <c:v>1</c:v>
                </c:pt>
                <c:pt idx="281">
                  <c:v>0</c:v>
                </c:pt>
                <c:pt idx="282">
                  <c:v>0</c:v>
                </c:pt>
                <c:pt idx="283">
                  <c:v>0</c:v>
                </c:pt>
                <c:pt idx="284">
                  <c:v>0</c:v>
                </c:pt>
                <c:pt idx="285">
                  <c:v>0</c:v>
                </c:pt>
                <c:pt idx="286">
                  <c:v>0</c:v>
                </c:pt>
                <c:pt idx="287">
                  <c:v>0</c:v>
                </c:pt>
                <c:pt idx="288">
                  <c:v>0</c:v>
                </c:pt>
                <c:pt idx="289">
                  <c:v>1</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3</c:v>
                </c:pt>
                <c:pt idx="318">
                  <c:v>0</c:v>
                </c:pt>
                <c:pt idx="319">
                  <c:v>0</c:v>
                </c:pt>
                <c:pt idx="320">
                  <c:v>0</c:v>
                </c:pt>
                <c:pt idx="321">
                  <c:v>0</c:v>
                </c:pt>
                <c:pt idx="322">
                  <c:v>0</c:v>
                </c:pt>
                <c:pt idx="323">
                  <c:v>0</c:v>
                </c:pt>
                <c:pt idx="324">
                  <c:v>0</c:v>
                </c:pt>
                <c:pt idx="325">
                  <c:v>1</c:v>
                </c:pt>
                <c:pt idx="326">
                  <c:v>0</c:v>
                </c:pt>
                <c:pt idx="327">
                  <c:v>3</c:v>
                </c:pt>
                <c:pt idx="328">
                  <c:v>0</c:v>
                </c:pt>
                <c:pt idx="329">
                  <c:v>0</c:v>
                </c:pt>
                <c:pt idx="330">
                  <c:v>0</c:v>
                </c:pt>
                <c:pt idx="331">
                  <c:v>2</c:v>
                </c:pt>
                <c:pt idx="332">
                  <c:v>0</c:v>
                </c:pt>
                <c:pt idx="333">
                  <c:v>0</c:v>
                </c:pt>
                <c:pt idx="334">
                  <c:v>1</c:v>
                </c:pt>
                <c:pt idx="335">
                  <c:v>2</c:v>
                </c:pt>
                <c:pt idx="336">
                  <c:v>0</c:v>
                </c:pt>
                <c:pt idx="337">
                  <c:v>0</c:v>
                </c:pt>
                <c:pt idx="338">
                  <c:v>0</c:v>
                </c:pt>
                <c:pt idx="339">
                  <c:v>0</c:v>
                </c:pt>
                <c:pt idx="340">
                  <c:v>0</c:v>
                </c:pt>
                <c:pt idx="341">
                  <c:v>0</c:v>
                </c:pt>
                <c:pt idx="342">
                  <c:v>0</c:v>
                </c:pt>
                <c:pt idx="343">
                  <c:v>4</c:v>
                </c:pt>
                <c:pt idx="344">
                  <c:v>1</c:v>
                </c:pt>
                <c:pt idx="345">
                  <c:v>0</c:v>
                </c:pt>
                <c:pt idx="346">
                  <c:v>0</c:v>
                </c:pt>
                <c:pt idx="347">
                  <c:v>1</c:v>
                </c:pt>
                <c:pt idx="348">
                  <c:v>0</c:v>
                </c:pt>
                <c:pt idx="349">
                  <c:v>1</c:v>
                </c:pt>
                <c:pt idx="350">
                  <c:v>0</c:v>
                </c:pt>
                <c:pt idx="351">
                  <c:v>0</c:v>
                </c:pt>
                <c:pt idx="352">
                  <c:v>1</c:v>
                </c:pt>
                <c:pt idx="353">
                  <c:v>0</c:v>
                </c:pt>
                <c:pt idx="354">
                  <c:v>0</c:v>
                </c:pt>
                <c:pt idx="355">
                  <c:v>0</c:v>
                </c:pt>
                <c:pt idx="356">
                  <c:v>2</c:v>
                </c:pt>
                <c:pt idx="357">
                  <c:v>0</c:v>
                </c:pt>
                <c:pt idx="358">
                  <c:v>4</c:v>
                </c:pt>
                <c:pt idx="359">
                  <c:v>0</c:v>
                </c:pt>
                <c:pt idx="360">
                  <c:v>0</c:v>
                </c:pt>
                <c:pt idx="361">
                  <c:v>3</c:v>
                </c:pt>
                <c:pt idx="362">
                  <c:v>4</c:v>
                </c:pt>
                <c:pt idx="363">
                  <c:v>0</c:v>
                </c:pt>
                <c:pt idx="364">
                  <c:v>1</c:v>
                </c:pt>
                <c:pt idx="365">
                  <c:v>0</c:v>
                </c:pt>
                <c:pt idx="366">
                  <c:v>0</c:v>
                </c:pt>
                <c:pt idx="367">
                  <c:v>1</c:v>
                </c:pt>
                <c:pt idx="368">
                  <c:v>0</c:v>
                </c:pt>
                <c:pt idx="369">
                  <c:v>1</c:v>
                </c:pt>
                <c:pt idx="370">
                  <c:v>5</c:v>
                </c:pt>
                <c:pt idx="371">
                  <c:v>3</c:v>
                </c:pt>
                <c:pt idx="372">
                  <c:v>0</c:v>
                </c:pt>
                <c:pt idx="373">
                  <c:v>1</c:v>
                </c:pt>
                <c:pt idx="374">
                  <c:v>1</c:v>
                </c:pt>
                <c:pt idx="375">
                  <c:v>0</c:v>
                </c:pt>
                <c:pt idx="376">
                  <c:v>0</c:v>
                </c:pt>
                <c:pt idx="377">
                  <c:v>3</c:v>
                </c:pt>
                <c:pt idx="378">
                  <c:v>0</c:v>
                </c:pt>
                <c:pt idx="379">
                  <c:v>0</c:v>
                </c:pt>
                <c:pt idx="380">
                  <c:v>0</c:v>
                </c:pt>
                <c:pt idx="381">
                  <c:v>0</c:v>
                </c:pt>
                <c:pt idx="382">
                  <c:v>1</c:v>
                </c:pt>
                <c:pt idx="383">
                  <c:v>2</c:v>
                </c:pt>
                <c:pt idx="384">
                  <c:v>1</c:v>
                </c:pt>
                <c:pt idx="385">
                  <c:v>0</c:v>
                </c:pt>
                <c:pt idx="386">
                  <c:v>2</c:v>
                </c:pt>
                <c:pt idx="387">
                  <c:v>0</c:v>
                </c:pt>
                <c:pt idx="388">
                  <c:v>2</c:v>
                </c:pt>
                <c:pt idx="389">
                  <c:v>0</c:v>
                </c:pt>
                <c:pt idx="390">
                  <c:v>1</c:v>
                </c:pt>
                <c:pt idx="391">
                  <c:v>0</c:v>
                </c:pt>
                <c:pt idx="392">
                  <c:v>1</c:v>
                </c:pt>
                <c:pt idx="393">
                  <c:v>2</c:v>
                </c:pt>
                <c:pt idx="394">
                  <c:v>0</c:v>
                </c:pt>
                <c:pt idx="395">
                  <c:v>0</c:v>
                </c:pt>
                <c:pt idx="396">
                  <c:v>0</c:v>
                </c:pt>
                <c:pt idx="397">
                  <c:v>2</c:v>
                </c:pt>
                <c:pt idx="398">
                  <c:v>2</c:v>
                </c:pt>
                <c:pt idx="399">
                  <c:v>1</c:v>
                </c:pt>
                <c:pt idx="400">
                  <c:v>0</c:v>
                </c:pt>
                <c:pt idx="401">
                  <c:v>0</c:v>
                </c:pt>
                <c:pt idx="402">
                  <c:v>0</c:v>
                </c:pt>
                <c:pt idx="403">
                  <c:v>0</c:v>
                </c:pt>
                <c:pt idx="404">
                  <c:v>4</c:v>
                </c:pt>
                <c:pt idx="405">
                  <c:v>2</c:v>
                </c:pt>
                <c:pt idx="406">
                  <c:v>0</c:v>
                </c:pt>
                <c:pt idx="407">
                  <c:v>0</c:v>
                </c:pt>
                <c:pt idx="408">
                  <c:v>5</c:v>
                </c:pt>
                <c:pt idx="409">
                  <c:v>0</c:v>
                </c:pt>
                <c:pt idx="410">
                  <c:v>0</c:v>
                </c:pt>
                <c:pt idx="411">
                  <c:v>2</c:v>
                </c:pt>
                <c:pt idx="412">
                  <c:v>0</c:v>
                </c:pt>
                <c:pt idx="413">
                  <c:v>2</c:v>
                </c:pt>
                <c:pt idx="414">
                  <c:v>0</c:v>
                </c:pt>
                <c:pt idx="415">
                  <c:v>1</c:v>
                </c:pt>
                <c:pt idx="416">
                  <c:v>0</c:v>
                </c:pt>
                <c:pt idx="417">
                  <c:v>1</c:v>
                </c:pt>
                <c:pt idx="418">
                  <c:v>1</c:v>
                </c:pt>
                <c:pt idx="419">
                  <c:v>1</c:v>
                </c:pt>
                <c:pt idx="420">
                  <c:v>0</c:v>
                </c:pt>
                <c:pt idx="421">
                  <c:v>0</c:v>
                </c:pt>
                <c:pt idx="422">
                  <c:v>6</c:v>
                </c:pt>
                <c:pt idx="423">
                  <c:v>0</c:v>
                </c:pt>
                <c:pt idx="424">
                  <c:v>0</c:v>
                </c:pt>
                <c:pt idx="425">
                  <c:v>0</c:v>
                </c:pt>
                <c:pt idx="426">
                  <c:v>3</c:v>
                </c:pt>
                <c:pt idx="427">
                  <c:v>0</c:v>
                </c:pt>
                <c:pt idx="428">
                  <c:v>0</c:v>
                </c:pt>
                <c:pt idx="429">
                  <c:v>2</c:v>
                </c:pt>
                <c:pt idx="430">
                  <c:v>0</c:v>
                </c:pt>
                <c:pt idx="431">
                  <c:v>0</c:v>
                </c:pt>
                <c:pt idx="432">
                  <c:v>0</c:v>
                </c:pt>
                <c:pt idx="433">
                  <c:v>1</c:v>
                </c:pt>
                <c:pt idx="434">
                  <c:v>2</c:v>
                </c:pt>
                <c:pt idx="435">
                  <c:v>0</c:v>
                </c:pt>
                <c:pt idx="436">
                  <c:v>0</c:v>
                </c:pt>
                <c:pt idx="437">
                  <c:v>2</c:v>
                </c:pt>
                <c:pt idx="438">
                  <c:v>3</c:v>
                </c:pt>
                <c:pt idx="439">
                  <c:v>2</c:v>
                </c:pt>
                <c:pt idx="440">
                  <c:v>0</c:v>
                </c:pt>
                <c:pt idx="441">
                  <c:v>0</c:v>
                </c:pt>
                <c:pt idx="442">
                  <c:v>1</c:v>
                </c:pt>
                <c:pt idx="443">
                  <c:v>4</c:v>
                </c:pt>
                <c:pt idx="444">
                  <c:v>1</c:v>
                </c:pt>
                <c:pt idx="445">
                  <c:v>1</c:v>
                </c:pt>
                <c:pt idx="446">
                  <c:v>0</c:v>
                </c:pt>
                <c:pt idx="447">
                  <c:v>0</c:v>
                </c:pt>
                <c:pt idx="448">
                  <c:v>2</c:v>
                </c:pt>
                <c:pt idx="449">
                  <c:v>1</c:v>
                </c:pt>
                <c:pt idx="450">
                  <c:v>0</c:v>
                </c:pt>
                <c:pt idx="451">
                  <c:v>1</c:v>
                </c:pt>
                <c:pt idx="452">
                  <c:v>0</c:v>
                </c:pt>
                <c:pt idx="453">
                  <c:v>0</c:v>
                </c:pt>
                <c:pt idx="454">
                  <c:v>1</c:v>
                </c:pt>
                <c:pt idx="455">
                  <c:v>3</c:v>
                </c:pt>
                <c:pt idx="456">
                  <c:v>1</c:v>
                </c:pt>
                <c:pt idx="457">
                  <c:v>4</c:v>
                </c:pt>
                <c:pt idx="458">
                  <c:v>1</c:v>
                </c:pt>
                <c:pt idx="459">
                  <c:v>8</c:v>
                </c:pt>
                <c:pt idx="460">
                  <c:v>4</c:v>
                </c:pt>
                <c:pt idx="461">
                  <c:v>0</c:v>
                </c:pt>
                <c:pt idx="462">
                  <c:v>4</c:v>
                </c:pt>
                <c:pt idx="463">
                  <c:v>5</c:v>
                </c:pt>
                <c:pt idx="464">
                  <c:v>9</c:v>
                </c:pt>
                <c:pt idx="465">
                  <c:v>1</c:v>
                </c:pt>
                <c:pt idx="466">
                  <c:v>0</c:v>
                </c:pt>
                <c:pt idx="467">
                  <c:v>0</c:v>
                </c:pt>
                <c:pt idx="468">
                  <c:v>0</c:v>
                </c:pt>
                <c:pt idx="469">
                  <c:v>0</c:v>
                </c:pt>
                <c:pt idx="470">
                  <c:v>0</c:v>
                </c:pt>
                <c:pt idx="471">
                  <c:v>2</c:v>
                </c:pt>
                <c:pt idx="472">
                  <c:v>0</c:v>
                </c:pt>
                <c:pt idx="473">
                  <c:v>1</c:v>
                </c:pt>
                <c:pt idx="474">
                  <c:v>25</c:v>
                </c:pt>
                <c:pt idx="475">
                  <c:v>1</c:v>
                </c:pt>
                <c:pt idx="476">
                  <c:v>0</c:v>
                </c:pt>
                <c:pt idx="477">
                  <c:v>0</c:v>
                </c:pt>
                <c:pt idx="478">
                  <c:v>2</c:v>
                </c:pt>
                <c:pt idx="479">
                  <c:v>3</c:v>
                </c:pt>
                <c:pt idx="480">
                  <c:v>2</c:v>
                </c:pt>
                <c:pt idx="481">
                  <c:v>0</c:v>
                </c:pt>
                <c:pt idx="482">
                  <c:v>5</c:v>
                </c:pt>
                <c:pt idx="483">
                  <c:v>2</c:v>
                </c:pt>
                <c:pt idx="484">
                  <c:v>2</c:v>
                </c:pt>
                <c:pt idx="485">
                  <c:v>2</c:v>
                </c:pt>
                <c:pt idx="486">
                  <c:v>3</c:v>
                </c:pt>
                <c:pt idx="487">
                  <c:v>1</c:v>
                </c:pt>
                <c:pt idx="488">
                  <c:v>1</c:v>
                </c:pt>
                <c:pt idx="489">
                  <c:v>1</c:v>
                </c:pt>
                <c:pt idx="490">
                  <c:v>0</c:v>
                </c:pt>
                <c:pt idx="491">
                  <c:v>2</c:v>
                </c:pt>
                <c:pt idx="492">
                  <c:v>2</c:v>
                </c:pt>
                <c:pt idx="493">
                  <c:v>1</c:v>
                </c:pt>
                <c:pt idx="494">
                  <c:v>0</c:v>
                </c:pt>
                <c:pt idx="495">
                  <c:v>2</c:v>
                </c:pt>
                <c:pt idx="496">
                  <c:v>8</c:v>
                </c:pt>
                <c:pt idx="497">
                  <c:v>0</c:v>
                </c:pt>
                <c:pt idx="498">
                  <c:v>0</c:v>
                </c:pt>
                <c:pt idx="499">
                  <c:v>1</c:v>
                </c:pt>
                <c:pt idx="500">
                  <c:v>0</c:v>
                </c:pt>
                <c:pt idx="501">
                  <c:v>4</c:v>
                </c:pt>
                <c:pt idx="502">
                  <c:v>0</c:v>
                </c:pt>
                <c:pt idx="503">
                  <c:v>0</c:v>
                </c:pt>
                <c:pt idx="504">
                  <c:v>0</c:v>
                </c:pt>
                <c:pt idx="505">
                  <c:v>1</c:v>
                </c:pt>
                <c:pt idx="506">
                  <c:v>0</c:v>
                </c:pt>
                <c:pt idx="507">
                  <c:v>1</c:v>
                </c:pt>
                <c:pt idx="508">
                  <c:v>6</c:v>
                </c:pt>
                <c:pt idx="509">
                  <c:v>12</c:v>
                </c:pt>
                <c:pt idx="510">
                  <c:v>2</c:v>
                </c:pt>
                <c:pt idx="511">
                  <c:v>0</c:v>
                </c:pt>
                <c:pt idx="512">
                  <c:v>0</c:v>
                </c:pt>
                <c:pt idx="513">
                  <c:v>0</c:v>
                </c:pt>
                <c:pt idx="514">
                  <c:v>0</c:v>
                </c:pt>
                <c:pt idx="515">
                  <c:v>1</c:v>
                </c:pt>
                <c:pt idx="516">
                  <c:v>0</c:v>
                </c:pt>
                <c:pt idx="517">
                  <c:v>0</c:v>
                </c:pt>
                <c:pt idx="518">
                  <c:v>3</c:v>
                </c:pt>
                <c:pt idx="519">
                  <c:v>0</c:v>
                </c:pt>
                <c:pt idx="520">
                  <c:v>0</c:v>
                </c:pt>
                <c:pt idx="521">
                  <c:v>0</c:v>
                </c:pt>
                <c:pt idx="522">
                  <c:v>0</c:v>
                </c:pt>
                <c:pt idx="523">
                  <c:v>0</c:v>
                </c:pt>
                <c:pt idx="524">
                  <c:v>1</c:v>
                </c:pt>
                <c:pt idx="525">
                  <c:v>0</c:v>
                </c:pt>
                <c:pt idx="526">
                  <c:v>0</c:v>
                </c:pt>
                <c:pt idx="527">
                  <c:v>0</c:v>
                </c:pt>
                <c:pt idx="528">
                  <c:v>2</c:v>
                </c:pt>
                <c:pt idx="529">
                  <c:v>0</c:v>
                </c:pt>
                <c:pt idx="530">
                  <c:v>0</c:v>
                </c:pt>
                <c:pt idx="531">
                  <c:v>1</c:v>
                </c:pt>
                <c:pt idx="532">
                  <c:v>2</c:v>
                </c:pt>
                <c:pt idx="533">
                  <c:v>0</c:v>
                </c:pt>
                <c:pt idx="534">
                  <c:v>0</c:v>
                </c:pt>
                <c:pt idx="535">
                  <c:v>3</c:v>
                </c:pt>
                <c:pt idx="536">
                  <c:v>3</c:v>
                </c:pt>
                <c:pt idx="537">
                  <c:v>1</c:v>
                </c:pt>
                <c:pt idx="538">
                  <c:v>3</c:v>
                </c:pt>
                <c:pt idx="539">
                  <c:v>0</c:v>
                </c:pt>
                <c:pt idx="540">
                  <c:v>0</c:v>
                </c:pt>
                <c:pt idx="541">
                  <c:v>0</c:v>
                </c:pt>
                <c:pt idx="542">
                  <c:v>1</c:v>
                </c:pt>
                <c:pt idx="543">
                  <c:v>4</c:v>
                </c:pt>
                <c:pt idx="544">
                  <c:v>1</c:v>
                </c:pt>
                <c:pt idx="545">
                  <c:v>1</c:v>
                </c:pt>
                <c:pt idx="546">
                  <c:v>1</c:v>
                </c:pt>
                <c:pt idx="547">
                  <c:v>1</c:v>
                </c:pt>
                <c:pt idx="548">
                  <c:v>0</c:v>
                </c:pt>
                <c:pt idx="549">
                  <c:v>1</c:v>
                </c:pt>
                <c:pt idx="550">
                  <c:v>4</c:v>
                </c:pt>
                <c:pt idx="551">
                  <c:v>1</c:v>
                </c:pt>
                <c:pt idx="552">
                  <c:v>4</c:v>
                </c:pt>
                <c:pt idx="553">
                  <c:v>1</c:v>
                </c:pt>
                <c:pt idx="554">
                  <c:v>0</c:v>
                </c:pt>
                <c:pt idx="555">
                  <c:v>3</c:v>
                </c:pt>
                <c:pt idx="556">
                  <c:v>2</c:v>
                </c:pt>
                <c:pt idx="557">
                  <c:v>2</c:v>
                </c:pt>
                <c:pt idx="558">
                  <c:v>1</c:v>
                </c:pt>
                <c:pt idx="559">
                  <c:v>0</c:v>
                </c:pt>
                <c:pt idx="560">
                  <c:v>1</c:v>
                </c:pt>
                <c:pt idx="561">
                  <c:v>1</c:v>
                </c:pt>
                <c:pt idx="562">
                  <c:v>0</c:v>
                </c:pt>
                <c:pt idx="563">
                  <c:v>0</c:v>
                </c:pt>
                <c:pt idx="564">
                  <c:v>0</c:v>
                </c:pt>
                <c:pt idx="565">
                  <c:v>0</c:v>
                </c:pt>
                <c:pt idx="566">
                  <c:v>0</c:v>
                </c:pt>
                <c:pt idx="567">
                  <c:v>0</c:v>
                </c:pt>
                <c:pt idx="568">
                  <c:v>1</c:v>
                </c:pt>
                <c:pt idx="569">
                  <c:v>0</c:v>
                </c:pt>
                <c:pt idx="570">
                  <c:v>0</c:v>
                </c:pt>
                <c:pt idx="571">
                  <c:v>0</c:v>
                </c:pt>
                <c:pt idx="572">
                  <c:v>0</c:v>
                </c:pt>
                <c:pt idx="573">
                  <c:v>0</c:v>
                </c:pt>
                <c:pt idx="574">
                  <c:v>0</c:v>
                </c:pt>
                <c:pt idx="575">
                  <c:v>0</c:v>
                </c:pt>
                <c:pt idx="576">
                  <c:v>0</c:v>
                </c:pt>
                <c:pt idx="577">
                  <c:v>0</c:v>
                </c:pt>
                <c:pt idx="578">
                  <c:v>0</c:v>
                </c:pt>
                <c:pt idx="579">
                  <c:v>0</c:v>
                </c:pt>
                <c:pt idx="580">
                  <c:v>0</c:v>
                </c:pt>
                <c:pt idx="581">
                  <c:v>2</c:v>
                </c:pt>
                <c:pt idx="582">
                  <c:v>3</c:v>
                </c:pt>
                <c:pt idx="583">
                  <c:v>0</c:v>
                </c:pt>
                <c:pt idx="584">
                  <c:v>0</c:v>
                </c:pt>
                <c:pt idx="585">
                  <c:v>0</c:v>
                </c:pt>
                <c:pt idx="586">
                  <c:v>0</c:v>
                </c:pt>
                <c:pt idx="587">
                  <c:v>0</c:v>
                </c:pt>
                <c:pt idx="588">
                  <c:v>0</c:v>
                </c:pt>
                <c:pt idx="589">
                  <c:v>0</c:v>
                </c:pt>
                <c:pt idx="590">
                  <c:v>0</c:v>
                </c:pt>
                <c:pt idx="591">
                  <c:v>0</c:v>
                </c:pt>
                <c:pt idx="592">
                  <c:v>0</c:v>
                </c:pt>
                <c:pt idx="593">
                  <c:v>1</c:v>
                </c:pt>
                <c:pt idx="594">
                  <c:v>0</c:v>
                </c:pt>
                <c:pt idx="595">
                  <c:v>0</c:v>
                </c:pt>
                <c:pt idx="596">
                  <c:v>1</c:v>
                </c:pt>
                <c:pt idx="597">
                  <c:v>0</c:v>
                </c:pt>
                <c:pt idx="598">
                  <c:v>0</c:v>
                </c:pt>
                <c:pt idx="599">
                  <c:v>0</c:v>
                </c:pt>
                <c:pt idx="600">
                  <c:v>0</c:v>
                </c:pt>
                <c:pt idx="601">
                  <c:v>0</c:v>
                </c:pt>
                <c:pt idx="602">
                  <c:v>0</c:v>
                </c:pt>
                <c:pt idx="603">
                  <c:v>1</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1</c:v>
                </c:pt>
                <c:pt idx="621">
                  <c:v>0</c:v>
                </c:pt>
                <c:pt idx="622">
                  <c:v>0</c:v>
                </c:pt>
                <c:pt idx="623">
                  <c:v>0</c:v>
                </c:pt>
                <c:pt idx="624">
                  <c:v>0</c:v>
                </c:pt>
                <c:pt idx="625">
                  <c:v>0</c:v>
                </c:pt>
                <c:pt idx="626">
                  <c:v>0</c:v>
                </c:pt>
                <c:pt idx="627">
                  <c:v>0</c:v>
                </c:pt>
                <c:pt idx="628">
                  <c:v>0</c:v>
                </c:pt>
                <c:pt idx="629">
                  <c:v>0</c:v>
                </c:pt>
                <c:pt idx="630">
                  <c:v>0</c:v>
                </c:pt>
                <c:pt idx="631">
                  <c:v>0</c:v>
                </c:pt>
                <c:pt idx="632">
                  <c:v>2</c:v>
                </c:pt>
                <c:pt idx="633">
                  <c:v>0</c:v>
                </c:pt>
                <c:pt idx="634">
                  <c:v>1</c:v>
                </c:pt>
                <c:pt idx="635">
                  <c:v>2</c:v>
                </c:pt>
                <c:pt idx="636">
                  <c:v>0</c:v>
                </c:pt>
                <c:pt idx="637">
                  <c:v>0</c:v>
                </c:pt>
                <c:pt idx="638">
                  <c:v>0</c:v>
                </c:pt>
                <c:pt idx="639">
                  <c:v>0</c:v>
                </c:pt>
                <c:pt idx="640">
                  <c:v>0</c:v>
                </c:pt>
                <c:pt idx="641">
                  <c:v>0</c:v>
                </c:pt>
                <c:pt idx="642">
                  <c:v>0</c:v>
                </c:pt>
                <c:pt idx="643">
                  <c:v>1</c:v>
                </c:pt>
                <c:pt idx="644">
                  <c:v>0</c:v>
                </c:pt>
                <c:pt idx="645">
                  <c:v>0</c:v>
                </c:pt>
                <c:pt idx="646">
                  <c:v>0</c:v>
                </c:pt>
                <c:pt idx="647">
                  <c:v>0</c:v>
                </c:pt>
                <c:pt idx="648">
                  <c:v>1</c:v>
                </c:pt>
                <c:pt idx="649">
                  <c:v>0</c:v>
                </c:pt>
                <c:pt idx="650">
                  <c:v>0</c:v>
                </c:pt>
                <c:pt idx="651">
                  <c:v>0</c:v>
                </c:pt>
                <c:pt idx="652">
                  <c:v>0</c:v>
                </c:pt>
                <c:pt idx="653">
                  <c:v>0</c:v>
                </c:pt>
                <c:pt idx="654">
                  <c:v>0</c:v>
                </c:pt>
                <c:pt idx="655">
                  <c:v>0</c:v>
                </c:pt>
                <c:pt idx="656">
                  <c:v>2</c:v>
                </c:pt>
                <c:pt idx="657">
                  <c:v>0</c:v>
                </c:pt>
                <c:pt idx="658">
                  <c:v>0</c:v>
                </c:pt>
                <c:pt idx="659">
                  <c:v>0</c:v>
                </c:pt>
                <c:pt idx="660">
                  <c:v>0</c:v>
                </c:pt>
                <c:pt idx="661">
                  <c:v>0</c:v>
                </c:pt>
                <c:pt idx="662">
                  <c:v>0</c:v>
                </c:pt>
                <c:pt idx="663">
                  <c:v>0</c:v>
                </c:pt>
                <c:pt idx="664">
                  <c:v>0</c:v>
                </c:pt>
                <c:pt idx="665">
                  <c:v>0</c:v>
                </c:pt>
                <c:pt idx="666">
                  <c:v>0</c:v>
                </c:pt>
                <c:pt idx="667">
                  <c:v>0</c:v>
                </c:pt>
                <c:pt idx="668">
                  <c:v>0</c:v>
                </c:pt>
                <c:pt idx="669">
                  <c:v>1</c:v>
                </c:pt>
                <c:pt idx="670">
                  <c:v>1</c:v>
                </c:pt>
                <c:pt idx="671">
                  <c:v>1</c:v>
                </c:pt>
                <c:pt idx="672">
                  <c:v>0</c:v>
                </c:pt>
                <c:pt idx="673">
                  <c:v>0</c:v>
                </c:pt>
                <c:pt idx="674">
                  <c:v>0</c:v>
                </c:pt>
                <c:pt idx="675">
                  <c:v>0</c:v>
                </c:pt>
                <c:pt idx="676">
                  <c:v>0</c:v>
                </c:pt>
                <c:pt idx="677">
                  <c:v>0</c:v>
                </c:pt>
                <c:pt idx="678">
                  <c:v>0</c:v>
                </c:pt>
                <c:pt idx="679">
                  <c:v>1</c:v>
                </c:pt>
                <c:pt idx="680">
                  <c:v>0</c:v>
                </c:pt>
                <c:pt idx="681">
                  <c:v>0</c:v>
                </c:pt>
                <c:pt idx="682">
                  <c:v>0</c:v>
                </c:pt>
                <c:pt idx="683">
                  <c:v>0</c:v>
                </c:pt>
                <c:pt idx="684">
                  <c:v>1</c:v>
                </c:pt>
                <c:pt idx="685">
                  <c:v>0</c:v>
                </c:pt>
                <c:pt idx="686">
                  <c:v>1</c:v>
                </c:pt>
                <c:pt idx="687">
                  <c:v>0</c:v>
                </c:pt>
                <c:pt idx="688">
                  <c:v>9</c:v>
                </c:pt>
                <c:pt idx="689">
                  <c:v>1</c:v>
                </c:pt>
                <c:pt idx="690">
                  <c:v>0</c:v>
                </c:pt>
                <c:pt idx="691">
                  <c:v>0</c:v>
                </c:pt>
                <c:pt idx="692">
                  <c:v>0</c:v>
                </c:pt>
                <c:pt idx="693">
                  <c:v>1</c:v>
                </c:pt>
                <c:pt idx="694">
                  <c:v>0</c:v>
                </c:pt>
                <c:pt idx="695">
                  <c:v>0</c:v>
                </c:pt>
                <c:pt idx="696">
                  <c:v>0</c:v>
                </c:pt>
                <c:pt idx="697">
                  <c:v>0</c:v>
                </c:pt>
                <c:pt idx="698">
                  <c:v>6</c:v>
                </c:pt>
                <c:pt idx="699">
                  <c:v>1</c:v>
                </c:pt>
                <c:pt idx="700">
                  <c:v>1</c:v>
                </c:pt>
                <c:pt idx="701">
                  <c:v>1</c:v>
                </c:pt>
                <c:pt idx="702">
                  <c:v>0</c:v>
                </c:pt>
                <c:pt idx="703">
                  <c:v>0</c:v>
                </c:pt>
                <c:pt idx="704">
                  <c:v>0</c:v>
                </c:pt>
                <c:pt idx="705">
                  <c:v>0</c:v>
                </c:pt>
                <c:pt idx="706">
                  <c:v>0</c:v>
                </c:pt>
                <c:pt idx="707">
                  <c:v>0</c:v>
                </c:pt>
                <c:pt idx="708">
                  <c:v>0</c:v>
                </c:pt>
                <c:pt idx="709">
                  <c:v>0</c:v>
                </c:pt>
                <c:pt idx="710">
                  <c:v>2</c:v>
                </c:pt>
                <c:pt idx="711">
                  <c:v>1</c:v>
                </c:pt>
                <c:pt idx="712">
                  <c:v>2</c:v>
                </c:pt>
                <c:pt idx="713">
                  <c:v>0</c:v>
                </c:pt>
                <c:pt idx="714">
                  <c:v>0</c:v>
                </c:pt>
                <c:pt idx="715">
                  <c:v>0</c:v>
                </c:pt>
                <c:pt idx="716">
                  <c:v>0</c:v>
                </c:pt>
                <c:pt idx="717">
                  <c:v>0</c:v>
                </c:pt>
                <c:pt idx="718">
                  <c:v>0</c:v>
                </c:pt>
                <c:pt idx="719">
                  <c:v>0</c:v>
                </c:pt>
                <c:pt idx="720">
                  <c:v>0</c:v>
                </c:pt>
                <c:pt idx="721">
                  <c:v>1</c:v>
                </c:pt>
                <c:pt idx="722">
                  <c:v>0</c:v>
                </c:pt>
                <c:pt idx="723">
                  <c:v>0</c:v>
                </c:pt>
                <c:pt idx="724">
                  <c:v>0</c:v>
                </c:pt>
                <c:pt idx="725">
                  <c:v>0</c:v>
                </c:pt>
                <c:pt idx="726">
                  <c:v>0</c:v>
                </c:pt>
                <c:pt idx="727">
                  <c:v>0</c:v>
                </c:pt>
                <c:pt idx="728">
                  <c:v>0</c:v>
                </c:pt>
                <c:pt idx="729">
                  <c:v>1</c:v>
                </c:pt>
                <c:pt idx="730">
                  <c:v>0</c:v>
                </c:pt>
                <c:pt idx="731">
                  <c:v>1</c:v>
                </c:pt>
                <c:pt idx="732">
                  <c:v>1</c:v>
                </c:pt>
                <c:pt idx="733">
                  <c:v>0</c:v>
                </c:pt>
                <c:pt idx="734">
                  <c:v>0</c:v>
                </c:pt>
                <c:pt idx="735">
                  <c:v>0</c:v>
                </c:pt>
                <c:pt idx="736">
                  <c:v>0</c:v>
                </c:pt>
                <c:pt idx="737">
                  <c:v>3</c:v>
                </c:pt>
                <c:pt idx="738">
                  <c:v>0</c:v>
                </c:pt>
                <c:pt idx="739">
                  <c:v>0</c:v>
                </c:pt>
                <c:pt idx="740">
                  <c:v>0</c:v>
                </c:pt>
                <c:pt idx="741">
                  <c:v>0</c:v>
                </c:pt>
                <c:pt idx="742">
                  <c:v>0</c:v>
                </c:pt>
                <c:pt idx="743">
                  <c:v>4</c:v>
                </c:pt>
                <c:pt idx="744">
                  <c:v>0</c:v>
                </c:pt>
                <c:pt idx="745">
                  <c:v>0</c:v>
                </c:pt>
                <c:pt idx="746">
                  <c:v>0</c:v>
                </c:pt>
                <c:pt idx="747">
                  <c:v>0</c:v>
                </c:pt>
                <c:pt idx="748">
                  <c:v>0</c:v>
                </c:pt>
                <c:pt idx="749">
                  <c:v>0</c:v>
                </c:pt>
                <c:pt idx="750">
                  <c:v>2</c:v>
                </c:pt>
                <c:pt idx="751">
                  <c:v>0</c:v>
                </c:pt>
                <c:pt idx="752">
                  <c:v>2</c:v>
                </c:pt>
                <c:pt idx="753">
                  <c:v>0</c:v>
                </c:pt>
                <c:pt idx="754">
                  <c:v>2</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2</c:v>
                </c:pt>
                <c:pt idx="811">
                  <c:v>0</c:v>
                </c:pt>
                <c:pt idx="812">
                  <c:v>0</c:v>
                </c:pt>
                <c:pt idx="813">
                  <c:v>0</c:v>
                </c:pt>
                <c:pt idx="814">
                  <c:v>2</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1</c:v>
                </c:pt>
                <c:pt idx="884">
                  <c:v>0</c:v>
                </c:pt>
                <c:pt idx="885">
                  <c:v>3</c:v>
                </c:pt>
                <c:pt idx="886">
                  <c:v>0</c:v>
                </c:pt>
                <c:pt idx="887">
                  <c:v>0</c:v>
                </c:pt>
                <c:pt idx="888">
                  <c:v>0</c:v>
                </c:pt>
                <c:pt idx="889">
                  <c:v>0</c:v>
                </c:pt>
                <c:pt idx="890">
                  <c:v>0</c:v>
                </c:pt>
                <c:pt idx="891">
                  <c:v>0</c:v>
                </c:pt>
                <c:pt idx="892">
                  <c:v>0</c:v>
                </c:pt>
                <c:pt idx="893">
                  <c:v>0</c:v>
                </c:pt>
                <c:pt idx="894">
                  <c:v>0</c:v>
                </c:pt>
                <c:pt idx="895">
                  <c:v>0</c:v>
                </c:pt>
                <c:pt idx="896">
                  <c:v>1</c:v>
                </c:pt>
                <c:pt idx="897">
                  <c:v>0</c:v>
                </c:pt>
                <c:pt idx="898">
                  <c:v>0</c:v>
                </c:pt>
                <c:pt idx="899">
                  <c:v>0</c:v>
                </c:pt>
                <c:pt idx="900">
                  <c:v>0</c:v>
                </c:pt>
                <c:pt idx="901">
                  <c:v>0</c:v>
                </c:pt>
                <c:pt idx="902">
                  <c:v>0</c:v>
                </c:pt>
                <c:pt idx="903">
                  <c:v>0</c:v>
                </c:pt>
                <c:pt idx="904">
                  <c:v>2</c:v>
                </c:pt>
                <c:pt idx="905">
                  <c:v>0</c:v>
                </c:pt>
                <c:pt idx="906">
                  <c:v>0</c:v>
                </c:pt>
                <c:pt idx="907">
                  <c:v>0</c:v>
                </c:pt>
                <c:pt idx="908">
                  <c:v>0</c:v>
                </c:pt>
                <c:pt idx="909">
                  <c:v>0</c:v>
                </c:pt>
                <c:pt idx="910">
                  <c:v>1</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1</c:v>
                </c:pt>
                <c:pt idx="928">
                  <c:v>0</c:v>
                </c:pt>
                <c:pt idx="929">
                  <c:v>0</c:v>
                </c:pt>
                <c:pt idx="930">
                  <c:v>0</c:v>
                </c:pt>
                <c:pt idx="931">
                  <c:v>0</c:v>
                </c:pt>
                <c:pt idx="932">
                  <c:v>1</c:v>
                </c:pt>
                <c:pt idx="933">
                  <c:v>0</c:v>
                </c:pt>
                <c:pt idx="934">
                  <c:v>0</c:v>
                </c:pt>
                <c:pt idx="935">
                  <c:v>1</c:v>
                </c:pt>
                <c:pt idx="936">
                  <c:v>0</c:v>
                </c:pt>
                <c:pt idx="937">
                  <c:v>0</c:v>
                </c:pt>
                <c:pt idx="938">
                  <c:v>0</c:v>
                </c:pt>
                <c:pt idx="939">
                  <c:v>1</c:v>
                </c:pt>
                <c:pt idx="940">
                  <c:v>0</c:v>
                </c:pt>
                <c:pt idx="941">
                  <c:v>1</c:v>
                </c:pt>
                <c:pt idx="942">
                  <c:v>0</c:v>
                </c:pt>
                <c:pt idx="943">
                  <c:v>0</c:v>
                </c:pt>
                <c:pt idx="944">
                  <c:v>0</c:v>
                </c:pt>
                <c:pt idx="945">
                  <c:v>2</c:v>
                </c:pt>
                <c:pt idx="946">
                  <c:v>0</c:v>
                </c:pt>
                <c:pt idx="947">
                  <c:v>0</c:v>
                </c:pt>
                <c:pt idx="948">
                  <c:v>0</c:v>
                </c:pt>
                <c:pt idx="949">
                  <c:v>0</c:v>
                </c:pt>
                <c:pt idx="950">
                  <c:v>0</c:v>
                </c:pt>
                <c:pt idx="951">
                  <c:v>0</c:v>
                </c:pt>
                <c:pt idx="952">
                  <c:v>1</c:v>
                </c:pt>
                <c:pt idx="953">
                  <c:v>0</c:v>
                </c:pt>
                <c:pt idx="954">
                  <c:v>0</c:v>
                </c:pt>
                <c:pt idx="955">
                  <c:v>0</c:v>
                </c:pt>
                <c:pt idx="956">
                  <c:v>0</c:v>
                </c:pt>
                <c:pt idx="957">
                  <c:v>0</c:v>
                </c:pt>
                <c:pt idx="958">
                  <c:v>0</c:v>
                </c:pt>
                <c:pt idx="959">
                  <c:v>0</c:v>
                </c:pt>
                <c:pt idx="960">
                  <c:v>3</c:v>
                </c:pt>
                <c:pt idx="961">
                  <c:v>0</c:v>
                </c:pt>
                <c:pt idx="962">
                  <c:v>0</c:v>
                </c:pt>
                <c:pt idx="963">
                  <c:v>0</c:v>
                </c:pt>
                <c:pt idx="964">
                  <c:v>3</c:v>
                </c:pt>
                <c:pt idx="965">
                  <c:v>0</c:v>
                </c:pt>
                <c:pt idx="966">
                  <c:v>0</c:v>
                </c:pt>
                <c:pt idx="967">
                  <c:v>0</c:v>
                </c:pt>
                <c:pt idx="968">
                  <c:v>0</c:v>
                </c:pt>
                <c:pt idx="969">
                  <c:v>0</c:v>
                </c:pt>
                <c:pt idx="970">
                  <c:v>0</c:v>
                </c:pt>
                <c:pt idx="971">
                  <c:v>0</c:v>
                </c:pt>
                <c:pt idx="972">
                  <c:v>0</c:v>
                </c:pt>
                <c:pt idx="973">
                  <c:v>0</c:v>
                </c:pt>
                <c:pt idx="974">
                  <c:v>1</c:v>
                </c:pt>
                <c:pt idx="975">
                  <c:v>0</c:v>
                </c:pt>
                <c:pt idx="976">
                  <c:v>0</c:v>
                </c:pt>
                <c:pt idx="977">
                  <c:v>0</c:v>
                </c:pt>
                <c:pt idx="978">
                  <c:v>0</c:v>
                </c:pt>
                <c:pt idx="979">
                  <c:v>0</c:v>
                </c:pt>
                <c:pt idx="980">
                  <c:v>0</c:v>
                </c:pt>
                <c:pt idx="981">
                  <c:v>4</c:v>
                </c:pt>
                <c:pt idx="982">
                  <c:v>4</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1</c:v>
                </c:pt>
                <c:pt idx="1000">
                  <c:v>0</c:v>
                </c:pt>
                <c:pt idx="1001">
                  <c:v>7</c:v>
                </c:pt>
                <c:pt idx="1002">
                  <c:v>0</c:v>
                </c:pt>
                <c:pt idx="1003">
                  <c:v>0</c:v>
                </c:pt>
                <c:pt idx="1004">
                  <c:v>0</c:v>
                </c:pt>
                <c:pt idx="1005">
                  <c:v>0</c:v>
                </c:pt>
                <c:pt idx="1006">
                  <c:v>0</c:v>
                </c:pt>
                <c:pt idx="1007">
                  <c:v>2</c:v>
                </c:pt>
                <c:pt idx="1008">
                  <c:v>0</c:v>
                </c:pt>
                <c:pt idx="1009">
                  <c:v>0</c:v>
                </c:pt>
                <c:pt idx="1010">
                  <c:v>0</c:v>
                </c:pt>
                <c:pt idx="1011">
                  <c:v>0</c:v>
                </c:pt>
                <c:pt idx="1012">
                  <c:v>0</c:v>
                </c:pt>
                <c:pt idx="1013">
                  <c:v>0</c:v>
                </c:pt>
                <c:pt idx="1014">
                  <c:v>0</c:v>
                </c:pt>
                <c:pt idx="1015">
                  <c:v>0</c:v>
                </c:pt>
                <c:pt idx="1016">
                  <c:v>0</c:v>
                </c:pt>
                <c:pt idx="1017">
                  <c:v>0</c:v>
                </c:pt>
                <c:pt idx="1018">
                  <c:v>3</c:v>
                </c:pt>
                <c:pt idx="1019">
                  <c:v>2</c:v>
                </c:pt>
                <c:pt idx="1020">
                  <c:v>2</c:v>
                </c:pt>
                <c:pt idx="1021">
                  <c:v>1</c:v>
                </c:pt>
                <c:pt idx="1022">
                  <c:v>3</c:v>
                </c:pt>
                <c:pt idx="1023">
                  <c:v>0</c:v>
                </c:pt>
                <c:pt idx="1024">
                  <c:v>0</c:v>
                </c:pt>
                <c:pt idx="1025">
                  <c:v>0</c:v>
                </c:pt>
                <c:pt idx="1026">
                  <c:v>2</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2</c:v>
                </c:pt>
                <c:pt idx="1068">
                  <c:v>0</c:v>
                </c:pt>
                <c:pt idx="1069">
                  <c:v>0</c:v>
                </c:pt>
                <c:pt idx="1070">
                  <c:v>2</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2</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1</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1</c:v>
                </c:pt>
                <c:pt idx="1385">
                  <c:v>0</c:v>
                </c:pt>
                <c:pt idx="1386">
                  <c:v>0</c:v>
                </c:pt>
                <c:pt idx="1387">
                  <c:v>0</c:v>
                </c:pt>
                <c:pt idx="1388">
                  <c:v>0</c:v>
                </c:pt>
                <c:pt idx="1389">
                  <c:v>0</c:v>
                </c:pt>
                <c:pt idx="1390">
                  <c:v>1</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1</c:v>
                </c:pt>
                <c:pt idx="1416">
                  <c:v>4</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2</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2</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1</c:v>
                </c:pt>
                <c:pt idx="1565">
                  <c:v>1</c:v>
                </c:pt>
                <c:pt idx="1566">
                  <c:v>2</c:v>
                </c:pt>
                <c:pt idx="1567">
                  <c:v>0</c:v>
                </c:pt>
                <c:pt idx="1568">
                  <c:v>0</c:v>
                </c:pt>
                <c:pt idx="1569">
                  <c:v>0</c:v>
                </c:pt>
                <c:pt idx="1570">
                  <c:v>0</c:v>
                </c:pt>
                <c:pt idx="1571">
                  <c:v>0</c:v>
                </c:pt>
                <c:pt idx="1572">
                  <c:v>0</c:v>
                </c:pt>
                <c:pt idx="1573">
                  <c:v>0</c:v>
                </c:pt>
                <c:pt idx="1574">
                  <c:v>0</c:v>
                </c:pt>
                <c:pt idx="1575">
                  <c:v>0</c:v>
                </c:pt>
                <c:pt idx="1576">
                  <c:v>0</c:v>
                </c:pt>
                <c:pt idx="1577">
                  <c:v>0</c:v>
                </c:pt>
                <c:pt idx="1578">
                  <c:v>3</c:v>
                </c:pt>
                <c:pt idx="1579">
                  <c:v>1</c:v>
                </c:pt>
                <c:pt idx="1580">
                  <c:v>1</c:v>
                </c:pt>
                <c:pt idx="1581">
                  <c:v>0</c:v>
                </c:pt>
                <c:pt idx="1582">
                  <c:v>0</c:v>
                </c:pt>
                <c:pt idx="1583">
                  <c:v>0</c:v>
                </c:pt>
                <c:pt idx="1584">
                  <c:v>3</c:v>
                </c:pt>
                <c:pt idx="1585">
                  <c:v>0</c:v>
                </c:pt>
                <c:pt idx="1586">
                  <c:v>0</c:v>
                </c:pt>
                <c:pt idx="1587">
                  <c:v>0</c:v>
                </c:pt>
                <c:pt idx="1588">
                  <c:v>2</c:v>
                </c:pt>
                <c:pt idx="1589">
                  <c:v>0</c:v>
                </c:pt>
                <c:pt idx="1590">
                  <c:v>0</c:v>
                </c:pt>
                <c:pt idx="1591">
                  <c:v>0</c:v>
                </c:pt>
                <c:pt idx="1592">
                  <c:v>1</c:v>
                </c:pt>
                <c:pt idx="1593">
                  <c:v>0</c:v>
                </c:pt>
                <c:pt idx="1594">
                  <c:v>0</c:v>
                </c:pt>
                <c:pt idx="1595">
                  <c:v>1</c:v>
                </c:pt>
                <c:pt idx="1596">
                  <c:v>1</c:v>
                </c:pt>
                <c:pt idx="1597">
                  <c:v>0</c:v>
                </c:pt>
                <c:pt idx="1598">
                  <c:v>0</c:v>
                </c:pt>
                <c:pt idx="1599">
                  <c:v>2</c:v>
                </c:pt>
                <c:pt idx="1600">
                  <c:v>0</c:v>
                </c:pt>
                <c:pt idx="1601">
                  <c:v>0</c:v>
                </c:pt>
                <c:pt idx="1602">
                  <c:v>3</c:v>
                </c:pt>
                <c:pt idx="1603">
                  <c:v>0</c:v>
                </c:pt>
                <c:pt idx="1604">
                  <c:v>0</c:v>
                </c:pt>
                <c:pt idx="1605">
                  <c:v>0</c:v>
                </c:pt>
                <c:pt idx="1606">
                  <c:v>3</c:v>
                </c:pt>
                <c:pt idx="1607">
                  <c:v>0</c:v>
                </c:pt>
                <c:pt idx="1608">
                  <c:v>0</c:v>
                </c:pt>
                <c:pt idx="1609">
                  <c:v>0</c:v>
                </c:pt>
                <c:pt idx="1610">
                  <c:v>0</c:v>
                </c:pt>
                <c:pt idx="1611">
                  <c:v>0</c:v>
                </c:pt>
                <c:pt idx="1612">
                  <c:v>0</c:v>
                </c:pt>
                <c:pt idx="1613">
                  <c:v>0</c:v>
                </c:pt>
                <c:pt idx="1614">
                  <c:v>1</c:v>
                </c:pt>
                <c:pt idx="1615">
                  <c:v>0</c:v>
                </c:pt>
                <c:pt idx="1616">
                  <c:v>0</c:v>
                </c:pt>
                <c:pt idx="1617">
                  <c:v>6</c:v>
                </c:pt>
                <c:pt idx="1618">
                  <c:v>0</c:v>
                </c:pt>
                <c:pt idx="1619">
                  <c:v>1</c:v>
                </c:pt>
                <c:pt idx="1620">
                  <c:v>1</c:v>
                </c:pt>
                <c:pt idx="1621">
                  <c:v>0</c:v>
                </c:pt>
                <c:pt idx="1622">
                  <c:v>1</c:v>
                </c:pt>
                <c:pt idx="1623">
                  <c:v>0</c:v>
                </c:pt>
                <c:pt idx="1624">
                  <c:v>5</c:v>
                </c:pt>
                <c:pt idx="1625">
                  <c:v>0</c:v>
                </c:pt>
                <c:pt idx="1626">
                  <c:v>0</c:v>
                </c:pt>
                <c:pt idx="1627">
                  <c:v>1</c:v>
                </c:pt>
                <c:pt idx="1628">
                  <c:v>0</c:v>
                </c:pt>
                <c:pt idx="1629">
                  <c:v>0</c:v>
                </c:pt>
                <c:pt idx="1630">
                  <c:v>0</c:v>
                </c:pt>
                <c:pt idx="1631">
                  <c:v>0</c:v>
                </c:pt>
                <c:pt idx="1632">
                  <c:v>0</c:v>
                </c:pt>
                <c:pt idx="1633">
                  <c:v>0</c:v>
                </c:pt>
                <c:pt idx="1634">
                  <c:v>0</c:v>
                </c:pt>
                <c:pt idx="1635">
                  <c:v>0</c:v>
                </c:pt>
                <c:pt idx="1636">
                  <c:v>0</c:v>
                </c:pt>
                <c:pt idx="1637">
                  <c:v>0</c:v>
                </c:pt>
                <c:pt idx="1638">
                  <c:v>0</c:v>
                </c:pt>
                <c:pt idx="1639">
                  <c:v>1</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4</c:v>
                </c:pt>
                <c:pt idx="1655">
                  <c:v>0</c:v>
                </c:pt>
                <c:pt idx="1656">
                  <c:v>0</c:v>
                </c:pt>
                <c:pt idx="1657">
                  <c:v>0</c:v>
                </c:pt>
                <c:pt idx="1658">
                  <c:v>0</c:v>
                </c:pt>
                <c:pt idx="1659">
                  <c:v>0</c:v>
                </c:pt>
                <c:pt idx="1660">
                  <c:v>0</c:v>
                </c:pt>
                <c:pt idx="1661">
                  <c:v>0</c:v>
                </c:pt>
                <c:pt idx="1662">
                  <c:v>0</c:v>
                </c:pt>
                <c:pt idx="1663">
                  <c:v>0</c:v>
                </c:pt>
                <c:pt idx="1664">
                  <c:v>0</c:v>
                </c:pt>
                <c:pt idx="1665">
                  <c:v>2</c:v>
                </c:pt>
                <c:pt idx="1666">
                  <c:v>0</c:v>
                </c:pt>
                <c:pt idx="1667">
                  <c:v>0</c:v>
                </c:pt>
                <c:pt idx="1668">
                  <c:v>3</c:v>
                </c:pt>
                <c:pt idx="1669">
                  <c:v>3</c:v>
                </c:pt>
                <c:pt idx="1670">
                  <c:v>1</c:v>
                </c:pt>
                <c:pt idx="1671">
                  <c:v>0</c:v>
                </c:pt>
                <c:pt idx="1672">
                  <c:v>1</c:v>
                </c:pt>
                <c:pt idx="1673">
                  <c:v>0</c:v>
                </c:pt>
                <c:pt idx="1674">
                  <c:v>0</c:v>
                </c:pt>
                <c:pt idx="1675">
                  <c:v>1</c:v>
                </c:pt>
                <c:pt idx="1676">
                  <c:v>0</c:v>
                </c:pt>
                <c:pt idx="1677">
                  <c:v>0</c:v>
                </c:pt>
                <c:pt idx="1678">
                  <c:v>0</c:v>
                </c:pt>
                <c:pt idx="1679">
                  <c:v>0</c:v>
                </c:pt>
                <c:pt idx="1680">
                  <c:v>0</c:v>
                </c:pt>
                <c:pt idx="1681">
                  <c:v>0</c:v>
                </c:pt>
                <c:pt idx="1682">
                  <c:v>1</c:v>
                </c:pt>
                <c:pt idx="1683">
                  <c:v>0</c:v>
                </c:pt>
                <c:pt idx="1684">
                  <c:v>0</c:v>
                </c:pt>
                <c:pt idx="1685">
                  <c:v>1</c:v>
                </c:pt>
                <c:pt idx="1686">
                  <c:v>0</c:v>
                </c:pt>
                <c:pt idx="1687">
                  <c:v>3</c:v>
                </c:pt>
                <c:pt idx="1688">
                  <c:v>0</c:v>
                </c:pt>
                <c:pt idx="1689">
                  <c:v>2</c:v>
                </c:pt>
                <c:pt idx="1690">
                  <c:v>0</c:v>
                </c:pt>
                <c:pt idx="1691">
                  <c:v>2</c:v>
                </c:pt>
                <c:pt idx="1692">
                  <c:v>0</c:v>
                </c:pt>
                <c:pt idx="1693">
                  <c:v>0</c:v>
                </c:pt>
                <c:pt idx="1694">
                  <c:v>0</c:v>
                </c:pt>
                <c:pt idx="1695">
                  <c:v>0</c:v>
                </c:pt>
                <c:pt idx="1696">
                  <c:v>1</c:v>
                </c:pt>
                <c:pt idx="1697">
                  <c:v>0</c:v>
                </c:pt>
                <c:pt idx="1698">
                  <c:v>0</c:v>
                </c:pt>
                <c:pt idx="1699">
                  <c:v>2</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1</c:v>
                </c:pt>
                <c:pt idx="1717">
                  <c:v>3</c:v>
                </c:pt>
                <c:pt idx="1718">
                  <c:v>1</c:v>
                </c:pt>
                <c:pt idx="1719">
                  <c:v>0</c:v>
                </c:pt>
                <c:pt idx="1720">
                  <c:v>1</c:v>
                </c:pt>
                <c:pt idx="1721">
                  <c:v>0</c:v>
                </c:pt>
                <c:pt idx="1722">
                  <c:v>3</c:v>
                </c:pt>
                <c:pt idx="1723">
                  <c:v>0</c:v>
                </c:pt>
                <c:pt idx="1724">
                  <c:v>0</c:v>
                </c:pt>
                <c:pt idx="1725">
                  <c:v>2</c:v>
                </c:pt>
                <c:pt idx="1726">
                  <c:v>1</c:v>
                </c:pt>
                <c:pt idx="1727">
                  <c:v>2</c:v>
                </c:pt>
                <c:pt idx="1728">
                  <c:v>1</c:v>
                </c:pt>
                <c:pt idx="1729">
                  <c:v>0</c:v>
                </c:pt>
                <c:pt idx="1730">
                  <c:v>0</c:v>
                </c:pt>
                <c:pt idx="1731">
                  <c:v>0</c:v>
                </c:pt>
                <c:pt idx="1732">
                  <c:v>0</c:v>
                </c:pt>
                <c:pt idx="1733">
                  <c:v>1</c:v>
                </c:pt>
                <c:pt idx="1734">
                  <c:v>2</c:v>
                </c:pt>
                <c:pt idx="1735">
                  <c:v>1</c:v>
                </c:pt>
                <c:pt idx="1736">
                  <c:v>2</c:v>
                </c:pt>
                <c:pt idx="1737">
                  <c:v>4</c:v>
                </c:pt>
                <c:pt idx="1738">
                  <c:v>0</c:v>
                </c:pt>
                <c:pt idx="1739">
                  <c:v>1</c:v>
                </c:pt>
                <c:pt idx="1740">
                  <c:v>1</c:v>
                </c:pt>
                <c:pt idx="1741">
                  <c:v>0</c:v>
                </c:pt>
                <c:pt idx="1742">
                  <c:v>0</c:v>
                </c:pt>
                <c:pt idx="1743">
                  <c:v>1</c:v>
                </c:pt>
                <c:pt idx="1744">
                  <c:v>1</c:v>
                </c:pt>
                <c:pt idx="1745">
                  <c:v>3</c:v>
                </c:pt>
                <c:pt idx="1746">
                  <c:v>0</c:v>
                </c:pt>
                <c:pt idx="1747">
                  <c:v>2</c:v>
                </c:pt>
                <c:pt idx="1748">
                  <c:v>0</c:v>
                </c:pt>
                <c:pt idx="1749">
                  <c:v>0</c:v>
                </c:pt>
                <c:pt idx="1750">
                  <c:v>1</c:v>
                </c:pt>
                <c:pt idx="1751">
                  <c:v>1</c:v>
                </c:pt>
                <c:pt idx="1752">
                  <c:v>0</c:v>
                </c:pt>
                <c:pt idx="1753">
                  <c:v>0</c:v>
                </c:pt>
                <c:pt idx="1754">
                  <c:v>0</c:v>
                </c:pt>
                <c:pt idx="1755">
                  <c:v>0</c:v>
                </c:pt>
                <c:pt idx="1756">
                  <c:v>0</c:v>
                </c:pt>
                <c:pt idx="1757">
                  <c:v>4</c:v>
                </c:pt>
                <c:pt idx="1758">
                  <c:v>0</c:v>
                </c:pt>
                <c:pt idx="1759">
                  <c:v>1</c:v>
                </c:pt>
                <c:pt idx="1760">
                  <c:v>0</c:v>
                </c:pt>
                <c:pt idx="1761">
                  <c:v>1</c:v>
                </c:pt>
                <c:pt idx="1762">
                  <c:v>1</c:v>
                </c:pt>
                <c:pt idx="1763">
                  <c:v>0</c:v>
                </c:pt>
                <c:pt idx="1764">
                  <c:v>0</c:v>
                </c:pt>
                <c:pt idx="1765">
                  <c:v>2</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1</c:v>
                </c:pt>
                <c:pt idx="1782">
                  <c:v>0</c:v>
                </c:pt>
                <c:pt idx="1783">
                  <c:v>0</c:v>
                </c:pt>
                <c:pt idx="1784">
                  <c:v>1</c:v>
                </c:pt>
                <c:pt idx="1785">
                  <c:v>0</c:v>
                </c:pt>
                <c:pt idx="1786">
                  <c:v>0</c:v>
                </c:pt>
                <c:pt idx="1787">
                  <c:v>0</c:v>
                </c:pt>
                <c:pt idx="1788">
                  <c:v>0</c:v>
                </c:pt>
                <c:pt idx="1789">
                  <c:v>0</c:v>
                </c:pt>
                <c:pt idx="1790">
                  <c:v>0</c:v>
                </c:pt>
                <c:pt idx="1791">
                  <c:v>2</c:v>
                </c:pt>
                <c:pt idx="1792">
                  <c:v>0</c:v>
                </c:pt>
                <c:pt idx="1793">
                  <c:v>0</c:v>
                </c:pt>
                <c:pt idx="1794">
                  <c:v>0</c:v>
                </c:pt>
                <c:pt idx="1795">
                  <c:v>3</c:v>
                </c:pt>
                <c:pt idx="1796">
                  <c:v>0</c:v>
                </c:pt>
                <c:pt idx="1797">
                  <c:v>0</c:v>
                </c:pt>
                <c:pt idx="1798">
                  <c:v>0</c:v>
                </c:pt>
                <c:pt idx="1799">
                  <c:v>0</c:v>
                </c:pt>
                <c:pt idx="1800">
                  <c:v>0</c:v>
                </c:pt>
                <c:pt idx="1801">
                  <c:v>2</c:v>
                </c:pt>
                <c:pt idx="1802">
                  <c:v>1</c:v>
                </c:pt>
                <c:pt idx="1803">
                  <c:v>1</c:v>
                </c:pt>
                <c:pt idx="1804">
                  <c:v>2</c:v>
                </c:pt>
                <c:pt idx="1805">
                  <c:v>1</c:v>
                </c:pt>
                <c:pt idx="1806">
                  <c:v>1</c:v>
                </c:pt>
                <c:pt idx="1807">
                  <c:v>3</c:v>
                </c:pt>
                <c:pt idx="1808">
                  <c:v>0</c:v>
                </c:pt>
                <c:pt idx="1809">
                  <c:v>1</c:v>
                </c:pt>
                <c:pt idx="1810">
                  <c:v>0</c:v>
                </c:pt>
                <c:pt idx="1811">
                  <c:v>2</c:v>
                </c:pt>
                <c:pt idx="1812">
                  <c:v>0</c:v>
                </c:pt>
                <c:pt idx="1813">
                  <c:v>1</c:v>
                </c:pt>
                <c:pt idx="1814">
                  <c:v>0</c:v>
                </c:pt>
                <c:pt idx="1815">
                  <c:v>0</c:v>
                </c:pt>
                <c:pt idx="1816">
                  <c:v>1</c:v>
                </c:pt>
                <c:pt idx="1817">
                  <c:v>2</c:v>
                </c:pt>
                <c:pt idx="1818">
                  <c:v>3</c:v>
                </c:pt>
                <c:pt idx="1819">
                  <c:v>0</c:v>
                </c:pt>
                <c:pt idx="1820">
                  <c:v>1</c:v>
                </c:pt>
                <c:pt idx="1821">
                  <c:v>0</c:v>
                </c:pt>
                <c:pt idx="1822">
                  <c:v>1</c:v>
                </c:pt>
                <c:pt idx="1823">
                  <c:v>3</c:v>
                </c:pt>
                <c:pt idx="1824">
                  <c:v>5</c:v>
                </c:pt>
                <c:pt idx="1825">
                  <c:v>1</c:v>
                </c:pt>
                <c:pt idx="1826">
                  <c:v>0</c:v>
                </c:pt>
                <c:pt idx="1827">
                  <c:v>0</c:v>
                </c:pt>
                <c:pt idx="1828">
                  <c:v>0</c:v>
                </c:pt>
                <c:pt idx="1829">
                  <c:v>0</c:v>
                </c:pt>
                <c:pt idx="1830">
                  <c:v>2</c:v>
                </c:pt>
                <c:pt idx="1831">
                  <c:v>1</c:v>
                </c:pt>
                <c:pt idx="1832">
                  <c:v>1</c:v>
                </c:pt>
                <c:pt idx="1833">
                  <c:v>1</c:v>
                </c:pt>
                <c:pt idx="1834">
                  <c:v>1</c:v>
                </c:pt>
                <c:pt idx="1835">
                  <c:v>0</c:v>
                </c:pt>
                <c:pt idx="1836">
                  <c:v>0</c:v>
                </c:pt>
                <c:pt idx="1837">
                  <c:v>0</c:v>
                </c:pt>
                <c:pt idx="1838">
                  <c:v>0</c:v>
                </c:pt>
                <c:pt idx="1839">
                  <c:v>0</c:v>
                </c:pt>
                <c:pt idx="1840">
                  <c:v>0</c:v>
                </c:pt>
                <c:pt idx="1841">
                  <c:v>2</c:v>
                </c:pt>
                <c:pt idx="1842">
                  <c:v>2</c:v>
                </c:pt>
                <c:pt idx="1843">
                  <c:v>0</c:v>
                </c:pt>
                <c:pt idx="1844">
                  <c:v>0</c:v>
                </c:pt>
                <c:pt idx="1845">
                  <c:v>0</c:v>
                </c:pt>
                <c:pt idx="1846">
                  <c:v>0</c:v>
                </c:pt>
                <c:pt idx="1847">
                  <c:v>0</c:v>
                </c:pt>
                <c:pt idx="1848">
                  <c:v>0</c:v>
                </c:pt>
                <c:pt idx="1849">
                  <c:v>4</c:v>
                </c:pt>
                <c:pt idx="1850">
                  <c:v>0</c:v>
                </c:pt>
                <c:pt idx="1851">
                  <c:v>0</c:v>
                </c:pt>
                <c:pt idx="1852">
                  <c:v>1</c:v>
                </c:pt>
                <c:pt idx="1853">
                  <c:v>0</c:v>
                </c:pt>
                <c:pt idx="1854">
                  <c:v>6</c:v>
                </c:pt>
                <c:pt idx="1855">
                  <c:v>0</c:v>
                </c:pt>
                <c:pt idx="1856">
                  <c:v>0</c:v>
                </c:pt>
                <c:pt idx="1857">
                  <c:v>1</c:v>
                </c:pt>
                <c:pt idx="1858">
                  <c:v>0</c:v>
                </c:pt>
                <c:pt idx="1859">
                  <c:v>0</c:v>
                </c:pt>
                <c:pt idx="1860">
                  <c:v>1</c:v>
                </c:pt>
                <c:pt idx="1861">
                  <c:v>3</c:v>
                </c:pt>
                <c:pt idx="1862">
                  <c:v>3</c:v>
                </c:pt>
                <c:pt idx="1863">
                  <c:v>1</c:v>
                </c:pt>
                <c:pt idx="1864">
                  <c:v>1</c:v>
                </c:pt>
                <c:pt idx="1865">
                  <c:v>1</c:v>
                </c:pt>
                <c:pt idx="1866">
                  <c:v>0</c:v>
                </c:pt>
                <c:pt idx="1867">
                  <c:v>0</c:v>
                </c:pt>
                <c:pt idx="1868">
                  <c:v>0</c:v>
                </c:pt>
                <c:pt idx="1869">
                  <c:v>3</c:v>
                </c:pt>
                <c:pt idx="1870">
                  <c:v>0</c:v>
                </c:pt>
                <c:pt idx="1871">
                  <c:v>0</c:v>
                </c:pt>
                <c:pt idx="1872">
                  <c:v>2</c:v>
                </c:pt>
                <c:pt idx="1873">
                  <c:v>0</c:v>
                </c:pt>
                <c:pt idx="1874">
                  <c:v>0</c:v>
                </c:pt>
                <c:pt idx="1875">
                  <c:v>0</c:v>
                </c:pt>
                <c:pt idx="1876">
                  <c:v>1</c:v>
                </c:pt>
                <c:pt idx="1877">
                  <c:v>0</c:v>
                </c:pt>
                <c:pt idx="1878">
                  <c:v>0</c:v>
                </c:pt>
                <c:pt idx="1879">
                  <c:v>0</c:v>
                </c:pt>
                <c:pt idx="1880">
                  <c:v>0</c:v>
                </c:pt>
                <c:pt idx="1881">
                  <c:v>0</c:v>
                </c:pt>
                <c:pt idx="1882">
                  <c:v>1</c:v>
                </c:pt>
                <c:pt idx="1883">
                  <c:v>0</c:v>
                </c:pt>
                <c:pt idx="1884">
                  <c:v>1</c:v>
                </c:pt>
                <c:pt idx="1885">
                  <c:v>1</c:v>
                </c:pt>
                <c:pt idx="1886">
                  <c:v>2</c:v>
                </c:pt>
                <c:pt idx="1887">
                  <c:v>0</c:v>
                </c:pt>
                <c:pt idx="1888">
                  <c:v>0</c:v>
                </c:pt>
                <c:pt idx="1889">
                  <c:v>4</c:v>
                </c:pt>
                <c:pt idx="1890">
                  <c:v>0</c:v>
                </c:pt>
                <c:pt idx="1891">
                  <c:v>0</c:v>
                </c:pt>
                <c:pt idx="1892">
                  <c:v>0</c:v>
                </c:pt>
                <c:pt idx="1893">
                  <c:v>2</c:v>
                </c:pt>
                <c:pt idx="1894">
                  <c:v>0</c:v>
                </c:pt>
                <c:pt idx="1895">
                  <c:v>1</c:v>
                </c:pt>
                <c:pt idx="1896">
                  <c:v>0</c:v>
                </c:pt>
                <c:pt idx="1897">
                  <c:v>1</c:v>
                </c:pt>
                <c:pt idx="1898">
                  <c:v>0</c:v>
                </c:pt>
                <c:pt idx="1899">
                  <c:v>1</c:v>
                </c:pt>
                <c:pt idx="1900">
                  <c:v>0</c:v>
                </c:pt>
                <c:pt idx="1901">
                  <c:v>0</c:v>
                </c:pt>
                <c:pt idx="1902">
                  <c:v>1</c:v>
                </c:pt>
                <c:pt idx="1903">
                  <c:v>2</c:v>
                </c:pt>
                <c:pt idx="1904">
                  <c:v>0</c:v>
                </c:pt>
                <c:pt idx="1905">
                  <c:v>1</c:v>
                </c:pt>
                <c:pt idx="1906">
                  <c:v>3</c:v>
                </c:pt>
                <c:pt idx="1907">
                  <c:v>4</c:v>
                </c:pt>
                <c:pt idx="1908">
                  <c:v>4</c:v>
                </c:pt>
                <c:pt idx="1909">
                  <c:v>0</c:v>
                </c:pt>
                <c:pt idx="1910">
                  <c:v>1</c:v>
                </c:pt>
                <c:pt idx="1911">
                  <c:v>0</c:v>
                </c:pt>
                <c:pt idx="1912">
                  <c:v>0</c:v>
                </c:pt>
                <c:pt idx="1913">
                  <c:v>0</c:v>
                </c:pt>
                <c:pt idx="1914">
                  <c:v>0</c:v>
                </c:pt>
                <c:pt idx="1915">
                  <c:v>0</c:v>
                </c:pt>
                <c:pt idx="1916">
                  <c:v>1</c:v>
                </c:pt>
                <c:pt idx="1917">
                  <c:v>0</c:v>
                </c:pt>
                <c:pt idx="1918">
                  <c:v>0</c:v>
                </c:pt>
                <c:pt idx="1919">
                  <c:v>11</c:v>
                </c:pt>
                <c:pt idx="1920">
                  <c:v>2</c:v>
                </c:pt>
                <c:pt idx="1921">
                  <c:v>0</c:v>
                </c:pt>
                <c:pt idx="1922">
                  <c:v>0</c:v>
                </c:pt>
                <c:pt idx="1923">
                  <c:v>0</c:v>
                </c:pt>
                <c:pt idx="1924">
                  <c:v>1</c:v>
                </c:pt>
                <c:pt idx="1925">
                  <c:v>0</c:v>
                </c:pt>
                <c:pt idx="1926">
                  <c:v>1</c:v>
                </c:pt>
                <c:pt idx="1927">
                  <c:v>4</c:v>
                </c:pt>
                <c:pt idx="1928">
                  <c:v>0</c:v>
                </c:pt>
                <c:pt idx="1929">
                  <c:v>0</c:v>
                </c:pt>
                <c:pt idx="1930">
                  <c:v>1</c:v>
                </c:pt>
                <c:pt idx="1931">
                  <c:v>0</c:v>
                </c:pt>
                <c:pt idx="1932">
                  <c:v>5</c:v>
                </c:pt>
                <c:pt idx="1933">
                  <c:v>1</c:v>
                </c:pt>
                <c:pt idx="1934">
                  <c:v>0</c:v>
                </c:pt>
                <c:pt idx="1935">
                  <c:v>0</c:v>
                </c:pt>
                <c:pt idx="1936">
                  <c:v>0</c:v>
                </c:pt>
                <c:pt idx="1937">
                  <c:v>1</c:v>
                </c:pt>
                <c:pt idx="1938">
                  <c:v>1</c:v>
                </c:pt>
                <c:pt idx="1939">
                  <c:v>1</c:v>
                </c:pt>
                <c:pt idx="1940">
                  <c:v>0</c:v>
                </c:pt>
                <c:pt idx="1941">
                  <c:v>1</c:v>
                </c:pt>
                <c:pt idx="1942">
                  <c:v>0</c:v>
                </c:pt>
                <c:pt idx="1943">
                  <c:v>0</c:v>
                </c:pt>
                <c:pt idx="1944">
                  <c:v>0</c:v>
                </c:pt>
                <c:pt idx="1945">
                  <c:v>0</c:v>
                </c:pt>
                <c:pt idx="1946">
                  <c:v>0</c:v>
                </c:pt>
                <c:pt idx="1947">
                  <c:v>4</c:v>
                </c:pt>
                <c:pt idx="1948">
                  <c:v>1</c:v>
                </c:pt>
                <c:pt idx="1949">
                  <c:v>0</c:v>
                </c:pt>
                <c:pt idx="1950">
                  <c:v>1</c:v>
                </c:pt>
                <c:pt idx="1951">
                  <c:v>0</c:v>
                </c:pt>
                <c:pt idx="1952">
                  <c:v>0</c:v>
                </c:pt>
                <c:pt idx="1953">
                  <c:v>0</c:v>
                </c:pt>
                <c:pt idx="1954">
                  <c:v>1</c:v>
                </c:pt>
                <c:pt idx="1955">
                  <c:v>0</c:v>
                </c:pt>
                <c:pt idx="1956">
                  <c:v>2</c:v>
                </c:pt>
                <c:pt idx="1957">
                  <c:v>4</c:v>
                </c:pt>
                <c:pt idx="1958">
                  <c:v>1</c:v>
                </c:pt>
                <c:pt idx="1959">
                  <c:v>0</c:v>
                </c:pt>
                <c:pt idx="1960">
                  <c:v>1</c:v>
                </c:pt>
                <c:pt idx="1961">
                  <c:v>3</c:v>
                </c:pt>
                <c:pt idx="1962">
                  <c:v>0</c:v>
                </c:pt>
                <c:pt idx="1963">
                  <c:v>0</c:v>
                </c:pt>
                <c:pt idx="1964">
                  <c:v>1</c:v>
                </c:pt>
                <c:pt idx="1965">
                  <c:v>0</c:v>
                </c:pt>
                <c:pt idx="1966">
                  <c:v>0</c:v>
                </c:pt>
                <c:pt idx="1967">
                  <c:v>5</c:v>
                </c:pt>
                <c:pt idx="1968">
                  <c:v>0</c:v>
                </c:pt>
                <c:pt idx="1969">
                  <c:v>1</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2</c:v>
                </c:pt>
                <c:pt idx="1983">
                  <c:v>0</c:v>
                </c:pt>
                <c:pt idx="1984">
                  <c:v>1</c:v>
                </c:pt>
                <c:pt idx="1985">
                  <c:v>1</c:v>
                </c:pt>
                <c:pt idx="1986">
                  <c:v>1</c:v>
                </c:pt>
                <c:pt idx="1987">
                  <c:v>1</c:v>
                </c:pt>
                <c:pt idx="1988">
                  <c:v>0</c:v>
                </c:pt>
                <c:pt idx="1989">
                  <c:v>2</c:v>
                </c:pt>
                <c:pt idx="1990">
                  <c:v>0</c:v>
                </c:pt>
                <c:pt idx="1991">
                  <c:v>0</c:v>
                </c:pt>
                <c:pt idx="1992">
                  <c:v>0</c:v>
                </c:pt>
                <c:pt idx="1993">
                  <c:v>1</c:v>
                </c:pt>
                <c:pt idx="1994">
                  <c:v>1</c:v>
                </c:pt>
                <c:pt idx="1995">
                  <c:v>0</c:v>
                </c:pt>
                <c:pt idx="1996">
                  <c:v>0</c:v>
                </c:pt>
                <c:pt idx="1997">
                  <c:v>0</c:v>
                </c:pt>
                <c:pt idx="1998">
                  <c:v>1</c:v>
                </c:pt>
                <c:pt idx="1999">
                  <c:v>1</c:v>
                </c:pt>
                <c:pt idx="2000">
                  <c:v>0</c:v>
                </c:pt>
                <c:pt idx="2001">
                  <c:v>3</c:v>
                </c:pt>
                <c:pt idx="2002">
                  <c:v>0</c:v>
                </c:pt>
                <c:pt idx="2003">
                  <c:v>3</c:v>
                </c:pt>
                <c:pt idx="2004">
                  <c:v>0</c:v>
                </c:pt>
                <c:pt idx="2005">
                  <c:v>0</c:v>
                </c:pt>
                <c:pt idx="2006">
                  <c:v>0</c:v>
                </c:pt>
                <c:pt idx="2007">
                  <c:v>4</c:v>
                </c:pt>
                <c:pt idx="2008">
                  <c:v>1</c:v>
                </c:pt>
                <c:pt idx="2009">
                  <c:v>0</c:v>
                </c:pt>
                <c:pt idx="2010">
                  <c:v>0</c:v>
                </c:pt>
                <c:pt idx="2011">
                  <c:v>0</c:v>
                </c:pt>
                <c:pt idx="2012">
                  <c:v>1</c:v>
                </c:pt>
                <c:pt idx="2013">
                  <c:v>0</c:v>
                </c:pt>
                <c:pt idx="2014">
                  <c:v>1</c:v>
                </c:pt>
                <c:pt idx="2015">
                  <c:v>0</c:v>
                </c:pt>
                <c:pt idx="2016">
                  <c:v>1</c:v>
                </c:pt>
                <c:pt idx="2017">
                  <c:v>0</c:v>
                </c:pt>
                <c:pt idx="2018">
                  <c:v>0</c:v>
                </c:pt>
                <c:pt idx="2019">
                  <c:v>1</c:v>
                </c:pt>
                <c:pt idx="2020">
                  <c:v>1</c:v>
                </c:pt>
                <c:pt idx="2021">
                  <c:v>0</c:v>
                </c:pt>
                <c:pt idx="2022">
                  <c:v>0</c:v>
                </c:pt>
                <c:pt idx="2023">
                  <c:v>3</c:v>
                </c:pt>
                <c:pt idx="2024">
                  <c:v>0</c:v>
                </c:pt>
                <c:pt idx="2025">
                  <c:v>0</c:v>
                </c:pt>
                <c:pt idx="2026">
                  <c:v>0</c:v>
                </c:pt>
                <c:pt idx="2027">
                  <c:v>2</c:v>
                </c:pt>
                <c:pt idx="2028">
                  <c:v>0</c:v>
                </c:pt>
                <c:pt idx="2029">
                  <c:v>0</c:v>
                </c:pt>
                <c:pt idx="2030">
                  <c:v>0</c:v>
                </c:pt>
                <c:pt idx="2031">
                  <c:v>0</c:v>
                </c:pt>
                <c:pt idx="2032">
                  <c:v>1</c:v>
                </c:pt>
                <c:pt idx="2033">
                  <c:v>4</c:v>
                </c:pt>
                <c:pt idx="2034">
                  <c:v>0</c:v>
                </c:pt>
                <c:pt idx="2035">
                  <c:v>5</c:v>
                </c:pt>
                <c:pt idx="2036">
                  <c:v>1</c:v>
                </c:pt>
                <c:pt idx="2037">
                  <c:v>4</c:v>
                </c:pt>
                <c:pt idx="2038">
                  <c:v>0</c:v>
                </c:pt>
                <c:pt idx="2039">
                  <c:v>0</c:v>
                </c:pt>
                <c:pt idx="2040">
                  <c:v>0</c:v>
                </c:pt>
                <c:pt idx="2041">
                  <c:v>0</c:v>
                </c:pt>
                <c:pt idx="2042">
                  <c:v>0</c:v>
                </c:pt>
                <c:pt idx="2043">
                  <c:v>1</c:v>
                </c:pt>
                <c:pt idx="2044">
                  <c:v>0</c:v>
                </c:pt>
                <c:pt idx="2045">
                  <c:v>0</c:v>
                </c:pt>
                <c:pt idx="2046">
                  <c:v>0</c:v>
                </c:pt>
                <c:pt idx="2047">
                  <c:v>2</c:v>
                </c:pt>
                <c:pt idx="2048">
                  <c:v>2</c:v>
                </c:pt>
                <c:pt idx="2049">
                  <c:v>0</c:v>
                </c:pt>
                <c:pt idx="2050">
                  <c:v>0</c:v>
                </c:pt>
                <c:pt idx="2051">
                  <c:v>6</c:v>
                </c:pt>
                <c:pt idx="2052">
                  <c:v>0</c:v>
                </c:pt>
                <c:pt idx="2053">
                  <c:v>0</c:v>
                </c:pt>
                <c:pt idx="2054">
                  <c:v>0</c:v>
                </c:pt>
                <c:pt idx="2055">
                  <c:v>0</c:v>
                </c:pt>
                <c:pt idx="2056">
                  <c:v>0</c:v>
                </c:pt>
                <c:pt idx="2057">
                  <c:v>0</c:v>
                </c:pt>
                <c:pt idx="2058">
                  <c:v>0</c:v>
                </c:pt>
                <c:pt idx="2059">
                  <c:v>4</c:v>
                </c:pt>
                <c:pt idx="2060">
                  <c:v>0</c:v>
                </c:pt>
                <c:pt idx="2061">
                  <c:v>0</c:v>
                </c:pt>
                <c:pt idx="2062">
                  <c:v>0</c:v>
                </c:pt>
                <c:pt idx="2063">
                  <c:v>0</c:v>
                </c:pt>
                <c:pt idx="2064">
                  <c:v>0</c:v>
                </c:pt>
                <c:pt idx="2065">
                  <c:v>0</c:v>
                </c:pt>
                <c:pt idx="2066">
                  <c:v>0</c:v>
                </c:pt>
                <c:pt idx="2067">
                  <c:v>0</c:v>
                </c:pt>
                <c:pt idx="2068">
                  <c:v>0</c:v>
                </c:pt>
                <c:pt idx="2069">
                  <c:v>6</c:v>
                </c:pt>
                <c:pt idx="2070">
                  <c:v>2</c:v>
                </c:pt>
                <c:pt idx="2071">
                  <c:v>0</c:v>
                </c:pt>
                <c:pt idx="2072">
                  <c:v>0</c:v>
                </c:pt>
                <c:pt idx="2073">
                  <c:v>2</c:v>
                </c:pt>
                <c:pt idx="2074">
                  <c:v>0</c:v>
                </c:pt>
                <c:pt idx="2075">
                  <c:v>0</c:v>
                </c:pt>
                <c:pt idx="2076">
                  <c:v>2</c:v>
                </c:pt>
                <c:pt idx="2077">
                  <c:v>0</c:v>
                </c:pt>
                <c:pt idx="2078">
                  <c:v>0</c:v>
                </c:pt>
                <c:pt idx="2079">
                  <c:v>0</c:v>
                </c:pt>
                <c:pt idx="2080">
                  <c:v>1</c:v>
                </c:pt>
                <c:pt idx="2081">
                  <c:v>0</c:v>
                </c:pt>
                <c:pt idx="2082">
                  <c:v>0</c:v>
                </c:pt>
                <c:pt idx="2083">
                  <c:v>0</c:v>
                </c:pt>
                <c:pt idx="2084">
                  <c:v>0</c:v>
                </c:pt>
                <c:pt idx="2085">
                  <c:v>0</c:v>
                </c:pt>
                <c:pt idx="2086">
                  <c:v>0</c:v>
                </c:pt>
                <c:pt idx="2087">
                  <c:v>0</c:v>
                </c:pt>
                <c:pt idx="2088">
                  <c:v>0</c:v>
                </c:pt>
                <c:pt idx="2089">
                  <c:v>2</c:v>
                </c:pt>
                <c:pt idx="2090">
                  <c:v>0</c:v>
                </c:pt>
                <c:pt idx="2091">
                  <c:v>0</c:v>
                </c:pt>
                <c:pt idx="2092">
                  <c:v>0</c:v>
                </c:pt>
                <c:pt idx="2093">
                  <c:v>0</c:v>
                </c:pt>
                <c:pt idx="2094">
                  <c:v>0</c:v>
                </c:pt>
                <c:pt idx="2095">
                  <c:v>4</c:v>
                </c:pt>
                <c:pt idx="2096">
                  <c:v>1</c:v>
                </c:pt>
                <c:pt idx="2097">
                  <c:v>2</c:v>
                </c:pt>
                <c:pt idx="2098">
                  <c:v>1</c:v>
                </c:pt>
                <c:pt idx="2099">
                  <c:v>2</c:v>
                </c:pt>
                <c:pt idx="2100">
                  <c:v>1</c:v>
                </c:pt>
                <c:pt idx="2101">
                  <c:v>0</c:v>
                </c:pt>
                <c:pt idx="2102">
                  <c:v>2</c:v>
                </c:pt>
                <c:pt idx="2103">
                  <c:v>2</c:v>
                </c:pt>
                <c:pt idx="2104">
                  <c:v>0</c:v>
                </c:pt>
                <c:pt idx="2105">
                  <c:v>1</c:v>
                </c:pt>
                <c:pt idx="2106">
                  <c:v>0</c:v>
                </c:pt>
                <c:pt idx="2107">
                  <c:v>0</c:v>
                </c:pt>
                <c:pt idx="2108">
                  <c:v>0</c:v>
                </c:pt>
                <c:pt idx="2109">
                  <c:v>1</c:v>
                </c:pt>
                <c:pt idx="2110">
                  <c:v>1</c:v>
                </c:pt>
                <c:pt idx="2111">
                  <c:v>0</c:v>
                </c:pt>
                <c:pt idx="2112">
                  <c:v>0</c:v>
                </c:pt>
                <c:pt idx="2113">
                  <c:v>2</c:v>
                </c:pt>
                <c:pt idx="2114">
                  <c:v>3</c:v>
                </c:pt>
                <c:pt idx="2115">
                  <c:v>1</c:v>
                </c:pt>
                <c:pt idx="2116">
                  <c:v>0</c:v>
                </c:pt>
                <c:pt idx="2117">
                  <c:v>0</c:v>
                </c:pt>
                <c:pt idx="2118">
                  <c:v>0</c:v>
                </c:pt>
                <c:pt idx="2119">
                  <c:v>0</c:v>
                </c:pt>
                <c:pt idx="2120">
                  <c:v>6</c:v>
                </c:pt>
                <c:pt idx="2121">
                  <c:v>2</c:v>
                </c:pt>
                <c:pt idx="2122">
                  <c:v>0</c:v>
                </c:pt>
                <c:pt idx="2123">
                  <c:v>3</c:v>
                </c:pt>
                <c:pt idx="2124">
                  <c:v>0</c:v>
                </c:pt>
                <c:pt idx="2125">
                  <c:v>0</c:v>
                </c:pt>
                <c:pt idx="2126">
                  <c:v>0</c:v>
                </c:pt>
                <c:pt idx="2127">
                  <c:v>0</c:v>
                </c:pt>
                <c:pt idx="2128">
                  <c:v>0</c:v>
                </c:pt>
                <c:pt idx="2129">
                  <c:v>4</c:v>
                </c:pt>
                <c:pt idx="2130">
                  <c:v>0</c:v>
                </c:pt>
                <c:pt idx="2131">
                  <c:v>0</c:v>
                </c:pt>
                <c:pt idx="2132">
                  <c:v>2</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3</c:v>
                </c:pt>
                <c:pt idx="2146">
                  <c:v>1</c:v>
                </c:pt>
                <c:pt idx="2147">
                  <c:v>0</c:v>
                </c:pt>
                <c:pt idx="2148">
                  <c:v>0</c:v>
                </c:pt>
                <c:pt idx="2149">
                  <c:v>2</c:v>
                </c:pt>
                <c:pt idx="2150">
                  <c:v>0</c:v>
                </c:pt>
                <c:pt idx="2151">
                  <c:v>0</c:v>
                </c:pt>
                <c:pt idx="2152">
                  <c:v>0</c:v>
                </c:pt>
                <c:pt idx="2153">
                  <c:v>4</c:v>
                </c:pt>
                <c:pt idx="2154">
                  <c:v>0</c:v>
                </c:pt>
                <c:pt idx="2155">
                  <c:v>0</c:v>
                </c:pt>
                <c:pt idx="2156">
                  <c:v>2</c:v>
                </c:pt>
                <c:pt idx="2157">
                  <c:v>0</c:v>
                </c:pt>
                <c:pt idx="2158">
                  <c:v>2</c:v>
                </c:pt>
                <c:pt idx="2159">
                  <c:v>0</c:v>
                </c:pt>
                <c:pt idx="2160">
                  <c:v>0</c:v>
                </c:pt>
                <c:pt idx="2161">
                  <c:v>3</c:v>
                </c:pt>
                <c:pt idx="2162">
                  <c:v>3</c:v>
                </c:pt>
                <c:pt idx="2163">
                  <c:v>2</c:v>
                </c:pt>
                <c:pt idx="2164">
                  <c:v>0</c:v>
                </c:pt>
                <c:pt idx="2165">
                  <c:v>2</c:v>
                </c:pt>
                <c:pt idx="2166">
                  <c:v>0</c:v>
                </c:pt>
                <c:pt idx="2167">
                  <c:v>4</c:v>
                </c:pt>
                <c:pt idx="2168">
                  <c:v>0</c:v>
                </c:pt>
                <c:pt idx="2169">
                  <c:v>0</c:v>
                </c:pt>
                <c:pt idx="2170">
                  <c:v>0</c:v>
                </c:pt>
                <c:pt idx="2171">
                  <c:v>0</c:v>
                </c:pt>
                <c:pt idx="2172">
                  <c:v>0</c:v>
                </c:pt>
                <c:pt idx="2173">
                  <c:v>0</c:v>
                </c:pt>
                <c:pt idx="2174">
                  <c:v>0</c:v>
                </c:pt>
                <c:pt idx="2175">
                  <c:v>0</c:v>
                </c:pt>
                <c:pt idx="2176">
                  <c:v>0</c:v>
                </c:pt>
                <c:pt idx="2177">
                  <c:v>0</c:v>
                </c:pt>
                <c:pt idx="2178">
                  <c:v>0</c:v>
                </c:pt>
                <c:pt idx="2179">
                  <c:v>3</c:v>
                </c:pt>
                <c:pt idx="2180">
                  <c:v>1</c:v>
                </c:pt>
                <c:pt idx="2181">
                  <c:v>0</c:v>
                </c:pt>
                <c:pt idx="2182">
                  <c:v>0</c:v>
                </c:pt>
                <c:pt idx="2183">
                  <c:v>4</c:v>
                </c:pt>
                <c:pt idx="2184">
                  <c:v>3</c:v>
                </c:pt>
                <c:pt idx="2185">
                  <c:v>0</c:v>
                </c:pt>
                <c:pt idx="2186">
                  <c:v>0</c:v>
                </c:pt>
                <c:pt idx="2187">
                  <c:v>1</c:v>
                </c:pt>
                <c:pt idx="2188">
                  <c:v>0</c:v>
                </c:pt>
                <c:pt idx="2189">
                  <c:v>0</c:v>
                </c:pt>
                <c:pt idx="2190">
                  <c:v>0</c:v>
                </c:pt>
                <c:pt idx="2191">
                  <c:v>0</c:v>
                </c:pt>
                <c:pt idx="2192">
                  <c:v>0</c:v>
                </c:pt>
                <c:pt idx="2193">
                  <c:v>0</c:v>
                </c:pt>
                <c:pt idx="2194">
                  <c:v>0</c:v>
                </c:pt>
                <c:pt idx="2195">
                  <c:v>0</c:v>
                </c:pt>
                <c:pt idx="2196">
                  <c:v>0</c:v>
                </c:pt>
                <c:pt idx="2197">
                  <c:v>3</c:v>
                </c:pt>
                <c:pt idx="2198">
                  <c:v>0</c:v>
                </c:pt>
                <c:pt idx="2199">
                  <c:v>0</c:v>
                </c:pt>
                <c:pt idx="2200">
                  <c:v>2</c:v>
                </c:pt>
                <c:pt idx="2201">
                  <c:v>1</c:v>
                </c:pt>
                <c:pt idx="2202">
                  <c:v>0</c:v>
                </c:pt>
                <c:pt idx="2203">
                  <c:v>0</c:v>
                </c:pt>
                <c:pt idx="2204">
                  <c:v>0</c:v>
                </c:pt>
                <c:pt idx="2205">
                  <c:v>0</c:v>
                </c:pt>
                <c:pt idx="2206">
                  <c:v>1</c:v>
                </c:pt>
                <c:pt idx="2207">
                  <c:v>1</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1</c:v>
                </c:pt>
                <c:pt idx="2222">
                  <c:v>0</c:v>
                </c:pt>
                <c:pt idx="2223">
                  <c:v>0</c:v>
                </c:pt>
                <c:pt idx="2224">
                  <c:v>2</c:v>
                </c:pt>
                <c:pt idx="2225">
                  <c:v>0</c:v>
                </c:pt>
                <c:pt idx="2226">
                  <c:v>2</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3</c:v>
                </c:pt>
                <c:pt idx="2250">
                  <c:v>2</c:v>
                </c:pt>
                <c:pt idx="2251">
                  <c:v>0</c:v>
                </c:pt>
                <c:pt idx="2252">
                  <c:v>0</c:v>
                </c:pt>
                <c:pt idx="2253">
                  <c:v>0</c:v>
                </c:pt>
                <c:pt idx="2254">
                  <c:v>0</c:v>
                </c:pt>
                <c:pt idx="2255">
                  <c:v>0</c:v>
                </c:pt>
                <c:pt idx="2256">
                  <c:v>0</c:v>
                </c:pt>
                <c:pt idx="2257">
                  <c:v>0</c:v>
                </c:pt>
                <c:pt idx="2258">
                  <c:v>0</c:v>
                </c:pt>
                <c:pt idx="2259">
                  <c:v>0</c:v>
                </c:pt>
                <c:pt idx="2260">
                  <c:v>0</c:v>
                </c:pt>
                <c:pt idx="2261">
                  <c:v>1</c:v>
                </c:pt>
                <c:pt idx="2262">
                  <c:v>0</c:v>
                </c:pt>
                <c:pt idx="2263">
                  <c:v>6</c:v>
                </c:pt>
                <c:pt idx="2264">
                  <c:v>1</c:v>
                </c:pt>
                <c:pt idx="2265">
                  <c:v>0</c:v>
                </c:pt>
                <c:pt idx="2266">
                  <c:v>0</c:v>
                </c:pt>
                <c:pt idx="2267">
                  <c:v>0</c:v>
                </c:pt>
                <c:pt idx="2268">
                  <c:v>0</c:v>
                </c:pt>
                <c:pt idx="2269">
                  <c:v>1</c:v>
                </c:pt>
                <c:pt idx="2270">
                  <c:v>0</c:v>
                </c:pt>
                <c:pt idx="2271">
                  <c:v>0</c:v>
                </c:pt>
                <c:pt idx="2272">
                  <c:v>4</c:v>
                </c:pt>
                <c:pt idx="2273">
                  <c:v>0</c:v>
                </c:pt>
                <c:pt idx="2274">
                  <c:v>0</c:v>
                </c:pt>
                <c:pt idx="2275">
                  <c:v>0</c:v>
                </c:pt>
                <c:pt idx="2276">
                  <c:v>1</c:v>
                </c:pt>
                <c:pt idx="2277">
                  <c:v>0</c:v>
                </c:pt>
                <c:pt idx="2278">
                  <c:v>0</c:v>
                </c:pt>
                <c:pt idx="2279">
                  <c:v>0</c:v>
                </c:pt>
                <c:pt idx="2280">
                  <c:v>0</c:v>
                </c:pt>
                <c:pt idx="2281">
                  <c:v>1</c:v>
                </c:pt>
                <c:pt idx="2282">
                  <c:v>0</c:v>
                </c:pt>
                <c:pt idx="2283">
                  <c:v>0</c:v>
                </c:pt>
                <c:pt idx="2284">
                  <c:v>2</c:v>
                </c:pt>
                <c:pt idx="2285">
                  <c:v>1</c:v>
                </c:pt>
                <c:pt idx="2286">
                  <c:v>0</c:v>
                </c:pt>
                <c:pt idx="2287">
                  <c:v>0</c:v>
                </c:pt>
                <c:pt idx="2288">
                  <c:v>0</c:v>
                </c:pt>
                <c:pt idx="2289">
                  <c:v>0</c:v>
                </c:pt>
                <c:pt idx="2290">
                  <c:v>0</c:v>
                </c:pt>
                <c:pt idx="2291">
                  <c:v>0</c:v>
                </c:pt>
                <c:pt idx="2292">
                  <c:v>0</c:v>
                </c:pt>
                <c:pt idx="2293">
                  <c:v>0</c:v>
                </c:pt>
                <c:pt idx="2294">
                  <c:v>0</c:v>
                </c:pt>
                <c:pt idx="2295">
                  <c:v>0</c:v>
                </c:pt>
                <c:pt idx="2296">
                  <c:v>0</c:v>
                </c:pt>
                <c:pt idx="2297">
                  <c:v>3</c:v>
                </c:pt>
                <c:pt idx="2298">
                  <c:v>0</c:v>
                </c:pt>
                <c:pt idx="2299">
                  <c:v>0</c:v>
                </c:pt>
                <c:pt idx="2300">
                  <c:v>1</c:v>
                </c:pt>
                <c:pt idx="2301">
                  <c:v>3</c:v>
                </c:pt>
                <c:pt idx="2302">
                  <c:v>0</c:v>
                </c:pt>
                <c:pt idx="2303">
                  <c:v>0</c:v>
                </c:pt>
                <c:pt idx="2304">
                  <c:v>0</c:v>
                </c:pt>
                <c:pt idx="2305">
                  <c:v>6</c:v>
                </c:pt>
                <c:pt idx="2306">
                  <c:v>0</c:v>
                </c:pt>
                <c:pt idx="2307">
                  <c:v>2</c:v>
                </c:pt>
                <c:pt idx="2308">
                  <c:v>2</c:v>
                </c:pt>
                <c:pt idx="2309">
                  <c:v>0</c:v>
                </c:pt>
                <c:pt idx="2310">
                  <c:v>0</c:v>
                </c:pt>
                <c:pt idx="2311">
                  <c:v>0</c:v>
                </c:pt>
                <c:pt idx="2312">
                  <c:v>0</c:v>
                </c:pt>
                <c:pt idx="2313">
                  <c:v>0</c:v>
                </c:pt>
                <c:pt idx="2314">
                  <c:v>0</c:v>
                </c:pt>
                <c:pt idx="2315">
                  <c:v>1</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7</c:v>
                </c:pt>
                <c:pt idx="2329">
                  <c:v>0</c:v>
                </c:pt>
                <c:pt idx="2330">
                  <c:v>0</c:v>
                </c:pt>
                <c:pt idx="2331">
                  <c:v>0</c:v>
                </c:pt>
                <c:pt idx="2332">
                  <c:v>0</c:v>
                </c:pt>
                <c:pt idx="2333">
                  <c:v>0</c:v>
                </c:pt>
                <c:pt idx="2334">
                  <c:v>0</c:v>
                </c:pt>
                <c:pt idx="2335">
                  <c:v>0</c:v>
                </c:pt>
                <c:pt idx="2336">
                  <c:v>0</c:v>
                </c:pt>
                <c:pt idx="2337">
                  <c:v>4</c:v>
                </c:pt>
                <c:pt idx="2338">
                  <c:v>0</c:v>
                </c:pt>
                <c:pt idx="2339">
                  <c:v>0</c:v>
                </c:pt>
                <c:pt idx="2340">
                  <c:v>1</c:v>
                </c:pt>
                <c:pt idx="2341">
                  <c:v>5</c:v>
                </c:pt>
                <c:pt idx="2342">
                  <c:v>1</c:v>
                </c:pt>
                <c:pt idx="2343">
                  <c:v>0</c:v>
                </c:pt>
                <c:pt idx="2344">
                  <c:v>0</c:v>
                </c:pt>
                <c:pt idx="2345">
                  <c:v>1</c:v>
                </c:pt>
                <c:pt idx="2346">
                  <c:v>1</c:v>
                </c:pt>
                <c:pt idx="2347">
                  <c:v>1</c:v>
                </c:pt>
                <c:pt idx="2348">
                  <c:v>0</c:v>
                </c:pt>
                <c:pt idx="2349">
                  <c:v>0</c:v>
                </c:pt>
                <c:pt idx="2350">
                  <c:v>0</c:v>
                </c:pt>
                <c:pt idx="2351">
                  <c:v>0</c:v>
                </c:pt>
                <c:pt idx="2352">
                  <c:v>0</c:v>
                </c:pt>
                <c:pt idx="2353">
                  <c:v>0</c:v>
                </c:pt>
                <c:pt idx="2354">
                  <c:v>5</c:v>
                </c:pt>
                <c:pt idx="2355">
                  <c:v>0</c:v>
                </c:pt>
                <c:pt idx="2356">
                  <c:v>0</c:v>
                </c:pt>
                <c:pt idx="2357">
                  <c:v>0</c:v>
                </c:pt>
                <c:pt idx="2358">
                  <c:v>0</c:v>
                </c:pt>
                <c:pt idx="2359">
                  <c:v>2</c:v>
                </c:pt>
                <c:pt idx="2360">
                  <c:v>0</c:v>
                </c:pt>
                <c:pt idx="2361">
                  <c:v>1</c:v>
                </c:pt>
                <c:pt idx="2362">
                  <c:v>0</c:v>
                </c:pt>
                <c:pt idx="2363">
                  <c:v>0</c:v>
                </c:pt>
                <c:pt idx="2364">
                  <c:v>1</c:v>
                </c:pt>
                <c:pt idx="2365">
                  <c:v>1</c:v>
                </c:pt>
                <c:pt idx="2366">
                  <c:v>0</c:v>
                </c:pt>
                <c:pt idx="2367">
                  <c:v>9</c:v>
                </c:pt>
                <c:pt idx="2368">
                  <c:v>1</c:v>
                </c:pt>
                <c:pt idx="2369">
                  <c:v>3</c:v>
                </c:pt>
                <c:pt idx="2370">
                  <c:v>0</c:v>
                </c:pt>
                <c:pt idx="2371">
                  <c:v>0</c:v>
                </c:pt>
                <c:pt idx="2372">
                  <c:v>3</c:v>
                </c:pt>
                <c:pt idx="2373">
                  <c:v>0</c:v>
                </c:pt>
                <c:pt idx="2374">
                  <c:v>0</c:v>
                </c:pt>
                <c:pt idx="2375">
                  <c:v>0</c:v>
                </c:pt>
                <c:pt idx="2376">
                  <c:v>1</c:v>
                </c:pt>
                <c:pt idx="2377">
                  <c:v>1</c:v>
                </c:pt>
                <c:pt idx="2378">
                  <c:v>3</c:v>
                </c:pt>
                <c:pt idx="2379">
                  <c:v>0</c:v>
                </c:pt>
                <c:pt idx="2380">
                  <c:v>0</c:v>
                </c:pt>
                <c:pt idx="2381">
                  <c:v>0</c:v>
                </c:pt>
                <c:pt idx="2382">
                  <c:v>1</c:v>
                </c:pt>
                <c:pt idx="2383">
                  <c:v>0</c:v>
                </c:pt>
                <c:pt idx="2384">
                  <c:v>0</c:v>
                </c:pt>
                <c:pt idx="2385">
                  <c:v>1</c:v>
                </c:pt>
                <c:pt idx="2386">
                  <c:v>3</c:v>
                </c:pt>
                <c:pt idx="2387">
                  <c:v>2</c:v>
                </c:pt>
                <c:pt idx="2388">
                  <c:v>0</c:v>
                </c:pt>
                <c:pt idx="2389">
                  <c:v>27</c:v>
                </c:pt>
                <c:pt idx="2390">
                  <c:v>1</c:v>
                </c:pt>
                <c:pt idx="2391">
                  <c:v>10</c:v>
                </c:pt>
                <c:pt idx="2392">
                  <c:v>2</c:v>
                </c:pt>
                <c:pt idx="2393">
                  <c:v>8</c:v>
                </c:pt>
                <c:pt idx="2394">
                  <c:v>17</c:v>
                </c:pt>
                <c:pt idx="2395">
                  <c:v>6</c:v>
                </c:pt>
                <c:pt idx="2396">
                  <c:v>16</c:v>
                </c:pt>
                <c:pt idx="2397">
                  <c:v>16</c:v>
                </c:pt>
                <c:pt idx="2398">
                  <c:v>23</c:v>
                </c:pt>
                <c:pt idx="2399">
                  <c:v>32</c:v>
                </c:pt>
                <c:pt idx="2400">
                  <c:v>4</c:v>
                </c:pt>
                <c:pt idx="2401">
                  <c:v>18</c:v>
                </c:pt>
                <c:pt idx="2402">
                  <c:v>12</c:v>
                </c:pt>
                <c:pt idx="2403">
                  <c:v>6</c:v>
                </c:pt>
                <c:pt idx="2404">
                  <c:v>7</c:v>
                </c:pt>
                <c:pt idx="2405">
                  <c:v>2</c:v>
                </c:pt>
                <c:pt idx="2406">
                  <c:v>4</c:v>
                </c:pt>
                <c:pt idx="2407">
                  <c:v>7</c:v>
                </c:pt>
                <c:pt idx="2408">
                  <c:v>2</c:v>
                </c:pt>
                <c:pt idx="2409">
                  <c:v>0</c:v>
                </c:pt>
                <c:pt idx="2410">
                  <c:v>1</c:v>
                </c:pt>
                <c:pt idx="2411">
                  <c:v>2</c:v>
                </c:pt>
                <c:pt idx="2412">
                  <c:v>1</c:v>
                </c:pt>
                <c:pt idx="2413">
                  <c:v>1</c:v>
                </c:pt>
                <c:pt idx="2414">
                  <c:v>1</c:v>
                </c:pt>
                <c:pt idx="2415">
                  <c:v>22</c:v>
                </c:pt>
                <c:pt idx="2416">
                  <c:v>8</c:v>
                </c:pt>
                <c:pt idx="2417">
                  <c:v>0</c:v>
                </c:pt>
                <c:pt idx="2418">
                  <c:v>0</c:v>
                </c:pt>
                <c:pt idx="2419">
                  <c:v>1</c:v>
                </c:pt>
                <c:pt idx="2420">
                  <c:v>7</c:v>
                </c:pt>
                <c:pt idx="2421">
                  <c:v>3</c:v>
                </c:pt>
                <c:pt idx="2422">
                  <c:v>8</c:v>
                </c:pt>
                <c:pt idx="2423">
                  <c:v>3</c:v>
                </c:pt>
                <c:pt idx="2424">
                  <c:v>1</c:v>
                </c:pt>
                <c:pt idx="2425">
                  <c:v>1</c:v>
                </c:pt>
                <c:pt idx="2426">
                  <c:v>0</c:v>
                </c:pt>
                <c:pt idx="2427">
                  <c:v>0</c:v>
                </c:pt>
                <c:pt idx="2428">
                  <c:v>0</c:v>
                </c:pt>
                <c:pt idx="2429">
                  <c:v>2</c:v>
                </c:pt>
                <c:pt idx="2430">
                  <c:v>0</c:v>
                </c:pt>
                <c:pt idx="2431">
                  <c:v>0</c:v>
                </c:pt>
                <c:pt idx="2432">
                  <c:v>4</c:v>
                </c:pt>
                <c:pt idx="2433">
                  <c:v>1</c:v>
                </c:pt>
                <c:pt idx="2434">
                  <c:v>1</c:v>
                </c:pt>
                <c:pt idx="2435">
                  <c:v>5</c:v>
                </c:pt>
                <c:pt idx="2436">
                  <c:v>4</c:v>
                </c:pt>
                <c:pt idx="2437">
                  <c:v>0</c:v>
                </c:pt>
                <c:pt idx="2438">
                  <c:v>0</c:v>
                </c:pt>
                <c:pt idx="2439">
                  <c:v>0</c:v>
                </c:pt>
                <c:pt idx="2440">
                  <c:v>0</c:v>
                </c:pt>
                <c:pt idx="2441">
                  <c:v>0</c:v>
                </c:pt>
                <c:pt idx="2442">
                  <c:v>0</c:v>
                </c:pt>
                <c:pt idx="2443">
                  <c:v>2</c:v>
                </c:pt>
                <c:pt idx="2444">
                  <c:v>0</c:v>
                </c:pt>
                <c:pt idx="2445">
                  <c:v>0</c:v>
                </c:pt>
                <c:pt idx="2446">
                  <c:v>1</c:v>
                </c:pt>
                <c:pt idx="2447">
                  <c:v>1</c:v>
                </c:pt>
                <c:pt idx="2448">
                  <c:v>4</c:v>
                </c:pt>
                <c:pt idx="2449">
                  <c:v>0</c:v>
                </c:pt>
                <c:pt idx="2450">
                  <c:v>2</c:v>
                </c:pt>
                <c:pt idx="2451">
                  <c:v>0</c:v>
                </c:pt>
                <c:pt idx="2452">
                  <c:v>0</c:v>
                </c:pt>
                <c:pt idx="2453">
                  <c:v>2</c:v>
                </c:pt>
                <c:pt idx="2454">
                  <c:v>1</c:v>
                </c:pt>
                <c:pt idx="2455">
                  <c:v>0</c:v>
                </c:pt>
                <c:pt idx="2456">
                  <c:v>0</c:v>
                </c:pt>
                <c:pt idx="2457">
                  <c:v>1</c:v>
                </c:pt>
                <c:pt idx="2458">
                  <c:v>0</c:v>
                </c:pt>
                <c:pt idx="2459">
                  <c:v>0</c:v>
                </c:pt>
                <c:pt idx="2460">
                  <c:v>1</c:v>
                </c:pt>
                <c:pt idx="2461">
                  <c:v>0</c:v>
                </c:pt>
                <c:pt idx="2462">
                  <c:v>1</c:v>
                </c:pt>
                <c:pt idx="2463">
                  <c:v>0</c:v>
                </c:pt>
                <c:pt idx="2464">
                  <c:v>0</c:v>
                </c:pt>
                <c:pt idx="2465">
                  <c:v>0</c:v>
                </c:pt>
                <c:pt idx="2466">
                  <c:v>0</c:v>
                </c:pt>
                <c:pt idx="2467">
                  <c:v>2</c:v>
                </c:pt>
                <c:pt idx="2468">
                  <c:v>0</c:v>
                </c:pt>
                <c:pt idx="2469">
                  <c:v>1</c:v>
                </c:pt>
                <c:pt idx="2470">
                  <c:v>2</c:v>
                </c:pt>
                <c:pt idx="2471">
                  <c:v>0</c:v>
                </c:pt>
                <c:pt idx="2472">
                  <c:v>0</c:v>
                </c:pt>
                <c:pt idx="2473">
                  <c:v>0</c:v>
                </c:pt>
                <c:pt idx="2474">
                  <c:v>0</c:v>
                </c:pt>
                <c:pt idx="2475">
                  <c:v>1</c:v>
                </c:pt>
                <c:pt idx="2476">
                  <c:v>2</c:v>
                </c:pt>
                <c:pt idx="2477">
                  <c:v>0</c:v>
                </c:pt>
                <c:pt idx="2478">
                  <c:v>0</c:v>
                </c:pt>
                <c:pt idx="2479">
                  <c:v>0</c:v>
                </c:pt>
                <c:pt idx="2480">
                  <c:v>0</c:v>
                </c:pt>
                <c:pt idx="2481">
                  <c:v>0</c:v>
                </c:pt>
                <c:pt idx="2482">
                  <c:v>2</c:v>
                </c:pt>
                <c:pt idx="2483">
                  <c:v>0</c:v>
                </c:pt>
                <c:pt idx="2484">
                  <c:v>0</c:v>
                </c:pt>
                <c:pt idx="2485">
                  <c:v>0</c:v>
                </c:pt>
                <c:pt idx="2486">
                  <c:v>0</c:v>
                </c:pt>
                <c:pt idx="2487">
                  <c:v>2</c:v>
                </c:pt>
                <c:pt idx="2488">
                  <c:v>1</c:v>
                </c:pt>
                <c:pt idx="2489">
                  <c:v>1</c:v>
                </c:pt>
                <c:pt idx="2490">
                  <c:v>0</c:v>
                </c:pt>
                <c:pt idx="2491">
                  <c:v>0</c:v>
                </c:pt>
                <c:pt idx="2492">
                  <c:v>0</c:v>
                </c:pt>
                <c:pt idx="2493">
                  <c:v>3</c:v>
                </c:pt>
                <c:pt idx="2494">
                  <c:v>0</c:v>
                </c:pt>
                <c:pt idx="2495">
                  <c:v>0</c:v>
                </c:pt>
                <c:pt idx="2496">
                  <c:v>0</c:v>
                </c:pt>
                <c:pt idx="2497">
                  <c:v>0</c:v>
                </c:pt>
                <c:pt idx="2498">
                  <c:v>0</c:v>
                </c:pt>
                <c:pt idx="2499">
                  <c:v>0</c:v>
                </c:pt>
                <c:pt idx="2500">
                  <c:v>1</c:v>
                </c:pt>
                <c:pt idx="2501">
                  <c:v>1</c:v>
                </c:pt>
                <c:pt idx="2502">
                  <c:v>2</c:v>
                </c:pt>
                <c:pt idx="2503">
                  <c:v>0</c:v>
                </c:pt>
                <c:pt idx="2504">
                  <c:v>2</c:v>
                </c:pt>
                <c:pt idx="2505">
                  <c:v>0</c:v>
                </c:pt>
                <c:pt idx="2506">
                  <c:v>0</c:v>
                </c:pt>
                <c:pt idx="2507">
                  <c:v>1</c:v>
                </c:pt>
                <c:pt idx="2508">
                  <c:v>8</c:v>
                </c:pt>
                <c:pt idx="2509">
                  <c:v>0</c:v>
                </c:pt>
                <c:pt idx="2510">
                  <c:v>0</c:v>
                </c:pt>
                <c:pt idx="2511">
                  <c:v>0</c:v>
                </c:pt>
                <c:pt idx="2512">
                  <c:v>1</c:v>
                </c:pt>
                <c:pt idx="2513">
                  <c:v>0</c:v>
                </c:pt>
                <c:pt idx="2514">
                  <c:v>0</c:v>
                </c:pt>
                <c:pt idx="2515">
                  <c:v>0</c:v>
                </c:pt>
                <c:pt idx="2516">
                  <c:v>0</c:v>
                </c:pt>
                <c:pt idx="2517">
                  <c:v>2</c:v>
                </c:pt>
                <c:pt idx="2518">
                  <c:v>4</c:v>
                </c:pt>
                <c:pt idx="2519">
                  <c:v>0</c:v>
                </c:pt>
                <c:pt idx="2520">
                  <c:v>0</c:v>
                </c:pt>
                <c:pt idx="2521">
                  <c:v>0</c:v>
                </c:pt>
                <c:pt idx="2522">
                  <c:v>0</c:v>
                </c:pt>
                <c:pt idx="2523">
                  <c:v>1</c:v>
                </c:pt>
                <c:pt idx="2524">
                  <c:v>0</c:v>
                </c:pt>
                <c:pt idx="2525">
                  <c:v>0</c:v>
                </c:pt>
                <c:pt idx="2526">
                  <c:v>3</c:v>
                </c:pt>
                <c:pt idx="2527">
                  <c:v>0</c:v>
                </c:pt>
                <c:pt idx="2528">
                  <c:v>0</c:v>
                </c:pt>
                <c:pt idx="2529">
                  <c:v>0</c:v>
                </c:pt>
                <c:pt idx="2530">
                  <c:v>3</c:v>
                </c:pt>
                <c:pt idx="2531">
                  <c:v>0</c:v>
                </c:pt>
                <c:pt idx="2532">
                  <c:v>1</c:v>
                </c:pt>
                <c:pt idx="2533">
                  <c:v>3</c:v>
                </c:pt>
                <c:pt idx="2534">
                  <c:v>1</c:v>
                </c:pt>
                <c:pt idx="2535">
                  <c:v>1</c:v>
                </c:pt>
                <c:pt idx="2536">
                  <c:v>0</c:v>
                </c:pt>
                <c:pt idx="2537">
                  <c:v>1</c:v>
                </c:pt>
                <c:pt idx="2538">
                  <c:v>0</c:v>
                </c:pt>
                <c:pt idx="2539">
                  <c:v>0</c:v>
                </c:pt>
                <c:pt idx="2540">
                  <c:v>0</c:v>
                </c:pt>
                <c:pt idx="2541">
                  <c:v>1</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4</c:v>
                </c:pt>
                <c:pt idx="2558">
                  <c:v>1</c:v>
                </c:pt>
                <c:pt idx="2559">
                  <c:v>0</c:v>
                </c:pt>
                <c:pt idx="2560">
                  <c:v>4</c:v>
                </c:pt>
                <c:pt idx="2561">
                  <c:v>1</c:v>
                </c:pt>
                <c:pt idx="2562">
                  <c:v>0</c:v>
                </c:pt>
                <c:pt idx="2563">
                  <c:v>1</c:v>
                </c:pt>
                <c:pt idx="2564">
                  <c:v>0</c:v>
                </c:pt>
                <c:pt idx="2565">
                  <c:v>0</c:v>
                </c:pt>
                <c:pt idx="2566">
                  <c:v>0</c:v>
                </c:pt>
                <c:pt idx="2567">
                  <c:v>0</c:v>
                </c:pt>
                <c:pt idx="2568">
                  <c:v>0</c:v>
                </c:pt>
                <c:pt idx="2569">
                  <c:v>0</c:v>
                </c:pt>
                <c:pt idx="2570">
                  <c:v>0</c:v>
                </c:pt>
                <c:pt idx="2571">
                  <c:v>0</c:v>
                </c:pt>
                <c:pt idx="2572">
                  <c:v>2</c:v>
                </c:pt>
                <c:pt idx="2573">
                  <c:v>0</c:v>
                </c:pt>
                <c:pt idx="2574">
                  <c:v>1</c:v>
                </c:pt>
                <c:pt idx="2575">
                  <c:v>0</c:v>
                </c:pt>
                <c:pt idx="2576">
                  <c:v>0</c:v>
                </c:pt>
                <c:pt idx="2577">
                  <c:v>0</c:v>
                </c:pt>
                <c:pt idx="2578">
                  <c:v>0</c:v>
                </c:pt>
                <c:pt idx="2579">
                  <c:v>0</c:v>
                </c:pt>
                <c:pt idx="2580">
                  <c:v>0</c:v>
                </c:pt>
                <c:pt idx="2581">
                  <c:v>0</c:v>
                </c:pt>
                <c:pt idx="2582">
                  <c:v>0</c:v>
                </c:pt>
                <c:pt idx="2583">
                  <c:v>0</c:v>
                </c:pt>
                <c:pt idx="2584">
                  <c:v>0</c:v>
                </c:pt>
                <c:pt idx="2585">
                  <c:v>2</c:v>
                </c:pt>
                <c:pt idx="2586">
                  <c:v>0</c:v>
                </c:pt>
                <c:pt idx="2587">
                  <c:v>1</c:v>
                </c:pt>
                <c:pt idx="2588">
                  <c:v>1</c:v>
                </c:pt>
                <c:pt idx="2589">
                  <c:v>0</c:v>
                </c:pt>
                <c:pt idx="2590">
                  <c:v>0</c:v>
                </c:pt>
                <c:pt idx="2591">
                  <c:v>1</c:v>
                </c:pt>
                <c:pt idx="2592">
                  <c:v>0</c:v>
                </c:pt>
                <c:pt idx="2593">
                  <c:v>2</c:v>
                </c:pt>
                <c:pt idx="2594">
                  <c:v>0</c:v>
                </c:pt>
                <c:pt idx="2595">
                  <c:v>0</c:v>
                </c:pt>
                <c:pt idx="2596">
                  <c:v>3</c:v>
                </c:pt>
                <c:pt idx="2597">
                  <c:v>2</c:v>
                </c:pt>
                <c:pt idx="2598">
                  <c:v>2</c:v>
                </c:pt>
                <c:pt idx="2599">
                  <c:v>0</c:v>
                </c:pt>
                <c:pt idx="2600">
                  <c:v>7</c:v>
                </c:pt>
                <c:pt idx="2601">
                  <c:v>1</c:v>
                </c:pt>
                <c:pt idx="2602">
                  <c:v>1</c:v>
                </c:pt>
                <c:pt idx="2603">
                  <c:v>1</c:v>
                </c:pt>
                <c:pt idx="2604">
                  <c:v>2</c:v>
                </c:pt>
                <c:pt idx="2605">
                  <c:v>1</c:v>
                </c:pt>
                <c:pt idx="2606">
                  <c:v>0</c:v>
                </c:pt>
                <c:pt idx="2607">
                  <c:v>19</c:v>
                </c:pt>
                <c:pt idx="2608">
                  <c:v>0</c:v>
                </c:pt>
                <c:pt idx="2609">
                  <c:v>1</c:v>
                </c:pt>
                <c:pt idx="2610">
                  <c:v>1</c:v>
                </c:pt>
                <c:pt idx="2611">
                  <c:v>1</c:v>
                </c:pt>
                <c:pt idx="2612">
                  <c:v>0</c:v>
                </c:pt>
                <c:pt idx="2613">
                  <c:v>0</c:v>
                </c:pt>
                <c:pt idx="2614">
                  <c:v>3</c:v>
                </c:pt>
                <c:pt idx="2615">
                  <c:v>4</c:v>
                </c:pt>
                <c:pt idx="2616">
                  <c:v>1</c:v>
                </c:pt>
                <c:pt idx="2617">
                  <c:v>0</c:v>
                </c:pt>
                <c:pt idx="2618">
                  <c:v>0</c:v>
                </c:pt>
                <c:pt idx="2619">
                  <c:v>3</c:v>
                </c:pt>
                <c:pt idx="2620">
                  <c:v>3</c:v>
                </c:pt>
                <c:pt idx="2621">
                  <c:v>0</c:v>
                </c:pt>
                <c:pt idx="2622">
                  <c:v>7</c:v>
                </c:pt>
                <c:pt idx="2623">
                  <c:v>0</c:v>
                </c:pt>
                <c:pt idx="2624">
                  <c:v>0</c:v>
                </c:pt>
                <c:pt idx="2625">
                  <c:v>0</c:v>
                </c:pt>
                <c:pt idx="2626">
                  <c:v>0</c:v>
                </c:pt>
                <c:pt idx="2627">
                  <c:v>2</c:v>
                </c:pt>
                <c:pt idx="2628">
                  <c:v>0</c:v>
                </c:pt>
                <c:pt idx="2629">
                  <c:v>2</c:v>
                </c:pt>
                <c:pt idx="2630">
                  <c:v>0</c:v>
                </c:pt>
                <c:pt idx="2631">
                  <c:v>0</c:v>
                </c:pt>
                <c:pt idx="2632">
                  <c:v>0</c:v>
                </c:pt>
                <c:pt idx="2633">
                  <c:v>1</c:v>
                </c:pt>
                <c:pt idx="2634">
                  <c:v>0</c:v>
                </c:pt>
                <c:pt idx="2635">
                  <c:v>0</c:v>
                </c:pt>
                <c:pt idx="2636">
                  <c:v>1</c:v>
                </c:pt>
                <c:pt idx="2637">
                  <c:v>5</c:v>
                </c:pt>
                <c:pt idx="2638">
                  <c:v>1</c:v>
                </c:pt>
                <c:pt idx="2639">
                  <c:v>0</c:v>
                </c:pt>
                <c:pt idx="2640">
                  <c:v>0</c:v>
                </c:pt>
                <c:pt idx="2641">
                  <c:v>3</c:v>
                </c:pt>
                <c:pt idx="2642">
                  <c:v>1</c:v>
                </c:pt>
                <c:pt idx="2643">
                  <c:v>0</c:v>
                </c:pt>
                <c:pt idx="2644">
                  <c:v>2</c:v>
                </c:pt>
                <c:pt idx="2645">
                  <c:v>3</c:v>
                </c:pt>
                <c:pt idx="2646">
                  <c:v>2</c:v>
                </c:pt>
                <c:pt idx="2647">
                  <c:v>0</c:v>
                </c:pt>
                <c:pt idx="2648">
                  <c:v>1</c:v>
                </c:pt>
                <c:pt idx="2649">
                  <c:v>1</c:v>
                </c:pt>
                <c:pt idx="2650">
                  <c:v>1</c:v>
                </c:pt>
                <c:pt idx="2651">
                  <c:v>1</c:v>
                </c:pt>
                <c:pt idx="2652">
                  <c:v>0</c:v>
                </c:pt>
                <c:pt idx="2653">
                  <c:v>1</c:v>
                </c:pt>
                <c:pt idx="2654">
                  <c:v>1</c:v>
                </c:pt>
                <c:pt idx="2655">
                  <c:v>1</c:v>
                </c:pt>
                <c:pt idx="2656">
                  <c:v>0</c:v>
                </c:pt>
                <c:pt idx="2657">
                  <c:v>0</c:v>
                </c:pt>
                <c:pt idx="2658">
                  <c:v>0</c:v>
                </c:pt>
                <c:pt idx="2659">
                  <c:v>0</c:v>
                </c:pt>
                <c:pt idx="2660">
                  <c:v>3</c:v>
                </c:pt>
                <c:pt idx="2661">
                  <c:v>5</c:v>
                </c:pt>
                <c:pt idx="2662">
                  <c:v>3</c:v>
                </c:pt>
                <c:pt idx="2663">
                  <c:v>5</c:v>
                </c:pt>
                <c:pt idx="2664">
                  <c:v>3</c:v>
                </c:pt>
                <c:pt idx="2665">
                  <c:v>0</c:v>
                </c:pt>
                <c:pt idx="2666">
                  <c:v>0</c:v>
                </c:pt>
                <c:pt idx="2667">
                  <c:v>0</c:v>
                </c:pt>
                <c:pt idx="2668">
                  <c:v>0</c:v>
                </c:pt>
                <c:pt idx="2669">
                  <c:v>0</c:v>
                </c:pt>
                <c:pt idx="2670">
                  <c:v>0</c:v>
                </c:pt>
                <c:pt idx="2671">
                  <c:v>1</c:v>
                </c:pt>
                <c:pt idx="2672">
                  <c:v>0</c:v>
                </c:pt>
                <c:pt idx="2673">
                  <c:v>0</c:v>
                </c:pt>
                <c:pt idx="2674">
                  <c:v>0</c:v>
                </c:pt>
                <c:pt idx="2675">
                  <c:v>0</c:v>
                </c:pt>
                <c:pt idx="2676">
                  <c:v>0</c:v>
                </c:pt>
                <c:pt idx="2677">
                  <c:v>3</c:v>
                </c:pt>
                <c:pt idx="2678">
                  <c:v>0</c:v>
                </c:pt>
                <c:pt idx="2679">
                  <c:v>0</c:v>
                </c:pt>
                <c:pt idx="2680">
                  <c:v>0</c:v>
                </c:pt>
                <c:pt idx="2681">
                  <c:v>0</c:v>
                </c:pt>
                <c:pt idx="2682">
                  <c:v>0</c:v>
                </c:pt>
                <c:pt idx="2683">
                  <c:v>0</c:v>
                </c:pt>
                <c:pt idx="2684">
                  <c:v>0</c:v>
                </c:pt>
                <c:pt idx="2685">
                  <c:v>1</c:v>
                </c:pt>
                <c:pt idx="2686">
                  <c:v>0</c:v>
                </c:pt>
                <c:pt idx="2687">
                  <c:v>0</c:v>
                </c:pt>
                <c:pt idx="2688">
                  <c:v>3</c:v>
                </c:pt>
                <c:pt idx="2689">
                  <c:v>0</c:v>
                </c:pt>
                <c:pt idx="2690">
                  <c:v>1</c:v>
                </c:pt>
                <c:pt idx="2691">
                  <c:v>0</c:v>
                </c:pt>
                <c:pt idx="2692">
                  <c:v>0</c:v>
                </c:pt>
                <c:pt idx="2693">
                  <c:v>2</c:v>
                </c:pt>
                <c:pt idx="2694">
                  <c:v>0</c:v>
                </c:pt>
                <c:pt idx="2695">
                  <c:v>1</c:v>
                </c:pt>
                <c:pt idx="2696">
                  <c:v>0</c:v>
                </c:pt>
                <c:pt idx="2697">
                  <c:v>1</c:v>
                </c:pt>
                <c:pt idx="2698">
                  <c:v>6</c:v>
                </c:pt>
                <c:pt idx="2699">
                  <c:v>1</c:v>
                </c:pt>
                <c:pt idx="2700">
                  <c:v>2</c:v>
                </c:pt>
                <c:pt idx="2701">
                  <c:v>0</c:v>
                </c:pt>
                <c:pt idx="2702">
                  <c:v>0</c:v>
                </c:pt>
                <c:pt idx="2703">
                  <c:v>0</c:v>
                </c:pt>
                <c:pt idx="2704">
                  <c:v>1</c:v>
                </c:pt>
                <c:pt idx="2705">
                  <c:v>3</c:v>
                </c:pt>
                <c:pt idx="2706">
                  <c:v>2</c:v>
                </c:pt>
                <c:pt idx="2707">
                  <c:v>1</c:v>
                </c:pt>
                <c:pt idx="2708">
                  <c:v>1</c:v>
                </c:pt>
                <c:pt idx="2709">
                  <c:v>0</c:v>
                </c:pt>
                <c:pt idx="2710">
                  <c:v>0</c:v>
                </c:pt>
                <c:pt idx="2711">
                  <c:v>0</c:v>
                </c:pt>
                <c:pt idx="2712">
                  <c:v>2</c:v>
                </c:pt>
                <c:pt idx="2713">
                  <c:v>1</c:v>
                </c:pt>
                <c:pt idx="2714">
                  <c:v>0</c:v>
                </c:pt>
                <c:pt idx="2715">
                  <c:v>4</c:v>
                </c:pt>
                <c:pt idx="2716">
                  <c:v>0</c:v>
                </c:pt>
                <c:pt idx="2717">
                  <c:v>1</c:v>
                </c:pt>
                <c:pt idx="2718">
                  <c:v>1</c:v>
                </c:pt>
                <c:pt idx="2719">
                  <c:v>0</c:v>
                </c:pt>
                <c:pt idx="2720">
                  <c:v>0</c:v>
                </c:pt>
                <c:pt idx="2721">
                  <c:v>1</c:v>
                </c:pt>
                <c:pt idx="2722">
                  <c:v>0</c:v>
                </c:pt>
                <c:pt idx="2723">
                  <c:v>0</c:v>
                </c:pt>
                <c:pt idx="2724">
                  <c:v>0</c:v>
                </c:pt>
                <c:pt idx="2725">
                  <c:v>4</c:v>
                </c:pt>
                <c:pt idx="2726">
                  <c:v>1</c:v>
                </c:pt>
                <c:pt idx="2727">
                  <c:v>0</c:v>
                </c:pt>
                <c:pt idx="2728">
                  <c:v>0</c:v>
                </c:pt>
                <c:pt idx="2729">
                  <c:v>0</c:v>
                </c:pt>
                <c:pt idx="2730">
                  <c:v>0</c:v>
                </c:pt>
                <c:pt idx="2731">
                  <c:v>0</c:v>
                </c:pt>
                <c:pt idx="2732">
                  <c:v>0</c:v>
                </c:pt>
                <c:pt idx="2733">
                  <c:v>0</c:v>
                </c:pt>
                <c:pt idx="2734">
                  <c:v>3</c:v>
                </c:pt>
                <c:pt idx="2735">
                  <c:v>0</c:v>
                </c:pt>
                <c:pt idx="2736">
                  <c:v>1</c:v>
                </c:pt>
                <c:pt idx="2737">
                  <c:v>2</c:v>
                </c:pt>
                <c:pt idx="2738">
                  <c:v>1</c:v>
                </c:pt>
                <c:pt idx="2739">
                  <c:v>4</c:v>
                </c:pt>
                <c:pt idx="2740">
                  <c:v>0</c:v>
                </c:pt>
                <c:pt idx="2741">
                  <c:v>0</c:v>
                </c:pt>
                <c:pt idx="2742">
                  <c:v>0</c:v>
                </c:pt>
                <c:pt idx="2743">
                  <c:v>1</c:v>
                </c:pt>
                <c:pt idx="2744">
                  <c:v>1</c:v>
                </c:pt>
                <c:pt idx="2745">
                  <c:v>2</c:v>
                </c:pt>
                <c:pt idx="2746">
                  <c:v>0</c:v>
                </c:pt>
                <c:pt idx="2747">
                  <c:v>0</c:v>
                </c:pt>
                <c:pt idx="2748">
                  <c:v>0</c:v>
                </c:pt>
                <c:pt idx="2749">
                  <c:v>4</c:v>
                </c:pt>
                <c:pt idx="2750">
                  <c:v>0</c:v>
                </c:pt>
                <c:pt idx="2751">
                  <c:v>1</c:v>
                </c:pt>
                <c:pt idx="2752">
                  <c:v>0</c:v>
                </c:pt>
                <c:pt idx="2753">
                  <c:v>2</c:v>
                </c:pt>
                <c:pt idx="2754">
                  <c:v>1</c:v>
                </c:pt>
                <c:pt idx="2755">
                  <c:v>1</c:v>
                </c:pt>
                <c:pt idx="2756">
                  <c:v>4</c:v>
                </c:pt>
                <c:pt idx="2757">
                  <c:v>0</c:v>
                </c:pt>
                <c:pt idx="2758">
                  <c:v>1</c:v>
                </c:pt>
                <c:pt idx="2759">
                  <c:v>0</c:v>
                </c:pt>
                <c:pt idx="2760">
                  <c:v>2</c:v>
                </c:pt>
                <c:pt idx="2761">
                  <c:v>5</c:v>
                </c:pt>
                <c:pt idx="2762">
                  <c:v>2</c:v>
                </c:pt>
                <c:pt idx="2763">
                  <c:v>0</c:v>
                </c:pt>
                <c:pt idx="2764">
                  <c:v>3</c:v>
                </c:pt>
                <c:pt idx="2765">
                  <c:v>0</c:v>
                </c:pt>
                <c:pt idx="2766">
                  <c:v>1</c:v>
                </c:pt>
                <c:pt idx="2767">
                  <c:v>5</c:v>
                </c:pt>
                <c:pt idx="2768">
                  <c:v>1</c:v>
                </c:pt>
                <c:pt idx="2769">
                  <c:v>1</c:v>
                </c:pt>
                <c:pt idx="2770">
                  <c:v>1</c:v>
                </c:pt>
                <c:pt idx="2771">
                  <c:v>0</c:v>
                </c:pt>
                <c:pt idx="2772">
                  <c:v>1</c:v>
                </c:pt>
                <c:pt idx="2773">
                  <c:v>0</c:v>
                </c:pt>
                <c:pt idx="2774">
                  <c:v>3</c:v>
                </c:pt>
                <c:pt idx="2775">
                  <c:v>3</c:v>
                </c:pt>
                <c:pt idx="2776">
                  <c:v>1</c:v>
                </c:pt>
                <c:pt idx="2777">
                  <c:v>1</c:v>
                </c:pt>
                <c:pt idx="2778">
                  <c:v>0</c:v>
                </c:pt>
                <c:pt idx="2779">
                  <c:v>4</c:v>
                </c:pt>
                <c:pt idx="2780">
                  <c:v>1</c:v>
                </c:pt>
                <c:pt idx="2781">
                  <c:v>0</c:v>
                </c:pt>
                <c:pt idx="2782">
                  <c:v>1</c:v>
                </c:pt>
                <c:pt idx="2783">
                  <c:v>1</c:v>
                </c:pt>
                <c:pt idx="2784">
                  <c:v>0</c:v>
                </c:pt>
                <c:pt idx="2785">
                  <c:v>0</c:v>
                </c:pt>
                <c:pt idx="2786">
                  <c:v>0</c:v>
                </c:pt>
                <c:pt idx="2787">
                  <c:v>0</c:v>
                </c:pt>
                <c:pt idx="2788">
                  <c:v>0</c:v>
                </c:pt>
                <c:pt idx="2789">
                  <c:v>1</c:v>
                </c:pt>
                <c:pt idx="2790">
                  <c:v>1</c:v>
                </c:pt>
                <c:pt idx="2791">
                  <c:v>3</c:v>
                </c:pt>
                <c:pt idx="2792">
                  <c:v>2</c:v>
                </c:pt>
                <c:pt idx="2793">
                  <c:v>1</c:v>
                </c:pt>
                <c:pt idx="2794">
                  <c:v>1</c:v>
                </c:pt>
                <c:pt idx="2795">
                  <c:v>2</c:v>
                </c:pt>
                <c:pt idx="2796">
                  <c:v>0</c:v>
                </c:pt>
                <c:pt idx="2797">
                  <c:v>2</c:v>
                </c:pt>
                <c:pt idx="2798">
                  <c:v>1</c:v>
                </c:pt>
                <c:pt idx="2799">
                  <c:v>0</c:v>
                </c:pt>
                <c:pt idx="2800">
                  <c:v>4</c:v>
                </c:pt>
                <c:pt idx="2801">
                  <c:v>2</c:v>
                </c:pt>
                <c:pt idx="2802">
                  <c:v>0</c:v>
                </c:pt>
                <c:pt idx="2803">
                  <c:v>0</c:v>
                </c:pt>
                <c:pt idx="2804">
                  <c:v>0</c:v>
                </c:pt>
                <c:pt idx="2805">
                  <c:v>0</c:v>
                </c:pt>
                <c:pt idx="2806">
                  <c:v>1</c:v>
                </c:pt>
                <c:pt idx="2807">
                  <c:v>0</c:v>
                </c:pt>
                <c:pt idx="2808">
                  <c:v>4</c:v>
                </c:pt>
                <c:pt idx="2809">
                  <c:v>1</c:v>
                </c:pt>
                <c:pt idx="2810">
                  <c:v>0</c:v>
                </c:pt>
                <c:pt idx="2811">
                  <c:v>4</c:v>
                </c:pt>
                <c:pt idx="2812">
                  <c:v>0</c:v>
                </c:pt>
                <c:pt idx="2813">
                  <c:v>1</c:v>
                </c:pt>
                <c:pt idx="2814">
                  <c:v>3</c:v>
                </c:pt>
                <c:pt idx="2815">
                  <c:v>0</c:v>
                </c:pt>
                <c:pt idx="2816">
                  <c:v>0</c:v>
                </c:pt>
                <c:pt idx="2817">
                  <c:v>1</c:v>
                </c:pt>
                <c:pt idx="2818">
                  <c:v>0</c:v>
                </c:pt>
                <c:pt idx="2819">
                  <c:v>0</c:v>
                </c:pt>
                <c:pt idx="2820">
                  <c:v>0</c:v>
                </c:pt>
                <c:pt idx="2821">
                  <c:v>0</c:v>
                </c:pt>
                <c:pt idx="2822">
                  <c:v>0</c:v>
                </c:pt>
                <c:pt idx="2823">
                  <c:v>1</c:v>
                </c:pt>
                <c:pt idx="2824">
                  <c:v>2</c:v>
                </c:pt>
                <c:pt idx="2825">
                  <c:v>0</c:v>
                </c:pt>
                <c:pt idx="2826">
                  <c:v>0</c:v>
                </c:pt>
                <c:pt idx="2827">
                  <c:v>1</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1</c:v>
                </c:pt>
                <c:pt idx="2841">
                  <c:v>0</c:v>
                </c:pt>
                <c:pt idx="2842">
                  <c:v>0</c:v>
                </c:pt>
                <c:pt idx="2843">
                  <c:v>0</c:v>
                </c:pt>
                <c:pt idx="2844">
                  <c:v>0</c:v>
                </c:pt>
                <c:pt idx="2845">
                  <c:v>0</c:v>
                </c:pt>
                <c:pt idx="2846">
                  <c:v>0</c:v>
                </c:pt>
                <c:pt idx="2847">
                  <c:v>0</c:v>
                </c:pt>
                <c:pt idx="2848">
                  <c:v>0</c:v>
                </c:pt>
                <c:pt idx="2849">
                  <c:v>3</c:v>
                </c:pt>
                <c:pt idx="2850">
                  <c:v>0</c:v>
                </c:pt>
                <c:pt idx="2851">
                  <c:v>0</c:v>
                </c:pt>
                <c:pt idx="2852">
                  <c:v>0</c:v>
                </c:pt>
                <c:pt idx="2853">
                  <c:v>0</c:v>
                </c:pt>
                <c:pt idx="2854">
                  <c:v>2</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4</c:v>
                </c:pt>
                <c:pt idx="2887">
                  <c:v>0</c:v>
                </c:pt>
                <c:pt idx="2888">
                  <c:v>0</c:v>
                </c:pt>
                <c:pt idx="2889">
                  <c:v>0</c:v>
                </c:pt>
                <c:pt idx="2890">
                  <c:v>0</c:v>
                </c:pt>
                <c:pt idx="2891">
                  <c:v>0</c:v>
                </c:pt>
                <c:pt idx="2892">
                  <c:v>0</c:v>
                </c:pt>
                <c:pt idx="2893">
                  <c:v>0</c:v>
                </c:pt>
                <c:pt idx="2894">
                  <c:v>0</c:v>
                </c:pt>
                <c:pt idx="2895">
                  <c:v>0</c:v>
                </c:pt>
                <c:pt idx="2896">
                  <c:v>0</c:v>
                </c:pt>
                <c:pt idx="2897">
                  <c:v>1</c:v>
                </c:pt>
                <c:pt idx="2898">
                  <c:v>0</c:v>
                </c:pt>
                <c:pt idx="2899">
                  <c:v>0</c:v>
                </c:pt>
                <c:pt idx="2900">
                  <c:v>1</c:v>
                </c:pt>
                <c:pt idx="2901">
                  <c:v>0</c:v>
                </c:pt>
                <c:pt idx="2902">
                  <c:v>0</c:v>
                </c:pt>
                <c:pt idx="2903">
                  <c:v>0</c:v>
                </c:pt>
                <c:pt idx="2904">
                  <c:v>0</c:v>
                </c:pt>
                <c:pt idx="2905">
                  <c:v>0</c:v>
                </c:pt>
                <c:pt idx="2906">
                  <c:v>0</c:v>
                </c:pt>
                <c:pt idx="2907">
                  <c:v>0</c:v>
                </c:pt>
                <c:pt idx="2908">
                  <c:v>0</c:v>
                </c:pt>
                <c:pt idx="2909">
                  <c:v>0</c:v>
                </c:pt>
                <c:pt idx="2910">
                  <c:v>8</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3</c:v>
                </c:pt>
                <c:pt idx="2931">
                  <c:v>0</c:v>
                </c:pt>
                <c:pt idx="2932">
                  <c:v>0</c:v>
                </c:pt>
                <c:pt idx="2933">
                  <c:v>0</c:v>
                </c:pt>
                <c:pt idx="2934">
                  <c:v>0</c:v>
                </c:pt>
                <c:pt idx="2935">
                  <c:v>0</c:v>
                </c:pt>
                <c:pt idx="2936">
                  <c:v>0</c:v>
                </c:pt>
                <c:pt idx="2937">
                  <c:v>0</c:v>
                </c:pt>
                <c:pt idx="2938">
                  <c:v>0</c:v>
                </c:pt>
                <c:pt idx="2939">
                  <c:v>0</c:v>
                </c:pt>
                <c:pt idx="2940">
                  <c:v>0</c:v>
                </c:pt>
                <c:pt idx="2941">
                  <c:v>0</c:v>
                </c:pt>
                <c:pt idx="2942">
                  <c:v>1</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1</c:v>
                </c:pt>
                <c:pt idx="2956">
                  <c:v>0</c:v>
                </c:pt>
                <c:pt idx="2957">
                  <c:v>0</c:v>
                </c:pt>
                <c:pt idx="2958">
                  <c:v>0</c:v>
                </c:pt>
                <c:pt idx="2959">
                  <c:v>0</c:v>
                </c:pt>
                <c:pt idx="2960">
                  <c:v>0</c:v>
                </c:pt>
                <c:pt idx="2961">
                  <c:v>0</c:v>
                </c:pt>
                <c:pt idx="2962">
                  <c:v>0</c:v>
                </c:pt>
                <c:pt idx="2963">
                  <c:v>0</c:v>
                </c:pt>
                <c:pt idx="2964">
                  <c:v>0</c:v>
                </c:pt>
                <c:pt idx="2965">
                  <c:v>2</c:v>
                </c:pt>
                <c:pt idx="2966">
                  <c:v>0</c:v>
                </c:pt>
                <c:pt idx="2967">
                  <c:v>0</c:v>
                </c:pt>
                <c:pt idx="2968">
                  <c:v>0</c:v>
                </c:pt>
                <c:pt idx="2969">
                  <c:v>0</c:v>
                </c:pt>
                <c:pt idx="2970">
                  <c:v>0</c:v>
                </c:pt>
                <c:pt idx="2971">
                  <c:v>0</c:v>
                </c:pt>
                <c:pt idx="2972">
                  <c:v>6</c:v>
                </c:pt>
                <c:pt idx="2973">
                  <c:v>0</c:v>
                </c:pt>
                <c:pt idx="2974">
                  <c:v>5</c:v>
                </c:pt>
                <c:pt idx="2975">
                  <c:v>2</c:v>
                </c:pt>
                <c:pt idx="2976">
                  <c:v>1</c:v>
                </c:pt>
                <c:pt idx="2977">
                  <c:v>0</c:v>
                </c:pt>
                <c:pt idx="2978">
                  <c:v>0</c:v>
                </c:pt>
                <c:pt idx="2979">
                  <c:v>0</c:v>
                </c:pt>
                <c:pt idx="2980">
                  <c:v>3</c:v>
                </c:pt>
                <c:pt idx="2981">
                  <c:v>4</c:v>
                </c:pt>
                <c:pt idx="2982">
                  <c:v>0</c:v>
                </c:pt>
                <c:pt idx="2983">
                  <c:v>2</c:v>
                </c:pt>
                <c:pt idx="2984">
                  <c:v>0</c:v>
                </c:pt>
                <c:pt idx="2985">
                  <c:v>0</c:v>
                </c:pt>
                <c:pt idx="2986">
                  <c:v>0</c:v>
                </c:pt>
                <c:pt idx="2987">
                  <c:v>0</c:v>
                </c:pt>
                <c:pt idx="2988">
                  <c:v>2</c:v>
                </c:pt>
                <c:pt idx="2989">
                  <c:v>2</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1</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5</c:v>
                </c:pt>
                <c:pt idx="3082">
                  <c:v>1</c:v>
                </c:pt>
                <c:pt idx="3083">
                  <c:v>2</c:v>
                </c:pt>
                <c:pt idx="3084">
                  <c:v>1</c:v>
                </c:pt>
                <c:pt idx="3085">
                  <c:v>0</c:v>
                </c:pt>
                <c:pt idx="3086">
                  <c:v>0</c:v>
                </c:pt>
                <c:pt idx="3087">
                  <c:v>0</c:v>
                </c:pt>
                <c:pt idx="3088">
                  <c:v>0</c:v>
                </c:pt>
                <c:pt idx="3089">
                  <c:v>0</c:v>
                </c:pt>
                <c:pt idx="3090">
                  <c:v>0</c:v>
                </c:pt>
                <c:pt idx="3091">
                  <c:v>0</c:v>
                </c:pt>
                <c:pt idx="3092">
                  <c:v>0</c:v>
                </c:pt>
                <c:pt idx="3093">
                  <c:v>1</c:v>
                </c:pt>
                <c:pt idx="3094">
                  <c:v>0</c:v>
                </c:pt>
                <c:pt idx="3095">
                  <c:v>0</c:v>
                </c:pt>
                <c:pt idx="3096">
                  <c:v>0</c:v>
                </c:pt>
                <c:pt idx="3097">
                  <c:v>0</c:v>
                </c:pt>
                <c:pt idx="3098">
                  <c:v>0</c:v>
                </c:pt>
                <c:pt idx="3099">
                  <c:v>0</c:v>
                </c:pt>
                <c:pt idx="3100">
                  <c:v>0</c:v>
                </c:pt>
                <c:pt idx="3101">
                  <c:v>0</c:v>
                </c:pt>
                <c:pt idx="3102">
                  <c:v>0</c:v>
                </c:pt>
                <c:pt idx="3103">
                  <c:v>0</c:v>
                </c:pt>
                <c:pt idx="3104">
                  <c:v>0</c:v>
                </c:pt>
                <c:pt idx="3105">
                  <c:v>2</c:v>
                </c:pt>
                <c:pt idx="3106">
                  <c:v>0</c:v>
                </c:pt>
                <c:pt idx="3107">
                  <c:v>0</c:v>
                </c:pt>
                <c:pt idx="3108">
                  <c:v>2</c:v>
                </c:pt>
                <c:pt idx="3109">
                  <c:v>1</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4</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4</c:v>
                </c:pt>
                <c:pt idx="3200">
                  <c:v>0</c:v>
                </c:pt>
                <c:pt idx="3201">
                  <c:v>0</c:v>
                </c:pt>
                <c:pt idx="3202">
                  <c:v>0</c:v>
                </c:pt>
                <c:pt idx="3203">
                  <c:v>0</c:v>
                </c:pt>
                <c:pt idx="3204">
                  <c:v>0</c:v>
                </c:pt>
                <c:pt idx="3205">
                  <c:v>0</c:v>
                </c:pt>
                <c:pt idx="3206">
                  <c:v>0</c:v>
                </c:pt>
                <c:pt idx="3207">
                  <c:v>0</c:v>
                </c:pt>
                <c:pt idx="3208">
                  <c:v>3</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1</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1</c:v>
                </c:pt>
                <c:pt idx="3271">
                  <c:v>0</c:v>
                </c:pt>
                <c:pt idx="3272">
                  <c:v>0</c:v>
                </c:pt>
                <c:pt idx="3273">
                  <c:v>0</c:v>
                </c:pt>
                <c:pt idx="3274">
                  <c:v>0</c:v>
                </c:pt>
                <c:pt idx="3275">
                  <c:v>0</c:v>
                </c:pt>
                <c:pt idx="3276">
                  <c:v>0</c:v>
                </c:pt>
                <c:pt idx="3277">
                  <c:v>2</c:v>
                </c:pt>
                <c:pt idx="3278">
                  <c:v>0</c:v>
                </c:pt>
                <c:pt idx="3279">
                  <c:v>0</c:v>
                </c:pt>
                <c:pt idx="3280">
                  <c:v>0</c:v>
                </c:pt>
                <c:pt idx="3281">
                  <c:v>0</c:v>
                </c:pt>
                <c:pt idx="3282">
                  <c:v>2</c:v>
                </c:pt>
                <c:pt idx="3283">
                  <c:v>0</c:v>
                </c:pt>
                <c:pt idx="3284">
                  <c:v>0</c:v>
                </c:pt>
                <c:pt idx="3285">
                  <c:v>0</c:v>
                </c:pt>
                <c:pt idx="3286">
                  <c:v>0</c:v>
                </c:pt>
                <c:pt idx="3287">
                  <c:v>1</c:v>
                </c:pt>
                <c:pt idx="3288">
                  <c:v>0</c:v>
                </c:pt>
                <c:pt idx="3289">
                  <c:v>0</c:v>
                </c:pt>
                <c:pt idx="3290">
                  <c:v>0</c:v>
                </c:pt>
                <c:pt idx="3291">
                  <c:v>0</c:v>
                </c:pt>
                <c:pt idx="3292">
                  <c:v>0</c:v>
                </c:pt>
                <c:pt idx="3293">
                  <c:v>0</c:v>
                </c:pt>
                <c:pt idx="3294">
                  <c:v>0</c:v>
                </c:pt>
                <c:pt idx="3295">
                  <c:v>2</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1</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1</c:v>
                </c:pt>
                <c:pt idx="3356">
                  <c:v>0</c:v>
                </c:pt>
                <c:pt idx="3357">
                  <c:v>1</c:v>
                </c:pt>
                <c:pt idx="3358">
                  <c:v>0</c:v>
                </c:pt>
                <c:pt idx="3359">
                  <c:v>0</c:v>
                </c:pt>
                <c:pt idx="3360">
                  <c:v>0</c:v>
                </c:pt>
                <c:pt idx="3361">
                  <c:v>0</c:v>
                </c:pt>
                <c:pt idx="3362">
                  <c:v>0</c:v>
                </c:pt>
                <c:pt idx="3363">
                  <c:v>3</c:v>
                </c:pt>
                <c:pt idx="3364">
                  <c:v>0</c:v>
                </c:pt>
                <c:pt idx="3365">
                  <c:v>2</c:v>
                </c:pt>
                <c:pt idx="3366">
                  <c:v>1</c:v>
                </c:pt>
                <c:pt idx="3367">
                  <c:v>0</c:v>
                </c:pt>
                <c:pt idx="3368">
                  <c:v>2</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2</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2</c:v>
                </c:pt>
                <c:pt idx="3469">
                  <c:v>0</c:v>
                </c:pt>
                <c:pt idx="3470">
                  <c:v>1</c:v>
                </c:pt>
                <c:pt idx="3471">
                  <c:v>0</c:v>
                </c:pt>
                <c:pt idx="3472">
                  <c:v>0</c:v>
                </c:pt>
                <c:pt idx="3473">
                  <c:v>0</c:v>
                </c:pt>
                <c:pt idx="3474">
                  <c:v>0</c:v>
                </c:pt>
                <c:pt idx="3475">
                  <c:v>0</c:v>
                </c:pt>
                <c:pt idx="3476">
                  <c:v>2</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3</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2</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1</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1</c:v>
                </c:pt>
                <c:pt idx="3639">
                  <c:v>0</c:v>
                </c:pt>
                <c:pt idx="3640">
                  <c:v>1</c:v>
                </c:pt>
                <c:pt idx="3641">
                  <c:v>1</c:v>
                </c:pt>
                <c:pt idx="3642">
                  <c:v>1</c:v>
                </c:pt>
                <c:pt idx="3643">
                  <c:v>0</c:v>
                </c:pt>
                <c:pt idx="3644">
                  <c:v>0</c:v>
                </c:pt>
                <c:pt idx="3645">
                  <c:v>0</c:v>
                </c:pt>
                <c:pt idx="3646">
                  <c:v>0</c:v>
                </c:pt>
                <c:pt idx="3647">
                  <c:v>0</c:v>
                </c:pt>
                <c:pt idx="3648">
                  <c:v>0</c:v>
                </c:pt>
                <c:pt idx="3649">
                  <c:v>0</c:v>
                </c:pt>
                <c:pt idx="3650">
                  <c:v>1</c:v>
                </c:pt>
                <c:pt idx="3651">
                  <c:v>0</c:v>
                </c:pt>
                <c:pt idx="3652">
                  <c:v>0</c:v>
                </c:pt>
                <c:pt idx="3653">
                  <c:v>0</c:v>
                </c:pt>
                <c:pt idx="3654">
                  <c:v>0</c:v>
                </c:pt>
                <c:pt idx="3655">
                  <c:v>0</c:v>
                </c:pt>
                <c:pt idx="3656">
                  <c:v>0</c:v>
                </c:pt>
                <c:pt idx="3657">
                  <c:v>0</c:v>
                </c:pt>
                <c:pt idx="3658">
                  <c:v>2</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1</c:v>
                </c:pt>
                <c:pt idx="3676">
                  <c:v>0</c:v>
                </c:pt>
                <c:pt idx="3677">
                  <c:v>0</c:v>
                </c:pt>
                <c:pt idx="3678">
                  <c:v>2</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2</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2</c:v>
                </c:pt>
                <c:pt idx="3711">
                  <c:v>0</c:v>
                </c:pt>
                <c:pt idx="3712">
                  <c:v>0</c:v>
                </c:pt>
                <c:pt idx="3713">
                  <c:v>1</c:v>
                </c:pt>
                <c:pt idx="3714">
                  <c:v>0</c:v>
                </c:pt>
                <c:pt idx="3715">
                  <c:v>7</c:v>
                </c:pt>
                <c:pt idx="3716">
                  <c:v>1</c:v>
                </c:pt>
                <c:pt idx="3717">
                  <c:v>0</c:v>
                </c:pt>
                <c:pt idx="3718">
                  <c:v>0</c:v>
                </c:pt>
                <c:pt idx="3719">
                  <c:v>5</c:v>
                </c:pt>
                <c:pt idx="3720">
                  <c:v>3</c:v>
                </c:pt>
                <c:pt idx="3721">
                  <c:v>0</c:v>
                </c:pt>
                <c:pt idx="3722">
                  <c:v>1</c:v>
                </c:pt>
                <c:pt idx="3723">
                  <c:v>0</c:v>
                </c:pt>
                <c:pt idx="3724">
                  <c:v>0</c:v>
                </c:pt>
                <c:pt idx="3725">
                  <c:v>3</c:v>
                </c:pt>
                <c:pt idx="3726">
                  <c:v>0</c:v>
                </c:pt>
                <c:pt idx="3727">
                  <c:v>0</c:v>
                </c:pt>
                <c:pt idx="3728">
                  <c:v>0</c:v>
                </c:pt>
                <c:pt idx="3729">
                  <c:v>0</c:v>
                </c:pt>
                <c:pt idx="3730">
                  <c:v>0</c:v>
                </c:pt>
                <c:pt idx="3731">
                  <c:v>0</c:v>
                </c:pt>
                <c:pt idx="3732">
                  <c:v>0</c:v>
                </c:pt>
                <c:pt idx="3733">
                  <c:v>0</c:v>
                </c:pt>
                <c:pt idx="3734">
                  <c:v>0</c:v>
                </c:pt>
                <c:pt idx="3735">
                  <c:v>1</c:v>
                </c:pt>
                <c:pt idx="3736">
                  <c:v>0</c:v>
                </c:pt>
                <c:pt idx="3737">
                  <c:v>0</c:v>
                </c:pt>
                <c:pt idx="3738">
                  <c:v>0</c:v>
                </c:pt>
                <c:pt idx="3739">
                  <c:v>2</c:v>
                </c:pt>
                <c:pt idx="3740">
                  <c:v>0</c:v>
                </c:pt>
                <c:pt idx="3741">
                  <c:v>0</c:v>
                </c:pt>
                <c:pt idx="3742">
                  <c:v>0</c:v>
                </c:pt>
                <c:pt idx="3743">
                  <c:v>0</c:v>
                </c:pt>
                <c:pt idx="3744">
                  <c:v>0</c:v>
                </c:pt>
                <c:pt idx="3745">
                  <c:v>3</c:v>
                </c:pt>
                <c:pt idx="3746">
                  <c:v>1</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3</c:v>
                </c:pt>
                <c:pt idx="3786">
                  <c:v>0</c:v>
                </c:pt>
                <c:pt idx="3787">
                  <c:v>0</c:v>
                </c:pt>
                <c:pt idx="3788">
                  <c:v>0</c:v>
                </c:pt>
                <c:pt idx="3789">
                  <c:v>0</c:v>
                </c:pt>
                <c:pt idx="3790">
                  <c:v>1</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3</c:v>
                </c:pt>
                <c:pt idx="3805">
                  <c:v>0</c:v>
                </c:pt>
                <c:pt idx="3806">
                  <c:v>0</c:v>
                </c:pt>
                <c:pt idx="3807">
                  <c:v>0</c:v>
                </c:pt>
                <c:pt idx="3808">
                  <c:v>0</c:v>
                </c:pt>
                <c:pt idx="3809">
                  <c:v>3</c:v>
                </c:pt>
                <c:pt idx="3810">
                  <c:v>0</c:v>
                </c:pt>
                <c:pt idx="3811">
                  <c:v>0</c:v>
                </c:pt>
                <c:pt idx="3812">
                  <c:v>0</c:v>
                </c:pt>
                <c:pt idx="3813">
                  <c:v>0</c:v>
                </c:pt>
                <c:pt idx="3814">
                  <c:v>0</c:v>
                </c:pt>
                <c:pt idx="3815">
                  <c:v>0</c:v>
                </c:pt>
                <c:pt idx="3816">
                  <c:v>1</c:v>
                </c:pt>
                <c:pt idx="3817">
                  <c:v>2</c:v>
                </c:pt>
                <c:pt idx="3818">
                  <c:v>0</c:v>
                </c:pt>
                <c:pt idx="3819">
                  <c:v>0</c:v>
                </c:pt>
                <c:pt idx="3820">
                  <c:v>0</c:v>
                </c:pt>
                <c:pt idx="3821">
                  <c:v>0</c:v>
                </c:pt>
                <c:pt idx="3822">
                  <c:v>0</c:v>
                </c:pt>
                <c:pt idx="3823">
                  <c:v>0</c:v>
                </c:pt>
                <c:pt idx="3824">
                  <c:v>1</c:v>
                </c:pt>
                <c:pt idx="3825">
                  <c:v>0</c:v>
                </c:pt>
                <c:pt idx="3826">
                  <c:v>0</c:v>
                </c:pt>
                <c:pt idx="3827">
                  <c:v>2</c:v>
                </c:pt>
                <c:pt idx="3828">
                  <c:v>0</c:v>
                </c:pt>
                <c:pt idx="3829">
                  <c:v>1</c:v>
                </c:pt>
                <c:pt idx="3830">
                  <c:v>0</c:v>
                </c:pt>
                <c:pt idx="3831">
                  <c:v>0</c:v>
                </c:pt>
                <c:pt idx="3832">
                  <c:v>6</c:v>
                </c:pt>
                <c:pt idx="3833">
                  <c:v>2</c:v>
                </c:pt>
                <c:pt idx="3834">
                  <c:v>0</c:v>
                </c:pt>
                <c:pt idx="3835">
                  <c:v>2</c:v>
                </c:pt>
                <c:pt idx="3836">
                  <c:v>1</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3</c:v>
                </c:pt>
                <c:pt idx="3923">
                  <c:v>0</c:v>
                </c:pt>
                <c:pt idx="3924">
                  <c:v>0</c:v>
                </c:pt>
                <c:pt idx="3925">
                  <c:v>3</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2</c:v>
                </c:pt>
                <c:pt idx="3958">
                  <c:v>0</c:v>
                </c:pt>
                <c:pt idx="3959">
                  <c:v>0</c:v>
                </c:pt>
                <c:pt idx="3960">
                  <c:v>0</c:v>
                </c:pt>
                <c:pt idx="3961">
                  <c:v>0</c:v>
                </c:pt>
                <c:pt idx="3962">
                  <c:v>0</c:v>
                </c:pt>
                <c:pt idx="3963">
                  <c:v>0</c:v>
                </c:pt>
                <c:pt idx="3964">
                  <c:v>0</c:v>
                </c:pt>
                <c:pt idx="3965">
                  <c:v>0</c:v>
                </c:pt>
                <c:pt idx="3966">
                  <c:v>0</c:v>
                </c:pt>
                <c:pt idx="3967">
                  <c:v>1</c:v>
                </c:pt>
                <c:pt idx="3968">
                  <c:v>0</c:v>
                </c:pt>
                <c:pt idx="3969">
                  <c:v>0</c:v>
                </c:pt>
                <c:pt idx="3970">
                  <c:v>1</c:v>
                </c:pt>
                <c:pt idx="3971">
                  <c:v>0</c:v>
                </c:pt>
                <c:pt idx="3972">
                  <c:v>0</c:v>
                </c:pt>
                <c:pt idx="3973">
                  <c:v>0</c:v>
                </c:pt>
                <c:pt idx="3974">
                  <c:v>0</c:v>
                </c:pt>
                <c:pt idx="3975">
                  <c:v>1</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3</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2</c:v>
                </c:pt>
                <c:pt idx="4003">
                  <c:v>0</c:v>
                </c:pt>
                <c:pt idx="4004">
                  <c:v>0</c:v>
                </c:pt>
                <c:pt idx="4005">
                  <c:v>0</c:v>
                </c:pt>
                <c:pt idx="4006">
                  <c:v>0</c:v>
                </c:pt>
                <c:pt idx="4007">
                  <c:v>0</c:v>
                </c:pt>
                <c:pt idx="4008">
                  <c:v>1</c:v>
                </c:pt>
                <c:pt idx="4009">
                  <c:v>1</c:v>
                </c:pt>
                <c:pt idx="4010">
                  <c:v>0</c:v>
                </c:pt>
                <c:pt idx="4011">
                  <c:v>0</c:v>
                </c:pt>
                <c:pt idx="4012">
                  <c:v>0</c:v>
                </c:pt>
                <c:pt idx="4013">
                  <c:v>0</c:v>
                </c:pt>
                <c:pt idx="4014">
                  <c:v>0</c:v>
                </c:pt>
                <c:pt idx="4015">
                  <c:v>0</c:v>
                </c:pt>
                <c:pt idx="4016">
                  <c:v>0</c:v>
                </c:pt>
                <c:pt idx="4017">
                  <c:v>0</c:v>
                </c:pt>
                <c:pt idx="4018">
                  <c:v>0</c:v>
                </c:pt>
                <c:pt idx="4019">
                  <c:v>0</c:v>
                </c:pt>
                <c:pt idx="4020">
                  <c:v>0</c:v>
                </c:pt>
                <c:pt idx="4021">
                  <c:v>3</c:v>
                </c:pt>
                <c:pt idx="4022">
                  <c:v>1</c:v>
                </c:pt>
                <c:pt idx="4023">
                  <c:v>3</c:v>
                </c:pt>
                <c:pt idx="4024">
                  <c:v>0</c:v>
                </c:pt>
                <c:pt idx="4025">
                  <c:v>0</c:v>
                </c:pt>
                <c:pt idx="4026">
                  <c:v>7</c:v>
                </c:pt>
                <c:pt idx="4027">
                  <c:v>0</c:v>
                </c:pt>
                <c:pt idx="4028">
                  <c:v>0</c:v>
                </c:pt>
                <c:pt idx="4029">
                  <c:v>0</c:v>
                </c:pt>
                <c:pt idx="4030">
                  <c:v>2</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2</c:v>
                </c:pt>
                <c:pt idx="4044">
                  <c:v>0</c:v>
                </c:pt>
                <c:pt idx="4045">
                  <c:v>0</c:v>
                </c:pt>
                <c:pt idx="4046">
                  <c:v>2</c:v>
                </c:pt>
                <c:pt idx="4047">
                  <c:v>0</c:v>
                </c:pt>
                <c:pt idx="4048">
                  <c:v>0</c:v>
                </c:pt>
                <c:pt idx="4049">
                  <c:v>1</c:v>
                </c:pt>
                <c:pt idx="4050">
                  <c:v>0</c:v>
                </c:pt>
                <c:pt idx="4051">
                  <c:v>1</c:v>
                </c:pt>
                <c:pt idx="4052">
                  <c:v>0</c:v>
                </c:pt>
                <c:pt idx="4053">
                  <c:v>0</c:v>
                </c:pt>
                <c:pt idx="4054">
                  <c:v>3</c:v>
                </c:pt>
                <c:pt idx="4055">
                  <c:v>1</c:v>
                </c:pt>
                <c:pt idx="4056">
                  <c:v>0</c:v>
                </c:pt>
                <c:pt idx="4057">
                  <c:v>0</c:v>
                </c:pt>
                <c:pt idx="4058">
                  <c:v>0</c:v>
                </c:pt>
                <c:pt idx="4059">
                  <c:v>0</c:v>
                </c:pt>
                <c:pt idx="4060">
                  <c:v>0</c:v>
                </c:pt>
                <c:pt idx="4061">
                  <c:v>7</c:v>
                </c:pt>
                <c:pt idx="4062">
                  <c:v>0</c:v>
                </c:pt>
                <c:pt idx="4063">
                  <c:v>0</c:v>
                </c:pt>
                <c:pt idx="4064">
                  <c:v>1</c:v>
                </c:pt>
                <c:pt idx="4065">
                  <c:v>2</c:v>
                </c:pt>
                <c:pt idx="4066">
                  <c:v>0</c:v>
                </c:pt>
                <c:pt idx="4067">
                  <c:v>9</c:v>
                </c:pt>
                <c:pt idx="4068">
                  <c:v>1</c:v>
                </c:pt>
                <c:pt idx="4069">
                  <c:v>0</c:v>
                </c:pt>
                <c:pt idx="4070">
                  <c:v>2</c:v>
                </c:pt>
                <c:pt idx="4071">
                  <c:v>0</c:v>
                </c:pt>
                <c:pt idx="4072">
                  <c:v>2</c:v>
                </c:pt>
                <c:pt idx="4073">
                  <c:v>0</c:v>
                </c:pt>
                <c:pt idx="4074">
                  <c:v>0</c:v>
                </c:pt>
                <c:pt idx="4075">
                  <c:v>0</c:v>
                </c:pt>
                <c:pt idx="4076">
                  <c:v>0</c:v>
                </c:pt>
                <c:pt idx="4077">
                  <c:v>0</c:v>
                </c:pt>
                <c:pt idx="4078">
                  <c:v>4</c:v>
                </c:pt>
                <c:pt idx="4079">
                  <c:v>0</c:v>
                </c:pt>
                <c:pt idx="4080">
                  <c:v>0</c:v>
                </c:pt>
                <c:pt idx="4081">
                  <c:v>0</c:v>
                </c:pt>
                <c:pt idx="4082">
                  <c:v>3</c:v>
                </c:pt>
                <c:pt idx="4083">
                  <c:v>6</c:v>
                </c:pt>
                <c:pt idx="4084">
                  <c:v>0</c:v>
                </c:pt>
                <c:pt idx="4085">
                  <c:v>0</c:v>
                </c:pt>
                <c:pt idx="4086">
                  <c:v>3</c:v>
                </c:pt>
                <c:pt idx="4087">
                  <c:v>0</c:v>
                </c:pt>
                <c:pt idx="4088">
                  <c:v>3</c:v>
                </c:pt>
                <c:pt idx="4089">
                  <c:v>0</c:v>
                </c:pt>
                <c:pt idx="4090">
                  <c:v>0</c:v>
                </c:pt>
                <c:pt idx="4091">
                  <c:v>0</c:v>
                </c:pt>
                <c:pt idx="4092">
                  <c:v>0</c:v>
                </c:pt>
                <c:pt idx="4093">
                  <c:v>0</c:v>
                </c:pt>
                <c:pt idx="4094">
                  <c:v>0</c:v>
                </c:pt>
                <c:pt idx="4095">
                  <c:v>2</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1</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5</c:v>
                </c:pt>
                <c:pt idx="4188">
                  <c:v>0</c:v>
                </c:pt>
                <c:pt idx="4189">
                  <c:v>0</c:v>
                </c:pt>
                <c:pt idx="4190">
                  <c:v>3</c:v>
                </c:pt>
                <c:pt idx="4191">
                  <c:v>0</c:v>
                </c:pt>
                <c:pt idx="4192">
                  <c:v>0</c:v>
                </c:pt>
                <c:pt idx="4193">
                  <c:v>0</c:v>
                </c:pt>
                <c:pt idx="4194">
                  <c:v>1</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3</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3</c:v>
                </c:pt>
                <c:pt idx="4240">
                  <c:v>0</c:v>
                </c:pt>
                <c:pt idx="4241">
                  <c:v>0</c:v>
                </c:pt>
                <c:pt idx="4242">
                  <c:v>3</c:v>
                </c:pt>
                <c:pt idx="4243">
                  <c:v>0</c:v>
                </c:pt>
                <c:pt idx="4244">
                  <c:v>0</c:v>
                </c:pt>
                <c:pt idx="4245">
                  <c:v>1</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3</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1</c:v>
                </c:pt>
                <c:pt idx="4357">
                  <c:v>0</c:v>
                </c:pt>
                <c:pt idx="4358">
                  <c:v>0</c:v>
                </c:pt>
                <c:pt idx="4359">
                  <c:v>0</c:v>
                </c:pt>
                <c:pt idx="4360">
                  <c:v>0</c:v>
                </c:pt>
                <c:pt idx="4361">
                  <c:v>0</c:v>
                </c:pt>
                <c:pt idx="4362">
                  <c:v>0</c:v>
                </c:pt>
                <c:pt idx="4363">
                  <c:v>0</c:v>
                </c:pt>
                <c:pt idx="4364">
                  <c:v>0</c:v>
                </c:pt>
                <c:pt idx="4365">
                  <c:v>0</c:v>
                </c:pt>
                <c:pt idx="4366">
                  <c:v>0</c:v>
                </c:pt>
                <c:pt idx="4367">
                  <c:v>0</c:v>
                </c:pt>
                <c:pt idx="4368">
                  <c:v>1</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1</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1</c:v>
                </c:pt>
                <c:pt idx="4408">
                  <c:v>0</c:v>
                </c:pt>
                <c:pt idx="4409">
                  <c:v>0</c:v>
                </c:pt>
                <c:pt idx="4410">
                  <c:v>0</c:v>
                </c:pt>
                <c:pt idx="4411">
                  <c:v>0</c:v>
                </c:pt>
                <c:pt idx="4412">
                  <c:v>0</c:v>
                </c:pt>
                <c:pt idx="4413">
                  <c:v>0</c:v>
                </c:pt>
                <c:pt idx="4414">
                  <c:v>0</c:v>
                </c:pt>
                <c:pt idx="4415">
                  <c:v>0</c:v>
                </c:pt>
                <c:pt idx="4416">
                  <c:v>2</c:v>
                </c:pt>
                <c:pt idx="4417">
                  <c:v>0</c:v>
                </c:pt>
                <c:pt idx="4418">
                  <c:v>0</c:v>
                </c:pt>
                <c:pt idx="4419">
                  <c:v>0</c:v>
                </c:pt>
                <c:pt idx="4420">
                  <c:v>4</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1</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1</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1</c:v>
                </c:pt>
                <c:pt idx="4568">
                  <c:v>0</c:v>
                </c:pt>
                <c:pt idx="4569">
                  <c:v>1</c:v>
                </c:pt>
                <c:pt idx="4570">
                  <c:v>0</c:v>
                </c:pt>
                <c:pt idx="4571">
                  <c:v>4</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3</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10</c:v>
                </c:pt>
                <c:pt idx="4654">
                  <c:v>11</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5</c:v>
                </c:pt>
                <c:pt idx="4738">
                  <c:v>1</c:v>
                </c:pt>
                <c:pt idx="4739">
                  <c:v>0</c:v>
                </c:pt>
                <c:pt idx="4740">
                  <c:v>5</c:v>
                </c:pt>
                <c:pt idx="4741">
                  <c:v>0</c:v>
                </c:pt>
                <c:pt idx="4742">
                  <c:v>0</c:v>
                </c:pt>
                <c:pt idx="4743">
                  <c:v>1</c:v>
                </c:pt>
                <c:pt idx="4744">
                  <c:v>0</c:v>
                </c:pt>
                <c:pt idx="4745">
                  <c:v>0</c:v>
                </c:pt>
                <c:pt idx="4746">
                  <c:v>1</c:v>
                </c:pt>
                <c:pt idx="4747">
                  <c:v>0</c:v>
                </c:pt>
                <c:pt idx="4748">
                  <c:v>0</c:v>
                </c:pt>
                <c:pt idx="4749">
                  <c:v>1</c:v>
                </c:pt>
                <c:pt idx="4750">
                  <c:v>0</c:v>
                </c:pt>
                <c:pt idx="4751">
                  <c:v>0</c:v>
                </c:pt>
                <c:pt idx="4752">
                  <c:v>0</c:v>
                </c:pt>
                <c:pt idx="4753">
                  <c:v>0</c:v>
                </c:pt>
                <c:pt idx="4754">
                  <c:v>0</c:v>
                </c:pt>
                <c:pt idx="4755">
                  <c:v>5</c:v>
                </c:pt>
                <c:pt idx="4756">
                  <c:v>0</c:v>
                </c:pt>
                <c:pt idx="4757">
                  <c:v>0</c:v>
                </c:pt>
                <c:pt idx="4758">
                  <c:v>5</c:v>
                </c:pt>
                <c:pt idx="4759">
                  <c:v>0</c:v>
                </c:pt>
                <c:pt idx="4760">
                  <c:v>0</c:v>
                </c:pt>
                <c:pt idx="4761">
                  <c:v>0</c:v>
                </c:pt>
                <c:pt idx="4762">
                  <c:v>1</c:v>
                </c:pt>
                <c:pt idx="4763">
                  <c:v>0</c:v>
                </c:pt>
                <c:pt idx="4764">
                  <c:v>0</c:v>
                </c:pt>
                <c:pt idx="4765">
                  <c:v>0</c:v>
                </c:pt>
                <c:pt idx="4766">
                  <c:v>0</c:v>
                </c:pt>
                <c:pt idx="4767">
                  <c:v>0</c:v>
                </c:pt>
                <c:pt idx="4768">
                  <c:v>0</c:v>
                </c:pt>
                <c:pt idx="4769">
                  <c:v>0</c:v>
                </c:pt>
                <c:pt idx="4770">
                  <c:v>4</c:v>
                </c:pt>
                <c:pt idx="4771">
                  <c:v>0</c:v>
                </c:pt>
                <c:pt idx="4772">
                  <c:v>0</c:v>
                </c:pt>
                <c:pt idx="4773">
                  <c:v>0</c:v>
                </c:pt>
                <c:pt idx="4774">
                  <c:v>0</c:v>
                </c:pt>
                <c:pt idx="4775">
                  <c:v>3</c:v>
                </c:pt>
                <c:pt idx="4776">
                  <c:v>2</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2</c:v>
                </c:pt>
                <c:pt idx="4812">
                  <c:v>1</c:v>
                </c:pt>
                <c:pt idx="4813">
                  <c:v>3</c:v>
                </c:pt>
                <c:pt idx="4814">
                  <c:v>5</c:v>
                </c:pt>
                <c:pt idx="4815">
                  <c:v>0</c:v>
                </c:pt>
                <c:pt idx="4816">
                  <c:v>2</c:v>
                </c:pt>
                <c:pt idx="4817">
                  <c:v>4</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2</c:v>
                </c:pt>
                <c:pt idx="4839">
                  <c:v>0</c:v>
                </c:pt>
                <c:pt idx="4840">
                  <c:v>0</c:v>
                </c:pt>
                <c:pt idx="4841">
                  <c:v>0</c:v>
                </c:pt>
                <c:pt idx="4842">
                  <c:v>0</c:v>
                </c:pt>
                <c:pt idx="4843">
                  <c:v>0</c:v>
                </c:pt>
                <c:pt idx="4844">
                  <c:v>0</c:v>
                </c:pt>
                <c:pt idx="4845">
                  <c:v>0</c:v>
                </c:pt>
                <c:pt idx="4846">
                  <c:v>0</c:v>
                </c:pt>
                <c:pt idx="4847">
                  <c:v>0</c:v>
                </c:pt>
                <c:pt idx="4848">
                  <c:v>3</c:v>
                </c:pt>
                <c:pt idx="4849">
                  <c:v>0</c:v>
                </c:pt>
                <c:pt idx="4850">
                  <c:v>0</c:v>
                </c:pt>
                <c:pt idx="4851">
                  <c:v>0</c:v>
                </c:pt>
                <c:pt idx="4852">
                  <c:v>0</c:v>
                </c:pt>
                <c:pt idx="4853">
                  <c:v>0</c:v>
                </c:pt>
                <c:pt idx="4854">
                  <c:v>0</c:v>
                </c:pt>
                <c:pt idx="4855">
                  <c:v>1</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2</c:v>
                </c:pt>
                <c:pt idx="4878">
                  <c:v>0</c:v>
                </c:pt>
                <c:pt idx="4879">
                  <c:v>0</c:v>
                </c:pt>
                <c:pt idx="4880">
                  <c:v>3</c:v>
                </c:pt>
                <c:pt idx="4881">
                  <c:v>0</c:v>
                </c:pt>
                <c:pt idx="4882">
                  <c:v>0</c:v>
                </c:pt>
                <c:pt idx="4883">
                  <c:v>0</c:v>
                </c:pt>
                <c:pt idx="4884">
                  <c:v>0</c:v>
                </c:pt>
                <c:pt idx="4885">
                  <c:v>0</c:v>
                </c:pt>
                <c:pt idx="4886">
                  <c:v>0</c:v>
                </c:pt>
                <c:pt idx="4887">
                  <c:v>1</c:v>
                </c:pt>
                <c:pt idx="4888">
                  <c:v>0</c:v>
                </c:pt>
                <c:pt idx="4889">
                  <c:v>0</c:v>
                </c:pt>
                <c:pt idx="4890">
                  <c:v>0</c:v>
                </c:pt>
                <c:pt idx="4891">
                  <c:v>0</c:v>
                </c:pt>
                <c:pt idx="4892">
                  <c:v>1</c:v>
                </c:pt>
                <c:pt idx="4893">
                  <c:v>0</c:v>
                </c:pt>
                <c:pt idx="4894">
                  <c:v>1</c:v>
                </c:pt>
                <c:pt idx="4895">
                  <c:v>0</c:v>
                </c:pt>
                <c:pt idx="4896">
                  <c:v>0</c:v>
                </c:pt>
                <c:pt idx="4897">
                  <c:v>0</c:v>
                </c:pt>
                <c:pt idx="4898">
                  <c:v>0</c:v>
                </c:pt>
                <c:pt idx="4899">
                  <c:v>0</c:v>
                </c:pt>
                <c:pt idx="4900">
                  <c:v>0</c:v>
                </c:pt>
                <c:pt idx="4901">
                  <c:v>0</c:v>
                </c:pt>
                <c:pt idx="4902">
                  <c:v>0</c:v>
                </c:pt>
                <c:pt idx="4903">
                  <c:v>0</c:v>
                </c:pt>
                <c:pt idx="4904">
                  <c:v>0</c:v>
                </c:pt>
                <c:pt idx="4905">
                  <c:v>4</c:v>
                </c:pt>
                <c:pt idx="4906">
                  <c:v>5</c:v>
                </c:pt>
                <c:pt idx="4907">
                  <c:v>1</c:v>
                </c:pt>
                <c:pt idx="4908">
                  <c:v>2</c:v>
                </c:pt>
                <c:pt idx="4909">
                  <c:v>0</c:v>
                </c:pt>
                <c:pt idx="4910">
                  <c:v>1</c:v>
                </c:pt>
                <c:pt idx="4911">
                  <c:v>0</c:v>
                </c:pt>
                <c:pt idx="4912">
                  <c:v>0</c:v>
                </c:pt>
                <c:pt idx="4913">
                  <c:v>0</c:v>
                </c:pt>
                <c:pt idx="4914">
                  <c:v>0</c:v>
                </c:pt>
                <c:pt idx="4915">
                  <c:v>0</c:v>
                </c:pt>
                <c:pt idx="4916">
                  <c:v>0</c:v>
                </c:pt>
                <c:pt idx="4917">
                  <c:v>0</c:v>
                </c:pt>
                <c:pt idx="4918">
                  <c:v>0</c:v>
                </c:pt>
                <c:pt idx="4919">
                  <c:v>0</c:v>
                </c:pt>
                <c:pt idx="4920">
                  <c:v>0</c:v>
                </c:pt>
                <c:pt idx="4921">
                  <c:v>0</c:v>
                </c:pt>
                <c:pt idx="4922">
                  <c:v>1</c:v>
                </c:pt>
                <c:pt idx="4923">
                  <c:v>0</c:v>
                </c:pt>
                <c:pt idx="4924">
                  <c:v>0</c:v>
                </c:pt>
                <c:pt idx="4925">
                  <c:v>0</c:v>
                </c:pt>
                <c:pt idx="4926">
                  <c:v>0</c:v>
                </c:pt>
                <c:pt idx="4927">
                  <c:v>0</c:v>
                </c:pt>
                <c:pt idx="4928">
                  <c:v>0</c:v>
                </c:pt>
                <c:pt idx="4929">
                  <c:v>0</c:v>
                </c:pt>
                <c:pt idx="4930">
                  <c:v>2</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8</c:v>
                </c:pt>
                <c:pt idx="4952">
                  <c:v>3</c:v>
                </c:pt>
                <c:pt idx="4953">
                  <c:v>2</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3</c:v>
                </c:pt>
                <c:pt idx="4971">
                  <c:v>0</c:v>
                </c:pt>
                <c:pt idx="4972">
                  <c:v>0</c:v>
                </c:pt>
                <c:pt idx="4973">
                  <c:v>1</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2</c:v>
                </c:pt>
                <c:pt idx="4988">
                  <c:v>0</c:v>
                </c:pt>
                <c:pt idx="4989">
                  <c:v>0</c:v>
                </c:pt>
                <c:pt idx="4990">
                  <c:v>0</c:v>
                </c:pt>
                <c:pt idx="4991">
                  <c:v>0</c:v>
                </c:pt>
                <c:pt idx="4992">
                  <c:v>9</c:v>
                </c:pt>
                <c:pt idx="4993">
                  <c:v>0</c:v>
                </c:pt>
                <c:pt idx="4994">
                  <c:v>0</c:v>
                </c:pt>
                <c:pt idx="4995">
                  <c:v>0</c:v>
                </c:pt>
                <c:pt idx="4996">
                  <c:v>0</c:v>
                </c:pt>
                <c:pt idx="4997">
                  <c:v>0</c:v>
                </c:pt>
                <c:pt idx="4998">
                  <c:v>0</c:v>
                </c:pt>
                <c:pt idx="4999">
                  <c:v>0</c:v>
                </c:pt>
                <c:pt idx="5000">
                  <c:v>0</c:v>
                </c:pt>
                <c:pt idx="5001">
                  <c:v>0</c:v>
                </c:pt>
                <c:pt idx="5002">
                  <c:v>0</c:v>
                </c:pt>
                <c:pt idx="5003">
                  <c:v>3</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6</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3</c:v>
                </c:pt>
                <c:pt idx="5078">
                  <c:v>1</c:v>
                </c:pt>
                <c:pt idx="5079">
                  <c:v>0</c:v>
                </c:pt>
                <c:pt idx="5080">
                  <c:v>0</c:v>
                </c:pt>
                <c:pt idx="5081">
                  <c:v>0</c:v>
                </c:pt>
                <c:pt idx="5082">
                  <c:v>0</c:v>
                </c:pt>
                <c:pt idx="5083">
                  <c:v>0</c:v>
                </c:pt>
                <c:pt idx="5084">
                  <c:v>1</c:v>
                </c:pt>
                <c:pt idx="5085">
                  <c:v>0</c:v>
                </c:pt>
                <c:pt idx="5086">
                  <c:v>0</c:v>
                </c:pt>
                <c:pt idx="5087">
                  <c:v>0</c:v>
                </c:pt>
                <c:pt idx="5088">
                  <c:v>0</c:v>
                </c:pt>
                <c:pt idx="5089">
                  <c:v>0</c:v>
                </c:pt>
                <c:pt idx="5090">
                  <c:v>0</c:v>
                </c:pt>
                <c:pt idx="5091">
                  <c:v>2</c:v>
                </c:pt>
                <c:pt idx="5092">
                  <c:v>0</c:v>
                </c:pt>
                <c:pt idx="5093">
                  <c:v>0</c:v>
                </c:pt>
                <c:pt idx="5094">
                  <c:v>1</c:v>
                </c:pt>
                <c:pt idx="5095">
                  <c:v>0</c:v>
                </c:pt>
                <c:pt idx="5096">
                  <c:v>0</c:v>
                </c:pt>
                <c:pt idx="5097">
                  <c:v>0</c:v>
                </c:pt>
                <c:pt idx="5098">
                  <c:v>0</c:v>
                </c:pt>
                <c:pt idx="5099">
                  <c:v>0</c:v>
                </c:pt>
                <c:pt idx="5100">
                  <c:v>0</c:v>
                </c:pt>
                <c:pt idx="5101">
                  <c:v>0</c:v>
                </c:pt>
                <c:pt idx="5102">
                  <c:v>0</c:v>
                </c:pt>
                <c:pt idx="5103">
                  <c:v>1</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1</c:v>
                </c:pt>
                <c:pt idx="5121">
                  <c:v>0</c:v>
                </c:pt>
                <c:pt idx="5122">
                  <c:v>0</c:v>
                </c:pt>
                <c:pt idx="5123">
                  <c:v>0</c:v>
                </c:pt>
                <c:pt idx="5124">
                  <c:v>1</c:v>
                </c:pt>
                <c:pt idx="5125">
                  <c:v>1</c:v>
                </c:pt>
                <c:pt idx="5126">
                  <c:v>2</c:v>
                </c:pt>
                <c:pt idx="5127">
                  <c:v>4</c:v>
                </c:pt>
                <c:pt idx="5128">
                  <c:v>0</c:v>
                </c:pt>
                <c:pt idx="5129">
                  <c:v>2</c:v>
                </c:pt>
                <c:pt idx="5130">
                  <c:v>0</c:v>
                </c:pt>
                <c:pt idx="5131">
                  <c:v>3</c:v>
                </c:pt>
                <c:pt idx="5132">
                  <c:v>2</c:v>
                </c:pt>
                <c:pt idx="5133">
                  <c:v>0</c:v>
                </c:pt>
                <c:pt idx="5134">
                  <c:v>0</c:v>
                </c:pt>
                <c:pt idx="5135">
                  <c:v>0</c:v>
                </c:pt>
                <c:pt idx="5136">
                  <c:v>0</c:v>
                </c:pt>
                <c:pt idx="5137">
                  <c:v>0</c:v>
                </c:pt>
                <c:pt idx="5138">
                  <c:v>0</c:v>
                </c:pt>
                <c:pt idx="5139">
                  <c:v>0</c:v>
                </c:pt>
                <c:pt idx="5140">
                  <c:v>0</c:v>
                </c:pt>
                <c:pt idx="5141">
                  <c:v>2</c:v>
                </c:pt>
                <c:pt idx="5142">
                  <c:v>0</c:v>
                </c:pt>
                <c:pt idx="5143">
                  <c:v>0</c:v>
                </c:pt>
                <c:pt idx="5144">
                  <c:v>0</c:v>
                </c:pt>
                <c:pt idx="5145">
                  <c:v>1</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4</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3</c:v>
                </c:pt>
                <c:pt idx="5177">
                  <c:v>0</c:v>
                </c:pt>
                <c:pt idx="5178">
                  <c:v>0</c:v>
                </c:pt>
                <c:pt idx="5179">
                  <c:v>0</c:v>
                </c:pt>
                <c:pt idx="5180">
                  <c:v>0</c:v>
                </c:pt>
                <c:pt idx="5181">
                  <c:v>0</c:v>
                </c:pt>
                <c:pt idx="5182">
                  <c:v>0</c:v>
                </c:pt>
                <c:pt idx="5183">
                  <c:v>0</c:v>
                </c:pt>
                <c:pt idx="5184">
                  <c:v>3</c:v>
                </c:pt>
                <c:pt idx="5185">
                  <c:v>0</c:v>
                </c:pt>
                <c:pt idx="5186">
                  <c:v>0</c:v>
                </c:pt>
                <c:pt idx="5187">
                  <c:v>0</c:v>
                </c:pt>
                <c:pt idx="5188">
                  <c:v>0</c:v>
                </c:pt>
                <c:pt idx="5189">
                  <c:v>0</c:v>
                </c:pt>
                <c:pt idx="5190">
                  <c:v>1</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2</c:v>
                </c:pt>
                <c:pt idx="5232">
                  <c:v>1</c:v>
                </c:pt>
                <c:pt idx="5233">
                  <c:v>2</c:v>
                </c:pt>
                <c:pt idx="5234">
                  <c:v>0</c:v>
                </c:pt>
                <c:pt idx="5235">
                  <c:v>2</c:v>
                </c:pt>
                <c:pt idx="5236">
                  <c:v>0</c:v>
                </c:pt>
                <c:pt idx="5237">
                  <c:v>0</c:v>
                </c:pt>
                <c:pt idx="5238">
                  <c:v>0</c:v>
                </c:pt>
                <c:pt idx="5239">
                  <c:v>2</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2</c:v>
                </c:pt>
                <c:pt idx="5275">
                  <c:v>1</c:v>
                </c:pt>
                <c:pt idx="5276">
                  <c:v>1</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3</c:v>
                </c:pt>
                <c:pt idx="5315">
                  <c:v>1</c:v>
                </c:pt>
                <c:pt idx="5316">
                  <c:v>0</c:v>
                </c:pt>
                <c:pt idx="5317">
                  <c:v>1</c:v>
                </c:pt>
                <c:pt idx="5318">
                  <c:v>0</c:v>
                </c:pt>
                <c:pt idx="5319">
                  <c:v>0</c:v>
                </c:pt>
                <c:pt idx="5320">
                  <c:v>0</c:v>
                </c:pt>
                <c:pt idx="5321">
                  <c:v>0</c:v>
                </c:pt>
                <c:pt idx="5322">
                  <c:v>1</c:v>
                </c:pt>
                <c:pt idx="5323">
                  <c:v>0</c:v>
                </c:pt>
                <c:pt idx="5324">
                  <c:v>0</c:v>
                </c:pt>
                <c:pt idx="5325">
                  <c:v>0</c:v>
                </c:pt>
                <c:pt idx="5326">
                  <c:v>1</c:v>
                </c:pt>
                <c:pt idx="5327">
                  <c:v>2</c:v>
                </c:pt>
                <c:pt idx="5328">
                  <c:v>3</c:v>
                </c:pt>
                <c:pt idx="5329">
                  <c:v>0</c:v>
                </c:pt>
                <c:pt idx="5330">
                  <c:v>0</c:v>
                </c:pt>
                <c:pt idx="5331">
                  <c:v>0</c:v>
                </c:pt>
                <c:pt idx="5332">
                  <c:v>0</c:v>
                </c:pt>
                <c:pt idx="5333">
                  <c:v>2</c:v>
                </c:pt>
                <c:pt idx="5334">
                  <c:v>1</c:v>
                </c:pt>
                <c:pt idx="5335">
                  <c:v>0</c:v>
                </c:pt>
                <c:pt idx="5336">
                  <c:v>0</c:v>
                </c:pt>
                <c:pt idx="5337">
                  <c:v>0</c:v>
                </c:pt>
                <c:pt idx="5338">
                  <c:v>0</c:v>
                </c:pt>
                <c:pt idx="5339">
                  <c:v>2</c:v>
                </c:pt>
                <c:pt idx="5340">
                  <c:v>0</c:v>
                </c:pt>
                <c:pt idx="5341">
                  <c:v>0</c:v>
                </c:pt>
                <c:pt idx="5342">
                  <c:v>0</c:v>
                </c:pt>
                <c:pt idx="5343">
                  <c:v>1</c:v>
                </c:pt>
                <c:pt idx="5344">
                  <c:v>1</c:v>
                </c:pt>
                <c:pt idx="5345">
                  <c:v>0</c:v>
                </c:pt>
                <c:pt idx="5346">
                  <c:v>4</c:v>
                </c:pt>
                <c:pt idx="5347">
                  <c:v>1</c:v>
                </c:pt>
                <c:pt idx="5348">
                  <c:v>1</c:v>
                </c:pt>
                <c:pt idx="5349">
                  <c:v>2</c:v>
                </c:pt>
                <c:pt idx="5350">
                  <c:v>0</c:v>
                </c:pt>
                <c:pt idx="5351">
                  <c:v>0</c:v>
                </c:pt>
                <c:pt idx="5352">
                  <c:v>2</c:v>
                </c:pt>
                <c:pt idx="5353">
                  <c:v>0</c:v>
                </c:pt>
                <c:pt idx="5354">
                  <c:v>2</c:v>
                </c:pt>
                <c:pt idx="5355">
                  <c:v>0</c:v>
                </c:pt>
                <c:pt idx="5356">
                  <c:v>0</c:v>
                </c:pt>
                <c:pt idx="5357">
                  <c:v>0</c:v>
                </c:pt>
                <c:pt idx="5358">
                  <c:v>1</c:v>
                </c:pt>
                <c:pt idx="5359">
                  <c:v>0</c:v>
                </c:pt>
                <c:pt idx="5360">
                  <c:v>2</c:v>
                </c:pt>
                <c:pt idx="5361">
                  <c:v>0</c:v>
                </c:pt>
                <c:pt idx="5362">
                  <c:v>0</c:v>
                </c:pt>
                <c:pt idx="5363">
                  <c:v>0</c:v>
                </c:pt>
                <c:pt idx="5364">
                  <c:v>1</c:v>
                </c:pt>
                <c:pt idx="5365">
                  <c:v>0</c:v>
                </c:pt>
                <c:pt idx="5366">
                  <c:v>0</c:v>
                </c:pt>
                <c:pt idx="5367">
                  <c:v>0</c:v>
                </c:pt>
                <c:pt idx="5368">
                  <c:v>0</c:v>
                </c:pt>
                <c:pt idx="5369">
                  <c:v>2</c:v>
                </c:pt>
                <c:pt idx="5370">
                  <c:v>0</c:v>
                </c:pt>
                <c:pt idx="5371">
                  <c:v>0</c:v>
                </c:pt>
                <c:pt idx="5372">
                  <c:v>0</c:v>
                </c:pt>
                <c:pt idx="5373">
                  <c:v>0</c:v>
                </c:pt>
                <c:pt idx="5374">
                  <c:v>0</c:v>
                </c:pt>
                <c:pt idx="5375">
                  <c:v>0</c:v>
                </c:pt>
                <c:pt idx="5376">
                  <c:v>0</c:v>
                </c:pt>
                <c:pt idx="5377">
                  <c:v>1</c:v>
                </c:pt>
                <c:pt idx="5378">
                  <c:v>0</c:v>
                </c:pt>
                <c:pt idx="5379">
                  <c:v>1</c:v>
                </c:pt>
                <c:pt idx="5380">
                  <c:v>3</c:v>
                </c:pt>
                <c:pt idx="5381">
                  <c:v>4</c:v>
                </c:pt>
                <c:pt idx="5382">
                  <c:v>0</c:v>
                </c:pt>
                <c:pt idx="5383">
                  <c:v>0</c:v>
                </c:pt>
                <c:pt idx="5384">
                  <c:v>4</c:v>
                </c:pt>
                <c:pt idx="5385">
                  <c:v>0</c:v>
                </c:pt>
                <c:pt idx="5386">
                  <c:v>0</c:v>
                </c:pt>
                <c:pt idx="5387">
                  <c:v>0</c:v>
                </c:pt>
                <c:pt idx="5388">
                  <c:v>0</c:v>
                </c:pt>
                <c:pt idx="5389">
                  <c:v>0</c:v>
                </c:pt>
                <c:pt idx="5390">
                  <c:v>0</c:v>
                </c:pt>
                <c:pt idx="5391">
                  <c:v>1</c:v>
                </c:pt>
                <c:pt idx="5392">
                  <c:v>3</c:v>
                </c:pt>
                <c:pt idx="5393">
                  <c:v>1</c:v>
                </c:pt>
                <c:pt idx="5394">
                  <c:v>1</c:v>
                </c:pt>
                <c:pt idx="5395">
                  <c:v>0</c:v>
                </c:pt>
                <c:pt idx="5396">
                  <c:v>0</c:v>
                </c:pt>
                <c:pt idx="5397">
                  <c:v>2</c:v>
                </c:pt>
                <c:pt idx="5398">
                  <c:v>0</c:v>
                </c:pt>
                <c:pt idx="5399">
                  <c:v>0</c:v>
                </c:pt>
                <c:pt idx="5400">
                  <c:v>0</c:v>
                </c:pt>
                <c:pt idx="5401">
                  <c:v>0</c:v>
                </c:pt>
                <c:pt idx="5402">
                  <c:v>0</c:v>
                </c:pt>
                <c:pt idx="5403">
                  <c:v>0</c:v>
                </c:pt>
                <c:pt idx="5404">
                  <c:v>1</c:v>
                </c:pt>
                <c:pt idx="5405">
                  <c:v>2</c:v>
                </c:pt>
                <c:pt idx="5406">
                  <c:v>3</c:v>
                </c:pt>
                <c:pt idx="5407">
                  <c:v>0</c:v>
                </c:pt>
                <c:pt idx="5408">
                  <c:v>11</c:v>
                </c:pt>
                <c:pt idx="5409">
                  <c:v>3</c:v>
                </c:pt>
                <c:pt idx="5410">
                  <c:v>0</c:v>
                </c:pt>
                <c:pt idx="5411">
                  <c:v>2</c:v>
                </c:pt>
                <c:pt idx="5412">
                  <c:v>3</c:v>
                </c:pt>
                <c:pt idx="5413">
                  <c:v>6</c:v>
                </c:pt>
                <c:pt idx="5414">
                  <c:v>9</c:v>
                </c:pt>
                <c:pt idx="5415">
                  <c:v>14</c:v>
                </c:pt>
                <c:pt idx="5416">
                  <c:v>1</c:v>
                </c:pt>
                <c:pt idx="5417">
                  <c:v>15</c:v>
                </c:pt>
                <c:pt idx="5418">
                  <c:v>0</c:v>
                </c:pt>
                <c:pt idx="5419">
                  <c:v>1</c:v>
                </c:pt>
                <c:pt idx="5420">
                  <c:v>0</c:v>
                </c:pt>
                <c:pt idx="5421">
                  <c:v>1</c:v>
                </c:pt>
                <c:pt idx="5422">
                  <c:v>1</c:v>
                </c:pt>
                <c:pt idx="5423">
                  <c:v>0</c:v>
                </c:pt>
                <c:pt idx="5424">
                  <c:v>0</c:v>
                </c:pt>
                <c:pt idx="5425">
                  <c:v>0</c:v>
                </c:pt>
                <c:pt idx="5426">
                  <c:v>6</c:v>
                </c:pt>
                <c:pt idx="5427">
                  <c:v>4</c:v>
                </c:pt>
                <c:pt idx="5428">
                  <c:v>0</c:v>
                </c:pt>
                <c:pt idx="5429">
                  <c:v>1</c:v>
                </c:pt>
                <c:pt idx="5430">
                  <c:v>0</c:v>
                </c:pt>
                <c:pt idx="5431">
                  <c:v>0</c:v>
                </c:pt>
                <c:pt idx="5432">
                  <c:v>1</c:v>
                </c:pt>
                <c:pt idx="5433">
                  <c:v>0</c:v>
                </c:pt>
                <c:pt idx="5434">
                  <c:v>2</c:v>
                </c:pt>
                <c:pt idx="5435">
                  <c:v>4</c:v>
                </c:pt>
                <c:pt idx="5436">
                  <c:v>0</c:v>
                </c:pt>
                <c:pt idx="5437">
                  <c:v>0</c:v>
                </c:pt>
                <c:pt idx="5438">
                  <c:v>1</c:v>
                </c:pt>
                <c:pt idx="5439">
                  <c:v>0</c:v>
                </c:pt>
                <c:pt idx="5440">
                  <c:v>0</c:v>
                </c:pt>
                <c:pt idx="5441">
                  <c:v>1</c:v>
                </c:pt>
                <c:pt idx="5442">
                  <c:v>0</c:v>
                </c:pt>
                <c:pt idx="5443">
                  <c:v>0</c:v>
                </c:pt>
                <c:pt idx="5444">
                  <c:v>2</c:v>
                </c:pt>
                <c:pt idx="5445">
                  <c:v>2</c:v>
                </c:pt>
                <c:pt idx="5446">
                  <c:v>0</c:v>
                </c:pt>
                <c:pt idx="5447">
                  <c:v>0</c:v>
                </c:pt>
                <c:pt idx="5448">
                  <c:v>0</c:v>
                </c:pt>
                <c:pt idx="5449">
                  <c:v>0</c:v>
                </c:pt>
                <c:pt idx="5450">
                  <c:v>1</c:v>
                </c:pt>
                <c:pt idx="5451">
                  <c:v>1</c:v>
                </c:pt>
                <c:pt idx="5452">
                  <c:v>2</c:v>
                </c:pt>
                <c:pt idx="5453">
                  <c:v>0</c:v>
                </c:pt>
                <c:pt idx="5454">
                  <c:v>0</c:v>
                </c:pt>
                <c:pt idx="5455">
                  <c:v>0</c:v>
                </c:pt>
                <c:pt idx="5456">
                  <c:v>0</c:v>
                </c:pt>
                <c:pt idx="5457">
                  <c:v>4</c:v>
                </c:pt>
                <c:pt idx="5458">
                  <c:v>2</c:v>
                </c:pt>
                <c:pt idx="5459">
                  <c:v>2</c:v>
                </c:pt>
                <c:pt idx="5460">
                  <c:v>0</c:v>
                </c:pt>
                <c:pt idx="5461">
                  <c:v>0</c:v>
                </c:pt>
                <c:pt idx="5462">
                  <c:v>1</c:v>
                </c:pt>
                <c:pt idx="5463">
                  <c:v>0</c:v>
                </c:pt>
                <c:pt idx="5464">
                  <c:v>0</c:v>
                </c:pt>
                <c:pt idx="5465">
                  <c:v>1</c:v>
                </c:pt>
                <c:pt idx="5466">
                  <c:v>0</c:v>
                </c:pt>
                <c:pt idx="5467">
                  <c:v>2</c:v>
                </c:pt>
                <c:pt idx="5468">
                  <c:v>3</c:v>
                </c:pt>
                <c:pt idx="5469">
                  <c:v>6</c:v>
                </c:pt>
                <c:pt idx="5470">
                  <c:v>1</c:v>
                </c:pt>
                <c:pt idx="5471">
                  <c:v>2</c:v>
                </c:pt>
                <c:pt idx="5472">
                  <c:v>0</c:v>
                </c:pt>
                <c:pt idx="5473">
                  <c:v>1</c:v>
                </c:pt>
                <c:pt idx="5474">
                  <c:v>0</c:v>
                </c:pt>
                <c:pt idx="5475">
                  <c:v>0</c:v>
                </c:pt>
                <c:pt idx="5476">
                  <c:v>4</c:v>
                </c:pt>
                <c:pt idx="5477">
                  <c:v>0</c:v>
                </c:pt>
                <c:pt idx="5478">
                  <c:v>0</c:v>
                </c:pt>
                <c:pt idx="5479">
                  <c:v>1</c:v>
                </c:pt>
                <c:pt idx="5480">
                  <c:v>0</c:v>
                </c:pt>
                <c:pt idx="5481">
                  <c:v>1</c:v>
                </c:pt>
                <c:pt idx="5482">
                  <c:v>0</c:v>
                </c:pt>
                <c:pt idx="5483">
                  <c:v>0</c:v>
                </c:pt>
                <c:pt idx="5484">
                  <c:v>7</c:v>
                </c:pt>
                <c:pt idx="5485">
                  <c:v>6</c:v>
                </c:pt>
                <c:pt idx="5486">
                  <c:v>1</c:v>
                </c:pt>
                <c:pt idx="5487">
                  <c:v>2</c:v>
                </c:pt>
                <c:pt idx="5488">
                  <c:v>2</c:v>
                </c:pt>
                <c:pt idx="5489">
                  <c:v>0</c:v>
                </c:pt>
                <c:pt idx="5490">
                  <c:v>10</c:v>
                </c:pt>
                <c:pt idx="5491">
                  <c:v>1</c:v>
                </c:pt>
                <c:pt idx="5492">
                  <c:v>0</c:v>
                </c:pt>
                <c:pt idx="5493">
                  <c:v>1</c:v>
                </c:pt>
                <c:pt idx="5494">
                  <c:v>1</c:v>
                </c:pt>
                <c:pt idx="5495">
                  <c:v>0</c:v>
                </c:pt>
                <c:pt idx="5496">
                  <c:v>0</c:v>
                </c:pt>
                <c:pt idx="5497">
                  <c:v>0</c:v>
                </c:pt>
                <c:pt idx="5498">
                  <c:v>0</c:v>
                </c:pt>
                <c:pt idx="5499">
                  <c:v>1</c:v>
                </c:pt>
                <c:pt idx="5500">
                  <c:v>0</c:v>
                </c:pt>
                <c:pt idx="5501">
                  <c:v>5</c:v>
                </c:pt>
                <c:pt idx="5502">
                  <c:v>0</c:v>
                </c:pt>
                <c:pt idx="5503">
                  <c:v>4</c:v>
                </c:pt>
                <c:pt idx="5504">
                  <c:v>3</c:v>
                </c:pt>
                <c:pt idx="5505">
                  <c:v>0</c:v>
                </c:pt>
                <c:pt idx="5506">
                  <c:v>3</c:v>
                </c:pt>
                <c:pt idx="5507">
                  <c:v>0</c:v>
                </c:pt>
                <c:pt idx="5508">
                  <c:v>0</c:v>
                </c:pt>
                <c:pt idx="5509">
                  <c:v>0</c:v>
                </c:pt>
                <c:pt idx="5510">
                  <c:v>0</c:v>
                </c:pt>
                <c:pt idx="5511">
                  <c:v>0</c:v>
                </c:pt>
                <c:pt idx="5512">
                  <c:v>0</c:v>
                </c:pt>
                <c:pt idx="5513">
                  <c:v>0</c:v>
                </c:pt>
                <c:pt idx="5514">
                  <c:v>0</c:v>
                </c:pt>
                <c:pt idx="5515">
                  <c:v>0</c:v>
                </c:pt>
                <c:pt idx="5516">
                  <c:v>0</c:v>
                </c:pt>
                <c:pt idx="5517">
                  <c:v>2</c:v>
                </c:pt>
                <c:pt idx="5518">
                  <c:v>0</c:v>
                </c:pt>
                <c:pt idx="5519">
                  <c:v>1</c:v>
                </c:pt>
                <c:pt idx="5520">
                  <c:v>0</c:v>
                </c:pt>
                <c:pt idx="5521">
                  <c:v>0</c:v>
                </c:pt>
                <c:pt idx="5522">
                  <c:v>3</c:v>
                </c:pt>
                <c:pt idx="5523">
                  <c:v>0</c:v>
                </c:pt>
                <c:pt idx="5524">
                  <c:v>0</c:v>
                </c:pt>
                <c:pt idx="5525">
                  <c:v>1</c:v>
                </c:pt>
                <c:pt idx="5526">
                  <c:v>0</c:v>
                </c:pt>
                <c:pt idx="5527">
                  <c:v>2</c:v>
                </c:pt>
                <c:pt idx="5528">
                  <c:v>0</c:v>
                </c:pt>
                <c:pt idx="5529">
                  <c:v>0</c:v>
                </c:pt>
                <c:pt idx="5530">
                  <c:v>0</c:v>
                </c:pt>
                <c:pt idx="5531">
                  <c:v>0</c:v>
                </c:pt>
                <c:pt idx="5532">
                  <c:v>0</c:v>
                </c:pt>
                <c:pt idx="5533">
                  <c:v>0</c:v>
                </c:pt>
                <c:pt idx="5534">
                  <c:v>1</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1</c:v>
                </c:pt>
                <c:pt idx="5552">
                  <c:v>2</c:v>
                </c:pt>
                <c:pt idx="5553">
                  <c:v>0</c:v>
                </c:pt>
                <c:pt idx="5554">
                  <c:v>1</c:v>
                </c:pt>
                <c:pt idx="5555">
                  <c:v>0</c:v>
                </c:pt>
                <c:pt idx="5556">
                  <c:v>4</c:v>
                </c:pt>
                <c:pt idx="5557">
                  <c:v>0</c:v>
                </c:pt>
                <c:pt idx="5558">
                  <c:v>1</c:v>
                </c:pt>
                <c:pt idx="5559">
                  <c:v>2</c:v>
                </c:pt>
                <c:pt idx="5560">
                  <c:v>0</c:v>
                </c:pt>
                <c:pt idx="5561">
                  <c:v>0</c:v>
                </c:pt>
                <c:pt idx="5562">
                  <c:v>1</c:v>
                </c:pt>
                <c:pt idx="5563">
                  <c:v>2</c:v>
                </c:pt>
                <c:pt idx="5564">
                  <c:v>2</c:v>
                </c:pt>
                <c:pt idx="5565">
                  <c:v>3</c:v>
                </c:pt>
                <c:pt idx="5566">
                  <c:v>4</c:v>
                </c:pt>
                <c:pt idx="5567">
                  <c:v>0</c:v>
                </c:pt>
                <c:pt idx="5568">
                  <c:v>0</c:v>
                </c:pt>
                <c:pt idx="5569">
                  <c:v>0</c:v>
                </c:pt>
                <c:pt idx="5570">
                  <c:v>5</c:v>
                </c:pt>
                <c:pt idx="5571">
                  <c:v>0</c:v>
                </c:pt>
                <c:pt idx="5572">
                  <c:v>2</c:v>
                </c:pt>
                <c:pt idx="5573">
                  <c:v>1</c:v>
                </c:pt>
                <c:pt idx="5574">
                  <c:v>0</c:v>
                </c:pt>
                <c:pt idx="5575">
                  <c:v>0</c:v>
                </c:pt>
                <c:pt idx="5576">
                  <c:v>1</c:v>
                </c:pt>
                <c:pt idx="5577">
                  <c:v>3</c:v>
                </c:pt>
                <c:pt idx="5578">
                  <c:v>0</c:v>
                </c:pt>
                <c:pt idx="5579">
                  <c:v>1</c:v>
                </c:pt>
                <c:pt idx="5580">
                  <c:v>5</c:v>
                </c:pt>
                <c:pt idx="5581">
                  <c:v>1</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1</c:v>
                </c:pt>
                <c:pt idx="5596">
                  <c:v>0</c:v>
                </c:pt>
                <c:pt idx="5597">
                  <c:v>0</c:v>
                </c:pt>
                <c:pt idx="5598">
                  <c:v>0</c:v>
                </c:pt>
                <c:pt idx="5599">
                  <c:v>0</c:v>
                </c:pt>
                <c:pt idx="5600">
                  <c:v>0</c:v>
                </c:pt>
                <c:pt idx="5601">
                  <c:v>0</c:v>
                </c:pt>
                <c:pt idx="5602">
                  <c:v>0</c:v>
                </c:pt>
                <c:pt idx="5603">
                  <c:v>3</c:v>
                </c:pt>
                <c:pt idx="5604">
                  <c:v>0</c:v>
                </c:pt>
                <c:pt idx="5605">
                  <c:v>0</c:v>
                </c:pt>
                <c:pt idx="5606">
                  <c:v>1</c:v>
                </c:pt>
                <c:pt idx="5607">
                  <c:v>0</c:v>
                </c:pt>
                <c:pt idx="5608">
                  <c:v>1</c:v>
                </c:pt>
                <c:pt idx="5609">
                  <c:v>0</c:v>
                </c:pt>
                <c:pt idx="5610">
                  <c:v>0</c:v>
                </c:pt>
                <c:pt idx="5611">
                  <c:v>1</c:v>
                </c:pt>
                <c:pt idx="5612">
                  <c:v>3</c:v>
                </c:pt>
                <c:pt idx="5613">
                  <c:v>1</c:v>
                </c:pt>
                <c:pt idx="5614">
                  <c:v>0</c:v>
                </c:pt>
                <c:pt idx="5615">
                  <c:v>0</c:v>
                </c:pt>
                <c:pt idx="5616">
                  <c:v>0</c:v>
                </c:pt>
                <c:pt idx="5617">
                  <c:v>12</c:v>
                </c:pt>
                <c:pt idx="5618">
                  <c:v>7</c:v>
                </c:pt>
                <c:pt idx="5619">
                  <c:v>5</c:v>
                </c:pt>
                <c:pt idx="5620">
                  <c:v>4</c:v>
                </c:pt>
                <c:pt idx="5621">
                  <c:v>7</c:v>
                </c:pt>
                <c:pt idx="5622">
                  <c:v>6</c:v>
                </c:pt>
                <c:pt idx="5623">
                  <c:v>5</c:v>
                </c:pt>
                <c:pt idx="5624">
                  <c:v>3</c:v>
                </c:pt>
                <c:pt idx="5625">
                  <c:v>3</c:v>
                </c:pt>
                <c:pt idx="5626">
                  <c:v>2</c:v>
                </c:pt>
                <c:pt idx="5627">
                  <c:v>1</c:v>
                </c:pt>
                <c:pt idx="5628">
                  <c:v>1</c:v>
                </c:pt>
                <c:pt idx="5629">
                  <c:v>7</c:v>
                </c:pt>
                <c:pt idx="5630">
                  <c:v>3</c:v>
                </c:pt>
                <c:pt idx="5631">
                  <c:v>2</c:v>
                </c:pt>
                <c:pt idx="5632">
                  <c:v>0</c:v>
                </c:pt>
                <c:pt idx="5633">
                  <c:v>2</c:v>
                </c:pt>
                <c:pt idx="5634">
                  <c:v>4</c:v>
                </c:pt>
                <c:pt idx="5635">
                  <c:v>2</c:v>
                </c:pt>
                <c:pt idx="5636">
                  <c:v>3</c:v>
                </c:pt>
                <c:pt idx="5637">
                  <c:v>0</c:v>
                </c:pt>
                <c:pt idx="5638">
                  <c:v>0</c:v>
                </c:pt>
                <c:pt idx="5639">
                  <c:v>0</c:v>
                </c:pt>
                <c:pt idx="5640">
                  <c:v>1</c:v>
                </c:pt>
                <c:pt idx="5641">
                  <c:v>4</c:v>
                </c:pt>
                <c:pt idx="5642">
                  <c:v>3</c:v>
                </c:pt>
                <c:pt idx="5643">
                  <c:v>0</c:v>
                </c:pt>
                <c:pt idx="5644">
                  <c:v>0</c:v>
                </c:pt>
                <c:pt idx="5645">
                  <c:v>0</c:v>
                </c:pt>
                <c:pt idx="5646">
                  <c:v>0</c:v>
                </c:pt>
                <c:pt idx="5647">
                  <c:v>1</c:v>
                </c:pt>
                <c:pt idx="5648">
                  <c:v>0</c:v>
                </c:pt>
                <c:pt idx="5649">
                  <c:v>0</c:v>
                </c:pt>
                <c:pt idx="5650">
                  <c:v>0</c:v>
                </c:pt>
                <c:pt idx="5651">
                  <c:v>0</c:v>
                </c:pt>
                <c:pt idx="5652">
                  <c:v>2</c:v>
                </c:pt>
                <c:pt idx="5653">
                  <c:v>0</c:v>
                </c:pt>
                <c:pt idx="5654">
                  <c:v>3</c:v>
                </c:pt>
                <c:pt idx="5655">
                  <c:v>0</c:v>
                </c:pt>
                <c:pt idx="5656">
                  <c:v>0</c:v>
                </c:pt>
                <c:pt idx="5657">
                  <c:v>0</c:v>
                </c:pt>
                <c:pt idx="5658">
                  <c:v>0</c:v>
                </c:pt>
                <c:pt idx="5659">
                  <c:v>7</c:v>
                </c:pt>
                <c:pt idx="5660">
                  <c:v>2</c:v>
                </c:pt>
                <c:pt idx="5661">
                  <c:v>5</c:v>
                </c:pt>
                <c:pt idx="5662">
                  <c:v>3</c:v>
                </c:pt>
                <c:pt idx="5663">
                  <c:v>5</c:v>
                </c:pt>
                <c:pt idx="5664">
                  <c:v>0</c:v>
                </c:pt>
                <c:pt idx="5665">
                  <c:v>5</c:v>
                </c:pt>
                <c:pt idx="5666">
                  <c:v>2</c:v>
                </c:pt>
                <c:pt idx="5667">
                  <c:v>15</c:v>
                </c:pt>
                <c:pt idx="5668">
                  <c:v>1</c:v>
                </c:pt>
                <c:pt idx="5669">
                  <c:v>3</c:v>
                </c:pt>
                <c:pt idx="5670">
                  <c:v>3</c:v>
                </c:pt>
                <c:pt idx="5671">
                  <c:v>2</c:v>
                </c:pt>
                <c:pt idx="5672">
                  <c:v>0</c:v>
                </c:pt>
                <c:pt idx="5673">
                  <c:v>0</c:v>
                </c:pt>
                <c:pt idx="5674">
                  <c:v>1</c:v>
                </c:pt>
                <c:pt idx="5675">
                  <c:v>3</c:v>
                </c:pt>
                <c:pt idx="5676">
                  <c:v>4</c:v>
                </c:pt>
                <c:pt idx="5677">
                  <c:v>4</c:v>
                </c:pt>
                <c:pt idx="5678">
                  <c:v>5</c:v>
                </c:pt>
                <c:pt idx="5679">
                  <c:v>1</c:v>
                </c:pt>
                <c:pt idx="5680">
                  <c:v>0</c:v>
                </c:pt>
                <c:pt idx="5681">
                  <c:v>0</c:v>
                </c:pt>
                <c:pt idx="5682">
                  <c:v>7</c:v>
                </c:pt>
                <c:pt idx="5683">
                  <c:v>1</c:v>
                </c:pt>
                <c:pt idx="5684">
                  <c:v>0</c:v>
                </c:pt>
                <c:pt idx="5685">
                  <c:v>1</c:v>
                </c:pt>
                <c:pt idx="5686">
                  <c:v>0</c:v>
                </c:pt>
                <c:pt idx="5687">
                  <c:v>0</c:v>
                </c:pt>
                <c:pt idx="5688">
                  <c:v>0</c:v>
                </c:pt>
                <c:pt idx="5689">
                  <c:v>3</c:v>
                </c:pt>
                <c:pt idx="5690">
                  <c:v>0</c:v>
                </c:pt>
                <c:pt idx="5691">
                  <c:v>0</c:v>
                </c:pt>
                <c:pt idx="5692">
                  <c:v>0</c:v>
                </c:pt>
                <c:pt idx="5693">
                  <c:v>0</c:v>
                </c:pt>
                <c:pt idx="5694">
                  <c:v>3</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3</c:v>
                </c:pt>
                <c:pt idx="5712">
                  <c:v>0</c:v>
                </c:pt>
                <c:pt idx="5713">
                  <c:v>0</c:v>
                </c:pt>
                <c:pt idx="5714">
                  <c:v>1</c:v>
                </c:pt>
                <c:pt idx="5715">
                  <c:v>0</c:v>
                </c:pt>
                <c:pt idx="5716">
                  <c:v>0</c:v>
                </c:pt>
                <c:pt idx="5717">
                  <c:v>0</c:v>
                </c:pt>
                <c:pt idx="5718">
                  <c:v>0</c:v>
                </c:pt>
                <c:pt idx="5719">
                  <c:v>0</c:v>
                </c:pt>
                <c:pt idx="5720">
                  <c:v>0</c:v>
                </c:pt>
                <c:pt idx="5721">
                  <c:v>0</c:v>
                </c:pt>
                <c:pt idx="5722">
                  <c:v>0</c:v>
                </c:pt>
                <c:pt idx="5723">
                  <c:v>2</c:v>
                </c:pt>
                <c:pt idx="5724">
                  <c:v>0</c:v>
                </c:pt>
                <c:pt idx="5725">
                  <c:v>0</c:v>
                </c:pt>
                <c:pt idx="5726">
                  <c:v>0</c:v>
                </c:pt>
                <c:pt idx="5727">
                  <c:v>0</c:v>
                </c:pt>
                <c:pt idx="5728">
                  <c:v>0</c:v>
                </c:pt>
                <c:pt idx="5729">
                  <c:v>0</c:v>
                </c:pt>
                <c:pt idx="5730">
                  <c:v>0</c:v>
                </c:pt>
                <c:pt idx="5731">
                  <c:v>0</c:v>
                </c:pt>
                <c:pt idx="5732">
                  <c:v>0</c:v>
                </c:pt>
                <c:pt idx="5733">
                  <c:v>0</c:v>
                </c:pt>
                <c:pt idx="5734">
                  <c:v>1</c:v>
                </c:pt>
                <c:pt idx="5735">
                  <c:v>3</c:v>
                </c:pt>
                <c:pt idx="5736">
                  <c:v>5</c:v>
                </c:pt>
                <c:pt idx="5737">
                  <c:v>0</c:v>
                </c:pt>
                <c:pt idx="5738">
                  <c:v>0</c:v>
                </c:pt>
                <c:pt idx="5739">
                  <c:v>0</c:v>
                </c:pt>
                <c:pt idx="5740">
                  <c:v>0</c:v>
                </c:pt>
                <c:pt idx="5741">
                  <c:v>0</c:v>
                </c:pt>
                <c:pt idx="5742">
                  <c:v>2</c:v>
                </c:pt>
                <c:pt idx="5743">
                  <c:v>3</c:v>
                </c:pt>
                <c:pt idx="5744">
                  <c:v>0</c:v>
                </c:pt>
                <c:pt idx="5745">
                  <c:v>0</c:v>
                </c:pt>
                <c:pt idx="5746">
                  <c:v>0</c:v>
                </c:pt>
                <c:pt idx="5747">
                  <c:v>0</c:v>
                </c:pt>
                <c:pt idx="5748">
                  <c:v>2</c:v>
                </c:pt>
                <c:pt idx="5749">
                  <c:v>0</c:v>
                </c:pt>
                <c:pt idx="5750">
                  <c:v>0</c:v>
                </c:pt>
                <c:pt idx="5751">
                  <c:v>1</c:v>
                </c:pt>
                <c:pt idx="5752">
                  <c:v>2</c:v>
                </c:pt>
                <c:pt idx="5753">
                  <c:v>0</c:v>
                </c:pt>
                <c:pt idx="5754">
                  <c:v>3</c:v>
                </c:pt>
                <c:pt idx="5755">
                  <c:v>0</c:v>
                </c:pt>
                <c:pt idx="5756">
                  <c:v>4</c:v>
                </c:pt>
                <c:pt idx="5757">
                  <c:v>1</c:v>
                </c:pt>
                <c:pt idx="5758">
                  <c:v>0</c:v>
                </c:pt>
                <c:pt idx="5759">
                  <c:v>3</c:v>
                </c:pt>
                <c:pt idx="5760">
                  <c:v>0</c:v>
                </c:pt>
                <c:pt idx="5761">
                  <c:v>0</c:v>
                </c:pt>
                <c:pt idx="5762">
                  <c:v>2</c:v>
                </c:pt>
                <c:pt idx="5763">
                  <c:v>1</c:v>
                </c:pt>
                <c:pt idx="5764">
                  <c:v>0</c:v>
                </c:pt>
                <c:pt idx="5765">
                  <c:v>1</c:v>
                </c:pt>
                <c:pt idx="5766">
                  <c:v>0</c:v>
                </c:pt>
                <c:pt idx="5767">
                  <c:v>0</c:v>
                </c:pt>
                <c:pt idx="5768">
                  <c:v>0</c:v>
                </c:pt>
                <c:pt idx="5769">
                  <c:v>0</c:v>
                </c:pt>
                <c:pt idx="5770">
                  <c:v>3</c:v>
                </c:pt>
                <c:pt idx="5771">
                  <c:v>1</c:v>
                </c:pt>
                <c:pt idx="5772">
                  <c:v>1</c:v>
                </c:pt>
                <c:pt idx="5773">
                  <c:v>0</c:v>
                </c:pt>
                <c:pt idx="5774">
                  <c:v>0</c:v>
                </c:pt>
                <c:pt idx="5775">
                  <c:v>0</c:v>
                </c:pt>
                <c:pt idx="5776">
                  <c:v>0</c:v>
                </c:pt>
                <c:pt idx="5777">
                  <c:v>0</c:v>
                </c:pt>
                <c:pt idx="5778">
                  <c:v>3</c:v>
                </c:pt>
                <c:pt idx="5779">
                  <c:v>1</c:v>
                </c:pt>
                <c:pt idx="5780">
                  <c:v>0</c:v>
                </c:pt>
                <c:pt idx="5781">
                  <c:v>0</c:v>
                </c:pt>
                <c:pt idx="5782">
                  <c:v>1</c:v>
                </c:pt>
                <c:pt idx="5783">
                  <c:v>0</c:v>
                </c:pt>
                <c:pt idx="5784">
                  <c:v>1</c:v>
                </c:pt>
                <c:pt idx="5785">
                  <c:v>8</c:v>
                </c:pt>
                <c:pt idx="5786">
                  <c:v>2</c:v>
                </c:pt>
                <c:pt idx="5787">
                  <c:v>3</c:v>
                </c:pt>
                <c:pt idx="5788">
                  <c:v>0</c:v>
                </c:pt>
                <c:pt idx="5789">
                  <c:v>5</c:v>
                </c:pt>
                <c:pt idx="5790">
                  <c:v>0</c:v>
                </c:pt>
                <c:pt idx="5791">
                  <c:v>0</c:v>
                </c:pt>
                <c:pt idx="5792">
                  <c:v>0</c:v>
                </c:pt>
                <c:pt idx="5793">
                  <c:v>0</c:v>
                </c:pt>
                <c:pt idx="5794">
                  <c:v>0</c:v>
                </c:pt>
                <c:pt idx="5795">
                  <c:v>0</c:v>
                </c:pt>
                <c:pt idx="5796">
                  <c:v>5</c:v>
                </c:pt>
                <c:pt idx="5797">
                  <c:v>0</c:v>
                </c:pt>
                <c:pt idx="5798">
                  <c:v>8</c:v>
                </c:pt>
                <c:pt idx="5799">
                  <c:v>1</c:v>
                </c:pt>
                <c:pt idx="5800">
                  <c:v>1</c:v>
                </c:pt>
                <c:pt idx="5801">
                  <c:v>1</c:v>
                </c:pt>
                <c:pt idx="5802">
                  <c:v>0</c:v>
                </c:pt>
                <c:pt idx="5803">
                  <c:v>0</c:v>
                </c:pt>
                <c:pt idx="5804">
                  <c:v>1</c:v>
                </c:pt>
                <c:pt idx="5805">
                  <c:v>0</c:v>
                </c:pt>
                <c:pt idx="5806">
                  <c:v>2</c:v>
                </c:pt>
                <c:pt idx="5807">
                  <c:v>2</c:v>
                </c:pt>
                <c:pt idx="5808">
                  <c:v>3</c:v>
                </c:pt>
                <c:pt idx="5809">
                  <c:v>2</c:v>
                </c:pt>
                <c:pt idx="5810">
                  <c:v>1</c:v>
                </c:pt>
                <c:pt idx="5811">
                  <c:v>7</c:v>
                </c:pt>
                <c:pt idx="5812">
                  <c:v>2</c:v>
                </c:pt>
                <c:pt idx="5813">
                  <c:v>0</c:v>
                </c:pt>
                <c:pt idx="5814">
                  <c:v>0</c:v>
                </c:pt>
                <c:pt idx="5815">
                  <c:v>1</c:v>
                </c:pt>
                <c:pt idx="5816">
                  <c:v>2</c:v>
                </c:pt>
                <c:pt idx="5817">
                  <c:v>0</c:v>
                </c:pt>
                <c:pt idx="5818">
                  <c:v>3</c:v>
                </c:pt>
                <c:pt idx="5819">
                  <c:v>3</c:v>
                </c:pt>
                <c:pt idx="5820">
                  <c:v>1</c:v>
                </c:pt>
                <c:pt idx="5821">
                  <c:v>2</c:v>
                </c:pt>
                <c:pt idx="5822">
                  <c:v>1</c:v>
                </c:pt>
                <c:pt idx="5823">
                  <c:v>1</c:v>
                </c:pt>
                <c:pt idx="5824">
                  <c:v>6</c:v>
                </c:pt>
                <c:pt idx="5825">
                  <c:v>1</c:v>
                </c:pt>
                <c:pt idx="5826">
                  <c:v>2</c:v>
                </c:pt>
                <c:pt idx="5827">
                  <c:v>2</c:v>
                </c:pt>
                <c:pt idx="5828">
                  <c:v>1</c:v>
                </c:pt>
                <c:pt idx="5829">
                  <c:v>0</c:v>
                </c:pt>
                <c:pt idx="5830">
                  <c:v>6</c:v>
                </c:pt>
                <c:pt idx="5831">
                  <c:v>2</c:v>
                </c:pt>
                <c:pt idx="5832">
                  <c:v>0</c:v>
                </c:pt>
                <c:pt idx="5833">
                  <c:v>0</c:v>
                </c:pt>
                <c:pt idx="5834">
                  <c:v>2</c:v>
                </c:pt>
                <c:pt idx="5835">
                  <c:v>4</c:v>
                </c:pt>
                <c:pt idx="5836">
                  <c:v>0</c:v>
                </c:pt>
                <c:pt idx="5837">
                  <c:v>0</c:v>
                </c:pt>
                <c:pt idx="5838">
                  <c:v>0</c:v>
                </c:pt>
                <c:pt idx="5839">
                  <c:v>0</c:v>
                </c:pt>
                <c:pt idx="5840">
                  <c:v>2</c:v>
                </c:pt>
                <c:pt idx="5841">
                  <c:v>0</c:v>
                </c:pt>
                <c:pt idx="5842">
                  <c:v>3</c:v>
                </c:pt>
                <c:pt idx="5843">
                  <c:v>3</c:v>
                </c:pt>
                <c:pt idx="5844">
                  <c:v>7</c:v>
                </c:pt>
                <c:pt idx="5845">
                  <c:v>3</c:v>
                </c:pt>
                <c:pt idx="5846">
                  <c:v>2</c:v>
                </c:pt>
                <c:pt idx="5847">
                  <c:v>0</c:v>
                </c:pt>
                <c:pt idx="5848">
                  <c:v>0</c:v>
                </c:pt>
                <c:pt idx="5849">
                  <c:v>1</c:v>
                </c:pt>
                <c:pt idx="5850">
                  <c:v>0</c:v>
                </c:pt>
                <c:pt idx="5851">
                  <c:v>0</c:v>
                </c:pt>
                <c:pt idx="5852">
                  <c:v>0</c:v>
                </c:pt>
                <c:pt idx="5853">
                  <c:v>3</c:v>
                </c:pt>
                <c:pt idx="5854">
                  <c:v>0</c:v>
                </c:pt>
                <c:pt idx="5855">
                  <c:v>0</c:v>
                </c:pt>
                <c:pt idx="5856">
                  <c:v>0</c:v>
                </c:pt>
                <c:pt idx="5857">
                  <c:v>3</c:v>
                </c:pt>
                <c:pt idx="5858">
                  <c:v>0</c:v>
                </c:pt>
                <c:pt idx="5859">
                  <c:v>0</c:v>
                </c:pt>
                <c:pt idx="5860">
                  <c:v>1</c:v>
                </c:pt>
                <c:pt idx="5861">
                  <c:v>4</c:v>
                </c:pt>
                <c:pt idx="5862">
                  <c:v>0</c:v>
                </c:pt>
                <c:pt idx="5863">
                  <c:v>0</c:v>
                </c:pt>
                <c:pt idx="5864">
                  <c:v>0</c:v>
                </c:pt>
                <c:pt idx="5865">
                  <c:v>2</c:v>
                </c:pt>
                <c:pt idx="5866">
                  <c:v>0</c:v>
                </c:pt>
                <c:pt idx="5867">
                  <c:v>1</c:v>
                </c:pt>
                <c:pt idx="5868">
                  <c:v>4</c:v>
                </c:pt>
                <c:pt idx="5869">
                  <c:v>0</c:v>
                </c:pt>
                <c:pt idx="5870">
                  <c:v>0</c:v>
                </c:pt>
                <c:pt idx="5871">
                  <c:v>0</c:v>
                </c:pt>
                <c:pt idx="5872">
                  <c:v>0</c:v>
                </c:pt>
                <c:pt idx="5873">
                  <c:v>2</c:v>
                </c:pt>
                <c:pt idx="5874">
                  <c:v>0</c:v>
                </c:pt>
                <c:pt idx="5875">
                  <c:v>5</c:v>
                </c:pt>
                <c:pt idx="5876">
                  <c:v>0</c:v>
                </c:pt>
                <c:pt idx="5877">
                  <c:v>0</c:v>
                </c:pt>
                <c:pt idx="5878">
                  <c:v>1</c:v>
                </c:pt>
                <c:pt idx="5879">
                  <c:v>1</c:v>
                </c:pt>
                <c:pt idx="5880">
                  <c:v>0</c:v>
                </c:pt>
                <c:pt idx="5881">
                  <c:v>0</c:v>
                </c:pt>
                <c:pt idx="5882">
                  <c:v>1</c:v>
                </c:pt>
                <c:pt idx="5883">
                  <c:v>0</c:v>
                </c:pt>
                <c:pt idx="5884">
                  <c:v>0</c:v>
                </c:pt>
                <c:pt idx="5885">
                  <c:v>4</c:v>
                </c:pt>
                <c:pt idx="5886">
                  <c:v>0</c:v>
                </c:pt>
                <c:pt idx="5887">
                  <c:v>0</c:v>
                </c:pt>
                <c:pt idx="5888">
                  <c:v>0</c:v>
                </c:pt>
                <c:pt idx="5889">
                  <c:v>0</c:v>
                </c:pt>
                <c:pt idx="5890">
                  <c:v>0</c:v>
                </c:pt>
                <c:pt idx="5891">
                  <c:v>3</c:v>
                </c:pt>
                <c:pt idx="5892">
                  <c:v>1</c:v>
                </c:pt>
                <c:pt idx="5893">
                  <c:v>0</c:v>
                </c:pt>
                <c:pt idx="5894">
                  <c:v>0</c:v>
                </c:pt>
                <c:pt idx="5895">
                  <c:v>0</c:v>
                </c:pt>
                <c:pt idx="5896">
                  <c:v>0</c:v>
                </c:pt>
                <c:pt idx="5897">
                  <c:v>6</c:v>
                </c:pt>
                <c:pt idx="5898">
                  <c:v>4</c:v>
                </c:pt>
                <c:pt idx="5899">
                  <c:v>1</c:v>
                </c:pt>
                <c:pt idx="5900">
                  <c:v>0</c:v>
                </c:pt>
                <c:pt idx="5901">
                  <c:v>0</c:v>
                </c:pt>
                <c:pt idx="5902">
                  <c:v>0</c:v>
                </c:pt>
                <c:pt idx="5903">
                  <c:v>3</c:v>
                </c:pt>
                <c:pt idx="5904">
                  <c:v>2</c:v>
                </c:pt>
                <c:pt idx="5905">
                  <c:v>2</c:v>
                </c:pt>
                <c:pt idx="5906">
                  <c:v>1</c:v>
                </c:pt>
                <c:pt idx="5907">
                  <c:v>2</c:v>
                </c:pt>
                <c:pt idx="5908">
                  <c:v>0</c:v>
                </c:pt>
                <c:pt idx="5909">
                  <c:v>0</c:v>
                </c:pt>
                <c:pt idx="5910">
                  <c:v>0</c:v>
                </c:pt>
                <c:pt idx="5911">
                  <c:v>0</c:v>
                </c:pt>
                <c:pt idx="5912">
                  <c:v>0</c:v>
                </c:pt>
                <c:pt idx="5913">
                  <c:v>1</c:v>
                </c:pt>
                <c:pt idx="5914">
                  <c:v>0</c:v>
                </c:pt>
                <c:pt idx="5915">
                  <c:v>0</c:v>
                </c:pt>
                <c:pt idx="5916">
                  <c:v>0</c:v>
                </c:pt>
                <c:pt idx="5917">
                  <c:v>0</c:v>
                </c:pt>
                <c:pt idx="5918">
                  <c:v>0</c:v>
                </c:pt>
                <c:pt idx="5919">
                  <c:v>3</c:v>
                </c:pt>
                <c:pt idx="5920">
                  <c:v>0</c:v>
                </c:pt>
                <c:pt idx="5921">
                  <c:v>0</c:v>
                </c:pt>
                <c:pt idx="5922">
                  <c:v>0</c:v>
                </c:pt>
                <c:pt idx="5923">
                  <c:v>3</c:v>
                </c:pt>
                <c:pt idx="5924">
                  <c:v>0</c:v>
                </c:pt>
                <c:pt idx="5925">
                  <c:v>7</c:v>
                </c:pt>
                <c:pt idx="5926">
                  <c:v>0</c:v>
                </c:pt>
                <c:pt idx="5927">
                  <c:v>3</c:v>
                </c:pt>
                <c:pt idx="5928">
                  <c:v>3</c:v>
                </c:pt>
                <c:pt idx="5929">
                  <c:v>0</c:v>
                </c:pt>
                <c:pt idx="5930">
                  <c:v>0</c:v>
                </c:pt>
                <c:pt idx="5931">
                  <c:v>0</c:v>
                </c:pt>
                <c:pt idx="5932">
                  <c:v>4</c:v>
                </c:pt>
                <c:pt idx="5933">
                  <c:v>8</c:v>
                </c:pt>
                <c:pt idx="5934">
                  <c:v>1</c:v>
                </c:pt>
                <c:pt idx="5935">
                  <c:v>0</c:v>
                </c:pt>
                <c:pt idx="5936">
                  <c:v>0</c:v>
                </c:pt>
                <c:pt idx="5937">
                  <c:v>0</c:v>
                </c:pt>
                <c:pt idx="5938">
                  <c:v>0</c:v>
                </c:pt>
                <c:pt idx="5939">
                  <c:v>0</c:v>
                </c:pt>
                <c:pt idx="5940">
                  <c:v>0</c:v>
                </c:pt>
                <c:pt idx="5941">
                  <c:v>0</c:v>
                </c:pt>
                <c:pt idx="5942">
                  <c:v>1</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4</c:v>
                </c:pt>
                <c:pt idx="5956">
                  <c:v>0</c:v>
                </c:pt>
                <c:pt idx="5957">
                  <c:v>0</c:v>
                </c:pt>
                <c:pt idx="5958">
                  <c:v>0</c:v>
                </c:pt>
                <c:pt idx="5959">
                  <c:v>1</c:v>
                </c:pt>
                <c:pt idx="5960">
                  <c:v>1</c:v>
                </c:pt>
                <c:pt idx="5961">
                  <c:v>1</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1</c:v>
                </c:pt>
                <c:pt idx="6006">
                  <c:v>0</c:v>
                </c:pt>
                <c:pt idx="6007">
                  <c:v>0</c:v>
                </c:pt>
                <c:pt idx="6008">
                  <c:v>4</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4</c:v>
                </c:pt>
                <c:pt idx="6024">
                  <c:v>1</c:v>
                </c:pt>
                <c:pt idx="6025">
                  <c:v>0</c:v>
                </c:pt>
                <c:pt idx="6026">
                  <c:v>2</c:v>
                </c:pt>
                <c:pt idx="6027">
                  <c:v>0</c:v>
                </c:pt>
                <c:pt idx="6028">
                  <c:v>0</c:v>
                </c:pt>
                <c:pt idx="6029">
                  <c:v>0</c:v>
                </c:pt>
                <c:pt idx="6030">
                  <c:v>0</c:v>
                </c:pt>
                <c:pt idx="6031">
                  <c:v>0</c:v>
                </c:pt>
                <c:pt idx="6032">
                  <c:v>0</c:v>
                </c:pt>
                <c:pt idx="6033">
                  <c:v>1</c:v>
                </c:pt>
                <c:pt idx="6034">
                  <c:v>0</c:v>
                </c:pt>
                <c:pt idx="6035">
                  <c:v>2</c:v>
                </c:pt>
                <c:pt idx="6036">
                  <c:v>0</c:v>
                </c:pt>
                <c:pt idx="6037">
                  <c:v>0</c:v>
                </c:pt>
                <c:pt idx="6038">
                  <c:v>0</c:v>
                </c:pt>
                <c:pt idx="6039">
                  <c:v>0</c:v>
                </c:pt>
                <c:pt idx="6040">
                  <c:v>0</c:v>
                </c:pt>
                <c:pt idx="6041">
                  <c:v>0</c:v>
                </c:pt>
                <c:pt idx="6042">
                  <c:v>0</c:v>
                </c:pt>
                <c:pt idx="6043">
                  <c:v>0</c:v>
                </c:pt>
                <c:pt idx="6044">
                  <c:v>0</c:v>
                </c:pt>
                <c:pt idx="6045">
                  <c:v>3</c:v>
                </c:pt>
                <c:pt idx="6046">
                  <c:v>0</c:v>
                </c:pt>
                <c:pt idx="6047">
                  <c:v>0</c:v>
                </c:pt>
                <c:pt idx="6048">
                  <c:v>0</c:v>
                </c:pt>
                <c:pt idx="6049">
                  <c:v>0</c:v>
                </c:pt>
                <c:pt idx="6050">
                  <c:v>0</c:v>
                </c:pt>
                <c:pt idx="6051">
                  <c:v>0</c:v>
                </c:pt>
                <c:pt idx="6052">
                  <c:v>0</c:v>
                </c:pt>
                <c:pt idx="6053">
                  <c:v>0</c:v>
                </c:pt>
                <c:pt idx="6054">
                  <c:v>0</c:v>
                </c:pt>
                <c:pt idx="6055">
                  <c:v>1</c:v>
                </c:pt>
                <c:pt idx="6056">
                  <c:v>1</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1</c:v>
                </c:pt>
                <c:pt idx="6082">
                  <c:v>0</c:v>
                </c:pt>
                <c:pt idx="6083">
                  <c:v>0</c:v>
                </c:pt>
                <c:pt idx="6084">
                  <c:v>0</c:v>
                </c:pt>
                <c:pt idx="6085">
                  <c:v>1</c:v>
                </c:pt>
                <c:pt idx="6086">
                  <c:v>0</c:v>
                </c:pt>
                <c:pt idx="6087">
                  <c:v>0</c:v>
                </c:pt>
                <c:pt idx="6088">
                  <c:v>0</c:v>
                </c:pt>
                <c:pt idx="6089">
                  <c:v>0</c:v>
                </c:pt>
                <c:pt idx="6090">
                  <c:v>0</c:v>
                </c:pt>
                <c:pt idx="6091">
                  <c:v>0</c:v>
                </c:pt>
                <c:pt idx="6092">
                  <c:v>0</c:v>
                </c:pt>
                <c:pt idx="6093">
                  <c:v>0</c:v>
                </c:pt>
                <c:pt idx="6094">
                  <c:v>1</c:v>
                </c:pt>
                <c:pt idx="6095">
                  <c:v>0</c:v>
                </c:pt>
                <c:pt idx="6096">
                  <c:v>3</c:v>
                </c:pt>
                <c:pt idx="6097">
                  <c:v>2</c:v>
                </c:pt>
                <c:pt idx="6098">
                  <c:v>0</c:v>
                </c:pt>
                <c:pt idx="6099">
                  <c:v>0</c:v>
                </c:pt>
                <c:pt idx="6100">
                  <c:v>13</c:v>
                </c:pt>
                <c:pt idx="6101">
                  <c:v>3</c:v>
                </c:pt>
                <c:pt idx="6102">
                  <c:v>7</c:v>
                </c:pt>
                <c:pt idx="6103">
                  <c:v>7</c:v>
                </c:pt>
                <c:pt idx="6104">
                  <c:v>1</c:v>
                </c:pt>
                <c:pt idx="6105">
                  <c:v>1</c:v>
                </c:pt>
                <c:pt idx="6106">
                  <c:v>1</c:v>
                </c:pt>
                <c:pt idx="6107">
                  <c:v>2</c:v>
                </c:pt>
                <c:pt idx="6108">
                  <c:v>2</c:v>
                </c:pt>
                <c:pt idx="6109">
                  <c:v>3</c:v>
                </c:pt>
                <c:pt idx="6110">
                  <c:v>3</c:v>
                </c:pt>
                <c:pt idx="6111">
                  <c:v>1</c:v>
                </c:pt>
                <c:pt idx="6112">
                  <c:v>0</c:v>
                </c:pt>
                <c:pt idx="6113">
                  <c:v>4</c:v>
                </c:pt>
                <c:pt idx="6114">
                  <c:v>4</c:v>
                </c:pt>
                <c:pt idx="6115">
                  <c:v>1</c:v>
                </c:pt>
                <c:pt idx="6116">
                  <c:v>0</c:v>
                </c:pt>
                <c:pt idx="6117">
                  <c:v>0</c:v>
                </c:pt>
                <c:pt idx="6118">
                  <c:v>7</c:v>
                </c:pt>
                <c:pt idx="6119">
                  <c:v>0</c:v>
                </c:pt>
                <c:pt idx="6120">
                  <c:v>1</c:v>
                </c:pt>
                <c:pt idx="6121">
                  <c:v>2</c:v>
                </c:pt>
                <c:pt idx="6122">
                  <c:v>0</c:v>
                </c:pt>
                <c:pt idx="6123">
                  <c:v>3</c:v>
                </c:pt>
                <c:pt idx="6124">
                  <c:v>0</c:v>
                </c:pt>
                <c:pt idx="6125">
                  <c:v>1</c:v>
                </c:pt>
                <c:pt idx="6126">
                  <c:v>6</c:v>
                </c:pt>
                <c:pt idx="6127">
                  <c:v>5</c:v>
                </c:pt>
                <c:pt idx="6128">
                  <c:v>2</c:v>
                </c:pt>
                <c:pt idx="6129">
                  <c:v>4</c:v>
                </c:pt>
                <c:pt idx="6130">
                  <c:v>24</c:v>
                </c:pt>
                <c:pt idx="6131">
                  <c:v>5</c:v>
                </c:pt>
                <c:pt idx="6132">
                  <c:v>3</c:v>
                </c:pt>
                <c:pt idx="6133">
                  <c:v>3</c:v>
                </c:pt>
                <c:pt idx="6134">
                  <c:v>0</c:v>
                </c:pt>
                <c:pt idx="6135">
                  <c:v>5</c:v>
                </c:pt>
                <c:pt idx="6136">
                  <c:v>3</c:v>
                </c:pt>
                <c:pt idx="6137">
                  <c:v>0</c:v>
                </c:pt>
                <c:pt idx="6138">
                  <c:v>0</c:v>
                </c:pt>
                <c:pt idx="6139">
                  <c:v>2</c:v>
                </c:pt>
                <c:pt idx="6140">
                  <c:v>1</c:v>
                </c:pt>
                <c:pt idx="6141">
                  <c:v>1</c:v>
                </c:pt>
                <c:pt idx="6142">
                  <c:v>1</c:v>
                </c:pt>
                <c:pt idx="6143">
                  <c:v>6</c:v>
                </c:pt>
                <c:pt idx="6144">
                  <c:v>1</c:v>
                </c:pt>
                <c:pt idx="6145">
                  <c:v>0</c:v>
                </c:pt>
                <c:pt idx="6146">
                  <c:v>1</c:v>
                </c:pt>
                <c:pt idx="6147">
                  <c:v>3</c:v>
                </c:pt>
                <c:pt idx="6148">
                  <c:v>1</c:v>
                </c:pt>
                <c:pt idx="6149">
                  <c:v>3</c:v>
                </c:pt>
                <c:pt idx="6150">
                  <c:v>10</c:v>
                </c:pt>
                <c:pt idx="6151">
                  <c:v>3</c:v>
                </c:pt>
                <c:pt idx="6152">
                  <c:v>6</c:v>
                </c:pt>
                <c:pt idx="6153">
                  <c:v>0</c:v>
                </c:pt>
                <c:pt idx="6154">
                  <c:v>2</c:v>
                </c:pt>
                <c:pt idx="6155">
                  <c:v>5</c:v>
                </c:pt>
                <c:pt idx="6156">
                  <c:v>3</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2</c:v>
                </c:pt>
                <c:pt idx="6180">
                  <c:v>0</c:v>
                </c:pt>
                <c:pt idx="6181">
                  <c:v>0</c:v>
                </c:pt>
                <c:pt idx="6182">
                  <c:v>3</c:v>
                </c:pt>
                <c:pt idx="6183">
                  <c:v>0</c:v>
                </c:pt>
                <c:pt idx="6184">
                  <c:v>0</c:v>
                </c:pt>
                <c:pt idx="6185">
                  <c:v>0</c:v>
                </c:pt>
                <c:pt idx="6186">
                  <c:v>0</c:v>
                </c:pt>
                <c:pt idx="6187">
                  <c:v>0</c:v>
                </c:pt>
                <c:pt idx="6188">
                  <c:v>0</c:v>
                </c:pt>
                <c:pt idx="6189">
                  <c:v>0</c:v>
                </c:pt>
                <c:pt idx="6190">
                  <c:v>2</c:v>
                </c:pt>
                <c:pt idx="6191">
                  <c:v>5</c:v>
                </c:pt>
                <c:pt idx="6192">
                  <c:v>2</c:v>
                </c:pt>
                <c:pt idx="6193">
                  <c:v>0</c:v>
                </c:pt>
                <c:pt idx="6194">
                  <c:v>0</c:v>
                </c:pt>
                <c:pt idx="6195">
                  <c:v>0</c:v>
                </c:pt>
                <c:pt idx="6196">
                  <c:v>0</c:v>
                </c:pt>
                <c:pt idx="6197">
                  <c:v>0</c:v>
                </c:pt>
                <c:pt idx="6198">
                  <c:v>0</c:v>
                </c:pt>
                <c:pt idx="6199">
                  <c:v>0</c:v>
                </c:pt>
                <c:pt idx="6200">
                  <c:v>2</c:v>
                </c:pt>
                <c:pt idx="6201">
                  <c:v>0</c:v>
                </c:pt>
                <c:pt idx="6202">
                  <c:v>0</c:v>
                </c:pt>
                <c:pt idx="6203">
                  <c:v>0</c:v>
                </c:pt>
                <c:pt idx="6204">
                  <c:v>0</c:v>
                </c:pt>
                <c:pt idx="6205">
                  <c:v>0</c:v>
                </c:pt>
                <c:pt idx="6206">
                  <c:v>0</c:v>
                </c:pt>
                <c:pt idx="6207">
                  <c:v>0</c:v>
                </c:pt>
                <c:pt idx="6208">
                  <c:v>0</c:v>
                </c:pt>
                <c:pt idx="6209">
                  <c:v>0</c:v>
                </c:pt>
                <c:pt idx="6210">
                  <c:v>0</c:v>
                </c:pt>
                <c:pt idx="6211">
                  <c:v>2</c:v>
                </c:pt>
                <c:pt idx="6212">
                  <c:v>0</c:v>
                </c:pt>
                <c:pt idx="6213">
                  <c:v>0</c:v>
                </c:pt>
                <c:pt idx="6214">
                  <c:v>0</c:v>
                </c:pt>
                <c:pt idx="6215">
                  <c:v>0</c:v>
                </c:pt>
                <c:pt idx="6216">
                  <c:v>1</c:v>
                </c:pt>
                <c:pt idx="6217">
                  <c:v>2</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13</c:v>
                </c:pt>
                <c:pt idx="6242">
                  <c:v>13</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2</c:v>
                </c:pt>
                <c:pt idx="6269">
                  <c:v>1</c:v>
                </c:pt>
                <c:pt idx="6270">
                  <c:v>0</c:v>
                </c:pt>
                <c:pt idx="6271">
                  <c:v>5</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2</c:v>
                </c:pt>
                <c:pt idx="6302">
                  <c:v>0</c:v>
                </c:pt>
                <c:pt idx="6303">
                  <c:v>0</c:v>
                </c:pt>
                <c:pt idx="6304">
                  <c:v>1</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2</c:v>
                </c:pt>
                <c:pt idx="6320">
                  <c:v>0</c:v>
                </c:pt>
                <c:pt idx="6321">
                  <c:v>0</c:v>
                </c:pt>
                <c:pt idx="6322">
                  <c:v>2</c:v>
                </c:pt>
                <c:pt idx="6323">
                  <c:v>4</c:v>
                </c:pt>
                <c:pt idx="6324">
                  <c:v>1</c:v>
                </c:pt>
                <c:pt idx="6325">
                  <c:v>0</c:v>
                </c:pt>
                <c:pt idx="6326">
                  <c:v>0</c:v>
                </c:pt>
                <c:pt idx="6327">
                  <c:v>0</c:v>
                </c:pt>
                <c:pt idx="6328">
                  <c:v>0</c:v>
                </c:pt>
                <c:pt idx="6329">
                  <c:v>0</c:v>
                </c:pt>
                <c:pt idx="6330">
                  <c:v>0</c:v>
                </c:pt>
                <c:pt idx="6331">
                  <c:v>0</c:v>
                </c:pt>
                <c:pt idx="6332">
                  <c:v>1</c:v>
                </c:pt>
                <c:pt idx="6333">
                  <c:v>0</c:v>
                </c:pt>
                <c:pt idx="6334">
                  <c:v>0</c:v>
                </c:pt>
                <c:pt idx="6335">
                  <c:v>0</c:v>
                </c:pt>
                <c:pt idx="6336">
                  <c:v>0</c:v>
                </c:pt>
                <c:pt idx="6337">
                  <c:v>0</c:v>
                </c:pt>
                <c:pt idx="6338">
                  <c:v>0</c:v>
                </c:pt>
                <c:pt idx="6339">
                  <c:v>0</c:v>
                </c:pt>
                <c:pt idx="6340">
                  <c:v>0</c:v>
                </c:pt>
                <c:pt idx="6341">
                  <c:v>0</c:v>
                </c:pt>
                <c:pt idx="6342">
                  <c:v>0</c:v>
                </c:pt>
                <c:pt idx="6343">
                  <c:v>2</c:v>
                </c:pt>
                <c:pt idx="6344">
                  <c:v>0</c:v>
                </c:pt>
                <c:pt idx="6345">
                  <c:v>0</c:v>
                </c:pt>
                <c:pt idx="6346">
                  <c:v>0</c:v>
                </c:pt>
                <c:pt idx="6347">
                  <c:v>0</c:v>
                </c:pt>
                <c:pt idx="6348">
                  <c:v>5</c:v>
                </c:pt>
                <c:pt idx="6349">
                  <c:v>6</c:v>
                </c:pt>
                <c:pt idx="6350">
                  <c:v>4</c:v>
                </c:pt>
                <c:pt idx="6351">
                  <c:v>1</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5</c:v>
                </c:pt>
                <c:pt idx="6376">
                  <c:v>5</c:v>
                </c:pt>
                <c:pt idx="6377">
                  <c:v>0</c:v>
                </c:pt>
                <c:pt idx="6378">
                  <c:v>5</c:v>
                </c:pt>
                <c:pt idx="6379">
                  <c:v>8</c:v>
                </c:pt>
                <c:pt idx="6380">
                  <c:v>1</c:v>
                </c:pt>
                <c:pt idx="6381">
                  <c:v>0</c:v>
                </c:pt>
                <c:pt idx="6382">
                  <c:v>1</c:v>
                </c:pt>
                <c:pt idx="6383">
                  <c:v>0</c:v>
                </c:pt>
                <c:pt idx="6384">
                  <c:v>5</c:v>
                </c:pt>
                <c:pt idx="6385">
                  <c:v>6</c:v>
                </c:pt>
                <c:pt idx="6386">
                  <c:v>1</c:v>
                </c:pt>
                <c:pt idx="6387">
                  <c:v>3</c:v>
                </c:pt>
                <c:pt idx="6388">
                  <c:v>3</c:v>
                </c:pt>
                <c:pt idx="6389">
                  <c:v>3</c:v>
                </c:pt>
                <c:pt idx="6390">
                  <c:v>0</c:v>
                </c:pt>
                <c:pt idx="6391">
                  <c:v>13</c:v>
                </c:pt>
                <c:pt idx="6392">
                  <c:v>0</c:v>
                </c:pt>
                <c:pt idx="6393">
                  <c:v>6</c:v>
                </c:pt>
                <c:pt idx="6394">
                  <c:v>2</c:v>
                </c:pt>
                <c:pt idx="6395">
                  <c:v>0</c:v>
                </c:pt>
                <c:pt idx="6396">
                  <c:v>1</c:v>
                </c:pt>
                <c:pt idx="6397">
                  <c:v>1</c:v>
                </c:pt>
                <c:pt idx="6398">
                  <c:v>0</c:v>
                </c:pt>
                <c:pt idx="6399">
                  <c:v>0</c:v>
                </c:pt>
                <c:pt idx="6400">
                  <c:v>0</c:v>
                </c:pt>
                <c:pt idx="6401">
                  <c:v>0</c:v>
                </c:pt>
                <c:pt idx="6402">
                  <c:v>0</c:v>
                </c:pt>
                <c:pt idx="6403">
                  <c:v>0</c:v>
                </c:pt>
                <c:pt idx="6404">
                  <c:v>0</c:v>
                </c:pt>
                <c:pt idx="6405">
                  <c:v>8</c:v>
                </c:pt>
                <c:pt idx="6406">
                  <c:v>1</c:v>
                </c:pt>
                <c:pt idx="6407">
                  <c:v>5</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1</c:v>
                </c:pt>
                <c:pt idx="6428">
                  <c:v>0</c:v>
                </c:pt>
                <c:pt idx="6429">
                  <c:v>0</c:v>
                </c:pt>
                <c:pt idx="6430">
                  <c:v>2</c:v>
                </c:pt>
                <c:pt idx="6431">
                  <c:v>3</c:v>
                </c:pt>
                <c:pt idx="6432">
                  <c:v>0</c:v>
                </c:pt>
                <c:pt idx="6433">
                  <c:v>0</c:v>
                </c:pt>
                <c:pt idx="6434">
                  <c:v>0</c:v>
                </c:pt>
                <c:pt idx="6435">
                  <c:v>0</c:v>
                </c:pt>
                <c:pt idx="6436">
                  <c:v>7</c:v>
                </c:pt>
                <c:pt idx="6437">
                  <c:v>2</c:v>
                </c:pt>
                <c:pt idx="6438">
                  <c:v>2</c:v>
                </c:pt>
                <c:pt idx="6439">
                  <c:v>5</c:v>
                </c:pt>
                <c:pt idx="6440">
                  <c:v>4</c:v>
                </c:pt>
                <c:pt idx="6441">
                  <c:v>4</c:v>
                </c:pt>
                <c:pt idx="6442">
                  <c:v>0</c:v>
                </c:pt>
                <c:pt idx="6443">
                  <c:v>5</c:v>
                </c:pt>
                <c:pt idx="6444">
                  <c:v>4</c:v>
                </c:pt>
                <c:pt idx="6445">
                  <c:v>0</c:v>
                </c:pt>
                <c:pt idx="6446">
                  <c:v>0</c:v>
                </c:pt>
                <c:pt idx="6447">
                  <c:v>4</c:v>
                </c:pt>
                <c:pt idx="6448">
                  <c:v>1</c:v>
                </c:pt>
                <c:pt idx="6449">
                  <c:v>0</c:v>
                </c:pt>
                <c:pt idx="6450">
                  <c:v>2</c:v>
                </c:pt>
                <c:pt idx="6451">
                  <c:v>1</c:v>
                </c:pt>
                <c:pt idx="6452">
                  <c:v>3</c:v>
                </c:pt>
                <c:pt idx="6453">
                  <c:v>0</c:v>
                </c:pt>
                <c:pt idx="6454">
                  <c:v>3</c:v>
                </c:pt>
                <c:pt idx="6455">
                  <c:v>0</c:v>
                </c:pt>
                <c:pt idx="6456">
                  <c:v>2</c:v>
                </c:pt>
                <c:pt idx="6457">
                  <c:v>1</c:v>
                </c:pt>
                <c:pt idx="6458">
                  <c:v>0</c:v>
                </c:pt>
                <c:pt idx="6459">
                  <c:v>1</c:v>
                </c:pt>
                <c:pt idx="6460">
                  <c:v>4</c:v>
                </c:pt>
                <c:pt idx="6461">
                  <c:v>0</c:v>
                </c:pt>
                <c:pt idx="6462">
                  <c:v>1</c:v>
                </c:pt>
                <c:pt idx="6463">
                  <c:v>3</c:v>
                </c:pt>
                <c:pt idx="6464">
                  <c:v>0</c:v>
                </c:pt>
                <c:pt idx="6465">
                  <c:v>0</c:v>
                </c:pt>
                <c:pt idx="6466">
                  <c:v>0</c:v>
                </c:pt>
                <c:pt idx="6467">
                  <c:v>0</c:v>
                </c:pt>
                <c:pt idx="6468">
                  <c:v>0</c:v>
                </c:pt>
                <c:pt idx="6469">
                  <c:v>0</c:v>
                </c:pt>
                <c:pt idx="6470">
                  <c:v>5</c:v>
                </c:pt>
                <c:pt idx="6471">
                  <c:v>1</c:v>
                </c:pt>
                <c:pt idx="6472">
                  <c:v>0</c:v>
                </c:pt>
                <c:pt idx="6473">
                  <c:v>2</c:v>
                </c:pt>
                <c:pt idx="6474">
                  <c:v>4</c:v>
                </c:pt>
                <c:pt idx="6475">
                  <c:v>0</c:v>
                </c:pt>
                <c:pt idx="6476">
                  <c:v>0</c:v>
                </c:pt>
                <c:pt idx="6477">
                  <c:v>0</c:v>
                </c:pt>
                <c:pt idx="6478">
                  <c:v>1</c:v>
                </c:pt>
                <c:pt idx="6479">
                  <c:v>1</c:v>
                </c:pt>
                <c:pt idx="6480">
                  <c:v>1</c:v>
                </c:pt>
                <c:pt idx="6481">
                  <c:v>0</c:v>
                </c:pt>
                <c:pt idx="6482">
                  <c:v>0</c:v>
                </c:pt>
                <c:pt idx="6483">
                  <c:v>0</c:v>
                </c:pt>
                <c:pt idx="6484">
                  <c:v>0</c:v>
                </c:pt>
                <c:pt idx="6485">
                  <c:v>0</c:v>
                </c:pt>
                <c:pt idx="6486">
                  <c:v>0</c:v>
                </c:pt>
                <c:pt idx="6487">
                  <c:v>0</c:v>
                </c:pt>
                <c:pt idx="6488">
                  <c:v>1</c:v>
                </c:pt>
                <c:pt idx="6489">
                  <c:v>2</c:v>
                </c:pt>
                <c:pt idx="6490">
                  <c:v>6</c:v>
                </c:pt>
                <c:pt idx="6491">
                  <c:v>0</c:v>
                </c:pt>
                <c:pt idx="6492">
                  <c:v>1</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1</c:v>
                </c:pt>
                <c:pt idx="6518">
                  <c:v>0</c:v>
                </c:pt>
                <c:pt idx="6519">
                  <c:v>0</c:v>
                </c:pt>
                <c:pt idx="6520">
                  <c:v>0</c:v>
                </c:pt>
                <c:pt idx="6521">
                  <c:v>0</c:v>
                </c:pt>
                <c:pt idx="6522">
                  <c:v>0</c:v>
                </c:pt>
                <c:pt idx="6523">
                  <c:v>0</c:v>
                </c:pt>
                <c:pt idx="6524">
                  <c:v>0</c:v>
                </c:pt>
                <c:pt idx="6525">
                  <c:v>0</c:v>
                </c:pt>
                <c:pt idx="6526">
                  <c:v>0</c:v>
                </c:pt>
                <c:pt idx="6527">
                  <c:v>0</c:v>
                </c:pt>
                <c:pt idx="6528">
                  <c:v>3</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2</c:v>
                </c:pt>
                <c:pt idx="6560">
                  <c:v>0</c:v>
                </c:pt>
                <c:pt idx="6561">
                  <c:v>1</c:v>
                </c:pt>
                <c:pt idx="6562">
                  <c:v>0</c:v>
                </c:pt>
                <c:pt idx="6563">
                  <c:v>0</c:v>
                </c:pt>
                <c:pt idx="6564">
                  <c:v>0</c:v>
                </c:pt>
                <c:pt idx="6565">
                  <c:v>1</c:v>
                </c:pt>
                <c:pt idx="6566">
                  <c:v>3</c:v>
                </c:pt>
                <c:pt idx="6567">
                  <c:v>0</c:v>
                </c:pt>
                <c:pt idx="6568">
                  <c:v>0</c:v>
                </c:pt>
                <c:pt idx="6569">
                  <c:v>0</c:v>
                </c:pt>
                <c:pt idx="6570">
                  <c:v>0</c:v>
                </c:pt>
                <c:pt idx="6571">
                  <c:v>6</c:v>
                </c:pt>
                <c:pt idx="6572">
                  <c:v>0</c:v>
                </c:pt>
                <c:pt idx="6573">
                  <c:v>0</c:v>
                </c:pt>
                <c:pt idx="6574">
                  <c:v>0</c:v>
                </c:pt>
                <c:pt idx="6575">
                  <c:v>0</c:v>
                </c:pt>
                <c:pt idx="6576">
                  <c:v>0</c:v>
                </c:pt>
                <c:pt idx="6577">
                  <c:v>0</c:v>
                </c:pt>
                <c:pt idx="6578">
                  <c:v>0</c:v>
                </c:pt>
                <c:pt idx="6579">
                  <c:v>5</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4</c:v>
                </c:pt>
                <c:pt idx="6615">
                  <c:v>0</c:v>
                </c:pt>
                <c:pt idx="6616">
                  <c:v>0</c:v>
                </c:pt>
                <c:pt idx="6617">
                  <c:v>0</c:v>
                </c:pt>
                <c:pt idx="6618">
                  <c:v>0</c:v>
                </c:pt>
                <c:pt idx="6619">
                  <c:v>0</c:v>
                </c:pt>
                <c:pt idx="6620">
                  <c:v>3</c:v>
                </c:pt>
                <c:pt idx="6621">
                  <c:v>0</c:v>
                </c:pt>
                <c:pt idx="6622">
                  <c:v>0</c:v>
                </c:pt>
                <c:pt idx="6623">
                  <c:v>0</c:v>
                </c:pt>
                <c:pt idx="6624">
                  <c:v>0</c:v>
                </c:pt>
                <c:pt idx="6625">
                  <c:v>0</c:v>
                </c:pt>
                <c:pt idx="6626">
                  <c:v>0</c:v>
                </c:pt>
                <c:pt idx="6627">
                  <c:v>0</c:v>
                </c:pt>
                <c:pt idx="6628">
                  <c:v>0</c:v>
                </c:pt>
                <c:pt idx="6629">
                  <c:v>0</c:v>
                </c:pt>
                <c:pt idx="6630">
                  <c:v>0</c:v>
                </c:pt>
                <c:pt idx="6631">
                  <c:v>1</c:v>
                </c:pt>
                <c:pt idx="6632">
                  <c:v>3</c:v>
                </c:pt>
                <c:pt idx="6633">
                  <c:v>2</c:v>
                </c:pt>
                <c:pt idx="6634">
                  <c:v>2</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1</c:v>
                </c:pt>
                <c:pt idx="6662">
                  <c:v>0</c:v>
                </c:pt>
                <c:pt idx="6663">
                  <c:v>0</c:v>
                </c:pt>
                <c:pt idx="6664">
                  <c:v>0</c:v>
                </c:pt>
                <c:pt idx="6665">
                  <c:v>0</c:v>
                </c:pt>
                <c:pt idx="6666">
                  <c:v>0</c:v>
                </c:pt>
                <c:pt idx="6667">
                  <c:v>0</c:v>
                </c:pt>
                <c:pt idx="6668">
                  <c:v>0</c:v>
                </c:pt>
                <c:pt idx="6669">
                  <c:v>1</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1</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1</c:v>
                </c:pt>
                <c:pt idx="6705">
                  <c:v>1</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6</c:v>
                </c:pt>
                <c:pt idx="6742">
                  <c:v>10</c:v>
                </c:pt>
                <c:pt idx="6743">
                  <c:v>1</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2</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1</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2</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2</c:v>
                </c:pt>
                <c:pt idx="6937">
                  <c:v>0</c:v>
                </c:pt>
                <c:pt idx="6938">
                  <c:v>0</c:v>
                </c:pt>
                <c:pt idx="6939">
                  <c:v>2</c:v>
                </c:pt>
                <c:pt idx="6940">
                  <c:v>0</c:v>
                </c:pt>
                <c:pt idx="6941">
                  <c:v>3</c:v>
                </c:pt>
                <c:pt idx="6942">
                  <c:v>0</c:v>
                </c:pt>
                <c:pt idx="6943">
                  <c:v>0</c:v>
                </c:pt>
                <c:pt idx="6944">
                  <c:v>0</c:v>
                </c:pt>
                <c:pt idx="6945">
                  <c:v>0</c:v>
                </c:pt>
                <c:pt idx="6946">
                  <c:v>0</c:v>
                </c:pt>
                <c:pt idx="6947">
                  <c:v>0</c:v>
                </c:pt>
                <c:pt idx="6948">
                  <c:v>0</c:v>
                </c:pt>
                <c:pt idx="6949">
                  <c:v>3</c:v>
                </c:pt>
                <c:pt idx="6950">
                  <c:v>4</c:v>
                </c:pt>
                <c:pt idx="6951">
                  <c:v>0</c:v>
                </c:pt>
                <c:pt idx="6952">
                  <c:v>1</c:v>
                </c:pt>
                <c:pt idx="6953">
                  <c:v>0</c:v>
                </c:pt>
                <c:pt idx="6954">
                  <c:v>0</c:v>
                </c:pt>
                <c:pt idx="6955">
                  <c:v>2</c:v>
                </c:pt>
                <c:pt idx="6956">
                  <c:v>0</c:v>
                </c:pt>
                <c:pt idx="6957">
                  <c:v>0</c:v>
                </c:pt>
                <c:pt idx="6958">
                  <c:v>0</c:v>
                </c:pt>
                <c:pt idx="6959">
                  <c:v>2</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5</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3</c:v>
                </c:pt>
                <c:pt idx="6986">
                  <c:v>0</c:v>
                </c:pt>
                <c:pt idx="6987">
                  <c:v>0</c:v>
                </c:pt>
                <c:pt idx="6988">
                  <c:v>0</c:v>
                </c:pt>
                <c:pt idx="6989">
                  <c:v>0</c:v>
                </c:pt>
                <c:pt idx="6990">
                  <c:v>0</c:v>
                </c:pt>
                <c:pt idx="6991">
                  <c:v>0</c:v>
                </c:pt>
                <c:pt idx="6992">
                  <c:v>0</c:v>
                </c:pt>
                <c:pt idx="6993">
                  <c:v>0</c:v>
                </c:pt>
                <c:pt idx="6994">
                  <c:v>0</c:v>
                </c:pt>
                <c:pt idx="6995">
                  <c:v>0</c:v>
                </c:pt>
                <c:pt idx="6996">
                  <c:v>0</c:v>
                </c:pt>
                <c:pt idx="6997">
                  <c:v>2</c:v>
                </c:pt>
                <c:pt idx="6998">
                  <c:v>0</c:v>
                </c:pt>
                <c:pt idx="6999">
                  <c:v>0</c:v>
                </c:pt>
                <c:pt idx="7000">
                  <c:v>0</c:v>
                </c:pt>
                <c:pt idx="7001">
                  <c:v>0</c:v>
                </c:pt>
                <c:pt idx="7002">
                  <c:v>0</c:v>
                </c:pt>
                <c:pt idx="7003">
                  <c:v>0</c:v>
                </c:pt>
                <c:pt idx="7004">
                  <c:v>0</c:v>
                </c:pt>
                <c:pt idx="7005">
                  <c:v>0</c:v>
                </c:pt>
                <c:pt idx="7006">
                  <c:v>0</c:v>
                </c:pt>
                <c:pt idx="7007">
                  <c:v>0</c:v>
                </c:pt>
                <c:pt idx="7008">
                  <c:v>0</c:v>
                </c:pt>
                <c:pt idx="7009">
                  <c:v>0</c:v>
                </c:pt>
                <c:pt idx="7010">
                  <c:v>0</c:v>
                </c:pt>
                <c:pt idx="7011">
                  <c:v>0</c:v>
                </c:pt>
                <c:pt idx="7012">
                  <c:v>0</c:v>
                </c:pt>
                <c:pt idx="7013">
                  <c:v>0</c:v>
                </c:pt>
                <c:pt idx="7014">
                  <c:v>0</c:v>
                </c:pt>
                <c:pt idx="7015">
                  <c:v>0</c:v>
                </c:pt>
                <c:pt idx="7016">
                  <c:v>0</c:v>
                </c:pt>
                <c:pt idx="7017">
                  <c:v>0</c:v>
                </c:pt>
                <c:pt idx="7018">
                  <c:v>0</c:v>
                </c:pt>
                <c:pt idx="7019">
                  <c:v>0</c:v>
                </c:pt>
                <c:pt idx="7020">
                  <c:v>0</c:v>
                </c:pt>
                <c:pt idx="7021">
                  <c:v>0</c:v>
                </c:pt>
                <c:pt idx="7022">
                  <c:v>0</c:v>
                </c:pt>
                <c:pt idx="7023">
                  <c:v>0</c:v>
                </c:pt>
                <c:pt idx="7024">
                  <c:v>0</c:v>
                </c:pt>
                <c:pt idx="7025">
                  <c:v>0</c:v>
                </c:pt>
                <c:pt idx="7026">
                  <c:v>3</c:v>
                </c:pt>
                <c:pt idx="7027">
                  <c:v>0</c:v>
                </c:pt>
                <c:pt idx="7028">
                  <c:v>0</c:v>
                </c:pt>
                <c:pt idx="7029">
                  <c:v>0</c:v>
                </c:pt>
                <c:pt idx="7030">
                  <c:v>0</c:v>
                </c:pt>
                <c:pt idx="7031">
                  <c:v>0</c:v>
                </c:pt>
                <c:pt idx="7032">
                  <c:v>0</c:v>
                </c:pt>
                <c:pt idx="7033">
                  <c:v>0</c:v>
                </c:pt>
                <c:pt idx="7034">
                  <c:v>0</c:v>
                </c:pt>
                <c:pt idx="7035">
                  <c:v>0</c:v>
                </c:pt>
                <c:pt idx="7036">
                  <c:v>0</c:v>
                </c:pt>
                <c:pt idx="7037">
                  <c:v>0</c:v>
                </c:pt>
                <c:pt idx="7038">
                  <c:v>0</c:v>
                </c:pt>
                <c:pt idx="7039">
                  <c:v>0</c:v>
                </c:pt>
                <c:pt idx="7040">
                  <c:v>0</c:v>
                </c:pt>
                <c:pt idx="7041">
                  <c:v>0</c:v>
                </c:pt>
                <c:pt idx="7042">
                  <c:v>0</c:v>
                </c:pt>
                <c:pt idx="7043">
                  <c:v>0</c:v>
                </c:pt>
                <c:pt idx="7044">
                  <c:v>0</c:v>
                </c:pt>
                <c:pt idx="7045">
                  <c:v>0</c:v>
                </c:pt>
                <c:pt idx="7046">
                  <c:v>0</c:v>
                </c:pt>
                <c:pt idx="7047">
                  <c:v>0</c:v>
                </c:pt>
                <c:pt idx="7048">
                  <c:v>0</c:v>
                </c:pt>
                <c:pt idx="7049">
                  <c:v>0</c:v>
                </c:pt>
                <c:pt idx="7050">
                  <c:v>0</c:v>
                </c:pt>
                <c:pt idx="7051">
                  <c:v>0</c:v>
                </c:pt>
                <c:pt idx="7052">
                  <c:v>0</c:v>
                </c:pt>
                <c:pt idx="7053">
                  <c:v>0</c:v>
                </c:pt>
                <c:pt idx="7054">
                  <c:v>0</c:v>
                </c:pt>
                <c:pt idx="7055">
                  <c:v>0</c:v>
                </c:pt>
                <c:pt idx="7056">
                  <c:v>0</c:v>
                </c:pt>
                <c:pt idx="7057">
                  <c:v>0</c:v>
                </c:pt>
                <c:pt idx="7058">
                  <c:v>0</c:v>
                </c:pt>
                <c:pt idx="7059">
                  <c:v>0</c:v>
                </c:pt>
                <c:pt idx="7060">
                  <c:v>0</c:v>
                </c:pt>
                <c:pt idx="7061">
                  <c:v>0</c:v>
                </c:pt>
                <c:pt idx="7062">
                  <c:v>0</c:v>
                </c:pt>
                <c:pt idx="7063">
                  <c:v>0</c:v>
                </c:pt>
                <c:pt idx="7064">
                  <c:v>0</c:v>
                </c:pt>
                <c:pt idx="7065">
                  <c:v>0</c:v>
                </c:pt>
                <c:pt idx="7066">
                  <c:v>0</c:v>
                </c:pt>
                <c:pt idx="7067">
                  <c:v>0</c:v>
                </c:pt>
                <c:pt idx="7068">
                  <c:v>4</c:v>
                </c:pt>
                <c:pt idx="7069">
                  <c:v>0</c:v>
                </c:pt>
                <c:pt idx="7070">
                  <c:v>0</c:v>
                </c:pt>
                <c:pt idx="7071">
                  <c:v>0</c:v>
                </c:pt>
                <c:pt idx="7072">
                  <c:v>0</c:v>
                </c:pt>
                <c:pt idx="7073">
                  <c:v>0</c:v>
                </c:pt>
                <c:pt idx="7074">
                  <c:v>0</c:v>
                </c:pt>
                <c:pt idx="7075">
                  <c:v>0</c:v>
                </c:pt>
                <c:pt idx="7076">
                  <c:v>0</c:v>
                </c:pt>
                <c:pt idx="7077">
                  <c:v>0</c:v>
                </c:pt>
                <c:pt idx="7078">
                  <c:v>0</c:v>
                </c:pt>
                <c:pt idx="7079">
                  <c:v>0</c:v>
                </c:pt>
                <c:pt idx="7080">
                  <c:v>0</c:v>
                </c:pt>
                <c:pt idx="7081">
                  <c:v>0</c:v>
                </c:pt>
                <c:pt idx="7082">
                  <c:v>0</c:v>
                </c:pt>
                <c:pt idx="7083">
                  <c:v>3</c:v>
                </c:pt>
                <c:pt idx="7084">
                  <c:v>0</c:v>
                </c:pt>
                <c:pt idx="7085">
                  <c:v>1</c:v>
                </c:pt>
                <c:pt idx="7086">
                  <c:v>0</c:v>
                </c:pt>
                <c:pt idx="7087">
                  <c:v>0</c:v>
                </c:pt>
                <c:pt idx="7088">
                  <c:v>0</c:v>
                </c:pt>
                <c:pt idx="7089">
                  <c:v>1</c:v>
                </c:pt>
                <c:pt idx="7090">
                  <c:v>0</c:v>
                </c:pt>
                <c:pt idx="7091">
                  <c:v>0</c:v>
                </c:pt>
                <c:pt idx="7092">
                  <c:v>0</c:v>
                </c:pt>
                <c:pt idx="7093">
                  <c:v>0</c:v>
                </c:pt>
                <c:pt idx="7094">
                  <c:v>0</c:v>
                </c:pt>
                <c:pt idx="7095">
                  <c:v>0</c:v>
                </c:pt>
                <c:pt idx="7096">
                  <c:v>0</c:v>
                </c:pt>
                <c:pt idx="7097">
                  <c:v>0</c:v>
                </c:pt>
                <c:pt idx="7098">
                  <c:v>0</c:v>
                </c:pt>
                <c:pt idx="7099">
                  <c:v>0</c:v>
                </c:pt>
                <c:pt idx="7100">
                  <c:v>0</c:v>
                </c:pt>
                <c:pt idx="7101">
                  <c:v>0</c:v>
                </c:pt>
                <c:pt idx="7102">
                  <c:v>0</c:v>
                </c:pt>
                <c:pt idx="7103">
                  <c:v>0</c:v>
                </c:pt>
                <c:pt idx="7104">
                  <c:v>0</c:v>
                </c:pt>
                <c:pt idx="7105">
                  <c:v>0</c:v>
                </c:pt>
                <c:pt idx="7106">
                  <c:v>0</c:v>
                </c:pt>
                <c:pt idx="7107">
                  <c:v>0</c:v>
                </c:pt>
                <c:pt idx="7108">
                  <c:v>0</c:v>
                </c:pt>
                <c:pt idx="7109">
                  <c:v>0</c:v>
                </c:pt>
                <c:pt idx="7110">
                  <c:v>0</c:v>
                </c:pt>
                <c:pt idx="7111">
                  <c:v>0</c:v>
                </c:pt>
                <c:pt idx="7112">
                  <c:v>0</c:v>
                </c:pt>
                <c:pt idx="7113">
                  <c:v>0</c:v>
                </c:pt>
                <c:pt idx="7114">
                  <c:v>0</c:v>
                </c:pt>
                <c:pt idx="7115">
                  <c:v>0</c:v>
                </c:pt>
                <c:pt idx="7116">
                  <c:v>0</c:v>
                </c:pt>
                <c:pt idx="7117">
                  <c:v>0</c:v>
                </c:pt>
                <c:pt idx="7118">
                  <c:v>0</c:v>
                </c:pt>
                <c:pt idx="7119">
                  <c:v>0</c:v>
                </c:pt>
                <c:pt idx="7120">
                  <c:v>0</c:v>
                </c:pt>
                <c:pt idx="7121">
                  <c:v>0</c:v>
                </c:pt>
                <c:pt idx="7122">
                  <c:v>0</c:v>
                </c:pt>
                <c:pt idx="7123">
                  <c:v>0</c:v>
                </c:pt>
                <c:pt idx="7124">
                  <c:v>0</c:v>
                </c:pt>
                <c:pt idx="7125">
                  <c:v>0</c:v>
                </c:pt>
                <c:pt idx="7126">
                  <c:v>0</c:v>
                </c:pt>
                <c:pt idx="7127">
                  <c:v>0</c:v>
                </c:pt>
                <c:pt idx="7128">
                  <c:v>0</c:v>
                </c:pt>
                <c:pt idx="7129">
                  <c:v>0</c:v>
                </c:pt>
                <c:pt idx="7130">
                  <c:v>0</c:v>
                </c:pt>
                <c:pt idx="7131">
                  <c:v>0</c:v>
                </c:pt>
                <c:pt idx="7132">
                  <c:v>0</c:v>
                </c:pt>
                <c:pt idx="7133">
                  <c:v>0</c:v>
                </c:pt>
                <c:pt idx="7134">
                  <c:v>0</c:v>
                </c:pt>
                <c:pt idx="7135">
                  <c:v>0</c:v>
                </c:pt>
                <c:pt idx="7136">
                  <c:v>0</c:v>
                </c:pt>
                <c:pt idx="7137">
                  <c:v>0</c:v>
                </c:pt>
                <c:pt idx="7138">
                  <c:v>0</c:v>
                </c:pt>
                <c:pt idx="7139">
                  <c:v>0</c:v>
                </c:pt>
                <c:pt idx="7140">
                  <c:v>0</c:v>
                </c:pt>
                <c:pt idx="7141">
                  <c:v>0</c:v>
                </c:pt>
                <c:pt idx="7142">
                  <c:v>0</c:v>
                </c:pt>
                <c:pt idx="7143">
                  <c:v>0</c:v>
                </c:pt>
                <c:pt idx="7144">
                  <c:v>0</c:v>
                </c:pt>
                <c:pt idx="7145">
                  <c:v>0</c:v>
                </c:pt>
                <c:pt idx="7146">
                  <c:v>0</c:v>
                </c:pt>
                <c:pt idx="7147">
                  <c:v>0</c:v>
                </c:pt>
                <c:pt idx="7148">
                  <c:v>0</c:v>
                </c:pt>
                <c:pt idx="7149">
                  <c:v>2</c:v>
                </c:pt>
                <c:pt idx="7150">
                  <c:v>0</c:v>
                </c:pt>
                <c:pt idx="7151">
                  <c:v>0</c:v>
                </c:pt>
                <c:pt idx="7152">
                  <c:v>0</c:v>
                </c:pt>
                <c:pt idx="7153">
                  <c:v>0</c:v>
                </c:pt>
                <c:pt idx="7154">
                  <c:v>0</c:v>
                </c:pt>
                <c:pt idx="7155">
                  <c:v>0</c:v>
                </c:pt>
                <c:pt idx="7156">
                  <c:v>0</c:v>
                </c:pt>
                <c:pt idx="7157">
                  <c:v>0</c:v>
                </c:pt>
                <c:pt idx="7158">
                  <c:v>0</c:v>
                </c:pt>
                <c:pt idx="7159">
                  <c:v>0</c:v>
                </c:pt>
                <c:pt idx="7160">
                  <c:v>0</c:v>
                </c:pt>
                <c:pt idx="7161">
                  <c:v>0</c:v>
                </c:pt>
                <c:pt idx="7162">
                  <c:v>0</c:v>
                </c:pt>
                <c:pt idx="7163">
                  <c:v>0</c:v>
                </c:pt>
                <c:pt idx="7164">
                  <c:v>0</c:v>
                </c:pt>
                <c:pt idx="7165">
                  <c:v>0</c:v>
                </c:pt>
                <c:pt idx="7166">
                  <c:v>0</c:v>
                </c:pt>
                <c:pt idx="7167">
                  <c:v>0</c:v>
                </c:pt>
                <c:pt idx="7168">
                  <c:v>0</c:v>
                </c:pt>
                <c:pt idx="7169">
                  <c:v>0</c:v>
                </c:pt>
                <c:pt idx="7170">
                  <c:v>0</c:v>
                </c:pt>
                <c:pt idx="7171">
                  <c:v>0</c:v>
                </c:pt>
                <c:pt idx="7172">
                  <c:v>0</c:v>
                </c:pt>
                <c:pt idx="7173">
                  <c:v>0</c:v>
                </c:pt>
                <c:pt idx="7174">
                  <c:v>0</c:v>
                </c:pt>
                <c:pt idx="7175">
                  <c:v>0</c:v>
                </c:pt>
                <c:pt idx="7176">
                  <c:v>0</c:v>
                </c:pt>
                <c:pt idx="7177">
                  <c:v>0</c:v>
                </c:pt>
                <c:pt idx="7178">
                  <c:v>0</c:v>
                </c:pt>
                <c:pt idx="7179">
                  <c:v>0</c:v>
                </c:pt>
                <c:pt idx="7180">
                  <c:v>0</c:v>
                </c:pt>
                <c:pt idx="7181">
                  <c:v>0</c:v>
                </c:pt>
                <c:pt idx="7182">
                  <c:v>0</c:v>
                </c:pt>
                <c:pt idx="7183">
                  <c:v>0</c:v>
                </c:pt>
                <c:pt idx="7184">
                  <c:v>0</c:v>
                </c:pt>
                <c:pt idx="7185">
                  <c:v>0</c:v>
                </c:pt>
                <c:pt idx="7186">
                  <c:v>0</c:v>
                </c:pt>
                <c:pt idx="7187">
                  <c:v>0</c:v>
                </c:pt>
                <c:pt idx="7188">
                  <c:v>0</c:v>
                </c:pt>
                <c:pt idx="7189">
                  <c:v>4</c:v>
                </c:pt>
                <c:pt idx="7190">
                  <c:v>5</c:v>
                </c:pt>
                <c:pt idx="7191">
                  <c:v>7</c:v>
                </c:pt>
                <c:pt idx="7192">
                  <c:v>0</c:v>
                </c:pt>
                <c:pt idx="7193">
                  <c:v>0</c:v>
                </c:pt>
                <c:pt idx="7194">
                  <c:v>0</c:v>
                </c:pt>
                <c:pt idx="7195">
                  <c:v>1</c:v>
                </c:pt>
                <c:pt idx="7196">
                  <c:v>0</c:v>
                </c:pt>
                <c:pt idx="7197">
                  <c:v>0</c:v>
                </c:pt>
                <c:pt idx="7198">
                  <c:v>0</c:v>
                </c:pt>
                <c:pt idx="7199">
                  <c:v>0</c:v>
                </c:pt>
                <c:pt idx="7200">
                  <c:v>1</c:v>
                </c:pt>
                <c:pt idx="7201">
                  <c:v>0</c:v>
                </c:pt>
                <c:pt idx="7202">
                  <c:v>0</c:v>
                </c:pt>
                <c:pt idx="7203">
                  <c:v>0</c:v>
                </c:pt>
                <c:pt idx="7204">
                  <c:v>0</c:v>
                </c:pt>
                <c:pt idx="7205">
                  <c:v>0</c:v>
                </c:pt>
                <c:pt idx="7206">
                  <c:v>0</c:v>
                </c:pt>
                <c:pt idx="7207">
                  <c:v>0</c:v>
                </c:pt>
                <c:pt idx="7208">
                  <c:v>0</c:v>
                </c:pt>
                <c:pt idx="7209">
                  <c:v>0</c:v>
                </c:pt>
                <c:pt idx="7210">
                  <c:v>0</c:v>
                </c:pt>
                <c:pt idx="7211">
                  <c:v>0</c:v>
                </c:pt>
                <c:pt idx="7212">
                  <c:v>0</c:v>
                </c:pt>
                <c:pt idx="7213">
                  <c:v>0</c:v>
                </c:pt>
                <c:pt idx="7214">
                  <c:v>1</c:v>
                </c:pt>
                <c:pt idx="7215">
                  <c:v>0</c:v>
                </c:pt>
                <c:pt idx="7216">
                  <c:v>0</c:v>
                </c:pt>
                <c:pt idx="7217">
                  <c:v>0</c:v>
                </c:pt>
                <c:pt idx="7218">
                  <c:v>1</c:v>
                </c:pt>
                <c:pt idx="7219">
                  <c:v>0</c:v>
                </c:pt>
                <c:pt idx="7220">
                  <c:v>0</c:v>
                </c:pt>
                <c:pt idx="7221">
                  <c:v>0</c:v>
                </c:pt>
                <c:pt idx="7222">
                  <c:v>0</c:v>
                </c:pt>
                <c:pt idx="7223">
                  <c:v>0</c:v>
                </c:pt>
                <c:pt idx="7224">
                  <c:v>0</c:v>
                </c:pt>
                <c:pt idx="7225">
                  <c:v>0</c:v>
                </c:pt>
                <c:pt idx="7226">
                  <c:v>0</c:v>
                </c:pt>
                <c:pt idx="7227">
                  <c:v>0</c:v>
                </c:pt>
                <c:pt idx="7228">
                  <c:v>0</c:v>
                </c:pt>
                <c:pt idx="7229">
                  <c:v>0</c:v>
                </c:pt>
                <c:pt idx="7230">
                  <c:v>0</c:v>
                </c:pt>
                <c:pt idx="7231">
                  <c:v>0</c:v>
                </c:pt>
                <c:pt idx="7232">
                  <c:v>0</c:v>
                </c:pt>
                <c:pt idx="7233">
                  <c:v>0</c:v>
                </c:pt>
                <c:pt idx="7234">
                  <c:v>0</c:v>
                </c:pt>
                <c:pt idx="7235">
                  <c:v>0</c:v>
                </c:pt>
                <c:pt idx="7236">
                  <c:v>0</c:v>
                </c:pt>
                <c:pt idx="7237">
                  <c:v>0</c:v>
                </c:pt>
                <c:pt idx="7238">
                  <c:v>0</c:v>
                </c:pt>
                <c:pt idx="7239">
                  <c:v>0</c:v>
                </c:pt>
                <c:pt idx="7240">
                  <c:v>0</c:v>
                </c:pt>
                <c:pt idx="7241">
                  <c:v>0</c:v>
                </c:pt>
                <c:pt idx="7242">
                  <c:v>0</c:v>
                </c:pt>
                <c:pt idx="7243">
                  <c:v>0</c:v>
                </c:pt>
                <c:pt idx="7244">
                  <c:v>0</c:v>
                </c:pt>
                <c:pt idx="7245">
                  <c:v>0</c:v>
                </c:pt>
                <c:pt idx="7246">
                  <c:v>0</c:v>
                </c:pt>
                <c:pt idx="7247">
                  <c:v>0</c:v>
                </c:pt>
                <c:pt idx="7248">
                  <c:v>0</c:v>
                </c:pt>
                <c:pt idx="7249">
                  <c:v>0</c:v>
                </c:pt>
                <c:pt idx="7250">
                  <c:v>0</c:v>
                </c:pt>
                <c:pt idx="7251">
                  <c:v>0</c:v>
                </c:pt>
                <c:pt idx="7252">
                  <c:v>0</c:v>
                </c:pt>
                <c:pt idx="7253">
                  <c:v>0</c:v>
                </c:pt>
                <c:pt idx="7254">
                  <c:v>0</c:v>
                </c:pt>
                <c:pt idx="7255">
                  <c:v>0</c:v>
                </c:pt>
                <c:pt idx="7256">
                  <c:v>0</c:v>
                </c:pt>
                <c:pt idx="7257">
                  <c:v>0</c:v>
                </c:pt>
                <c:pt idx="7258">
                  <c:v>0</c:v>
                </c:pt>
                <c:pt idx="7259">
                  <c:v>0</c:v>
                </c:pt>
                <c:pt idx="7260">
                  <c:v>0</c:v>
                </c:pt>
                <c:pt idx="7261">
                  <c:v>0</c:v>
                </c:pt>
                <c:pt idx="7262">
                  <c:v>0</c:v>
                </c:pt>
                <c:pt idx="7263">
                  <c:v>0</c:v>
                </c:pt>
                <c:pt idx="7264">
                  <c:v>0</c:v>
                </c:pt>
                <c:pt idx="7265">
                  <c:v>0</c:v>
                </c:pt>
                <c:pt idx="7266">
                  <c:v>2</c:v>
                </c:pt>
                <c:pt idx="7267">
                  <c:v>0</c:v>
                </c:pt>
                <c:pt idx="7268">
                  <c:v>0</c:v>
                </c:pt>
                <c:pt idx="7269">
                  <c:v>0</c:v>
                </c:pt>
                <c:pt idx="7270">
                  <c:v>0</c:v>
                </c:pt>
                <c:pt idx="7271">
                  <c:v>0</c:v>
                </c:pt>
                <c:pt idx="7272">
                  <c:v>0</c:v>
                </c:pt>
                <c:pt idx="7273">
                  <c:v>0</c:v>
                </c:pt>
                <c:pt idx="7274">
                  <c:v>0</c:v>
                </c:pt>
                <c:pt idx="7275">
                  <c:v>0</c:v>
                </c:pt>
                <c:pt idx="7276">
                  <c:v>0</c:v>
                </c:pt>
                <c:pt idx="7277">
                  <c:v>0</c:v>
                </c:pt>
                <c:pt idx="7278">
                  <c:v>0</c:v>
                </c:pt>
                <c:pt idx="7279">
                  <c:v>0</c:v>
                </c:pt>
                <c:pt idx="7280">
                  <c:v>0</c:v>
                </c:pt>
                <c:pt idx="7281">
                  <c:v>1</c:v>
                </c:pt>
                <c:pt idx="7282">
                  <c:v>0</c:v>
                </c:pt>
                <c:pt idx="7283">
                  <c:v>0</c:v>
                </c:pt>
                <c:pt idx="7284">
                  <c:v>0</c:v>
                </c:pt>
                <c:pt idx="7285">
                  <c:v>0</c:v>
                </c:pt>
                <c:pt idx="7286">
                  <c:v>0</c:v>
                </c:pt>
                <c:pt idx="7287">
                  <c:v>0</c:v>
                </c:pt>
                <c:pt idx="7288">
                  <c:v>0</c:v>
                </c:pt>
                <c:pt idx="7289">
                  <c:v>0</c:v>
                </c:pt>
                <c:pt idx="7290">
                  <c:v>0</c:v>
                </c:pt>
                <c:pt idx="7291">
                  <c:v>0</c:v>
                </c:pt>
                <c:pt idx="7292">
                  <c:v>0</c:v>
                </c:pt>
                <c:pt idx="7293">
                  <c:v>0</c:v>
                </c:pt>
                <c:pt idx="7294">
                  <c:v>0</c:v>
                </c:pt>
                <c:pt idx="7295">
                  <c:v>0</c:v>
                </c:pt>
                <c:pt idx="7296">
                  <c:v>0</c:v>
                </c:pt>
                <c:pt idx="7297">
                  <c:v>5</c:v>
                </c:pt>
                <c:pt idx="7298">
                  <c:v>4</c:v>
                </c:pt>
                <c:pt idx="7299">
                  <c:v>5</c:v>
                </c:pt>
                <c:pt idx="7300">
                  <c:v>6</c:v>
                </c:pt>
                <c:pt idx="7301">
                  <c:v>0</c:v>
                </c:pt>
                <c:pt idx="7302">
                  <c:v>0</c:v>
                </c:pt>
                <c:pt idx="7303">
                  <c:v>0</c:v>
                </c:pt>
                <c:pt idx="7304">
                  <c:v>0</c:v>
                </c:pt>
                <c:pt idx="7305">
                  <c:v>0</c:v>
                </c:pt>
                <c:pt idx="7306">
                  <c:v>0</c:v>
                </c:pt>
                <c:pt idx="7307">
                  <c:v>0</c:v>
                </c:pt>
                <c:pt idx="7308">
                  <c:v>0</c:v>
                </c:pt>
                <c:pt idx="7309">
                  <c:v>0</c:v>
                </c:pt>
                <c:pt idx="7310">
                  <c:v>0</c:v>
                </c:pt>
                <c:pt idx="7311">
                  <c:v>4</c:v>
                </c:pt>
                <c:pt idx="7312">
                  <c:v>0</c:v>
                </c:pt>
                <c:pt idx="7313">
                  <c:v>0</c:v>
                </c:pt>
                <c:pt idx="7314">
                  <c:v>0</c:v>
                </c:pt>
                <c:pt idx="7315">
                  <c:v>0</c:v>
                </c:pt>
                <c:pt idx="7316">
                  <c:v>0</c:v>
                </c:pt>
                <c:pt idx="7317">
                  <c:v>0</c:v>
                </c:pt>
                <c:pt idx="7318">
                  <c:v>0</c:v>
                </c:pt>
                <c:pt idx="7319">
                  <c:v>0</c:v>
                </c:pt>
                <c:pt idx="7320">
                  <c:v>0</c:v>
                </c:pt>
                <c:pt idx="7321">
                  <c:v>0</c:v>
                </c:pt>
                <c:pt idx="7322">
                  <c:v>0</c:v>
                </c:pt>
                <c:pt idx="7323">
                  <c:v>0</c:v>
                </c:pt>
                <c:pt idx="7324">
                  <c:v>0</c:v>
                </c:pt>
                <c:pt idx="7325">
                  <c:v>0</c:v>
                </c:pt>
                <c:pt idx="7326">
                  <c:v>2</c:v>
                </c:pt>
                <c:pt idx="7327">
                  <c:v>2</c:v>
                </c:pt>
                <c:pt idx="7328">
                  <c:v>0</c:v>
                </c:pt>
                <c:pt idx="7329">
                  <c:v>5</c:v>
                </c:pt>
                <c:pt idx="7330">
                  <c:v>0</c:v>
                </c:pt>
                <c:pt idx="7331">
                  <c:v>0</c:v>
                </c:pt>
                <c:pt idx="7332">
                  <c:v>1</c:v>
                </c:pt>
                <c:pt idx="7333">
                  <c:v>0</c:v>
                </c:pt>
                <c:pt idx="7334">
                  <c:v>3</c:v>
                </c:pt>
                <c:pt idx="7335">
                  <c:v>0</c:v>
                </c:pt>
                <c:pt idx="7336">
                  <c:v>0</c:v>
                </c:pt>
                <c:pt idx="7337">
                  <c:v>1</c:v>
                </c:pt>
                <c:pt idx="7338">
                  <c:v>0</c:v>
                </c:pt>
                <c:pt idx="7339">
                  <c:v>0</c:v>
                </c:pt>
                <c:pt idx="7340">
                  <c:v>0</c:v>
                </c:pt>
                <c:pt idx="7341">
                  <c:v>0</c:v>
                </c:pt>
                <c:pt idx="7342">
                  <c:v>1</c:v>
                </c:pt>
                <c:pt idx="7343">
                  <c:v>0</c:v>
                </c:pt>
                <c:pt idx="7344">
                  <c:v>0</c:v>
                </c:pt>
                <c:pt idx="7345">
                  <c:v>0</c:v>
                </c:pt>
                <c:pt idx="7346">
                  <c:v>0</c:v>
                </c:pt>
                <c:pt idx="7347">
                  <c:v>0</c:v>
                </c:pt>
                <c:pt idx="7348">
                  <c:v>0</c:v>
                </c:pt>
                <c:pt idx="7349">
                  <c:v>0</c:v>
                </c:pt>
                <c:pt idx="7350">
                  <c:v>0</c:v>
                </c:pt>
                <c:pt idx="7351">
                  <c:v>0</c:v>
                </c:pt>
                <c:pt idx="7352">
                  <c:v>0</c:v>
                </c:pt>
                <c:pt idx="7353">
                  <c:v>0</c:v>
                </c:pt>
                <c:pt idx="7354">
                  <c:v>0</c:v>
                </c:pt>
                <c:pt idx="7355">
                  <c:v>0</c:v>
                </c:pt>
                <c:pt idx="7356">
                  <c:v>1</c:v>
                </c:pt>
                <c:pt idx="7357">
                  <c:v>1</c:v>
                </c:pt>
                <c:pt idx="7358">
                  <c:v>0</c:v>
                </c:pt>
                <c:pt idx="7359">
                  <c:v>0</c:v>
                </c:pt>
                <c:pt idx="7360">
                  <c:v>0</c:v>
                </c:pt>
                <c:pt idx="7361">
                  <c:v>0</c:v>
                </c:pt>
                <c:pt idx="7362">
                  <c:v>0</c:v>
                </c:pt>
                <c:pt idx="7363">
                  <c:v>0</c:v>
                </c:pt>
                <c:pt idx="7364">
                  <c:v>0</c:v>
                </c:pt>
                <c:pt idx="7365">
                  <c:v>0</c:v>
                </c:pt>
                <c:pt idx="7366">
                  <c:v>0</c:v>
                </c:pt>
                <c:pt idx="7367">
                  <c:v>0</c:v>
                </c:pt>
                <c:pt idx="7368">
                  <c:v>0</c:v>
                </c:pt>
                <c:pt idx="7369">
                  <c:v>2</c:v>
                </c:pt>
                <c:pt idx="7370">
                  <c:v>0</c:v>
                </c:pt>
                <c:pt idx="7371">
                  <c:v>0</c:v>
                </c:pt>
                <c:pt idx="7372">
                  <c:v>2</c:v>
                </c:pt>
                <c:pt idx="7373">
                  <c:v>0</c:v>
                </c:pt>
                <c:pt idx="7374">
                  <c:v>0</c:v>
                </c:pt>
                <c:pt idx="7375">
                  <c:v>1</c:v>
                </c:pt>
                <c:pt idx="7376">
                  <c:v>2</c:v>
                </c:pt>
                <c:pt idx="7377">
                  <c:v>5</c:v>
                </c:pt>
                <c:pt idx="7378">
                  <c:v>2</c:v>
                </c:pt>
                <c:pt idx="7379">
                  <c:v>9</c:v>
                </c:pt>
                <c:pt idx="7380">
                  <c:v>0</c:v>
                </c:pt>
                <c:pt idx="7381">
                  <c:v>0</c:v>
                </c:pt>
                <c:pt idx="7382">
                  <c:v>3</c:v>
                </c:pt>
                <c:pt idx="7383">
                  <c:v>0</c:v>
                </c:pt>
                <c:pt idx="7384">
                  <c:v>0</c:v>
                </c:pt>
                <c:pt idx="7385">
                  <c:v>0</c:v>
                </c:pt>
                <c:pt idx="7386">
                  <c:v>0</c:v>
                </c:pt>
                <c:pt idx="7387">
                  <c:v>0</c:v>
                </c:pt>
                <c:pt idx="7388">
                  <c:v>0</c:v>
                </c:pt>
                <c:pt idx="7389">
                  <c:v>0</c:v>
                </c:pt>
                <c:pt idx="7390">
                  <c:v>3</c:v>
                </c:pt>
                <c:pt idx="7391">
                  <c:v>3</c:v>
                </c:pt>
                <c:pt idx="7392">
                  <c:v>2</c:v>
                </c:pt>
                <c:pt idx="7393">
                  <c:v>2</c:v>
                </c:pt>
                <c:pt idx="7394">
                  <c:v>1</c:v>
                </c:pt>
                <c:pt idx="7395">
                  <c:v>1</c:v>
                </c:pt>
                <c:pt idx="7396">
                  <c:v>8</c:v>
                </c:pt>
                <c:pt idx="7397">
                  <c:v>1</c:v>
                </c:pt>
                <c:pt idx="7398">
                  <c:v>0</c:v>
                </c:pt>
                <c:pt idx="7399">
                  <c:v>0</c:v>
                </c:pt>
                <c:pt idx="7400">
                  <c:v>0</c:v>
                </c:pt>
                <c:pt idx="7401">
                  <c:v>0</c:v>
                </c:pt>
                <c:pt idx="7402">
                  <c:v>0</c:v>
                </c:pt>
                <c:pt idx="7403">
                  <c:v>1</c:v>
                </c:pt>
                <c:pt idx="7404">
                  <c:v>1</c:v>
                </c:pt>
                <c:pt idx="7405">
                  <c:v>3</c:v>
                </c:pt>
                <c:pt idx="7406">
                  <c:v>0</c:v>
                </c:pt>
                <c:pt idx="7407">
                  <c:v>3</c:v>
                </c:pt>
                <c:pt idx="7408">
                  <c:v>1</c:v>
                </c:pt>
                <c:pt idx="7409">
                  <c:v>1</c:v>
                </c:pt>
                <c:pt idx="7410">
                  <c:v>6</c:v>
                </c:pt>
                <c:pt idx="7411">
                  <c:v>3</c:v>
                </c:pt>
                <c:pt idx="7412">
                  <c:v>0</c:v>
                </c:pt>
                <c:pt idx="7413">
                  <c:v>0</c:v>
                </c:pt>
                <c:pt idx="7414">
                  <c:v>0</c:v>
                </c:pt>
                <c:pt idx="7415">
                  <c:v>2</c:v>
                </c:pt>
                <c:pt idx="7416">
                  <c:v>0</c:v>
                </c:pt>
                <c:pt idx="7417">
                  <c:v>0</c:v>
                </c:pt>
                <c:pt idx="7418">
                  <c:v>0</c:v>
                </c:pt>
                <c:pt idx="7419">
                  <c:v>0</c:v>
                </c:pt>
                <c:pt idx="7420">
                  <c:v>0</c:v>
                </c:pt>
                <c:pt idx="7421">
                  <c:v>0</c:v>
                </c:pt>
                <c:pt idx="7422">
                  <c:v>0</c:v>
                </c:pt>
                <c:pt idx="7423">
                  <c:v>15</c:v>
                </c:pt>
                <c:pt idx="7424">
                  <c:v>0</c:v>
                </c:pt>
                <c:pt idx="7425">
                  <c:v>0</c:v>
                </c:pt>
                <c:pt idx="7426">
                  <c:v>0</c:v>
                </c:pt>
                <c:pt idx="7427">
                  <c:v>0</c:v>
                </c:pt>
                <c:pt idx="7428">
                  <c:v>0</c:v>
                </c:pt>
                <c:pt idx="7429">
                  <c:v>0</c:v>
                </c:pt>
                <c:pt idx="7430">
                  <c:v>0</c:v>
                </c:pt>
                <c:pt idx="7431">
                  <c:v>0</c:v>
                </c:pt>
                <c:pt idx="7432">
                  <c:v>0</c:v>
                </c:pt>
                <c:pt idx="7433">
                  <c:v>0</c:v>
                </c:pt>
                <c:pt idx="7434">
                  <c:v>1</c:v>
                </c:pt>
                <c:pt idx="7435">
                  <c:v>0</c:v>
                </c:pt>
                <c:pt idx="7436">
                  <c:v>0</c:v>
                </c:pt>
                <c:pt idx="7437">
                  <c:v>0</c:v>
                </c:pt>
                <c:pt idx="7438">
                  <c:v>7</c:v>
                </c:pt>
                <c:pt idx="7439">
                  <c:v>0</c:v>
                </c:pt>
                <c:pt idx="7440">
                  <c:v>0</c:v>
                </c:pt>
                <c:pt idx="7441">
                  <c:v>0</c:v>
                </c:pt>
                <c:pt idx="7442">
                  <c:v>0</c:v>
                </c:pt>
                <c:pt idx="7443">
                  <c:v>0</c:v>
                </c:pt>
                <c:pt idx="7444">
                  <c:v>1</c:v>
                </c:pt>
                <c:pt idx="7445">
                  <c:v>4</c:v>
                </c:pt>
                <c:pt idx="7446">
                  <c:v>2</c:v>
                </c:pt>
                <c:pt idx="7447">
                  <c:v>4</c:v>
                </c:pt>
                <c:pt idx="7448">
                  <c:v>4</c:v>
                </c:pt>
                <c:pt idx="7449">
                  <c:v>2</c:v>
                </c:pt>
                <c:pt idx="7450">
                  <c:v>0</c:v>
                </c:pt>
                <c:pt idx="7451">
                  <c:v>5</c:v>
                </c:pt>
                <c:pt idx="7452">
                  <c:v>1</c:v>
                </c:pt>
                <c:pt idx="7453">
                  <c:v>4</c:v>
                </c:pt>
                <c:pt idx="7454">
                  <c:v>2</c:v>
                </c:pt>
                <c:pt idx="7455">
                  <c:v>0</c:v>
                </c:pt>
                <c:pt idx="7456">
                  <c:v>5</c:v>
                </c:pt>
                <c:pt idx="7457">
                  <c:v>3</c:v>
                </c:pt>
                <c:pt idx="7458">
                  <c:v>5</c:v>
                </c:pt>
                <c:pt idx="7459">
                  <c:v>0</c:v>
                </c:pt>
                <c:pt idx="7460">
                  <c:v>3</c:v>
                </c:pt>
                <c:pt idx="7461">
                  <c:v>0</c:v>
                </c:pt>
                <c:pt idx="7462">
                  <c:v>6</c:v>
                </c:pt>
                <c:pt idx="7463">
                  <c:v>5</c:v>
                </c:pt>
                <c:pt idx="7464">
                  <c:v>1</c:v>
                </c:pt>
                <c:pt idx="7465">
                  <c:v>7</c:v>
                </c:pt>
                <c:pt idx="7466">
                  <c:v>0</c:v>
                </c:pt>
                <c:pt idx="7467">
                  <c:v>0</c:v>
                </c:pt>
                <c:pt idx="7468">
                  <c:v>2</c:v>
                </c:pt>
                <c:pt idx="7469">
                  <c:v>0</c:v>
                </c:pt>
                <c:pt idx="7470">
                  <c:v>0</c:v>
                </c:pt>
                <c:pt idx="7471">
                  <c:v>0</c:v>
                </c:pt>
                <c:pt idx="7472">
                  <c:v>0</c:v>
                </c:pt>
                <c:pt idx="7473">
                  <c:v>0</c:v>
                </c:pt>
                <c:pt idx="7474">
                  <c:v>0</c:v>
                </c:pt>
                <c:pt idx="7475">
                  <c:v>0</c:v>
                </c:pt>
                <c:pt idx="7476">
                  <c:v>0</c:v>
                </c:pt>
                <c:pt idx="7477">
                  <c:v>0</c:v>
                </c:pt>
                <c:pt idx="7478">
                  <c:v>0</c:v>
                </c:pt>
                <c:pt idx="7479">
                  <c:v>0</c:v>
                </c:pt>
                <c:pt idx="7480">
                  <c:v>0</c:v>
                </c:pt>
                <c:pt idx="7481">
                  <c:v>0</c:v>
                </c:pt>
                <c:pt idx="7482">
                  <c:v>0</c:v>
                </c:pt>
                <c:pt idx="7483">
                  <c:v>0</c:v>
                </c:pt>
                <c:pt idx="7484">
                  <c:v>0</c:v>
                </c:pt>
                <c:pt idx="7485">
                  <c:v>0</c:v>
                </c:pt>
                <c:pt idx="7486">
                  <c:v>0</c:v>
                </c:pt>
                <c:pt idx="7487">
                  <c:v>0</c:v>
                </c:pt>
                <c:pt idx="7488">
                  <c:v>0</c:v>
                </c:pt>
                <c:pt idx="7489">
                  <c:v>0</c:v>
                </c:pt>
                <c:pt idx="7490">
                  <c:v>0</c:v>
                </c:pt>
                <c:pt idx="7491">
                  <c:v>1</c:v>
                </c:pt>
                <c:pt idx="7492">
                  <c:v>0</c:v>
                </c:pt>
                <c:pt idx="7493">
                  <c:v>18</c:v>
                </c:pt>
                <c:pt idx="7494">
                  <c:v>0</c:v>
                </c:pt>
                <c:pt idx="7495">
                  <c:v>0</c:v>
                </c:pt>
                <c:pt idx="7496">
                  <c:v>0</c:v>
                </c:pt>
                <c:pt idx="7497">
                  <c:v>0</c:v>
                </c:pt>
                <c:pt idx="7498">
                  <c:v>0</c:v>
                </c:pt>
                <c:pt idx="7499">
                  <c:v>0</c:v>
                </c:pt>
                <c:pt idx="7500">
                  <c:v>0</c:v>
                </c:pt>
                <c:pt idx="7501">
                  <c:v>0</c:v>
                </c:pt>
                <c:pt idx="7502">
                  <c:v>0</c:v>
                </c:pt>
                <c:pt idx="7503">
                  <c:v>0</c:v>
                </c:pt>
                <c:pt idx="7504">
                  <c:v>0</c:v>
                </c:pt>
                <c:pt idx="7505">
                  <c:v>0</c:v>
                </c:pt>
                <c:pt idx="7506">
                  <c:v>0</c:v>
                </c:pt>
                <c:pt idx="7507">
                  <c:v>0</c:v>
                </c:pt>
                <c:pt idx="7508">
                  <c:v>0</c:v>
                </c:pt>
                <c:pt idx="7509">
                  <c:v>1</c:v>
                </c:pt>
                <c:pt idx="7510">
                  <c:v>0</c:v>
                </c:pt>
                <c:pt idx="7511">
                  <c:v>0</c:v>
                </c:pt>
                <c:pt idx="7512">
                  <c:v>0</c:v>
                </c:pt>
                <c:pt idx="7513">
                  <c:v>0</c:v>
                </c:pt>
                <c:pt idx="7514">
                  <c:v>0</c:v>
                </c:pt>
                <c:pt idx="7515">
                  <c:v>0</c:v>
                </c:pt>
                <c:pt idx="7516">
                  <c:v>0</c:v>
                </c:pt>
                <c:pt idx="7517">
                  <c:v>0</c:v>
                </c:pt>
                <c:pt idx="7518">
                  <c:v>0</c:v>
                </c:pt>
                <c:pt idx="7519">
                  <c:v>0</c:v>
                </c:pt>
                <c:pt idx="7520">
                  <c:v>0</c:v>
                </c:pt>
                <c:pt idx="7521">
                  <c:v>0</c:v>
                </c:pt>
                <c:pt idx="7522">
                  <c:v>0</c:v>
                </c:pt>
                <c:pt idx="7523">
                  <c:v>0</c:v>
                </c:pt>
                <c:pt idx="7524">
                  <c:v>0</c:v>
                </c:pt>
                <c:pt idx="7525">
                  <c:v>0</c:v>
                </c:pt>
                <c:pt idx="7526">
                  <c:v>0</c:v>
                </c:pt>
                <c:pt idx="7527">
                  <c:v>0</c:v>
                </c:pt>
                <c:pt idx="7528">
                  <c:v>0</c:v>
                </c:pt>
                <c:pt idx="7529">
                  <c:v>0</c:v>
                </c:pt>
                <c:pt idx="7530">
                  <c:v>0</c:v>
                </c:pt>
                <c:pt idx="7531">
                  <c:v>0</c:v>
                </c:pt>
                <c:pt idx="7532">
                  <c:v>0</c:v>
                </c:pt>
                <c:pt idx="7533">
                  <c:v>0</c:v>
                </c:pt>
                <c:pt idx="7534">
                  <c:v>0</c:v>
                </c:pt>
                <c:pt idx="7535">
                  <c:v>0</c:v>
                </c:pt>
                <c:pt idx="7536">
                  <c:v>2</c:v>
                </c:pt>
                <c:pt idx="7537">
                  <c:v>0</c:v>
                </c:pt>
                <c:pt idx="7538">
                  <c:v>0</c:v>
                </c:pt>
                <c:pt idx="7539">
                  <c:v>1</c:v>
                </c:pt>
                <c:pt idx="7540">
                  <c:v>0</c:v>
                </c:pt>
                <c:pt idx="7541">
                  <c:v>0</c:v>
                </c:pt>
                <c:pt idx="7542">
                  <c:v>0</c:v>
                </c:pt>
                <c:pt idx="7543">
                  <c:v>0</c:v>
                </c:pt>
                <c:pt idx="7544">
                  <c:v>0</c:v>
                </c:pt>
                <c:pt idx="7545">
                  <c:v>0</c:v>
                </c:pt>
                <c:pt idx="7546">
                  <c:v>0</c:v>
                </c:pt>
                <c:pt idx="7547">
                  <c:v>0</c:v>
                </c:pt>
                <c:pt idx="7548">
                  <c:v>0</c:v>
                </c:pt>
                <c:pt idx="7549">
                  <c:v>0</c:v>
                </c:pt>
                <c:pt idx="7550">
                  <c:v>0</c:v>
                </c:pt>
                <c:pt idx="7551">
                  <c:v>0</c:v>
                </c:pt>
                <c:pt idx="7552">
                  <c:v>0</c:v>
                </c:pt>
                <c:pt idx="7553">
                  <c:v>0</c:v>
                </c:pt>
                <c:pt idx="7554">
                  <c:v>0</c:v>
                </c:pt>
                <c:pt idx="7555">
                  <c:v>0</c:v>
                </c:pt>
                <c:pt idx="7556">
                  <c:v>0</c:v>
                </c:pt>
                <c:pt idx="7557">
                  <c:v>0</c:v>
                </c:pt>
                <c:pt idx="7558">
                  <c:v>0</c:v>
                </c:pt>
                <c:pt idx="7559">
                  <c:v>0</c:v>
                </c:pt>
                <c:pt idx="7560">
                  <c:v>0</c:v>
                </c:pt>
                <c:pt idx="7561">
                  <c:v>0</c:v>
                </c:pt>
                <c:pt idx="7562">
                  <c:v>0</c:v>
                </c:pt>
                <c:pt idx="7563">
                  <c:v>0</c:v>
                </c:pt>
                <c:pt idx="7564">
                  <c:v>0</c:v>
                </c:pt>
                <c:pt idx="7565">
                  <c:v>0</c:v>
                </c:pt>
                <c:pt idx="7566">
                  <c:v>0</c:v>
                </c:pt>
                <c:pt idx="7567">
                  <c:v>1</c:v>
                </c:pt>
                <c:pt idx="7568">
                  <c:v>0</c:v>
                </c:pt>
                <c:pt idx="7569">
                  <c:v>0</c:v>
                </c:pt>
                <c:pt idx="7570">
                  <c:v>0</c:v>
                </c:pt>
                <c:pt idx="7571">
                  <c:v>0</c:v>
                </c:pt>
                <c:pt idx="7572">
                  <c:v>0</c:v>
                </c:pt>
                <c:pt idx="7573">
                  <c:v>0</c:v>
                </c:pt>
                <c:pt idx="7574">
                  <c:v>0</c:v>
                </c:pt>
                <c:pt idx="7575">
                  <c:v>0</c:v>
                </c:pt>
                <c:pt idx="7576">
                  <c:v>0</c:v>
                </c:pt>
                <c:pt idx="7577">
                  <c:v>0</c:v>
                </c:pt>
                <c:pt idx="7578">
                  <c:v>0</c:v>
                </c:pt>
                <c:pt idx="7579">
                  <c:v>0</c:v>
                </c:pt>
                <c:pt idx="7580">
                  <c:v>0</c:v>
                </c:pt>
                <c:pt idx="7581">
                  <c:v>0</c:v>
                </c:pt>
                <c:pt idx="7582">
                  <c:v>0</c:v>
                </c:pt>
                <c:pt idx="7583">
                  <c:v>0</c:v>
                </c:pt>
                <c:pt idx="7584">
                  <c:v>0</c:v>
                </c:pt>
                <c:pt idx="7585">
                  <c:v>0</c:v>
                </c:pt>
                <c:pt idx="7586">
                  <c:v>0</c:v>
                </c:pt>
                <c:pt idx="7587">
                  <c:v>0</c:v>
                </c:pt>
                <c:pt idx="7588">
                  <c:v>0</c:v>
                </c:pt>
                <c:pt idx="7589">
                  <c:v>0</c:v>
                </c:pt>
                <c:pt idx="7590">
                  <c:v>0</c:v>
                </c:pt>
                <c:pt idx="7591">
                  <c:v>0</c:v>
                </c:pt>
                <c:pt idx="7592">
                  <c:v>0</c:v>
                </c:pt>
                <c:pt idx="7593">
                  <c:v>0</c:v>
                </c:pt>
                <c:pt idx="7594">
                  <c:v>0</c:v>
                </c:pt>
                <c:pt idx="7595">
                  <c:v>1</c:v>
                </c:pt>
                <c:pt idx="7596">
                  <c:v>0</c:v>
                </c:pt>
                <c:pt idx="7597">
                  <c:v>0</c:v>
                </c:pt>
                <c:pt idx="7598">
                  <c:v>0</c:v>
                </c:pt>
                <c:pt idx="7599">
                  <c:v>0</c:v>
                </c:pt>
                <c:pt idx="7600">
                  <c:v>0</c:v>
                </c:pt>
                <c:pt idx="7601">
                  <c:v>0</c:v>
                </c:pt>
                <c:pt idx="7602">
                  <c:v>7</c:v>
                </c:pt>
                <c:pt idx="7603">
                  <c:v>4</c:v>
                </c:pt>
                <c:pt idx="7604">
                  <c:v>0</c:v>
                </c:pt>
                <c:pt idx="7605">
                  <c:v>0</c:v>
                </c:pt>
                <c:pt idx="7606">
                  <c:v>1</c:v>
                </c:pt>
                <c:pt idx="7607">
                  <c:v>0</c:v>
                </c:pt>
                <c:pt idx="7608">
                  <c:v>0</c:v>
                </c:pt>
                <c:pt idx="7609">
                  <c:v>0</c:v>
                </c:pt>
                <c:pt idx="7610">
                  <c:v>0</c:v>
                </c:pt>
                <c:pt idx="7611">
                  <c:v>1</c:v>
                </c:pt>
                <c:pt idx="7612">
                  <c:v>0</c:v>
                </c:pt>
                <c:pt idx="7613">
                  <c:v>2</c:v>
                </c:pt>
                <c:pt idx="7614">
                  <c:v>3</c:v>
                </c:pt>
                <c:pt idx="7615">
                  <c:v>0</c:v>
                </c:pt>
                <c:pt idx="7616">
                  <c:v>0</c:v>
                </c:pt>
                <c:pt idx="7617">
                  <c:v>0</c:v>
                </c:pt>
                <c:pt idx="7618">
                  <c:v>2</c:v>
                </c:pt>
                <c:pt idx="7619">
                  <c:v>0</c:v>
                </c:pt>
                <c:pt idx="7620">
                  <c:v>7</c:v>
                </c:pt>
                <c:pt idx="7621">
                  <c:v>0</c:v>
                </c:pt>
                <c:pt idx="7622">
                  <c:v>0</c:v>
                </c:pt>
                <c:pt idx="7623">
                  <c:v>0</c:v>
                </c:pt>
                <c:pt idx="7624">
                  <c:v>0</c:v>
                </c:pt>
                <c:pt idx="7625">
                  <c:v>2</c:v>
                </c:pt>
                <c:pt idx="7626">
                  <c:v>0</c:v>
                </c:pt>
                <c:pt idx="7627">
                  <c:v>0</c:v>
                </c:pt>
                <c:pt idx="7628">
                  <c:v>0</c:v>
                </c:pt>
                <c:pt idx="7629">
                  <c:v>3</c:v>
                </c:pt>
                <c:pt idx="7630">
                  <c:v>0</c:v>
                </c:pt>
                <c:pt idx="7631">
                  <c:v>0</c:v>
                </c:pt>
                <c:pt idx="7632">
                  <c:v>0</c:v>
                </c:pt>
                <c:pt idx="7633">
                  <c:v>0</c:v>
                </c:pt>
                <c:pt idx="7634">
                  <c:v>2</c:v>
                </c:pt>
                <c:pt idx="7635">
                  <c:v>4</c:v>
                </c:pt>
                <c:pt idx="7636">
                  <c:v>3</c:v>
                </c:pt>
                <c:pt idx="7637">
                  <c:v>0</c:v>
                </c:pt>
                <c:pt idx="7638">
                  <c:v>0</c:v>
                </c:pt>
                <c:pt idx="7639">
                  <c:v>2</c:v>
                </c:pt>
                <c:pt idx="7640">
                  <c:v>0</c:v>
                </c:pt>
                <c:pt idx="7641">
                  <c:v>0</c:v>
                </c:pt>
                <c:pt idx="7642">
                  <c:v>1</c:v>
                </c:pt>
                <c:pt idx="7643">
                  <c:v>5</c:v>
                </c:pt>
                <c:pt idx="7644">
                  <c:v>0</c:v>
                </c:pt>
                <c:pt idx="7645">
                  <c:v>0</c:v>
                </c:pt>
                <c:pt idx="7646">
                  <c:v>0</c:v>
                </c:pt>
                <c:pt idx="7647">
                  <c:v>0</c:v>
                </c:pt>
                <c:pt idx="7648">
                  <c:v>0</c:v>
                </c:pt>
                <c:pt idx="7649">
                  <c:v>0</c:v>
                </c:pt>
                <c:pt idx="7650">
                  <c:v>0</c:v>
                </c:pt>
                <c:pt idx="7651">
                  <c:v>0</c:v>
                </c:pt>
                <c:pt idx="7652">
                  <c:v>2</c:v>
                </c:pt>
                <c:pt idx="7653">
                  <c:v>0</c:v>
                </c:pt>
                <c:pt idx="7654">
                  <c:v>0</c:v>
                </c:pt>
                <c:pt idx="7655">
                  <c:v>0</c:v>
                </c:pt>
                <c:pt idx="7656">
                  <c:v>1</c:v>
                </c:pt>
                <c:pt idx="7657">
                  <c:v>0</c:v>
                </c:pt>
                <c:pt idx="7658">
                  <c:v>2</c:v>
                </c:pt>
                <c:pt idx="7659">
                  <c:v>0</c:v>
                </c:pt>
                <c:pt idx="7660">
                  <c:v>2</c:v>
                </c:pt>
                <c:pt idx="7661">
                  <c:v>2</c:v>
                </c:pt>
                <c:pt idx="7662">
                  <c:v>0</c:v>
                </c:pt>
                <c:pt idx="7663">
                  <c:v>0</c:v>
                </c:pt>
                <c:pt idx="7664">
                  <c:v>0</c:v>
                </c:pt>
                <c:pt idx="7665">
                  <c:v>0</c:v>
                </c:pt>
                <c:pt idx="7666">
                  <c:v>0</c:v>
                </c:pt>
                <c:pt idx="7667">
                  <c:v>0</c:v>
                </c:pt>
                <c:pt idx="7668">
                  <c:v>0</c:v>
                </c:pt>
                <c:pt idx="7669">
                  <c:v>0</c:v>
                </c:pt>
                <c:pt idx="7670">
                  <c:v>0</c:v>
                </c:pt>
                <c:pt idx="7671">
                  <c:v>1</c:v>
                </c:pt>
                <c:pt idx="7672">
                  <c:v>2</c:v>
                </c:pt>
                <c:pt idx="7673">
                  <c:v>14</c:v>
                </c:pt>
                <c:pt idx="7674">
                  <c:v>3</c:v>
                </c:pt>
                <c:pt idx="7675">
                  <c:v>2</c:v>
                </c:pt>
                <c:pt idx="7676">
                  <c:v>2</c:v>
                </c:pt>
                <c:pt idx="7677">
                  <c:v>0</c:v>
                </c:pt>
                <c:pt idx="7678">
                  <c:v>2</c:v>
                </c:pt>
                <c:pt idx="7679">
                  <c:v>19</c:v>
                </c:pt>
                <c:pt idx="7680">
                  <c:v>1</c:v>
                </c:pt>
                <c:pt idx="7681">
                  <c:v>2</c:v>
                </c:pt>
                <c:pt idx="7682">
                  <c:v>1</c:v>
                </c:pt>
                <c:pt idx="7683">
                  <c:v>2</c:v>
                </c:pt>
                <c:pt idx="7684">
                  <c:v>5</c:v>
                </c:pt>
                <c:pt idx="7685">
                  <c:v>0</c:v>
                </c:pt>
                <c:pt idx="7686">
                  <c:v>1</c:v>
                </c:pt>
                <c:pt idx="7687">
                  <c:v>0</c:v>
                </c:pt>
                <c:pt idx="7688">
                  <c:v>1</c:v>
                </c:pt>
                <c:pt idx="7689">
                  <c:v>4</c:v>
                </c:pt>
                <c:pt idx="7690">
                  <c:v>1</c:v>
                </c:pt>
                <c:pt idx="7691">
                  <c:v>5</c:v>
                </c:pt>
                <c:pt idx="7692">
                  <c:v>6</c:v>
                </c:pt>
                <c:pt idx="7693">
                  <c:v>1</c:v>
                </c:pt>
                <c:pt idx="7694">
                  <c:v>6</c:v>
                </c:pt>
                <c:pt idx="7695">
                  <c:v>17</c:v>
                </c:pt>
                <c:pt idx="7696">
                  <c:v>5</c:v>
                </c:pt>
                <c:pt idx="7697">
                  <c:v>0</c:v>
                </c:pt>
                <c:pt idx="7698">
                  <c:v>1</c:v>
                </c:pt>
                <c:pt idx="7699">
                  <c:v>3</c:v>
                </c:pt>
                <c:pt idx="7700">
                  <c:v>0</c:v>
                </c:pt>
                <c:pt idx="7701">
                  <c:v>0</c:v>
                </c:pt>
                <c:pt idx="7702">
                  <c:v>3</c:v>
                </c:pt>
                <c:pt idx="7703">
                  <c:v>2</c:v>
                </c:pt>
                <c:pt idx="7704">
                  <c:v>1</c:v>
                </c:pt>
                <c:pt idx="7705">
                  <c:v>3</c:v>
                </c:pt>
                <c:pt idx="7706">
                  <c:v>1</c:v>
                </c:pt>
                <c:pt idx="7707">
                  <c:v>0</c:v>
                </c:pt>
                <c:pt idx="7708">
                  <c:v>0</c:v>
                </c:pt>
                <c:pt idx="7709">
                  <c:v>0</c:v>
                </c:pt>
                <c:pt idx="7710">
                  <c:v>0</c:v>
                </c:pt>
                <c:pt idx="7711">
                  <c:v>0</c:v>
                </c:pt>
                <c:pt idx="7712">
                  <c:v>0</c:v>
                </c:pt>
                <c:pt idx="7713">
                  <c:v>0</c:v>
                </c:pt>
                <c:pt idx="7714">
                  <c:v>0</c:v>
                </c:pt>
                <c:pt idx="7715">
                  <c:v>0</c:v>
                </c:pt>
                <c:pt idx="7716">
                  <c:v>1</c:v>
                </c:pt>
                <c:pt idx="7717">
                  <c:v>0</c:v>
                </c:pt>
                <c:pt idx="7718">
                  <c:v>0</c:v>
                </c:pt>
                <c:pt idx="7719">
                  <c:v>0</c:v>
                </c:pt>
                <c:pt idx="7720">
                  <c:v>0</c:v>
                </c:pt>
                <c:pt idx="7721">
                  <c:v>0</c:v>
                </c:pt>
                <c:pt idx="7722">
                  <c:v>0</c:v>
                </c:pt>
                <c:pt idx="7723">
                  <c:v>0</c:v>
                </c:pt>
                <c:pt idx="7724">
                  <c:v>0</c:v>
                </c:pt>
                <c:pt idx="7725">
                  <c:v>0</c:v>
                </c:pt>
                <c:pt idx="7726">
                  <c:v>0</c:v>
                </c:pt>
                <c:pt idx="7727">
                  <c:v>0</c:v>
                </c:pt>
                <c:pt idx="7728">
                  <c:v>0</c:v>
                </c:pt>
                <c:pt idx="7729">
                  <c:v>0</c:v>
                </c:pt>
                <c:pt idx="7730">
                  <c:v>0</c:v>
                </c:pt>
                <c:pt idx="7731">
                  <c:v>0</c:v>
                </c:pt>
                <c:pt idx="7732">
                  <c:v>0</c:v>
                </c:pt>
                <c:pt idx="7733">
                  <c:v>0</c:v>
                </c:pt>
                <c:pt idx="7734">
                  <c:v>1</c:v>
                </c:pt>
                <c:pt idx="7735">
                  <c:v>1</c:v>
                </c:pt>
                <c:pt idx="7736">
                  <c:v>0</c:v>
                </c:pt>
                <c:pt idx="7737">
                  <c:v>0</c:v>
                </c:pt>
                <c:pt idx="7738">
                  <c:v>0</c:v>
                </c:pt>
                <c:pt idx="7739">
                  <c:v>0</c:v>
                </c:pt>
                <c:pt idx="7740">
                  <c:v>0</c:v>
                </c:pt>
                <c:pt idx="7741">
                  <c:v>0</c:v>
                </c:pt>
                <c:pt idx="7742">
                  <c:v>3</c:v>
                </c:pt>
                <c:pt idx="7743">
                  <c:v>0</c:v>
                </c:pt>
                <c:pt idx="7744">
                  <c:v>2</c:v>
                </c:pt>
                <c:pt idx="7745">
                  <c:v>0</c:v>
                </c:pt>
                <c:pt idx="7746">
                  <c:v>0</c:v>
                </c:pt>
                <c:pt idx="7747">
                  <c:v>0</c:v>
                </c:pt>
                <c:pt idx="7748">
                  <c:v>0</c:v>
                </c:pt>
                <c:pt idx="7749">
                  <c:v>0</c:v>
                </c:pt>
                <c:pt idx="7750">
                  <c:v>0</c:v>
                </c:pt>
                <c:pt idx="7751">
                  <c:v>0</c:v>
                </c:pt>
                <c:pt idx="7752">
                  <c:v>0</c:v>
                </c:pt>
                <c:pt idx="7753">
                  <c:v>0</c:v>
                </c:pt>
                <c:pt idx="7754">
                  <c:v>0</c:v>
                </c:pt>
                <c:pt idx="7755">
                  <c:v>1</c:v>
                </c:pt>
                <c:pt idx="7756">
                  <c:v>1</c:v>
                </c:pt>
                <c:pt idx="7757">
                  <c:v>0</c:v>
                </c:pt>
                <c:pt idx="7758">
                  <c:v>0</c:v>
                </c:pt>
                <c:pt idx="7759">
                  <c:v>0</c:v>
                </c:pt>
                <c:pt idx="7760">
                  <c:v>0</c:v>
                </c:pt>
                <c:pt idx="7761">
                  <c:v>0</c:v>
                </c:pt>
                <c:pt idx="7762">
                  <c:v>0</c:v>
                </c:pt>
                <c:pt idx="7763">
                  <c:v>0</c:v>
                </c:pt>
                <c:pt idx="7764">
                  <c:v>0</c:v>
                </c:pt>
                <c:pt idx="7765">
                  <c:v>7</c:v>
                </c:pt>
                <c:pt idx="7766">
                  <c:v>4</c:v>
                </c:pt>
                <c:pt idx="7767">
                  <c:v>1</c:v>
                </c:pt>
                <c:pt idx="7768">
                  <c:v>2</c:v>
                </c:pt>
                <c:pt idx="7769">
                  <c:v>2</c:v>
                </c:pt>
                <c:pt idx="7770">
                  <c:v>0</c:v>
                </c:pt>
                <c:pt idx="7771">
                  <c:v>0</c:v>
                </c:pt>
                <c:pt idx="7772">
                  <c:v>0</c:v>
                </c:pt>
                <c:pt idx="7773">
                  <c:v>0</c:v>
                </c:pt>
                <c:pt idx="7774">
                  <c:v>0</c:v>
                </c:pt>
                <c:pt idx="7775">
                  <c:v>0</c:v>
                </c:pt>
                <c:pt idx="7776">
                  <c:v>0</c:v>
                </c:pt>
                <c:pt idx="7777">
                  <c:v>0</c:v>
                </c:pt>
                <c:pt idx="7778">
                  <c:v>0</c:v>
                </c:pt>
                <c:pt idx="7779">
                  <c:v>0</c:v>
                </c:pt>
                <c:pt idx="7780">
                  <c:v>0</c:v>
                </c:pt>
                <c:pt idx="7781">
                  <c:v>0</c:v>
                </c:pt>
                <c:pt idx="7782">
                  <c:v>0</c:v>
                </c:pt>
                <c:pt idx="7783">
                  <c:v>0</c:v>
                </c:pt>
                <c:pt idx="7784">
                  <c:v>0</c:v>
                </c:pt>
                <c:pt idx="7785">
                  <c:v>0</c:v>
                </c:pt>
                <c:pt idx="7786">
                  <c:v>0</c:v>
                </c:pt>
                <c:pt idx="7787">
                  <c:v>1</c:v>
                </c:pt>
                <c:pt idx="7788">
                  <c:v>0</c:v>
                </c:pt>
                <c:pt idx="7789">
                  <c:v>0</c:v>
                </c:pt>
                <c:pt idx="7790">
                  <c:v>0</c:v>
                </c:pt>
                <c:pt idx="7791">
                  <c:v>0</c:v>
                </c:pt>
                <c:pt idx="7792">
                  <c:v>0</c:v>
                </c:pt>
                <c:pt idx="7793">
                  <c:v>0</c:v>
                </c:pt>
                <c:pt idx="7794">
                  <c:v>2</c:v>
                </c:pt>
                <c:pt idx="7795">
                  <c:v>0</c:v>
                </c:pt>
                <c:pt idx="7796">
                  <c:v>0</c:v>
                </c:pt>
                <c:pt idx="7797">
                  <c:v>0</c:v>
                </c:pt>
                <c:pt idx="7798">
                  <c:v>0</c:v>
                </c:pt>
                <c:pt idx="7799">
                  <c:v>0</c:v>
                </c:pt>
                <c:pt idx="7800">
                  <c:v>0</c:v>
                </c:pt>
                <c:pt idx="7801">
                  <c:v>0</c:v>
                </c:pt>
                <c:pt idx="7802">
                  <c:v>0</c:v>
                </c:pt>
                <c:pt idx="7803">
                  <c:v>1</c:v>
                </c:pt>
                <c:pt idx="7804">
                  <c:v>0</c:v>
                </c:pt>
                <c:pt idx="7805">
                  <c:v>0</c:v>
                </c:pt>
                <c:pt idx="7806">
                  <c:v>0</c:v>
                </c:pt>
                <c:pt idx="7807">
                  <c:v>0</c:v>
                </c:pt>
                <c:pt idx="7808">
                  <c:v>0</c:v>
                </c:pt>
                <c:pt idx="7809">
                  <c:v>0</c:v>
                </c:pt>
                <c:pt idx="7810">
                  <c:v>0</c:v>
                </c:pt>
                <c:pt idx="7811">
                  <c:v>1</c:v>
                </c:pt>
                <c:pt idx="7812">
                  <c:v>0</c:v>
                </c:pt>
                <c:pt idx="7813">
                  <c:v>0</c:v>
                </c:pt>
                <c:pt idx="7814">
                  <c:v>0</c:v>
                </c:pt>
                <c:pt idx="7815">
                  <c:v>0</c:v>
                </c:pt>
                <c:pt idx="7816">
                  <c:v>0</c:v>
                </c:pt>
                <c:pt idx="7817">
                  <c:v>1</c:v>
                </c:pt>
                <c:pt idx="7818">
                  <c:v>0</c:v>
                </c:pt>
                <c:pt idx="7819">
                  <c:v>0</c:v>
                </c:pt>
                <c:pt idx="7820">
                  <c:v>0</c:v>
                </c:pt>
                <c:pt idx="7821">
                  <c:v>0</c:v>
                </c:pt>
                <c:pt idx="7822">
                  <c:v>0</c:v>
                </c:pt>
                <c:pt idx="7823">
                  <c:v>0</c:v>
                </c:pt>
                <c:pt idx="7824">
                  <c:v>0</c:v>
                </c:pt>
                <c:pt idx="7825">
                  <c:v>0</c:v>
                </c:pt>
                <c:pt idx="7826">
                  <c:v>0</c:v>
                </c:pt>
                <c:pt idx="7827">
                  <c:v>0</c:v>
                </c:pt>
                <c:pt idx="7828">
                  <c:v>0</c:v>
                </c:pt>
                <c:pt idx="7829">
                  <c:v>0</c:v>
                </c:pt>
                <c:pt idx="7830">
                  <c:v>0</c:v>
                </c:pt>
                <c:pt idx="7831">
                  <c:v>0</c:v>
                </c:pt>
                <c:pt idx="7832">
                  <c:v>0</c:v>
                </c:pt>
                <c:pt idx="7833">
                  <c:v>0</c:v>
                </c:pt>
                <c:pt idx="7834">
                  <c:v>0</c:v>
                </c:pt>
                <c:pt idx="7835">
                  <c:v>0</c:v>
                </c:pt>
                <c:pt idx="7836">
                  <c:v>0</c:v>
                </c:pt>
                <c:pt idx="7837">
                  <c:v>0</c:v>
                </c:pt>
                <c:pt idx="7838">
                  <c:v>0</c:v>
                </c:pt>
                <c:pt idx="7839">
                  <c:v>1</c:v>
                </c:pt>
                <c:pt idx="7840">
                  <c:v>0</c:v>
                </c:pt>
                <c:pt idx="7841">
                  <c:v>3</c:v>
                </c:pt>
                <c:pt idx="7842">
                  <c:v>0</c:v>
                </c:pt>
                <c:pt idx="7843">
                  <c:v>0</c:v>
                </c:pt>
                <c:pt idx="7844">
                  <c:v>0</c:v>
                </c:pt>
                <c:pt idx="7845">
                  <c:v>0</c:v>
                </c:pt>
                <c:pt idx="7846">
                  <c:v>0</c:v>
                </c:pt>
                <c:pt idx="7847">
                  <c:v>0</c:v>
                </c:pt>
                <c:pt idx="7848">
                  <c:v>5</c:v>
                </c:pt>
                <c:pt idx="7849">
                  <c:v>2</c:v>
                </c:pt>
                <c:pt idx="7850">
                  <c:v>0</c:v>
                </c:pt>
                <c:pt idx="7851">
                  <c:v>0</c:v>
                </c:pt>
                <c:pt idx="7852">
                  <c:v>0</c:v>
                </c:pt>
                <c:pt idx="7853">
                  <c:v>0</c:v>
                </c:pt>
                <c:pt idx="7854">
                  <c:v>0</c:v>
                </c:pt>
                <c:pt idx="7855">
                  <c:v>0</c:v>
                </c:pt>
                <c:pt idx="7856">
                  <c:v>0</c:v>
                </c:pt>
                <c:pt idx="7857">
                  <c:v>0</c:v>
                </c:pt>
                <c:pt idx="7858">
                  <c:v>0</c:v>
                </c:pt>
                <c:pt idx="7859">
                  <c:v>0</c:v>
                </c:pt>
                <c:pt idx="7860">
                  <c:v>0</c:v>
                </c:pt>
                <c:pt idx="7861">
                  <c:v>0</c:v>
                </c:pt>
                <c:pt idx="7862">
                  <c:v>0</c:v>
                </c:pt>
                <c:pt idx="7863">
                  <c:v>1</c:v>
                </c:pt>
                <c:pt idx="7864">
                  <c:v>0</c:v>
                </c:pt>
                <c:pt idx="7865">
                  <c:v>1</c:v>
                </c:pt>
                <c:pt idx="7866">
                  <c:v>1</c:v>
                </c:pt>
                <c:pt idx="7867">
                  <c:v>0</c:v>
                </c:pt>
                <c:pt idx="7868">
                  <c:v>0</c:v>
                </c:pt>
                <c:pt idx="7869">
                  <c:v>0</c:v>
                </c:pt>
                <c:pt idx="7870">
                  <c:v>2</c:v>
                </c:pt>
                <c:pt idx="7871">
                  <c:v>0</c:v>
                </c:pt>
                <c:pt idx="7872">
                  <c:v>0</c:v>
                </c:pt>
                <c:pt idx="7873">
                  <c:v>0</c:v>
                </c:pt>
                <c:pt idx="7874">
                  <c:v>0</c:v>
                </c:pt>
                <c:pt idx="7875">
                  <c:v>0</c:v>
                </c:pt>
                <c:pt idx="7876">
                  <c:v>0</c:v>
                </c:pt>
                <c:pt idx="7877">
                  <c:v>0</c:v>
                </c:pt>
                <c:pt idx="7878">
                  <c:v>0</c:v>
                </c:pt>
                <c:pt idx="7879">
                  <c:v>0</c:v>
                </c:pt>
                <c:pt idx="7880">
                  <c:v>0</c:v>
                </c:pt>
                <c:pt idx="7881">
                  <c:v>0</c:v>
                </c:pt>
                <c:pt idx="7882">
                  <c:v>0</c:v>
                </c:pt>
                <c:pt idx="7883">
                  <c:v>3</c:v>
                </c:pt>
                <c:pt idx="7884">
                  <c:v>0</c:v>
                </c:pt>
                <c:pt idx="7885">
                  <c:v>0</c:v>
                </c:pt>
                <c:pt idx="7886">
                  <c:v>0</c:v>
                </c:pt>
                <c:pt idx="7887">
                  <c:v>0</c:v>
                </c:pt>
                <c:pt idx="7888">
                  <c:v>0</c:v>
                </c:pt>
                <c:pt idx="7889">
                  <c:v>0</c:v>
                </c:pt>
                <c:pt idx="7890">
                  <c:v>0</c:v>
                </c:pt>
                <c:pt idx="7891">
                  <c:v>0</c:v>
                </c:pt>
                <c:pt idx="7892">
                  <c:v>0</c:v>
                </c:pt>
                <c:pt idx="7893">
                  <c:v>0</c:v>
                </c:pt>
                <c:pt idx="7894">
                  <c:v>0</c:v>
                </c:pt>
                <c:pt idx="7895">
                  <c:v>0</c:v>
                </c:pt>
                <c:pt idx="7896">
                  <c:v>0</c:v>
                </c:pt>
                <c:pt idx="7897">
                  <c:v>2</c:v>
                </c:pt>
                <c:pt idx="7898">
                  <c:v>0</c:v>
                </c:pt>
                <c:pt idx="7899">
                  <c:v>0</c:v>
                </c:pt>
                <c:pt idx="7900">
                  <c:v>0</c:v>
                </c:pt>
                <c:pt idx="7901">
                  <c:v>0</c:v>
                </c:pt>
                <c:pt idx="7902">
                  <c:v>0</c:v>
                </c:pt>
                <c:pt idx="7903">
                  <c:v>2</c:v>
                </c:pt>
                <c:pt idx="7904">
                  <c:v>0</c:v>
                </c:pt>
                <c:pt idx="7905">
                  <c:v>0</c:v>
                </c:pt>
                <c:pt idx="7906">
                  <c:v>0</c:v>
                </c:pt>
                <c:pt idx="7907">
                  <c:v>0</c:v>
                </c:pt>
                <c:pt idx="7908">
                  <c:v>0</c:v>
                </c:pt>
                <c:pt idx="7909">
                  <c:v>0</c:v>
                </c:pt>
                <c:pt idx="7910">
                  <c:v>0</c:v>
                </c:pt>
                <c:pt idx="7911">
                  <c:v>0</c:v>
                </c:pt>
                <c:pt idx="7912">
                  <c:v>0</c:v>
                </c:pt>
                <c:pt idx="7913">
                  <c:v>0</c:v>
                </c:pt>
                <c:pt idx="7914">
                  <c:v>0</c:v>
                </c:pt>
                <c:pt idx="7915">
                  <c:v>0</c:v>
                </c:pt>
                <c:pt idx="7916">
                  <c:v>1</c:v>
                </c:pt>
                <c:pt idx="7917">
                  <c:v>0</c:v>
                </c:pt>
                <c:pt idx="7918">
                  <c:v>0</c:v>
                </c:pt>
                <c:pt idx="7919">
                  <c:v>0</c:v>
                </c:pt>
                <c:pt idx="7920">
                  <c:v>0</c:v>
                </c:pt>
                <c:pt idx="7921">
                  <c:v>0</c:v>
                </c:pt>
                <c:pt idx="7922">
                  <c:v>0</c:v>
                </c:pt>
                <c:pt idx="7923">
                  <c:v>0</c:v>
                </c:pt>
                <c:pt idx="7924">
                  <c:v>0</c:v>
                </c:pt>
                <c:pt idx="7925">
                  <c:v>0</c:v>
                </c:pt>
                <c:pt idx="7926">
                  <c:v>0</c:v>
                </c:pt>
                <c:pt idx="7927">
                  <c:v>0</c:v>
                </c:pt>
                <c:pt idx="7928">
                  <c:v>2</c:v>
                </c:pt>
                <c:pt idx="7929">
                  <c:v>2</c:v>
                </c:pt>
                <c:pt idx="7930">
                  <c:v>0</c:v>
                </c:pt>
                <c:pt idx="7931">
                  <c:v>0</c:v>
                </c:pt>
                <c:pt idx="7932">
                  <c:v>0</c:v>
                </c:pt>
                <c:pt idx="7933">
                  <c:v>5</c:v>
                </c:pt>
                <c:pt idx="7934">
                  <c:v>0</c:v>
                </c:pt>
                <c:pt idx="7935">
                  <c:v>0</c:v>
                </c:pt>
                <c:pt idx="7936">
                  <c:v>0</c:v>
                </c:pt>
                <c:pt idx="7937">
                  <c:v>2</c:v>
                </c:pt>
                <c:pt idx="7938">
                  <c:v>2</c:v>
                </c:pt>
                <c:pt idx="7939">
                  <c:v>0</c:v>
                </c:pt>
                <c:pt idx="7940">
                  <c:v>1</c:v>
                </c:pt>
                <c:pt idx="7941">
                  <c:v>1</c:v>
                </c:pt>
                <c:pt idx="7942">
                  <c:v>0</c:v>
                </c:pt>
                <c:pt idx="7943">
                  <c:v>0</c:v>
                </c:pt>
                <c:pt idx="7944">
                  <c:v>0</c:v>
                </c:pt>
                <c:pt idx="7945">
                  <c:v>0</c:v>
                </c:pt>
                <c:pt idx="7946">
                  <c:v>0</c:v>
                </c:pt>
                <c:pt idx="7947">
                  <c:v>0</c:v>
                </c:pt>
                <c:pt idx="7948">
                  <c:v>4</c:v>
                </c:pt>
                <c:pt idx="7949">
                  <c:v>0</c:v>
                </c:pt>
                <c:pt idx="7950">
                  <c:v>0</c:v>
                </c:pt>
                <c:pt idx="7951">
                  <c:v>0</c:v>
                </c:pt>
                <c:pt idx="7952">
                  <c:v>1</c:v>
                </c:pt>
                <c:pt idx="7953">
                  <c:v>1</c:v>
                </c:pt>
                <c:pt idx="7954">
                  <c:v>1</c:v>
                </c:pt>
                <c:pt idx="7955">
                  <c:v>0</c:v>
                </c:pt>
                <c:pt idx="7956">
                  <c:v>0</c:v>
                </c:pt>
                <c:pt idx="7957">
                  <c:v>0</c:v>
                </c:pt>
                <c:pt idx="7958">
                  <c:v>0</c:v>
                </c:pt>
                <c:pt idx="7959">
                  <c:v>0</c:v>
                </c:pt>
                <c:pt idx="7960">
                  <c:v>0</c:v>
                </c:pt>
                <c:pt idx="7961">
                  <c:v>0</c:v>
                </c:pt>
                <c:pt idx="7962">
                  <c:v>0</c:v>
                </c:pt>
                <c:pt idx="7963">
                  <c:v>0</c:v>
                </c:pt>
                <c:pt idx="7964">
                  <c:v>0</c:v>
                </c:pt>
                <c:pt idx="7965">
                  <c:v>0</c:v>
                </c:pt>
                <c:pt idx="7966">
                  <c:v>2</c:v>
                </c:pt>
                <c:pt idx="7967">
                  <c:v>1</c:v>
                </c:pt>
                <c:pt idx="7968">
                  <c:v>1</c:v>
                </c:pt>
                <c:pt idx="7969">
                  <c:v>1</c:v>
                </c:pt>
                <c:pt idx="7970">
                  <c:v>1</c:v>
                </c:pt>
                <c:pt idx="7971">
                  <c:v>0</c:v>
                </c:pt>
                <c:pt idx="7972">
                  <c:v>0</c:v>
                </c:pt>
                <c:pt idx="7973">
                  <c:v>0</c:v>
                </c:pt>
                <c:pt idx="7974">
                  <c:v>0</c:v>
                </c:pt>
                <c:pt idx="7975">
                  <c:v>2</c:v>
                </c:pt>
                <c:pt idx="7976">
                  <c:v>0</c:v>
                </c:pt>
                <c:pt idx="7977">
                  <c:v>0</c:v>
                </c:pt>
                <c:pt idx="7978">
                  <c:v>0</c:v>
                </c:pt>
                <c:pt idx="7979">
                  <c:v>0</c:v>
                </c:pt>
                <c:pt idx="7980">
                  <c:v>0</c:v>
                </c:pt>
                <c:pt idx="7981">
                  <c:v>1</c:v>
                </c:pt>
                <c:pt idx="7982">
                  <c:v>1</c:v>
                </c:pt>
                <c:pt idx="7983">
                  <c:v>4</c:v>
                </c:pt>
                <c:pt idx="7984">
                  <c:v>0</c:v>
                </c:pt>
                <c:pt idx="7985">
                  <c:v>0</c:v>
                </c:pt>
                <c:pt idx="7986">
                  <c:v>0</c:v>
                </c:pt>
                <c:pt idx="7987">
                  <c:v>0</c:v>
                </c:pt>
                <c:pt idx="7988">
                  <c:v>3</c:v>
                </c:pt>
                <c:pt idx="7989">
                  <c:v>1</c:v>
                </c:pt>
                <c:pt idx="7990">
                  <c:v>0</c:v>
                </c:pt>
                <c:pt idx="7991">
                  <c:v>0</c:v>
                </c:pt>
                <c:pt idx="7992">
                  <c:v>0</c:v>
                </c:pt>
                <c:pt idx="7993">
                  <c:v>0</c:v>
                </c:pt>
                <c:pt idx="7994">
                  <c:v>2</c:v>
                </c:pt>
                <c:pt idx="7995">
                  <c:v>2</c:v>
                </c:pt>
                <c:pt idx="7996">
                  <c:v>5</c:v>
                </c:pt>
                <c:pt idx="7997">
                  <c:v>1</c:v>
                </c:pt>
                <c:pt idx="7998">
                  <c:v>1</c:v>
                </c:pt>
                <c:pt idx="7999">
                  <c:v>7</c:v>
                </c:pt>
                <c:pt idx="8000">
                  <c:v>0</c:v>
                </c:pt>
                <c:pt idx="8001">
                  <c:v>1</c:v>
                </c:pt>
                <c:pt idx="8002">
                  <c:v>0</c:v>
                </c:pt>
                <c:pt idx="8003">
                  <c:v>2</c:v>
                </c:pt>
                <c:pt idx="8004">
                  <c:v>0</c:v>
                </c:pt>
                <c:pt idx="8005">
                  <c:v>0</c:v>
                </c:pt>
                <c:pt idx="8006">
                  <c:v>0</c:v>
                </c:pt>
                <c:pt idx="8007">
                  <c:v>1</c:v>
                </c:pt>
                <c:pt idx="8008">
                  <c:v>0</c:v>
                </c:pt>
                <c:pt idx="8009">
                  <c:v>0</c:v>
                </c:pt>
                <c:pt idx="8010">
                  <c:v>0</c:v>
                </c:pt>
                <c:pt idx="8011">
                  <c:v>0</c:v>
                </c:pt>
                <c:pt idx="8012">
                  <c:v>3</c:v>
                </c:pt>
                <c:pt idx="8013">
                  <c:v>0</c:v>
                </c:pt>
                <c:pt idx="8014">
                  <c:v>1</c:v>
                </c:pt>
                <c:pt idx="8015">
                  <c:v>0</c:v>
                </c:pt>
                <c:pt idx="8016">
                  <c:v>0</c:v>
                </c:pt>
                <c:pt idx="8017">
                  <c:v>0</c:v>
                </c:pt>
                <c:pt idx="8018">
                  <c:v>0</c:v>
                </c:pt>
                <c:pt idx="8019">
                  <c:v>0</c:v>
                </c:pt>
                <c:pt idx="8020">
                  <c:v>0</c:v>
                </c:pt>
                <c:pt idx="8021">
                  <c:v>0</c:v>
                </c:pt>
                <c:pt idx="8022">
                  <c:v>0</c:v>
                </c:pt>
                <c:pt idx="8023">
                  <c:v>0</c:v>
                </c:pt>
                <c:pt idx="8024">
                  <c:v>0</c:v>
                </c:pt>
                <c:pt idx="8025">
                  <c:v>0</c:v>
                </c:pt>
                <c:pt idx="8026">
                  <c:v>0</c:v>
                </c:pt>
                <c:pt idx="8027">
                  <c:v>0</c:v>
                </c:pt>
                <c:pt idx="8028">
                  <c:v>0</c:v>
                </c:pt>
                <c:pt idx="8029">
                  <c:v>0</c:v>
                </c:pt>
                <c:pt idx="8030">
                  <c:v>0</c:v>
                </c:pt>
                <c:pt idx="8031">
                  <c:v>0</c:v>
                </c:pt>
                <c:pt idx="8032">
                  <c:v>0</c:v>
                </c:pt>
                <c:pt idx="8033">
                  <c:v>0</c:v>
                </c:pt>
                <c:pt idx="8034">
                  <c:v>0</c:v>
                </c:pt>
                <c:pt idx="8035">
                  <c:v>0</c:v>
                </c:pt>
                <c:pt idx="8036">
                  <c:v>0</c:v>
                </c:pt>
                <c:pt idx="8037">
                  <c:v>1</c:v>
                </c:pt>
                <c:pt idx="8038">
                  <c:v>0</c:v>
                </c:pt>
                <c:pt idx="8039">
                  <c:v>0</c:v>
                </c:pt>
                <c:pt idx="8040">
                  <c:v>0</c:v>
                </c:pt>
                <c:pt idx="8041">
                  <c:v>1</c:v>
                </c:pt>
                <c:pt idx="8042">
                  <c:v>3</c:v>
                </c:pt>
                <c:pt idx="8043">
                  <c:v>1</c:v>
                </c:pt>
                <c:pt idx="8044">
                  <c:v>0</c:v>
                </c:pt>
                <c:pt idx="8045">
                  <c:v>0</c:v>
                </c:pt>
                <c:pt idx="8046">
                  <c:v>1</c:v>
                </c:pt>
                <c:pt idx="8047">
                  <c:v>0</c:v>
                </c:pt>
                <c:pt idx="8048">
                  <c:v>0</c:v>
                </c:pt>
                <c:pt idx="8049">
                  <c:v>0</c:v>
                </c:pt>
                <c:pt idx="8050">
                  <c:v>0</c:v>
                </c:pt>
                <c:pt idx="8051">
                  <c:v>0</c:v>
                </c:pt>
                <c:pt idx="8052">
                  <c:v>0</c:v>
                </c:pt>
                <c:pt idx="8053">
                  <c:v>0</c:v>
                </c:pt>
                <c:pt idx="8054">
                  <c:v>0</c:v>
                </c:pt>
                <c:pt idx="8055">
                  <c:v>2</c:v>
                </c:pt>
                <c:pt idx="8056">
                  <c:v>0</c:v>
                </c:pt>
                <c:pt idx="8057">
                  <c:v>0</c:v>
                </c:pt>
                <c:pt idx="8058">
                  <c:v>0</c:v>
                </c:pt>
                <c:pt idx="8059">
                  <c:v>0</c:v>
                </c:pt>
                <c:pt idx="8060">
                  <c:v>1</c:v>
                </c:pt>
                <c:pt idx="8061">
                  <c:v>1</c:v>
                </c:pt>
                <c:pt idx="8062">
                  <c:v>0</c:v>
                </c:pt>
                <c:pt idx="8063">
                  <c:v>0</c:v>
                </c:pt>
                <c:pt idx="8064">
                  <c:v>0</c:v>
                </c:pt>
                <c:pt idx="8065">
                  <c:v>0</c:v>
                </c:pt>
                <c:pt idx="8066">
                  <c:v>0</c:v>
                </c:pt>
                <c:pt idx="8067">
                  <c:v>0</c:v>
                </c:pt>
                <c:pt idx="8068">
                  <c:v>0</c:v>
                </c:pt>
                <c:pt idx="8069">
                  <c:v>0</c:v>
                </c:pt>
                <c:pt idx="8070">
                  <c:v>0</c:v>
                </c:pt>
                <c:pt idx="8071">
                  <c:v>0</c:v>
                </c:pt>
                <c:pt idx="8072">
                  <c:v>0</c:v>
                </c:pt>
                <c:pt idx="8073">
                  <c:v>1</c:v>
                </c:pt>
                <c:pt idx="8074">
                  <c:v>0</c:v>
                </c:pt>
                <c:pt idx="8075">
                  <c:v>0</c:v>
                </c:pt>
                <c:pt idx="8076">
                  <c:v>0</c:v>
                </c:pt>
                <c:pt idx="8077">
                  <c:v>0</c:v>
                </c:pt>
                <c:pt idx="8078">
                  <c:v>1</c:v>
                </c:pt>
                <c:pt idx="8079">
                  <c:v>0</c:v>
                </c:pt>
                <c:pt idx="8080">
                  <c:v>0</c:v>
                </c:pt>
                <c:pt idx="8081">
                  <c:v>0</c:v>
                </c:pt>
                <c:pt idx="8082">
                  <c:v>0</c:v>
                </c:pt>
                <c:pt idx="8083">
                  <c:v>0</c:v>
                </c:pt>
                <c:pt idx="8084">
                  <c:v>0</c:v>
                </c:pt>
                <c:pt idx="8085">
                  <c:v>0</c:v>
                </c:pt>
                <c:pt idx="8086">
                  <c:v>0</c:v>
                </c:pt>
                <c:pt idx="8087">
                  <c:v>2</c:v>
                </c:pt>
                <c:pt idx="8088">
                  <c:v>0</c:v>
                </c:pt>
                <c:pt idx="8089">
                  <c:v>0</c:v>
                </c:pt>
                <c:pt idx="8090">
                  <c:v>0</c:v>
                </c:pt>
                <c:pt idx="8091">
                  <c:v>0</c:v>
                </c:pt>
                <c:pt idx="8092">
                  <c:v>0</c:v>
                </c:pt>
                <c:pt idx="8093">
                  <c:v>7</c:v>
                </c:pt>
                <c:pt idx="8094">
                  <c:v>0</c:v>
                </c:pt>
                <c:pt idx="8095">
                  <c:v>0</c:v>
                </c:pt>
                <c:pt idx="8096">
                  <c:v>2</c:v>
                </c:pt>
                <c:pt idx="8097">
                  <c:v>1</c:v>
                </c:pt>
                <c:pt idx="8098">
                  <c:v>1</c:v>
                </c:pt>
                <c:pt idx="8099">
                  <c:v>0</c:v>
                </c:pt>
                <c:pt idx="8100">
                  <c:v>6</c:v>
                </c:pt>
                <c:pt idx="8101">
                  <c:v>1</c:v>
                </c:pt>
                <c:pt idx="8102">
                  <c:v>3</c:v>
                </c:pt>
                <c:pt idx="8103">
                  <c:v>3</c:v>
                </c:pt>
                <c:pt idx="8104">
                  <c:v>0</c:v>
                </c:pt>
                <c:pt idx="8105">
                  <c:v>5</c:v>
                </c:pt>
                <c:pt idx="8106">
                  <c:v>0</c:v>
                </c:pt>
                <c:pt idx="8107">
                  <c:v>0</c:v>
                </c:pt>
                <c:pt idx="8108">
                  <c:v>4</c:v>
                </c:pt>
                <c:pt idx="8109">
                  <c:v>0</c:v>
                </c:pt>
                <c:pt idx="8110">
                  <c:v>0</c:v>
                </c:pt>
                <c:pt idx="8111">
                  <c:v>0</c:v>
                </c:pt>
                <c:pt idx="8112">
                  <c:v>0</c:v>
                </c:pt>
                <c:pt idx="8113">
                  <c:v>0</c:v>
                </c:pt>
                <c:pt idx="8114">
                  <c:v>0</c:v>
                </c:pt>
                <c:pt idx="8115">
                  <c:v>0</c:v>
                </c:pt>
                <c:pt idx="8116">
                  <c:v>1</c:v>
                </c:pt>
                <c:pt idx="8117">
                  <c:v>0</c:v>
                </c:pt>
                <c:pt idx="8118">
                  <c:v>0</c:v>
                </c:pt>
                <c:pt idx="8119">
                  <c:v>1</c:v>
                </c:pt>
                <c:pt idx="8120">
                  <c:v>0</c:v>
                </c:pt>
                <c:pt idx="8121">
                  <c:v>1</c:v>
                </c:pt>
                <c:pt idx="8122">
                  <c:v>0</c:v>
                </c:pt>
                <c:pt idx="8123">
                  <c:v>0</c:v>
                </c:pt>
                <c:pt idx="8124">
                  <c:v>0</c:v>
                </c:pt>
                <c:pt idx="8125">
                  <c:v>0</c:v>
                </c:pt>
                <c:pt idx="8126">
                  <c:v>1</c:v>
                </c:pt>
                <c:pt idx="8127">
                  <c:v>0</c:v>
                </c:pt>
                <c:pt idx="8128">
                  <c:v>0</c:v>
                </c:pt>
                <c:pt idx="8129">
                  <c:v>0</c:v>
                </c:pt>
                <c:pt idx="8130">
                  <c:v>0</c:v>
                </c:pt>
                <c:pt idx="8131">
                  <c:v>0</c:v>
                </c:pt>
                <c:pt idx="8132">
                  <c:v>0</c:v>
                </c:pt>
                <c:pt idx="8133">
                  <c:v>0</c:v>
                </c:pt>
                <c:pt idx="8134">
                  <c:v>0</c:v>
                </c:pt>
                <c:pt idx="8135">
                  <c:v>0</c:v>
                </c:pt>
                <c:pt idx="8136">
                  <c:v>0</c:v>
                </c:pt>
                <c:pt idx="8137">
                  <c:v>0</c:v>
                </c:pt>
                <c:pt idx="8138">
                  <c:v>5</c:v>
                </c:pt>
                <c:pt idx="8139">
                  <c:v>3</c:v>
                </c:pt>
                <c:pt idx="8140">
                  <c:v>0</c:v>
                </c:pt>
                <c:pt idx="8141">
                  <c:v>2</c:v>
                </c:pt>
                <c:pt idx="8142">
                  <c:v>6</c:v>
                </c:pt>
                <c:pt idx="8143">
                  <c:v>0</c:v>
                </c:pt>
                <c:pt idx="8144">
                  <c:v>2</c:v>
                </c:pt>
                <c:pt idx="8145">
                  <c:v>2</c:v>
                </c:pt>
                <c:pt idx="8146">
                  <c:v>0</c:v>
                </c:pt>
                <c:pt idx="8147">
                  <c:v>0</c:v>
                </c:pt>
                <c:pt idx="8148">
                  <c:v>0</c:v>
                </c:pt>
                <c:pt idx="8149">
                  <c:v>0</c:v>
                </c:pt>
                <c:pt idx="8150">
                  <c:v>0</c:v>
                </c:pt>
                <c:pt idx="8151">
                  <c:v>0</c:v>
                </c:pt>
                <c:pt idx="8152">
                  <c:v>0</c:v>
                </c:pt>
                <c:pt idx="8153">
                  <c:v>0</c:v>
                </c:pt>
                <c:pt idx="8154">
                  <c:v>0</c:v>
                </c:pt>
                <c:pt idx="8155">
                  <c:v>0</c:v>
                </c:pt>
                <c:pt idx="8156">
                  <c:v>0</c:v>
                </c:pt>
                <c:pt idx="8157">
                  <c:v>1</c:v>
                </c:pt>
                <c:pt idx="8158">
                  <c:v>1</c:v>
                </c:pt>
                <c:pt idx="8159">
                  <c:v>0</c:v>
                </c:pt>
                <c:pt idx="8160">
                  <c:v>0</c:v>
                </c:pt>
                <c:pt idx="8161">
                  <c:v>0</c:v>
                </c:pt>
                <c:pt idx="8162">
                  <c:v>0</c:v>
                </c:pt>
                <c:pt idx="8163">
                  <c:v>0</c:v>
                </c:pt>
                <c:pt idx="8164">
                  <c:v>0</c:v>
                </c:pt>
                <c:pt idx="8165">
                  <c:v>0</c:v>
                </c:pt>
                <c:pt idx="8166">
                  <c:v>0</c:v>
                </c:pt>
                <c:pt idx="8167">
                  <c:v>0</c:v>
                </c:pt>
                <c:pt idx="8168">
                  <c:v>0</c:v>
                </c:pt>
                <c:pt idx="8169">
                  <c:v>1</c:v>
                </c:pt>
                <c:pt idx="8170">
                  <c:v>6</c:v>
                </c:pt>
                <c:pt idx="8171">
                  <c:v>5</c:v>
                </c:pt>
                <c:pt idx="8172">
                  <c:v>0</c:v>
                </c:pt>
                <c:pt idx="8173">
                  <c:v>0</c:v>
                </c:pt>
                <c:pt idx="8174">
                  <c:v>0</c:v>
                </c:pt>
                <c:pt idx="8175">
                  <c:v>0</c:v>
                </c:pt>
                <c:pt idx="8176">
                  <c:v>0</c:v>
                </c:pt>
                <c:pt idx="8177">
                  <c:v>0</c:v>
                </c:pt>
                <c:pt idx="8178">
                  <c:v>0</c:v>
                </c:pt>
                <c:pt idx="8179">
                  <c:v>0</c:v>
                </c:pt>
                <c:pt idx="8180">
                  <c:v>0</c:v>
                </c:pt>
                <c:pt idx="8181">
                  <c:v>0</c:v>
                </c:pt>
                <c:pt idx="8182">
                  <c:v>1</c:v>
                </c:pt>
                <c:pt idx="8183">
                  <c:v>2</c:v>
                </c:pt>
                <c:pt idx="8184">
                  <c:v>1</c:v>
                </c:pt>
                <c:pt idx="8185">
                  <c:v>0</c:v>
                </c:pt>
                <c:pt idx="8186">
                  <c:v>1</c:v>
                </c:pt>
                <c:pt idx="8187">
                  <c:v>4</c:v>
                </c:pt>
                <c:pt idx="8188">
                  <c:v>0</c:v>
                </c:pt>
                <c:pt idx="8189">
                  <c:v>5</c:v>
                </c:pt>
                <c:pt idx="8190">
                  <c:v>0</c:v>
                </c:pt>
                <c:pt idx="8191">
                  <c:v>0</c:v>
                </c:pt>
                <c:pt idx="8192">
                  <c:v>0</c:v>
                </c:pt>
                <c:pt idx="8193">
                  <c:v>0</c:v>
                </c:pt>
                <c:pt idx="8194">
                  <c:v>0</c:v>
                </c:pt>
                <c:pt idx="8195">
                  <c:v>0</c:v>
                </c:pt>
                <c:pt idx="8196">
                  <c:v>0</c:v>
                </c:pt>
                <c:pt idx="8197">
                  <c:v>0</c:v>
                </c:pt>
                <c:pt idx="8198">
                  <c:v>4</c:v>
                </c:pt>
                <c:pt idx="8199">
                  <c:v>0</c:v>
                </c:pt>
                <c:pt idx="8200">
                  <c:v>1</c:v>
                </c:pt>
                <c:pt idx="8201">
                  <c:v>1</c:v>
                </c:pt>
                <c:pt idx="8202">
                  <c:v>0</c:v>
                </c:pt>
                <c:pt idx="8203">
                  <c:v>0</c:v>
                </c:pt>
                <c:pt idx="8204">
                  <c:v>0</c:v>
                </c:pt>
                <c:pt idx="8205">
                  <c:v>0</c:v>
                </c:pt>
                <c:pt idx="8206">
                  <c:v>0</c:v>
                </c:pt>
                <c:pt idx="8207">
                  <c:v>0</c:v>
                </c:pt>
                <c:pt idx="8208">
                  <c:v>0</c:v>
                </c:pt>
                <c:pt idx="8209">
                  <c:v>1</c:v>
                </c:pt>
                <c:pt idx="8210">
                  <c:v>0</c:v>
                </c:pt>
                <c:pt idx="8211">
                  <c:v>0</c:v>
                </c:pt>
                <c:pt idx="8212">
                  <c:v>0</c:v>
                </c:pt>
                <c:pt idx="8213">
                  <c:v>0</c:v>
                </c:pt>
                <c:pt idx="8214">
                  <c:v>0</c:v>
                </c:pt>
                <c:pt idx="8215">
                  <c:v>0</c:v>
                </c:pt>
                <c:pt idx="8216">
                  <c:v>0</c:v>
                </c:pt>
                <c:pt idx="8217">
                  <c:v>0</c:v>
                </c:pt>
                <c:pt idx="8218">
                  <c:v>0</c:v>
                </c:pt>
                <c:pt idx="8219">
                  <c:v>0</c:v>
                </c:pt>
                <c:pt idx="8220">
                  <c:v>0</c:v>
                </c:pt>
                <c:pt idx="8221">
                  <c:v>0</c:v>
                </c:pt>
                <c:pt idx="8222">
                  <c:v>0</c:v>
                </c:pt>
                <c:pt idx="8223">
                  <c:v>1</c:v>
                </c:pt>
                <c:pt idx="8224">
                  <c:v>0</c:v>
                </c:pt>
                <c:pt idx="8225">
                  <c:v>1</c:v>
                </c:pt>
                <c:pt idx="8226">
                  <c:v>2</c:v>
                </c:pt>
                <c:pt idx="8227">
                  <c:v>8</c:v>
                </c:pt>
                <c:pt idx="8228">
                  <c:v>4</c:v>
                </c:pt>
                <c:pt idx="8229">
                  <c:v>0</c:v>
                </c:pt>
                <c:pt idx="8230">
                  <c:v>0</c:v>
                </c:pt>
                <c:pt idx="8231">
                  <c:v>1</c:v>
                </c:pt>
                <c:pt idx="8232">
                  <c:v>0</c:v>
                </c:pt>
                <c:pt idx="8233">
                  <c:v>0</c:v>
                </c:pt>
                <c:pt idx="8234">
                  <c:v>1</c:v>
                </c:pt>
                <c:pt idx="8235">
                  <c:v>3</c:v>
                </c:pt>
                <c:pt idx="8236">
                  <c:v>0</c:v>
                </c:pt>
                <c:pt idx="8237">
                  <c:v>0</c:v>
                </c:pt>
                <c:pt idx="8238">
                  <c:v>0</c:v>
                </c:pt>
                <c:pt idx="8239">
                  <c:v>0</c:v>
                </c:pt>
                <c:pt idx="8240">
                  <c:v>0</c:v>
                </c:pt>
                <c:pt idx="8241">
                  <c:v>0</c:v>
                </c:pt>
                <c:pt idx="8242">
                  <c:v>3</c:v>
                </c:pt>
                <c:pt idx="8243">
                  <c:v>0</c:v>
                </c:pt>
                <c:pt idx="8244">
                  <c:v>6</c:v>
                </c:pt>
                <c:pt idx="8245">
                  <c:v>2</c:v>
                </c:pt>
                <c:pt idx="8246">
                  <c:v>0</c:v>
                </c:pt>
                <c:pt idx="8247">
                  <c:v>4</c:v>
                </c:pt>
                <c:pt idx="8248">
                  <c:v>0</c:v>
                </c:pt>
                <c:pt idx="8249">
                  <c:v>0</c:v>
                </c:pt>
                <c:pt idx="8250">
                  <c:v>3</c:v>
                </c:pt>
                <c:pt idx="8251">
                  <c:v>0</c:v>
                </c:pt>
                <c:pt idx="8252">
                  <c:v>2</c:v>
                </c:pt>
                <c:pt idx="8253">
                  <c:v>1</c:v>
                </c:pt>
                <c:pt idx="8254">
                  <c:v>0</c:v>
                </c:pt>
                <c:pt idx="8255">
                  <c:v>0</c:v>
                </c:pt>
                <c:pt idx="8256">
                  <c:v>4</c:v>
                </c:pt>
                <c:pt idx="8257">
                  <c:v>6</c:v>
                </c:pt>
                <c:pt idx="8258">
                  <c:v>0</c:v>
                </c:pt>
                <c:pt idx="8259">
                  <c:v>0</c:v>
                </c:pt>
                <c:pt idx="8260">
                  <c:v>0</c:v>
                </c:pt>
                <c:pt idx="8261">
                  <c:v>2</c:v>
                </c:pt>
                <c:pt idx="8262">
                  <c:v>2</c:v>
                </c:pt>
                <c:pt idx="8263">
                  <c:v>0</c:v>
                </c:pt>
                <c:pt idx="8264">
                  <c:v>2</c:v>
                </c:pt>
                <c:pt idx="8265">
                  <c:v>0</c:v>
                </c:pt>
                <c:pt idx="8266">
                  <c:v>3</c:v>
                </c:pt>
                <c:pt idx="8267">
                  <c:v>3</c:v>
                </c:pt>
                <c:pt idx="8268">
                  <c:v>0</c:v>
                </c:pt>
                <c:pt idx="8269">
                  <c:v>3</c:v>
                </c:pt>
                <c:pt idx="8270">
                  <c:v>0</c:v>
                </c:pt>
                <c:pt idx="8271">
                  <c:v>0</c:v>
                </c:pt>
                <c:pt idx="8272">
                  <c:v>0</c:v>
                </c:pt>
                <c:pt idx="8273">
                  <c:v>0</c:v>
                </c:pt>
                <c:pt idx="8274">
                  <c:v>0</c:v>
                </c:pt>
                <c:pt idx="8275">
                  <c:v>1</c:v>
                </c:pt>
                <c:pt idx="8276">
                  <c:v>0</c:v>
                </c:pt>
                <c:pt idx="8277">
                  <c:v>0</c:v>
                </c:pt>
                <c:pt idx="8278">
                  <c:v>0</c:v>
                </c:pt>
                <c:pt idx="8279">
                  <c:v>0</c:v>
                </c:pt>
                <c:pt idx="8280">
                  <c:v>0</c:v>
                </c:pt>
                <c:pt idx="8281">
                  <c:v>1</c:v>
                </c:pt>
                <c:pt idx="8282">
                  <c:v>1</c:v>
                </c:pt>
                <c:pt idx="8283">
                  <c:v>0</c:v>
                </c:pt>
                <c:pt idx="8284">
                  <c:v>0</c:v>
                </c:pt>
                <c:pt idx="8285">
                  <c:v>2</c:v>
                </c:pt>
                <c:pt idx="8286">
                  <c:v>3</c:v>
                </c:pt>
                <c:pt idx="8287">
                  <c:v>1</c:v>
                </c:pt>
                <c:pt idx="8288">
                  <c:v>0</c:v>
                </c:pt>
                <c:pt idx="8289">
                  <c:v>0</c:v>
                </c:pt>
                <c:pt idx="8290">
                  <c:v>0</c:v>
                </c:pt>
                <c:pt idx="8291">
                  <c:v>0</c:v>
                </c:pt>
                <c:pt idx="8292">
                  <c:v>0</c:v>
                </c:pt>
                <c:pt idx="8293">
                  <c:v>0</c:v>
                </c:pt>
                <c:pt idx="8294">
                  <c:v>1</c:v>
                </c:pt>
                <c:pt idx="8295">
                  <c:v>1</c:v>
                </c:pt>
                <c:pt idx="8296">
                  <c:v>0</c:v>
                </c:pt>
                <c:pt idx="8297">
                  <c:v>0</c:v>
                </c:pt>
                <c:pt idx="8298">
                  <c:v>1</c:v>
                </c:pt>
                <c:pt idx="8299">
                  <c:v>0</c:v>
                </c:pt>
                <c:pt idx="8300">
                  <c:v>0</c:v>
                </c:pt>
                <c:pt idx="8301">
                  <c:v>0</c:v>
                </c:pt>
                <c:pt idx="8302">
                  <c:v>0</c:v>
                </c:pt>
                <c:pt idx="8303">
                  <c:v>0</c:v>
                </c:pt>
                <c:pt idx="8304">
                  <c:v>4</c:v>
                </c:pt>
                <c:pt idx="8305">
                  <c:v>0</c:v>
                </c:pt>
                <c:pt idx="8306">
                  <c:v>0</c:v>
                </c:pt>
                <c:pt idx="8307">
                  <c:v>0</c:v>
                </c:pt>
                <c:pt idx="8308">
                  <c:v>0</c:v>
                </c:pt>
                <c:pt idx="8309">
                  <c:v>4</c:v>
                </c:pt>
                <c:pt idx="8310">
                  <c:v>0</c:v>
                </c:pt>
                <c:pt idx="8311">
                  <c:v>0</c:v>
                </c:pt>
                <c:pt idx="8312">
                  <c:v>0</c:v>
                </c:pt>
                <c:pt idx="8313">
                  <c:v>0</c:v>
                </c:pt>
                <c:pt idx="8314">
                  <c:v>0</c:v>
                </c:pt>
                <c:pt idx="8315">
                  <c:v>0</c:v>
                </c:pt>
                <c:pt idx="8316">
                  <c:v>0</c:v>
                </c:pt>
                <c:pt idx="8317">
                  <c:v>5</c:v>
                </c:pt>
                <c:pt idx="8318">
                  <c:v>5</c:v>
                </c:pt>
                <c:pt idx="8319">
                  <c:v>0</c:v>
                </c:pt>
                <c:pt idx="8320">
                  <c:v>0</c:v>
                </c:pt>
                <c:pt idx="8321">
                  <c:v>0</c:v>
                </c:pt>
                <c:pt idx="8322">
                  <c:v>0</c:v>
                </c:pt>
                <c:pt idx="8323">
                  <c:v>3</c:v>
                </c:pt>
                <c:pt idx="8324">
                  <c:v>2</c:v>
                </c:pt>
                <c:pt idx="8325">
                  <c:v>0</c:v>
                </c:pt>
                <c:pt idx="8326">
                  <c:v>0</c:v>
                </c:pt>
                <c:pt idx="8327">
                  <c:v>0</c:v>
                </c:pt>
                <c:pt idx="8328">
                  <c:v>0</c:v>
                </c:pt>
                <c:pt idx="8329">
                  <c:v>0</c:v>
                </c:pt>
                <c:pt idx="8330">
                  <c:v>0</c:v>
                </c:pt>
                <c:pt idx="8331">
                  <c:v>0</c:v>
                </c:pt>
                <c:pt idx="8332">
                  <c:v>0</c:v>
                </c:pt>
                <c:pt idx="8333">
                  <c:v>0</c:v>
                </c:pt>
                <c:pt idx="8334">
                  <c:v>0</c:v>
                </c:pt>
                <c:pt idx="8335">
                  <c:v>0</c:v>
                </c:pt>
                <c:pt idx="8336">
                  <c:v>0</c:v>
                </c:pt>
                <c:pt idx="8337">
                  <c:v>0</c:v>
                </c:pt>
                <c:pt idx="8338">
                  <c:v>0</c:v>
                </c:pt>
                <c:pt idx="8339">
                  <c:v>0</c:v>
                </c:pt>
                <c:pt idx="8340">
                  <c:v>0</c:v>
                </c:pt>
                <c:pt idx="8341">
                  <c:v>0</c:v>
                </c:pt>
                <c:pt idx="8342">
                  <c:v>1</c:v>
                </c:pt>
                <c:pt idx="8343">
                  <c:v>0</c:v>
                </c:pt>
                <c:pt idx="8344">
                  <c:v>0</c:v>
                </c:pt>
                <c:pt idx="8345">
                  <c:v>0</c:v>
                </c:pt>
                <c:pt idx="8346">
                  <c:v>0</c:v>
                </c:pt>
                <c:pt idx="8347">
                  <c:v>0</c:v>
                </c:pt>
                <c:pt idx="8348">
                  <c:v>0</c:v>
                </c:pt>
                <c:pt idx="8349">
                  <c:v>0</c:v>
                </c:pt>
                <c:pt idx="8350">
                  <c:v>0</c:v>
                </c:pt>
                <c:pt idx="8351">
                  <c:v>0</c:v>
                </c:pt>
                <c:pt idx="8352">
                  <c:v>0</c:v>
                </c:pt>
                <c:pt idx="8353">
                  <c:v>0</c:v>
                </c:pt>
                <c:pt idx="8354">
                  <c:v>0</c:v>
                </c:pt>
                <c:pt idx="8355">
                  <c:v>1</c:v>
                </c:pt>
                <c:pt idx="8356">
                  <c:v>0</c:v>
                </c:pt>
                <c:pt idx="8357">
                  <c:v>0</c:v>
                </c:pt>
                <c:pt idx="8358">
                  <c:v>5</c:v>
                </c:pt>
                <c:pt idx="8359">
                  <c:v>0</c:v>
                </c:pt>
                <c:pt idx="8360">
                  <c:v>0</c:v>
                </c:pt>
                <c:pt idx="8361">
                  <c:v>0</c:v>
                </c:pt>
                <c:pt idx="8362">
                  <c:v>0</c:v>
                </c:pt>
                <c:pt idx="8363">
                  <c:v>0</c:v>
                </c:pt>
                <c:pt idx="8364">
                  <c:v>0</c:v>
                </c:pt>
                <c:pt idx="8365">
                  <c:v>0</c:v>
                </c:pt>
                <c:pt idx="8366">
                  <c:v>3</c:v>
                </c:pt>
                <c:pt idx="8367">
                  <c:v>1</c:v>
                </c:pt>
                <c:pt idx="8368">
                  <c:v>3</c:v>
                </c:pt>
                <c:pt idx="8369">
                  <c:v>0</c:v>
                </c:pt>
                <c:pt idx="8370">
                  <c:v>0</c:v>
                </c:pt>
                <c:pt idx="8371">
                  <c:v>0</c:v>
                </c:pt>
                <c:pt idx="8372">
                  <c:v>0</c:v>
                </c:pt>
                <c:pt idx="8373">
                  <c:v>0</c:v>
                </c:pt>
                <c:pt idx="8374">
                  <c:v>0</c:v>
                </c:pt>
                <c:pt idx="8375">
                  <c:v>0</c:v>
                </c:pt>
                <c:pt idx="8376">
                  <c:v>0</c:v>
                </c:pt>
                <c:pt idx="8377">
                  <c:v>0</c:v>
                </c:pt>
                <c:pt idx="8378">
                  <c:v>0</c:v>
                </c:pt>
                <c:pt idx="8379">
                  <c:v>5</c:v>
                </c:pt>
                <c:pt idx="8380">
                  <c:v>5</c:v>
                </c:pt>
                <c:pt idx="8381">
                  <c:v>1</c:v>
                </c:pt>
                <c:pt idx="8382">
                  <c:v>2</c:v>
                </c:pt>
                <c:pt idx="8383">
                  <c:v>0</c:v>
                </c:pt>
                <c:pt idx="8384">
                  <c:v>0</c:v>
                </c:pt>
                <c:pt idx="8385">
                  <c:v>3</c:v>
                </c:pt>
                <c:pt idx="8386">
                  <c:v>0</c:v>
                </c:pt>
                <c:pt idx="8387">
                  <c:v>0</c:v>
                </c:pt>
                <c:pt idx="8388">
                  <c:v>0</c:v>
                </c:pt>
                <c:pt idx="8389">
                  <c:v>0</c:v>
                </c:pt>
                <c:pt idx="8390">
                  <c:v>2</c:v>
                </c:pt>
                <c:pt idx="8391">
                  <c:v>0</c:v>
                </c:pt>
                <c:pt idx="8392">
                  <c:v>4</c:v>
                </c:pt>
                <c:pt idx="8393">
                  <c:v>3</c:v>
                </c:pt>
                <c:pt idx="8394">
                  <c:v>0</c:v>
                </c:pt>
                <c:pt idx="8395">
                  <c:v>1</c:v>
                </c:pt>
                <c:pt idx="8396">
                  <c:v>2</c:v>
                </c:pt>
                <c:pt idx="8397">
                  <c:v>0</c:v>
                </c:pt>
                <c:pt idx="8398">
                  <c:v>2</c:v>
                </c:pt>
                <c:pt idx="8399">
                  <c:v>1</c:v>
                </c:pt>
                <c:pt idx="8400">
                  <c:v>0</c:v>
                </c:pt>
                <c:pt idx="8401">
                  <c:v>0</c:v>
                </c:pt>
                <c:pt idx="8402">
                  <c:v>1</c:v>
                </c:pt>
                <c:pt idx="8403">
                  <c:v>5</c:v>
                </c:pt>
                <c:pt idx="8404">
                  <c:v>3</c:v>
                </c:pt>
                <c:pt idx="8405">
                  <c:v>7</c:v>
                </c:pt>
                <c:pt idx="8406">
                  <c:v>2</c:v>
                </c:pt>
                <c:pt idx="8407">
                  <c:v>0</c:v>
                </c:pt>
                <c:pt idx="8408">
                  <c:v>5</c:v>
                </c:pt>
                <c:pt idx="8409">
                  <c:v>1</c:v>
                </c:pt>
                <c:pt idx="8410">
                  <c:v>2</c:v>
                </c:pt>
                <c:pt idx="8411">
                  <c:v>0</c:v>
                </c:pt>
                <c:pt idx="8412">
                  <c:v>0</c:v>
                </c:pt>
                <c:pt idx="8413">
                  <c:v>0</c:v>
                </c:pt>
                <c:pt idx="8414">
                  <c:v>0</c:v>
                </c:pt>
                <c:pt idx="8415">
                  <c:v>0</c:v>
                </c:pt>
                <c:pt idx="8416">
                  <c:v>5</c:v>
                </c:pt>
                <c:pt idx="8417">
                  <c:v>3</c:v>
                </c:pt>
                <c:pt idx="8418">
                  <c:v>3</c:v>
                </c:pt>
                <c:pt idx="8419">
                  <c:v>1</c:v>
                </c:pt>
                <c:pt idx="8420">
                  <c:v>5</c:v>
                </c:pt>
                <c:pt idx="8421">
                  <c:v>3</c:v>
                </c:pt>
                <c:pt idx="8422">
                  <c:v>0</c:v>
                </c:pt>
                <c:pt idx="8423">
                  <c:v>7</c:v>
                </c:pt>
                <c:pt idx="8424">
                  <c:v>8</c:v>
                </c:pt>
                <c:pt idx="8425">
                  <c:v>2</c:v>
                </c:pt>
                <c:pt idx="8426">
                  <c:v>0</c:v>
                </c:pt>
                <c:pt idx="8427">
                  <c:v>7</c:v>
                </c:pt>
                <c:pt idx="8428">
                  <c:v>1</c:v>
                </c:pt>
                <c:pt idx="8429">
                  <c:v>0</c:v>
                </c:pt>
                <c:pt idx="8430">
                  <c:v>3</c:v>
                </c:pt>
                <c:pt idx="8431">
                  <c:v>1</c:v>
                </c:pt>
                <c:pt idx="8432">
                  <c:v>0</c:v>
                </c:pt>
                <c:pt idx="8433">
                  <c:v>3</c:v>
                </c:pt>
                <c:pt idx="8434">
                  <c:v>2</c:v>
                </c:pt>
                <c:pt idx="8435">
                  <c:v>1</c:v>
                </c:pt>
                <c:pt idx="8436">
                  <c:v>3</c:v>
                </c:pt>
                <c:pt idx="8437">
                  <c:v>4</c:v>
                </c:pt>
                <c:pt idx="8438">
                  <c:v>6</c:v>
                </c:pt>
                <c:pt idx="8439">
                  <c:v>0</c:v>
                </c:pt>
                <c:pt idx="8440">
                  <c:v>0</c:v>
                </c:pt>
                <c:pt idx="8441">
                  <c:v>0</c:v>
                </c:pt>
                <c:pt idx="8442">
                  <c:v>0</c:v>
                </c:pt>
                <c:pt idx="8443">
                  <c:v>0</c:v>
                </c:pt>
                <c:pt idx="8444">
                  <c:v>2</c:v>
                </c:pt>
                <c:pt idx="8445">
                  <c:v>0</c:v>
                </c:pt>
                <c:pt idx="8446">
                  <c:v>1</c:v>
                </c:pt>
                <c:pt idx="8447">
                  <c:v>0</c:v>
                </c:pt>
                <c:pt idx="8448">
                  <c:v>4</c:v>
                </c:pt>
                <c:pt idx="8449">
                  <c:v>5</c:v>
                </c:pt>
                <c:pt idx="8450">
                  <c:v>4</c:v>
                </c:pt>
                <c:pt idx="8451">
                  <c:v>4</c:v>
                </c:pt>
                <c:pt idx="8452">
                  <c:v>5</c:v>
                </c:pt>
                <c:pt idx="8453">
                  <c:v>4</c:v>
                </c:pt>
                <c:pt idx="8454">
                  <c:v>0</c:v>
                </c:pt>
                <c:pt idx="8455">
                  <c:v>0</c:v>
                </c:pt>
                <c:pt idx="8456">
                  <c:v>0</c:v>
                </c:pt>
                <c:pt idx="8457">
                  <c:v>0</c:v>
                </c:pt>
                <c:pt idx="8458">
                  <c:v>2</c:v>
                </c:pt>
                <c:pt idx="8459">
                  <c:v>0</c:v>
                </c:pt>
                <c:pt idx="8460">
                  <c:v>1</c:v>
                </c:pt>
                <c:pt idx="8461">
                  <c:v>2</c:v>
                </c:pt>
                <c:pt idx="8462">
                  <c:v>0</c:v>
                </c:pt>
                <c:pt idx="8463">
                  <c:v>0</c:v>
                </c:pt>
                <c:pt idx="8464">
                  <c:v>2</c:v>
                </c:pt>
                <c:pt idx="8465">
                  <c:v>2</c:v>
                </c:pt>
                <c:pt idx="8466">
                  <c:v>14</c:v>
                </c:pt>
                <c:pt idx="8467">
                  <c:v>0</c:v>
                </c:pt>
                <c:pt idx="8468">
                  <c:v>0</c:v>
                </c:pt>
                <c:pt idx="8469">
                  <c:v>0</c:v>
                </c:pt>
                <c:pt idx="8470">
                  <c:v>1</c:v>
                </c:pt>
                <c:pt idx="8471">
                  <c:v>0</c:v>
                </c:pt>
                <c:pt idx="8472">
                  <c:v>1</c:v>
                </c:pt>
                <c:pt idx="8473">
                  <c:v>2</c:v>
                </c:pt>
                <c:pt idx="8474">
                  <c:v>2</c:v>
                </c:pt>
                <c:pt idx="8475">
                  <c:v>0</c:v>
                </c:pt>
                <c:pt idx="8476">
                  <c:v>0</c:v>
                </c:pt>
                <c:pt idx="8477">
                  <c:v>0</c:v>
                </c:pt>
                <c:pt idx="8478">
                  <c:v>0</c:v>
                </c:pt>
                <c:pt idx="8479">
                  <c:v>0</c:v>
                </c:pt>
                <c:pt idx="8480">
                  <c:v>0</c:v>
                </c:pt>
                <c:pt idx="8481">
                  <c:v>0</c:v>
                </c:pt>
                <c:pt idx="8482">
                  <c:v>0</c:v>
                </c:pt>
                <c:pt idx="8483">
                  <c:v>1</c:v>
                </c:pt>
                <c:pt idx="8484">
                  <c:v>1</c:v>
                </c:pt>
                <c:pt idx="8485">
                  <c:v>0</c:v>
                </c:pt>
                <c:pt idx="8486">
                  <c:v>0</c:v>
                </c:pt>
                <c:pt idx="8487">
                  <c:v>0</c:v>
                </c:pt>
                <c:pt idx="8488">
                  <c:v>0</c:v>
                </c:pt>
                <c:pt idx="8489">
                  <c:v>0</c:v>
                </c:pt>
                <c:pt idx="8490">
                  <c:v>2</c:v>
                </c:pt>
                <c:pt idx="8491">
                  <c:v>2</c:v>
                </c:pt>
                <c:pt idx="8492">
                  <c:v>1</c:v>
                </c:pt>
                <c:pt idx="8493">
                  <c:v>0</c:v>
                </c:pt>
                <c:pt idx="8494">
                  <c:v>0</c:v>
                </c:pt>
                <c:pt idx="8495">
                  <c:v>0</c:v>
                </c:pt>
                <c:pt idx="8496">
                  <c:v>2</c:v>
                </c:pt>
                <c:pt idx="8497">
                  <c:v>2</c:v>
                </c:pt>
                <c:pt idx="8498">
                  <c:v>0</c:v>
                </c:pt>
                <c:pt idx="8499">
                  <c:v>0</c:v>
                </c:pt>
                <c:pt idx="8500">
                  <c:v>0</c:v>
                </c:pt>
                <c:pt idx="8501">
                  <c:v>0</c:v>
                </c:pt>
                <c:pt idx="8502">
                  <c:v>0</c:v>
                </c:pt>
                <c:pt idx="8503">
                  <c:v>3</c:v>
                </c:pt>
                <c:pt idx="8504">
                  <c:v>2</c:v>
                </c:pt>
                <c:pt idx="8505">
                  <c:v>1</c:v>
                </c:pt>
                <c:pt idx="8506">
                  <c:v>0</c:v>
                </c:pt>
                <c:pt idx="8507">
                  <c:v>0</c:v>
                </c:pt>
                <c:pt idx="8508">
                  <c:v>0</c:v>
                </c:pt>
                <c:pt idx="8509">
                  <c:v>0</c:v>
                </c:pt>
                <c:pt idx="8510">
                  <c:v>0</c:v>
                </c:pt>
                <c:pt idx="8511">
                  <c:v>0</c:v>
                </c:pt>
                <c:pt idx="8512">
                  <c:v>0</c:v>
                </c:pt>
                <c:pt idx="8513">
                  <c:v>1</c:v>
                </c:pt>
                <c:pt idx="8514">
                  <c:v>2</c:v>
                </c:pt>
                <c:pt idx="8515">
                  <c:v>0</c:v>
                </c:pt>
                <c:pt idx="8516">
                  <c:v>0</c:v>
                </c:pt>
                <c:pt idx="8517">
                  <c:v>3</c:v>
                </c:pt>
                <c:pt idx="8518">
                  <c:v>0</c:v>
                </c:pt>
                <c:pt idx="8519">
                  <c:v>0</c:v>
                </c:pt>
                <c:pt idx="8520">
                  <c:v>0</c:v>
                </c:pt>
                <c:pt idx="8521">
                  <c:v>0</c:v>
                </c:pt>
                <c:pt idx="8522">
                  <c:v>0</c:v>
                </c:pt>
                <c:pt idx="8523">
                  <c:v>4</c:v>
                </c:pt>
                <c:pt idx="8524">
                  <c:v>6</c:v>
                </c:pt>
                <c:pt idx="8525">
                  <c:v>0</c:v>
                </c:pt>
                <c:pt idx="8526">
                  <c:v>4</c:v>
                </c:pt>
                <c:pt idx="8527">
                  <c:v>0</c:v>
                </c:pt>
                <c:pt idx="8528">
                  <c:v>0</c:v>
                </c:pt>
                <c:pt idx="8529">
                  <c:v>0</c:v>
                </c:pt>
                <c:pt idx="8530">
                  <c:v>4</c:v>
                </c:pt>
                <c:pt idx="8531">
                  <c:v>1</c:v>
                </c:pt>
                <c:pt idx="8532">
                  <c:v>1</c:v>
                </c:pt>
                <c:pt idx="8533">
                  <c:v>0</c:v>
                </c:pt>
                <c:pt idx="8534">
                  <c:v>0</c:v>
                </c:pt>
                <c:pt idx="8535">
                  <c:v>0</c:v>
                </c:pt>
                <c:pt idx="8536">
                  <c:v>0</c:v>
                </c:pt>
                <c:pt idx="8537">
                  <c:v>0</c:v>
                </c:pt>
                <c:pt idx="8538">
                  <c:v>0</c:v>
                </c:pt>
                <c:pt idx="8539">
                  <c:v>0</c:v>
                </c:pt>
                <c:pt idx="8540">
                  <c:v>0</c:v>
                </c:pt>
                <c:pt idx="8541">
                  <c:v>0</c:v>
                </c:pt>
                <c:pt idx="8542">
                  <c:v>9</c:v>
                </c:pt>
                <c:pt idx="8543">
                  <c:v>5</c:v>
                </c:pt>
                <c:pt idx="8544">
                  <c:v>0</c:v>
                </c:pt>
                <c:pt idx="8545">
                  <c:v>1</c:v>
                </c:pt>
                <c:pt idx="8546">
                  <c:v>2</c:v>
                </c:pt>
                <c:pt idx="8547">
                  <c:v>3</c:v>
                </c:pt>
                <c:pt idx="8548">
                  <c:v>8</c:v>
                </c:pt>
                <c:pt idx="8549">
                  <c:v>3</c:v>
                </c:pt>
                <c:pt idx="8550">
                  <c:v>1</c:v>
                </c:pt>
                <c:pt idx="8551">
                  <c:v>4</c:v>
                </c:pt>
                <c:pt idx="8552">
                  <c:v>7</c:v>
                </c:pt>
                <c:pt idx="8553">
                  <c:v>0</c:v>
                </c:pt>
                <c:pt idx="8554">
                  <c:v>0</c:v>
                </c:pt>
                <c:pt idx="8555">
                  <c:v>0</c:v>
                </c:pt>
                <c:pt idx="8556">
                  <c:v>0</c:v>
                </c:pt>
                <c:pt idx="8557">
                  <c:v>1</c:v>
                </c:pt>
                <c:pt idx="8558">
                  <c:v>4</c:v>
                </c:pt>
                <c:pt idx="8559">
                  <c:v>7</c:v>
                </c:pt>
                <c:pt idx="8560">
                  <c:v>9</c:v>
                </c:pt>
                <c:pt idx="8561">
                  <c:v>3</c:v>
                </c:pt>
                <c:pt idx="8562">
                  <c:v>7</c:v>
                </c:pt>
                <c:pt idx="8563">
                  <c:v>5</c:v>
                </c:pt>
                <c:pt idx="8564">
                  <c:v>1</c:v>
                </c:pt>
                <c:pt idx="8565">
                  <c:v>10</c:v>
                </c:pt>
                <c:pt idx="8566">
                  <c:v>2</c:v>
                </c:pt>
                <c:pt idx="8567">
                  <c:v>7</c:v>
                </c:pt>
                <c:pt idx="8568">
                  <c:v>1</c:v>
                </c:pt>
                <c:pt idx="8569">
                  <c:v>1</c:v>
                </c:pt>
                <c:pt idx="8570">
                  <c:v>3</c:v>
                </c:pt>
                <c:pt idx="8571">
                  <c:v>0</c:v>
                </c:pt>
                <c:pt idx="8572">
                  <c:v>0</c:v>
                </c:pt>
                <c:pt idx="8573">
                  <c:v>3</c:v>
                </c:pt>
                <c:pt idx="8574">
                  <c:v>3</c:v>
                </c:pt>
                <c:pt idx="8575">
                  <c:v>1</c:v>
                </c:pt>
                <c:pt idx="8576">
                  <c:v>0</c:v>
                </c:pt>
                <c:pt idx="8577">
                  <c:v>0</c:v>
                </c:pt>
                <c:pt idx="8578">
                  <c:v>2</c:v>
                </c:pt>
                <c:pt idx="8579">
                  <c:v>0</c:v>
                </c:pt>
                <c:pt idx="8580">
                  <c:v>0</c:v>
                </c:pt>
                <c:pt idx="8581">
                  <c:v>0</c:v>
                </c:pt>
                <c:pt idx="8582">
                  <c:v>0</c:v>
                </c:pt>
                <c:pt idx="8583">
                  <c:v>0</c:v>
                </c:pt>
                <c:pt idx="8584">
                  <c:v>0</c:v>
                </c:pt>
                <c:pt idx="8585">
                  <c:v>0</c:v>
                </c:pt>
                <c:pt idx="8586">
                  <c:v>0</c:v>
                </c:pt>
                <c:pt idx="8587">
                  <c:v>0</c:v>
                </c:pt>
                <c:pt idx="8588">
                  <c:v>0</c:v>
                </c:pt>
                <c:pt idx="8589">
                  <c:v>0</c:v>
                </c:pt>
                <c:pt idx="8590">
                  <c:v>0</c:v>
                </c:pt>
                <c:pt idx="8591">
                  <c:v>0</c:v>
                </c:pt>
                <c:pt idx="8592">
                  <c:v>0</c:v>
                </c:pt>
                <c:pt idx="8593">
                  <c:v>1</c:v>
                </c:pt>
                <c:pt idx="8594">
                  <c:v>0</c:v>
                </c:pt>
                <c:pt idx="8595">
                  <c:v>0</c:v>
                </c:pt>
                <c:pt idx="8596">
                  <c:v>0</c:v>
                </c:pt>
                <c:pt idx="8597">
                  <c:v>0</c:v>
                </c:pt>
                <c:pt idx="8598">
                  <c:v>0</c:v>
                </c:pt>
                <c:pt idx="8599">
                  <c:v>0</c:v>
                </c:pt>
                <c:pt idx="8600">
                  <c:v>0</c:v>
                </c:pt>
                <c:pt idx="8601">
                  <c:v>0</c:v>
                </c:pt>
                <c:pt idx="8602">
                  <c:v>0</c:v>
                </c:pt>
                <c:pt idx="8603">
                  <c:v>0</c:v>
                </c:pt>
                <c:pt idx="8604">
                  <c:v>0</c:v>
                </c:pt>
                <c:pt idx="8605">
                  <c:v>3</c:v>
                </c:pt>
                <c:pt idx="8606">
                  <c:v>3</c:v>
                </c:pt>
                <c:pt idx="8607">
                  <c:v>0</c:v>
                </c:pt>
                <c:pt idx="8608">
                  <c:v>0</c:v>
                </c:pt>
                <c:pt idx="8609">
                  <c:v>0</c:v>
                </c:pt>
                <c:pt idx="8610">
                  <c:v>1</c:v>
                </c:pt>
                <c:pt idx="8611">
                  <c:v>0</c:v>
                </c:pt>
                <c:pt idx="8612">
                  <c:v>3</c:v>
                </c:pt>
                <c:pt idx="8613">
                  <c:v>0</c:v>
                </c:pt>
                <c:pt idx="8614">
                  <c:v>4</c:v>
                </c:pt>
                <c:pt idx="8615">
                  <c:v>1</c:v>
                </c:pt>
                <c:pt idx="8616">
                  <c:v>0</c:v>
                </c:pt>
                <c:pt idx="8617">
                  <c:v>0</c:v>
                </c:pt>
                <c:pt idx="8618">
                  <c:v>1</c:v>
                </c:pt>
                <c:pt idx="8619">
                  <c:v>2</c:v>
                </c:pt>
                <c:pt idx="8620">
                  <c:v>0</c:v>
                </c:pt>
                <c:pt idx="8621">
                  <c:v>1</c:v>
                </c:pt>
                <c:pt idx="8622">
                  <c:v>1</c:v>
                </c:pt>
                <c:pt idx="8623">
                  <c:v>7</c:v>
                </c:pt>
                <c:pt idx="8624">
                  <c:v>0</c:v>
                </c:pt>
                <c:pt idx="8625">
                  <c:v>0</c:v>
                </c:pt>
                <c:pt idx="8626">
                  <c:v>0</c:v>
                </c:pt>
                <c:pt idx="8627">
                  <c:v>0</c:v>
                </c:pt>
                <c:pt idx="8628">
                  <c:v>1</c:v>
                </c:pt>
                <c:pt idx="8629">
                  <c:v>0</c:v>
                </c:pt>
                <c:pt idx="8630">
                  <c:v>1</c:v>
                </c:pt>
                <c:pt idx="8631">
                  <c:v>2</c:v>
                </c:pt>
                <c:pt idx="8632">
                  <c:v>2</c:v>
                </c:pt>
                <c:pt idx="8633">
                  <c:v>1</c:v>
                </c:pt>
                <c:pt idx="8634">
                  <c:v>1</c:v>
                </c:pt>
                <c:pt idx="8635">
                  <c:v>2</c:v>
                </c:pt>
                <c:pt idx="8636">
                  <c:v>0</c:v>
                </c:pt>
                <c:pt idx="8637">
                  <c:v>0</c:v>
                </c:pt>
                <c:pt idx="8638">
                  <c:v>0</c:v>
                </c:pt>
                <c:pt idx="8639">
                  <c:v>0</c:v>
                </c:pt>
                <c:pt idx="8640">
                  <c:v>2</c:v>
                </c:pt>
                <c:pt idx="8641">
                  <c:v>0</c:v>
                </c:pt>
                <c:pt idx="8642">
                  <c:v>4</c:v>
                </c:pt>
                <c:pt idx="8643">
                  <c:v>0</c:v>
                </c:pt>
                <c:pt idx="8644">
                  <c:v>0</c:v>
                </c:pt>
                <c:pt idx="8645">
                  <c:v>1</c:v>
                </c:pt>
                <c:pt idx="8646">
                  <c:v>0</c:v>
                </c:pt>
                <c:pt idx="8647">
                  <c:v>0</c:v>
                </c:pt>
                <c:pt idx="8648">
                  <c:v>1</c:v>
                </c:pt>
                <c:pt idx="8649">
                  <c:v>0</c:v>
                </c:pt>
                <c:pt idx="8650">
                  <c:v>0</c:v>
                </c:pt>
                <c:pt idx="8651">
                  <c:v>0</c:v>
                </c:pt>
                <c:pt idx="8652">
                  <c:v>0</c:v>
                </c:pt>
                <c:pt idx="8653">
                  <c:v>0</c:v>
                </c:pt>
                <c:pt idx="8654">
                  <c:v>0</c:v>
                </c:pt>
                <c:pt idx="8655">
                  <c:v>0</c:v>
                </c:pt>
                <c:pt idx="8656">
                  <c:v>0</c:v>
                </c:pt>
                <c:pt idx="8657">
                  <c:v>0</c:v>
                </c:pt>
                <c:pt idx="8658">
                  <c:v>0</c:v>
                </c:pt>
                <c:pt idx="8659">
                  <c:v>0</c:v>
                </c:pt>
                <c:pt idx="8660">
                  <c:v>0</c:v>
                </c:pt>
                <c:pt idx="8661">
                  <c:v>1</c:v>
                </c:pt>
                <c:pt idx="8662">
                  <c:v>0</c:v>
                </c:pt>
                <c:pt idx="8663">
                  <c:v>0</c:v>
                </c:pt>
                <c:pt idx="8664">
                  <c:v>0</c:v>
                </c:pt>
                <c:pt idx="8665">
                  <c:v>0</c:v>
                </c:pt>
                <c:pt idx="8666">
                  <c:v>0</c:v>
                </c:pt>
                <c:pt idx="8667">
                  <c:v>0</c:v>
                </c:pt>
                <c:pt idx="8668">
                  <c:v>1</c:v>
                </c:pt>
                <c:pt idx="8669">
                  <c:v>0</c:v>
                </c:pt>
                <c:pt idx="8670">
                  <c:v>2</c:v>
                </c:pt>
                <c:pt idx="8671">
                  <c:v>1</c:v>
                </c:pt>
                <c:pt idx="8672">
                  <c:v>5</c:v>
                </c:pt>
                <c:pt idx="8673">
                  <c:v>0</c:v>
                </c:pt>
                <c:pt idx="8674">
                  <c:v>0</c:v>
                </c:pt>
                <c:pt idx="8675">
                  <c:v>1</c:v>
                </c:pt>
                <c:pt idx="8676">
                  <c:v>0</c:v>
                </c:pt>
                <c:pt idx="8677">
                  <c:v>0</c:v>
                </c:pt>
                <c:pt idx="8678">
                  <c:v>0</c:v>
                </c:pt>
                <c:pt idx="8679">
                  <c:v>0</c:v>
                </c:pt>
                <c:pt idx="8680">
                  <c:v>0</c:v>
                </c:pt>
                <c:pt idx="8681">
                  <c:v>0</c:v>
                </c:pt>
                <c:pt idx="8682">
                  <c:v>0</c:v>
                </c:pt>
                <c:pt idx="8683">
                  <c:v>0</c:v>
                </c:pt>
                <c:pt idx="8684">
                  <c:v>0</c:v>
                </c:pt>
                <c:pt idx="8685">
                  <c:v>0</c:v>
                </c:pt>
                <c:pt idx="8686">
                  <c:v>0</c:v>
                </c:pt>
                <c:pt idx="8687">
                  <c:v>1</c:v>
                </c:pt>
                <c:pt idx="8688">
                  <c:v>0</c:v>
                </c:pt>
                <c:pt idx="8689">
                  <c:v>0</c:v>
                </c:pt>
                <c:pt idx="8690">
                  <c:v>1</c:v>
                </c:pt>
                <c:pt idx="8691">
                  <c:v>0</c:v>
                </c:pt>
                <c:pt idx="8692">
                  <c:v>0</c:v>
                </c:pt>
                <c:pt idx="8693">
                  <c:v>1</c:v>
                </c:pt>
                <c:pt idx="8694">
                  <c:v>0</c:v>
                </c:pt>
                <c:pt idx="8695">
                  <c:v>0</c:v>
                </c:pt>
                <c:pt idx="8696">
                  <c:v>0</c:v>
                </c:pt>
                <c:pt idx="8697">
                  <c:v>0</c:v>
                </c:pt>
                <c:pt idx="8698">
                  <c:v>0</c:v>
                </c:pt>
                <c:pt idx="8699">
                  <c:v>0</c:v>
                </c:pt>
                <c:pt idx="8700">
                  <c:v>0</c:v>
                </c:pt>
                <c:pt idx="8701">
                  <c:v>0</c:v>
                </c:pt>
                <c:pt idx="8702">
                  <c:v>0</c:v>
                </c:pt>
                <c:pt idx="8703">
                  <c:v>0</c:v>
                </c:pt>
                <c:pt idx="8704">
                  <c:v>0</c:v>
                </c:pt>
                <c:pt idx="8705">
                  <c:v>0</c:v>
                </c:pt>
                <c:pt idx="8706">
                  <c:v>2</c:v>
                </c:pt>
                <c:pt idx="8707">
                  <c:v>0</c:v>
                </c:pt>
                <c:pt idx="8708">
                  <c:v>3</c:v>
                </c:pt>
                <c:pt idx="8709">
                  <c:v>1</c:v>
                </c:pt>
                <c:pt idx="8710">
                  <c:v>0</c:v>
                </c:pt>
                <c:pt idx="8711">
                  <c:v>0</c:v>
                </c:pt>
                <c:pt idx="8712">
                  <c:v>0</c:v>
                </c:pt>
                <c:pt idx="8713">
                  <c:v>0</c:v>
                </c:pt>
                <c:pt idx="8714">
                  <c:v>1</c:v>
                </c:pt>
                <c:pt idx="8715">
                  <c:v>2</c:v>
                </c:pt>
                <c:pt idx="8716">
                  <c:v>0</c:v>
                </c:pt>
                <c:pt idx="8717">
                  <c:v>0</c:v>
                </c:pt>
                <c:pt idx="8718">
                  <c:v>0</c:v>
                </c:pt>
                <c:pt idx="8719">
                  <c:v>0</c:v>
                </c:pt>
                <c:pt idx="8720">
                  <c:v>0</c:v>
                </c:pt>
                <c:pt idx="8721">
                  <c:v>0</c:v>
                </c:pt>
                <c:pt idx="8722">
                  <c:v>0</c:v>
                </c:pt>
                <c:pt idx="8723">
                  <c:v>0</c:v>
                </c:pt>
                <c:pt idx="8724">
                  <c:v>0</c:v>
                </c:pt>
                <c:pt idx="8725">
                  <c:v>0</c:v>
                </c:pt>
                <c:pt idx="8726">
                  <c:v>0</c:v>
                </c:pt>
                <c:pt idx="8727">
                  <c:v>0</c:v>
                </c:pt>
                <c:pt idx="8728">
                  <c:v>0</c:v>
                </c:pt>
                <c:pt idx="8729">
                  <c:v>0</c:v>
                </c:pt>
                <c:pt idx="8730">
                  <c:v>0</c:v>
                </c:pt>
                <c:pt idx="8731">
                  <c:v>0</c:v>
                </c:pt>
                <c:pt idx="8732">
                  <c:v>0</c:v>
                </c:pt>
                <c:pt idx="8733">
                  <c:v>0</c:v>
                </c:pt>
                <c:pt idx="8734">
                  <c:v>0</c:v>
                </c:pt>
                <c:pt idx="8735">
                  <c:v>0</c:v>
                </c:pt>
                <c:pt idx="8736">
                  <c:v>0</c:v>
                </c:pt>
                <c:pt idx="8737">
                  <c:v>0</c:v>
                </c:pt>
                <c:pt idx="8738">
                  <c:v>0</c:v>
                </c:pt>
                <c:pt idx="8739">
                  <c:v>0</c:v>
                </c:pt>
                <c:pt idx="8740">
                  <c:v>3</c:v>
                </c:pt>
                <c:pt idx="8741">
                  <c:v>0</c:v>
                </c:pt>
                <c:pt idx="8742">
                  <c:v>2</c:v>
                </c:pt>
                <c:pt idx="8743">
                  <c:v>0</c:v>
                </c:pt>
                <c:pt idx="8744">
                  <c:v>0</c:v>
                </c:pt>
                <c:pt idx="8745">
                  <c:v>0</c:v>
                </c:pt>
                <c:pt idx="8746">
                  <c:v>0</c:v>
                </c:pt>
                <c:pt idx="8747">
                  <c:v>0</c:v>
                </c:pt>
                <c:pt idx="8748">
                  <c:v>0</c:v>
                </c:pt>
                <c:pt idx="8749">
                  <c:v>0</c:v>
                </c:pt>
                <c:pt idx="8750">
                  <c:v>0</c:v>
                </c:pt>
                <c:pt idx="8751">
                  <c:v>0</c:v>
                </c:pt>
                <c:pt idx="8752">
                  <c:v>0</c:v>
                </c:pt>
                <c:pt idx="8753">
                  <c:v>0</c:v>
                </c:pt>
                <c:pt idx="8754">
                  <c:v>0</c:v>
                </c:pt>
                <c:pt idx="8755">
                  <c:v>0</c:v>
                </c:pt>
                <c:pt idx="8756">
                  <c:v>0</c:v>
                </c:pt>
                <c:pt idx="8757">
                  <c:v>0</c:v>
                </c:pt>
                <c:pt idx="8758">
                  <c:v>7</c:v>
                </c:pt>
                <c:pt idx="8759">
                  <c:v>5</c:v>
                </c:pt>
                <c:pt idx="8760">
                  <c:v>0</c:v>
                </c:pt>
                <c:pt idx="8761">
                  <c:v>0</c:v>
                </c:pt>
                <c:pt idx="8762">
                  <c:v>0</c:v>
                </c:pt>
                <c:pt idx="8763">
                  <c:v>0</c:v>
                </c:pt>
                <c:pt idx="8764">
                  <c:v>0</c:v>
                </c:pt>
                <c:pt idx="8765">
                  <c:v>0</c:v>
                </c:pt>
                <c:pt idx="8766">
                  <c:v>0</c:v>
                </c:pt>
                <c:pt idx="8767">
                  <c:v>0</c:v>
                </c:pt>
                <c:pt idx="8768">
                  <c:v>0</c:v>
                </c:pt>
                <c:pt idx="8769">
                  <c:v>0</c:v>
                </c:pt>
                <c:pt idx="8770">
                  <c:v>0</c:v>
                </c:pt>
                <c:pt idx="8771">
                  <c:v>0</c:v>
                </c:pt>
                <c:pt idx="8772">
                  <c:v>0</c:v>
                </c:pt>
                <c:pt idx="8773">
                  <c:v>0</c:v>
                </c:pt>
                <c:pt idx="8774">
                  <c:v>0</c:v>
                </c:pt>
                <c:pt idx="8775">
                  <c:v>0</c:v>
                </c:pt>
                <c:pt idx="8776">
                  <c:v>2</c:v>
                </c:pt>
                <c:pt idx="8777">
                  <c:v>0</c:v>
                </c:pt>
                <c:pt idx="8778">
                  <c:v>0</c:v>
                </c:pt>
                <c:pt idx="8779">
                  <c:v>0</c:v>
                </c:pt>
                <c:pt idx="8780">
                  <c:v>0</c:v>
                </c:pt>
                <c:pt idx="8781">
                  <c:v>0</c:v>
                </c:pt>
                <c:pt idx="8782">
                  <c:v>0</c:v>
                </c:pt>
                <c:pt idx="8783">
                  <c:v>0</c:v>
                </c:pt>
                <c:pt idx="8784">
                  <c:v>0</c:v>
                </c:pt>
                <c:pt idx="8785">
                  <c:v>0</c:v>
                </c:pt>
                <c:pt idx="8786">
                  <c:v>1</c:v>
                </c:pt>
                <c:pt idx="8787">
                  <c:v>0</c:v>
                </c:pt>
                <c:pt idx="8788">
                  <c:v>0</c:v>
                </c:pt>
                <c:pt idx="8789">
                  <c:v>0</c:v>
                </c:pt>
                <c:pt idx="8790">
                  <c:v>0</c:v>
                </c:pt>
                <c:pt idx="8791">
                  <c:v>0</c:v>
                </c:pt>
                <c:pt idx="8792">
                  <c:v>0</c:v>
                </c:pt>
                <c:pt idx="8793">
                  <c:v>0</c:v>
                </c:pt>
                <c:pt idx="8794">
                  <c:v>0</c:v>
                </c:pt>
                <c:pt idx="8795">
                  <c:v>0</c:v>
                </c:pt>
                <c:pt idx="8796">
                  <c:v>0</c:v>
                </c:pt>
                <c:pt idx="8797">
                  <c:v>0</c:v>
                </c:pt>
                <c:pt idx="8798">
                  <c:v>0</c:v>
                </c:pt>
                <c:pt idx="8799">
                  <c:v>0</c:v>
                </c:pt>
                <c:pt idx="8800">
                  <c:v>0</c:v>
                </c:pt>
                <c:pt idx="8801">
                  <c:v>0</c:v>
                </c:pt>
                <c:pt idx="8802">
                  <c:v>0</c:v>
                </c:pt>
                <c:pt idx="8803">
                  <c:v>0</c:v>
                </c:pt>
                <c:pt idx="8804">
                  <c:v>0</c:v>
                </c:pt>
                <c:pt idx="8805">
                  <c:v>2</c:v>
                </c:pt>
                <c:pt idx="8806">
                  <c:v>0</c:v>
                </c:pt>
                <c:pt idx="8807">
                  <c:v>0</c:v>
                </c:pt>
                <c:pt idx="8808">
                  <c:v>0</c:v>
                </c:pt>
                <c:pt idx="8809">
                  <c:v>0</c:v>
                </c:pt>
                <c:pt idx="8810">
                  <c:v>0</c:v>
                </c:pt>
                <c:pt idx="8811">
                  <c:v>0</c:v>
                </c:pt>
                <c:pt idx="8812">
                  <c:v>1</c:v>
                </c:pt>
                <c:pt idx="8813">
                  <c:v>0</c:v>
                </c:pt>
                <c:pt idx="8814">
                  <c:v>0</c:v>
                </c:pt>
                <c:pt idx="8815">
                  <c:v>0</c:v>
                </c:pt>
                <c:pt idx="8816">
                  <c:v>0</c:v>
                </c:pt>
                <c:pt idx="8817">
                  <c:v>0</c:v>
                </c:pt>
                <c:pt idx="8818">
                  <c:v>0</c:v>
                </c:pt>
                <c:pt idx="8819">
                  <c:v>0</c:v>
                </c:pt>
                <c:pt idx="8820">
                  <c:v>0</c:v>
                </c:pt>
                <c:pt idx="8821">
                  <c:v>0</c:v>
                </c:pt>
                <c:pt idx="8822">
                  <c:v>0</c:v>
                </c:pt>
                <c:pt idx="8823">
                  <c:v>0</c:v>
                </c:pt>
                <c:pt idx="8824">
                  <c:v>0</c:v>
                </c:pt>
                <c:pt idx="8825">
                  <c:v>2</c:v>
                </c:pt>
                <c:pt idx="8826">
                  <c:v>0</c:v>
                </c:pt>
                <c:pt idx="8827">
                  <c:v>0</c:v>
                </c:pt>
                <c:pt idx="8828">
                  <c:v>0</c:v>
                </c:pt>
                <c:pt idx="8829">
                  <c:v>0</c:v>
                </c:pt>
                <c:pt idx="8830">
                  <c:v>1</c:v>
                </c:pt>
                <c:pt idx="8831">
                  <c:v>0</c:v>
                </c:pt>
                <c:pt idx="8832">
                  <c:v>0</c:v>
                </c:pt>
                <c:pt idx="8833">
                  <c:v>0</c:v>
                </c:pt>
                <c:pt idx="8834">
                  <c:v>0</c:v>
                </c:pt>
                <c:pt idx="8835">
                  <c:v>0</c:v>
                </c:pt>
                <c:pt idx="8836">
                  <c:v>0</c:v>
                </c:pt>
                <c:pt idx="8837">
                  <c:v>0</c:v>
                </c:pt>
                <c:pt idx="8838">
                  <c:v>2</c:v>
                </c:pt>
                <c:pt idx="8839">
                  <c:v>0</c:v>
                </c:pt>
                <c:pt idx="8840">
                  <c:v>1</c:v>
                </c:pt>
                <c:pt idx="8841">
                  <c:v>0</c:v>
                </c:pt>
                <c:pt idx="8842">
                  <c:v>0</c:v>
                </c:pt>
                <c:pt idx="8843">
                  <c:v>0</c:v>
                </c:pt>
                <c:pt idx="8844">
                  <c:v>0</c:v>
                </c:pt>
                <c:pt idx="8845">
                  <c:v>0</c:v>
                </c:pt>
                <c:pt idx="8846">
                  <c:v>0</c:v>
                </c:pt>
                <c:pt idx="8847">
                  <c:v>0</c:v>
                </c:pt>
                <c:pt idx="8848">
                  <c:v>0</c:v>
                </c:pt>
                <c:pt idx="8849">
                  <c:v>0</c:v>
                </c:pt>
                <c:pt idx="8850">
                  <c:v>0</c:v>
                </c:pt>
                <c:pt idx="8851">
                  <c:v>2</c:v>
                </c:pt>
                <c:pt idx="8852">
                  <c:v>0</c:v>
                </c:pt>
                <c:pt idx="8853">
                  <c:v>0</c:v>
                </c:pt>
                <c:pt idx="8854">
                  <c:v>0</c:v>
                </c:pt>
                <c:pt idx="8855">
                  <c:v>1</c:v>
                </c:pt>
                <c:pt idx="8856">
                  <c:v>0</c:v>
                </c:pt>
                <c:pt idx="8857">
                  <c:v>0</c:v>
                </c:pt>
                <c:pt idx="8858">
                  <c:v>2</c:v>
                </c:pt>
                <c:pt idx="8859">
                  <c:v>0</c:v>
                </c:pt>
                <c:pt idx="8860">
                  <c:v>0</c:v>
                </c:pt>
                <c:pt idx="8861">
                  <c:v>0</c:v>
                </c:pt>
                <c:pt idx="8862">
                  <c:v>4</c:v>
                </c:pt>
                <c:pt idx="8863">
                  <c:v>2</c:v>
                </c:pt>
                <c:pt idx="8864">
                  <c:v>0</c:v>
                </c:pt>
                <c:pt idx="8865">
                  <c:v>3</c:v>
                </c:pt>
                <c:pt idx="8866">
                  <c:v>3</c:v>
                </c:pt>
                <c:pt idx="8867">
                  <c:v>3</c:v>
                </c:pt>
                <c:pt idx="8868">
                  <c:v>1</c:v>
                </c:pt>
                <c:pt idx="8869">
                  <c:v>0</c:v>
                </c:pt>
                <c:pt idx="8870">
                  <c:v>0</c:v>
                </c:pt>
                <c:pt idx="8871">
                  <c:v>4</c:v>
                </c:pt>
                <c:pt idx="8872">
                  <c:v>2</c:v>
                </c:pt>
                <c:pt idx="8873">
                  <c:v>2</c:v>
                </c:pt>
                <c:pt idx="8874">
                  <c:v>0</c:v>
                </c:pt>
                <c:pt idx="8875">
                  <c:v>0</c:v>
                </c:pt>
                <c:pt idx="8876">
                  <c:v>0</c:v>
                </c:pt>
                <c:pt idx="8877">
                  <c:v>0</c:v>
                </c:pt>
                <c:pt idx="8878">
                  <c:v>0</c:v>
                </c:pt>
                <c:pt idx="8879">
                  <c:v>0</c:v>
                </c:pt>
                <c:pt idx="8880">
                  <c:v>2</c:v>
                </c:pt>
                <c:pt idx="8881">
                  <c:v>1</c:v>
                </c:pt>
                <c:pt idx="8882">
                  <c:v>2</c:v>
                </c:pt>
                <c:pt idx="8883">
                  <c:v>0</c:v>
                </c:pt>
                <c:pt idx="8884">
                  <c:v>0</c:v>
                </c:pt>
                <c:pt idx="8885">
                  <c:v>0</c:v>
                </c:pt>
                <c:pt idx="8886">
                  <c:v>0</c:v>
                </c:pt>
                <c:pt idx="8887">
                  <c:v>0</c:v>
                </c:pt>
                <c:pt idx="8888">
                  <c:v>0</c:v>
                </c:pt>
                <c:pt idx="8889">
                  <c:v>0</c:v>
                </c:pt>
                <c:pt idx="8890">
                  <c:v>0</c:v>
                </c:pt>
                <c:pt idx="8891">
                  <c:v>0</c:v>
                </c:pt>
                <c:pt idx="8892">
                  <c:v>0</c:v>
                </c:pt>
                <c:pt idx="8893">
                  <c:v>0</c:v>
                </c:pt>
                <c:pt idx="8894">
                  <c:v>0</c:v>
                </c:pt>
                <c:pt idx="8895">
                  <c:v>1</c:v>
                </c:pt>
                <c:pt idx="8896">
                  <c:v>0</c:v>
                </c:pt>
                <c:pt idx="8897">
                  <c:v>0</c:v>
                </c:pt>
                <c:pt idx="8898">
                  <c:v>0</c:v>
                </c:pt>
                <c:pt idx="8899">
                  <c:v>0</c:v>
                </c:pt>
                <c:pt idx="8900">
                  <c:v>0</c:v>
                </c:pt>
                <c:pt idx="8901">
                  <c:v>0</c:v>
                </c:pt>
                <c:pt idx="8902">
                  <c:v>0</c:v>
                </c:pt>
                <c:pt idx="8903">
                  <c:v>0</c:v>
                </c:pt>
                <c:pt idx="8904">
                  <c:v>0</c:v>
                </c:pt>
                <c:pt idx="8905">
                  <c:v>0</c:v>
                </c:pt>
                <c:pt idx="8906">
                  <c:v>0</c:v>
                </c:pt>
                <c:pt idx="8907">
                  <c:v>0</c:v>
                </c:pt>
                <c:pt idx="8908">
                  <c:v>0</c:v>
                </c:pt>
                <c:pt idx="8909">
                  <c:v>0</c:v>
                </c:pt>
                <c:pt idx="8910">
                  <c:v>0</c:v>
                </c:pt>
                <c:pt idx="8911">
                  <c:v>0</c:v>
                </c:pt>
                <c:pt idx="8912">
                  <c:v>0</c:v>
                </c:pt>
                <c:pt idx="8913">
                  <c:v>1</c:v>
                </c:pt>
                <c:pt idx="8914">
                  <c:v>4</c:v>
                </c:pt>
                <c:pt idx="8915">
                  <c:v>0</c:v>
                </c:pt>
                <c:pt idx="8916">
                  <c:v>0</c:v>
                </c:pt>
                <c:pt idx="8917">
                  <c:v>0</c:v>
                </c:pt>
                <c:pt idx="8918">
                  <c:v>0</c:v>
                </c:pt>
                <c:pt idx="8919">
                  <c:v>0</c:v>
                </c:pt>
                <c:pt idx="8920">
                  <c:v>0</c:v>
                </c:pt>
                <c:pt idx="8921">
                  <c:v>0</c:v>
                </c:pt>
                <c:pt idx="8922">
                  <c:v>0</c:v>
                </c:pt>
                <c:pt idx="8923">
                  <c:v>0</c:v>
                </c:pt>
                <c:pt idx="8924">
                  <c:v>0</c:v>
                </c:pt>
                <c:pt idx="8925">
                  <c:v>0</c:v>
                </c:pt>
                <c:pt idx="8926">
                  <c:v>0</c:v>
                </c:pt>
                <c:pt idx="8927">
                  <c:v>0</c:v>
                </c:pt>
                <c:pt idx="8928">
                  <c:v>0</c:v>
                </c:pt>
                <c:pt idx="8929">
                  <c:v>0</c:v>
                </c:pt>
                <c:pt idx="8930">
                  <c:v>0</c:v>
                </c:pt>
                <c:pt idx="8931">
                  <c:v>0</c:v>
                </c:pt>
                <c:pt idx="8932">
                  <c:v>0</c:v>
                </c:pt>
                <c:pt idx="8933">
                  <c:v>0</c:v>
                </c:pt>
                <c:pt idx="8934">
                  <c:v>0</c:v>
                </c:pt>
                <c:pt idx="8935">
                  <c:v>0</c:v>
                </c:pt>
                <c:pt idx="8936">
                  <c:v>0</c:v>
                </c:pt>
                <c:pt idx="8937">
                  <c:v>0</c:v>
                </c:pt>
                <c:pt idx="8938">
                  <c:v>0</c:v>
                </c:pt>
                <c:pt idx="8939">
                  <c:v>0</c:v>
                </c:pt>
                <c:pt idx="8940">
                  <c:v>1</c:v>
                </c:pt>
                <c:pt idx="8941">
                  <c:v>0</c:v>
                </c:pt>
                <c:pt idx="8942">
                  <c:v>2</c:v>
                </c:pt>
                <c:pt idx="8943">
                  <c:v>0</c:v>
                </c:pt>
                <c:pt idx="8944">
                  <c:v>0</c:v>
                </c:pt>
                <c:pt idx="8945">
                  <c:v>0</c:v>
                </c:pt>
                <c:pt idx="8946">
                  <c:v>0</c:v>
                </c:pt>
                <c:pt idx="8947">
                  <c:v>0</c:v>
                </c:pt>
                <c:pt idx="8948">
                  <c:v>0</c:v>
                </c:pt>
                <c:pt idx="8949">
                  <c:v>0</c:v>
                </c:pt>
                <c:pt idx="8950">
                  <c:v>0</c:v>
                </c:pt>
                <c:pt idx="8951">
                  <c:v>0</c:v>
                </c:pt>
                <c:pt idx="8952">
                  <c:v>0</c:v>
                </c:pt>
                <c:pt idx="8953">
                  <c:v>0</c:v>
                </c:pt>
                <c:pt idx="8954">
                  <c:v>0</c:v>
                </c:pt>
                <c:pt idx="8955">
                  <c:v>0</c:v>
                </c:pt>
                <c:pt idx="8956">
                  <c:v>0</c:v>
                </c:pt>
                <c:pt idx="8957">
                  <c:v>0</c:v>
                </c:pt>
                <c:pt idx="8958">
                  <c:v>0</c:v>
                </c:pt>
                <c:pt idx="8959">
                  <c:v>0</c:v>
                </c:pt>
                <c:pt idx="8960">
                  <c:v>1</c:v>
                </c:pt>
                <c:pt idx="8961">
                  <c:v>0</c:v>
                </c:pt>
                <c:pt idx="8962">
                  <c:v>0</c:v>
                </c:pt>
                <c:pt idx="8963">
                  <c:v>0</c:v>
                </c:pt>
                <c:pt idx="8964">
                  <c:v>1</c:v>
                </c:pt>
                <c:pt idx="8965">
                  <c:v>0</c:v>
                </c:pt>
                <c:pt idx="8966">
                  <c:v>0</c:v>
                </c:pt>
                <c:pt idx="8967">
                  <c:v>0</c:v>
                </c:pt>
                <c:pt idx="8968">
                  <c:v>0</c:v>
                </c:pt>
                <c:pt idx="8969">
                  <c:v>0</c:v>
                </c:pt>
                <c:pt idx="8970">
                  <c:v>0</c:v>
                </c:pt>
                <c:pt idx="8971">
                  <c:v>0</c:v>
                </c:pt>
                <c:pt idx="8972">
                  <c:v>0</c:v>
                </c:pt>
                <c:pt idx="8973">
                  <c:v>0</c:v>
                </c:pt>
                <c:pt idx="8974">
                  <c:v>0</c:v>
                </c:pt>
                <c:pt idx="8975">
                  <c:v>0</c:v>
                </c:pt>
                <c:pt idx="8976">
                  <c:v>0</c:v>
                </c:pt>
                <c:pt idx="8977">
                  <c:v>0</c:v>
                </c:pt>
                <c:pt idx="8978">
                  <c:v>0</c:v>
                </c:pt>
                <c:pt idx="8979">
                  <c:v>0</c:v>
                </c:pt>
                <c:pt idx="8980">
                  <c:v>1</c:v>
                </c:pt>
                <c:pt idx="8981">
                  <c:v>1</c:v>
                </c:pt>
                <c:pt idx="8982">
                  <c:v>1</c:v>
                </c:pt>
                <c:pt idx="8983">
                  <c:v>0</c:v>
                </c:pt>
                <c:pt idx="8984">
                  <c:v>0</c:v>
                </c:pt>
                <c:pt idx="8985">
                  <c:v>0</c:v>
                </c:pt>
                <c:pt idx="8986">
                  <c:v>0</c:v>
                </c:pt>
                <c:pt idx="8987">
                  <c:v>0</c:v>
                </c:pt>
                <c:pt idx="8988">
                  <c:v>0</c:v>
                </c:pt>
                <c:pt idx="8989">
                  <c:v>0</c:v>
                </c:pt>
                <c:pt idx="8990">
                  <c:v>0</c:v>
                </c:pt>
                <c:pt idx="8991">
                  <c:v>0</c:v>
                </c:pt>
                <c:pt idx="8992">
                  <c:v>0</c:v>
                </c:pt>
                <c:pt idx="8993">
                  <c:v>0</c:v>
                </c:pt>
                <c:pt idx="8994">
                  <c:v>0</c:v>
                </c:pt>
                <c:pt idx="8995">
                  <c:v>0</c:v>
                </c:pt>
                <c:pt idx="8996">
                  <c:v>0</c:v>
                </c:pt>
                <c:pt idx="8997">
                  <c:v>0</c:v>
                </c:pt>
                <c:pt idx="8998">
                  <c:v>2</c:v>
                </c:pt>
                <c:pt idx="8999">
                  <c:v>0</c:v>
                </c:pt>
                <c:pt idx="9000">
                  <c:v>0</c:v>
                </c:pt>
                <c:pt idx="9001">
                  <c:v>0</c:v>
                </c:pt>
                <c:pt idx="9002">
                  <c:v>0</c:v>
                </c:pt>
                <c:pt idx="9003">
                  <c:v>0</c:v>
                </c:pt>
                <c:pt idx="9004">
                  <c:v>0</c:v>
                </c:pt>
                <c:pt idx="9005">
                  <c:v>0</c:v>
                </c:pt>
                <c:pt idx="9006">
                  <c:v>0</c:v>
                </c:pt>
                <c:pt idx="9007">
                  <c:v>0</c:v>
                </c:pt>
                <c:pt idx="9008">
                  <c:v>0</c:v>
                </c:pt>
                <c:pt idx="9009">
                  <c:v>0</c:v>
                </c:pt>
                <c:pt idx="9010">
                  <c:v>0</c:v>
                </c:pt>
                <c:pt idx="9011">
                  <c:v>0</c:v>
                </c:pt>
                <c:pt idx="9012">
                  <c:v>4</c:v>
                </c:pt>
                <c:pt idx="9013">
                  <c:v>0</c:v>
                </c:pt>
                <c:pt idx="9014">
                  <c:v>0</c:v>
                </c:pt>
                <c:pt idx="9015">
                  <c:v>1</c:v>
                </c:pt>
                <c:pt idx="9016">
                  <c:v>5</c:v>
                </c:pt>
                <c:pt idx="9017">
                  <c:v>0</c:v>
                </c:pt>
                <c:pt idx="9018">
                  <c:v>0</c:v>
                </c:pt>
                <c:pt idx="9019">
                  <c:v>0</c:v>
                </c:pt>
                <c:pt idx="9020">
                  <c:v>0</c:v>
                </c:pt>
                <c:pt idx="9021">
                  <c:v>0</c:v>
                </c:pt>
                <c:pt idx="9022">
                  <c:v>0</c:v>
                </c:pt>
                <c:pt idx="9023">
                  <c:v>4</c:v>
                </c:pt>
                <c:pt idx="9024">
                  <c:v>0</c:v>
                </c:pt>
                <c:pt idx="9025">
                  <c:v>0</c:v>
                </c:pt>
                <c:pt idx="9026">
                  <c:v>0</c:v>
                </c:pt>
                <c:pt idx="9027">
                  <c:v>0</c:v>
                </c:pt>
                <c:pt idx="9028">
                  <c:v>0</c:v>
                </c:pt>
                <c:pt idx="9029">
                  <c:v>0</c:v>
                </c:pt>
                <c:pt idx="9030">
                  <c:v>0</c:v>
                </c:pt>
                <c:pt idx="9031">
                  <c:v>1</c:v>
                </c:pt>
                <c:pt idx="9032">
                  <c:v>0</c:v>
                </c:pt>
                <c:pt idx="9033">
                  <c:v>0</c:v>
                </c:pt>
                <c:pt idx="9034">
                  <c:v>0</c:v>
                </c:pt>
                <c:pt idx="9035">
                  <c:v>0</c:v>
                </c:pt>
                <c:pt idx="9036">
                  <c:v>0</c:v>
                </c:pt>
                <c:pt idx="9037">
                  <c:v>1</c:v>
                </c:pt>
                <c:pt idx="9038">
                  <c:v>0</c:v>
                </c:pt>
                <c:pt idx="9039">
                  <c:v>0</c:v>
                </c:pt>
                <c:pt idx="9040">
                  <c:v>0</c:v>
                </c:pt>
                <c:pt idx="9041">
                  <c:v>0</c:v>
                </c:pt>
                <c:pt idx="9042">
                  <c:v>0</c:v>
                </c:pt>
                <c:pt idx="9043">
                  <c:v>2</c:v>
                </c:pt>
                <c:pt idx="9044">
                  <c:v>1</c:v>
                </c:pt>
                <c:pt idx="9045">
                  <c:v>1</c:v>
                </c:pt>
                <c:pt idx="9046">
                  <c:v>1</c:v>
                </c:pt>
                <c:pt idx="9047">
                  <c:v>0</c:v>
                </c:pt>
                <c:pt idx="9048">
                  <c:v>4</c:v>
                </c:pt>
                <c:pt idx="9049">
                  <c:v>0</c:v>
                </c:pt>
                <c:pt idx="9050">
                  <c:v>0</c:v>
                </c:pt>
                <c:pt idx="9051">
                  <c:v>0</c:v>
                </c:pt>
                <c:pt idx="9052">
                  <c:v>0</c:v>
                </c:pt>
                <c:pt idx="9053">
                  <c:v>0</c:v>
                </c:pt>
                <c:pt idx="9054">
                  <c:v>1</c:v>
                </c:pt>
                <c:pt idx="9055">
                  <c:v>0</c:v>
                </c:pt>
                <c:pt idx="9056">
                  <c:v>2</c:v>
                </c:pt>
                <c:pt idx="9057">
                  <c:v>0</c:v>
                </c:pt>
                <c:pt idx="9058">
                  <c:v>2</c:v>
                </c:pt>
                <c:pt idx="9059">
                  <c:v>0</c:v>
                </c:pt>
                <c:pt idx="9060">
                  <c:v>0</c:v>
                </c:pt>
                <c:pt idx="9061">
                  <c:v>4</c:v>
                </c:pt>
                <c:pt idx="9062">
                  <c:v>0</c:v>
                </c:pt>
                <c:pt idx="9063">
                  <c:v>1</c:v>
                </c:pt>
                <c:pt idx="9064">
                  <c:v>0</c:v>
                </c:pt>
                <c:pt idx="9065">
                  <c:v>0</c:v>
                </c:pt>
                <c:pt idx="9066">
                  <c:v>0</c:v>
                </c:pt>
                <c:pt idx="9067">
                  <c:v>2</c:v>
                </c:pt>
                <c:pt idx="9068">
                  <c:v>0</c:v>
                </c:pt>
                <c:pt idx="9069">
                  <c:v>0</c:v>
                </c:pt>
                <c:pt idx="9070">
                  <c:v>0</c:v>
                </c:pt>
                <c:pt idx="9071">
                  <c:v>0</c:v>
                </c:pt>
                <c:pt idx="9072">
                  <c:v>0</c:v>
                </c:pt>
                <c:pt idx="9073">
                  <c:v>0</c:v>
                </c:pt>
                <c:pt idx="9074">
                  <c:v>0</c:v>
                </c:pt>
                <c:pt idx="9075">
                  <c:v>1</c:v>
                </c:pt>
                <c:pt idx="9076">
                  <c:v>0</c:v>
                </c:pt>
                <c:pt idx="9077">
                  <c:v>0</c:v>
                </c:pt>
                <c:pt idx="9078">
                  <c:v>0</c:v>
                </c:pt>
                <c:pt idx="9079">
                  <c:v>0</c:v>
                </c:pt>
                <c:pt idx="9080">
                  <c:v>0</c:v>
                </c:pt>
                <c:pt idx="9081">
                  <c:v>0</c:v>
                </c:pt>
                <c:pt idx="9082">
                  <c:v>0</c:v>
                </c:pt>
                <c:pt idx="9083">
                  <c:v>2</c:v>
                </c:pt>
                <c:pt idx="9084">
                  <c:v>3</c:v>
                </c:pt>
                <c:pt idx="9085">
                  <c:v>0</c:v>
                </c:pt>
                <c:pt idx="9086">
                  <c:v>2</c:v>
                </c:pt>
                <c:pt idx="9087">
                  <c:v>0</c:v>
                </c:pt>
                <c:pt idx="9088">
                  <c:v>0</c:v>
                </c:pt>
                <c:pt idx="9089">
                  <c:v>1</c:v>
                </c:pt>
                <c:pt idx="9090">
                  <c:v>0</c:v>
                </c:pt>
                <c:pt idx="9091">
                  <c:v>0</c:v>
                </c:pt>
                <c:pt idx="9092">
                  <c:v>0</c:v>
                </c:pt>
                <c:pt idx="9093">
                  <c:v>0</c:v>
                </c:pt>
                <c:pt idx="9094">
                  <c:v>0</c:v>
                </c:pt>
                <c:pt idx="9095">
                  <c:v>0</c:v>
                </c:pt>
                <c:pt idx="9096">
                  <c:v>0</c:v>
                </c:pt>
                <c:pt idx="9097">
                  <c:v>0</c:v>
                </c:pt>
                <c:pt idx="9098">
                  <c:v>0</c:v>
                </c:pt>
                <c:pt idx="9099">
                  <c:v>0</c:v>
                </c:pt>
                <c:pt idx="9100">
                  <c:v>0</c:v>
                </c:pt>
                <c:pt idx="9101">
                  <c:v>1</c:v>
                </c:pt>
                <c:pt idx="9102">
                  <c:v>1</c:v>
                </c:pt>
                <c:pt idx="9103">
                  <c:v>0</c:v>
                </c:pt>
                <c:pt idx="9104">
                  <c:v>1</c:v>
                </c:pt>
                <c:pt idx="9105">
                  <c:v>0</c:v>
                </c:pt>
                <c:pt idx="9106">
                  <c:v>0</c:v>
                </c:pt>
                <c:pt idx="9107">
                  <c:v>1</c:v>
                </c:pt>
                <c:pt idx="9108">
                  <c:v>0</c:v>
                </c:pt>
                <c:pt idx="9109">
                  <c:v>1</c:v>
                </c:pt>
                <c:pt idx="9110">
                  <c:v>0</c:v>
                </c:pt>
                <c:pt idx="9111">
                  <c:v>9</c:v>
                </c:pt>
                <c:pt idx="9112">
                  <c:v>0</c:v>
                </c:pt>
                <c:pt idx="9113">
                  <c:v>0</c:v>
                </c:pt>
                <c:pt idx="9114">
                  <c:v>0</c:v>
                </c:pt>
                <c:pt idx="9115">
                  <c:v>0</c:v>
                </c:pt>
                <c:pt idx="9116">
                  <c:v>2</c:v>
                </c:pt>
                <c:pt idx="9117">
                  <c:v>1</c:v>
                </c:pt>
                <c:pt idx="9118">
                  <c:v>3</c:v>
                </c:pt>
                <c:pt idx="9119">
                  <c:v>1</c:v>
                </c:pt>
                <c:pt idx="9120">
                  <c:v>0</c:v>
                </c:pt>
                <c:pt idx="9121">
                  <c:v>0</c:v>
                </c:pt>
                <c:pt idx="9122">
                  <c:v>1</c:v>
                </c:pt>
                <c:pt idx="9123">
                  <c:v>2</c:v>
                </c:pt>
                <c:pt idx="9124">
                  <c:v>5</c:v>
                </c:pt>
                <c:pt idx="9125">
                  <c:v>1</c:v>
                </c:pt>
                <c:pt idx="9126">
                  <c:v>0</c:v>
                </c:pt>
                <c:pt idx="9127">
                  <c:v>8</c:v>
                </c:pt>
                <c:pt idx="9128">
                  <c:v>2</c:v>
                </c:pt>
                <c:pt idx="9129">
                  <c:v>3</c:v>
                </c:pt>
                <c:pt idx="9130">
                  <c:v>2</c:v>
                </c:pt>
                <c:pt idx="9131">
                  <c:v>0</c:v>
                </c:pt>
                <c:pt idx="9132">
                  <c:v>0</c:v>
                </c:pt>
                <c:pt idx="9133">
                  <c:v>4</c:v>
                </c:pt>
                <c:pt idx="9134">
                  <c:v>1</c:v>
                </c:pt>
                <c:pt idx="9135">
                  <c:v>0</c:v>
                </c:pt>
                <c:pt idx="9136">
                  <c:v>1</c:v>
                </c:pt>
                <c:pt idx="9137">
                  <c:v>0</c:v>
                </c:pt>
                <c:pt idx="9138">
                  <c:v>0</c:v>
                </c:pt>
                <c:pt idx="9139">
                  <c:v>0</c:v>
                </c:pt>
                <c:pt idx="9140">
                  <c:v>1</c:v>
                </c:pt>
                <c:pt idx="9141">
                  <c:v>2</c:v>
                </c:pt>
                <c:pt idx="9142">
                  <c:v>0</c:v>
                </c:pt>
                <c:pt idx="9143">
                  <c:v>0</c:v>
                </c:pt>
                <c:pt idx="9144">
                  <c:v>0</c:v>
                </c:pt>
                <c:pt idx="9145">
                  <c:v>0</c:v>
                </c:pt>
                <c:pt idx="9146">
                  <c:v>0</c:v>
                </c:pt>
                <c:pt idx="9147">
                  <c:v>0</c:v>
                </c:pt>
                <c:pt idx="9148">
                  <c:v>0</c:v>
                </c:pt>
                <c:pt idx="9149">
                  <c:v>0</c:v>
                </c:pt>
                <c:pt idx="9150">
                  <c:v>0</c:v>
                </c:pt>
                <c:pt idx="9151">
                  <c:v>0</c:v>
                </c:pt>
                <c:pt idx="9152">
                  <c:v>0</c:v>
                </c:pt>
                <c:pt idx="9153">
                  <c:v>0</c:v>
                </c:pt>
                <c:pt idx="9154">
                  <c:v>0</c:v>
                </c:pt>
                <c:pt idx="9155">
                  <c:v>0</c:v>
                </c:pt>
                <c:pt idx="9156">
                  <c:v>0</c:v>
                </c:pt>
                <c:pt idx="9157">
                  <c:v>0</c:v>
                </c:pt>
                <c:pt idx="9158">
                  <c:v>0</c:v>
                </c:pt>
                <c:pt idx="9159">
                  <c:v>0</c:v>
                </c:pt>
                <c:pt idx="9160">
                  <c:v>0</c:v>
                </c:pt>
                <c:pt idx="9161">
                  <c:v>0</c:v>
                </c:pt>
                <c:pt idx="9162">
                  <c:v>0</c:v>
                </c:pt>
                <c:pt idx="9163">
                  <c:v>0</c:v>
                </c:pt>
                <c:pt idx="9164">
                  <c:v>0</c:v>
                </c:pt>
                <c:pt idx="9165">
                  <c:v>0</c:v>
                </c:pt>
                <c:pt idx="9166">
                  <c:v>0</c:v>
                </c:pt>
                <c:pt idx="9167">
                  <c:v>0</c:v>
                </c:pt>
                <c:pt idx="9168">
                  <c:v>0</c:v>
                </c:pt>
                <c:pt idx="9169">
                  <c:v>1</c:v>
                </c:pt>
                <c:pt idx="9170">
                  <c:v>2</c:v>
                </c:pt>
                <c:pt idx="9171">
                  <c:v>1</c:v>
                </c:pt>
                <c:pt idx="9172">
                  <c:v>0</c:v>
                </c:pt>
                <c:pt idx="9173">
                  <c:v>0</c:v>
                </c:pt>
                <c:pt idx="9174">
                  <c:v>0</c:v>
                </c:pt>
                <c:pt idx="9175">
                  <c:v>0</c:v>
                </c:pt>
                <c:pt idx="9176">
                  <c:v>0</c:v>
                </c:pt>
                <c:pt idx="9177">
                  <c:v>0</c:v>
                </c:pt>
                <c:pt idx="9178">
                  <c:v>0</c:v>
                </c:pt>
                <c:pt idx="9179">
                  <c:v>0</c:v>
                </c:pt>
                <c:pt idx="9180">
                  <c:v>0</c:v>
                </c:pt>
                <c:pt idx="9181">
                  <c:v>0</c:v>
                </c:pt>
                <c:pt idx="9182">
                  <c:v>0</c:v>
                </c:pt>
                <c:pt idx="9183">
                  <c:v>0</c:v>
                </c:pt>
                <c:pt idx="9184">
                  <c:v>0</c:v>
                </c:pt>
                <c:pt idx="9185">
                  <c:v>0</c:v>
                </c:pt>
                <c:pt idx="9186">
                  <c:v>0</c:v>
                </c:pt>
                <c:pt idx="9187">
                  <c:v>0</c:v>
                </c:pt>
                <c:pt idx="9188">
                  <c:v>0</c:v>
                </c:pt>
                <c:pt idx="9189">
                  <c:v>0</c:v>
                </c:pt>
                <c:pt idx="9190">
                  <c:v>0</c:v>
                </c:pt>
                <c:pt idx="9191">
                  <c:v>0</c:v>
                </c:pt>
                <c:pt idx="9192">
                  <c:v>0</c:v>
                </c:pt>
                <c:pt idx="9193">
                  <c:v>0</c:v>
                </c:pt>
                <c:pt idx="9194">
                  <c:v>1</c:v>
                </c:pt>
                <c:pt idx="9195">
                  <c:v>0</c:v>
                </c:pt>
                <c:pt idx="9196">
                  <c:v>0</c:v>
                </c:pt>
                <c:pt idx="9197">
                  <c:v>0</c:v>
                </c:pt>
                <c:pt idx="9198">
                  <c:v>0</c:v>
                </c:pt>
                <c:pt idx="9199">
                  <c:v>0</c:v>
                </c:pt>
                <c:pt idx="9200">
                  <c:v>0</c:v>
                </c:pt>
                <c:pt idx="9201">
                  <c:v>0</c:v>
                </c:pt>
                <c:pt idx="9202">
                  <c:v>1</c:v>
                </c:pt>
                <c:pt idx="9203">
                  <c:v>0</c:v>
                </c:pt>
                <c:pt idx="9204">
                  <c:v>0</c:v>
                </c:pt>
                <c:pt idx="9205">
                  <c:v>0</c:v>
                </c:pt>
                <c:pt idx="9206">
                  <c:v>0</c:v>
                </c:pt>
                <c:pt idx="9207">
                  <c:v>0</c:v>
                </c:pt>
                <c:pt idx="9208">
                  <c:v>0</c:v>
                </c:pt>
                <c:pt idx="9209">
                  <c:v>0</c:v>
                </c:pt>
                <c:pt idx="9210">
                  <c:v>5</c:v>
                </c:pt>
                <c:pt idx="9211">
                  <c:v>5</c:v>
                </c:pt>
                <c:pt idx="9212">
                  <c:v>0</c:v>
                </c:pt>
                <c:pt idx="9213">
                  <c:v>1</c:v>
                </c:pt>
                <c:pt idx="9214">
                  <c:v>1</c:v>
                </c:pt>
                <c:pt idx="9215">
                  <c:v>3</c:v>
                </c:pt>
                <c:pt idx="9216">
                  <c:v>1</c:v>
                </c:pt>
                <c:pt idx="9217">
                  <c:v>0</c:v>
                </c:pt>
                <c:pt idx="9218">
                  <c:v>0</c:v>
                </c:pt>
                <c:pt idx="9219">
                  <c:v>0</c:v>
                </c:pt>
                <c:pt idx="9220">
                  <c:v>0</c:v>
                </c:pt>
                <c:pt idx="9221">
                  <c:v>1</c:v>
                </c:pt>
                <c:pt idx="9222">
                  <c:v>0</c:v>
                </c:pt>
                <c:pt idx="9223">
                  <c:v>1</c:v>
                </c:pt>
                <c:pt idx="9224">
                  <c:v>1</c:v>
                </c:pt>
                <c:pt idx="9225">
                  <c:v>3</c:v>
                </c:pt>
                <c:pt idx="9226">
                  <c:v>1</c:v>
                </c:pt>
                <c:pt idx="9227">
                  <c:v>0</c:v>
                </c:pt>
                <c:pt idx="9228">
                  <c:v>1</c:v>
                </c:pt>
                <c:pt idx="9229">
                  <c:v>0</c:v>
                </c:pt>
                <c:pt idx="9230">
                  <c:v>0</c:v>
                </c:pt>
                <c:pt idx="9231">
                  <c:v>0</c:v>
                </c:pt>
                <c:pt idx="9232">
                  <c:v>0</c:v>
                </c:pt>
                <c:pt idx="9233">
                  <c:v>0</c:v>
                </c:pt>
                <c:pt idx="9234">
                  <c:v>0</c:v>
                </c:pt>
                <c:pt idx="9235">
                  <c:v>0</c:v>
                </c:pt>
                <c:pt idx="9236">
                  <c:v>0</c:v>
                </c:pt>
                <c:pt idx="9237">
                  <c:v>0</c:v>
                </c:pt>
                <c:pt idx="9238">
                  <c:v>1</c:v>
                </c:pt>
                <c:pt idx="9239">
                  <c:v>0</c:v>
                </c:pt>
                <c:pt idx="9240">
                  <c:v>0</c:v>
                </c:pt>
                <c:pt idx="9241">
                  <c:v>0</c:v>
                </c:pt>
                <c:pt idx="9242">
                  <c:v>6</c:v>
                </c:pt>
                <c:pt idx="9243">
                  <c:v>2</c:v>
                </c:pt>
                <c:pt idx="9244">
                  <c:v>1</c:v>
                </c:pt>
                <c:pt idx="9245">
                  <c:v>0</c:v>
                </c:pt>
                <c:pt idx="9246">
                  <c:v>2</c:v>
                </c:pt>
                <c:pt idx="9247">
                  <c:v>4</c:v>
                </c:pt>
                <c:pt idx="9248">
                  <c:v>0</c:v>
                </c:pt>
                <c:pt idx="9249">
                  <c:v>0</c:v>
                </c:pt>
                <c:pt idx="9250">
                  <c:v>0</c:v>
                </c:pt>
                <c:pt idx="9251">
                  <c:v>0</c:v>
                </c:pt>
                <c:pt idx="9252">
                  <c:v>0</c:v>
                </c:pt>
                <c:pt idx="9253">
                  <c:v>0</c:v>
                </c:pt>
                <c:pt idx="9254">
                  <c:v>0</c:v>
                </c:pt>
                <c:pt idx="9255">
                  <c:v>0</c:v>
                </c:pt>
                <c:pt idx="9256">
                  <c:v>0</c:v>
                </c:pt>
                <c:pt idx="9257">
                  <c:v>0</c:v>
                </c:pt>
                <c:pt idx="9258">
                  <c:v>0</c:v>
                </c:pt>
                <c:pt idx="9259">
                  <c:v>0</c:v>
                </c:pt>
                <c:pt idx="9260">
                  <c:v>0</c:v>
                </c:pt>
                <c:pt idx="9261">
                  <c:v>0</c:v>
                </c:pt>
                <c:pt idx="9262">
                  <c:v>1</c:v>
                </c:pt>
                <c:pt idx="9263">
                  <c:v>0</c:v>
                </c:pt>
                <c:pt idx="9264">
                  <c:v>0</c:v>
                </c:pt>
                <c:pt idx="9265">
                  <c:v>0</c:v>
                </c:pt>
                <c:pt idx="9266">
                  <c:v>0</c:v>
                </c:pt>
                <c:pt idx="9267">
                  <c:v>0</c:v>
                </c:pt>
                <c:pt idx="9268">
                  <c:v>0</c:v>
                </c:pt>
                <c:pt idx="9269">
                  <c:v>0</c:v>
                </c:pt>
                <c:pt idx="9270">
                  <c:v>0</c:v>
                </c:pt>
                <c:pt idx="9271">
                  <c:v>0</c:v>
                </c:pt>
                <c:pt idx="9272">
                  <c:v>0</c:v>
                </c:pt>
                <c:pt idx="9273">
                  <c:v>0</c:v>
                </c:pt>
                <c:pt idx="9274">
                  <c:v>0</c:v>
                </c:pt>
                <c:pt idx="9275">
                  <c:v>0</c:v>
                </c:pt>
                <c:pt idx="9276">
                  <c:v>1</c:v>
                </c:pt>
                <c:pt idx="9277">
                  <c:v>0</c:v>
                </c:pt>
                <c:pt idx="9278">
                  <c:v>0</c:v>
                </c:pt>
                <c:pt idx="9279">
                  <c:v>2</c:v>
                </c:pt>
                <c:pt idx="9280">
                  <c:v>1</c:v>
                </c:pt>
                <c:pt idx="9281">
                  <c:v>0</c:v>
                </c:pt>
                <c:pt idx="9282">
                  <c:v>0</c:v>
                </c:pt>
                <c:pt idx="9283">
                  <c:v>0</c:v>
                </c:pt>
                <c:pt idx="9284">
                  <c:v>2</c:v>
                </c:pt>
                <c:pt idx="9285">
                  <c:v>0</c:v>
                </c:pt>
                <c:pt idx="9286">
                  <c:v>0</c:v>
                </c:pt>
                <c:pt idx="9287">
                  <c:v>0</c:v>
                </c:pt>
                <c:pt idx="9288">
                  <c:v>0</c:v>
                </c:pt>
                <c:pt idx="9289">
                  <c:v>1</c:v>
                </c:pt>
                <c:pt idx="9290">
                  <c:v>0</c:v>
                </c:pt>
                <c:pt idx="9291">
                  <c:v>0</c:v>
                </c:pt>
                <c:pt idx="9292">
                  <c:v>0</c:v>
                </c:pt>
                <c:pt idx="9293">
                  <c:v>0</c:v>
                </c:pt>
                <c:pt idx="9294">
                  <c:v>0</c:v>
                </c:pt>
                <c:pt idx="9295">
                  <c:v>4</c:v>
                </c:pt>
                <c:pt idx="9296">
                  <c:v>2</c:v>
                </c:pt>
                <c:pt idx="9297">
                  <c:v>1</c:v>
                </c:pt>
                <c:pt idx="9298">
                  <c:v>0</c:v>
                </c:pt>
                <c:pt idx="9299">
                  <c:v>2</c:v>
                </c:pt>
                <c:pt idx="9300">
                  <c:v>0</c:v>
                </c:pt>
                <c:pt idx="9301">
                  <c:v>2</c:v>
                </c:pt>
                <c:pt idx="9302">
                  <c:v>0</c:v>
                </c:pt>
                <c:pt idx="9303">
                  <c:v>2</c:v>
                </c:pt>
                <c:pt idx="9304">
                  <c:v>0</c:v>
                </c:pt>
                <c:pt idx="9305">
                  <c:v>0</c:v>
                </c:pt>
                <c:pt idx="9306">
                  <c:v>3</c:v>
                </c:pt>
                <c:pt idx="9307">
                  <c:v>5</c:v>
                </c:pt>
                <c:pt idx="9308">
                  <c:v>0</c:v>
                </c:pt>
                <c:pt idx="9309">
                  <c:v>0</c:v>
                </c:pt>
                <c:pt idx="9310">
                  <c:v>3</c:v>
                </c:pt>
                <c:pt idx="9311">
                  <c:v>3</c:v>
                </c:pt>
                <c:pt idx="9312">
                  <c:v>0</c:v>
                </c:pt>
                <c:pt idx="9313">
                  <c:v>3</c:v>
                </c:pt>
                <c:pt idx="9314">
                  <c:v>4</c:v>
                </c:pt>
                <c:pt idx="9315">
                  <c:v>0</c:v>
                </c:pt>
                <c:pt idx="9316">
                  <c:v>0</c:v>
                </c:pt>
                <c:pt idx="9317">
                  <c:v>4</c:v>
                </c:pt>
                <c:pt idx="9318">
                  <c:v>4</c:v>
                </c:pt>
                <c:pt idx="9319">
                  <c:v>1</c:v>
                </c:pt>
                <c:pt idx="9320">
                  <c:v>0</c:v>
                </c:pt>
                <c:pt idx="9321">
                  <c:v>2</c:v>
                </c:pt>
                <c:pt idx="9322">
                  <c:v>0</c:v>
                </c:pt>
                <c:pt idx="9323">
                  <c:v>0</c:v>
                </c:pt>
                <c:pt idx="9324">
                  <c:v>3</c:v>
                </c:pt>
                <c:pt idx="9325">
                  <c:v>0</c:v>
                </c:pt>
                <c:pt idx="9326">
                  <c:v>1</c:v>
                </c:pt>
                <c:pt idx="9327">
                  <c:v>2</c:v>
                </c:pt>
                <c:pt idx="9328">
                  <c:v>0</c:v>
                </c:pt>
                <c:pt idx="9329">
                  <c:v>0</c:v>
                </c:pt>
                <c:pt idx="9330">
                  <c:v>0</c:v>
                </c:pt>
                <c:pt idx="9331">
                  <c:v>20</c:v>
                </c:pt>
                <c:pt idx="9332">
                  <c:v>0</c:v>
                </c:pt>
                <c:pt idx="9333">
                  <c:v>10</c:v>
                </c:pt>
                <c:pt idx="9334">
                  <c:v>2</c:v>
                </c:pt>
                <c:pt idx="9335">
                  <c:v>0</c:v>
                </c:pt>
                <c:pt idx="9336">
                  <c:v>2</c:v>
                </c:pt>
                <c:pt idx="9337">
                  <c:v>1</c:v>
                </c:pt>
                <c:pt idx="9338">
                  <c:v>8</c:v>
                </c:pt>
                <c:pt idx="9339">
                  <c:v>3</c:v>
                </c:pt>
                <c:pt idx="9340">
                  <c:v>1</c:v>
                </c:pt>
                <c:pt idx="9341">
                  <c:v>7</c:v>
                </c:pt>
                <c:pt idx="9342">
                  <c:v>1</c:v>
                </c:pt>
                <c:pt idx="9343">
                  <c:v>0</c:v>
                </c:pt>
                <c:pt idx="9344">
                  <c:v>1</c:v>
                </c:pt>
                <c:pt idx="9345">
                  <c:v>0</c:v>
                </c:pt>
                <c:pt idx="9346">
                  <c:v>4</c:v>
                </c:pt>
                <c:pt idx="9347">
                  <c:v>4</c:v>
                </c:pt>
                <c:pt idx="9348">
                  <c:v>3</c:v>
                </c:pt>
                <c:pt idx="9349">
                  <c:v>0</c:v>
                </c:pt>
                <c:pt idx="9350">
                  <c:v>1</c:v>
                </c:pt>
                <c:pt idx="9351">
                  <c:v>0</c:v>
                </c:pt>
                <c:pt idx="9352">
                  <c:v>1</c:v>
                </c:pt>
                <c:pt idx="9353">
                  <c:v>0</c:v>
                </c:pt>
                <c:pt idx="9354">
                  <c:v>0</c:v>
                </c:pt>
                <c:pt idx="9355">
                  <c:v>0</c:v>
                </c:pt>
                <c:pt idx="9356">
                  <c:v>0</c:v>
                </c:pt>
                <c:pt idx="9357">
                  <c:v>0</c:v>
                </c:pt>
                <c:pt idx="9358">
                  <c:v>0</c:v>
                </c:pt>
                <c:pt idx="9359">
                  <c:v>0</c:v>
                </c:pt>
                <c:pt idx="9360">
                  <c:v>0</c:v>
                </c:pt>
                <c:pt idx="9361">
                  <c:v>2</c:v>
                </c:pt>
                <c:pt idx="9362">
                  <c:v>0</c:v>
                </c:pt>
                <c:pt idx="9363">
                  <c:v>3</c:v>
                </c:pt>
                <c:pt idx="9364">
                  <c:v>0</c:v>
                </c:pt>
                <c:pt idx="9365">
                  <c:v>0</c:v>
                </c:pt>
                <c:pt idx="9366">
                  <c:v>0</c:v>
                </c:pt>
                <c:pt idx="9367">
                  <c:v>0</c:v>
                </c:pt>
                <c:pt idx="9368">
                  <c:v>0</c:v>
                </c:pt>
                <c:pt idx="9369">
                  <c:v>0</c:v>
                </c:pt>
                <c:pt idx="9370">
                  <c:v>2</c:v>
                </c:pt>
                <c:pt idx="9371">
                  <c:v>0</c:v>
                </c:pt>
                <c:pt idx="9372">
                  <c:v>1</c:v>
                </c:pt>
                <c:pt idx="9373">
                  <c:v>0</c:v>
                </c:pt>
                <c:pt idx="9374">
                  <c:v>0</c:v>
                </c:pt>
                <c:pt idx="9375">
                  <c:v>0</c:v>
                </c:pt>
                <c:pt idx="9376">
                  <c:v>0</c:v>
                </c:pt>
                <c:pt idx="9377">
                  <c:v>0</c:v>
                </c:pt>
                <c:pt idx="9378">
                  <c:v>0</c:v>
                </c:pt>
                <c:pt idx="9379">
                  <c:v>15</c:v>
                </c:pt>
                <c:pt idx="9380">
                  <c:v>2</c:v>
                </c:pt>
                <c:pt idx="9381">
                  <c:v>1</c:v>
                </c:pt>
                <c:pt idx="9382">
                  <c:v>3</c:v>
                </c:pt>
                <c:pt idx="9383">
                  <c:v>0</c:v>
                </c:pt>
                <c:pt idx="9384">
                  <c:v>0</c:v>
                </c:pt>
                <c:pt idx="9385">
                  <c:v>1</c:v>
                </c:pt>
                <c:pt idx="9386">
                  <c:v>0</c:v>
                </c:pt>
                <c:pt idx="9387">
                  <c:v>0</c:v>
                </c:pt>
                <c:pt idx="9388">
                  <c:v>0</c:v>
                </c:pt>
                <c:pt idx="9389">
                  <c:v>2</c:v>
                </c:pt>
                <c:pt idx="9390">
                  <c:v>5</c:v>
                </c:pt>
                <c:pt idx="9391">
                  <c:v>0</c:v>
                </c:pt>
                <c:pt idx="9392">
                  <c:v>2</c:v>
                </c:pt>
                <c:pt idx="9393">
                  <c:v>3</c:v>
                </c:pt>
                <c:pt idx="9394">
                  <c:v>5</c:v>
                </c:pt>
                <c:pt idx="9395">
                  <c:v>5</c:v>
                </c:pt>
                <c:pt idx="9396">
                  <c:v>4</c:v>
                </c:pt>
                <c:pt idx="9397">
                  <c:v>1</c:v>
                </c:pt>
                <c:pt idx="9398">
                  <c:v>0</c:v>
                </c:pt>
                <c:pt idx="9399">
                  <c:v>0</c:v>
                </c:pt>
                <c:pt idx="9400">
                  <c:v>0</c:v>
                </c:pt>
                <c:pt idx="9401">
                  <c:v>1</c:v>
                </c:pt>
                <c:pt idx="9402">
                  <c:v>0</c:v>
                </c:pt>
                <c:pt idx="9403">
                  <c:v>0</c:v>
                </c:pt>
                <c:pt idx="9404">
                  <c:v>0</c:v>
                </c:pt>
                <c:pt idx="9405">
                  <c:v>0</c:v>
                </c:pt>
                <c:pt idx="9406">
                  <c:v>2</c:v>
                </c:pt>
                <c:pt idx="9407">
                  <c:v>0</c:v>
                </c:pt>
                <c:pt idx="9408">
                  <c:v>0</c:v>
                </c:pt>
                <c:pt idx="9409">
                  <c:v>0</c:v>
                </c:pt>
                <c:pt idx="9410">
                  <c:v>0</c:v>
                </c:pt>
                <c:pt idx="9411">
                  <c:v>0</c:v>
                </c:pt>
                <c:pt idx="9412">
                  <c:v>1</c:v>
                </c:pt>
                <c:pt idx="9413">
                  <c:v>1</c:v>
                </c:pt>
                <c:pt idx="9414">
                  <c:v>1</c:v>
                </c:pt>
                <c:pt idx="9415">
                  <c:v>2</c:v>
                </c:pt>
                <c:pt idx="9416">
                  <c:v>2</c:v>
                </c:pt>
                <c:pt idx="9417">
                  <c:v>0</c:v>
                </c:pt>
                <c:pt idx="9418">
                  <c:v>2</c:v>
                </c:pt>
                <c:pt idx="9419">
                  <c:v>0</c:v>
                </c:pt>
                <c:pt idx="9420">
                  <c:v>1</c:v>
                </c:pt>
                <c:pt idx="9421">
                  <c:v>1</c:v>
                </c:pt>
                <c:pt idx="9422">
                  <c:v>0</c:v>
                </c:pt>
                <c:pt idx="9423">
                  <c:v>0</c:v>
                </c:pt>
                <c:pt idx="9424">
                  <c:v>1</c:v>
                </c:pt>
                <c:pt idx="9425">
                  <c:v>2</c:v>
                </c:pt>
                <c:pt idx="9426">
                  <c:v>1</c:v>
                </c:pt>
                <c:pt idx="9427">
                  <c:v>2</c:v>
                </c:pt>
                <c:pt idx="9428">
                  <c:v>0</c:v>
                </c:pt>
                <c:pt idx="9429">
                  <c:v>2</c:v>
                </c:pt>
                <c:pt idx="9430">
                  <c:v>2</c:v>
                </c:pt>
                <c:pt idx="9431">
                  <c:v>0</c:v>
                </c:pt>
                <c:pt idx="9432">
                  <c:v>0</c:v>
                </c:pt>
                <c:pt idx="9433">
                  <c:v>0</c:v>
                </c:pt>
                <c:pt idx="9434">
                  <c:v>2</c:v>
                </c:pt>
                <c:pt idx="9435">
                  <c:v>2</c:v>
                </c:pt>
                <c:pt idx="9436">
                  <c:v>3</c:v>
                </c:pt>
                <c:pt idx="9437">
                  <c:v>0</c:v>
                </c:pt>
                <c:pt idx="9438">
                  <c:v>3</c:v>
                </c:pt>
                <c:pt idx="9439">
                  <c:v>0</c:v>
                </c:pt>
                <c:pt idx="9440">
                  <c:v>2</c:v>
                </c:pt>
                <c:pt idx="9441">
                  <c:v>4</c:v>
                </c:pt>
                <c:pt idx="9442">
                  <c:v>2</c:v>
                </c:pt>
                <c:pt idx="9443">
                  <c:v>0</c:v>
                </c:pt>
                <c:pt idx="9444">
                  <c:v>18</c:v>
                </c:pt>
                <c:pt idx="9445">
                  <c:v>6</c:v>
                </c:pt>
                <c:pt idx="9446">
                  <c:v>0</c:v>
                </c:pt>
                <c:pt idx="9447">
                  <c:v>1</c:v>
                </c:pt>
                <c:pt idx="9448">
                  <c:v>7</c:v>
                </c:pt>
                <c:pt idx="9449">
                  <c:v>0</c:v>
                </c:pt>
                <c:pt idx="9450">
                  <c:v>0</c:v>
                </c:pt>
                <c:pt idx="9451">
                  <c:v>0</c:v>
                </c:pt>
                <c:pt idx="9452">
                  <c:v>1</c:v>
                </c:pt>
                <c:pt idx="9453">
                  <c:v>2</c:v>
                </c:pt>
                <c:pt idx="9454">
                  <c:v>8</c:v>
                </c:pt>
                <c:pt idx="9455">
                  <c:v>3</c:v>
                </c:pt>
                <c:pt idx="9456">
                  <c:v>0</c:v>
                </c:pt>
                <c:pt idx="9457">
                  <c:v>3</c:v>
                </c:pt>
                <c:pt idx="9458">
                  <c:v>1</c:v>
                </c:pt>
                <c:pt idx="9459">
                  <c:v>1</c:v>
                </c:pt>
                <c:pt idx="9460">
                  <c:v>1</c:v>
                </c:pt>
                <c:pt idx="9461">
                  <c:v>5</c:v>
                </c:pt>
                <c:pt idx="9462">
                  <c:v>0</c:v>
                </c:pt>
                <c:pt idx="9463">
                  <c:v>0</c:v>
                </c:pt>
                <c:pt idx="9464">
                  <c:v>0</c:v>
                </c:pt>
                <c:pt idx="9465">
                  <c:v>0</c:v>
                </c:pt>
                <c:pt idx="9466">
                  <c:v>8</c:v>
                </c:pt>
                <c:pt idx="9467">
                  <c:v>1</c:v>
                </c:pt>
                <c:pt idx="9468">
                  <c:v>1</c:v>
                </c:pt>
                <c:pt idx="9469">
                  <c:v>2</c:v>
                </c:pt>
                <c:pt idx="9470">
                  <c:v>2</c:v>
                </c:pt>
                <c:pt idx="9471">
                  <c:v>0</c:v>
                </c:pt>
                <c:pt idx="9472">
                  <c:v>5</c:v>
                </c:pt>
                <c:pt idx="9473">
                  <c:v>2</c:v>
                </c:pt>
                <c:pt idx="9474">
                  <c:v>6</c:v>
                </c:pt>
                <c:pt idx="9475">
                  <c:v>2</c:v>
                </c:pt>
                <c:pt idx="9476">
                  <c:v>0</c:v>
                </c:pt>
                <c:pt idx="9477">
                  <c:v>1</c:v>
                </c:pt>
                <c:pt idx="9478">
                  <c:v>0</c:v>
                </c:pt>
                <c:pt idx="9479">
                  <c:v>1</c:v>
                </c:pt>
                <c:pt idx="9480">
                  <c:v>2</c:v>
                </c:pt>
                <c:pt idx="9481">
                  <c:v>0</c:v>
                </c:pt>
                <c:pt idx="9482">
                  <c:v>0</c:v>
                </c:pt>
                <c:pt idx="9483">
                  <c:v>0</c:v>
                </c:pt>
                <c:pt idx="9484">
                  <c:v>1</c:v>
                </c:pt>
                <c:pt idx="9485">
                  <c:v>0</c:v>
                </c:pt>
                <c:pt idx="9486">
                  <c:v>0</c:v>
                </c:pt>
                <c:pt idx="9487">
                  <c:v>2</c:v>
                </c:pt>
                <c:pt idx="9488">
                  <c:v>2</c:v>
                </c:pt>
                <c:pt idx="9489">
                  <c:v>3</c:v>
                </c:pt>
                <c:pt idx="9490">
                  <c:v>1</c:v>
                </c:pt>
                <c:pt idx="9491">
                  <c:v>4</c:v>
                </c:pt>
                <c:pt idx="9492">
                  <c:v>1</c:v>
                </c:pt>
                <c:pt idx="9493">
                  <c:v>0</c:v>
                </c:pt>
                <c:pt idx="9494">
                  <c:v>0</c:v>
                </c:pt>
                <c:pt idx="9495">
                  <c:v>0</c:v>
                </c:pt>
                <c:pt idx="9496">
                  <c:v>1</c:v>
                </c:pt>
                <c:pt idx="9497">
                  <c:v>16</c:v>
                </c:pt>
                <c:pt idx="9498">
                  <c:v>5</c:v>
                </c:pt>
                <c:pt idx="9499">
                  <c:v>1</c:v>
                </c:pt>
                <c:pt idx="9500">
                  <c:v>0</c:v>
                </c:pt>
                <c:pt idx="9501">
                  <c:v>0</c:v>
                </c:pt>
                <c:pt idx="9502">
                  <c:v>2</c:v>
                </c:pt>
                <c:pt idx="9503">
                  <c:v>4</c:v>
                </c:pt>
                <c:pt idx="9504">
                  <c:v>5</c:v>
                </c:pt>
                <c:pt idx="9505">
                  <c:v>1</c:v>
                </c:pt>
                <c:pt idx="9506">
                  <c:v>2</c:v>
                </c:pt>
                <c:pt idx="9507">
                  <c:v>0</c:v>
                </c:pt>
                <c:pt idx="9508">
                  <c:v>1</c:v>
                </c:pt>
                <c:pt idx="9509">
                  <c:v>0</c:v>
                </c:pt>
                <c:pt idx="9510">
                  <c:v>1</c:v>
                </c:pt>
                <c:pt idx="9511">
                  <c:v>0</c:v>
                </c:pt>
                <c:pt idx="9512">
                  <c:v>5</c:v>
                </c:pt>
                <c:pt idx="9513">
                  <c:v>1</c:v>
                </c:pt>
                <c:pt idx="9514">
                  <c:v>5</c:v>
                </c:pt>
                <c:pt idx="9515">
                  <c:v>1</c:v>
                </c:pt>
                <c:pt idx="9516">
                  <c:v>0</c:v>
                </c:pt>
                <c:pt idx="9517">
                  <c:v>0</c:v>
                </c:pt>
                <c:pt idx="9518">
                  <c:v>7</c:v>
                </c:pt>
                <c:pt idx="9519">
                  <c:v>0</c:v>
                </c:pt>
                <c:pt idx="9520">
                  <c:v>1</c:v>
                </c:pt>
                <c:pt idx="9521">
                  <c:v>3</c:v>
                </c:pt>
                <c:pt idx="9522">
                  <c:v>4</c:v>
                </c:pt>
                <c:pt idx="9523">
                  <c:v>4</c:v>
                </c:pt>
                <c:pt idx="9524">
                  <c:v>0</c:v>
                </c:pt>
                <c:pt idx="9525">
                  <c:v>0</c:v>
                </c:pt>
                <c:pt idx="9526">
                  <c:v>5</c:v>
                </c:pt>
                <c:pt idx="9527">
                  <c:v>0</c:v>
                </c:pt>
                <c:pt idx="9528">
                  <c:v>0</c:v>
                </c:pt>
                <c:pt idx="9529">
                  <c:v>2</c:v>
                </c:pt>
                <c:pt idx="9530">
                  <c:v>3</c:v>
                </c:pt>
                <c:pt idx="9531">
                  <c:v>0</c:v>
                </c:pt>
                <c:pt idx="9532">
                  <c:v>0</c:v>
                </c:pt>
                <c:pt idx="9533">
                  <c:v>3</c:v>
                </c:pt>
                <c:pt idx="9534">
                  <c:v>1</c:v>
                </c:pt>
                <c:pt idx="9535">
                  <c:v>2</c:v>
                </c:pt>
                <c:pt idx="9536">
                  <c:v>1</c:v>
                </c:pt>
                <c:pt idx="9537">
                  <c:v>1</c:v>
                </c:pt>
                <c:pt idx="9538">
                  <c:v>2</c:v>
                </c:pt>
                <c:pt idx="9539">
                  <c:v>1</c:v>
                </c:pt>
                <c:pt idx="9540">
                  <c:v>0</c:v>
                </c:pt>
                <c:pt idx="9541">
                  <c:v>0</c:v>
                </c:pt>
                <c:pt idx="9542">
                  <c:v>2</c:v>
                </c:pt>
                <c:pt idx="9543">
                  <c:v>2</c:v>
                </c:pt>
                <c:pt idx="9544">
                  <c:v>3</c:v>
                </c:pt>
                <c:pt idx="9545">
                  <c:v>0</c:v>
                </c:pt>
                <c:pt idx="9546">
                  <c:v>1</c:v>
                </c:pt>
                <c:pt idx="9547">
                  <c:v>1</c:v>
                </c:pt>
                <c:pt idx="9548">
                  <c:v>0</c:v>
                </c:pt>
                <c:pt idx="9549">
                  <c:v>3</c:v>
                </c:pt>
                <c:pt idx="9550">
                  <c:v>1</c:v>
                </c:pt>
                <c:pt idx="9551">
                  <c:v>0</c:v>
                </c:pt>
                <c:pt idx="9552">
                  <c:v>1</c:v>
                </c:pt>
                <c:pt idx="9553">
                  <c:v>0</c:v>
                </c:pt>
                <c:pt idx="9554">
                  <c:v>3</c:v>
                </c:pt>
                <c:pt idx="9555">
                  <c:v>0</c:v>
                </c:pt>
                <c:pt idx="9556">
                  <c:v>0</c:v>
                </c:pt>
                <c:pt idx="9557">
                  <c:v>0</c:v>
                </c:pt>
                <c:pt idx="9558">
                  <c:v>2</c:v>
                </c:pt>
                <c:pt idx="9559">
                  <c:v>0</c:v>
                </c:pt>
                <c:pt idx="9560">
                  <c:v>0</c:v>
                </c:pt>
                <c:pt idx="9561">
                  <c:v>1</c:v>
                </c:pt>
                <c:pt idx="9562">
                  <c:v>0</c:v>
                </c:pt>
                <c:pt idx="9563">
                  <c:v>2</c:v>
                </c:pt>
                <c:pt idx="9564">
                  <c:v>2</c:v>
                </c:pt>
                <c:pt idx="9565">
                  <c:v>0</c:v>
                </c:pt>
                <c:pt idx="9566">
                  <c:v>1</c:v>
                </c:pt>
                <c:pt idx="9567">
                  <c:v>1</c:v>
                </c:pt>
                <c:pt idx="9568">
                  <c:v>0</c:v>
                </c:pt>
                <c:pt idx="9569">
                  <c:v>1</c:v>
                </c:pt>
                <c:pt idx="9570">
                  <c:v>1</c:v>
                </c:pt>
                <c:pt idx="9571">
                  <c:v>0</c:v>
                </c:pt>
                <c:pt idx="9572">
                  <c:v>0</c:v>
                </c:pt>
                <c:pt idx="9573">
                  <c:v>2</c:v>
                </c:pt>
                <c:pt idx="9574">
                  <c:v>0</c:v>
                </c:pt>
                <c:pt idx="9575">
                  <c:v>0</c:v>
                </c:pt>
                <c:pt idx="9576">
                  <c:v>0</c:v>
                </c:pt>
                <c:pt idx="9577">
                  <c:v>0</c:v>
                </c:pt>
                <c:pt idx="9578">
                  <c:v>1</c:v>
                </c:pt>
                <c:pt idx="9579">
                  <c:v>0</c:v>
                </c:pt>
                <c:pt idx="9580">
                  <c:v>0</c:v>
                </c:pt>
                <c:pt idx="9581">
                  <c:v>0</c:v>
                </c:pt>
                <c:pt idx="9582">
                  <c:v>0</c:v>
                </c:pt>
                <c:pt idx="9583">
                  <c:v>0</c:v>
                </c:pt>
                <c:pt idx="9584">
                  <c:v>0</c:v>
                </c:pt>
                <c:pt idx="9585">
                  <c:v>0</c:v>
                </c:pt>
                <c:pt idx="9586">
                  <c:v>0</c:v>
                </c:pt>
                <c:pt idx="9587">
                  <c:v>1</c:v>
                </c:pt>
                <c:pt idx="9588">
                  <c:v>0</c:v>
                </c:pt>
                <c:pt idx="9589">
                  <c:v>0</c:v>
                </c:pt>
                <c:pt idx="9590">
                  <c:v>0</c:v>
                </c:pt>
                <c:pt idx="9591">
                  <c:v>0</c:v>
                </c:pt>
                <c:pt idx="9592">
                  <c:v>2</c:v>
                </c:pt>
                <c:pt idx="9593">
                  <c:v>0</c:v>
                </c:pt>
                <c:pt idx="9594">
                  <c:v>0</c:v>
                </c:pt>
                <c:pt idx="9595">
                  <c:v>2</c:v>
                </c:pt>
                <c:pt idx="9596">
                  <c:v>1</c:v>
                </c:pt>
                <c:pt idx="9597">
                  <c:v>1</c:v>
                </c:pt>
                <c:pt idx="9598">
                  <c:v>0</c:v>
                </c:pt>
                <c:pt idx="9599">
                  <c:v>0</c:v>
                </c:pt>
                <c:pt idx="9600">
                  <c:v>0</c:v>
                </c:pt>
                <c:pt idx="9601">
                  <c:v>0</c:v>
                </c:pt>
                <c:pt idx="9602">
                  <c:v>0</c:v>
                </c:pt>
                <c:pt idx="9603">
                  <c:v>0</c:v>
                </c:pt>
                <c:pt idx="9604">
                  <c:v>1</c:v>
                </c:pt>
                <c:pt idx="9605">
                  <c:v>0</c:v>
                </c:pt>
                <c:pt idx="9606">
                  <c:v>0</c:v>
                </c:pt>
                <c:pt idx="9607">
                  <c:v>0</c:v>
                </c:pt>
                <c:pt idx="9608">
                  <c:v>0</c:v>
                </c:pt>
                <c:pt idx="9609">
                  <c:v>1</c:v>
                </c:pt>
                <c:pt idx="9610">
                  <c:v>1</c:v>
                </c:pt>
                <c:pt idx="9611">
                  <c:v>0</c:v>
                </c:pt>
                <c:pt idx="9612">
                  <c:v>0</c:v>
                </c:pt>
                <c:pt idx="9613">
                  <c:v>7</c:v>
                </c:pt>
                <c:pt idx="9614">
                  <c:v>1</c:v>
                </c:pt>
                <c:pt idx="9615">
                  <c:v>1</c:v>
                </c:pt>
                <c:pt idx="9616">
                  <c:v>1</c:v>
                </c:pt>
                <c:pt idx="9617">
                  <c:v>9</c:v>
                </c:pt>
                <c:pt idx="9618">
                  <c:v>16</c:v>
                </c:pt>
                <c:pt idx="9619">
                  <c:v>4</c:v>
                </c:pt>
                <c:pt idx="9620">
                  <c:v>0</c:v>
                </c:pt>
                <c:pt idx="9621">
                  <c:v>2</c:v>
                </c:pt>
                <c:pt idx="9622">
                  <c:v>1</c:v>
                </c:pt>
                <c:pt idx="9623">
                  <c:v>0</c:v>
                </c:pt>
                <c:pt idx="9624">
                  <c:v>0</c:v>
                </c:pt>
                <c:pt idx="9625">
                  <c:v>1</c:v>
                </c:pt>
                <c:pt idx="9626">
                  <c:v>0</c:v>
                </c:pt>
                <c:pt idx="9627">
                  <c:v>1</c:v>
                </c:pt>
                <c:pt idx="9628">
                  <c:v>2</c:v>
                </c:pt>
                <c:pt idx="9629">
                  <c:v>1</c:v>
                </c:pt>
                <c:pt idx="9630">
                  <c:v>2</c:v>
                </c:pt>
                <c:pt idx="9631">
                  <c:v>2</c:v>
                </c:pt>
                <c:pt idx="9632">
                  <c:v>1</c:v>
                </c:pt>
                <c:pt idx="9633">
                  <c:v>2</c:v>
                </c:pt>
                <c:pt idx="9634">
                  <c:v>1</c:v>
                </c:pt>
                <c:pt idx="9635">
                  <c:v>1</c:v>
                </c:pt>
                <c:pt idx="9636">
                  <c:v>0</c:v>
                </c:pt>
                <c:pt idx="9637">
                  <c:v>3</c:v>
                </c:pt>
                <c:pt idx="9638">
                  <c:v>4</c:v>
                </c:pt>
                <c:pt idx="9639">
                  <c:v>2</c:v>
                </c:pt>
                <c:pt idx="9640">
                  <c:v>1</c:v>
                </c:pt>
                <c:pt idx="9641">
                  <c:v>0</c:v>
                </c:pt>
                <c:pt idx="9642">
                  <c:v>0</c:v>
                </c:pt>
                <c:pt idx="9643">
                  <c:v>0</c:v>
                </c:pt>
                <c:pt idx="9644">
                  <c:v>0</c:v>
                </c:pt>
                <c:pt idx="9645">
                  <c:v>1</c:v>
                </c:pt>
                <c:pt idx="9646">
                  <c:v>0</c:v>
                </c:pt>
                <c:pt idx="9647">
                  <c:v>4</c:v>
                </c:pt>
                <c:pt idx="9648">
                  <c:v>0</c:v>
                </c:pt>
                <c:pt idx="9649">
                  <c:v>0</c:v>
                </c:pt>
                <c:pt idx="9650">
                  <c:v>1</c:v>
                </c:pt>
                <c:pt idx="9651">
                  <c:v>0</c:v>
                </c:pt>
                <c:pt idx="9652">
                  <c:v>0</c:v>
                </c:pt>
                <c:pt idx="9653">
                  <c:v>0</c:v>
                </c:pt>
                <c:pt idx="9654">
                  <c:v>0</c:v>
                </c:pt>
                <c:pt idx="9655">
                  <c:v>1</c:v>
                </c:pt>
                <c:pt idx="9656">
                  <c:v>0</c:v>
                </c:pt>
                <c:pt idx="9657">
                  <c:v>0</c:v>
                </c:pt>
                <c:pt idx="9658">
                  <c:v>2</c:v>
                </c:pt>
                <c:pt idx="9659">
                  <c:v>4</c:v>
                </c:pt>
                <c:pt idx="9660">
                  <c:v>1</c:v>
                </c:pt>
                <c:pt idx="9661">
                  <c:v>0</c:v>
                </c:pt>
                <c:pt idx="9662">
                  <c:v>1</c:v>
                </c:pt>
                <c:pt idx="9663">
                  <c:v>3</c:v>
                </c:pt>
                <c:pt idx="9664">
                  <c:v>0</c:v>
                </c:pt>
                <c:pt idx="9665">
                  <c:v>2</c:v>
                </c:pt>
                <c:pt idx="9666">
                  <c:v>1</c:v>
                </c:pt>
                <c:pt idx="9667">
                  <c:v>2</c:v>
                </c:pt>
                <c:pt idx="9668">
                  <c:v>1</c:v>
                </c:pt>
                <c:pt idx="9669">
                  <c:v>0</c:v>
                </c:pt>
                <c:pt idx="9670">
                  <c:v>1</c:v>
                </c:pt>
                <c:pt idx="9671">
                  <c:v>0</c:v>
                </c:pt>
                <c:pt idx="9672">
                  <c:v>0</c:v>
                </c:pt>
                <c:pt idx="9673">
                  <c:v>0</c:v>
                </c:pt>
                <c:pt idx="9674">
                  <c:v>0</c:v>
                </c:pt>
                <c:pt idx="9675">
                  <c:v>0</c:v>
                </c:pt>
                <c:pt idx="9676">
                  <c:v>0</c:v>
                </c:pt>
                <c:pt idx="9677">
                  <c:v>2</c:v>
                </c:pt>
                <c:pt idx="9678">
                  <c:v>1</c:v>
                </c:pt>
                <c:pt idx="9679">
                  <c:v>0</c:v>
                </c:pt>
                <c:pt idx="9680">
                  <c:v>0</c:v>
                </c:pt>
                <c:pt idx="9681">
                  <c:v>0</c:v>
                </c:pt>
                <c:pt idx="9682">
                  <c:v>0</c:v>
                </c:pt>
                <c:pt idx="9683">
                  <c:v>0</c:v>
                </c:pt>
                <c:pt idx="9684">
                  <c:v>0</c:v>
                </c:pt>
                <c:pt idx="9685">
                  <c:v>0</c:v>
                </c:pt>
                <c:pt idx="9686">
                  <c:v>0</c:v>
                </c:pt>
                <c:pt idx="9687">
                  <c:v>0</c:v>
                </c:pt>
                <c:pt idx="9688">
                  <c:v>1</c:v>
                </c:pt>
                <c:pt idx="9689">
                  <c:v>0</c:v>
                </c:pt>
                <c:pt idx="9690">
                  <c:v>1</c:v>
                </c:pt>
                <c:pt idx="9691">
                  <c:v>0</c:v>
                </c:pt>
                <c:pt idx="9692">
                  <c:v>0</c:v>
                </c:pt>
                <c:pt idx="9693">
                  <c:v>0</c:v>
                </c:pt>
                <c:pt idx="9694">
                  <c:v>0</c:v>
                </c:pt>
                <c:pt idx="9695">
                  <c:v>0</c:v>
                </c:pt>
                <c:pt idx="9696">
                  <c:v>0</c:v>
                </c:pt>
                <c:pt idx="9697">
                  <c:v>0</c:v>
                </c:pt>
                <c:pt idx="9698">
                  <c:v>0</c:v>
                </c:pt>
                <c:pt idx="9699">
                  <c:v>0</c:v>
                </c:pt>
                <c:pt idx="9700">
                  <c:v>0</c:v>
                </c:pt>
                <c:pt idx="9701">
                  <c:v>0</c:v>
                </c:pt>
                <c:pt idx="9702">
                  <c:v>0</c:v>
                </c:pt>
                <c:pt idx="9703">
                  <c:v>0</c:v>
                </c:pt>
                <c:pt idx="9704">
                  <c:v>0</c:v>
                </c:pt>
                <c:pt idx="9705">
                  <c:v>0</c:v>
                </c:pt>
                <c:pt idx="9706">
                  <c:v>0</c:v>
                </c:pt>
                <c:pt idx="9707">
                  <c:v>0</c:v>
                </c:pt>
                <c:pt idx="9708">
                  <c:v>0</c:v>
                </c:pt>
                <c:pt idx="9709">
                  <c:v>0</c:v>
                </c:pt>
                <c:pt idx="9710">
                  <c:v>0</c:v>
                </c:pt>
                <c:pt idx="9711">
                  <c:v>0</c:v>
                </c:pt>
                <c:pt idx="9712">
                  <c:v>1</c:v>
                </c:pt>
                <c:pt idx="9713">
                  <c:v>0</c:v>
                </c:pt>
                <c:pt idx="9714">
                  <c:v>1</c:v>
                </c:pt>
                <c:pt idx="9715">
                  <c:v>0</c:v>
                </c:pt>
                <c:pt idx="9716">
                  <c:v>0</c:v>
                </c:pt>
                <c:pt idx="9717">
                  <c:v>0</c:v>
                </c:pt>
                <c:pt idx="9718">
                  <c:v>0</c:v>
                </c:pt>
                <c:pt idx="9719">
                  <c:v>0</c:v>
                </c:pt>
                <c:pt idx="9720">
                  <c:v>0</c:v>
                </c:pt>
                <c:pt idx="9721">
                  <c:v>1</c:v>
                </c:pt>
                <c:pt idx="9722">
                  <c:v>0</c:v>
                </c:pt>
                <c:pt idx="9723">
                  <c:v>3</c:v>
                </c:pt>
                <c:pt idx="9724">
                  <c:v>1</c:v>
                </c:pt>
                <c:pt idx="9725">
                  <c:v>0</c:v>
                </c:pt>
                <c:pt idx="9726">
                  <c:v>1</c:v>
                </c:pt>
                <c:pt idx="9727">
                  <c:v>6</c:v>
                </c:pt>
                <c:pt idx="9728">
                  <c:v>1</c:v>
                </c:pt>
                <c:pt idx="9729">
                  <c:v>0</c:v>
                </c:pt>
                <c:pt idx="9730">
                  <c:v>0</c:v>
                </c:pt>
                <c:pt idx="9731">
                  <c:v>3</c:v>
                </c:pt>
                <c:pt idx="9732">
                  <c:v>0</c:v>
                </c:pt>
                <c:pt idx="9733">
                  <c:v>0</c:v>
                </c:pt>
                <c:pt idx="9734">
                  <c:v>0</c:v>
                </c:pt>
                <c:pt idx="9735">
                  <c:v>0</c:v>
                </c:pt>
                <c:pt idx="9736">
                  <c:v>0</c:v>
                </c:pt>
                <c:pt idx="9737">
                  <c:v>0</c:v>
                </c:pt>
                <c:pt idx="9738">
                  <c:v>0</c:v>
                </c:pt>
                <c:pt idx="9739">
                  <c:v>0</c:v>
                </c:pt>
                <c:pt idx="9740">
                  <c:v>1</c:v>
                </c:pt>
                <c:pt idx="9741">
                  <c:v>1</c:v>
                </c:pt>
                <c:pt idx="9742">
                  <c:v>0</c:v>
                </c:pt>
                <c:pt idx="9743">
                  <c:v>0</c:v>
                </c:pt>
                <c:pt idx="9744">
                  <c:v>1</c:v>
                </c:pt>
                <c:pt idx="9745">
                  <c:v>0</c:v>
                </c:pt>
                <c:pt idx="9746">
                  <c:v>0</c:v>
                </c:pt>
                <c:pt idx="9747">
                  <c:v>0</c:v>
                </c:pt>
                <c:pt idx="9748">
                  <c:v>0</c:v>
                </c:pt>
                <c:pt idx="9749">
                  <c:v>0</c:v>
                </c:pt>
                <c:pt idx="9750">
                  <c:v>0</c:v>
                </c:pt>
                <c:pt idx="9751">
                  <c:v>0</c:v>
                </c:pt>
                <c:pt idx="9752">
                  <c:v>0</c:v>
                </c:pt>
                <c:pt idx="9753">
                  <c:v>0</c:v>
                </c:pt>
                <c:pt idx="9754">
                  <c:v>0</c:v>
                </c:pt>
                <c:pt idx="9755">
                  <c:v>0</c:v>
                </c:pt>
                <c:pt idx="9756">
                  <c:v>0</c:v>
                </c:pt>
                <c:pt idx="9757">
                  <c:v>0</c:v>
                </c:pt>
                <c:pt idx="9758">
                  <c:v>0</c:v>
                </c:pt>
                <c:pt idx="9759">
                  <c:v>0</c:v>
                </c:pt>
                <c:pt idx="9760">
                  <c:v>1</c:v>
                </c:pt>
                <c:pt idx="9761">
                  <c:v>1</c:v>
                </c:pt>
                <c:pt idx="9762">
                  <c:v>0</c:v>
                </c:pt>
                <c:pt idx="9763">
                  <c:v>2</c:v>
                </c:pt>
                <c:pt idx="9764">
                  <c:v>1</c:v>
                </c:pt>
                <c:pt idx="9765">
                  <c:v>2</c:v>
                </c:pt>
                <c:pt idx="9766">
                  <c:v>2</c:v>
                </c:pt>
                <c:pt idx="9767">
                  <c:v>0</c:v>
                </c:pt>
                <c:pt idx="9768">
                  <c:v>1</c:v>
                </c:pt>
                <c:pt idx="9769">
                  <c:v>1</c:v>
                </c:pt>
                <c:pt idx="9770">
                  <c:v>2</c:v>
                </c:pt>
                <c:pt idx="9771">
                  <c:v>1</c:v>
                </c:pt>
                <c:pt idx="9772">
                  <c:v>0</c:v>
                </c:pt>
                <c:pt idx="9773">
                  <c:v>0</c:v>
                </c:pt>
                <c:pt idx="9774">
                  <c:v>0</c:v>
                </c:pt>
                <c:pt idx="9775">
                  <c:v>2</c:v>
                </c:pt>
                <c:pt idx="9776">
                  <c:v>0</c:v>
                </c:pt>
                <c:pt idx="9777">
                  <c:v>0</c:v>
                </c:pt>
                <c:pt idx="9778">
                  <c:v>1</c:v>
                </c:pt>
                <c:pt idx="9779">
                  <c:v>0</c:v>
                </c:pt>
                <c:pt idx="9780">
                  <c:v>0</c:v>
                </c:pt>
                <c:pt idx="9781">
                  <c:v>0</c:v>
                </c:pt>
                <c:pt idx="9782">
                  <c:v>0</c:v>
                </c:pt>
                <c:pt idx="9783">
                  <c:v>1</c:v>
                </c:pt>
                <c:pt idx="9784">
                  <c:v>1</c:v>
                </c:pt>
                <c:pt idx="9785">
                  <c:v>0</c:v>
                </c:pt>
                <c:pt idx="9786">
                  <c:v>1</c:v>
                </c:pt>
                <c:pt idx="9787">
                  <c:v>1</c:v>
                </c:pt>
                <c:pt idx="9788">
                  <c:v>1</c:v>
                </c:pt>
                <c:pt idx="9789">
                  <c:v>0</c:v>
                </c:pt>
                <c:pt idx="9790">
                  <c:v>1</c:v>
                </c:pt>
                <c:pt idx="9791">
                  <c:v>0</c:v>
                </c:pt>
                <c:pt idx="9792">
                  <c:v>0</c:v>
                </c:pt>
                <c:pt idx="9793">
                  <c:v>0</c:v>
                </c:pt>
                <c:pt idx="9794">
                  <c:v>0</c:v>
                </c:pt>
                <c:pt idx="9795">
                  <c:v>0</c:v>
                </c:pt>
                <c:pt idx="9796">
                  <c:v>2</c:v>
                </c:pt>
                <c:pt idx="9797">
                  <c:v>2</c:v>
                </c:pt>
                <c:pt idx="9798">
                  <c:v>0</c:v>
                </c:pt>
                <c:pt idx="9799">
                  <c:v>0</c:v>
                </c:pt>
                <c:pt idx="9800">
                  <c:v>0</c:v>
                </c:pt>
                <c:pt idx="9801">
                  <c:v>0</c:v>
                </c:pt>
                <c:pt idx="9802">
                  <c:v>1</c:v>
                </c:pt>
                <c:pt idx="9803">
                  <c:v>2</c:v>
                </c:pt>
                <c:pt idx="9804">
                  <c:v>1</c:v>
                </c:pt>
                <c:pt idx="9805">
                  <c:v>3</c:v>
                </c:pt>
                <c:pt idx="9806">
                  <c:v>0</c:v>
                </c:pt>
                <c:pt idx="9807">
                  <c:v>0</c:v>
                </c:pt>
                <c:pt idx="9808">
                  <c:v>0</c:v>
                </c:pt>
                <c:pt idx="9809">
                  <c:v>2</c:v>
                </c:pt>
                <c:pt idx="9810">
                  <c:v>3</c:v>
                </c:pt>
                <c:pt idx="9811">
                  <c:v>0</c:v>
                </c:pt>
                <c:pt idx="9812">
                  <c:v>0</c:v>
                </c:pt>
                <c:pt idx="9813">
                  <c:v>0</c:v>
                </c:pt>
                <c:pt idx="9814">
                  <c:v>3</c:v>
                </c:pt>
                <c:pt idx="9815">
                  <c:v>0</c:v>
                </c:pt>
                <c:pt idx="9816">
                  <c:v>0</c:v>
                </c:pt>
                <c:pt idx="9817">
                  <c:v>0</c:v>
                </c:pt>
                <c:pt idx="9818">
                  <c:v>0</c:v>
                </c:pt>
                <c:pt idx="9819">
                  <c:v>1</c:v>
                </c:pt>
                <c:pt idx="9820">
                  <c:v>1</c:v>
                </c:pt>
                <c:pt idx="9821">
                  <c:v>0</c:v>
                </c:pt>
                <c:pt idx="9822">
                  <c:v>0</c:v>
                </c:pt>
                <c:pt idx="9823">
                  <c:v>0</c:v>
                </c:pt>
                <c:pt idx="9824">
                  <c:v>0</c:v>
                </c:pt>
                <c:pt idx="9825">
                  <c:v>0</c:v>
                </c:pt>
                <c:pt idx="9826">
                  <c:v>0</c:v>
                </c:pt>
                <c:pt idx="9827">
                  <c:v>1</c:v>
                </c:pt>
                <c:pt idx="9828">
                  <c:v>0</c:v>
                </c:pt>
                <c:pt idx="9829">
                  <c:v>0</c:v>
                </c:pt>
                <c:pt idx="9830">
                  <c:v>0</c:v>
                </c:pt>
                <c:pt idx="9831">
                  <c:v>0</c:v>
                </c:pt>
                <c:pt idx="9832">
                  <c:v>0</c:v>
                </c:pt>
                <c:pt idx="9833">
                  <c:v>0</c:v>
                </c:pt>
                <c:pt idx="9834">
                  <c:v>0</c:v>
                </c:pt>
                <c:pt idx="9835">
                  <c:v>0</c:v>
                </c:pt>
                <c:pt idx="9836">
                  <c:v>0</c:v>
                </c:pt>
                <c:pt idx="9837">
                  <c:v>0</c:v>
                </c:pt>
                <c:pt idx="9838">
                  <c:v>0</c:v>
                </c:pt>
                <c:pt idx="9839">
                  <c:v>0</c:v>
                </c:pt>
                <c:pt idx="9840">
                  <c:v>0</c:v>
                </c:pt>
                <c:pt idx="9841">
                  <c:v>0</c:v>
                </c:pt>
                <c:pt idx="9842">
                  <c:v>0</c:v>
                </c:pt>
                <c:pt idx="9843">
                  <c:v>0</c:v>
                </c:pt>
                <c:pt idx="9844">
                  <c:v>0</c:v>
                </c:pt>
                <c:pt idx="9845">
                  <c:v>0</c:v>
                </c:pt>
                <c:pt idx="9846">
                  <c:v>0</c:v>
                </c:pt>
                <c:pt idx="9847">
                  <c:v>3</c:v>
                </c:pt>
                <c:pt idx="9848">
                  <c:v>0</c:v>
                </c:pt>
                <c:pt idx="9849">
                  <c:v>0</c:v>
                </c:pt>
                <c:pt idx="9850">
                  <c:v>3</c:v>
                </c:pt>
                <c:pt idx="9851">
                  <c:v>0</c:v>
                </c:pt>
                <c:pt idx="9852">
                  <c:v>0</c:v>
                </c:pt>
                <c:pt idx="9853">
                  <c:v>0</c:v>
                </c:pt>
                <c:pt idx="9854">
                  <c:v>0</c:v>
                </c:pt>
                <c:pt idx="9855">
                  <c:v>2</c:v>
                </c:pt>
                <c:pt idx="9856">
                  <c:v>0</c:v>
                </c:pt>
                <c:pt idx="9857">
                  <c:v>0</c:v>
                </c:pt>
                <c:pt idx="9858">
                  <c:v>0</c:v>
                </c:pt>
                <c:pt idx="9859">
                  <c:v>0</c:v>
                </c:pt>
                <c:pt idx="9860">
                  <c:v>0</c:v>
                </c:pt>
                <c:pt idx="9861">
                  <c:v>0</c:v>
                </c:pt>
                <c:pt idx="9862">
                  <c:v>0</c:v>
                </c:pt>
                <c:pt idx="9863">
                  <c:v>1</c:v>
                </c:pt>
                <c:pt idx="9864">
                  <c:v>2</c:v>
                </c:pt>
                <c:pt idx="9865">
                  <c:v>0</c:v>
                </c:pt>
                <c:pt idx="9866">
                  <c:v>0</c:v>
                </c:pt>
                <c:pt idx="9867">
                  <c:v>1</c:v>
                </c:pt>
                <c:pt idx="9868">
                  <c:v>0</c:v>
                </c:pt>
                <c:pt idx="9869">
                  <c:v>1</c:v>
                </c:pt>
                <c:pt idx="9870">
                  <c:v>0</c:v>
                </c:pt>
                <c:pt idx="9871">
                  <c:v>0</c:v>
                </c:pt>
                <c:pt idx="9872">
                  <c:v>0</c:v>
                </c:pt>
                <c:pt idx="9873">
                  <c:v>0</c:v>
                </c:pt>
                <c:pt idx="9874">
                  <c:v>1</c:v>
                </c:pt>
                <c:pt idx="9875">
                  <c:v>1</c:v>
                </c:pt>
                <c:pt idx="9876">
                  <c:v>0</c:v>
                </c:pt>
                <c:pt idx="9877">
                  <c:v>5</c:v>
                </c:pt>
                <c:pt idx="9878">
                  <c:v>0</c:v>
                </c:pt>
                <c:pt idx="9879">
                  <c:v>1</c:v>
                </c:pt>
                <c:pt idx="9880">
                  <c:v>0</c:v>
                </c:pt>
                <c:pt idx="9881">
                  <c:v>2</c:v>
                </c:pt>
                <c:pt idx="9882">
                  <c:v>0</c:v>
                </c:pt>
                <c:pt idx="9883">
                  <c:v>1</c:v>
                </c:pt>
                <c:pt idx="9884">
                  <c:v>1</c:v>
                </c:pt>
                <c:pt idx="9885">
                  <c:v>1</c:v>
                </c:pt>
                <c:pt idx="9886">
                  <c:v>0</c:v>
                </c:pt>
                <c:pt idx="9887">
                  <c:v>0</c:v>
                </c:pt>
                <c:pt idx="9888">
                  <c:v>2</c:v>
                </c:pt>
                <c:pt idx="9889">
                  <c:v>0</c:v>
                </c:pt>
                <c:pt idx="9890">
                  <c:v>0</c:v>
                </c:pt>
                <c:pt idx="9891">
                  <c:v>1</c:v>
                </c:pt>
                <c:pt idx="9892">
                  <c:v>0</c:v>
                </c:pt>
                <c:pt idx="9893">
                  <c:v>0</c:v>
                </c:pt>
                <c:pt idx="9894">
                  <c:v>3</c:v>
                </c:pt>
                <c:pt idx="9895">
                  <c:v>0</c:v>
                </c:pt>
                <c:pt idx="9896">
                  <c:v>0</c:v>
                </c:pt>
                <c:pt idx="9897">
                  <c:v>0</c:v>
                </c:pt>
                <c:pt idx="9898">
                  <c:v>0</c:v>
                </c:pt>
                <c:pt idx="9899">
                  <c:v>0</c:v>
                </c:pt>
                <c:pt idx="9900">
                  <c:v>0</c:v>
                </c:pt>
                <c:pt idx="9901">
                  <c:v>0</c:v>
                </c:pt>
                <c:pt idx="9902">
                  <c:v>1</c:v>
                </c:pt>
                <c:pt idx="9903">
                  <c:v>0</c:v>
                </c:pt>
                <c:pt idx="9904">
                  <c:v>0</c:v>
                </c:pt>
                <c:pt idx="9905">
                  <c:v>0</c:v>
                </c:pt>
                <c:pt idx="9906">
                  <c:v>3</c:v>
                </c:pt>
                <c:pt idx="9907">
                  <c:v>0</c:v>
                </c:pt>
                <c:pt idx="9908">
                  <c:v>0</c:v>
                </c:pt>
                <c:pt idx="9909">
                  <c:v>0</c:v>
                </c:pt>
                <c:pt idx="9910">
                  <c:v>0</c:v>
                </c:pt>
                <c:pt idx="9911">
                  <c:v>0</c:v>
                </c:pt>
                <c:pt idx="9912">
                  <c:v>0</c:v>
                </c:pt>
                <c:pt idx="9913">
                  <c:v>1</c:v>
                </c:pt>
                <c:pt idx="9914">
                  <c:v>1</c:v>
                </c:pt>
                <c:pt idx="9915">
                  <c:v>0</c:v>
                </c:pt>
                <c:pt idx="9916">
                  <c:v>0</c:v>
                </c:pt>
                <c:pt idx="9917">
                  <c:v>0</c:v>
                </c:pt>
                <c:pt idx="9918">
                  <c:v>0</c:v>
                </c:pt>
                <c:pt idx="9919">
                  <c:v>1</c:v>
                </c:pt>
                <c:pt idx="9920">
                  <c:v>3</c:v>
                </c:pt>
                <c:pt idx="9921">
                  <c:v>0</c:v>
                </c:pt>
                <c:pt idx="9922">
                  <c:v>0</c:v>
                </c:pt>
                <c:pt idx="9923">
                  <c:v>0</c:v>
                </c:pt>
                <c:pt idx="9924">
                  <c:v>0</c:v>
                </c:pt>
                <c:pt idx="9925">
                  <c:v>0</c:v>
                </c:pt>
                <c:pt idx="9926">
                  <c:v>0</c:v>
                </c:pt>
                <c:pt idx="9927">
                  <c:v>0</c:v>
                </c:pt>
                <c:pt idx="9928">
                  <c:v>0</c:v>
                </c:pt>
                <c:pt idx="9929">
                  <c:v>0</c:v>
                </c:pt>
                <c:pt idx="9930">
                  <c:v>2</c:v>
                </c:pt>
                <c:pt idx="9931">
                  <c:v>0</c:v>
                </c:pt>
                <c:pt idx="9932">
                  <c:v>0</c:v>
                </c:pt>
                <c:pt idx="9933">
                  <c:v>0</c:v>
                </c:pt>
                <c:pt idx="9934">
                  <c:v>0</c:v>
                </c:pt>
                <c:pt idx="9935">
                  <c:v>2</c:v>
                </c:pt>
                <c:pt idx="9936">
                  <c:v>0</c:v>
                </c:pt>
                <c:pt idx="9937">
                  <c:v>0</c:v>
                </c:pt>
                <c:pt idx="9938">
                  <c:v>0</c:v>
                </c:pt>
                <c:pt idx="9939">
                  <c:v>1</c:v>
                </c:pt>
                <c:pt idx="9940">
                  <c:v>3</c:v>
                </c:pt>
                <c:pt idx="9941">
                  <c:v>1</c:v>
                </c:pt>
                <c:pt idx="9942">
                  <c:v>0</c:v>
                </c:pt>
                <c:pt idx="9943">
                  <c:v>0</c:v>
                </c:pt>
                <c:pt idx="9944">
                  <c:v>0</c:v>
                </c:pt>
                <c:pt idx="9945">
                  <c:v>0</c:v>
                </c:pt>
                <c:pt idx="9946">
                  <c:v>0</c:v>
                </c:pt>
                <c:pt idx="9947">
                  <c:v>0</c:v>
                </c:pt>
                <c:pt idx="9948">
                  <c:v>3</c:v>
                </c:pt>
                <c:pt idx="9949">
                  <c:v>0</c:v>
                </c:pt>
                <c:pt idx="9950">
                  <c:v>0</c:v>
                </c:pt>
                <c:pt idx="9951">
                  <c:v>0</c:v>
                </c:pt>
                <c:pt idx="9952">
                  <c:v>0</c:v>
                </c:pt>
                <c:pt idx="9953">
                  <c:v>0</c:v>
                </c:pt>
                <c:pt idx="9954">
                  <c:v>1</c:v>
                </c:pt>
                <c:pt idx="9955">
                  <c:v>0</c:v>
                </c:pt>
                <c:pt idx="9956">
                  <c:v>0</c:v>
                </c:pt>
                <c:pt idx="9957">
                  <c:v>0</c:v>
                </c:pt>
                <c:pt idx="9958">
                  <c:v>0</c:v>
                </c:pt>
                <c:pt idx="9959">
                  <c:v>0</c:v>
                </c:pt>
                <c:pt idx="9960">
                  <c:v>0</c:v>
                </c:pt>
                <c:pt idx="9961">
                  <c:v>0</c:v>
                </c:pt>
                <c:pt idx="9962">
                  <c:v>0</c:v>
                </c:pt>
                <c:pt idx="9963">
                  <c:v>0</c:v>
                </c:pt>
                <c:pt idx="9964">
                  <c:v>0</c:v>
                </c:pt>
                <c:pt idx="9965">
                  <c:v>0</c:v>
                </c:pt>
                <c:pt idx="9966">
                  <c:v>0</c:v>
                </c:pt>
                <c:pt idx="9967">
                  <c:v>0</c:v>
                </c:pt>
                <c:pt idx="9968">
                  <c:v>0</c:v>
                </c:pt>
                <c:pt idx="9969">
                  <c:v>0</c:v>
                </c:pt>
                <c:pt idx="9970">
                  <c:v>0</c:v>
                </c:pt>
                <c:pt idx="9971">
                  <c:v>0</c:v>
                </c:pt>
                <c:pt idx="9972">
                  <c:v>0</c:v>
                </c:pt>
                <c:pt idx="9973">
                  <c:v>0</c:v>
                </c:pt>
                <c:pt idx="9974">
                  <c:v>0</c:v>
                </c:pt>
                <c:pt idx="9975">
                  <c:v>0</c:v>
                </c:pt>
                <c:pt idx="9976">
                  <c:v>0</c:v>
                </c:pt>
                <c:pt idx="9977">
                  <c:v>0</c:v>
                </c:pt>
                <c:pt idx="9978">
                  <c:v>1</c:v>
                </c:pt>
                <c:pt idx="9979">
                  <c:v>0</c:v>
                </c:pt>
                <c:pt idx="9980">
                  <c:v>1</c:v>
                </c:pt>
                <c:pt idx="9981">
                  <c:v>0</c:v>
                </c:pt>
                <c:pt idx="9982">
                  <c:v>0</c:v>
                </c:pt>
                <c:pt idx="9983">
                  <c:v>0</c:v>
                </c:pt>
                <c:pt idx="9984">
                  <c:v>0</c:v>
                </c:pt>
                <c:pt idx="9985">
                  <c:v>0</c:v>
                </c:pt>
                <c:pt idx="9986">
                  <c:v>0</c:v>
                </c:pt>
                <c:pt idx="9987">
                  <c:v>0</c:v>
                </c:pt>
                <c:pt idx="9988">
                  <c:v>0</c:v>
                </c:pt>
                <c:pt idx="9989">
                  <c:v>0</c:v>
                </c:pt>
                <c:pt idx="9990">
                  <c:v>0</c:v>
                </c:pt>
                <c:pt idx="9991">
                  <c:v>0</c:v>
                </c:pt>
                <c:pt idx="9992">
                  <c:v>0</c:v>
                </c:pt>
                <c:pt idx="9993">
                  <c:v>0</c:v>
                </c:pt>
                <c:pt idx="9994">
                  <c:v>0</c:v>
                </c:pt>
                <c:pt idx="9995">
                  <c:v>0</c:v>
                </c:pt>
                <c:pt idx="9996">
                  <c:v>0</c:v>
                </c:pt>
                <c:pt idx="9997">
                  <c:v>0</c:v>
                </c:pt>
                <c:pt idx="9998">
                  <c:v>0</c:v>
                </c:pt>
                <c:pt idx="9999">
                  <c:v>0</c:v>
                </c:pt>
                <c:pt idx="10000">
                  <c:v>0</c:v>
                </c:pt>
                <c:pt idx="10001">
                  <c:v>0</c:v>
                </c:pt>
                <c:pt idx="10002">
                  <c:v>2</c:v>
                </c:pt>
                <c:pt idx="10003">
                  <c:v>0</c:v>
                </c:pt>
                <c:pt idx="10004">
                  <c:v>0</c:v>
                </c:pt>
                <c:pt idx="10005">
                  <c:v>0</c:v>
                </c:pt>
                <c:pt idx="10006">
                  <c:v>0</c:v>
                </c:pt>
                <c:pt idx="10007">
                  <c:v>0</c:v>
                </c:pt>
                <c:pt idx="10008">
                  <c:v>0</c:v>
                </c:pt>
                <c:pt idx="10009">
                  <c:v>0</c:v>
                </c:pt>
                <c:pt idx="10010">
                  <c:v>0</c:v>
                </c:pt>
                <c:pt idx="10011">
                  <c:v>0</c:v>
                </c:pt>
                <c:pt idx="10012">
                  <c:v>0</c:v>
                </c:pt>
                <c:pt idx="10013">
                  <c:v>0</c:v>
                </c:pt>
                <c:pt idx="10014">
                  <c:v>0</c:v>
                </c:pt>
                <c:pt idx="10015">
                  <c:v>0</c:v>
                </c:pt>
                <c:pt idx="10016">
                  <c:v>1</c:v>
                </c:pt>
                <c:pt idx="10017">
                  <c:v>1</c:v>
                </c:pt>
                <c:pt idx="10018">
                  <c:v>0</c:v>
                </c:pt>
                <c:pt idx="10019">
                  <c:v>0</c:v>
                </c:pt>
                <c:pt idx="10020">
                  <c:v>0</c:v>
                </c:pt>
                <c:pt idx="10021">
                  <c:v>0</c:v>
                </c:pt>
                <c:pt idx="10022">
                  <c:v>0</c:v>
                </c:pt>
                <c:pt idx="10023">
                  <c:v>0</c:v>
                </c:pt>
                <c:pt idx="10024">
                  <c:v>0</c:v>
                </c:pt>
                <c:pt idx="10025">
                  <c:v>0</c:v>
                </c:pt>
                <c:pt idx="10026">
                  <c:v>0</c:v>
                </c:pt>
                <c:pt idx="10027">
                  <c:v>0</c:v>
                </c:pt>
                <c:pt idx="10028">
                  <c:v>0</c:v>
                </c:pt>
                <c:pt idx="10029">
                  <c:v>0</c:v>
                </c:pt>
                <c:pt idx="10030">
                  <c:v>0</c:v>
                </c:pt>
                <c:pt idx="10031">
                  <c:v>1</c:v>
                </c:pt>
                <c:pt idx="10032">
                  <c:v>0</c:v>
                </c:pt>
                <c:pt idx="10033">
                  <c:v>8</c:v>
                </c:pt>
                <c:pt idx="10034">
                  <c:v>0</c:v>
                </c:pt>
                <c:pt idx="10035">
                  <c:v>0</c:v>
                </c:pt>
                <c:pt idx="10036">
                  <c:v>1</c:v>
                </c:pt>
                <c:pt idx="10037">
                  <c:v>2</c:v>
                </c:pt>
                <c:pt idx="10038">
                  <c:v>0</c:v>
                </c:pt>
                <c:pt idx="10039">
                  <c:v>0</c:v>
                </c:pt>
                <c:pt idx="10040">
                  <c:v>7</c:v>
                </c:pt>
                <c:pt idx="10041">
                  <c:v>0</c:v>
                </c:pt>
                <c:pt idx="10042">
                  <c:v>0</c:v>
                </c:pt>
                <c:pt idx="10043">
                  <c:v>0</c:v>
                </c:pt>
                <c:pt idx="10044">
                  <c:v>2</c:v>
                </c:pt>
                <c:pt idx="10045">
                  <c:v>0</c:v>
                </c:pt>
                <c:pt idx="10046">
                  <c:v>0</c:v>
                </c:pt>
                <c:pt idx="10047">
                  <c:v>0</c:v>
                </c:pt>
                <c:pt idx="10048">
                  <c:v>0</c:v>
                </c:pt>
                <c:pt idx="10049">
                  <c:v>0</c:v>
                </c:pt>
                <c:pt idx="10050">
                  <c:v>0</c:v>
                </c:pt>
                <c:pt idx="10051">
                  <c:v>1</c:v>
                </c:pt>
                <c:pt idx="10052">
                  <c:v>0</c:v>
                </c:pt>
                <c:pt idx="10053">
                  <c:v>5</c:v>
                </c:pt>
                <c:pt idx="10054">
                  <c:v>0</c:v>
                </c:pt>
                <c:pt idx="10055">
                  <c:v>2</c:v>
                </c:pt>
                <c:pt idx="10056">
                  <c:v>3</c:v>
                </c:pt>
                <c:pt idx="10057">
                  <c:v>3</c:v>
                </c:pt>
                <c:pt idx="10058">
                  <c:v>8</c:v>
                </c:pt>
                <c:pt idx="10059">
                  <c:v>0</c:v>
                </c:pt>
                <c:pt idx="10060">
                  <c:v>0</c:v>
                </c:pt>
                <c:pt idx="10061">
                  <c:v>1</c:v>
                </c:pt>
                <c:pt idx="10062">
                  <c:v>0</c:v>
                </c:pt>
                <c:pt idx="10063">
                  <c:v>0</c:v>
                </c:pt>
                <c:pt idx="10064">
                  <c:v>0</c:v>
                </c:pt>
                <c:pt idx="10065">
                  <c:v>0</c:v>
                </c:pt>
                <c:pt idx="10066">
                  <c:v>0</c:v>
                </c:pt>
                <c:pt idx="10067">
                  <c:v>0</c:v>
                </c:pt>
                <c:pt idx="10068">
                  <c:v>0</c:v>
                </c:pt>
                <c:pt idx="10069">
                  <c:v>0</c:v>
                </c:pt>
                <c:pt idx="10070">
                  <c:v>0</c:v>
                </c:pt>
                <c:pt idx="10071">
                  <c:v>0</c:v>
                </c:pt>
                <c:pt idx="10072">
                  <c:v>0</c:v>
                </c:pt>
                <c:pt idx="10073">
                  <c:v>0</c:v>
                </c:pt>
                <c:pt idx="10074">
                  <c:v>0</c:v>
                </c:pt>
                <c:pt idx="10075">
                  <c:v>0</c:v>
                </c:pt>
                <c:pt idx="10076">
                  <c:v>0</c:v>
                </c:pt>
                <c:pt idx="10077">
                  <c:v>0</c:v>
                </c:pt>
                <c:pt idx="10078">
                  <c:v>0</c:v>
                </c:pt>
                <c:pt idx="10079">
                  <c:v>0</c:v>
                </c:pt>
                <c:pt idx="10080">
                  <c:v>0</c:v>
                </c:pt>
                <c:pt idx="10081">
                  <c:v>0</c:v>
                </c:pt>
                <c:pt idx="10082">
                  <c:v>0</c:v>
                </c:pt>
                <c:pt idx="10083">
                  <c:v>0</c:v>
                </c:pt>
                <c:pt idx="10084">
                  <c:v>0</c:v>
                </c:pt>
                <c:pt idx="10085">
                  <c:v>0</c:v>
                </c:pt>
                <c:pt idx="10086">
                  <c:v>0</c:v>
                </c:pt>
                <c:pt idx="10087">
                  <c:v>0</c:v>
                </c:pt>
                <c:pt idx="10088">
                  <c:v>0</c:v>
                </c:pt>
                <c:pt idx="10089">
                  <c:v>0</c:v>
                </c:pt>
                <c:pt idx="10090">
                  <c:v>0</c:v>
                </c:pt>
                <c:pt idx="10091">
                  <c:v>0</c:v>
                </c:pt>
                <c:pt idx="10092">
                  <c:v>0</c:v>
                </c:pt>
                <c:pt idx="10093">
                  <c:v>0</c:v>
                </c:pt>
                <c:pt idx="10094">
                  <c:v>0</c:v>
                </c:pt>
                <c:pt idx="10095">
                  <c:v>0</c:v>
                </c:pt>
                <c:pt idx="10096">
                  <c:v>0</c:v>
                </c:pt>
                <c:pt idx="10097">
                  <c:v>0</c:v>
                </c:pt>
                <c:pt idx="10098">
                  <c:v>0</c:v>
                </c:pt>
                <c:pt idx="10099">
                  <c:v>0</c:v>
                </c:pt>
                <c:pt idx="10100">
                  <c:v>0</c:v>
                </c:pt>
                <c:pt idx="10101">
                  <c:v>0</c:v>
                </c:pt>
                <c:pt idx="10102">
                  <c:v>0</c:v>
                </c:pt>
                <c:pt idx="10103">
                  <c:v>0</c:v>
                </c:pt>
                <c:pt idx="10104">
                  <c:v>0</c:v>
                </c:pt>
                <c:pt idx="10105">
                  <c:v>0</c:v>
                </c:pt>
                <c:pt idx="10106">
                  <c:v>0</c:v>
                </c:pt>
                <c:pt idx="10107">
                  <c:v>0</c:v>
                </c:pt>
                <c:pt idx="10108">
                  <c:v>0</c:v>
                </c:pt>
                <c:pt idx="10109">
                  <c:v>0</c:v>
                </c:pt>
                <c:pt idx="10110">
                  <c:v>0</c:v>
                </c:pt>
                <c:pt idx="10111">
                  <c:v>0</c:v>
                </c:pt>
                <c:pt idx="10112">
                  <c:v>0</c:v>
                </c:pt>
                <c:pt idx="10113">
                  <c:v>0</c:v>
                </c:pt>
                <c:pt idx="10114">
                  <c:v>0</c:v>
                </c:pt>
                <c:pt idx="10115">
                  <c:v>0</c:v>
                </c:pt>
                <c:pt idx="10116">
                  <c:v>0</c:v>
                </c:pt>
                <c:pt idx="10117">
                  <c:v>0</c:v>
                </c:pt>
                <c:pt idx="10118">
                  <c:v>0</c:v>
                </c:pt>
                <c:pt idx="10119">
                  <c:v>0</c:v>
                </c:pt>
                <c:pt idx="10120">
                  <c:v>0</c:v>
                </c:pt>
                <c:pt idx="10121">
                  <c:v>0</c:v>
                </c:pt>
                <c:pt idx="10122">
                  <c:v>0</c:v>
                </c:pt>
                <c:pt idx="10123">
                  <c:v>0</c:v>
                </c:pt>
                <c:pt idx="10124">
                  <c:v>2</c:v>
                </c:pt>
                <c:pt idx="10125">
                  <c:v>0</c:v>
                </c:pt>
                <c:pt idx="10126">
                  <c:v>0</c:v>
                </c:pt>
                <c:pt idx="10127">
                  <c:v>1</c:v>
                </c:pt>
                <c:pt idx="10128">
                  <c:v>0</c:v>
                </c:pt>
                <c:pt idx="10129">
                  <c:v>0</c:v>
                </c:pt>
                <c:pt idx="10130">
                  <c:v>0</c:v>
                </c:pt>
                <c:pt idx="10131">
                  <c:v>0</c:v>
                </c:pt>
                <c:pt idx="10132">
                  <c:v>0</c:v>
                </c:pt>
                <c:pt idx="10133">
                  <c:v>0</c:v>
                </c:pt>
                <c:pt idx="10134">
                  <c:v>0</c:v>
                </c:pt>
                <c:pt idx="10135">
                  <c:v>3</c:v>
                </c:pt>
                <c:pt idx="10136">
                  <c:v>0</c:v>
                </c:pt>
                <c:pt idx="10137">
                  <c:v>0</c:v>
                </c:pt>
                <c:pt idx="10138">
                  <c:v>0</c:v>
                </c:pt>
                <c:pt idx="10139">
                  <c:v>0</c:v>
                </c:pt>
                <c:pt idx="10140">
                  <c:v>0</c:v>
                </c:pt>
                <c:pt idx="10141">
                  <c:v>0</c:v>
                </c:pt>
                <c:pt idx="10142">
                  <c:v>0</c:v>
                </c:pt>
                <c:pt idx="10143">
                  <c:v>0</c:v>
                </c:pt>
                <c:pt idx="10144">
                  <c:v>0</c:v>
                </c:pt>
                <c:pt idx="10145">
                  <c:v>0</c:v>
                </c:pt>
                <c:pt idx="10146">
                  <c:v>0</c:v>
                </c:pt>
                <c:pt idx="10147">
                  <c:v>0</c:v>
                </c:pt>
                <c:pt idx="10148">
                  <c:v>0</c:v>
                </c:pt>
                <c:pt idx="10149">
                  <c:v>0</c:v>
                </c:pt>
                <c:pt idx="10150">
                  <c:v>0</c:v>
                </c:pt>
                <c:pt idx="10151">
                  <c:v>0</c:v>
                </c:pt>
                <c:pt idx="10152">
                  <c:v>0</c:v>
                </c:pt>
                <c:pt idx="10153">
                  <c:v>0</c:v>
                </c:pt>
                <c:pt idx="10154">
                  <c:v>0</c:v>
                </c:pt>
                <c:pt idx="10155">
                  <c:v>0</c:v>
                </c:pt>
                <c:pt idx="10156">
                  <c:v>0</c:v>
                </c:pt>
                <c:pt idx="10157">
                  <c:v>0</c:v>
                </c:pt>
                <c:pt idx="10158">
                  <c:v>0</c:v>
                </c:pt>
                <c:pt idx="10159">
                  <c:v>0</c:v>
                </c:pt>
                <c:pt idx="10160">
                  <c:v>0</c:v>
                </c:pt>
                <c:pt idx="10161">
                  <c:v>0</c:v>
                </c:pt>
                <c:pt idx="10162">
                  <c:v>0</c:v>
                </c:pt>
                <c:pt idx="10163">
                  <c:v>0</c:v>
                </c:pt>
                <c:pt idx="10164">
                  <c:v>0</c:v>
                </c:pt>
                <c:pt idx="10165">
                  <c:v>0</c:v>
                </c:pt>
                <c:pt idx="10166">
                  <c:v>0</c:v>
                </c:pt>
                <c:pt idx="10167">
                  <c:v>0</c:v>
                </c:pt>
                <c:pt idx="10168">
                  <c:v>0</c:v>
                </c:pt>
                <c:pt idx="10169">
                  <c:v>0</c:v>
                </c:pt>
                <c:pt idx="10170">
                  <c:v>3</c:v>
                </c:pt>
                <c:pt idx="10171">
                  <c:v>0</c:v>
                </c:pt>
                <c:pt idx="10172">
                  <c:v>0</c:v>
                </c:pt>
                <c:pt idx="10173">
                  <c:v>0</c:v>
                </c:pt>
                <c:pt idx="10174">
                  <c:v>0</c:v>
                </c:pt>
                <c:pt idx="10175">
                  <c:v>0</c:v>
                </c:pt>
                <c:pt idx="10176">
                  <c:v>0</c:v>
                </c:pt>
                <c:pt idx="10177">
                  <c:v>0</c:v>
                </c:pt>
                <c:pt idx="10178">
                  <c:v>0</c:v>
                </c:pt>
                <c:pt idx="10179">
                  <c:v>0</c:v>
                </c:pt>
                <c:pt idx="10180">
                  <c:v>0</c:v>
                </c:pt>
                <c:pt idx="10181">
                  <c:v>0</c:v>
                </c:pt>
                <c:pt idx="10182">
                  <c:v>0</c:v>
                </c:pt>
                <c:pt idx="10183">
                  <c:v>0</c:v>
                </c:pt>
                <c:pt idx="10184">
                  <c:v>0</c:v>
                </c:pt>
                <c:pt idx="10185">
                  <c:v>2</c:v>
                </c:pt>
                <c:pt idx="10186">
                  <c:v>2</c:v>
                </c:pt>
                <c:pt idx="10187">
                  <c:v>0</c:v>
                </c:pt>
                <c:pt idx="10188">
                  <c:v>2</c:v>
                </c:pt>
                <c:pt idx="10189">
                  <c:v>2</c:v>
                </c:pt>
                <c:pt idx="10190">
                  <c:v>0</c:v>
                </c:pt>
                <c:pt idx="10191">
                  <c:v>1</c:v>
                </c:pt>
                <c:pt idx="10192">
                  <c:v>0</c:v>
                </c:pt>
                <c:pt idx="10193">
                  <c:v>0</c:v>
                </c:pt>
                <c:pt idx="10194">
                  <c:v>0</c:v>
                </c:pt>
                <c:pt idx="10195">
                  <c:v>0</c:v>
                </c:pt>
                <c:pt idx="10196">
                  <c:v>0</c:v>
                </c:pt>
                <c:pt idx="10197">
                  <c:v>0</c:v>
                </c:pt>
                <c:pt idx="10198">
                  <c:v>0</c:v>
                </c:pt>
                <c:pt idx="10199">
                  <c:v>0</c:v>
                </c:pt>
                <c:pt idx="10200">
                  <c:v>2</c:v>
                </c:pt>
                <c:pt idx="10201">
                  <c:v>1</c:v>
                </c:pt>
                <c:pt idx="10202">
                  <c:v>0</c:v>
                </c:pt>
                <c:pt idx="10203">
                  <c:v>0</c:v>
                </c:pt>
                <c:pt idx="10204">
                  <c:v>0</c:v>
                </c:pt>
                <c:pt idx="10205">
                  <c:v>0</c:v>
                </c:pt>
                <c:pt idx="10206">
                  <c:v>0</c:v>
                </c:pt>
                <c:pt idx="10207">
                  <c:v>0</c:v>
                </c:pt>
                <c:pt idx="10208">
                  <c:v>0</c:v>
                </c:pt>
                <c:pt idx="10209">
                  <c:v>0</c:v>
                </c:pt>
                <c:pt idx="10210">
                  <c:v>0</c:v>
                </c:pt>
                <c:pt idx="10211">
                  <c:v>0</c:v>
                </c:pt>
                <c:pt idx="10212">
                  <c:v>0</c:v>
                </c:pt>
                <c:pt idx="10213">
                  <c:v>0</c:v>
                </c:pt>
                <c:pt idx="10214">
                  <c:v>0</c:v>
                </c:pt>
                <c:pt idx="10215">
                  <c:v>0</c:v>
                </c:pt>
                <c:pt idx="10216">
                  <c:v>0</c:v>
                </c:pt>
                <c:pt idx="10217">
                  <c:v>0</c:v>
                </c:pt>
                <c:pt idx="10218">
                  <c:v>0</c:v>
                </c:pt>
                <c:pt idx="10219">
                  <c:v>0</c:v>
                </c:pt>
                <c:pt idx="10220">
                  <c:v>1</c:v>
                </c:pt>
                <c:pt idx="10221">
                  <c:v>0</c:v>
                </c:pt>
                <c:pt idx="10222">
                  <c:v>0</c:v>
                </c:pt>
                <c:pt idx="10223">
                  <c:v>0</c:v>
                </c:pt>
                <c:pt idx="10224">
                  <c:v>0</c:v>
                </c:pt>
                <c:pt idx="10225">
                  <c:v>0</c:v>
                </c:pt>
                <c:pt idx="10226">
                  <c:v>0</c:v>
                </c:pt>
                <c:pt idx="10227">
                  <c:v>0</c:v>
                </c:pt>
                <c:pt idx="10228">
                  <c:v>0</c:v>
                </c:pt>
                <c:pt idx="10229">
                  <c:v>0</c:v>
                </c:pt>
                <c:pt idx="10230">
                  <c:v>0</c:v>
                </c:pt>
                <c:pt idx="10231">
                  <c:v>0</c:v>
                </c:pt>
                <c:pt idx="10232">
                  <c:v>0</c:v>
                </c:pt>
                <c:pt idx="10233">
                  <c:v>0</c:v>
                </c:pt>
                <c:pt idx="10234">
                  <c:v>0</c:v>
                </c:pt>
                <c:pt idx="10235">
                  <c:v>0</c:v>
                </c:pt>
                <c:pt idx="10236">
                  <c:v>0</c:v>
                </c:pt>
                <c:pt idx="10237">
                  <c:v>0</c:v>
                </c:pt>
                <c:pt idx="10238">
                  <c:v>0</c:v>
                </c:pt>
                <c:pt idx="10239">
                  <c:v>0</c:v>
                </c:pt>
                <c:pt idx="10240">
                  <c:v>0</c:v>
                </c:pt>
                <c:pt idx="10241">
                  <c:v>0</c:v>
                </c:pt>
                <c:pt idx="10242">
                  <c:v>0</c:v>
                </c:pt>
                <c:pt idx="10243">
                  <c:v>0</c:v>
                </c:pt>
                <c:pt idx="10244">
                  <c:v>0</c:v>
                </c:pt>
                <c:pt idx="10245">
                  <c:v>0</c:v>
                </c:pt>
                <c:pt idx="10246">
                  <c:v>0</c:v>
                </c:pt>
                <c:pt idx="10247">
                  <c:v>0</c:v>
                </c:pt>
                <c:pt idx="10248">
                  <c:v>0</c:v>
                </c:pt>
                <c:pt idx="10249">
                  <c:v>0</c:v>
                </c:pt>
                <c:pt idx="10250">
                  <c:v>0</c:v>
                </c:pt>
                <c:pt idx="10251">
                  <c:v>0</c:v>
                </c:pt>
                <c:pt idx="10252">
                  <c:v>0</c:v>
                </c:pt>
                <c:pt idx="10253">
                  <c:v>0</c:v>
                </c:pt>
                <c:pt idx="10254">
                  <c:v>0</c:v>
                </c:pt>
                <c:pt idx="10255">
                  <c:v>0</c:v>
                </c:pt>
                <c:pt idx="10256">
                  <c:v>0</c:v>
                </c:pt>
                <c:pt idx="10257">
                  <c:v>0</c:v>
                </c:pt>
                <c:pt idx="10258">
                  <c:v>0</c:v>
                </c:pt>
                <c:pt idx="10259">
                  <c:v>0</c:v>
                </c:pt>
                <c:pt idx="10260">
                  <c:v>0</c:v>
                </c:pt>
                <c:pt idx="10261">
                  <c:v>0</c:v>
                </c:pt>
                <c:pt idx="10262">
                  <c:v>0</c:v>
                </c:pt>
                <c:pt idx="10263">
                  <c:v>0</c:v>
                </c:pt>
                <c:pt idx="10264">
                  <c:v>2</c:v>
                </c:pt>
                <c:pt idx="10265">
                  <c:v>1</c:v>
                </c:pt>
                <c:pt idx="10266">
                  <c:v>2</c:v>
                </c:pt>
                <c:pt idx="10267">
                  <c:v>0</c:v>
                </c:pt>
                <c:pt idx="10268">
                  <c:v>0</c:v>
                </c:pt>
                <c:pt idx="10269">
                  <c:v>0</c:v>
                </c:pt>
                <c:pt idx="10270">
                  <c:v>0</c:v>
                </c:pt>
                <c:pt idx="10271">
                  <c:v>0</c:v>
                </c:pt>
                <c:pt idx="10272">
                  <c:v>0</c:v>
                </c:pt>
                <c:pt idx="10273">
                  <c:v>0</c:v>
                </c:pt>
                <c:pt idx="10274">
                  <c:v>0</c:v>
                </c:pt>
                <c:pt idx="10275">
                  <c:v>0</c:v>
                </c:pt>
                <c:pt idx="10276">
                  <c:v>0</c:v>
                </c:pt>
                <c:pt idx="10277">
                  <c:v>0</c:v>
                </c:pt>
                <c:pt idx="10278">
                  <c:v>0</c:v>
                </c:pt>
                <c:pt idx="10279">
                  <c:v>0</c:v>
                </c:pt>
                <c:pt idx="10280">
                  <c:v>1</c:v>
                </c:pt>
                <c:pt idx="10281">
                  <c:v>1</c:v>
                </c:pt>
                <c:pt idx="10282">
                  <c:v>0</c:v>
                </c:pt>
                <c:pt idx="10283">
                  <c:v>0</c:v>
                </c:pt>
                <c:pt idx="10284">
                  <c:v>1</c:v>
                </c:pt>
                <c:pt idx="10285">
                  <c:v>0</c:v>
                </c:pt>
                <c:pt idx="10286">
                  <c:v>0</c:v>
                </c:pt>
                <c:pt idx="10287">
                  <c:v>0</c:v>
                </c:pt>
                <c:pt idx="10288">
                  <c:v>0</c:v>
                </c:pt>
                <c:pt idx="10289">
                  <c:v>0</c:v>
                </c:pt>
                <c:pt idx="10290">
                  <c:v>0</c:v>
                </c:pt>
                <c:pt idx="10291">
                  <c:v>5</c:v>
                </c:pt>
                <c:pt idx="10292">
                  <c:v>2</c:v>
                </c:pt>
                <c:pt idx="10293">
                  <c:v>0</c:v>
                </c:pt>
                <c:pt idx="10294">
                  <c:v>0</c:v>
                </c:pt>
                <c:pt idx="10295">
                  <c:v>0</c:v>
                </c:pt>
                <c:pt idx="10296">
                  <c:v>0</c:v>
                </c:pt>
                <c:pt idx="10297">
                  <c:v>0</c:v>
                </c:pt>
                <c:pt idx="10298">
                  <c:v>0</c:v>
                </c:pt>
                <c:pt idx="10299">
                  <c:v>0</c:v>
                </c:pt>
                <c:pt idx="10300">
                  <c:v>0</c:v>
                </c:pt>
                <c:pt idx="10301">
                  <c:v>0</c:v>
                </c:pt>
                <c:pt idx="10302">
                  <c:v>0</c:v>
                </c:pt>
                <c:pt idx="10303">
                  <c:v>0</c:v>
                </c:pt>
                <c:pt idx="10304">
                  <c:v>0</c:v>
                </c:pt>
                <c:pt idx="10305">
                  <c:v>1</c:v>
                </c:pt>
                <c:pt idx="10306">
                  <c:v>0</c:v>
                </c:pt>
                <c:pt idx="10307">
                  <c:v>0</c:v>
                </c:pt>
                <c:pt idx="10308">
                  <c:v>0</c:v>
                </c:pt>
                <c:pt idx="10309">
                  <c:v>0</c:v>
                </c:pt>
                <c:pt idx="10310">
                  <c:v>0</c:v>
                </c:pt>
                <c:pt idx="10311">
                  <c:v>0</c:v>
                </c:pt>
                <c:pt idx="10312">
                  <c:v>0</c:v>
                </c:pt>
                <c:pt idx="10313">
                  <c:v>0</c:v>
                </c:pt>
                <c:pt idx="10314">
                  <c:v>0</c:v>
                </c:pt>
                <c:pt idx="10315">
                  <c:v>0</c:v>
                </c:pt>
                <c:pt idx="10316">
                  <c:v>0</c:v>
                </c:pt>
                <c:pt idx="10317">
                  <c:v>0</c:v>
                </c:pt>
                <c:pt idx="10318">
                  <c:v>0</c:v>
                </c:pt>
                <c:pt idx="10319">
                  <c:v>5</c:v>
                </c:pt>
                <c:pt idx="10320">
                  <c:v>0</c:v>
                </c:pt>
                <c:pt idx="10321">
                  <c:v>0</c:v>
                </c:pt>
                <c:pt idx="10322">
                  <c:v>0</c:v>
                </c:pt>
                <c:pt idx="10323">
                  <c:v>0</c:v>
                </c:pt>
                <c:pt idx="10324">
                  <c:v>0</c:v>
                </c:pt>
                <c:pt idx="10325">
                  <c:v>0</c:v>
                </c:pt>
                <c:pt idx="10326">
                  <c:v>0</c:v>
                </c:pt>
                <c:pt idx="10327">
                  <c:v>0</c:v>
                </c:pt>
                <c:pt idx="10328">
                  <c:v>0</c:v>
                </c:pt>
                <c:pt idx="10329">
                  <c:v>0</c:v>
                </c:pt>
                <c:pt idx="10330">
                  <c:v>0</c:v>
                </c:pt>
                <c:pt idx="10331">
                  <c:v>0</c:v>
                </c:pt>
                <c:pt idx="10332">
                  <c:v>0</c:v>
                </c:pt>
                <c:pt idx="10333">
                  <c:v>0</c:v>
                </c:pt>
                <c:pt idx="10334">
                  <c:v>0</c:v>
                </c:pt>
                <c:pt idx="10335">
                  <c:v>0</c:v>
                </c:pt>
                <c:pt idx="10336">
                  <c:v>0</c:v>
                </c:pt>
                <c:pt idx="10337">
                  <c:v>0</c:v>
                </c:pt>
                <c:pt idx="10338">
                  <c:v>0</c:v>
                </c:pt>
                <c:pt idx="10339">
                  <c:v>0</c:v>
                </c:pt>
                <c:pt idx="10340">
                  <c:v>0</c:v>
                </c:pt>
                <c:pt idx="10341">
                  <c:v>0</c:v>
                </c:pt>
                <c:pt idx="10342">
                  <c:v>0</c:v>
                </c:pt>
                <c:pt idx="10343">
                  <c:v>0</c:v>
                </c:pt>
                <c:pt idx="10344">
                  <c:v>0</c:v>
                </c:pt>
                <c:pt idx="10345">
                  <c:v>0</c:v>
                </c:pt>
                <c:pt idx="10346">
                  <c:v>0</c:v>
                </c:pt>
                <c:pt idx="10347">
                  <c:v>0</c:v>
                </c:pt>
                <c:pt idx="10348">
                  <c:v>0</c:v>
                </c:pt>
                <c:pt idx="10349">
                  <c:v>0</c:v>
                </c:pt>
                <c:pt idx="10350">
                  <c:v>0</c:v>
                </c:pt>
                <c:pt idx="10351">
                  <c:v>0</c:v>
                </c:pt>
                <c:pt idx="10352">
                  <c:v>0</c:v>
                </c:pt>
                <c:pt idx="10353">
                  <c:v>0</c:v>
                </c:pt>
                <c:pt idx="10354">
                  <c:v>0</c:v>
                </c:pt>
                <c:pt idx="10355">
                  <c:v>0</c:v>
                </c:pt>
                <c:pt idx="10356">
                  <c:v>0</c:v>
                </c:pt>
                <c:pt idx="10357">
                  <c:v>0</c:v>
                </c:pt>
                <c:pt idx="10358">
                  <c:v>0</c:v>
                </c:pt>
                <c:pt idx="10359">
                  <c:v>0</c:v>
                </c:pt>
                <c:pt idx="10360">
                  <c:v>0</c:v>
                </c:pt>
                <c:pt idx="10361">
                  <c:v>0</c:v>
                </c:pt>
                <c:pt idx="10362">
                  <c:v>0</c:v>
                </c:pt>
                <c:pt idx="10363">
                  <c:v>0</c:v>
                </c:pt>
                <c:pt idx="10364">
                  <c:v>0</c:v>
                </c:pt>
                <c:pt idx="10365">
                  <c:v>0</c:v>
                </c:pt>
                <c:pt idx="10366">
                  <c:v>0</c:v>
                </c:pt>
                <c:pt idx="10367">
                  <c:v>0</c:v>
                </c:pt>
                <c:pt idx="10368">
                  <c:v>0</c:v>
                </c:pt>
                <c:pt idx="10369">
                  <c:v>0</c:v>
                </c:pt>
                <c:pt idx="10370">
                  <c:v>0</c:v>
                </c:pt>
                <c:pt idx="10371">
                  <c:v>0</c:v>
                </c:pt>
                <c:pt idx="10372">
                  <c:v>0</c:v>
                </c:pt>
                <c:pt idx="10373">
                  <c:v>0</c:v>
                </c:pt>
                <c:pt idx="10374">
                  <c:v>0</c:v>
                </c:pt>
                <c:pt idx="10375">
                  <c:v>0</c:v>
                </c:pt>
                <c:pt idx="10376">
                  <c:v>0</c:v>
                </c:pt>
                <c:pt idx="10377">
                  <c:v>0</c:v>
                </c:pt>
                <c:pt idx="10378">
                  <c:v>0</c:v>
                </c:pt>
                <c:pt idx="10379">
                  <c:v>0</c:v>
                </c:pt>
                <c:pt idx="10380">
                  <c:v>0</c:v>
                </c:pt>
                <c:pt idx="10381">
                  <c:v>0</c:v>
                </c:pt>
                <c:pt idx="10382">
                  <c:v>0</c:v>
                </c:pt>
                <c:pt idx="10383">
                  <c:v>0</c:v>
                </c:pt>
                <c:pt idx="10384">
                  <c:v>0</c:v>
                </c:pt>
                <c:pt idx="10385">
                  <c:v>0</c:v>
                </c:pt>
                <c:pt idx="10386">
                  <c:v>1</c:v>
                </c:pt>
                <c:pt idx="10387">
                  <c:v>2</c:v>
                </c:pt>
                <c:pt idx="10388">
                  <c:v>0</c:v>
                </c:pt>
                <c:pt idx="10389">
                  <c:v>0</c:v>
                </c:pt>
                <c:pt idx="10390">
                  <c:v>0</c:v>
                </c:pt>
                <c:pt idx="10391">
                  <c:v>1</c:v>
                </c:pt>
                <c:pt idx="10392">
                  <c:v>0</c:v>
                </c:pt>
                <c:pt idx="10393">
                  <c:v>0</c:v>
                </c:pt>
                <c:pt idx="10394">
                  <c:v>1</c:v>
                </c:pt>
                <c:pt idx="10395">
                  <c:v>0</c:v>
                </c:pt>
                <c:pt idx="10396">
                  <c:v>0</c:v>
                </c:pt>
                <c:pt idx="10397">
                  <c:v>0</c:v>
                </c:pt>
                <c:pt idx="10398">
                  <c:v>0</c:v>
                </c:pt>
                <c:pt idx="10399">
                  <c:v>0</c:v>
                </c:pt>
                <c:pt idx="10400">
                  <c:v>0</c:v>
                </c:pt>
                <c:pt idx="10401">
                  <c:v>0</c:v>
                </c:pt>
                <c:pt idx="10402">
                  <c:v>0</c:v>
                </c:pt>
                <c:pt idx="10403">
                  <c:v>0</c:v>
                </c:pt>
                <c:pt idx="10404">
                  <c:v>1</c:v>
                </c:pt>
                <c:pt idx="10405">
                  <c:v>0</c:v>
                </c:pt>
                <c:pt idx="10406">
                  <c:v>0</c:v>
                </c:pt>
                <c:pt idx="10407">
                  <c:v>0</c:v>
                </c:pt>
                <c:pt idx="10408">
                  <c:v>0</c:v>
                </c:pt>
                <c:pt idx="10409">
                  <c:v>0</c:v>
                </c:pt>
                <c:pt idx="10410">
                  <c:v>0</c:v>
                </c:pt>
                <c:pt idx="10411">
                  <c:v>0</c:v>
                </c:pt>
                <c:pt idx="10412">
                  <c:v>0</c:v>
                </c:pt>
                <c:pt idx="10413">
                  <c:v>0</c:v>
                </c:pt>
                <c:pt idx="10414">
                  <c:v>0</c:v>
                </c:pt>
                <c:pt idx="10415">
                  <c:v>0</c:v>
                </c:pt>
                <c:pt idx="10416">
                  <c:v>0</c:v>
                </c:pt>
                <c:pt idx="10417">
                  <c:v>0</c:v>
                </c:pt>
                <c:pt idx="10418">
                  <c:v>0</c:v>
                </c:pt>
                <c:pt idx="10419">
                  <c:v>0</c:v>
                </c:pt>
                <c:pt idx="10420">
                  <c:v>1</c:v>
                </c:pt>
                <c:pt idx="10421">
                  <c:v>1</c:v>
                </c:pt>
                <c:pt idx="10422">
                  <c:v>1</c:v>
                </c:pt>
                <c:pt idx="10423">
                  <c:v>0</c:v>
                </c:pt>
                <c:pt idx="10424">
                  <c:v>2</c:v>
                </c:pt>
                <c:pt idx="10425">
                  <c:v>0</c:v>
                </c:pt>
                <c:pt idx="10426">
                  <c:v>2</c:v>
                </c:pt>
                <c:pt idx="10427">
                  <c:v>0</c:v>
                </c:pt>
                <c:pt idx="10428">
                  <c:v>0</c:v>
                </c:pt>
                <c:pt idx="10429">
                  <c:v>0</c:v>
                </c:pt>
                <c:pt idx="10430">
                  <c:v>0</c:v>
                </c:pt>
                <c:pt idx="10431">
                  <c:v>0</c:v>
                </c:pt>
                <c:pt idx="10432">
                  <c:v>0</c:v>
                </c:pt>
                <c:pt idx="10433">
                  <c:v>0</c:v>
                </c:pt>
                <c:pt idx="10434">
                  <c:v>1</c:v>
                </c:pt>
                <c:pt idx="10435">
                  <c:v>0</c:v>
                </c:pt>
                <c:pt idx="10436">
                  <c:v>0</c:v>
                </c:pt>
                <c:pt idx="10437">
                  <c:v>0</c:v>
                </c:pt>
                <c:pt idx="10438">
                  <c:v>0</c:v>
                </c:pt>
                <c:pt idx="10439">
                  <c:v>0</c:v>
                </c:pt>
                <c:pt idx="10440">
                  <c:v>0</c:v>
                </c:pt>
                <c:pt idx="10441">
                  <c:v>0</c:v>
                </c:pt>
                <c:pt idx="10442">
                  <c:v>0</c:v>
                </c:pt>
                <c:pt idx="10443">
                  <c:v>0</c:v>
                </c:pt>
                <c:pt idx="10444">
                  <c:v>0</c:v>
                </c:pt>
                <c:pt idx="10445">
                  <c:v>0</c:v>
                </c:pt>
                <c:pt idx="10446">
                  <c:v>0</c:v>
                </c:pt>
                <c:pt idx="10447">
                  <c:v>0</c:v>
                </c:pt>
                <c:pt idx="10448">
                  <c:v>0</c:v>
                </c:pt>
                <c:pt idx="10449">
                  <c:v>0</c:v>
                </c:pt>
                <c:pt idx="10450">
                  <c:v>0</c:v>
                </c:pt>
                <c:pt idx="10451">
                  <c:v>0</c:v>
                </c:pt>
                <c:pt idx="10452">
                  <c:v>0</c:v>
                </c:pt>
                <c:pt idx="10453">
                  <c:v>0</c:v>
                </c:pt>
                <c:pt idx="10454">
                  <c:v>0</c:v>
                </c:pt>
                <c:pt idx="10455">
                  <c:v>0</c:v>
                </c:pt>
                <c:pt idx="10456">
                  <c:v>0</c:v>
                </c:pt>
                <c:pt idx="10457">
                  <c:v>0</c:v>
                </c:pt>
                <c:pt idx="10458">
                  <c:v>0</c:v>
                </c:pt>
                <c:pt idx="10459">
                  <c:v>0</c:v>
                </c:pt>
                <c:pt idx="10460">
                  <c:v>0</c:v>
                </c:pt>
                <c:pt idx="10461">
                  <c:v>0</c:v>
                </c:pt>
                <c:pt idx="10462">
                  <c:v>0</c:v>
                </c:pt>
                <c:pt idx="10463">
                  <c:v>0</c:v>
                </c:pt>
                <c:pt idx="10464">
                  <c:v>0</c:v>
                </c:pt>
                <c:pt idx="10465">
                  <c:v>0</c:v>
                </c:pt>
                <c:pt idx="10466">
                  <c:v>0</c:v>
                </c:pt>
                <c:pt idx="10467">
                  <c:v>0</c:v>
                </c:pt>
                <c:pt idx="10468">
                  <c:v>0</c:v>
                </c:pt>
                <c:pt idx="10469">
                  <c:v>0</c:v>
                </c:pt>
                <c:pt idx="10470">
                  <c:v>3</c:v>
                </c:pt>
                <c:pt idx="10471">
                  <c:v>8</c:v>
                </c:pt>
                <c:pt idx="10472">
                  <c:v>0</c:v>
                </c:pt>
                <c:pt idx="10473">
                  <c:v>0</c:v>
                </c:pt>
                <c:pt idx="10474">
                  <c:v>0</c:v>
                </c:pt>
                <c:pt idx="10475">
                  <c:v>0</c:v>
                </c:pt>
                <c:pt idx="10476">
                  <c:v>0</c:v>
                </c:pt>
                <c:pt idx="10477">
                  <c:v>0</c:v>
                </c:pt>
                <c:pt idx="10478">
                  <c:v>0</c:v>
                </c:pt>
                <c:pt idx="10479">
                  <c:v>0</c:v>
                </c:pt>
                <c:pt idx="10480">
                  <c:v>0</c:v>
                </c:pt>
                <c:pt idx="10481">
                  <c:v>0</c:v>
                </c:pt>
                <c:pt idx="10482">
                  <c:v>0</c:v>
                </c:pt>
                <c:pt idx="10483">
                  <c:v>0</c:v>
                </c:pt>
                <c:pt idx="10484">
                  <c:v>0</c:v>
                </c:pt>
                <c:pt idx="10485">
                  <c:v>0</c:v>
                </c:pt>
                <c:pt idx="10486">
                  <c:v>0</c:v>
                </c:pt>
                <c:pt idx="10487">
                  <c:v>0</c:v>
                </c:pt>
                <c:pt idx="10488">
                  <c:v>0</c:v>
                </c:pt>
                <c:pt idx="10489">
                  <c:v>0</c:v>
                </c:pt>
                <c:pt idx="10490">
                  <c:v>0</c:v>
                </c:pt>
                <c:pt idx="10491">
                  <c:v>0</c:v>
                </c:pt>
                <c:pt idx="10492">
                  <c:v>0</c:v>
                </c:pt>
                <c:pt idx="10493">
                  <c:v>0</c:v>
                </c:pt>
                <c:pt idx="10494">
                  <c:v>0</c:v>
                </c:pt>
                <c:pt idx="10495">
                  <c:v>0</c:v>
                </c:pt>
                <c:pt idx="10496">
                  <c:v>0</c:v>
                </c:pt>
                <c:pt idx="10497">
                  <c:v>0</c:v>
                </c:pt>
                <c:pt idx="10498">
                  <c:v>0</c:v>
                </c:pt>
                <c:pt idx="10499">
                  <c:v>0</c:v>
                </c:pt>
                <c:pt idx="10500">
                  <c:v>0</c:v>
                </c:pt>
                <c:pt idx="10501">
                  <c:v>0</c:v>
                </c:pt>
                <c:pt idx="10502">
                  <c:v>0</c:v>
                </c:pt>
                <c:pt idx="10503">
                  <c:v>0</c:v>
                </c:pt>
                <c:pt idx="10504">
                  <c:v>0</c:v>
                </c:pt>
                <c:pt idx="10505">
                  <c:v>0</c:v>
                </c:pt>
                <c:pt idx="10506">
                  <c:v>0</c:v>
                </c:pt>
                <c:pt idx="10507">
                  <c:v>0</c:v>
                </c:pt>
                <c:pt idx="10508">
                  <c:v>0</c:v>
                </c:pt>
                <c:pt idx="10509">
                  <c:v>0</c:v>
                </c:pt>
                <c:pt idx="10510">
                  <c:v>0</c:v>
                </c:pt>
                <c:pt idx="10511">
                  <c:v>0</c:v>
                </c:pt>
                <c:pt idx="10512">
                  <c:v>0</c:v>
                </c:pt>
                <c:pt idx="10513">
                  <c:v>0</c:v>
                </c:pt>
                <c:pt idx="10514">
                  <c:v>3</c:v>
                </c:pt>
                <c:pt idx="10515">
                  <c:v>0</c:v>
                </c:pt>
                <c:pt idx="10516">
                  <c:v>0</c:v>
                </c:pt>
                <c:pt idx="10517">
                  <c:v>0</c:v>
                </c:pt>
                <c:pt idx="10518">
                  <c:v>0</c:v>
                </c:pt>
                <c:pt idx="10519">
                  <c:v>0</c:v>
                </c:pt>
                <c:pt idx="10520">
                  <c:v>0</c:v>
                </c:pt>
                <c:pt idx="10521">
                  <c:v>0</c:v>
                </c:pt>
                <c:pt idx="10522">
                  <c:v>0</c:v>
                </c:pt>
                <c:pt idx="10523">
                  <c:v>0</c:v>
                </c:pt>
                <c:pt idx="10524">
                  <c:v>0</c:v>
                </c:pt>
                <c:pt idx="10525">
                  <c:v>9</c:v>
                </c:pt>
                <c:pt idx="10526">
                  <c:v>0</c:v>
                </c:pt>
                <c:pt idx="10527">
                  <c:v>0</c:v>
                </c:pt>
                <c:pt idx="10528">
                  <c:v>0</c:v>
                </c:pt>
                <c:pt idx="10529">
                  <c:v>0</c:v>
                </c:pt>
                <c:pt idx="10530">
                  <c:v>0</c:v>
                </c:pt>
                <c:pt idx="10531">
                  <c:v>0</c:v>
                </c:pt>
                <c:pt idx="10532">
                  <c:v>0</c:v>
                </c:pt>
                <c:pt idx="10533">
                  <c:v>0</c:v>
                </c:pt>
                <c:pt idx="10534">
                  <c:v>0</c:v>
                </c:pt>
                <c:pt idx="10535">
                  <c:v>5</c:v>
                </c:pt>
                <c:pt idx="10536">
                  <c:v>7</c:v>
                </c:pt>
                <c:pt idx="10537">
                  <c:v>1</c:v>
                </c:pt>
                <c:pt idx="10538">
                  <c:v>0</c:v>
                </c:pt>
                <c:pt idx="10539">
                  <c:v>0</c:v>
                </c:pt>
                <c:pt idx="10540">
                  <c:v>0</c:v>
                </c:pt>
                <c:pt idx="10541">
                  <c:v>0</c:v>
                </c:pt>
                <c:pt idx="10542">
                  <c:v>0</c:v>
                </c:pt>
                <c:pt idx="10543">
                  <c:v>0</c:v>
                </c:pt>
                <c:pt idx="10544">
                  <c:v>0</c:v>
                </c:pt>
                <c:pt idx="10545">
                  <c:v>0</c:v>
                </c:pt>
                <c:pt idx="10546">
                  <c:v>0</c:v>
                </c:pt>
                <c:pt idx="10547">
                  <c:v>0</c:v>
                </c:pt>
                <c:pt idx="10548">
                  <c:v>0</c:v>
                </c:pt>
                <c:pt idx="10549">
                  <c:v>0</c:v>
                </c:pt>
                <c:pt idx="10550">
                  <c:v>0</c:v>
                </c:pt>
                <c:pt idx="10551">
                  <c:v>0</c:v>
                </c:pt>
                <c:pt idx="10552">
                  <c:v>4</c:v>
                </c:pt>
                <c:pt idx="10553">
                  <c:v>2</c:v>
                </c:pt>
                <c:pt idx="10554">
                  <c:v>4</c:v>
                </c:pt>
                <c:pt idx="10555">
                  <c:v>0</c:v>
                </c:pt>
                <c:pt idx="10556">
                  <c:v>4</c:v>
                </c:pt>
                <c:pt idx="10557">
                  <c:v>0</c:v>
                </c:pt>
                <c:pt idx="10558">
                  <c:v>0</c:v>
                </c:pt>
                <c:pt idx="10559">
                  <c:v>5</c:v>
                </c:pt>
                <c:pt idx="10560">
                  <c:v>0</c:v>
                </c:pt>
                <c:pt idx="10561">
                  <c:v>0</c:v>
                </c:pt>
                <c:pt idx="10562">
                  <c:v>0</c:v>
                </c:pt>
                <c:pt idx="10563">
                  <c:v>0</c:v>
                </c:pt>
                <c:pt idx="10564">
                  <c:v>0</c:v>
                </c:pt>
                <c:pt idx="10565">
                  <c:v>0</c:v>
                </c:pt>
                <c:pt idx="10566">
                  <c:v>0</c:v>
                </c:pt>
                <c:pt idx="10567">
                  <c:v>0</c:v>
                </c:pt>
                <c:pt idx="10568">
                  <c:v>1</c:v>
                </c:pt>
                <c:pt idx="10569">
                  <c:v>1</c:v>
                </c:pt>
                <c:pt idx="10570">
                  <c:v>0</c:v>
                </c:pt>
                <c:pt idx="10571">
                  <c:v>0</c:v>
                </c:pt>
                <c:pt idx="10572">
                  <c:v>0</c:v>
                </c:pt>
                <c:pt idx="10573">
                  <c:v>0</c:v>
                </c:pt>
                <c:pt idx="10574">
                  <c:v>0</c:v>
                </c:pt>
                <c:pt idx="10575">
                  <c:v>0</c:v>
                </c:pt>
                <c:pt idx="10576">
                  <c:v>0</c:v>
                </c:pt>
                <c:pt idx="10577">
                  <c:v>0</c:v>
                </c:pt>
                <c:pt idx="10578">
                  <c:v>0</c:v>
                </c:pt>
                <c:pt idx="10579">
                  <c:v>3</c:v>
                </c:pt>
                <c:pt idx="10580">
                  <c:v>0</c:v>
                </c:pt>
                <c:pt idx="10581">
                  <c:v>5</c:v>
                </c:pt>
                <c:pt idx="10582">
                  <c:v>4</c:v>
                </c:pt>
                <c:pt idx="10583">
                  <c:v>5</c:v>
                </c:pt>
                <c:pt idx="10584">
                  <c:v>0</c:v>
                </c:pt>
                <c:pt idx="10585">
                  <c:v>0</c:v>
                </c:pt>
                <c:pt idx="10586">
                  <c:v>0</c:v>
                </c:pt>
                <c:pt idx="10587">
                  <c:v>0</c:v>
                </c:pt>
                <c:pt idx="10588">
                  <c:v>0</c:v>
                </c:pt>
                <c:pt idx="10589">
                  <c:v>0</c:v>
                </c:pt>
                <c:pt idx="10590">
                  <c:v>0</c:v>
                </c:pt>
                <c:pt idx="10591">
                  <c:v>0</c:v>
                </c:pt>
                <c:pt idx="10592">
                  <c:v>0</c:v>
                </c:pt>
                <c:pt idx="10593">
                  <c:v>0</c:v>
                </c:pt>
                <c:pt idx="10594">
                  <c:v>0</c:v>
                </c:pt>
                <c:pt idx="10595">
                  <c:v>0</c:v>
                </c:pt>
                <c:pt idx="10596">
                  <c:v>0</c:v>
                </c:pt>
                <c:pt idx="10597">
                  <c:v>0</c:v>
                </c:pt>
                <c:pt idx="10598">
                  <c:v>0</c:v>
                </c:pt>
                <c:pt idx="10599">
                  <c:v>0</c:v>
                </c:pt>
                <c:pt idx="10600">
                  <c:v>0</c:v>
                </c:pt>
                <c:pt idx="10601">
                  <c:v>0</c:v>
                </c:pt>
                <c:pt idx="10602">
                  <c:v>3</c:v>
                </c:pt>
                <c:pt idx="10603">
                  <c:v>1</c:v>
                </c:pt>
                <c:pt idx="10604">
                  <c:v>5</c:v>
                </c:pt>
                <c:pt idx="10605">
                  <c:v>0</c:v>
                </c:pt>
                <c:pt idx="10606">
                  <c:v>0</c:v>
                </c:pt>
                <c:pt idx="10607">
                  <c:v>2</c:v>
                </c:pt>
                <c:pt idx="10608">
                  <c:v>0</c:v>
                </c:pt>
                <c:pt idx="10609">
                  <c:v>0</c:v>
                </c:pt>
                <c:pt idx="10610">
                  <c:v>0</c:v>
                </c:pt>
                <c:pt idx="10611">
                  <c:v>0</c:v>
                </c:pt>
                <c:pt idx="10612">
                  <c:v>0</c:v>
                </c:pt>
                <c:pt idx="10613">
                  <c:v>0</c:v>
                </c:pt>
                <c:pt idx="10614">
                  <c:v>0</c:v>
                </c:pt>
                <c:pt idx="10615">
                  <c:v>0</c:v>
                </c:pt>
                <c:pt idx="10616">
                  <c:v>0</c:v>
                </c:pt>
                <c:pt idx="10617">
                  <c:v>0</c:v>
                </c:pt>
                <c:pt idx="10618">
                  <c:v>0</c:v>
                </c:pt>
                <c:pt idx="10619">
                  <c:v>5</c:v>
                </c:pt>
                <c:pt idx="10620">
                  <c:v>14</c:v>
                </c:pt>
                <c:pt idx="10621">
                  <c:v>1</c:v>
                </c:pt>
                <c:pt idx="10622">
                  <c:v>4</c:v>
                </c:pt>
                <c:pt idx="10623">
                  <c:v>1</c:v>
                </c:pt>
                <c:pt idx="10624">
                  <c:v>0</c:v>
                </c:pt>
                <c:pt idx="10625">
                  <c:v>1</c:v>
                </c:pt>
                <c:pt idx="10626">
                  <c:v>2</c:v>
                </c:pt>
                <c:pt idx="10627">
                  <c:v>0</c:v>
                </c:pt>
                <c:pt idx="10628">
                  <c:v>2</c:v>
                </c:pt>
                <c:pt idx="10629">
                  <c:v>1</c:v>
                </c:pt>
                <c:pt idx="10630">
                  <c:v>3</c:v>
                </c:pt>
                <c:pt idx="10631">
                  <c:v>2</c:v>
                </c:pt>
                <c:pt idx="10632">
                  <c:v>0</c:v>
                </c:pt>
                <c:pt idx="10633">
                  <c:v>4</c:v>
                </c:pt>
                <c:pt idx="10634">
                  <c:v>0</c:v>
                </c:pt>
                <c:pt idx="10635">
                  <c:v>5</c:v>
                </c:pt>
                <c:pt idx="10636">
                  <c:v>0</c:v>
                </c:pt>
                <c:pt idx="10637">
                  <c:v>2</c:v>
                </c:pt>
                <c:pt idx="10638">
                  <c:v>0</c:v>
                </c:pt>
                <c:pt idx="10639">
                  <c:v>0</c:v>
                </c:pt>
                <c:pt idx="10640">
                  <c:v>2</c:v>
                </c:pt>
                <c:pt idx="10641">
                  <c:v>0</c:v>
                </c:pt>
                <c:pt idx="10642">
                  <c:v>0</c:v>
                </c:pt>
                <c:pt idx="10643">
                  <c:v>0</c:v>
                </c:pt>
                <c:pt idx="10644">
                  <c:v>0</c:v>
                </c:pt>
                <c:pt idx="10645">
                  <c:v>0</c:v>
                </c:pt>
                <c:pt idx="10646">
                  <c:v>0</c:v>
                </c:pt>
                <c:pt idx="10647">
                  <c:v>2</c:v>
                </c:pt>
                <c:pt idx="10648">
                  <c:v>0</c:v>
                </c:pt>
                <c:pt idx="10649">
                  <c:v>0</c:v>
                </c:pt>
                <c:pt idx="10650">
                  <c:v>0</c:v>
                </c:pt>
                <c:pt idx="10651">
                  <c:v>0</c:v>
                </c:pt>
                <c:pt idx="10652">
                  <c:v>0</c:v>
                </c:pt>
                <c:pt idx="10653">
                  <c:v>1</c:v>
                </c:pt>
                <c:pt idx="10654">
                  <c:v>0</c:v>
                </c:pt>
                <c:pt idx="10655">
                  <c:v>0</c:v>
                </c:pt>
                <c:pt idx="10656">
                  <c:v>0</c:v>
                </c:pt>
                <c:pt idx="10657">
                  <c:v>0</c:v>
                </c:pt>
                <c:pt idx="10658">
                  <c:v>0</c:v>
                </c:pt>
                <c:pt idx="10659">
                  <c:v>0</c:v>
                </c:pt>
                <c:pt idx="10660">
                  <c:v>0</c:v>
                </c:pt>
                <c:pt idx="10661">
                  <c:v>0</c:v>
                </c:pt>
                <c:pt idx="10662">
                  <c:v>0</c:v>
                </c:pt>
                <c:pt idx="10663">
                  <c:v>0</c:v>
                </c:pt>
                <c:pt idx="10664">
                  <c:v>0</c:v>
                </c:pt>
                <c:pt idx="10665">
                  <c:v>0</c:v>
                </c:pt>
                <c:pt idx="10666">
                  <c:v>0</c:v>
                </c:pt>
                <c:pt idx="10667">
                  <c:v>0</c:v>
                </c:pt>
                <c:pt idx="10668">
                  <c:v>0</c:v>
                </c:pt>
                <c:pt idx="10669">
                  <c:v>0</c:v>
                </c:pt>
                <c:pt idx="10670">
                  <c:v>0</c:v>
                </c:pt>
                <c:pt idx="10671">
                  <c:v>3</c:v>
                </c:pt>
                <c:pt idx="10672">
                  <c:v>0</c:v>
                </c:pt>
                <c:pt idx="10673">
                  <c:v>0</c:v>
                </c:pt>
                <c:pt idx="10674">
                  <c:v>0</c:v>
                </c:pt>
                <c:pt idx="10675">
                  <c:v>0</c:v>
                </c:pt>
                <c:pt idx="10676">
                  <c:v>0</c:v>
                </c:pt>
                <c:pt idx="10677">
                  <c:v>0</c:v>
                </c:pt>
                <c:pt idx="10678">
                  <c:v>0</c:v>
                </c:pt>
                <c:pt idx="10679">
                  <c:v>1</c:v>
                </c:pt>
                <c:pt idx="10680">
                  <c:v>0</c:v>
                </c:pt>
                <c:pt idx="10681">
                  <c:v>0</c:v>
                </c:pt>
                <c:pt idx="10682">
                  <c:v>0</c:v>
                </c:pt>
                <c:pt idx="10683">
                  <c:v>0</c:v>
                </c:pt>
                <c:pt idx="10684">
                  <c:v>0</c:v>
                </c:pt>
                <c:pt idx="10685">
                  <c:v>0</c:v>
                </c:pt>
                <c:pt idx="10686">
                  <c:v>1</c:v>
                </c:pt>
                <c:pt idx="10687">
                  <c:v>0</c:v>
                </c:pt>
                <c:pt idx="10688">
                  <c:v>0</c:v>
                </c:pt>
                <c:pt idx="10689">
                  <c:v>0</c:v>
                </c:pt>
                <c:pt idx="10690">
                  <c:v>0</c:v>
                </c:pt>
                <c:pt idx="10691">
                  <c:v>0</c:v>
                </c:pt>
                <c:pt idx="10692">
                  <c:v>0</c:v>
                </c:pt>
                <c:pt idx="10693">
                  <c:v>0</c:v>
                </c:pt>
                <c:pt idx="10694">
                  <c:v>0</c:v>
                </c:pt>
                <c:pt idx="10695">
                  <c:v>0</c:v>
                </c:pt>
                <c:pt idx="10696">
                  <c:v>0</c:v>
                </c:pt>
                <c:pt idx="10697">
                  <c:v>0</c:v>
                </c:pt>
                <c:pt idx="10698">
                  <c:v>0</c:v>
                </c:pt>
                <c:pt idx="10699">
                  <c:v>0</c:v>
                </c:pt>
                <c:pt idx="10700">
                  <c:v>0</c:v>
                </c:pt>
                <c:pt idx="10701">
                  <c:v>0</c:v>
                </c:pt>
                <c:pt idx="10702">
                  <c:v>1</c:v>
                </c:pt>
                <c:pt idx="10703">
                  <c:v>0</c:v>
                </c:pt>
                <c:pt idx="10704">
                  <c:v>0</c:v>
                </c:pt>
                <c:pt idx="10705">
                  <c:v>0</c:v>
                </c:pt>
                <c:pt idx="10706">
                  <c:v>0</c:v>
                </c:pt>
                <c:pt idx="10707">
                  <c:v>1</c:v>
                </c:pt>
                <c:pt idx="10708">
                  <c:v>3</c:v>
                </c:pt>
                <c:pt idx="10709">
                  <c:v>3</c:v>
                </c:pt>
                <c:pt idx="10710">
                  <c:v>0</c:v>
                </c:pt>
                <c:pt idx="10711">
                  <c:v>0</c:v>
                </c:pt>
                <c:pt idx="10712">
                  <c:v>0</c:v>
                </c:pt>
                <c:pt idx="10713">
                  <c:v>0</c:v>
                </c:pt>
                <c:pt idx="10714">
                  <c:v>0</c:v>
                </c:pt>
                <c:pt idx="10715">
                  <c:v>0</c:v>
                </c:pt>
                <c:pt idx="10716">
                  <c:v>0</c:v>
                </c:pt>
                <c:pt idx="10717">
                  <c:v>1</c:v>
                </c:pt>
                <c:pt idx="10718">
                  <c:v>3</c:v>
                </c:pt>
                <c:pt idx="10719">
                  <c:v>2</c:v>
                </c:pt>
                <c:pt idx="10720">
                  <c:v>1</c:v>
                </c:pt>
                <c:pt idx="10721">
                  <c:v>0</c:v>
                </c:pt>
                <c:pt idx="10722">
                  <c:v>5</c:v>
                </c:pt>
                <c:pt idx="10723">
                  <c:v>5</c:v>
                </c:pt>
                <c:pt idx="10724">
                  <c:v>6</c:v>
                </c:pt>
                <c:pt idx="10725">
                  <c:v>2</c:v>
                </c:pt>
                <c:pt idx="10726">
                  <c:v>1</c:v>
                </c:pt>
                <c:pt idx="10727">
                  <c:v>0</c:v>
                </c:pt>
                <c:pt idx="10728">
                  <c:v>0</c:v>
                </c:pt>
                <c:pt idx="10729">
                  <c:v>0</c:v>
                </c:pt>
                <c:pt idx="10730">
                  <c:v>0</c:v>
                </c:pt>
                <c:pt idx="10731">
                  <c:v>0</c:v>
                </c:pt>
                <c:pt idx="10732">
                  <c:v>0</c:v>
                </c:pt>
                <c:pt idx="10733">
                  <c:v>1</c:v>
                </c:pt>
                <c:pt idx="10734">
                  <c:v>0</c:v>
                </c:pt>
                <c:pt idx="10735">
                  <c:v>0</c:v>
                </c:pt>
                <c:pt idx="10736">
                  <c:v>0</c:v>
                </c:pt>
                <c:pt idx="10737">
                  <c:v>0</c:v>
                </c:pt>
                <c:pt idx="10738">
                  <c:v>0</c:v>
                </c:pt>
                <c:pt idx="10739">
                  <c:v>1</c:v>
                </c:pt>
                <c:pt idx="10740">
                  <c:v>1</c:v>
                </c:pt>
                <c:pt idx="10741">
                  <c:v>1</c:v>
                </c:pt>
                <c:pt idx="10742">
                  <c:v>3</c:v>
                </c:pt>
                <c:pt idx="10743">
                  <c:v>0</c:v>
                </c:pt>
                <c:pt idx="10744">
                  <c:v>0</c:v>
                </c:pt>
                <c:pt idx="10745">
                  <c:v>0</c:v>
                </c:pt>
                <c:pt idx="10746">
                  <c:v>0</c:v>
                </c:pt>
                <c:pt idx="10747">
                  <c:v>0</c:v>
                </c:pt>
                <c:pt idx="10748">
                  <c:v>0</c:v>
                </c:pt>
                <c:pt idx="10749">
                  <c:v>0</c:v>
                </c:pt>
                <c:pt idx="10750">
                  <c:v>0</c:v>
                </c:pt>
                <c:pt idx="10751">
                  <c:v>0</c:v>
                </c:pt>
                <c:pt idx="10752">
                  <c:v>4</c:v>
                </c:pt>
                <c:pt idx="10753">
                  <c:v>0</c:v>
                </c:pt>
                <c:pt idx="10754">
                  <c:v>0</c:v>
                </c:pt>
                <c:pt idx="10755">
                  <c:v>0</c:v>
                </c:pt>
                <c:pt idx="10756">
                  <c:v>0</c:v>
                </c:pt>
                <c:pt idx="10757">
                  <c:v>0</c:v>
                </c:pt>
                <c:pt idx="10758">
                  <c:v>0</c:v>
                </c:pt>
                <c:pt idx="10759">
                  <c:v>0</c:v>
                </c:pt>
                <c:pt idx="10760">
                  <c:v>0</c:v>
                </c:pt>
                <c:pt idx="10761">
                  <c:v>0</c:v>
                </c:pt>
                <c:pt idx="10762">
                  <c:v>0</c:v>
                </c:pt>
                <c:pt idx="10763">
                  <c:v>0</c:v>
                </c:pt>
                <c:pt idx="10764">
                  <c:v>0</c:v>
                </c:pt>
                <c:pt idx="10765">
                  <c:v>0</c:v>
                </c:pt>
                <c:pt idx="10766">
                  <c:v>1</c:v>
                </c:pt>
                <c:pt idx="10767">
                  <c:v>0</c:v>
                </c:pt>
                <c:pt idx="10768">
                  <c:v>0</c:v>
                </c:pt>
                <c:pt idx="10769">
                  <c:v>0</c:v>
                </c:pt>
                <c:pt idx="10770">
                  <c:v>0</c:v>
                </c:pt>
                <c:pt idx="10771">
                  <c:v>2</c:v>
                </c:pt>
                <c:pt idx="10772">
                  <c:v>0</c:v>
                </c:pt>
                <c:pt idx="10773">
                  <c:v>0</c:v>
                </c:pt>
                <c:pt idx="10774">
                  <c:v>0</c:v>
                </c:pt>
                <c:pt idx="10775">
                  <c:v>1</c:v>
                </c:pt>
                <c:pt idx="10776">
                  <c:v>0</c:v>
                </c:pt>
                <c:pt idx="10777">
                  <c:v>0</c:v>
                </c:pt>
                <c:pt idx="10778">
                  <c:v>0</c:v>
                </c:pt>
                <c:pt idx="10779">
                  <c:v>0</c:v>
                </c:pt>
                <c:pt idx="10780">
                  <c:v>0</c:v>
                </c:pt>
                <c:pt idx="10781">
                  <c:v>0</c:v>
                </c:pt>
                <c:pt idx="10782">
                  <c:v>0</c:v>
                </c:pt>
                <c:pt idx="10783">
                  <c:v>0</c:v>
                </c:pt>
                <c:pt idx="10784">
                  <c:v>0</c:v>
                </c:pt>
                <c:pt idx="10785">
                  <c:v>0</c:v>
                </c:pt>
                <c:pt idx="10786">
                  <c:v>0</c:v>
                </c:pt>
                <c:pt idx="10787">
                  <c:v>0</c:v>
                </c:pt>
                <c:pt idx="10788">
                  <c:v>0</c:v>
                </c:pt>
                <c:pt idx="10789">
                  <c:v>0</c:v>
                </c:pt>
                <c:pt idx="10790">
                  <c:v>2</c:v>
                </c:pt>
                <c:pt idx="10791">
                  <c:v>1</c:v>
                </c:pt>
                <c:pt idx="10792">
                  <c:v>0</c:v>
                </c:pt>
                <c:pt idx="10793">
                  <c:v>3</c:v>
                </c:pt>
                <c:pt idx="10794">
                  <c:v>0</c:v>
                </c:pt>
                <c:pt idx="10795">
                  <c:v>0</c:v>
                </c:pt>
                <c:pt idx="10796">
                  <c:v>3</c:v>
                </c:pt>
                <c:pt idx="10797">
                  <c:v>0</c:v>
                </c:pt>
                <c:pt idx="10798">
                  <c:v>0</c:v>
                </c:pt>
                <c:pt idx="10799">
                  <c:v>0</c:v>
                </c:pt>
                <c:pt idx="10800">
                  <c:v>0</c:v>
                </c:pt>
                <c:pt idx="10801">
                  <c:v>0</c:v>
                </c:pt>
                <c:pt idx="10802">
                  <c:v>0</c:v>
                </c:pt>
                <c:pt idx="10803">
                  <c:v>0</c:v>
                </c:pt>
                <c:pt idx="10804">
                  <c:v>1</c:v>
                </c:pt>
                <c:pt idx="10805">
                  <c:v>0</c:v>
                </c:pt>
                <c:pt idx="10806">
                  <c:v>0</c:v>
                </c:pt>
                <c:pt idx="10807">
                  <c:v>0</c:v>
                </c:pt>
                <c:pt idx="10808">
                  <c:v>0</c:v>
                </c:pt>
                <c:pt idx="10809">
                  <c:v>0</c:v>
                </c:pt>
                <c:pt idx="10810">
                  <c:v>0</c:v>
                </c:pt>
                <c:pt idx="10811">
                  <c:v>0</c:v>
                </c:pt>
                <c:pt idx="10812">
                  <c:v>0</c:v>
                </c:pt>
                <c:pt idx="10813">
                  <c:v>2</c:v>
                </c:pt>
                <c:pt idx="10814">
                  <c:v>0</c:v>
                </c:pt>
                <c:pt idx="10815">
                  <c:v>0</c:v>
                </c:pt>
                <c:pt idx="10816">
                  <c:v>0</c:v>
                </c:pt>
                <c:pt idx="10817">
                  <c:v>0</c:v>
                </c:pt>
                <c:pt idx="10818">
                  <c:v>0</c:v>
                </c:pt>
                <c:pt idx="10819">
                  <c:v>3</c:v>
                </c:pt>
                <c:pt idx="10820">
                  <c:v>0</c:v>
                </c:pt>
                <c:pt idx="10821">
                  <c:v>0</c:v>
                </c:pt>
                <c:pt idx="10822">
                  <c:v>0</c:v>
                </c:pt>
                <c:pt idx="10823">
                  <c:v>0</c:v>
                </c:pt>
                <c:pt idx="10824">
                  <c:v>0</c:v>
                </c:pt>
                <c:pt idx="10825">
                  <c:v>0</c:v>
                </c:pt>
                <c:pt idx="10826">
                  <c:v>4</c:v>
                </c:pt>
                <c:pt idx="10827">
                  <c:v>3</c:v>
                </c:pt>
                <c:pt idx="10828">
                  <c:v>0</c:v>
                </c:pt>
                <c:pt idx="10829">
                  <c:v>0</c:v>
                </c:pt>
                <c:pt idx="10830">
                  <c:v>0</c:v>
                </c:pt>
                <c:pt idx="10831">
                  <c:v>0</c:v>
                </c:pt>
                <c:pt idx="10832">
                  <c:v>0</c:v>
                </c:pt>
                <c:pt idx="10833">
                  <c:v>0</c:v>
                </c:pt>
                <c:pt idx="10834">
                  <c:v>0</c:v>
                </c:pt>
                <c:pt idx="10835">
                  <c:v>0</c:v>
                </c:pt>
                <c:pt idx="10836">
                  <c:v>6</c:v>
                </c:pt>
                <c:pt idx="10837">
                  <c:v>0</c:v>
                </c:pt>
                <c:pt idx="10838">
                  <c:v>0</c:v>
                </c:pt>
                <c:pt idx="10839">
                  <c:v>0</c:v>
                </c:pt>
                <c:pt idx="10840">
                  <c:v>0</c:v>
                </c:pt>
                <c:pt idx="10841">
                  <c:v>0</c:v>
                </c:pt>
                <c:pt idx="10842">
                  <c:v>0</c:v>
                </c:pt>
                <c:pt idx="10843">
                  <c:v>0</c:v>
                </c:pt>
                <c:pt idx="10844">
                  <c:v>0</c:v>
                </c:pt>
                <c:pt idx="10845">
                  <c:v>0</c:v>
                </c:pt>
                <c:pt idx="10846">
                  <c:v>0</c:v>
                </c:pt>
                <c:pt idx="10847">
                  <c:v>0</c:v>
                </c:pt>
                <c:pt idx="10848">
                  <c:v>0</c:v>
                </c:pt>
                <c:pt idx="10849">
                  <c:v>0</c:v>
                </c:pt>
                <c:pt idx="10850">
                  <c:v>2</c:v>
                </c:pt>
                <c:pt idx="10851">
                  <c:v>0</c:v>
                </c:pt>
                <c:pt idx="10852">
                  <c:v>1</c:v>
                </c:pt>
                <c:pt idx="10853">
                  <c:v>0</c:v>
                </c:pt>
                <c:pt idx="10854">
                  <c:v>0</c:v>
                </c:pt>
                <c:pt idx="10855">
                  <c:v>5</c:v>
                </c:pt>
                <c:pt idx="10856">
                  <c:v>1</c:v>
                </c:pt>
                <c:pt idx="10857">
                  <c:v>4</c:v>
                </c:pt>
                <c:pt idx="10858">
                  <c:v>4</c:v>
                </c:pt>
                <c:pt idx="10859">
                  <c:v>1</c:v>
                </c:pt>
                <c:pt idx="10860">
                  <c:v>0</c:v>
                </c:pt>
                <c:pt idx="10861">
                  <c:v>3</c:v>
                </c:pt>
                <c:pt idx="10862">
                  <c:v>5</c:v>
                </c:pt>
                <c:pt idx="10863">
                  <c:v>0</c:v>
                </c:pt>
                <c:pt idx="10864">
                  <c:v>3</c:v>
                </c:pt>
                <c:pt idx="10865">
                  <c:v>2</c:v>
                </c:pt>
                <c:pt idx="10866">
                  <c:v>3</c:v>
                </c:pt>
                <c:pt idx="10867">
                  <c:v>1</c:v>
                </c:pt>
                <c:pt idx="10868">
                  <c:v>0</c:v>
                </c:pt>
                <c:pt idx="10869">
                  <c:v>1</c:v>
                </c:pt>
                <c:pt idx="10870">
                  <c:v>0</c:v>
                </c:pt>
                <c:pt idx="10871">
                  <c:v>0</c:v>
                </c:pt>
                <c:pt idx="10872">
                  <c:v>0</c:v>
                </c:pt>
                <c:pt idx="10873">
                  <c:v>0</c:v>
                </c:pt>
                <c:pt idx="10874">
                  <c:v>0</c:v>
                </c:pt>
                <c:pt idx="10875">
                  <c:v>0</c:v>
                </c:pt>
                <c:pt idx="10876">
                  <c:v>8</c:v>
                </c:pt>
                <c:pt idx="10877">
                  <c:v>3</c:v>
                </c:pt>
                <c:pt idx="10878">
                  <c:v>3</c:v>
                </c:pt>
                <c:pt idx="10879">
                  <c:v>0</c:v>
                </c:pt>
                <c:pt idx="10880">
                  <c:v>0</c:v>
                </c:pt>
                <c:pt idx="10881">
                  <c:v>0</c:v>
                </c:pt>
                <c:pt idx="10882">
                  <c:v>0</c:v>
                </c:pt>
                <c:pt idx="10883">
                  <c:v>0</c:v>
                </c:pt>
                <c:pt idx="10884">
                  <c:v>0</c:v>
                </c:pt>
                <c:pt idx="10885">
                  <c:v>0</c:v>
                </c:pt>
                <c:pt idx="10886">
                  <c:v>0</c:v>
                </c:pt>
                <c:pt idx="10887">
                  <c:v>0</c:v>
                </c:pt>
                <c:pt idx="10888">
                  <c:v>0</c:v>
                </c:pt>
                <c:pt idx="10889">
                  <c:v>0</c:v>
                </c:pt>
                <c:pt idx="10890">
                  <c:v>0</c:v>
                </c:pt>
                <c:pt idx="10891">
                  <c:v>0</c:v>
                </c:pt>
                <c:pt idx="10892">
                  <c:v>0</c:v>
                </c:pt>
                <c:pt idx="10893">
                  <c:v>0</c:v>
                </c:pt>
                <c:pt idx="10894">
                  <c:v>1</c:v>
                </c:pt>
                <c:pt idx="10895">
                  <c:v>0</c:v>
                </c:pt>
                <c:pt idx="10896">
                  <c:v>0</c:v>
                </c:pt>
                <c:pt idx="10897">
                  <c:v>0</c:v>
                </c:pt>
                <c:pt idx="10898">
                  <c:v>0</c:v>
                </c:pt>
                <c:pt idx="10899">
                  <c:v>0</c:v>
                </c:pt>
                <c:pt idx="10900">
                  <c:v>0</c:v>
                </c:pt>
                <c:pt idx="10901">
                  <c:v>0</c:v>
                </c:pt>
                <c:pt idx="10902">
                  <c:v>0</c:v>
                </c:pt>
                <c:pt idx="10903">
                  <c:v>0</c:v>
                </c:pt>
                <c:pt idx="10904">
                  <c:v>0</c:v>
                </c:pt>
                <c:pt idx="10905">
                  <c:v>0</c:v>
                </c:pt>
                <c:pt idx="10906">
                  <c:v>0</c:v>
                </c:pt>
                <c:pt idx="10907">
                  <c:v>0</c:v>
                </c:pt>
                <c:pt idx="10908">
                  <c:v>0</c:v>
                </c:pt>
                <c:pt idx="10909">
                  <c:v>4</c:v>
                </c:pt>
                <c:pt idx="10910">
                  <c:v>4</c:v>
                </c:pt>
                <c:pt idx="10911">
                  <c:v>2</c:v>
                </c:pt>
                <c:pt idx="10912">
                  <c:v>0</c:v>
                </c:pt>
                <c:pt idx="10913">
                  <c:v>0</c:v>
                </c:pt>
                <c:pt idx="10914">
                  <c:v>0</c:v>
                </c:pt>
                <c:pt idx="10915">
                  <c:v>0</c:v>
                </c:pt>
                <c:pt idx="10916">
                  <c:v>3</c:v>
                </c:pt>
                <c:pt idx="10917">
                  <c:v>0</c:v>
                </c:pt>
                <c:pt idx="10918">
                  <c:v>0</c:v>
                </c:pt>
                <c:pt idx="10919">
                  <c:v>0</c:v>
                </c:pt>
                <c:pt idx="10920">
                  <c:v>7</c:v>
                </c:pt>
                <c:pt idx="10921">
                  <c:v>5</c:v>
                </c:pt>
                <c:pt idx="10922">
                  <c:v>7</c:v>
                </c:pt>
                <c:pt idx="10923">
                  <c:v>2</c:v>
                </c:pt>
                <c:pt idx="10924">
                  <c:v>3</c:v>
                </c:pt>
                <c:pt idx="10925">
                  <c:v>0</c:v>
                </c:pt>
                <c:pt idx="10926">
                  <c:v>1</c:v>
                </c:pt>
                <c:pt idx="10927">
                  <c:v>0</c:v>
                </c:pt>
                <c:pt idx="10928">
                  <c:v>0</c:v>
                </c:pt>
                <c:pt idx="10929">
                  <c:v>1</c:v>
                </c:pt>
                <c:pt idx="10930">
                  <c:v>7</c:v>
                </c:pt>
                <c:pt idx="10931">
                  <c:v>3</c:v>
                </c:pt>
                <c:pt idx="10932">
                  <c:v>0</c:v>
                </c:pt>
                <c:pt idx="10933">
                  <c:v>2</c:v>
                </c:pt>
                <c:pt idx="10934">
                  <c:v>1</c:v>
                </c:pt>
                <c:pt idx="10935">
                  <c:v>0</c:v>
                </c:pt>
                <c:pt idx="10936">
                  <c:v>0</c:v>
                </c:pt>
                <c:pt idx="10937">
                  <c:v>0</c:v>
                </c:pt>
                <c:pt idx="10938">
                  <c:v>0</c:v>
                </c:pt>
                <c:pt idx="10939">
                  <c:v>0</c:v>
                </c:pt>
                <c:pt idx="10940">
                  <c:v>0</c:v>
                </c:pt>
                <c:pt idx="10941">
                  <c:v>0</c:v>
                </c:pt>
                <c:pt idx="10942">
                  <c:v>0</c:v>
                </c:pt>
                <c:pt idx="10943">
                  <c:v>0</c:v>
                </c:pt>
                <c:pt idx="10944">
                  <c:v>0</c:v>
                </c:pt>
                <c:pt idx="10945">
                  <c:v>0</c:v>
                </c:pt>
                <c:pt idx="10946">
                  <c:v>0</c:v>
                </c:pt>
                <c:pt idx="10947">
                  <c:v>0</c:v>
                </c:pt>
                <c:pt idx="10948">
                  <c:v>0</c:v>
                </c:pt>
                <c:pt idx="10949">
                  <c:v>0</c:v>
                </c:pt>
                <c:pt idx="10950">
                  <c:v>0</c:v>
                </c:pt>
                <c:pt idx="10951">
                  <c:v>0</c:v>
                </c:pt>
                <c:pt idx="10952">
                  <c:v>0</c:v>
                </c:pt>
                <c:pt idx="10953">
                  <c:v>0</c:v>
                </c:pt>
                <c:pt idx="10954">
                  <c:v>0</c:v>
                </c:pt>
                <c:pt idx="10955">
                  <c:v>0</c:v>
                </c:pt>
                <c:pt idx="10956">
                  <c:v>0</c:v>
                </c:pt>
                <c:pt idx="10957">
                  <c:v>0</c:v>
                </c:pt>
                <c:pt idx="10958">
                  <c:v>0</c:v>
                </c:pt>
                <c:pt idx="10959">
                  <c:v>0</c:v>
                </c:pt>
                <c:pt idx="10960">
                  <c:v>0</c:v>
                </c:pt>
                <c:pt idx="10961">
                  <c:v>0</c:v>
                </c:pt>
                <c:pt idx="10962">
                  <c:v>0</c:v>
                </c:pt>
                <c:pt idx="10963">
                  <c:v>0</c:v>
                </c:pt>
                <c:pt idx="10964">
                  <c:v>5</c:v>
                </c:pt>
                <c:pt idx="10965">
                  <c:v>6</c:v>
                </c:pt>
                <c:pt idx="10966">
                  <c:v>0</c:v>
                </c:pt>
                <c:pt idx="10967">
                  <c:v>0</c:v>
                </c:pt>
                <c:pt idx="10968">
                  <c:v>0</c:v>
                </c:pt>
                <c:pt idx="10969">
                  <c:v>0</c:v>
                </c:pt>
                <c:pt idx="10970">
                  <c:v>0</c:v>
                </c:pt>
                <c:pt idx="10971">
                  <c:v>0</c:v>
                </c:pt>
                <c:pt idx="10972">
                  <c:v>0</c:v>
                </c:pt>
                <c:pt idx="10973">
                  <c:v>0</c:v>
                </c:pt>
                <c:pt idx="10974">
                  <c:v>0</c:v>
                </c:pt>
                <c:pt idx="10975">
                  <c:v>0</c:v>
                </c:pt>
                <c:pt idx="10976">
                  <c:v>0</c:v>
                </c:pt>
                <c:pt idx="10977">
                  <c:v>0</c:v>
                </c:pt>
                <c:pt idx="10978">
                  <c:v>0</c:v>
                </c:pt>
                <c:pt idx="10979">
                  <c:v>0</c:v>
                </c:pt>
                <c:pt idx="10980">
                  <c:v>0</c:v>
                </c:pt>
                <c:pt idx="10981">
                  <c:v>0</c:v>
                </c:pt>
                <c:pt idx="10982">
                  <c:v>0</c:v>
                </c:pt>
                <c:pt idx="10983">
                  <c:v>0</c:v>
                </c:pt>
                <c:pt idx="10984">
                  <c:v>0</c:v>
                </c:pt>
                <c:pt idx="10985">
                  <c:v>0</c:v>
                </c:pt>
                <c:pt idx="10986">
                  <c:v>0</c:v>
                </c:pt>
                <c:pt idx="10987">
                  <c:v>0</c:v>
                </c:pt>
                <c:pt idx="10988">
                  <c:v>0</c:v>
                </c:pt>
                <c:pt idx="10989">
                  <c:v>0</c:v>
                </c:pt>
                <c:pt idx="10990">
                  <c:v>0</c:v>
                </c:pt>
                <c:pt idx="10991">
                  <c:v>0</c:v>
                </c:pt>
                <c:pt idx="10992">
                  <c:v>0</c:v>
                </c:pt>
                <c:pt idx="10993">
                  <c:v>0</c:v>
                </c:pt>
                <c:pt idx="10994">
                  <c:v>0</c:v>
                </c:pt>
                <c:pt idx="10995">
                  <c:v>0</c:v>
                </c:pt>
                <c:pt idx="10996">
                  <c:v>0</c:v>
                </c:pt>
                <c:pt idx="10997">
                  <c:v>0</c:v>
                </c:pt>
                <c:pt idx="10998">
                  <c:v>0</c:v>
                </c:pt>
                <c:pt idx="10999">
                  <c:v>0</c:v>
                </c:pt>
                <c:pt idx="11000">
                  <c:v>0</c:v>
                </c:pt>
                <c:pt idx="11001">
                  <c:v>0</c:v>
                </c:pt>
                <c:pt idx="11002">
                  <c:v>0</c:v>
                </c:pt>
                <c:pt idx="11003">
                  <c:v>0</c:v>
                </c:pt>
                <c:pt idx="11004">
                  <c:v>0</c:v>
                </c:pt>
                <c:pt idx="11005">
                  <c:v>0</c:v>
                </c:pt>
                <c:pt idx="11006">
                  <c:v>0</c:v>
                </c:pt>
                <c:pt idx="11007">
                  <c:v>0</c:v>
                </c:pt>
                <c:pt idx="11008">
                  <c:v>0</c:v>
                </c:pt>
                <c:pt idx="11009">
                  <c:v>0</c:v>
                </c:pt>
                <c:pt idx="11010">
                  <c:v>0</c:v>
                </c:pt>
                <c:pt idx="11011">
                  <c:v>0</c:v>
                </c:pt>
                <c:pt idx="11012">
                  <c:v>0</c:v>
                </c:pt>
                <c:pt idx="11013">
                  <c:v>0</c:v>
                </c:pt>
                <c:pt idx="11014">
                  <c:v>0</c:v>
                </c:pt>
                <c:pt idx="11015">
                  <c:v>0</c:v>
                </c:pt>
                <c:pt idx="11016">
                  <c:v>0</c:v>
                </c:pt>
                <c:pt idx="11017">
                  <c:v>0</c:v>
                </c:pt>
                <c:pt idx="11018">
                  <c:v>6</c:v>
                </c:pt>
                <c:pt idx="11019">
                  <c:v>0</c:v>
                </c:pt>
                <c:pt idx="11020">
                  <c:v>0</c:v>
                </c:pt>
                <c:pt idx="11021">
                  <c:v>0</c:v>
                </c:pt>
                <c:pt idx="11022">
                  <c:v>0</c:v>
                </c:pt>
                <c:pt idx="11023">
                  <c:v>0</c:v>
                </c:pt>
                <c:pt idx="11024">
                  <c:v>0</c:v>
                </c:pt>
                <c:pt idx="11025">
                  <c:v>0</c:v>
                </c:pt>
                <c:pt idx="11026">
                  <c:v>0</c:v>
                </c:pt>
                <c:pt idx="11027">
                  <c:v>0</c:v>
                </c:pt>
                <c:pt idx="11028">
                  <c:v>0</c:v>
                </c:pt>
                <c:pt idx="11029">
                  <c:v>0</c:v>
                </c:pt>
                <c:pt idx="11030">
                  <c:v>0</c:v>
                </c:pt>
                <c:pt idx="11031">
                  <c:v>0</c:v>
                </c:pt>
                <c:pt idx="11032">
                  <c:v>0</c:v>
                </c:pt>
                <c:pt idx="11033">
                  <c:v>0</c:v>
                </c:pt>
                <c:pt idx="11034">
                  <c:v>0</c:v>
                </c:pt>
                <c:pt idx="11035">
                  <c:v>0</c:v>
                </c:pt>
                <c:pt idx="11036">
                  <c:v>0</c:v>
                </c:pt>
                <c:pt idx="11037">
                  <c:v>0</c:v>
                </c:pt>
                <c:pt idx="11038">
                  <c:v>0</c:v>
                </c:pt>
                <c:pt idx="11039">
                  <c:v>0</c:v>
                </c:pt>
                <c:pt idx="11040">
                  <c:v>0</c:v>
                </c:pt>
                <c:pt idx="11041">
                  <c:v>0</c:v>
                </c:pt>
                <c:pt idx="11042">
                  <c:v>0</c:v>
                </c:pt>
                <c:pt idx="11043">
                  <c:v>0</c:v>
                </c:pt>
                <c:pt idx="11044">
                  <c:v>0</c:v>
                </c:pt>
                <c:pt idx="11045">
                  <c:v>0</c:v>
                </c:pt>
                <c:pt idx="11046">
                  <c:v>0</c:v>
                </c:pt>
                <c:pt idx="11047">
                  <c:v>0</c:v>
                </c:pt>
                <c:pt idx="11048">
                  <c:v>0</c:v>
                </c:pt>
                <c:pt idx="11049">
                  <c:v>3</c:v>
                </c:pt>
                <c:pt idx="11050">
                  <c:v>4</c:v>
                </c:pt>
                <c:pt idx="11051">
                  <c:v>0</c:v>
                </c:pt>
                <c:pt idx="11052">
                  <c:v>0</c:v>
                </c:pt>
                <c:pt idx="11053">
                  <c:v>0</c:v>
                </c:pt>
                <c:pt idx="11054">
                  <c:v>0</c:v>
                </c:pt>
                <c:pt idx="11055">
                  <c:v>0</c:v>
                </c:pt>
                <c:pt idx="11056">
                  <c:v>0</c:v>
                </c:pt>
                <c:pt idx="11057">
                  <c:v>0</c:v>
                </c:pt>
                <c:pt idx="11058">
                  <c:v>0</c:v>
                </c:pt>
                <c:pt idx="11059">
                  <c:v>0</c:v>
                </c:pt>
                <c:pt idx="11060">
                  <c:v>0</c:v>
                </c:pt>
                <c:pt idx="11061">
                  <c:v>0</c:v>
                </c:pt>
                <c:pt idx="11062">
                  <c:v>0</c:v>
                </c:pt>
                <c:pt idx="11063">
                  <c:v>0</c:v>
                </c:pt>
                <c:pt idx="11064">
                  <c:v>0</c:v>
                </c:pt>
                <c:pt idx="11065">
                  <c:v>0</c:v>
                </c:pt>
                <c:pt idx="11066">
                  <c:v>0</c:v>
                </c:pt>
                <c:pt idx="11067">
                  <c:v>0</c:v>
                </c:pt>
                <c:pt idx="11068">
                  <c:v>0</c:v>
                </c:pt>
                <c:pt idx="11069">
                  <c:v>0</c:v>
                </c:pt>
                <c:pt idx="11070">
                  <c:v>0</c:v>
                </c:pt>
                <c:pt idx="11071">
                  <c:v>0</c:v>
                </c:pt>
                <c:pt idx="11072">
                  <c:v>0</c:v>
                </c:pt>
                <c:pt idx="11073">
                  <c:v>0</c:v>
                </c:pt>
                <c:pt idx="11074">
                  <c:v>2</c:v>
                </c:pt>
                <c:pt idx="11075">
                  <c:v>0</c:v>
                </c:pt>
                <c:pt idx="11076">
                  <c:v>0</c:v>
                </c:pt>
                <c:pt idx="11077">
                  <c:v>0</c:v>
                </c:pt>
                <c:pt idx="11078">
                  <c:v>0</c:v>
                </c:pt>
                <c:pt idx="11079">
                  <c:v>0</c:v>
                </c:pt>
                <c:pt idx="11080">
                  <c:v>0</c:v>
                </c:pt>
                <c:pt idx="11081">
                  <c:v>0</c:v>
                </c:pt>
                <c:pt idx="11082">
                  <c:v>0</c:v>
                </c:pt>
                <c:pt idx="11083">
                  <c:v>0</c:v>
                </c:pt>
                <c:pt idx="11084">
                  <c:v>0</c:v>
                </c:pt>
                <c:pt idx="11085">
                  <c:v>0</c:v>
                </c:pt>
                <c:pt idx="11086">
                  <c:v>0</c:v>
                </c:pt>
                <c:pt idx="11087">
                  <c:v>0</c:v>
                </c:pt>
                <c:pt idx="11088">
                  <c:v>0</c:v>
                </c:pt>
                <c:pt idx="11089">
                  <c:v>0</c:v>
                </c:pt>
                <c:pt idx="11090">
                  <c:v>0</c:v>
                </c:pt>
                <c:pt idx="11091">
                  <c:v>0</c:v>
                </c:pt>
                <c:pt idx="11092">
                  <c:v>0</c:v>
                </c:pt>
                <c:pt idx="11093">
                  <c:v>0</c:v>
                </c:pt>
                <c:pt idx="11094">
                  <c:v>0</c:v>
                </c:pt>
                <c:pt idx="11095">
                  <c:v>0</c:v>
                </c:pt>
                <c:pt idx="11096">
                  <c:v>0</c:v>
                </c:pt>
                <c:pt idx="11097">
                  <c:v>0</c:v>
                </c:pt>
                <c:pt idx="11098">
                  <c:v>0</c:v>
                </c:pt>
                <c:pt idx="11099">
                  <c:v>0</c:v>
                </c:pt>
                <c:pt idx="11100">
                  <c:v>0</c:v>
                </c:pt>
                <c:pt idx="11101">
                  <c:v>0</c:v>
                </c:pt>
                <c:pt idx="11102">
                  <c:v>0</c:v>
                </c:pt>
                <c:pt idx="11103">
                  <c:v>0</c:v>
                </c:pt>
                <c:pt idx="11104">
                  <c:v>0</c:v>
                </c:pt>
                <c:pt idx="11105">
                  <c:v>1</c:v>
                </c:pt>
                <c:pt idx="11106">
                  <c:v>0</c:v>
                </c:pt>
                <c:pt idx="11107">
                  <c:v>0</c:v>
                </c:pt>
                <c:pt idx="11108">
                  <c:v>0</c:v>
                </c:pt>
                <c:pt idx="11109">
                  <c:v>0</c:v>
                </c:pt>
                <c:pt idx="11110">
                  <c:v>0</c:v>
                </c:pt>
                <c:pt idx="11111">
                  <c:v>0</c:v>
                </c:pt>
                <c:pt idx="11112">
                  <c:v>0</c:v>
                </c:pt>
                <c:pt idx="11113">
                  <c:v>0</c:v>
                </c:pt>
                <c:pt idx="11114">
                  <c:v>0</c:v>
                </c:pt>
                <c:pt idx="11115">
                  <c:v>0</c:v>
                </c:pt>
                <c:pt idx="11116">
                  <c:v>0</c:v>
                </c:pt>
                <c:pt idx="11117">
                  <c:v>1</c:v>
                </c:pt>
                <c:pt idx="11118">
                  <c:v>0</c:v>
                </c:pt>
                <c:pt idx="11119">
                  <c:v>2</c:v>
                </c:pt>
                <c:pt idx="11120">
                  <c:v>6</c:v>
                </c:pt>
                <c:pt idx="11121">
                  <c:v>0</c:v>
                </c:pt>
                <c:pt idx="11122">
                  <c:v>0</c:v>
                </c:pt>
                <c:pt idx="11123">
                  <c:v>0</c:v>
                </c:pt>
                <c:pt idx="11124">
                  <c:v>0</c:v>
                </c:pt>
                <c:pt idx="11125">
                  <c:v>1</c:v>
                </c:pt>
                <c:pt idx="11126">
                  <c:v>0</c:v>
                </c:pt>
                <c:pt idx="11127">
                  <c:v>0</c:v>
                </c:pt>
                <c:pt idx="11128">
                  <c:v>0</c:v>
                </c:pt>
                <c:pt idx="11129">
                  <c:v>0</c:v>
                </c:pt>
                <c:pt idx="11130">
                  <c:v>3</c:v>
                </c:pt>
                <c:pt idx="11131">
                  <c:v>1</c:v>
                </c:pt>
                <c:pt idx="11132">
                  <c:v>0</c:v>
                </c:pt>
                <c:pt idx="11133">
                  <c:v>0</c:v>
                </c:pt>
                <c:pt idx="11134">
                  <c:v>0</c:v>
                </c:pt>
                <c:pt idx="11135">
                  <c:v>0</c:v>
                </c:pt>
                <c:pt idx="11136">
                  <c:v>0</c:v>
                </c:pt>
                <c:pt idx="11137">
                  <c:v>0</c:v>
                </c:pt>
                <c:pt idx="11138">
                  <c:v>0</c:v>
                </c:pt>
                <c:pt idx="11139">
                  <c:v>0</c:v>
                </c:pt>
                <c:pt idx="11140">
                  <c:v>0</c:v>
                </c:pt>
                <c:pt idx="11141">
                  <c:v>0</c:v>
                </c:pt>
                <c:pt idx="11142">
                  <c:v>0</c:v>
                </c:pt>
                <c:pt idx="11143">
                  <c:v>0</c:v>
                </c:pt>
                <c:pt idx="11144">
                  <c:v>0</c:v>
                </c:pt>
                <c:pt idx="11145">
                  <c:v>0</c:v>
                </c:pt>
                <c:pt idx="11146">
                  <c:v>0</c:v>
                </c:pt>
                <c:pt idx="11147">
                  <c:v>0</c:v>
                </c:pt>
                <c:pt idx="11148">
                  <c:v>0</c:v>
                </c:pt>
                <c:pt idx="11149">
                  <c:v>0</c:v>
                </c:pt>
                <c:pt idx="11150">
                  <c:v>0</c:v>
                </c:pt>
                <c:pt idx="11151">
                  <c:v>0</c:v>
                </c:pt>
                <c:pt idx="11152">
                  <c:v>0</c:v>
                </c:pt>
                <c:pt idx="11153">
                  <c:v>0</c:v>
                </c:pt>
                <c:pt idx="11154">
                  <c:v>0</c:v>
                </c:pt>
                <c:pt idx="11155">
                  <c:v>0</c:v>
                </c:pt>
                <c:pt idx="11156">
                  <c:v>0</c:v>
                </c:pt>
                <c:pt idx="11157">
                  <c:v>0</c:v>
                </c:pt>
                <c:pt idx="11158">
                  <c:v>0</c:v>
                </c:pt>
                <c:pt idx="11159">
                  <c:v>0</c:v>
                </c:pt>
                <c:pt idx="11160">
                  <c:v>0</c:v>
                </c:pt>
                <c:pt idx="11161">
                  <c:v>0</c:v>
                </c:pt>
                <c:pt idx="11162">
                  <c:v>0</c:v>
                </c:pt>
                <c:pt idx="11163">
                  <c:v>1</c:v>
                </c:pt>
                <c:pt idx="11164">
                  <c:v>2</c:v>
                </c:pt>
                <c:pt idx="11165">
                  <c:v>0</c:v>
                </c:pt>
                <c:pt idx="11166">
                  <c:v>0</c:v>
                </c:pt>
                <c:pt idx="11167">
                  <c:v>0</c:v>
                </c:pt>
                <c:pt idx="11168">
                  <c:v>0</c:v>
                </c:pt>
                <c:pt idx="11169">
                  <c:v>0</c:v>
                </c:pt>
                <c:pt idx="11170">
                  <c:v>0</c:v>
                </c:pt>
                <c:pt idx="11171">
                  <c:v>0</c:v>
                </c:pt>
                <c:pt idx="11172">
                  <c:v>0</c:v>
                </c:pt>
                <c:pt idx="11173">
                  <c:v>0</c:v>
                </c:pt>
                <c:pt idx="11174">
                  <c:v>0</c:v>
                </c:pt>
                <c:pt idx="11175">
                  <c:v>0</c:v>
                </c:pt>
                <c:pt idx="11176">
                  <c:v>0</c:v>
                </c:pt>
                <c:pt idx="11177">
                  <c:v>0</c:v>
                </c:pt>
                <c:pt idx="11178">
                  <c:v>0</c:v>
                </c:pt>
                <c:pt idx="11179">
                  <c:v>0</c:v>
                </c:pt>
                <c:pt idx="11180">
                  <c:v>0</c:v>
                </c:pt>
                <c:pt idx="11181">
                  <c:v>0</c:v>
                </c:pt>
                <c:pt idx="11182">
                  <c:v>0</c:v>
                </c:pt>
                <c:pt idx="11183">
                  <c:v>0</c:v>
                </c:pt>
                <c:pt idx="11184">
                  <c:v>0</c:v>
                </c:pt>
                <c:pt idx="11185">
                  <c:v>0</c:v>
                </c:pt>
                <c:pt idx="11186">
                  <c:v>0</c:v>
                </c:pt>
                <c:pt idx="11187">
                  <c:v>0</c:v>
                </c:pt>
                <c:pt idx="11188">
                  <c:v>0</c:v>
                </c:pt>
                <c:pt idx="11189">
                  <c:v>0</c:v>
                </c:pt>
                <c:pt idx="11190">
                  <c:v>0</c:v>
                </c:pt>
                <c:pt idx="11191">
                  <c:v>0</c:v>
                </c:pt>
                <c:pt idx="11192">
                  <c:v>0</c:v>
                </c:pt>
                <c:pt idx="11193">
                  <c:v>1</c:v>
                </c:pt>
                <c:pt idx="11194">
                  <c:v>0</c:v>
                </c:pt>
                <c:pt idx="11195">
                  <c:v>0</c:v>
                </c:pt>
                <c:pt idx="11196">
                  <c:v>0</c:v>
                </c:pt>
                <c:pt idx="11197">
                  <c:v>0</c:v>
                </c:pt>
                <c:pt idx="11198">
                  <c:v>0</c:v>
                </c:pt>
                <c:pt idx="11199">
                  <c:v>0</c:v>
                </c:pt>
                <c:pt idx="11200">
                  <c:v>0</c:v>
                </c:pt>
                <c:pt idx="11201">
                  <c:v>0</c:v>
                </c:pt>
                <c:pt idx="11202">
                  <c:v>0</c:v>
                </c:pt>
                <c:pt idx="11203">
                  <c:v>0</c:v>
                </c:pt>
                <c:pt idx="11204">
                  <c:v>0</c:v>
                </c:pt>
                <c:pt idx="11205">
                  <c:v>0</c:v>
                </c:pt>
                <c:pt idx="11206">
                  <c:v>0</c:v>
                </c:pt>
                <c:pt idx="11207">
                  <c:v>0</c:v>
                </c:pt>
                <c:pt idx="11208">
                  <c:v>0</c:v>
                </c:pt>
                <c:pt idx="11209">
                  <c:v>0</c:v>
                </c:pt>
                <c:pt idx="11210">
                  <c:v>0</c:v>
                </c:pt>
                <c:pt idx="11211">
                  <c:v>0</c:v>
                </c:pt>
                <c:pt idx="11212">
                  <c:v>0</c:v>
                </c:pt>
                <c:pt idx="11213">
                  <c:v>0</c:v>
                </c:pt>
                <c:pt idx="11214">
                  <c:v>0</c:v>
                </c:pt>
                <c:pt idx="11215">
                  <c:v>0</c:v>
                </c:pt>
                <c:pt idx="11216">
                  <c:v>0</c:v>
                </c:pt>
                <c:pt idx="11217">
                  <c:v>0</c:v>
                </c:pt>
                <c:pt idx="11218">
                  <c:v>0</c:v>
                </c:pt>
                <c:pt idx="11219">
                  <c:v>0</c:v>
                </c:pt>
                <c:pt idx="11220">
                  <c:v>0</c:v>
                </c:pt>
                <c:pt idx="11221">
                  <c:v>0</c:v>
                </c:pt>
                <c:pt idx="11222">
                  <c:v>0</c:v>
                </c:pt>
                <c:pt idx="11223">
                  <c:v>0</c:v>
                </c:pt>
                <c:pt idx="11224">
                  <c:v>0</c:v>
                </c:pt>
                <c:pt idx="11225">
                  <c:v>0</c:v>
                </c:pt>
                <c:pt idx="11226">
                  <c:v>0</c:v>
                </c:pt>
                <c:pt idx="11227">
                  <c:v>0</c:v>
                </c:pt>
                <c:pt idx="11228">
                  <c:v>0</c:v>
                </c:pt>
                <c:pt idx="11229">
                  <c:v>0</c:v>
                </c:pt>
                <c:pt idx="11230">
                  <c:v>0</c:v>
                </c:pt>
                <c:pt idx="11231">
                  <c:v>0</c:v>
                </c:pt>
                <c:pt idx="11232">
                  <c:v>0</c:v>
                </c:pt>
                <c:pt idx="11233">
                  <c:v>0</c:v>
                </c:pt>
                <c:pt idx="11234">
                  <c:v>0</c:v>
                </c:pt>
                <c:pt idx="11235">
                  <c:v>0</c:v>
                </c:pt>
                <c:pt idx="11236">
                  <c:v>0</c:v>
                </c:pt>
                <c:pt idx="11237">
                  <c:v>0</c:v>
                </c:pt>
                <c:pt idx="11238">
                  <c:v>0</c:v>
                </c:pt>
                <c:pt idx="11239">
                  <c:v>0</c:v>
                </c:pt>
                <c:pt idx="11240">
                  <c:v>1</c:v>
                </c:pt>
                <c:pt idx="11241">
                  <c:v>0</c:v>
                </c:pt>
                <c:pt idx="11242">
                  <c:v>0</c:v>
                </c:pt>
                <c:pt idx="11243">
                  <c:v>0</c:v>
                </c:pt>
                <c:pt idx="11244">
                  <c:v>0</c:v>
                </c:pt>
                <c:pt idx="11245">
                  <c:v>0</c:v>
                </c:pt>
                <c:pt idx="11246">
                  <c:v>0</c:v>
                </c:pt>
                <c:pt idx="11247">
                  <c:v>0</c:v>
                </c:pt>
                <c:pt idx="11248">
                  <c:v>0</c:v>
                </c:pt>
                <c:pt idx="11249">
                  <c:v>0</c:v>
                </c:pt>
                <c:pt idx="11250">
                  <c:v>0</c:v>
                </c:pt>
                <c:pt idx="11251">
                  <c:v>0</c:v>
                </c:pt>
                <c:pt idx="11252">
                  <c:v>0</c:v>
                </c:pt>
                <c:pt idx="11253">
                  <c:v>0</c:v>
                </c:pt>
                <c:pt idx="11254">
                  <c:v>0</c:v>
                </c:pt>
                <c:pt idx="11255">
                  <c:v>0</c:v>
                </c:pt>
                <c:pt idx="11256">
                  <c:v>0</c:v>
                </c:pt>
                <c:pt idx="11257">
                  <c:v>0</c:v>
                </c:pt>
                <c:pt idx="11258">
                  <c:v>0</c:v>
                </c:pt>
                <c:pt idx="11259">
                  <c:v>0</c:v>
                </c:pt>
                <c:pt idx="11260">
                  <c:v>0</c:v>
                </c:pt>
                <c:pt idx="11261">
                  <c:v>0</c:v>
                </c:pt>
                <c:pt idx="11262">
                  <c:v>2</c:v>
                </c:pt>
                <c:pt idx="11263">
                  <c:v>0</c:v>
                </c:pt>
                <c:pt idx="11264">
                  <c:v>0</c:v>
                </c:pt>
                <c:pt idx="11265">
                  <c:v>0</c:v>
                </c:pt>
                <c:pt idx="11266">
                  <c:v>0</c:v>
                </c:pt>
                <c:pt idx="11267">
                  <c:v>0</c:v>
                </c:pt>
                <c:pt idx="11268">
                  <c:v>0</c:v>
                </c:pt>
                <c:pt idx="11269">
                  <c:v>0</c:v>
                </c:pt>
                <c:pt idx="11270">
                  <c:v>0</c:v>
                </c:pt>
                <c:pt idx="11271">
                  <c:v>0</c:v>
                </c:pt>
                <c:pt idx="11272">
                  <c:v>0</c:v>
                </c:pt>
                <c:pt idx="11273">
                  <c:v>0</c:v>
                </c:pt>
                <c:pt idx="11274">
                  <c:v>0</c:v>
                </c:pt>
                <c:pt idx="11275">
                  <c:v>0</c:v>
                </c:pt>
                <c:pt idx="11276">
                  <c:v>0</c:v>
                </c:pt>
                <c:pt idx="11277">
                  <c:v>0</c:v>
                </c:pt>
                <c:pt idx="11278">
                  <c:v>2</c:v>
                </c:pt>
                <c:pt idx="11279">
                  <c:v>0</c:v>
                </c:pt>
                <c:pt idx="11280">
                  <c:v>0</c:v>
                </c:pt>
                <c:pt idx="11281">
                  <c:v>0</c:v>
                </c:pt>
                <c:pt idx="11282">
                  <c:v>0</c:v>
                </c:pt>
                <c:pt idx="11283">
                  <c:v>0</c:v>
                </c:pt>
                <c:pt idx="11284">
                  <c:v>0</c:v>
                </c:pt>
                <c:pt idx="11285">
                  <c:v>0</c:v>
                </c:pt>
                <c:pt idx="11286">
                  <c:v>0</c:v>
                </c:pt>
                <c:pt idx="11287">
                  <c:v>0</c:v>
                </c:pt>
                <c:pt idx="11288">
                  <c:v>0</c:v>
                </c:pt>
                <c:pt idx="11289">
                  <c:v>1</c:v>
                </c:pt>
                <c:pt idx="11290">
                  <c:v>0</c:v>
                </c:pt>
                <c:pt idx="11291">
                  <c:v>0</c:v>
                </c:pt>
                <c:pt idx="11292">
                  <c:v>0</c:v>
                </c:pt>
                <c:pt idx="11293">
                  <c:v>0</c:v>
                </c:pt>
                <c:pt idx="11294">
                  <c:v>0</c:v>
                </c:pt>
                <c:pt idx="11295">
                  <c:v>0</c:v>
                </c:pt>
                <c:pt idx="11296">
                  <c:v>0</c:v>
                </c:pt>
                <c:pt idx="11297">
                  <c:v>0</c:v>
                </c:pt>
                <c:pt idx="11298">
                  <c:v>0</c:v>
                </c:pt>
                <c:pt idx="11299">
                  <c:v>1</c:v>
                </c:pt>
                <c:pt idx="11300">
                  <c:v>0</c:v>
                </c:pt>
                <c:pt idx="11301">
                  <c:v>1</c:v>
                </c:pt>
                <c:pt idx="11302">
                  <c:v>0</c:v>
                </c:pt>
                <c:pt idx="11303">
                  <c:v>0</c:v>
                </c:pt>
                <c:pt idx="11304">
                  <c:v>0</c:v>
                </c:pt>
                <c:pt idx="11305">
                  <c:v>0</c:v>
                </c:pt>
                <c:pt idx="11306">
                  <c:v>2</c:v>
                </c:pt>
                <c:pt idx="11307">
                  <c:v>0</c:v>
                </c:pt>
                <c:pt idx="11308">
                  <c:v>0</c:v>
                </c:pt>
                <c:pt idx="11309">
                  <c:v>0</c:v>
                </c:pt>
                <c:pt idx="11310">
                  <c:v>0</c:v>
                </c:pt>
                <c:pt idx="11311">
                  <c:v>0</c:v>
                </c:pt>
                <c:pt idx="11312">
                  <c:v>0</c:v>
                </c:pt>
                <c:pt idx="11313">
                  <c:v>0</c:v>
                </c:pt>
                <c:pt idx="11314">
                  <c:v>0</c:v>
                </c:pt>
                <c:pt idx="11315">
                  <c:v>0</c:v>
                </c:pt>
                <c:pt idx="11316">
                  <c:v>0</c:v>
                </c:pt>
                <c:pt idx="11317">
                  <c:v>0</c:v>
                </c:pt>
                <c:pt idx="11318">
                  <c:v>0</c:v>
                </c:pt>
                <c:pt idx="11319">
                  <c:v>0</c:v>
                </c:pt>
                <c:pt idx="11320">
                  <c:v>0</c:v>
                </c:pt>
                <c:pt idx="11321">
                  <c:v>0</c:v>
                </c:pt>
                <c:pt idx="11322">
                  <c:v>0</c:v>
                </c:pt>
                <c:pt idx="11323">
                  <c:v>0</c:v>
                </c:pt>
                <c:pt idx="11324">
                  <c:v>0</c:v>
                </c:pt>
                <c:pt idx="11325">
                  <c:v>0</c:v>
                </c:pt>
                <c:pt idx="11326">
                  <c:v>0</c:v>
                </c:pt>
                <c:pt idx="11327">
                  <c:v>0</c:v>
                </c:pt>
                <c:pt idx="11328">
                  <c:v>0</c:v>
                </c:pt>
                <c:pt idx="11329">
                  <c:v>0</c:v>
                </c:pt>
                <c:pt idx="11330">
                  <c:v>0</c:v>
                </c:pt>
                <c:pt idx="11331">
                  <c:v>0</c:v>
                </c:pt>
                <c:pt idx="11332">
                  <c:v>0</c:v>
                </c:pt>
                <c:pt idx="11333">
                  <c:v>0</c:v>
                </c:pt>
                <c:pt idx="11334">
                  <c:v>0</c:v>
                </c:pt>
                <c:pt idx="11335">
                  <c:v>0</c:v>
                </c:pt>
                <c:pt idx="11336">
                  <c:v>0</c:v>
                </c:pt>
                <c:pt idx="11337">
                  <c:v>0</c:v>
                </c:pt>
                <c:pt idx="11338">
                  <c:v>0</c:v>
                </c:pt>
                <c:pt idx="11339">
                  <c:v>0</c:v>
                </c:pt>
                <c:pt idx="11340">
                  <c:v>0</c:v>
                </c:pt>
                <c:pt idx="11341">
                  <c:v>3</c:v>
                </c:pt>
                <c:pt idx="11342">
                  <c:v>4</c:v>
                </c:pt>
                <c:pt idx="11343">
                  <c:v>0</c:v>
                </c:pt>
                <c:pt idx="11344">
                  <c:v>0</c:v>
                </c:pt>
                <c:pt idx="11345">
                  <c:v>0</c:v>
                </c:pt>
                <c:pt idx="11346">
                  <c:v>0</c:v>
                </c:pt>
                <c:pt idx="11347">
                  <c:v>0</c:v>
                </c:pt>
                <c:pt idx="11348">
                  <c:v>0</c:v>
                </c:pt>
                <c:pt idx="11349">
                  <c:v>0</c:v>
                </c:pt>
                <c:pt idx="11350">
                  <c:v>0</c:v>
                </c:pt>
                <c:pt idx="11351">
                  <c:v>0</c:v>
                </c:pt>
                <c:pt idx="11352">
                  <c:v>0</c:v>
                </c:pt>
                <c:pt idx="11353">
                  <c:v>0</c:v>
                </c:pt>
                <c:pt idx="11354">
                  <c:v>0</c:v>
                </c:pt>
                <c:pt idx="11355">
                  <c:v>0</c:v>
                </c:pt>
                <c:pt idx="11356">
                  <c:v>0</c:v>
                </c:pt>
                <c:pt idx="11357">
                  <c:v>0</c:v>
                </c:pt>
                <c:pt idx="11358">
                  <c:v>0</c:v>
                </c:pt>
                <c:pt idx="11359">
                  <c:v>0</c:v>
                </c:pt>
                <c:pt idx="11360">
                  <c:v>0</c:v>
                </c:pt>
                <c:pt idx="11361">
                  <c:v>0</c:v>
                </c:pt>
                <c:pt idx="11362">
                  <c:v>0</c:v>
                </c:pt>
                <c:pt idx="11363">
                  <c:v>0</c:v>
                </c:pt>
                <c:pt idx="11364">
                  <c:v>0</c:v>
                </c:pt>
                <c:pt idx="11365">
                  <c:v>0</c:v>
                </c:pt>
                <c:pt idx="11366">
                  <c:v>0</c:v>
                </c:pt>
                <c:pt idx="11367">
                  <c:v>0</c:v>
                </c:pt>
                <c:pt idx="11368">
                  <c:v>0</c:v>
                </c:pt>
                <c:pt idx="11369">
                  <c:v>0</c:v>
                </c:pt>
                <c:pt idx="11370">
                  <c:v>0</c:v>
                </c:pt>
                <c:pt idx="11371">
                  <c:v>0</c:v>
                </c:pt>
                <c:pt idx="11372">
                  <c:v>0</c:v>
                </c:pt>
                <c:pt idx="11373">
                  <c:v>0</c:v>
                </c:pt>
                <c:pt idx="11374">
                  <c:v>0</c:v>
                </c:pt>
                <c:pt idx="11375">
                  <c:v>0</c:v>
                </c:pt>
                <c:pt idx="11376">
                  <c:v>0</c:v>
                </c:pt>
                <c:pt idx="11377">
                  <c:v>0</c:v>
                </c:pt>
                <c:pt idx="11378">
                  <c:v>1</c:v>
                </c:pt>
                <c:pt idx="11379">
                  <c:v>0</c:v>
                </c:pt>
                <c:pt idx="11380">
                  <c:v>0</c:v>
                </c:pt>
                <c:pt idx="11381">
                  <c:v>0</c:v>
                </c:pt>
                <c:pt idx="11382">
                  <c:v>2</c:v>
                </c:pt>
                <c:pt idx="11383">
                  <c:v>1</c:v>
                </c:pt>
                <c:pt idx="11384">
                  <c:v>0</c:v>
                </c:pt>
                <c:pt idx="11385">
                  <c:v>2</c:v>
                </c:pt>
                <c:pt idx="11386">
                  <c:v>0</c:v>
                </c:pt>
                <c:pt idx="11387">
                  <c:v>0</c:v>
                </c:pt>
                <c:pt idx="11388">
                  <c:v>0</c:v>
                </c:pt>
                <c:pt idx="11389">
                  <c:v>0</c:v>
                </c:pt>
                <c:pt idx="11390">
                  <c:v>0</c:v>
                </c:pt>
                <c:pt idx="11391">
                  <c:v>0</c:v>
                </c:pt>
                <c:pt idx="11392">
                  <c:v>1</c:v>
                </c:pt>
                <c:pt idx="11393">
                  <c:v>0</c:v>
                </c:pt>
                <c:pt idx="11394">
                  <c:v>0</c:v>
                </c:pt>
                <c:pt idx="11395">
                  <c:v>0</c:v>
                </c:pt>
                <c:pt idx="11396">
                  <c:v>0</c:v>
                </c:pt>
                <c:pt idx="11397">
                  <c:v>0</c:v>
                </c:pt>
                <c:pt idx="11398">
                  <c:v>0</c:v>
                </c:pt>
                <c:pt idx="11399">
                  <c:v>0</c:v>
                </c:pt>
                <c:pt idx="11400">
                  <c:v>0</c:v>
                </c:pt>
                <c:pt idx="11401">
                  <c:v>0</c:v>
                </c:pt>
                <c:pt idx="11402">
                  <c:v>0</c:v>
                </c:pt>
                <c:pt idx="11403">
                  <c:v>0</c:v>
                </c:pt>
                <c:pt idx="11404">
                  <c:v>0</c:v>
                </c:pt>
                <c:pt idx="11405">
                  <c:v>0</c:v>
                </c:pt>
                <c:pt idx="11406">
                  <c:v>0</c:v>
                </c:pt>
                <c:pt idx="11407">
                  <c:v>0</c:v>
                </c:pt>
                <c:pt idx="11408">
                  <c:v>0</c:v>
                </c:pt>
                <c:pt idx="11409">
                  <c:v>0</c:v>
                </c:pt>
                <c:pt idx="11410">
                  <c:v>0</c:v>
                </c:pt>
                <c:pt idx="11411">
                  <c:v>0</c:v>
                </c:pt>
                <c:pt idx="11412">
                  <c:v>0</c:v>
                </c:pt>
                <c:pt idx="11413">
                  <c:v>0</c:v>
                </c:pt>
                <c:pt idx="11414">
                  <c:v>0</c:v>
                </c:pt>
                <c:pt idx="11415">
                  <c:v>0</c:v>
                </c:pt>
                <c:pt idx="11416">
                  <c:v>0</c:v>
                </c:pt>
                <c:pt idx="11417">
                  <c:v>0</c:v>
                </c:pt>
                <c:pt idx="11418">
                  <c:v>0</c:v>
                </c:pt>
                <c:pt idx="11419">
                  <c:v>0</c:v>
                </c:pt>
                <c:pt idx="11420">
                  <c:v>0</c:v>
                </c:pt>
                <c:pt idx="11421">
                  <c:v>0</c:v>
                </c:pt>
                <c:pt idx="11422">
                  <c:v>0</c:v>
                </c:pt>
                <c:pt idx="11423">
                  <c:v>0</c:v>
                </c:pt>
                <c:pt idx="11424">
                  <c:v>0</c:v>
                </c:pt>
                <c:pt idx="11425">
                  <c:v>0</c:v>
                </c:pt>
                <c:pt idx="11426">
                  <c:v>0</c:v>
                </c:pt>
                <c:pt idx="11427">
                  <c:v>0</c:v>
                </c:pt>
                <c:pt idx="11428">
                  <c:v>0</c:v>
                </c:pt>
                <c:pt idx="11429">
                  <c:v>0</c:v>
                </c:pt>
                <c:pt idx="11430">
                  <c:v>0</c:v>
                </c:pt>
                <c:pt idx="11431">
                  <c:v>0</c:v>
                </c:pt>
                <c:pt idx="11432">
                  <c:v>0</c:v>
                </c:pt>
                <c:pt idx="11433">
                  <c:v>0</c:v>
                </c:pt>
                <c:pt idx="11434">
                  <c:v>0</c:v>
                </c:pt>
                <c:pt idx="11435">
                  <c:v>0</c:v>
                </c:pt>
                <c:pt idx="11436">
                  <c:v>0</c:v>
                </c:pt>
                <c:pt idx="11437">
                  <c:v>0</c:v>
                </c:pt>
                <c:pt idx="11438">
                  <c:v>0</c:v>
                </c:pt>
                <c:pt idx="11439">
                  <c:v>0</c:v>
                </c:pt>
                <c:pt idx="11440">
                  <c:v>0</c:v>
                </c:pt>
                <c:pt idx="11441">
                  <c:v>0</c:v>
                </c:pt>
                <c:pt idx="11442">
                  <c:v>0</c:v>
                </c:pt>
                <c:pt idx="11443">
                  <c:v>0</c:v>
                </c:pt>
                <c:pt idx="11444">
                  <c:v>0</c:v>
                </c:pt>
                <c:pt idx="11445">
                  <c:v>3</c:v>
                </c:pt>
                <c:pt idx="11446">
                  <c:v>0</c:v>
                </c:pt>
                <c:pt idx="11447">
                  <c:v>0</c:v>
                </c:pt>
                <c:pt idx="11448">
                  <c:v>0</c:v>
                </c:pt>
                <c:pt idx="11449">
                  <c:v>0</c:v>
                </c:pt>
                <c:pt idx="11450">
                  <c:v>0</c:v>
                </c:pt>
                <c:pt idx="11451">
                  <c:v>0</c:v>
                </c:pt>
                <c:pt idx="11452">
                  <c:v>0</c:v>
                </c:pt>
                <c:pt idx="11453">
                  <c:v>0</c:v>
                </c:pt>
                <c:pt idx="11454">
                  <c:v>0</c:v>
                </c:pt>
                <c:pt idx="11455">
                  <c:v>0</c:v>
                </c:pt>
                <c:pt idx="11456">
                  <c:v>0</c:v>
                </c:pt>
                <c:pt idx="11457">
                  <c:v>0</c:v>
                </c:pt>
                <c:pt idx="11458">
                  <c:v>0</c:v>
                </c:pt>
                <c:pt idx="11459">
                  <c:v>0</c:v>
                </c:pt>
                <c:pt idx="11460">
                  <c:v>0</c:v>
                </c:pt>
                <c:pt idx="11461">
                  <c:v>0</c:v>
                </c:pt>
                <c:pt idx="11462">
                  <c:v>0</c:v>
                </c:pt>
                <c:pt idx="11463">
                  <c:v>0</c:v>
                </c:pt>
                <c:pt idx="11464">
                  <c:v>0</c:v>
                </c:pt>
                <c:pt idx="11465">
                  <c:v>0</c:v>
                </c:pt>
                <c:pt idx="11466">
                  <c:v>0</c:v>
                </c:pt>
                <c:pt idx="11467">
                  <c:v>0</c:v>
                </c:pt>
                <c:pt idx="11468">
                  <c:v>0</c:v>
                </c:pt>
                <c:pt idx="11469">
                  <c:v>0</c:v>
                </c:pt>
                <c:pt idx="11470">
                  <c:v>0</c:v>
                </c:pt>
                <c:pt idx="11471">
                  <c:v>0</c:v>
                </c:pt>
                <c:pt idx="11472">
                  <c:v>0</c:v>
                </c:pt>
                <c:pt idx="11473">
                  <c:v>0</c:v>
                </c:pt>
                <c:pt idx="11474">
                  <c:v>0</c:v>
                </c:pt>
                <c:pt idx="11475">
                  <c:v>0</c:v>
                </c:pt>
                <c:pt idx="11476">
                  <c:v>0</c:v>
                </c:pt>
                <c:pt idx="11477">
                  <c:v>0</c:v>
                </c:pt>
                <c:pt idx="11478">
                  <c:v>0</c:v>
                </c:pt>
                <c:pt idx="11479">
                  <c:v>0</c:v>
                </c:pt>
                <c:pt idx="11480">
                  <c:v>0</c:v>
                </c:pt>
                <c:pt idx="11481">
                  <c:v>0</c:v>
                </c:pt>
                <c:pt idx="11482">
                  <c:v>1</c:v>
                </c:pt>
                <c:pt idx="11483">
                  <c:v>0</c:v>
                </c:pt>
                <c:pt idx="11484">
                  <c:v>0</c:v>
                </c:pt>
                <c:pt idx="11485">
                  <c:v>0</c:v>
                </c:pt>
                <c:pt idx="11486">
                  <c:v>0</c:v>
                </c:pt>
                <c:pt idx="11487">
                  <c:v>0</c:v>
                </c:pt>
                <c:pt idx="11488">
                  <c:v>0</c:v>
                </c:pt>
                <c:pt idx="11489">
                  <c:v>1</c:v>
                </c:pt>
                <c:pt idx="11490">
                  <c:v>0</c:v>
                </c:pt>
                <c:pt idx="11491">
                  <c:v>0</c:v>
                </c:pt>
                <c:pt idx="11492">
                  <c:v>0</c:v>
                </c:pt>
                <c:pt idx="11493">
                  <c:v>0</c:v>
                </c:pt>
                <c:pt idx="11494">
                  <c:v>0</c:v>
                </c:pt>
                <c:pt idx="11495">
                  <c:v>1</c:v>
                </c:pt>
                <c:pt idx="11496">
                  <c:v>0</c:v>
                </c:pt>
                <c:pt idx="11497">
                  <c:v>0</c:v>
                </c:pt>
                <c:pt idx="11498">
                  <c:v>0</c:v>
                </c:pt>
                <c:pt idx="11499">
                  <c:v>0</c:v>
                </c:pt>
                <c:pt idx="11500">
                  <c:v>0</c:v>
                </c:pt>
                <c:pt idx="11501">
                  <c:v>0</c:v>
                </c:pt>
                <c:pt idx="11502">
                  <c:v>0</c:v>
                </c:pt>
                <c:pt idx="11503">
                  <c:v>0</c:v>
                </c:pt>
                <c:pt idx="11504">
                  <c:v>0</c:v>
                </c:pt>
                <c:pt idx="11505">
                  <c:v>0</c:v>
                </c:pt>
                <c:pt idx="11506">
                  <c:v>0</c:v>
                </c:pt>
                <c:pt idx="11507">
                  <c:v>0</c:v>
                </c:pt>
                <c:pt idx="11508">
                  <c:v>1</c:v>
                </c:pt>
                <c:pt idx="11509">
                  <c:v>0</c:v>
                </c:pt>
                <c:pt idx="11510">
                  <c:v>1</c:v>
                </c:pt>
                <c:pt idx="11511">
                  <c:v>0</c:v>
                </c:pt>
                <c:pt idx="11512">
                  <c:v>0</c:v>
                </c:pt>
                <c:pt idx="11513">
                  <c:v>0</c:v>
                </c:pt>
                <c:pt idx="11514">
                  <c:v>0</c:v>
                </c:pt>
                <c:pt idx="11515">
                  <c:v>0</c:v>
                </c:pt>
                <c:pt idx="11516">
                  <c:v>0</c:v>
                </c:pt>
                <c:pt idx="11517">
                  <c:v>0</c:v>
                </c:pt>
                <c:pt idx="11518">
                  <c:v>0</c:v>
                </c:pt>
                <c:pt idx="11519">
                  <c:v>0</c:v>
                </c:pt>
                <c:pt idx="11520">
                  <c:v>0</c:v>
                </c:pt>
                <c:pt idx="11521">
                  <c:v>0</c:v>
                </c:pt>
                <c:pt idx="11522">
                  <c:v>0</c:v>
                </c:pt>
                <c:pt idx="11523">
                  <c:v>0</c:v>
                </c:pt>
                <c:pt idx="11524">
                  <c:v>0</c:v>
                </c:pt>
                <c:pt idx="11525">
                  <c:v>0</c:v>
                </c:pt>
                <c:pt idx="11526">
                  <c:v>0</c:v>
                </c:pt>
                <c:pt idx="11527">
                  <c:v>0</c:v>
                </c:pt>
                <c:pt idx="11528">
                  <c:v>0</c:v>
                </c:pt>
                <c:pt idx="11529">
                  <c:v>0</c:v>
                </c:pt>
                <c:pt idx="11530">
                  <c:v>0</c:v>
                </c:pt>
                <c:pt idx="11531">
                  <c:v>0</c:v>
                </c:pt>
                <c:pt idx="11532">
                  <c:v>0</c:v>
                </c:pt>
                <c:pt idx="11533">
                  <c:v>0</c:v>
                </c:pt>
                <c:pt idx="11534">
                  <c:v>0</c:v>
                </c:pt>
                <c:pt idx="11535">
                  <c:v>0</c:v>
                </c:pt>
                <c:pt idx="11536">
                  <c:v>0</c:v>
                </c:pt>
                <c:pt idx="11537">
                  <c:v>0</c:v>
                </c:pt>
                <c:pt idx="11538">
                  <c:v>0</c:v>
                </c:pt>
                <c:pt idx="11539">
                  <c:v>0</c:v>
                </c:pt>
                <c:pt idx="11540">
                  <c:v>0</c:v>
                </c:pt>
                <c:pt idx="11541">
                  <c:v>0</c:v>
                </c:pt>
                <c:pt idx="11542">
                  <c:v>1</c:v>
                </c:pt>
                <c:pt idx="11543">
                  <c:v>0</c:v>
                </c:pt>
                <c:pt idx="11544">
                  <c:v>0</c:v>
                </c:pt>
                <c:pt idx="11545">
                  <c:v>0</c:v>
                </c:pt>
                <c:pt idx="11546">
                  <c:v>0</c:v>
                </c:pt>
                <c:pt idx="11547">
                  <c:v>7</c:v>
                </c:pt>
                <c:pt idx="11548">
                  <c:v>7</c:v>
                </c:pt>
                <c:pt idx="11549">
                  <c:v>1</c:v>
                </c:pt>
                <c:pt idx="11550">
                  <c:v>0</c:v>
                </c:pt>
                <c:pt idx="11551">
                  <c:v>0</c:v>
                </c:pt>
                <c:pt idx="11552">
                  <c:v>5</c:v>
                </c:pt>
                <c:pt idx="11553">
                  <c:v>2</c:v>
                </c:pt>
                <c:pt idx="11554">
                  <c:v>2</c:v>
                </c:pt>
                <c:pt idx="11555">
                  <c:v>0</c:v>
                </c:pt>
                <c:pt idx="11556">
                  <c:v>0</c:v>
                </c:pt>
                <c:pt idx="11557">
                  <c:v>0</c:v>
                </c:pt>
                <c:pt idx="11558">
                  <c:v>2</c:v>
                </c:pt>
                <c:pt idx="11559">
                  <c:v>0</c:v>
                </c:pt>
                <c:pt idx="11560">
                  <c:v>0</c:v>
                </c:pt>
                <c:pt idx="11561">
                  <c:v>1</c:v>
                </c:pt>
                <c:pt idx="11562">
                  <c:v>0</c:v>
                </c:pt>
                <c:pt idx="11563">
                  <c:v>2</c:v>
                </c:pt>
                <c:pt idx="11564">
                  <c:v>1</c:v>
                </c:pt>
                <c:pt idx="11565">
                  <c:v>4</c:v>
                </c:pt>
                <c:pt idx="11566">
                  <c:v>4</c:v>
                </c:pt>
                <c:pt idx="11567">
                  <c:v>6</c:v>
                </c:pt>
                <c:pt idx="11568">
                  <c:v>0</c:v>
                </c:pt>
                <c:pt idx="11569">
                  <c:v>0</c:v>
                </c:pt>
                <c:pt idx="11570">
                  <c:v>4</c:v>
                </c:pt>
                <c:pt idx="11571">
                  <c:v>0</c:v>
                </c:pt>
                <c:pt idx="11572">
                  <c:v>6</c:v>
                </c:pt>
                <c:pt idx="11573">
                  <c:v>0</c:v>
                </c:pt>
                <c:pt idx="11574">
                  <c:v>0</c:v>
                </c:pt>
                <c:pt idx="11575">
                  <c:v>0</c:v>
                </c:pt>
                <c:pt idx="11576">
                  <c:v>0</c:v>
                </c:pt>
                <c:pt idx="11577">
                  <c:v>2</c:v>
                </c:pt>
                <c:pt idx="11578">
                  <c:v>0</c:v>
                </c:pt>
                <c:pt idx="11579">
                  <c:v>0</c:v>
                </c:pt>
                <c:pt idx="11580">
                  <c:v>0</c:v>
                </c:pt>
                <c:pt idx="11581">
                  <c:v>0</c:v>
                </c:pt>
                <c:pt idx="11582">
                  <c:v>0</c:v>
                </c:pt>
                <c:pt idx="11583">
                  <c:v>0</c:v>
                </c:pt>
                <c:pt idx="11584">
                  <c:v>4</c:v>
                </c:pt>
                <c:pt idx="11585">
                  <c:v>0</c:v>
                </c:pt>
                <c:pt idx="11586">
                  <c:v>0</c:v>
                </c:pt>
                <c:pt idx="11587">
                  <c:v>0</c:v>
                </c:pt>
                <c:pt idx="11588">
                  <c:v>0</c:v>
                </c:pt>
                <c:pt idx="11589">
                  <c:v>0</c:v>
                </c:pt>
                <c:pt idx="11590">
                  <c:v>0</c:v>
                </c:pt>
                <c:pt idx="11591">
                  <c:v>0</c:v>
                </c:pt>
                <c:pt idx="11592">
                  <c:v>0</c:v>
                </c:pt>
                <c:pt idx="11593">
                  <c:v>0</c:v>
                </c:pt>
                <c:pt idx="11594">
                  <c:v>3</c:v>
                </c:pt>
                <c:pt idx="11595">
                  <c:v>0</c:v>
                </c:pt>
                <c:pt idx="11596">
                  <c:v>1</c:v>
                </c:pt>
                <c:pt idx="11597">
                  <c:v>0</c:v>
                </c:pt>
                <c:pt idx="11598">
                  <c:v>0</c:v>
                </c:pt>
                <c:pt idx="11599">
                  <c:v>0</c:v>
                </c:pt>
                <c:pt idx="11600">
                  <c:v>0</c:v>
                </c:pt>
                <c:pt idx="11601">
                  <c:v>0</c:v>
                </c:pt>
                <c:pt idx="11602">
                  <c:v>0</c:v>
                </c:pt>
                <c:pt idx="11603">
                  <c:v>0</c:v>
                </c:pt>
                <c:pt idx="11604">
                  <c:v>0</c:v>
                </c:pt>
                <c:pt idx="11605">
                  <c:v>0</c:v>
                </c:pt>
                <c:pt idx="11606">
                  <c:v>0</c:v>
                </c:pt>
                <c:pt idx="11607">
                  <c:v>2</c:v>
                </c:pt>
                <c:pt idx="11608">
                  <c:v>0</c:v>
                </c:pt>
                <c:pt idx="11609">
                  <c:v>0</c:v>
                </c:pt>
                <c:pt idx="11610">
                  <c:v>0</c:v>
                </c:pt>
                <c:pt idx="11611">
                  <c:v>2</c:v>
                </c:pt>
                <c:pt idx="11612">
                  <c:v>0</c:v>
                </c:pt>
                <c:pt idx="11613">
                  <c:v>0</c:v>
                </c:pt>
                <c:pt idx="11614">
                  <c:v>0</c:v>
                </c:pt>
                <c:pt idx="11615">
                  <c:v>0</c:v>
                </c:pt>
                <c:pt idx="11616">
                  <c:v>1</c:v>
                </c:pt>
                <c:pt idx="11617">
                  <c:v>0</c:v>
                </c:pt>
                <c:pt idx="11618">
                  <c:v>0</c:v>
                </c:pt>
                <c:pt idx="11619">
                  <c:v>0</c:v>
                </c:pt>
                <c:pt idx="11620">
                  <c:v>0</c:v>
                </c:pt>
                <c:pt idx="11621">
                  <c:v>0</c:v>
                </c:pt>
                <c:pt idx="11622">
                  <c:v>0</c:v>
                </c:pt>
                <c:pt idx="11623">
                  <c:v>0</c:v>
                </c:pt>
                <c:pt idx="11624">
                  <c:v>0</c:v>
                </c:pt>
                <c:pt idx="11625">
                  <c:v>0</c:v>
                </c:pt>
                <c:pt idx="11626">
                  <c:v>0</c:v>
                </c:pt>
                <c:pt idx="11627">
                  <c:v>0</c:v>
                </c:pt>
                <c:pt idx="11628">
                  <c:v>0</c:v>
                </c:pt>
                <c:pt idx="11629">
                  <c:v>4</c:v>
                </c:pt>
                <c:pt idx="11630">
                  <c:v>0</c:v>
                </c:pt>
                <c:pt idx="11631">
                  <c:v>0</c:v>
                </c:pt>
                <c:pt idx="11632">
                  <c:v>0</c:v>
                </c:pt>
                <c:pt idx="11633">
                  <c:v>0</c:v>
                </c:pt>
                <c:pt idx="11634">
                  <c:v>3</c:v>
                </c:pt>
                <c:pt idx="11635">
                  <c:v>4</c:v>
                </c:pt>
                <c:pt idx="11636">
                  <c:v>1</c:v>
                </c:pt>
                <c:pt idx="11637">
                  <c:v>0</c:v>
                </c:pt>
                <c:pt idx="11638">
                  <c:v>3</c:v>
                </c:pt>
                <c:pt idx="11639">
                  <c:v>6</c:v>
                </c:pt>
                <c:pt idx="11640">
                  <c:v>3</c:v>
                </c:pt>
                <c:pt idx="11641">
                  <c:v>0</c:v>
                </c:pt>
                <c:pt idx="11642">
                  <c:v>0</c:v>
                </c:pt>
                <c:pt idx="11643">
                  <c:v>0</c:v>
                </c:pt>
                <c:pt idx="11644">
                  <c:v>1</c:v>
                </c:pt>
                <c:pt idx="11645">
                  <c:v>0</c:v>
                </c:pt>
                <c:pt idx="11646">
                  <c:v>0</c:v>
                </c:pt>
                <c:pt idx="11647">
                  <c:v>2</c:v>
                </c:pt>
                <c:pt idx="11648">
                  <c:v>3</c:v>
                </c:pt>
                <c:pt idx="11649">
                  <c:v>0</c:v>
                </c:pt>
                <c:pt idx="11650">
                  <c:v>0</c:v>
                </c:pt>
                <c:pt idx="11651">
                  <c:v>0</c:v>
                </c:pt>
                <c:pt idx="11652">
                  <c:v>0</c:v>
                </c:pt>
                <c:pt idx="11653">
                  <c:v>0</c:v>
                </c:pt>
                <c:pt idx="11654">
                  <c:v>1</c:v>
                </c:pt>
                <c:pt idx="11655">
                  <c:v>1</c:v>
                </c:pt>
                <c:pt idx="11656">
                  <c:v>0</c:v>
                </c:pt>
                <c:pt idx="11657">
                  <c:v>0</c:v>
                </c:pt>
                <c:pt idx="11658">
                  <c:v>0</c:v>
                </c:pt>
                <c:pt idx="11659">
                  <c:v>0</c:v>
                </c:pt>
                <c:pt idx="11660">
                  <c:v>0</c:v>
                </c:pt>
                <c:pt idx="11661">
                  <c:v>0</c:v>
                </c:pt>
                <c:pt idx="11662">
                  <c:v>0</c:v>
                </c:pt>
                <c:pt idx="11663">
                  <c:v>0</c:v>
                </c:pt>
                <c:pt idx="11664">
                  <c:v>0</c:v>
                </c:pt>
                <c:pt idx="11665">
                  <c:v>0</c:v>
                </c:pt>
                <c:pt idx="11666">
                  <c:v>0</c:v>
                </c:pt>
                <c:pt idx="11667">
                  <c:v>0</c:v>
                </c:pt>
                <c:pt idx="11668">
                  <c:v>0</c:v>
                </c:pt>
                <c:pt idx="11669">
                  <c:v>0</c:v>
                </c:pt>
                <c:pt idx="11670">
                  <c:v>0</c:v>
                </c:pt>
                <c:pt idx="11671">
                  <c:v>0</c:v>
                </c:pt>
                <c:pt idx="11672">
                  <c:v>0</c:v>
                </c:pt>
                <c:pt idx="11673">
                  <c:v>0</c:v>
                </c:pt>
                <c:pt idx="11674">
                  <c:v>0</c:v>
                </c:pt>
                <c:pt idx="11675">
                  <c:v>0</c:v>
                </c:pt>
                <c:pt idx="11676">
                  <c:v>0</c:v>
                </c:pt>
                <c:pt idx="11677">
                  <c:v>0</c:v>
                </c:pt>
                <c:pt idx="11678">
                  <c:v>0</c:v>
                </c:pt>
                <c:pt idx="11679">
                  <c:v>0</c:v>
                </c:pt>
                <c:pt idx="11680">
                  <c:v>0</c:v>
                </c:pt>
                <c:pt idx="11681">
                  <c:v>0</c:v>
                </c:pt>
                <c:pt idx="11682">
                  <c:v>0</c:v>
                </c:pt>
                <c:pt idx="11683">
                  <c:v>0</c:v>
                </c:pt>
                <c:pt idx="11684">
                  <c:v>0</c:v>
                </c:pt>
                <c:pt idx="11685">
                  <c:v>0</c:v>
                </c:pt>
                <c:pt idx="11686">
                  <c:v>0</c:v>
                </c:pt>
                <c:pt idx="11687">
                  <c:v>0</c:v>
                </c:pt>
                <c:pt idx="11688">
                  <c:v>0</c:v>
                </c:pt>
                <c:pt idx="11689">
                  <c:v>0</c:v>
                </c:pt>
                <c:pt idx="11690">
                  <c:v>1</c:v>
                </c:pt>
                <c:pt idx="11691">
                  <c:v>0</c:v>
                </c:pt>
                <c:pt idx="11692">
                  <c:v>0</c:v>
                </c:pt>
                <c:pt idx="11693">
                  <c:v>0</c:v>
                </c:pt>
                <c:pt idx="11694">
                  <c:v>0</c:v>
                </c:pt>
                <c:pt idx="11695">
                  <c:v>0</c:v>
                </c:pt>
                <c:pt idx="11696">
                  <c:v>0</c:v>
                </c:pt>
                <c:pt idx="11697">
                  <c:v>0</c:v>
                </c:pt>
                <c:pt idx="11698">
                  <c:v>0</c:v>
                </c:pt>
                <c:pt idx="11699">
                  <c:v>1</c:v>
                </c:pt>
                <c:pt idx="11700">
                  <c:v>0</c:v>
                </c:pt>
                <c:pt idx="11701">
                  <c:v>0</c:v>
                </c:pt>
                <c:pt idx="11702">
                  <c:v>0</c:v>
                </c:pt>
                <c:pt idx="11703">
                  <c:v>0</c:v>
                </c:pt>
                <c:pt idx="11704">
                  <c:v>0</c:v>
                </c:pt>
                <c:pt idx="11705">
                  <c:v>0</c:v>
                </c:pt>
                <c:pt idx="11706">
                  <c:v>0</c:v>
                </c:pt>
                <c:pt idx="11707">
                  <c:v>0</c:v>
                </c:pt>
                <c:pt idx="11708">
                  <c:v>2</c:v>
                </c:pt>
                <c:pt idx="11709">
                  <c:v>2</c:v>
                </c:pt>
                <c:pt idx="11710">
                  <c:v>0</c:v>
                </c:pt>
                <c:pt idx="11711">
                  <c:v>0</c:v>
                </c:pt>
                <c:pt idx="11712">
                  <c:v>0</c:v>
                </c:pt>
                <c:pt idx="11713">
                  <c:v>0</c:v>
                </c:pt>
                <c:pt idx="11714">
                  <c:v>1</c:v>
                </c:pt>
                <c:pt idx="11715">
                  <c:v>0</c:v>
                </c:pt>
                <c:pt idx="11716">
                  <c:v>0</c:v>
                </c:pt>
                <c:pt idx="11717">
                  <c:v>0</c:v>
                </c:pt>
                <c:pt idx="11718">
                  <c:v>6</c:v>
                </c:pt>
                <c:pt idx="11719">
                  <c:v>0</c:v>
                </c:pt>
                <c:pt idx="11720">
                  <c:v>0</c:v>
                </c:pt>
                <c:pt idx="11721">
                  <c:v>0</c:v>
                </c:pt>
                <c:pt idx="11722">
                  <c:v>0</c:v>
                </c:pt>
                <c:pt idx="11723">
                  <c:v>1</c:v>
                </c:pt>
                <c:pt idx="11724">
                  <c:v>0</c:v>
                </c:pt>
                <c:pt idx="11725">
                  <c:v>1</c:v>
                </c:pt>
                <c:pt idx="11726">
                  <c:v>0</c:v>
                </c:pt>
                <c:pt idx="11727">
                  <c:v>0</c:v>
                </c:pt>
                <c:pt idx="11728">
                  <c:v>0</c:v>
                </c:pt>
                <c:pt idx="11729">
                  <c:v>0</c:v>
                </c:pt>
                <c:pt idx="11730">
                  <c:v>0</c:v>
                </c:pt>
                <c:pt idx="11731">
                  <c:v>3</c:v>
                </c:pt>
                <c:pt idx="11732">
                  <c:v>0</c:v>
                </c:pt>
                <c:pt idx="11733">
                  <c:v>0</c:v>
                </c:pt>
                <c:pt idx="11734">
                  <c:v>1</c:v>
                </c:pt>
                <c:pt idx="11735">
                  <c:v>3</c:v>
                </c:pt>
                <c:pt idx="11736">
                  <c:v>0</c:v>
                </c:pt>
                <c:pt idx="11737">
                  <c:v>0</c:v>
                </c:pt>
                <c:pt idx="11738">
                  <c:v>0</c:v>
                </c:pt>
                <c:pt idx="11739">
                  <c:v>0</c:v>
                </c:pt>
                <c:pt idx="11740">
                  <c:v>0</c:v>
                </c:pt>
                <c:pt idx="11741">
                  <c:v>0</c:v>
                </c:pt>
                <c:pt idx="11742">
                  <c:v>0</c:v>
                </c:pt>
                <c:pt idx="11743">
                  <c:v>1</c:v>
                </c:pt>
                <c:pt idx="11744">
                  <c:v>0</c:v>
                </c:pt>
                <c:pt idx="11745">
                  <c:v>1</c:v>
                </c:pt>
                <c:pt idx="11746">
                  <c:v>0</c:v>
                </c:pt>
                <c:pt idx="11747">
                  <c:v>1</c:v>
                </c:pt>
                <c:pt idx="11748">
                  <c:v>0</c:v>
                </c:pt>
                <c:pt idx="11749">
                  <c:v>0</c:v>
                </c:pt>
                <c:pt idx="11750">
                  <c:v>0</c:v>
                </c:pt>
                <c:pt idx="11751">
                  <c:v>0</c:v>
                </c:pt>
                <c:pt idx="11752">
                  <c:v>0</c:v>
                </c:pt>
                <c:pt idx="11753">
                  <c:v>0</c:v>
                </c:pt>
                <c:pt idx="11754">
                  <c:v>0</c:v>
                </c:pt>
                <c:pt idx="11755">
                  <c:v>0</c:v>
                </c:pt>
                <c:pt idx="11756">
                  <c:v>0</c:v>
                </c:pt>
                <c:pt idx="11757">
                  <c:v>0</c:v>
                </c:pt>
                <c:pt idx="11758">
                  <c:v>0</c:v>
                </c:pt>
                <c:pt idx="11759">
                  <c:v>0</c:v>
                </c:pt>
                <c:pt idx="11760">
                  <c:v>0</c:v>
                </c:pt>
                <c:pt idx="11761">
                  <c:v>0</c:v>
                </c:pt>
                <c:pt idx="11762">
                  <c:v>0</c:v>
                </c:pt>
                <c:pt idx="11763">
                  <c:v>0</c:v>
                </c:pt>
                <c:pt idx="11764">
                  <c:v>0</c:v>
                </c:pt>
                <c:pt idx="11765">
                  <c:v>0</c:v>
                </c:pt>
                <c:pt idx="11766">
                  <c:v>0</c:v>
                </c:pt>
                <c:pt idx="11767">
                  <c:v>0</c:v>
                </c:pt>
                <c:pt idx="11768">
                  <c:v>0</c:v>
                </c:pt>
                <c:pt idx="11769">
                  <c:v>0</c:v>
                </c:pt>
                <c:pt idx="11770">
                  <c:v>0</c:v>
                </c:pt>
                <c:pt idx="11771">
                  <c:v>0</c:v>
                </c:pt>
                <c:pt idx="11772">
                  <c:v>0</c:v>
                </c:pt>
                <c:pt idx="11773">
                  <c:v>0</c:v>
                </c:pt>
                <c:pt idx="11774">
                  <c:v>0</c:v>
                </c:pt>
                <c:pt idx="11775">
                  <c:v>0</c:v>
                </c:pt>
                <c:pt idx="11776">
                  <c:v>0</c:v>
                </c:pt>
                <c:pt idx="11777">
                  <c:v>0</c:v>
                </c:pt>
                <c:pt idx="11778">
                  <c:v>0</c:v>
                </c:pt>
                <c:pt idx="11779">
                  <c:v>0</c:v>
                </c:pt>
                <c:pt idx="11780">
                  <c:v>0</c:v>
                </c:pt>
                <c:pt idx="11781">
                  <c:v>0</c:v>
                </c:pt>
                <c:pt idx="11782">
                  <c:v>0</c:v>
                </c:pt>
                <c:pt idx="11783">
                  <c:v>0</c:v>
                </c:pt>
                <c:pt idx="11784">
                  <c:v>0</c:v>
                </c:pt>
                <c:pt idx="11785">
                  <c:v>0</c:v>
                </c:pt>
                <c:pt idx="11786">
                  <c:v>0</c:v>
                </c:pt>
                <c:pt idx="11787">
                  <c:v>0</c:v>
                </c:pt>
                <c:pt idx="11788">
                  <c:v>0</c:v>
                </c:pt>
                <c:pt idx="11789">
                  <c:v>0</c:v>
                </c:pt>
                <c:pt idx="11790">
                  <c:v>0</c:v>
                </c:pt>
                <c:pt idx="11791">
                  <c:v>0</c:v>
                </c:pt>
                <c:pt idx="11792">
                  <c:v>0</c:v>
                </c:pt>
                <c:pt idx="11793">
                  <c:v>0</c:v>
                </c:pt>
                <c:pt idx="11794">
                  <c:v>0</c:v>
                </c:pt>
                <c:pt idx="11795">
                  <c:v>0</c:v>
                </c:pt>
                <c:pt idx="11796">
                  <c:v>0</c:v>
                </c:pt>
                <c:pt idx="11797">
                  <c:v>0</c:v>
                </c:pt>
                <c:pt idx="11798">
                  <c:v>0</c:v>
                </c:pt>
                <c:pt idx="11799">
                  <c:v>0</c:v>
                </c:pt>
                <c:pt idx="11800">
                  <c:v>0</c:v>
                </c:pt>
                <c:pt idx="11801">
                  <c:v>0</c:v>
                </c:pt>
                <c:pt idx="11802">
                  <c:v>0</c:v>
                </c:pt>
                <c:pt idx="11803">
                  <c:v>0</c:v>
                </c:pt>
                <c:pt idx="11804">
                  <c:v>0</c:v>
                </c:pt>
                <c:pt idx="11805">
                  <c:v>0</c:v>
                </c:pt>
                <c:pt idx="11806">
                  <c:v>2</c:v>
                </c:pt>
                <c:pt idx="11807">
                  <c:v>0</c:v>
                </c:pt>
                <c:pt idx="11808">
                  <c:v>0</c:v>
                </c:pt>
                <c:pt idx="11809">
                  <c:v>0</c:v>
                </c:pt>
                <c:pt idx="11810">
                  <c:v>0</c:v>
                </c:pt>
                <c:pt idx="11811">
                  <c:v>0</c:v>
                </c:pt>
                <c:pt idx="11812">
                  <c:v>0</c:v>
                </c:pt>
                <c:pt idx="11813">
                  <c:v>0</c:v>
                </c:pt>
                <c:pt idx="11814">
                  <c:v>0</c:v>
                </c:pt>
                <c:pt idx="11815">
                  <c:v>0</c:v>
                </c:pt>
                <c:pt idx="11816">
                  <c:v>0</c:v>
                </c:pt>
                <c:pt idx="11817">
                  <c:v>0</c:v>
                </c:pt>
                <c:pt idx="11818">
                  <c:v>0</c:v>
                </c:pt>
                <c:pt idx="11819">
                  <c:v>0</c:v>
                </c:pt>
                <c:pt idx="11820">
                  <c:v>0</c:v>
                </c:pt>
                <c:pt idx="11821">
                  <c:v>0</c:v>
                </c:pt>
                <c:pt idx="11822">
                  <c:v>0</c:v>
                </c:pt>
                <c:pt idx="11823">
                  <c:v>0</c:v>
                </c:pt>
                <c:pt idx="11824">
                  <c:v>0</c:v>
                </c:pt>
                <c:pt idx="11825">
                  <c:v>0</c:v>
                </c:pt>
                <c:pt idx="11826">
                  <c:v>0</c:v>
                </c:pt>
                <c:pt idx="11827">
                  <c:v>0</c:v>
                </c:pt>
                <c:pt idx="11828">
                  <c:v>0</c:v>
                </c:pt>
                <c:pt idx="11829">
                  <c:v>0</c:v>
                </c:pt>
                <c:pt idx="11830">
                  <c:v>0</c:v>
                </c:pt>
                <c:pt idx="11831">
                  <c:v>0</c:v>
                </c:pt>
                <c:pt idx="11832">
                  <c:v>0</c:v>
                </c:pt>
                <c:pt idx="11833">
                  <c:v>0</c:v>
                </c:pt>
                <c:pt idx="11834">
                  <c:v>0</c:v>
                </c:pt>
                <c:pt idx="11835">
                  <c:v>0</c:v>
                </c:pt>
                <c:pt idx="11836">
                  <c:v>0</c:v>
                </c:pt>
                <c:pt idx="11837">
                  <c:v>0</c:v>
                </c:pt>
                <c:pt idx="11838">
                  <c:v>0</c:v>
                </c:pt>
                <c:pt idx="11839">
                  <c:v>0</c:v>
                </c:pt>
                <c:pt idx="11840">
                  <c:v>0</c:v>
                </c:pt>
                <c:pt idx="11841">
                  <c:v>0</c:v>
                </c:pt>
                <c:pt idx="11842">
                  <c:v>1</c:v>
                </c:pt>
                <c:pt idx="11843">
                  <c:v>0</c:v>
                </c:pt>
                <c:pt idx="11844">
                  <c:v>0</c:v>
                </c:pt>
                <c:pt idx="11845">
                  <c:v>0</c:v>
                </c:pt>
                <c:pt idx="11846">
                  <c:v>2</c:v>
                </c:pt>
                <c:pt idx="11847">
                  <c:v>0</c:v>
                </c:pt>
                <c:pt idx="11848">
                  <c:v>0</c:v>
                </c:pt>
                <c:pt idx="11849">
                  <c:v>0</c:v>
                </c:pt>
                <c:pt idx="11850">
                  <c:v>0</c:v>
                </c:pt>
                <c:pt idx="11851">
                  <c:v>0</c:v>
                </c:pt>
                <c:pt idx="11852">
                  <c:v>0</c:v>
                </c:pt>
                <c:pt idx="11853">
                  <c:v>0</c:v>
                </c:pt>
                <c:pt idx="11854">
                  <c:v>0</c:v>
                </c:pt>
                <c:pt idx="11855">
                  <c:v>0</c:v>
                </c:pt>
                <c:pt idx="11856">
                  <c:v>0</c:v>
                </c:pt>
                <c:pt idx="11857">
                  <c:v>0</c:v>
                </c:pt>
                <c:pt idx="11858">
                  <c:v>0</c:v>
                </c:pt>
                <c:pt idx="11859">
                  <c:v>0</c:v>
                </c:pt>
                <c:pt idx="11860">
                  <c:v>0</c:v>
                </c:pt>
                <c:pt idx="11861">
                  <c:v>0</c:v>
                </c:pt>
                <c:pt idx="11862">
                  <c:v>0</c:v>
                </c:pt>
                <c:pt idx="11863">
                  <c:v>0</c:v>
                </c:pt>
                <c:pt idx="11864">
                  <c:v>0</c:v>
                </c:pt>
                <c:pt idx="11865">
                  <c:v>0</c:v>
                </c:pt>
                <c:pt idx="11866">
                  <c:v>0</c:v>
                </c:pt>
                <c:pt idx="11867">
                  <c:v>0</c:v>
                </c:pt>
                <c:pt idx="11868">
                  <c:v>0</c:v>
                </c:pt>
                <c:pt idx="11869">
                  <c:v>0</c:v>
                </c:pt>
                <c:pt idx="11870">
                  <c:v>0</c:v>
                </c:pt>
                <c:pt idx="11871">
                  <c:v>0</c:v>
                </c:pt>
                <c:pt idx="11872">
                  <c:v>0</c:v>
                </c:pt>
                <c:pt idx="11873">
                  <c:v>0</c:v>
                </c:pt>
                <c:pt idx="11874">
                  <c:v>0</c:v>
                </c:pt>
                <c:pt idx="11875">
                  <c:v>0</c:v>
                </c:pt>
                <c:pt idx="11876">
                  <c:v>0</c:v>
                </c:pt>
                <c:pt idx="11877">
                  <c:v>0</c:v>
                </c:pt>
                <c:pt idx="11878">
                  <c:v>0</c:v>
                </c:pt>
                <c:pt idx="11879">
                  <c:v>0</c:v>
                </c:pt>
                <c:pt idx="11880">
                  <c:v>2</c:v>
                </c:pt>
                <c:pt idx="11881">
                  <c:v>0</c:v>
                </c:pt>
                <c:pt idx="11882">
                  <c:v>0</c:v>
                </c:pt>
                <c:pt idx="11883">
                  <c:v>0</c:v>
                </c:pt>
                <c:pt idx="11884">
                  <c:v>0</c:v>
                </c:pt>
                <c:pt idx="11885">
                  <c:v>0</c:v>
                </c:pt>
                <c:pt idx="11886">
                  <c:v>0</c:v>
                </c:pt>
                <c:pt idx="11887">
                  <c:v>0</c:v>
                </c:pt>
                <c:pt idx="11888">
                  <c:v>0</c:v>
                </c:pt>
                <c:pt idx="11889">
                  <c:v>0</c:v>
                </c:pt>
                <c:pt idx="11890">
                  <c:v>0</c:v>
                </c:pt>
                <c:pt idx="11891">
                  <c:v>0</c:v>
                </c:pt>
                <c:pt idx="11892">
                  <c:v>0</c:v>
                </c:pt>
                <c:pt idx="11893">
                  <c:v>0</c:v>
                </c:pt>
                <c:pt idx="11894">
                  <c:v>0</c:v>
                </c:pt>
                <c:pt idx="11895">
                  <c:v>0</c:v>
                </c:pt>
                <c:pt idx="11896">
                  <c:v>0</c:v>
                </c:pt>
                <c:pt idx="11897">
                  <c:v>0</c:v>
                </c:pt>
                <c:pt idx="11898">
                  <c:v>0</c:v>
                </c:pt>
                <c:pt idx="11899">
                  <c:v>0</c:v>
                </c:pt>
                <c:pt idx="11900">
                  <c:v>0</c:v>
                </c:pt>
                <c:pt idx="11901">
                  <c:v>0</c:v>
                </c:pt>
                <c:pt idx="11902">
                  <c:v>0</c:v>
                </c:pt>
                <c:pt idx="11903">
                  <c:v>0</c:v>
                </c:pt>
                <c:pt idx="11904">
                  <c:v>0</c:v>
                </c:pt>
                <c:pt idx="11905">
                  <c:v>0</c:v>
                </c:pt>
                <c:pt idx="11906">
                  <c:v>0</c:v>
                </c:pt>
                <c:pt idx="11907">
                  <c:v>0</c:v>
                </c:pt>
                <c:pt idx="11908">
                  <c:v>0</c:v>
                </c:pt>
                <c:pt idx="11909">
                  <c:v>0</c:v>
                </c:pt>
                <c:pt idx="11910">
                  <c:v>0</c:v>
                </c:pt>
                <c:pt idx="11911">
                  <c:v>0</c:v>
                </c:pt>
                <c:pt idx="11912">
                  <c:v>2</c:v>
                </c:pt>
                <c:pt idx="11913">
                  <c:v>0</c:v>
                </c:pt>
                <c:pt idx="11914">
                  <c:v>0</c:v>
                </c:pt>
                <c:pt idx="11915">
                  <c:v>0</c:v>
                </c:pt>
                <c:pt idx="11916">
                  <c:v>0</c:v>
                </c:pt>
                <c:pt idx="11917">
                  <c:v>0</c:v>
                </c:pt>
                <c:pt idx="11918">
                  <c:v>0</c:v>
                </c:pt>
                <c:pt idx="11919">
                  <c:v>0</c:v>
                </c:pt>
                <c:pt idx="11920">
                  <c:v>0</c:v>
                </c:pt>
                <c:pt idx="11921">
                  <c:v>0</c:v>
                </c:pt>
                <c:pt idx="11922">
                  <c:v>11</c:v>
                </c:pt>
                <c:pt idx="11923">
                  <c:v>2</c:v>
                </c:pt>
                <c:pt idx="11924">
                  <c:v>0</c:v>
                </c:pt>
                <c:pt idx="11925">
                  <c:v>0</c:v>
                </c:pt>
                <c:pt idx="11926">
                  <c:v>0</c:v>
                </c:pt>
                <c:pt idx="11927">
                  <c:v>0</c:v>
                </c:pt>
                <c:pt idx="11928">
                  <c:v>0</c:v>
                </c:pt>
                <c:pt idx="11929">
                  <c:v>0</c:v>
                </c:pt>
                <c:pt idx="11930">
                  <c:v>0</c:v>
                </c:pt>
                <c:pt idx="11931">
                  <c:v>0</c:v>
                </c:pt>
                <c:pt idx="11932">
                  <c:v>0</c:v>
                </c:pt>
                <c:pt idx="11933">
                  <c:v>0</c:v>
                </c:pt>
                <c:pt idx="11934">
                  <c:v>0</c:v>
                </c:pt>
                <c:pt idx="11935">
                  <c:v>0</c:v>
                </c:pt>
                <c:pt idx="11936">
                  <c:v>0</c:v>
                </c:pt>
                <c:pt idx="11937">
                  <c:v>0</c:v>
                </c:pt>
                <c:pt idx="11938">
                  <c:v>0</c:v>
                </c:pt>
                <c:pt idx="11939">
                  <c:v>0</c:v>
                </c:pt>
                <c:pt idx="11940">
                  <c:v>0</c:v>
                </c:pt>
                <c:pt idx="11941">
                  <c:v>0</c:v>
                </c:pt>
                <c:pt idx="11942">
                  <c:v>0</c:v>
                </c:pt>
                <c:pt idx="11943">
                  <c:v>0</c:v>
                </c:pt>
                <c:pt idx="11944">
                  <c:v>0</c:v>
                </c:pt>
                <c:pt idx="11945">
                  <c:v>0</c:v>
                </c:pt>
                <c:pt idx="11946">
                  <c:v>0</c:v>
                </c:pt>
                <c:pt idx="11947">
                  <c:v>0</c:v>
                </c:pt>
                <c:pt idx="11948">
                  <c:v>0</c:v>
                </c:pt>
                <c:pt idx="11949">
                  <c:v>0</c:v>
                </c:pt>
                <c:pt idx="11950">
                  <c:v>0</c:v>
                </c:pt>
                <c:pt idx="11951">
                  <c:v>0</c:v>
                </c:pt>
                <c:pt idx="11952">
                  <c:v>0</c:v>
                </c:pt>
                <c:pt idx="11953">
                  <c:v>0</c:v>
                </c:pt>
                <c:pt idx="11954">
                  <c:v>0</c:v>
                </c:pt>
                <c:pt idx="11955">
                  <c:v>0</c:v>
                </c:pt>
                <c:pt idx="11956">
                  <c:v>0</c:v>
                </c:pt>
                <c:pt idx="11957">
                  <c:v>0</c:v>
                </c:pt>
                <c:pt idx="11958">
                  <c:v>1</c:v>
                </c:pt>
                <c:pt idx="11959">
                  <c:v>0</c:v>
                </c:pt>
                <c:pt idx="11960">
                  <c:v>0</c:v>
                </c:pt>
                <c:pt idx="11961">
                  <c:v>0</c:v>
                </c:pt>
                <c:pt idx="11962">
                  <c:v>1</c:v>
                </c:pt>
                <c:pt idx="11963">
                  <c:v>0</c:v>
                </c:pt>
                <c:pt idx="11964">
                  <c:v>0</c:v>
                </c:pt>
                <c:pt idx="11965">
                  <c:v>0</c:v>
                </c:pt>
                <c:pt idx="11966">
                  <c:v>0</c:v>
                </c:pt>
                <c:pt idx="11967">
                  <c:v>0</c:v>
                </c:pt>
                <c:pt idx="11968">
                  <c:v>0</c:v>
                </c:pt>
                <c:pt idx="11969">
                  <c:v>2</c:v>
                </c:pt>
                <c:pt idx="11970">
                  <c:v>3</c:v>
                </c:pt>
                <c:pt idx="11971">
                  <c:v>0</c:v>
                </c:pt>
                <c:pt idx="11972">
                  <c:v>0</c:v>
                </c:pt>
                <c:pt idx="11973">
                  <c:v>0</c:v>
                </c:pt>
                <c:pt idx="11974">
                  <c:v>0</c:v>
                </c:pt>
                <c:pt idx="11975">
                  <c:v>0</c:v>
                </c:pt>
                <c:pt idx="11976">
                  <c:v>0</c:v>
                </c:pt>
                <c:pt idx="11977">
                  <c:v>0</c:v>
                </c:pt>
                <c:pt idx="11978">
                  <c:v>0</c:v>
                </c:pt>
                <c:pt idx="11979">
                  <c:v>0</c:v>
                </c:pt>
                <c:pt idx="11980">
                  <c:v>0</c:v>
                </c:pt>
                <c:pt idx="11981">
                  <c:v>0</c:v>
                </c:pt>
                <c:pt idx="11982">
                  <c:v>0</c:v>
                </c:pt>
                <c:pt idx="11983">
                  <c:v>0</c:v>
                </c:pt>
                <c:pt idx="11984">
                  <c:v>0</c:v>
                </c:pt>
                <c:pt idx="11985">
                  <c:v>0</c:v>
                </c:pt>
                <c:pt idx="11986">
                  <c:v>0</c:v>
                </c:pt>
                <c:pt idx="11987">
                  <c:v>0</c:v>
                </c:pt>
                <c:pt idx="11988">
                  <c:v>0</c:v>
                </c:pt>
                <c:pt idx="11989">
                  <c:v>0</c:v>
                </c:pt>
                <c:pt idx="11990">
                  <c:v>0</c:v>
                </c:pt>
                <c:pt idx="11991">
                  <c:v>0</c:v>
                </c:pt>
                <c:pt idx="11992">
                  <c:v>0</c:v>
                </c:pt>
                <c:pt idx="11993">
                  <c:v>0</c:v>
                </c:pt>
                <c:pt idx="11994">
                  <c:v>0</c:v>
                </c:pt>
                <c:pt idx="11995">
                  <c:v>0</c:v>
                </c:pt>
                <c:pt idx="11996">
                  <c:v>0</c:v>
                </c:pt>
                <c:pt idx="11997">
                  <c:v>0</c:v>
                </c:pt>
                <c:pt idx="11998">
                  <c:v>0</c:v>
                </c:pt>
                <c:pt idx="11999">
                  <c:v>0</c:v>
                </c:pt>
                <c:pt idx="12000">
                  <c:v>0</c:v>
                </c:pt>
                <c:pt idx="12001">
                  <c:v>0</c:v>
                </c:pt>
                <c:pt idx="12002">
                  <c:v>0</c:v>
                </c:pt>
                <c:pt idx="12003">
                  <c:v>0</c:v>
                </c:pt>
                <c:pt idx="12004">
                  <c:v>0</c:v>
                </c:pt>
                <c:pt idx="12005">
                  <c:v>0</c:v>
                </c:pt>
                <c:pt idx="12006">
                  <c:v>0</c:v>
                </c:pt>
                <c:pt idx="12007">
                  <c:v>0</c:v>
                </c:pt>
                <c:pt idx="12008">
                  <c:v>1</c:v>
                </c:pt>
                <c:pt idx="12009">
                  <c:v>0</c:v>
                </c:pt>
                <c:pt idx="12010">
                  <c:v>0</c:v>
                </c:pt>
                <c:pt idx="12011">
                  <c:v>0</c:v>
                </c:pt>
                <c:pt idx="12012">
                  <c:v>0</c:v>
                </c:pt>
                <c:pt idx="12013">
                  <c:v>0</c:v>
                </c:pt>
                <c:pt idx="12014">
                  <c:v>0</c:v>
                </c:pt>
                <c:pt idx="12015">
                  <c:v>0</c:v>
                </c:pt>
                <c:pt idx="12016">
                  <c:v>0</c:v>
                </c:pt>
                <c:pt idx="12017">
                  <c:v>0</c:v>
                </c:pt>
                <c:pt idx="12018">
                  <c:v>0</c:v>
                </c:pt>
                <c:pt idx="12019">
                  <c:v>0</c:v>
                </c:pt>
                <c:pt idx="12020">
                  <c:v>0</c:v>
                </c:pt>
                <c:pt idx="12021">
                  <c:v>0</c:v>
                </c:pt>
                <c:pt idx="12022">
                  <c:v>0</c:v>
                </c:pt>
                <c:pt idx="12023">
                  <c:v>0</c:v>
                </c:pt>
                <c:pt idx="12024">
                  <c:v>0</c:v>
                </c:pt>
                <c:pt idx="12025">
                  <c:v>0</c:v>
                </c:pt>
                <c:pt idx="12026">
                  <c:v>0</c:v>
                </c:pt>
                <c:pt idx="12027">
                  <c:v>0</c:v>
                </c:pt>
                <c:pt idx="12028">
                  <c:v>0</c:v>
                </c:pt>
                <c:pt idx="12029">
                  <c:v>0</c:v>
                </c:pt>
                <c:pt idx="12030">
                  <c:v>0</c:v>
                </c:pt>
                <c:pt idx="12031">
                  <c:v>0</c:v>
                </c:pt>
                <c:pt idx="12032">
                  <c:v>0</c:v>
                </c:pt>
                <c:pt idx="12033">
                  <c:v>0</c:v>
                </c:pt>
                <c:pt idx="12034">
                  <c:v>0</c:v>
                </c:pt>
                <c:pt idx="12035">
                  <c:v>0</c:v>
                </c:pt>
                <c:pt idx="12036">
                  <c:v>0</c:v>
                </c:pt>
                <c:pt idx="12037">
                  <c:v>0</c:v>
                </c:pt>
                <c:pt idx="12038">
                  <c:v>0</c:v>
                </c:pt>
                <c:pt idx="12039">
                  <c:v>0</c:v>
                </c:pt>
                <c:pt idx="12040">
                  <c:v>0</c:v>
                </c:pt>
                <c:pt idx="12041">
                  <c:v>0</c:v>
                </c:pt>
                <c:pt idx="12042">
                  <c:v>0</c:v>
                </c:pt>
                <c:pt idx="12043">
                  <c:v>0</c:v>
                </c:pt>
                <c:pt idx="12044">
                  <c:v>0</c:v>
                </c:pt>
                <c:pt idx="12045">
                  <c:v>0</c:v>
                </c:pt>
                <c:pt idx="12046">
                  <c:v>0</c:v>
                </c:pt>
                <c:pt idx="12047">
                  <c:v>4</c:v>
                </c:pt>
                <c:pt idx="12048">
                  <c:v>0</c:v>
                </c:pt>
                <c:pt idx="12049">
                  <c:v>0</c:v>
                </c:pt>
                <c:pt idx="12050">
                  <c:v>0</c:v>
                </c:pt>
                <c:pt idx="12051">
                  <c:v>0</c:v>
                </c:pt>
                <c:pt idx="12052">
                  <c:v>0</c:v>
                </c:pt>
                <c:pt idx="12053">
                  <c:v>0</c:v>
                </c:pt>
                <c:pt idx="12054">
                  <c:v>0</c:v>
                </c:pt>
                <c:pt idx="12055">
                  <c:v>0</c:v>
                </c:pt>
                <c:pt idx="12056">
                  <c:v>0</c:v>
                </c:pt>
                <c:pt idx="12057">
                  <c:v>0</c:v>
                </c:pt>
                <c:pt idx="12058">
                  <c:v>0</c:v>
                </c:pt>
                <c:pt idx="12059">
                  <c:v>0</c:v>
                </c:pt>
                <c:pt idx="12060">
                  <c:v>0</c:v>
                </c:pt>
                <c:pt idx="12061">
                  <c:v>1</c:v>
                </c:pt>
                <c:pt idx="12062">
                  <c:v>0</c:v>
                </c:pt>
                <c:pt idx="12063">
                  <c:v>0</c:v>
                </c:pt>
                <c:pt idx="12064">
                  <c:v>0</c:v>
                </c:pt>
                <c:pt idx="12065">
                  <c:v>0</c:v>
                </c:pt>
                <c:pt idx="12066">
                  <c:v>0</c:v>
                </c:pt>
                <c:pt idx="12067">
                  <c:v>0</c:v>
                </c:pt>
                <c:pt idx="12068">
                  <c:v>0</c:v>
                </c:pt>
                <c:pt idx="12069">
                  <c:v>0</c:v>
                </c:pt>
                <c:pt idx="12070">
                  <c:v>0</c:v>
                </c:pt>
                <c:pt idx="12071">
                  <c:v>0</c:v>
                </c:pt>
                <c:pt idx="12072">
                  <c:v>0</c:v>
                </c:pt>
                <c:pt idx="12073">
                  <c:v>0</c:v>
                </c:pt>
                <c:pt idx="12074">
                  <c:v>0</c:v>
                </c:pt>
                <c:pt idx="12075">
                  <c:v>0</c:v>
                </c:pt>
                <c:pt idx="12076">
                  <c:v>0</c:v>
                </c:pt>
                <c:pt idx="12077">
                  <c:v>0</c:v>
                </c:pt>
                <c:pt idx="12078">
                  <c:v>1</c:v>
                </c:pt>
                <c:pt idx="12079">
                  <c:v>0</c:v>
                </c:pt>
                <c:pt idx="12080">
                  <c:v>0</c:v>
                </c:pt>
                <c:pt idx="12081">
                  <c:v>0</c:v>
                </c:pt>
                <c:pt idx="12082">
                  <c:v>0</c:v>
                </c:pt>
                <c:pt idx="12083">
                  <c:v>0</c:v>
                </c:pt>
                <c:pt idx="12084">
                  <c:v>0</c:v>
                </c:pt>
                <c:pt idx="12085">
                  <c:v>0</c:v>
                </c:pt>
                <c:pt idx="12086">
                  <c:v>0</c:v>
                </c:pt>
                <c:pt idx="12087">
                  <c:v>2</c:v>
                </c:pt>
                <c:pt idx="12088">
                  <c:v>7</c:v>
                </c:pt>
                <c:pt idx="12089">
                  <c:v>6</c:v>
                </c:pt>
                <c:pt idx="12090">
                  <c:v>0</c:v>
                </c:pt>
                <c:pt idx="12091">
                  <c:v>1</c:v>
                </c:pt>
                <c:pt idx="12092">
                  <c:v>0</c:v>
                </c:pt>
                <c:pt idx="12093">
                  <c:v>0</c:v>
                </c:pt>
                <c:pt idx="12094">
                  <c:v>1</c:v>
                </c:pt>
                <c:pt idx="12095">
                  <c:v>3</c:v>
                </c:pt>
                <c:pt idx="12096">
                  <c:v>0</c:v>
                </c:pt>
                <c:pt idx="12097">
                  <c:v>0</c:v>
                </c:pt>
                <c:pt idx="12098">
                  <c:v>0</c:v>
                </c:pt>
                <c:pt idx="12099">
                  <c:v>0</c:v>
                </c:pt>
                <c:pt idx="12100">
                  <c:v>3</c:v>
                </c:pt>
                <c:pt idx="12101">
                  <c:v>0</c:v>
                </c:pt>
                <c:pt idx="12102">
                  <c:v>2</c:v>
                </c:pt>
                <c:pt idx="12103">
                  <c:v>0</c:v>
                </c:pt>
                <c:pt idx="12104">
                  <c:v>0</c:v>
                </c:pt>
                <c:pt idx="12105">
                  <c:v>0</c:v>
                </c:pt>
                <c:pt idx="12106">
                  <c:v>2</c:v>
                </c:pt>
                <c:pt idx="12107">
                  <c:v>3</c:v>
                </c:pt>
                <c:pt idx="12108">
                  <c:v>2</c:v>
                </c:pt>
                <c:pt idx="12109">
                  <c:v>1</c:v>
                </c:pt>
                <c:pt idx="12110">
                  <c:v>0</c:v>
                </c:pt>
                <c:pt idx="12111">
                  <c:v>0</c:v>
                </c:pt>
                <c:pt idx="12112">
                  <c:v>1</c:v>
                </c:pt>
                <c:pt idx="12113">
                  <c:v>0</c:v>
                </c:pt>
                <c:pt idx="12114">
                  <c:v>3</c:v>
                </c:pt>
                <c:pt idx="12115">
                  <c:v>0</c:v>
                </c:pt>
                <c:pt idx="12116">
                  <c:v>0</c:v>
                </c:pt>
                <c:pt idx="12117">
                  <c:v>9</c:v>
                </c:pt>
                <c:pt idx="12118">
                  <c:v>0</c:v>
                </c:pt>
                <c:pt idx="12119">
                  <c:v>0</c:v>
                </c:pt>
                <c:pt idx="12120">
                  <c:v>3</c:v>
                </c:pt>
                <c:pt idx="12121">
                  <c:v>0</c:v>
                </c:pt>
                <c:pt idx="12122">
                  <c:v>0</c:v>
                </c:pt>
                <c:pt idx="12123">
                  <c:v>0</c:v>
                </c:pt>
                <c:pt idx="12124">
                  <c:v>1</c:v>
                </c:pt>
                <c:pt idx="12125">
                  <c:v>4</c:v>
                </c:pt>
                <c:pt idx="12126">
                  <c:v>3</c:v>
                </c:pt>
                <c:pt idx="12127">
                  <c:v>0</c:v>
                </c:pt>
                <c:pt idx="12128">
                  <c:v>2</c:v>
                </c:pt>
                <c:pt idx="12129">
                  <c:v>0</c:v>
                </c:pt>
                <c:pt idx="12130">
                  <c:v>0</c:v>
                </c:pt>
                <c:pt idx="12131">
                  <c:v>0</c:v>
                </c:pt>
                <c:pt idx="12132">
                  <c:v>0</c:v>
                </c:pt>
                <c:pt idx="12133">
                  <c:v>0</c:v>
                </c:pt>
                <c:pt idx="12134">
                  <c:v>0</c:v>
                </c:pt>
                <c:pt idx="12135">
                  <c:v>0</c:v>
                </c:pt>
                <c:pt idx="12136">
                  <c:v>1</c:v>
                </c:pt>
                <c:pt idx="12137">
                  <c:v>0</c:v>
                </c:pt>
                <c:pt idx="12138">
                  <c:v>2</c:v>
                </c:pt>
                <c:pt idx="12139">
                  <c:v>0</c:v>
                </c:pt>
                <c:pt idx="12140">
                  <c:v>0</c:v>
                </c:pt>
                <c:pt idx="12141">
                  <c:v>2</c:v>
                </c:pt>
                <c:pt idx="12142">
                  <c:v>7</c:v>
                </c:pt>
                <c:pt idx="12143">
                  <c:v>1</c:v>
                </c:pt>
                <c:pt idx="12144">
                  <c:v>0</c:v>
                </c:pt>
                <c:pt idx="12145">
                  <c:v>0</c:v>
                </c:pt>
                <c:pt idx="12146">
                  <c:v>1</c:v>
                </c:pt>
                <c:pt idx="12147">
                  <c:v>4</c:v>
                </c:pt>
                <c:pt idx="12148">
                  <c:v>0</c:v>
                </c:pt>
                <c:pt idx="12149">
                  <c:v>0</c:v>
                </c:pt>
                <c:pt idx="12150">
                  <c:v>0</c:v>
                </c:pt>
                <c:pt idx="12151">
                  <c:v>1</c:v>
                </c:pt>
                <c:pt idx="12152">
                  <c:v>0</c:v>
                </c:pt>
                <c:pt idx="12153">
                  <c:v>0</c:v>
                </c:pt>
                <c:pt idx="12154">
                  <c:v>0</c:v>
                </c:pt>
                <c:pt idx="12155">
                  <c:v>0</c:v>
                </c:pt>
                <c:pt idx="12156">
                  <c:v>0</c:v>
                </c:pt>
                <c:pt idx="12157">
                  <c:v>0</c:v>
                </c:pt>
                <c:pt idx="12158">
                  <c:v>2</c:v>
                </c:pt>
                <c:pt idx="12159">
                  <c:v>0</c:v>
                </c:pt>
                <c:pt idx="12160">
                  <c:v>0</c:v>
                </c:pt>
                <c:pt idx="12161">
                  <c:v>0</c:v>
                </c:pt>
                <c:pt idx="12162">
                  <c:v>0</c:v>
                </c:pt>
                <c:pt idx="12163">
                  <c:v>0</c:v>
                </c:pt>
                <c:pt idx="12164">
                  <c:v>0</c:v>
                </c:pt>
                <c:pt idx="12165">
                  <c:v>0</c:v>
                </c:pt>
                <c:pt idx="12166">
                  <c:v>0</c:v>
                </c:pt>
                <c:pt idx="12167">
                  <c:v>0</c:v>
                </c:pt>
                <c:pt idx="12168">
                  <c:v>0</c:v>
                </c:pt>
                <c:pt idx="12169">
                  <c:v>1</c:v>
                </c:pt>
                <c:pt idx="12170">
                  <c:v>0</c:v>
                </c:pt>
                <c:pt idx="12171">
                  <c:v>0</c:v>
                </c:pt>
                <c:pt idx="12172">
                  <c:v>4</c:v>
                </c:pt>
                <c:pt idx="12173">
                  <c:v>1</c:v>
                </c:pt>
                <c:pt idx="12174">
                  <c:v>0</c:v>
                </c:pt>
                <c:pt idx="12175">
                  <c:v>0</c:v>
                </c:pt>
                <c:pt idx="12176">
                  <c:v>0</c:v>
                </c:pt>
                <c:pt idx="12177">
                  <c:v>0</c:v>
                </c:pt>
                <c:pt idx="12178">
                  <c:v>0</c:v>
                </c:pt>
                <c:pt idx="12179">
                  <c:v>2</c:v>
                </c:pt>
                <c:pt idx="12180">
                  <c:v>0</c:v>
                </c:pt>
                <c:pt idx="12181">
                  <c:v>6</c:v>
                </c:pt>
                <c:pt idx="12182">
                  <c:v>1</c:v>
                </c:pt>
                <c:pt idx="12183">
                  <c:v>4</c:v>
                </c:pt>
                <c:pt idx="12184">
                  <c:v>8</c:v>
                </c:pt>
                <c:pt idx="12185">
                  <c:v>0</c:v>
                </c:pt>
                <c:pt idx="12186">
                  <c:v>0</c:v>
                </c:pt>
                <c:pt idx="12187">
                  <c:v>1</c:v>
                </c:pt>
                <c:pt idx="12188">
                  <c:v>2</c:v>
                </c:pt>
                <c:pt idx="12189">
                  <c:v>0</c:v>
                </c:pt>
                <c:pt idx="12190">
                  <c:v>0</c:v>
                </c:pt>
                <c:pt idx="12191">
                  <c:v>1</c:v>
                </c:pt>
                <c:pt idx="12192">
                  <c:v>0</c:v>
                </c:pt>
                <c:pt idx="12193">
                  <c:v>4</c:v>
                </c:pt>
                <c:pt idx="12194">
                  <c:v>0</c:v>
                </c:pt>
                <c:pt idx="12195">
                  <c:v>4</c:v>
                </c:pt>
                <c:pt idx="12196">
                  <c:v>0</c:v>
                </c:pt>
                <c:pt idx="12197">
                  <c:v>1</c:v>
                </c:pt>
                <c:pt idx="12198">
                  <c:v>3</c:v>
                </c:pt>
                <c:pt idx="12199">
                  <c:v>7</c:v>
                </c:pt>
                <c:pt idx="12200">
                  <c:v>2</c:v>
                </c:pt>
                <c:pt idx="12201">
                  <c:v>0</c:v>
                </c:pt>
                <c:pt idx="12202">
                  <c:v>0</c:v>
                </c:pt>
                <c:pt idx="12203">
                  <c:v>0</c:v>
                </c:pt>
                <c:pt idx="12204">
                  <c:v>0</c:v>
                </c:pt>
                <c:pt idx="12205">
                  <c:v>0</c:v>
                </c:pt>
                <c:pt idx="12206">
                  <c:v>0</c:v>
                </c:pt>
                <c:pt idx="12207">
                  <c:v>0</c:v>
                </c:pt>
                <c:pt idx="12208">
                  <c:v>0</c:v>
                </c:pt>
                <c:pt idx="12209">
                  <c:v>0</c:v>
                </c:pt>
                <c:pt idx="12210">
                  <c:v>0</c:v>
                </c:pt>
                <c:pt idx="12211">
                  <c:v>0</c:v>
                </c:pt>
                <c:pt idx="12212">
                  <c:v>0</c:v>
                </c:pt>
                <c:pt idx="12213">
                  <c:v>0</c:v>
                </c:pt>
                <c:pt idx="12214">
                  <c:v>0</c:v>
                </c:pt>
                <c:pt idx="12215">
                  <c:v>0</c:v>
                </c:pt>
                <c:pt idx="12216">
                  <c:v>0</c:v>
                </c:pt>
                <c:pt idx="12217">
                  <c:v>0</c:v>
                </c:pt>
                <c:pt idx="12218">
                  <c:v>0</c:v>
                </c:pt>
                <c:pt idx="12219">
                  <c:v>0</c:v>
                </c:pt>
                <c:pt idx="12220">
                  <c:v>0</c:v>
                </c:pt>
                <c:pt idx="12221">
                  <c:v>0</c:v>
                </c:pt>
                <c:pt idx="12222">
                  <c:v>0</c:v>
                </c:pt>
                <c:pt idx="12223">
                  <c:v>0</c:v>
                </c:pt>
                <c:pt idx="12224">
                  <c:v>0</c:v>
                </c:pt>
                <c:pt idx="12225">
                  <c:v>0</c:v>
                </c:pt>
                <c:pt idx="12226">
                  <c:v>0</c:v>
                </c:pt>
                <c:pt idx="12227">
                  <c:v>0</c:v>
                </c:pt>
                <c:pt idx="12228">
                  <c:v>0</c:v>
                </c:pt>
                <c:pt idx="12229">
                  <c:v>0</c:v>
                </c:pt>
                <c:pt idx="12230">
                  <c:v>0</c:v>
                </c:pt>
                <c:pt idx="12231">
                  <c:v>0</c:v>
                </c:pt>
                <c:pt idx="12232">
                  <c:v>0</c:v>
                </c:pt>
                <c:pt idx="12233">
                  <c:v>0</c:v>
                </c:pt>
                <c:pt idx="12234">
                  <c:v>0</c:v>
                </c:pt>
                <c:pt idx="12235">
                  <c:v>0</c:v>
                </c:pt>
                <c:pt idx="12236">
                  <c:v>0</c:v>
                </c:pt>
                <c:pt idx="12237">
                  <c:v>4</c:v>
                </c:pt>
                <c:pt idx="12238">
                  <c:v>0</c:v>
                </c:pt>
                <c:pt idx="12239">
                  <c:v>0</c:v>
                </c:pt>
                <c:pt idx="12240">
                  <c:v>0</c:v>
                </c:pt>
                <c:pt idx="12241">
                  <c:v>0</c:v>
                </c:pt>
                <c:pt idx="12242">
                  <c:v>0</c:v>
                </c:pt>
                <c:pt idx="12243">
                  <c:v>0</c:v>
                </c:pt>
                <c:pt idx="12244">
                  <c:v>0</c:v>
                </c:pt>
                <c:pt idx="12245">
                  <c:v>2</c:v>
                </c:pt>
                <c:pt idx="12246">
                  <c:v>0</c:v>
                </c:pt>
                <c:pt idx="12247">
                  <c:v>0</c:v>
                </c:pt>
                <c:pt idx="12248">
                  <c:v>0</c:v>
                </c:pt>
                <c:pt idx="12249">
                  <c:v>0</c:v>
                </c:pt>
                <c:pt idx="12250">
                  <c:v>0</c:v>
                </c:pt>
                <c:pt idx="12251">
                  <c:v>0</c:v>
                </c:pt>
                <c:pt idx="12252">
                  <c:v>0</c:v>
                </c:pt>
                <c:pt idx="12253">
                  <c:v>0</c:v>
                </c:pt>
                <c:pt idx="12254">
                  <c:v>0</c:v>
                </c:pt>
                <c:pt idx="12255">
                  <c:v>0</c:v>
                </c:pt>
                <c:pt idx="12256">
                  <c:v>0</c:v>
                </c:pt>
                <c:pt idx="12257">
                  <c:v>0</c:v>
                </c:pt>
                <c:pt idx="12258">
                  <c:v>0</c:v>
                </c:pt>
                <c:pt idx="12259">
                  <c:v>0</c:v>
                </c:pt>
                <c:pt idx="12260">
                  <c:v>0</c:v>
                </c:pt>
                <c:pt idx="12261">
                  <c:v>0</c:v>
                </c:pt>
                <c:pt idx="12262">
                  <c:v>0</c:v>
                </c:pt>
                <c:pt idx="12263">
                  <c:v>0</c:v>
                </c:pt>
                <c:pt idx="12264">
                  <c:v>0</c:v>
                </c:pt>
                <c:pt idx="12265">
                  <c:v>0</c:v>
                </c:pt>
                <c:pt idx="12266">
                  <c:v>0</c:v>
                </c:pt>
                <c:pt idx="12267">
                  <c:v>0</c:v>
                </c:pt>
                <c:pt idx="12268">
                  <c:v>0</c:v>
                </c:pt>
                <c:pt idx="12269">
                  <c:v>5</c:v>
                </c:pt>
                <c:pt idx="12270">
                  <c:v>0</c:v>
                </c:pt>
                <c:pt idx="12271">
                  <c:v>0</c:v>
                </c:pt>
                <c:pt idx="12272">
                  <c:v>0</c:v>
                </c:pt>
                <c:pt idx="12273">
                  <c:v>0</c:v>
                </c:pt>
                <c:pt idx="12274">
                  <c:v>0</c:v>
                </c:pt>
                <c:pt idx="12275">
                  <c:v>0</c:v>
                </c:pt>
                <c:pt idx="12276">
                  <c:v>0</c:v>
                </c:pt>
                <c:pt idx="12277">
                  <c:v>0</c:v>
                </c:pt>
                <c:pt idx="12278">
                  <c:v>0</c:v>
                </c:pt>
                <c:pt idx="12279">
                  <c:v>0</c:v>
                </c:pt>
                <c:pt idx="12280">
                  <c:v>0</c:v>
                </c:pt>
                <c:pt idx="12281">
                  <c:v>0</c:v>
                </c:pt>
                <c:pt idx="12282">
                  <c:v>0</c:v>
                </c:pt>
                <c:pt idx="12283">
                  <c:v>0</c:v>
                </c:pt>
                <c:pt idx="12284">
                  <c:v>0</c:v>
                </c:pt>
                <c:pt idx="12285">
                  <c:v>0</c:v>
                </c:pt>
                <c:pt idx="12286">
                  <c:v>0</c:v>
                </c:pt>
                <c:pt idx="12287">
                  <c:v>0</c:v>
                </c:pt>
                <c:pt idx="12288">
                  <c:v>0</c:v>
                </c:pt>
                <c:pt idx="12289">
                  <c:v>0</c:v>
                </c:pt>
                <c:pt idx="12290">
                  <c:v>0</c:v>
                </c:pt>
                <c:pt idx="12291">
                  <c:v>0</c:v>
                </c:pt>
                <c:pt idx="12292">
                  <c:v>0</c:v>
                </c:pt>
                <c:pt idx="12293">
                  <c:v>0</c:v>
                </c:pt>
                <c:pt idx="12294">
                  <c:v>0</c:v>
                </c:pt>
                <c:pt idx="12295">
                  <c:v>0</c:v>
                </c:pt>
                <c:pt idx="12296">
                  <c:v>0</c:v>
                </c:pt>
                <c:pt idx="12297">
                  <c:v>0</c:v>
                </c:pt>
                <c:pt idx="12298">
                  <c:v>0</c:v>
                </c:pt>
                <c:pt idx="12299">
                  <c:v>0</c:v>
                </c:pt>
                <c:pt idx="12300">
                  <c:v>2</c:v>
                </c:pt>
                <c:pt idx="12301">
                  <c:v>0</c:v>
                </c:pt>
                <c:pt idx="12302">
                  <c:v>0</c:v>
                </c:pt>
                <c:pt idx="12303">
                  <c:v>0</c:v>
                </c:pt>
                <c:pt idx="12304">
                  <c:v>0</c:v>
                </c:pt>
                <c:pt idx="12305">
                  <c:v>0</c:v>
                </c:pt>
                <c:pt idx="12306">
                  <c:v>0</c:v>
                </c:pt>
                <c:pt idx="12307">
                  <c:v>0</c:v>
                </c:pt>
                <c:pt idx="12308">
                  <c:v>0</c:v>
                </c:pt>
                <c:pt idx="12309">
                  <c:v>3</c:v>
                </c:pt>
                <c:pt idx="12310">
                  <c:v>0</c:v>
                </c:pt>
                <c:pt idx="12311">
                  <c:v>0</c:v>
                </c:pt>
                <c:pt idx="12312">
                  <c:v>0</c:v>
                </c:pt>
                <c:pt idx="12313">
                  <c:v>0</c:v>
                </c:pt>
                <c:pt idx="12314">
                  <c:v>0</c:v>
                </c:pt>
                <c:pt idx="12315">
                  <c:v>3</c:v>
                </c:pt>
                <c:pt idx="12316">
                  <c:v>0</c:v>
                </c:pt>
                <c:pt idx="12317">
                  <c:v>1</c:v>
                </c:pt>
                <c:pt idx="12318">
                  <c:v>0</c:v>
                </c:pt>
                <c:pt idx="12319">
                  <c:v>0</c:v>
                </c:pt>
                <c:pt idx="12320">
                  <c:v>2</c:v>
                </c:pt>
                <c:pt idx="12321">
                  <c:v>0</c:v>
                </c:pt>
                <c:pt idx="12322">
                  <c:v>2</c:v>
                </c:pt>
                <c:pt idx="12323">
                  <c:v>2</c:v>
                </c:pt>
                <c:pt idx="12324">
                  <c:v>5</c:v>
                </c:pt>
                <c:pt idx="12325">
                  <c:v>4</c:v>
                </c:pt>
                <c:pt idx="12326">
                  <c:v>0</c:v>
                </c:pt>
                <c:pt idx="12327">
                  <c:v>0</c:v>
                </c:pt>
                <c:pt idx="12328">
                  <c:v>0</c:v>
                </c:pt>
                <c:pt idx="12329">
                  <c:v>0</c:v>
                </c:pt>
                <c:pt idx="12330">
                  <c:v>1</c:v>
                </c:pt>
                <c:pt idx="12331">
                  <c:v>1</c:v>
                </c:pt>
                <c:pt idx="12332">
                  <c:v>0</c:v>
                </c:pt>
                <c:pt idx="12333">
                  <c:v>1</c:v>
                </c:pt>
                <c:pt idx="12334">
                  <c:v>1</c:v>
                </c:pt>
                <c:pt idx="12335">
                  <c:v>1</c:v>
                </c:pt>
                <c:pt idx="12336">
                  <c:v>0</c:v>
                </c:pt>
                <c:pt idx="12337">
                  <c:v>0</c:v>
                </c:pt>
                <c:pt idx="12338">
                  <c:v>3</c:v>
                </c:pt>
                <c:pt idx="12339">
                  <c:v>2</c:v>
                </c:pt>
                <c:pt idx="12340">
                  <c:v>0</c:v>
                </c:pt>
                <c:pt idx="12341">
                  <c:v>0</c:v>
                </c:pt>
                <c:pt idx="12342">
                  <c:v>0</c:v>
                </c:pt>
                <c:pt idx="12343">
                  <c:v>0</c:v>
                </c:pt>
                <c:pt idx="12344">
                  <c:v>0</c:v>
                </c:pt>
                <c:pt idx="12345">
                  <c:v>0</c:v>
                </c:pt>
                <c:pt idx="12346">
                  <c:v>0</c:v>
                </c:pt>
                <c:pt idx="12347">
                  <c:v>0</c:v>
                </c:pt>
                <c:pt idx="12348">
                  <c:v>0</c:v>
                </c:pt>
                <c:pt idx="12349">
                  <c:v>2</c:v>
                </c:pt>
                <c:pt idx="12350">
                  <c:v>0</c:v>
                </c:pt>
                <c:pt idx="12351">
                  <c:v>0</c:v>
                </c:pt>
                <c:pt idx="12352">
                  <c:v>0</c:v>
                </c:pt>
                <c:pt idx="12353">
                  <c:v>0</c:v>
                </c:pt>
                <c:pt idx="12354">
                  <c:v>0</c:v>
                </c:pt>
                <c:pt idx="12355">
                  <c:v>0</c:v>
                </c:pt>
                <c:pt idx="12356">
                  <c:v>0</c:v>
                </c:pt>
                <c:pt idx="12357">
                  <c:v>0</c:v>
                </c:pt>
                <c:pt idx="12358">
                  <c:v>0</c:v>
                </c:pt>
                <c:pt idx="12359">
                  <c:v>0</c:v>
                </c:pt>
                <c:pt idx="12360">
                  <c:v>0</c:v>
                </c:pt>
                <c:pt idx="12361">
                  <c:v>0</c:v>
                </c:pt>
                <c:pt idx="12362">
                  <c:v>0</c:v>
                </c:pt>
                <c:pt idx="12363">
                  <c:v>0</c:v>
                </c:pt>
                <c:pt idx="12364">
                  <c:v>0</c:v>
                </c:pt>
                <c:pt idx="12365">
                  <c:v>0</c:v>
                </c:pt>
                <c:pt idx="12366">
                  <c:v>0</c:v>
                </c:pt>
                <c:pt idx="12367">
                  <c:v>0</c:v>
                </c:pt>
                <c:pt idx="12368">
                  <c:v>0</c:v>
                </c:pt>
                <c:pt idx="12369">
                  <c:v>0</c:v>
                </c:pt>
                <c:pt idx="12370">
                  <c:v>0</c:v>
                </c:pt>
                <c:pt idx="12371">
                  <c:v>0</c:v>
                </c:pt>
                <c:pt idx="12372">
                  <c:v>0</c:v>
                </c:pt>
                <c:pt idx="12373">
                  <c:v>0</c:v>
                </c:pt>
                <c:pt idx="12374">
                  <c:v>0</c:v>
                </c:pt>
                <c:pt idx="12375">
                  <c:v>0</c:v>
                </c:pt>
                <c:pt idx="12376">
                  <c:v>0</c:v>
                </c:pt>
                <c:pt idx="12377">
                  <c:v>0</c:v>
                </c:pt>
                <c:pt idx="12378">
                  <c:v>0</c:v>
                </c:pt>
                <c:pt idx="12379">
                  <c:v>0</c:v>
                </c:pt>
                <c:pt idx="12380">
                  <c:v>0</c:v>
                </c:pt>
                <c:pt idx="12381">
                  <c:v>0</c:v>
                </c:pt>
                <c:pt idx="12382">
                  <c:v>0</c:v>
                </c:pt>
                <c:pt idx="12383">
                  <c:v>0</c:v>
                </c:pt>
                <c:pt idx="12384">
                  <c:v>0</c:v>
                </c:pt>
                <c:pt idx="12385">
                  <c:v>0</c:v>
                </c:pt>
                <c:pt idx="12386">
                  <c:v>0</c:v>
                </c:pt>
                <c:pt idx="12387">
                  <c:v>0</c:v>
                </c:pt>
                <c:pt idx="12388">
                  <c:v>0</c:v>
                </c:pt>
                <c:pt idx="12389">
                  <c:v>0</c:v>
                </c:pt>
                <c:pt idx="12390">
                  <c:v>0</c:v>
                </c:pt>
                <c:pt idx="12391">
                  <c:v>0</c:v>
                </c:pt>
                <c:pt idx="12392">
                  <c:v>0</c:v>
                </c:pt>
                <c:pt idx="12393">
                  <c:v>0</c:v>
                </c:pt>
                <c:pt idx="12394">
                  <c:v>0</c:v>
                </c:pt>
                <c:pt idx="12395">
                  <c:v>0</c:v>
                </c:pt>
                <c:pt idx="12396">
                  <c:v>0</c:v>
                </c:pt>
                <c:pt idx="12397">
                  <c:v>0</c:v>
                </c:pt>
                <c:pt idx="12398">
                  <c:v>0</c:v>
                </c:pt>
                <c:pt idx="12399">
                  <c:v>0</c:v>
                </c:pt>
                <c:pt idx="12400">
                  <c:v>0</c:v>
                </c:pt>
                <c:pt idx="12401">
                  <c:v>0</c:v>
                </c:pt>
                <c:pt idx="12402">
                  <c:v>0</c:v>
                </c:pt>
                <c:pt idx="12403">
                  <c:v>0</c:v>
                </c:pt>
                <c:pt idx="12404">
                  <c:v>0</c:v>
                </c:pt>
                <c:pt idx="12405">
                  <c:v>0</c:v>
                </c:pt>
                <c:pt idx="12406">
                  <c:v>0</c:v>
                </c:pt>
                <c:pt idx="12407">
                  <c:v>0</c:v>
                </c:pt>
                <c:pt idx="12408">
                  <c:v>0</c:v>
                </c:pt>
                <c:pt idx="12409">
                  <c:v>0</c:v>
                </c:pt>
                <c:pt idx="12410">
                  <c:v>0</c:v>
                </c:pt>
                <c:pt idx="12411">
                  <c:v>0</c:v>
                </c:pt>
                <c:pt idx="12412">
                  <c:v>0</c:v>
                </c:pt>
                <c:pt idx="12413">
                  <c:v>0</c:v>
                </c:pt>
                <c:pt idx="12414">
                  <c:v>0</c:v>
                </c:pt>
                <c:pt idx="12415">
                  <c:v>0</c:v>
                </c:pt>
                <c:pt idx="12416">
                  <c:v>0</c:v>
                </c:pt>
                <c:pt idx="12417">
                  <c:v>0</c:v>
                </c:pt>
                <c:pt idx="12418">
                  <c:v>0</c:v>
                </c:pt>
                <c:pt idx="12419">
                  <c:v>0</c:v>
                </c:pt>
                <c:pt idx="12420">
                  <c:v>0</c:v>
                </c:pt>
                <c:pt idx="12421">
                  <c:v>0</c:v>
                </c:pt>
                <c:pt idx="12422">
                  <c:v>0</c:v>
                </c:pt>
                <c:pt idx="12423">
                  <c:v>0</c:v>
                </c:pt>
                <c:pt idx="12424">
                  <c:v>0</c:v>
                </c:pt>
                <c:pt idx="12425">
                  <c:v>0</c:v>
                </c:pt>
                <c:pt idx="12426">
                  <c:v>0</c:v>
                </c:pt>
                <c:pt idx="12427">
                  <c:v>2</c:v>
                </c:pt>
                <c:pt idx="12428">
                  <c:v>1</c:v>
                </c:pt>
                <c:pt idx="12429">
                  <c:v>0</c:v>
                </c:pt>
                <c:pt idx="12430">
                  <c:v>0</c:v>
                </c:pt>
                <c:pt idx="12431">
                  <c:v>0</c:v>
                </c:pt>
                <c:pt idx="12432">
                  <c:v>0</c:v>
                </c:pt>
                <c:pt idx="12433">
                  <c:v>0</c:v>
                </c:pt>
                <c:pt idx="12434">
                  <c:v>0</c:v>
                </c:pt>
                <c:pt idx="12435">
                  <c:v>0</c:v>
                </c:pt>
                <c:pt idx="12436">
                  <c:v>0</c:v>
                </c:pt>
                <c:pt idx="12437">
                  <c:v>0</c:v>
                </c:pt>
                <c:pt idx="12438">
                  <c:v>0</c:v>
                </c:pt>
                <c:pt idx="12439">
                  <c:v>0</c:v>
                </c:pt>
                <c:pt idx="12440">
                  <c:v>0</c:v>
                </c:pt>
                <c:pt idx="12441">
                  <c:v>0</c:v>
                </c:pt>
                <c:pt idx="12442">
                  <c:v>0</c:v>
                </c:pt>
                <c:pt idx="12443">
                  <c:v>5</c:v>
                </c:pt>
                <c:pt idx="12444">
                  <c:v>0</c:v>
                </c:pt>
                <c:pt idx="12445">
                  <c:v>0</c:v>
                </c:pt>
                <c:pt idx="12446">
                  <c:v>0</c:v>
                </c:pt>
                <c:pt idx="12447">
                  <c:v>0</c:v>
                </c:pt>
                <c:pt idx="12448">
                  <c:v>3</c:v>
                </c:pt>
                <c:pt idx="12449">
                  <c:v>1</c:v>
                </c:pt>
                <c:pt idx="12450">
                  <c:v>1</c:v>
                </c:pt>
                <c:pt idx="12451">
                  <c:v>0</c:v>
                </c:pt>
                <c:pt idx="12452">
                  <c:v>1</c:v>
                </c:pt>
                <c:pt idx="12453">
                  <c:v>0</c:v>
                </c:pt>
                <c:pt idx="12454">
                  <c:v>0</c:v>
                </c:pt>
                <c:pt idx="12455">
                  <c:v>0</c:v>
                </c:pt>
                <c:pt idx="12456">
                  <c:v>0</c:v>
                </c:pt>
                <c:pt idx="12457">
                  <c:v>0</c:v>
                </c:pt>
                <c:pt idx="12458">
                  <c:v>0</c:v>
                </c:pt>
                <c:pt idx="12459">
                  <c:v>0</c:v>
                </c:pt>
                <c:pt idx="12460">
                  <c:v>0</c:v>
                </c:pt>
                <c:pt idx="12461">
                  <c:v>2</c:v>
                </c:pt>
                <c:pt idx="12462">
                  <c:v>0</c:v>
                </c:pt>
                <c:pt idx="12463">
                  <c:v>0</c:v>
                </c:pt>
                <c:pt idx="12464">
                  <c:v>0</c:v>
                </c:pt>
                <c:pt idx="12465">
                  <c:v>0</c:v>
                </c:pt>
                <c:pt idx="12466">
                  <c:v>0</c:v>
                </c:pt>
                <c:pt idx="12467">
                  <c:v>0</c:v>
                </c:pt>
                <c:pt idx="12468">
                  <c:v>0</c:v>
                </c:pt>
                <c:pt idx="12469">
                  <c:v>0</c:v>
                </c:pt>
                <c:pt idx="12470">
                  <c:v>0</c:v>
                </c:pt>
                <c:pt idx="12471">
                  <c:v>2</c:v>
                </c:pt>
                <c:pt idx="12472">
                  <c:v>0</c:v>
                </c:pt>
                <c:pt idx="12473">
                  <c:v>0</c:v>
                </c:pt>
                <c:pt idx="12474">
                  <c:v>2</c:v>
                </c:pt>
                <c:pt idx="12475">
                  <c:v>0</c:v>
                </c:pt>
                <c:pt idx="12476">
                  <c:v>6</c:v>
                </c:pt>
                <c:pt idx="12477">
                  <c:v>0</c:v>
                </c:pt>
                <c:pt idx="12478">
                  <c:v>0</c:v>
                </c:pt>
                <c:pt idx="12479">
                  <c:v>0</c:v>
                </c:pt>
                <c:pt idx="12480">
                  <c:v>2</c:v>
                </c:pt>
                <c:pt idx="12481">
                  <c:v>4</c:v>
                </c:pt>
                <c:pt idx="12482">
                  <c:v>0</c:v>
                </c:pt>
                <c:pt idx="12483">
                  <c:v>0</c:v>
                </c:pt>
                <c:pt idx="12484">
                  <c:v>0</c:v>
                </c:pt>
                <c:pt idx="12485">
                  <c:v>3</c:v>
                </c:pt>
                <c:pt idx="12486">
                  <c:v>0</c:v>
                </c:pt>
                <c:pt idx="12487">
                  <c:v>0</c:v>
                </c:pt>
                <c:pt idx="12488">
                  <c:v>0</c:v>
                </c:pt>
                <c:pt idx="12489">
                  <c:v>0</c:v>
                </c:pt>
                <c:pt idx="12490">
                  <c:v>0</c:v>
                </c:pt>
                <c:pt idx="12491">
                  <c:v>1</c:v>
                </c:pt>
                <c:pt idx="12492">
                  <c:v>0</c:v>
                </c:pt>
                <c:pt idx="12493">
                  <c:v>0</c:v>
                </c:pt>
                <c:pt idx="12494">
                  <c:v>0</c:v>
                </c:pt>
                <c:pt idx="12495">
                  <c:v>0</c:v>
                </c:pt>
                <c:pt idx="12496">
                  <c:v>5</c:v>
                </c:pt>
                <c:pt idx="12497">
                  <c:v>0</c:v>
                </c:pt>
                <c:pt idx="12498">
                  <c:v>0</c:v>
                </c:pt>
                <c:pt idx="12499">
                  <c:v>0</c:v>
                </c:pt>
                <c:pt idx="12500">
                  <c:v>0</c:v>
                </c:pt>
                <c:pt idx="12501">
                  <c:v>0</c:v>
                </c:pt>
                <c:pt idx="12502">
                  <c:v>0</c:v>
                </c:pt>
                <c:pt idx="12503">
                  <c:v>7</c:v>
                </c:pt>
                <c:pt idx="12504">
                  <c:v>1</c:v>
                </c:pt>
                <c:pt idx="12505">
                  <c:v>0</c:v>
                </c:pt>
                <c:pt idx="12506">
                  <c:v>2</c:v>
                </c:pt>
                <c:pt idx="12507">
                  <c:v>0</c:v>
                </c:pt>
                <c:pt idx="12508">
                  <c:v>1</c:v>
                </c:pt>
                <c:pt idx="12509">
                  <c:v>2</c:v>
                </c:pt>
                <c:pt idx="12510">
                  <c:v>2</c:v>
                </c:pt>
                <c:pt idx="12511">
                  <c:v>0</c:v>
                </c:pt>
                <c:pt idx="12512">
                  <c:v>4</c:v>
                </c:pt>
                <c:pt idx="12513">
                  <c:v>0</c:v>
                </c:pt>
                <c:pt idx="12514">
                  <c:v>2</c:v>
                </c:pt>
                <c:pt idx="12515">
                  <c:v>0</c:v>
                </c:pt>
                <c:pt idx="12516">
                  <c:v>0</c:v>
                </c:pt>
                <c:pt idx="12517">
                  <c:v>0</c:v>
                </c:pt>
                <c:pt idx="12518">
                  <c:v>2</c:v>
                </c:pt>
                <c:pt idx="12519">
                  <c:v>0</c:v>
                </c:pt>
                <c:pt idx="12520">
                  <c:v>4</c:v>
                </c:pt>
                <c:pt idx="12521">
                  <c:v>2</c:v>
                </c:pt>
                <c:pt idx="12522">
                  <c:v>1</c:v>
                </c:pt>
                <c:pt idx="12523">
                  <c:v>0</c:v>
                </c:pt>
                <c:pt idx="12524">
                  <c:v>0</c:v>
                </c:pt>
                <c:pt idx="12525">
                  <c:v>2</c:v>
                </c:pt>
                <c:pt idx="12526">
                  <c:v>1</c:v>
                </c:pt>
                <c:pt idx="12527">
                  <c:v>1</c:v>
                </c:pt>
                <c:pt idx="12528">
                  <c:v>0</c:v>
                </c:pt>
                <c:pt idx="12529">
                  <c:v>0</c:v>
                </c:pt>
                <c:pt idx="12530">
                  <c:v>2</c:v>
                </c:pt>
                <c:pt idx="12531">
                  <c:v>6</c:v>
                </c:pt>
                <c:pt idx="12532">
                  <c:v>4</c:v>
                </c:pt>
                <c:pt idx="12533">
                  <c:v>0</c:v>
                </c:pt>
                <c:pt idx="12534">
                  <c:v>0</c:v>
                </c:pt>
                <c:pt idx="12535">
                  <c:v>2</c:v>
                </c:pt>
                <c:pt idx="12536">
                  <c:v>0</c:v>
                </c:pt>
                <c:pt idx="12537">
                  <c:v>2</c:v>
                </c:pt>
                <c:pt idx="12538">
                  <c:v>6</c:v>
                </c:pt>
                <c:pt idx="12539">
                  <c:v>0</c:v>
                </c:pt>
                <c:pt idx="12540">
                  <c:v>3</c:v>
                </c:pt>
                <c:pt idx="12541">
                  <c:v>5</c:v>
                </c:pt>
                <c:pt idx="12542">
                  <c:v>0</c:v>
                </c:pt>
                <c:pt idx="12543">
                  <c:v>6</c:v>
                </c:pt>
                <c:pt idx="12544">
                  <c:v>4</c:v>
                </c:pt>
                <c:pt idx="12545">
                  <c:v>0</c:v>
                </c:pt>
                <c:pt idx="12546">
                  <c:v>1</c:v>
                </c:pt>
                <c:pt idx="12547">
                  <c:v>0</c:v>
                </c:pt>
                <c:pt idx="12548">
                  <c:v>1</c:v>
                </c:pt>
                <c:pt idx="12549">
                  <c:v>0</c:v>
                </c:pt>
                <c:pt idx="12550">
                  <c:v>0</c:v>
                </c:pt>
                <c:pt idx="12551">
                  <c:v>0</c:v>
                </c:pt>
                <c:pt idx="12552">
                  <c:v>0</c:v>
                </c:pt>
                <c:pt idx="12553">
                  <c:v>2</c:v>
                </c:pt>
                <c:pt idx="12554">
                  <c:v>2</c:v>
                </c:pt>
                <c:pt idx="12555">
                  <c:v>3</c:v>
                </c:pt>
                <c:pt idx="12556">
                  <c:v>0</c:v>
                </c:pt>
                <c:pt idx="12557">
                  <c:v>0</c:v>
                </c:pt>
                <c:pt idx="12558">
                  <c:v>0</c:v>
                </c:pt>
                <c:pt idx="12559">
                  <c:v>0</c:v>
                </c:pt>
                <c:pt idx="12560">
                  <c:v>0</c:v>
                </c:pt>
                <c:pt idx="12561">
                  <c:v>1</c:v>
                </c:pt>
                <c:pt idx="12562">
                  <c:v>8</c:v>
                </c:pt>
                <c:pt idx="12563">
                  <c:v>2</c:v>
                </c:pt>
                <c:pt idx="12564">
                  <c:v>0</c:v>
                </c:pt>
                <c:pt idx="12565">
                  <c:v>0</c:v>
                </c:pt>
                <c:pt idx="12566">
                  <c:v>0</c:v>
                </c:pt>
                <c:pt idx="12567">
                  <c:v>0</c:v>
                </c:pt>
                <c:pt idx="12568">
                  <c:v>0</c:v>
                </c:pt>
                <c:pt idx="12569">
                  <c:v>3</c:v>
                </c:pt>
                <c:pt idx="12570">
                  <c:v>0</c:v>
                </c:pt>
                <c:pt idx="12571">
                  <c:v>0</c:v>
                </c:pt>
                <c:pt idx="12572">
                  <c:v>0</c:v>
                </c:pt>
                <c:pt idx="12573">
                  <c:v>1</c:v>
                </c:pt>
                <c:pt idx="12574">
                  <c:v>0</c:v>
                </c:pt>
                <c:pt idx="12575">
                  <c:v>0</c:v>
                </c:pt>
                <c:pt idx="12576">
                  <c:v>1</c:v>
                </c:pt>
                <c:pt idx="12577">
                  <c:v>0</c:v>
                </c:pt>
                <c:pt idx="12578">
                  <c:v>0</c:v>
                </c:pt>
                <c:pt idx="12579">
                  <c:v>2</c:v>
                </c:pt>
                <c:pt idx="12580">
                  <c:v>0</c:v>
                </c:pt>
                <c:pt idx="12581">
                  <c:v>2</c:v>
                </c:pt>
                <c:pt idx="12582">
                  <c:v>0</c:v>
                </c:pt>
                <c:pt idx="12583">
                  <c:v>0</c:v>
                </c:pt>
                <c:pt idx="12584">
                  <c:v>0</c:v>
                </c:pt>
                <c:pt idx="12585">
                  <c:v>0</c:v>
                </c:pt>
                <c:pt idx="12586">
                  <c:v>0</c:v>
                </c:pt>
                <c:pt idx="12587">
                  <c:v>0</c:v>
                </c:pt>
                <c:pt idx="12588">
                  <c:v>0</c:v>
                </c:pt>
                <c:pt idx="12589">
                  <c:v>4</c:v>
                </c:pt>
                <c:pt idx="12590">
                  <c:v>2</c:v>
                </c:pt>
                <c:pt idx="12591">
                  <c:v>0</c:v>
                </c:pt>
                <c:pt idx="12592">
                  <c:v>0</c:v>
                </c:pt>
                <c:pt idx="12593">
                  <c:v>2</c:v>
                </c:pt>
                <c:pt idx="12594">
                  <c:v>1</c:v>
                </c:pt>
                <c:pt idx="12595">
                  <c:v>1</c:v>
                </c:pt>
                <c:pt idx="12596">
                  <c:v>0</c:v>
                </c:pt>
                <c:pt idx="12597">
                  <c:v>1</c:v>
                </c:pt>
                <c:pt idx="12598">
                  <c:v>0</c:v>
                </c:pt>
                <c:pt idx="12599">
                  <c:v>2</c:v>
                </c:pt>
                <c:pt idx="12600">
                  <c:v>0</c:v>
                </c:pt>
                <c:pt idx="12601">
                  <c:v>0</c:v>
                </c:pt>
                <c:pt idx="12602">
                  <c:v>3</c:v>
                </c:pt>
                <c:pt idx="12603">
                  <c:v>0</c:v>
                </c:pt>
                <c:pt idx="12604">
                  <c:v>0</c:v>
                </c:pt>
                <c:pt idx="12605">
                  <c:v>0</c:v>
                </c:pt>
                <c:pt idx="12606">
                  <c:v>0</c:v>
                </c:pt>
                <c:pt idx="12607">
                  <c:v>0</c:v>
                </c:pt>
                <c:pt idx="12608">
                  <c:v>1</c:v>
                </c:pt>
                <c:pt idx="12609">
                  <c:v>0</c:v>
                </c:pt>
                <c:pt idx="12610">
                  <c:v>0</c:v>
                </c:pt>
                <c:pt idx="12611">
                  <c:v>0</c:v>
                </c:pt>
                <c:pt idx="12612">
                  <c:v>0</c:v>
                </c:pt>
                <c:pt idx="12613">
                  <c:v>0</c:v>
                </c:pt>
                <c:pt idx="12614">
                  <c:v>0</c:v>
                </c:pt>
                <c:pt idx="12615">
                  <c:v>0</c:v>
                </c:pt>
                <c:pt idx="12616">
                  <c:v>2</c:v>
                </c:pt>
                <c:pt idx="12617">
                  <c:v>0</c:v>
                </c:pt>
                <c:pt idx="12618">
                  <c:v>0</c:v>
                </c:pt>
                <c:pt idx="12619">
                  <c:v>0</c:v>
                </c:pt>
                <c:pt idx="12620">
                  <c:v>0</c:v>
                </c:pt>
                <c:pt idx="12621">
                  <c:v>0</c:v>
                </c:pt>
                <c:pt idx="12622">
                  <c:v>0</c:v>
                </c:pt>
                <c:pt idx="12623">
                  <c:v>0</c:v>
                </c:pt>
                <c:pt idx="12624">
                  <c:v>0</c:v>
                </c:pt>
                <c:pt idx="12625">
                  <c:v>0</c:v>
                </c:pt>
                <c:pt idx="12626">
                  <c:v>0</c:v>
                </c:pt>
                <c:pt idx="12627">
                  <c:v>0</c:v>
                </c:pt>
                <c:pt idx="12628">
                  <c:v>0</c:v>
                </c:pt>
                <c:pt idx="12629">
                  <c:v>0</c:v>
                </c:pt>
                <c:pt idx="12630">
                  <c:v>0</c:v>
                </c:pt>
                <c:pt idx="12631">
                  <c:v>0</c:v>
                </c:pt>
                <c:pt idx="12632">
                  <c:v>0</c:v>
                </c:pt>
                <c:pt idx="12633">
                  <c:v>0</c:v>
                </c:pt>
                <c:pt idx="12634">
                  <c:v>0</c:v>
                </c:pt>
                <c:pt idx="12635">
                  <c:v>3</c:v>
                </c:pt>
                <c:pt idx="12636">
                  <c:v>0</c:v>
                </c:pt>
                <c:pt idx="12637">
                  <c:v>0</c:v>
                </c:pt>
                <c:pt idx="12638">
                  <c:v>0</c:v>
                </c:pt>
                <c:pt idx="12639">
                  <c:v>0</c:v>
                </c:pt>
                <c:pt idx="12640">
                  <c:v>0</c:v>
                </c:pt>
                <c:pt idx="12641">
                  <c:v>0</c:v>
                </c:pt>
                <c:pt idx="12642">
                  <c:v>0</c:v>
                </c:pt>
                <c:pt idx="12643">
                  <c:v>0</c:v>
                </c:pt>
                <c:pt idx="12644">
                  <c:v>0</c:v>
                </c:pt>
                <c:pt idx="12645">
                  <c:v>0</c:v>
                </c:pt>
                <c:pt idx="12646">
                  <c:v>0</c:v>
                </c:pt>
                <c:pt idx="12647">
                  <c:v>1</c:v>
                </c:pt>
                <c:pt idx="12648">
                  <c:v>3</c:v>
                </c:pt>
                <c:pt idx="12649">
                  <c:v>0</c:v>
                </c:pt>
                <c:pt idx="12650">
                  <c:v>0</c:v>
                </c:pt>
                <c:pt idx="12651">
                  <c:v>0</c:v>
                </c:pt>
                <c:pt idx="12652">
                  <c:v>0</c:v>
                </c:pt>
                <c:pt idx="12653">
                  <c:v>0</c:v>
                </c:pt>
                <c:pt idx="12654">
                  <c:v>0</c:v>
                </c:pt>
                <c:pt idx="12655">
                  <c:v>0</c:v>
                </c:pt>
                <c:pt idx="12656">
                  <c:v>0</c:v>
                </c:pt>
                <c:pt idx="12657">
                  <c:v>0</c:v>
                </c:pt>
                <c:pt idx="12658">
                  <c:v>0</c:v>
                </c:pt>
                <c:pt idx="12659">
                  <c:v>0</c:v>
                </c:pt>
                <c:pt idx="12660">
                  <c:v>3</c:v>
                </c:pt>
                <c:pt idx="12661">
                  <c:v>3</c:v>
                </c:pt>
                <c:pt idx="12662">
                  <c:v>1</c:v>
                </c:pt>
                <c:pt idx="12663">
                  <c:v>1</c:v>
                </c:pt>
                <c:pt idx="12664">
                  <c:v>0</c:v>
                </c:pt>
                <c:pt idx="12665">
                  <c:v>0</c:v>
                </c:pt>
                <c:pt idx="12666">
                  <c:v>0</c:v>
                </c:pt>
                <c:pt idx="12667">
                  <c:v>0</c:v>
                </c:pt>
                <c:pt idx="12668">
                  <c:v>0</c:v>
                </c:pt>
                <c:pt idx="12669">
                  <c:v>0</c:v>
                </c:pt>
                <c:pt idx="12670">
                  <c:v>0</c:v>
                </c:pt>
                <c:pt idx="12671">
                  <c:v>0</c:v>
                </c:pt>
                <c:pt idx="12672">
                  <c:v>0</c:v>
                </c:pt>
                <c:pt idx="12673">
                  <c:v>0</c:v>
                </c:pt>
                <c:pt idx="12674">
                  <c:v>0</c:v>
                </c:pt>
                <c:pt idx="12675">
                  <c:v>0</c:v>
                </c:pt>
                <c:pt idx="12676">
                  <c:v>1</c:v>
                </c:pt>
                <c:pt idx="12677">
                  <c:v>0</c:v>
                </c:pt>
                <c:pt idx="12678">
                  <c:v>0</c:v>
                </c:pt>
                <c:pt idx="12679">
                  <c:v>0</c:v>
                </c:pt>
                <c:pt idx="12680">
                  <c:v>0</c:v>
                </c:pt>
                <c:pt idx="12681">
                  <c:v>0</c:v>
                </c:pt>
                <c:pt idx="12682">
                  <c:v>0</c:v>
                </c:pt>
                <c:pt idx="12683">
                  <c:v>2</c:v>
                </c:pt>
                <c:pt idx="12684">
                  <c:v>0</c:v>
                </c:pt>
                <c:pt idx="12685">
                  <c:v>0</c:v>
                </c:pt>
                <c:pt idx="12686">
                  <c:v>0</c:v>
                </c:pt>
                <c:pt idx="12687">
                  <c:v>0</c:v>
                </c:pt>
                <c:pt idx="12688">
                  <c:v>0</c:v>
                </c:pt>
                <c:pt idx="12689">
                  <c:v>0</c:v>
                </c:pt>
                <c:pt idx="12690">
                  <c:v>0</c:v>
                </c:pt>
                <c:pt idx="12691">
                  <c:v>0</c:v>
                </c:pt>
                <c:pt idx="12692">
                  <c:v>0</c:v>
                </c:pt>
                <c:pt idx="12693">
                  <c:v>0</c:v>
                </c:pt>
                <c:pt idx="12694">
                  <c:v>1</c:v>
                </c:pt>
                <c:pt idx="12695">
                  <c:v>1</c:v>
                </c:pt>
                <c:pt idx="12696">
                  <c:v>0</c:v>
                </c:pt>
                <c:pt idx="12697">
                  <c:v>0</c:v>
                </c:pt>
                <c:pt idx="12698">
                  <c:v>0</c:v>
                </c:pt>
                <c:pt idx="12699">
                  <c:v>0</c:v>
                </c:pt>
                <c:pt idx="12700">
                  <c:v>0</c:v>
                </c:pt>
                <c:pt idx="12701">
                  <c:v>0</c:v>
                </c:pt>
                <c:pt idx="12702">
                  <c:v>0</c:v>
                </c:pt>
                <c:pt idx="12703">
                  <c:v>0</c:v>
                </c:pt>
                <c:pt idx="12704">
                  <c:v>0</c:v>
                </c:pt>
                <c:pt idx="12705">
                  <c:v>1</c:v>
                </c:pt>
                <c:pt idx="12706">
                  <c:v>0</c:v>
                </c:pt>
                <c:pt idx="12707">
                  <c:v>0</c:v>
                </c:pt>
                <c:pt idx="12708">
                  <c:v>0</c:v>
                </c:pt>
                <c:pt idx="12709">
                  <c:v>0</c:v>
                </c:pt>
                <c:pt idx="12710">
                  <c:v>0</c:v>
                </c:pt>
                <c:pt idx="12711">
                  <c:v>0</c:v>
                </c:pt>
                <c:pt idx="12712">
                  <c:v>0</c:v>
                </c:pt>
                <c:pt idx="12713">
                  <c:v>0</c:v>
                </c:pt>
                <c:pt idx="12714">
                  <c:v>0</c:v>
                </c:pt>
                <c:pt idx="12715">
                  <c:v>0</c:v>
                </c:pt>
                <c:pt idx="12716">
                  <c:v>0</c:v>
                </c:pt>
                <c:pt idx="12717">
                  <c:v>0</c:v>
                </c:pt>
                <c:pt idx="12718">
                  <c:v>2</c:v>
                </c:pt>
                <c:pt idx="12719">
                  <c:v>0</c:v>
                </c:pt>
                <c:pt idx="12720">
                  <c:v>0</c:v>
                </c:pt>
                <c:pt idx="12721">
                  <c:v>0</c:v>
                </c:pt>
                <c:pt idx="12722">
                  <c:v>1</c:v>
                </c:pt>
                <c:pt idx="12723">
                  <c:v>0</c:v>
                </c:pt>
                <c:pt idx="12724">
                  <c:v>0</c:v>
                </c:pt>
                <c:pt idx="12725">
                  <c:v>0</c:v>
                </c:pt>
                <c:pt idx="12726">
                  <c:v>0</c:v>
                </c:pt>
                <c:pt idx="12727">
                  <c:v>0</c:v>
                </c:pt>
                <c:pt idx="12728">
                  <c:v>0</c:v>
                </c:pt>
                <c:pt idx="12729">
                  <c:v>0</c:v>
                </c:pt>
                <c:pt idx="12730">
                  <c:v>0</c:v>
                </c:pt>
                <c:pt idx="12731">
                  <c:v>0</c:v>
                </c:pt>
                <c:pt idx="12732">
                  <c:v>1</c:v>
                </c:pt>
                <c:pt idx="12733">
                  <c:v>0</c:v>
                </c:pt>
                <c:pt idx="12734">
                  <c:v>0</c:v>
                </c:pt>
                <c:pt idx="12735">
                  <c:v>4</c:v>
                </c:pt>
                <c:pt idx="12736">
                  <c:v>7</c:v>
                </c:pt>
                <c:pt idx="12737">
                  <c:v>0</c:v>
                </c:pt>
                <c:pt idx="12738">
                  <c:v>0</c:v>
                </c:pt>
                <c:pt idx="12739">
                  <c:v>0</c:v>
                </c:pt>
                <c:pt idx="12740">
                  <c:v>0</c:v>
                </c:pt>
                <c:pt idx="12741">
                  <c:v>1</c:v>
                </c:pt>
                <c:pt idx="12742">
                  <c:v>0</c:v>
                </c:pt>
                <c:pt idx="12743">
                  <c:v>0</c:v>
                </c:pt>
                <c:pt idx="12744">
                  <c:v>0</c:v>
                </c:pt>
                <c:pt idx="12745">
                  <c:v>0</c:v>
                </c:pt>
                <c:pt idx="12746">
                  <c:v>0</c:v>
                </c:pt>
                <c:pt idx="12747">
                  <c:v>0</c:v>
                </c:pt>
                <c:pt idx="12748">
                  <c:v>0</c:v>
                </c:pt>
                <c:pt idx="12749">
                  <c:v>0</c:v>
                </c:pt>
                <c:pt idx="12750">
                  <c:v>0</c:v>
                </c:pt>
                <c:pt idx="12751">
                  <c:v>0</c:v>
                </c:pt>
                <c:pt idx="12752">
                  <c:v>0</c:v>
                </c:pt>
                <c:pt idx="12753">
                  <c:v>0</c:v>
                </c:pt>
                <c:pt idx="12754">
                  <c:v>0</c:v>
                </c:pt>
                <c:pt idx="12755">
                  <c:v>0</c:v>
                </c:pt>
                <c:pt idx="12756">
                  <c:v>0</c:v>
                </c:pt>
                <c:pt idx="12757">
                  <c:v>0</c:v>
                </c:pt>
                <c:pt idx="12758">
                  <c:v>0</c:v>
                </c:pt>
                <c:pt idx="12759">
                  <c:v>0</c:v>
                </c:pt>
                <c:pt idx="12760">
                  <c:v>0</c:v>
                </c:pt>
                <c:pt idx="12761">
                  <c:v>0</c:v>
                </c:pt>
                <c:pt idx="12762">
                  <c:v>0</c:v>
                </c:pt>
                <c:pt idx="12763">
                  <c:v>0</c:v>
                </c:pt>
                <c:pt idx="12764">
                  <c:v>0</c:v>
                </c:pt>
                <c:pt idx="12765">
                  <c:v>0</c:v>
                </c:pt>
                <c:pt idx="12766">
                  <c:v>0</c:v>
                </c:pt>
                <c:pt idx="12767">
                  <c:v>0</c:v>
                </c:pt>
                <c:pt idx="12768">
                  <c:v>0</c:v>
                </c:pt>
                <c:pt idx="12769">
                  <c:v>0</c:v>
                </c:pt>
                <c:pt idx="12770">
                  <c:v>0</c:v>
                </c:pt>
                <c:pt idx="12771">
                  <c:v>0</c:v>
                </c:pt>
                <c:pt idx="12772">
                  <c:v>0</c:v>
                </c:pt>
                <c:pt idx="12773">
                  <c:v>0</c:v>
                </c:pt>
                <c:pt idx="12774">
                  <c:v>0</c:v>
                </c:pt>
                <c:pt idx="12775">
                  <c:v>0</c:v>
                </c:pt>
                <c:pt idx="12776">
                  <c:v>0</c:v>
                </c:pt>
                <c:pt idx="12777">
                  <c:v>0</c:v>
                </c:pt>
                <c:pt idx="12778">
                  <c:v>0</c:v>
                </c:pt>
                <c:pt idx="12779">
                  <c:v>0</c:v>
                </c:pt>
                <c:pt idx="12780">
                  <c:v>3</c:v>
                </c:pt>
                <c:pt idx="12781">
                  <c:v>0</c:v>
                </c:pt>
                <c:pt idx="12782">
                  <c:v>0</c:v>
                </c:pt>
                <c:pt idx="12783">
                  <c:v>0</c:v>
                </c:pt>
                <c:pt idx="12784">
                  <c:v>0</c:v>
                </c:pt>
                <c:pt idx="12785">
                  <c:v>0</c:v>
                </c:pt>
                <c:pt idx="12786">
                  <c:v>0</c:v>
                </c:pt>
                <c:pt idx="12787">
                  <c:v>0</c:v>
                </c:pt>
                <c:pt idx="12788">
                  <c:v>0</c:v>
                </c:pt>
                <c:pt idx="12789">
                  <c:v>0</c:v>
                </c:pt>
                <c:pt idx="12790">
                  <c:v>0</c:v>
                </c:pt>
                <c:pt idx="12791">
                  <c:v>0</c:v>
                </c:pt>
                <c:pt idx="12792">
                  <c:v>0</c:v>
                </c:pt>
                <c:pt idx="12793">
                  <c:v>3</c:v>
                </c:pt>
                <c:pt idx="12794">
                  <c:v>0</c:v>
                </c:pt>
                <c:pt idx="12795">
                  <c:v>1</c:v>
                </c:pt>
                <c:pt idx="12796">
                  <c:v>1</c:v>
                </c:pt>
                <c:pt idx="12797">
                  <c:v>1</c:v>
                </c:pt>
                <c:pt idx="12798">
                  <c:v>0</c:v>
                </c:pt>
                <c:pt idx="12799">
                  <c:v>1</c:v>
                </c:pt>
                <c:pt idx="12800">
                  <c:v>0</c:v>
                </c:pt>
                <c:pt idx="12801">
                  <c:v>3</c:v>
                </c:pt>
                <c:pt idx="12802">
                  <c:v>2</c:v>
                </c:pt>
                <c:pt idx="12803">
                  <c:v>2</c:v>
                </c:pt>
                <c:pt idx="12804">
                  <c:v>2</c:v>
                </c:pt>
                <c:pt idx="12805">
                  <c:v>0</c:v>
                </c:pt>
                <c:pt idx="12806">
                  <c:v>1</c:v>
                </c:pt>
                <c:pt idx="12807">
                  <c:v>0</c:v>
                </c:pt>
                <c:pt idx="12808">
                  <c:v>0</c:v>
                </c:pt>
                <c:pt idx="12809">
                  <c:v>0</c:v>
                </c:pt>
                <c:pt idx="12810">
                  <c:v>3</c:v>
                </c:pt>
                <c:pt idx="12811">
                  <c:v>3</c:v>
                </c:pt>
                <c:pt idx="12812">
                  <c:v>8</c:v>
                </c:pt>
                <c:pt idx="12813">
                  <c:v>0</c:v>
                </c:pt>
                <c:pt idx="12814">
                  <c:v>0</c:v>
                </c:pt>
                <c:pt idx="12815">
                  <c:v>0</c:v>
                </c:pt>
                <c:pt idx="12816">
                  <c:v>0</c:v>
                </c:pt>
                <c:pt idx="12817">
                  <c:v>0</c:v>
                </c:pt>
                <c:pt idx="12818">
                  <c:v>0</c:v>
                </c:pt>
                <c:pt idx="12819">
                  <c:v>5</c:v>
                </c:pt>
                <c:pt idx="12820">
                  <c:v>0</c:v>
                </c:pt>
                <c:pt idx="12821">
                  <c:v>0</c:v>
                </c:pt>
                <c:pt idx="12822">
                  <c:v>2</c:v>
                </c:pt>
                <c:pt idx="12823">
                  <c:v>1</c:v>
                </c:pt>
                <c:pt idx="12824">
                  <c:v>0</c:v>
                </c:pt>
                <c:pt idx="12825">
                  <c:v>0</c:v>
                </c:pt>
                <c:pt idx="12826">
                  <c:v>8</c:v>
                </c:pt>
                <c:pt idx="12827">
                  <c:v>0</c:v>
                </c:pt>
                <c:pt idx="12828">
                  <c:v>0</c:v>
                </c:pt>
                <c:pt idx="12829">
                  <c:v>1</c:v>
                </c:pt>
                <c:pt idx="12830">
                  <c:v>0</c:v>
                </c:pt>
                <c:pt idx="12831">
                  <c:v>0</c:v>
                </c:pt>
                <c:pt idx="12832">
                  <c:v>0</c:v>
                </c:pt>
                <c:pt idx="12833">
                  <c:v>0</c:v>
                </c:pt>
                <c:pt idx="12834">
                  <c:v>0</c:v>
                </c:pt>
                <c:pt idx="12835">
                  <c:v>0</c:v>
                </c:pt>
                <c:pt idx="12836">
                  <c:v>0</c:v>
                </c:pt>
                <c:pt idx="12837">
                  <c:v>0</c:v>
                </c:pt>
                <c:pt idx="12838">
                  <c:v>0</c:v>
                </c:pt>
                <c:pt idx="12839">
                  <c:v>0</c:v>
                </c:pt>
                <c:pt idx="12840">
                  <c:v>0</c:v>
                </c:pt>
                <c:pt idx="12841">
                  <c:v>0</c:v>
                </c:pt>
                <c:pt idx="12842">
                  <c:v>0</c:v>
                </c:pt>
                <c:pt idx="12843">
                  <c:v>0</c:v>
                </c:pt>
                <c:pt idx="12844">
                  <c:v>0</c:v>
                </c:pt>
                <c:pt idx="12845">
                  <c:v>2</c:v>
                </c:pt>
                <c:pt idx="12846">
                  <c:v>0</c:v>
                </c:pt>
                <c:pt idx="12847">
                  <c:v>0</c:v>
                </c:pt>
                <c:pt idx="12848">
                  <c:v>0</c:v>
                </c:pt>
                <c:pt idx="12849">
                  <c:v>0</c:v>
                </c:pt>
                <c:pt idx="12850">
                  <c:v>3</c:v>
                </c:pt>
                <c:pt idx="12851">
                  <c:v>0</c:v>
                </c:pt>
                <c:pt idx="12852">
                  <c:v>0</c:v>
                </c:pt>
                <c:pt idx="12853">
                  <c:v>1</c:v>
                </c:pt>
                <c:pt idx="12854">
                  <c:v>0</c:v>
                </c:pt>
                <c:pt idx="12855">
                  <c:v>0</c:v>
                </c:pt>
                <c:pt idx="12856">
                  <c:v>0</c:v>
                </c:pt>
                <c:pt idx="12857">
                  <c:v>0</c:v>
                </c:pt>
                <c:pt idx="12858">
                  <c:v>0</c:v>
                </c:pt>
                <c:pt idx="12859">
                  <c:v>0</c:v>
                </c:pt>
                <c:pt idx="12860">
                  <c:v>0</c:v>
                </c:pt>
                <c:pt idx="12861">
                  <c:v>0</c:v>
                </c:pt>
                <c:pt idx="12862">
                  <c:v>0</c:v>
                </c:pt>
                <c:pt idx="12863">
                  <c:v>0</c:v>
                </c:pt>
                <c:pt idx="12864">
                  <c:v>0</c:v>
                </c:pt>
                <c:pt idx="12865">
                  <c:v>0</c:v>
                </c:pt>
                <c:pt idx="12866">
                  <c:v>0</c:v>
                </c:pt>
                <c:pt idx="12867">
                  <c:v>0</c:v>
                </c:pt>
                <c:pt idx="12868">
                  <c:v>1</c:v>
                </c:pt>
                <c:pt idx="12869">
                  <c:v>6</c:v>
                </c:pt>
                <c:pt idx="12870">
                  <c:v>0</c:v>
                </c:pt>
                <c:pt idx="12871">
                  <c:v>0</c:v>
                </c:pt>
                <c:pt idx="12872">
                  <c:v>0</c:v>
                </c:pt>
                <c:pt idx="12873">
                  <c:v>0</c:v>
                </c:pt>
                <c:pt idx="12874">
                  <c:v>1</c:v>
                </c:pt>
                <c:pt idx="12875">
                  <c:v>3</c:v>
                </c:pt>
                <c:pt idx="12876">
                  <c:v>7</c:v>
                </c:pt>
                <c:pt idx="12877">
                  <c:v>2</c:v>
                </c:pt>
                <c:pt idx="12878">
                  <c:v>0</c:v>
                </c:pt>
                <c:pt idx="12879">
                  <c:v>0</c:v>
                </c:pt>
                <c:pt idx="12880">
                  <c:v>0</c:v>
                </c:pt>
                <c:pt idx="12881">
                  <c:v>0</c:v>
                </c:pt>
                <c:pt idx="12882">
                  <c:v>0</c:v>
                </c:pt>
                <c:pt idx="12883">
                  <c:v>0</c:v>
                </c:pt>
                <c:pt idx="12884">
                  <c:v>0</c:v>
                </c:pt>
                <c:pt idx="12885">
                  <c:v>9</c:v>
                </c:pt>
                <c:pt idx="12886">
                  <c:v>0</c:v>
                </c:pt>
                <c:pt idx="12887">
                  <c:v>0</c:v>
                </c:pt>
                <c:pt idx="12888">
                  <c:v>0</c:v>
                </c:pt>
                <c:pt idx="12889">
                  <c:v>0</c:v>
                </c:pt>
                <c:pt idx="12890">
                  <c:v>2</c:v>
                </c:pt>
                <c:pt idx="12891">
                  <c:v>1</c:v>
                </c:pt>
                <c:pt idx="12892">
                  <c:v>0</c:v>
                </c:pt>
                <c:pt idx="12893">
                  <c:v>0</c:v>
                </c:pt>
                <c:pt idx="12894">
                  <c:v>1</c:v>
                </c:pt>
                <c:pt idx="12895">
                  <c:v>0</c:v>
                </c:pt>
                <c:pt idx="12896">
                  <c:v>0</c:v>
                </c:pt>
                <c:pt idx="12897">
                  <c:v>6</c:v>
                </c:pt>
                <c:pt idx="12898">
                  <c:v>0</c:v>
                </c:pt>
                <c:pt idx="12899">
                  <c:v>2</c:v>
                </c:pt>
                <c:pt idx="12900">
                  <c:v>0</c:v>
                </c:pt>
                <c:pt idx="12901">
                  <c:v>1</c:v>
                </c:pt>
                <c:pt idx="12902">
                  <c:v>2</c:v>
                </c:pt>
                <c:pt idx="12903">
                  <c:v>1</c:v>
                </c:pt>
                <c:pt idx="12904">
                  <c:v>4</c:v>
                </c:pt>
                <c:pt idx="12905">
                  <c:v>0</c:v>
                </c:pt>
                <c:pt idx="12906">
                  <c:v>2</c:v>
                </c:pt>
                <c:pt idx="12907">
                  <c:v>2</c:v>
                </c:pt>
                <c:pt idx="12908">
                  <c:v>2</c:v>
                </c:pt>
                <c:pt idx="12909">
                  <c:v>3</c:v>
                </c:pt>
                <c:pt idx="12910">
                  <c:v>2</c:v>
                </c:pt>
                <c:pt idx="12911">
                  <c:v>2</c:v>
                </c:pt>
                <c:pt idx="12912">
                  <c:v>0</c:v>
                </c:pt>
                <c:pt idx="12913">
                  <c:v>4</c:v>
                </c:pt>
                <c:pt idx="12914">
                  <c:v>0</c:v>
                </c:pt>
                <c:pt idx="12915">
                  <c:v>0</c:v>
                </c:pt>
                <c:pt idx="12916">
                  <c:v>0</c:v>
                </c:pt>
                <c:pt idx="12917">
                  <c:v>0</c:v>
                </c:pt>
                <c:pt idx="12918">
                  <c:v>1</c:v>
                </c:pt>
                <c:pt idx="12919">
                  <c:v>0</c:v>
                </c:pt>
                <c:pt idx="12920">
                  <c:v>0</c:v>
                </c:pt>
                <c:pt idx="12921">
                  <c:v>0</c:v>
                </c:pt>
                <c:pt idx="12922">
                  <c:v>0</c:v>
                </c:pt>
                <c:pt idx="12923">
                  <c:v>0</c:v>
                </c:pt>
                <c:pt idx="12924">
                  <c:v>0</c:v>
                </c:pt>
                <c:pt idx="12925">
                  <c:v>0</c:v>
                </c:pt>
                <c:pt idx="12926">
                  <c:v>0</c:v>
                </c:pt>
                <c:pt idx="12927">
                  <c:v>1</c:v>
                </c:pt>
                <c:pt idx="12928">
                  <c:v>0</c:v>
                </c:pt>
                <c:pt idx="12929">
                  <c:v>0</c:v>
                </c:pt>
                <c:pt idx="12930">
                  <c:v>0</c:v>
                </c:pt>
                <c:pt idx="12931">
                  <c:v>0</c:v>
                </c:pt>
                <c:pt idx="12932">
                  <c:v>0</c:v>
                </c:pt>
                <c:pt idx="12933">
                  <c:v>0</c:v>
                </c:pt>
                <c:pt idx="12934">
                  <c:v>0</c:v>
                </c:pt>
                <c:pt idx="12935">
                  <c:v>0</c:v>
                </c:pt>
                <c:pt idx="12936">
                  <c:v>3</c:v>
                </c:pt>
                <c:pt idx="12937">
                  <c:v>0</c:v>
                </c:pt>
                <c:pt idx="12938">
                  <c:v>0</c:v>
                </c:pt>
                <c:pt idx="12939">
                  <c:v>0</c:v>
                </c:pt>
                <c:pt idx="12940">
                  <c:v>0</c:v>
                </c:pt>
                <c:pt idx="12941">
                  <c:v>0</c:v>
                </c:pt>
                <c:pt idx="12942">
                  <c:v>0</c:v>
                </c:pt>
                <c:pt idx="12943">
                  <c:v>0</c:v>
                </c:pt>
                <c:pt idx="12944">
                  <c:v>0</c:v>
                </c:pt>
                <c:pt idx="12945">
                  <c:v>0</c:v>
                </c:pt>
                <c:pt idx="12946">
                  <c:v>0</c:v>
                </c:pt>
                <c:pt idx="12947">
                  <c:v>0</c:v>
                </c:pt>
                <c:pt idx="12948">
                  <c:v>0</c:v>
                </c:pt>
                <c:pt idx="12949">
                  <c:v>0</c:v>
                </c:pt>
                <c:pt idx="12950">
                  <c:v>0</c:v>
                </c:pt>
                <c:pt idx="12951">
                  <c:v>0</c:v>
                </c:pt>
                <c:pt idx="12952">
                  <c:v>0</c:v>
                </c:pt>
                <c:pt idx="12953">
                  <c:v>3</c:v>
                </c:pt>
                <c:pt idx="12954">
                  <c:v>0</c:v>
                </c:pt>
                <c:pt idx="12955">
                  <c:v>0</c:v>
                </c:pt>
                <c:pt idx="12956">
                  <c:v>0</c:v>
                </c:pt>
                <c:pt idx="12957">
                  <c:v>0</c:v>
                </c:pt>
                <c:pt idx="12958">
                  <c:v>0</c:v>
                </c:pt>
                <c:pt idx="12959">
                  <c:v>0</c:v>
                </c:pt>
                <c:pt idx="12960">
                  <c:v>0</c:v>
                </c:pt>
                <c:pt idx="12961">
                  <c:v>0</c:v>
                </c:pt>
                <c:pt idx="12962">
                  <c:v>0</c:v>
                </c:pt>
                <c:pt idx="12963">
                  <c:v>1</c:v>
                </c:pt>
                <c:pt idx="12964">
                  <c:v>0</c:v>
                </c:pt>
                <c:pt idx="12965">
                  <c:v>0</c:v>
                </c:pt>
                <c:pt idx="12966">
                  <c:v>0</c:v>
                </c:pt>
                <c:pt idx="12967">
                  <c:v>0</c:v>
                </c:pt>
                <c:pt idx="12968">
                  <c:v>0</c:v>
                </c:pt>
                <c:pt idx="12969">
                  <c:v>0</c:v>
                </c:pt>
                <c:pt idx="12970">
                  <c:v>1</c:v>
                </c:pt>
                <c:pt idx="12971">
                  <c:v>0</c:v>
                </c:pt>
                <c:pt idx="12972">
                  <c:v>0</c:v>
                </c:pt>
                <c:pt idx="12973">
                  <c:v>0</c:v>
                </c:pt>
                <c:pt idx="12974">
                  <c:v>6</c:v>
                </c:pt>
                <c:pt idx="12975">
                  <c:v>0</c:v>
                </c:pt>
                <c:pt idx="12976">
                  <c:v>2</c:v>
                </c:pt>
                <c:pt idx="12977">
                  <c:v>6</c:v>
                </c:pt>
                <c:pt idx="12978">
                  <c:v>0</c:v>
                </c:pt>
                <c:pt idx="12979">
                  <c:v>0</c:v>
                </c:pt>
                <c:pt idx="12980">
                  <c:v>0</c:v>
                </c:pt>
                <c:pt idx="12981">
                  <c:v>0</c:v>
                </c:pt>
                <c:pt idx="12982">
                  <c:v>0</c:v>
                </c:pt>
                <c:pt idx="12983">
                  <c:v>0</c:v>
                </c:pt>
                <c:pt idx="12984">
                  <c:v>0</c:v>
                </c:pt>
                <c:pt idx="12985">
                  <c:v>0</c:v>
                </c:pt>
                <c:pt idx="12986">
                  <c:v>0</c:v>
                </c:pt>
                <c:pt idx="12987">
                  <c:v>0</c:v>
                </c:pt>
                <c:pt idx="12988">
                  <c:v>0</c:v>
                </c:pt>
                <c:pt idx="12989">
                  <c:v>2</c:v>
                </c:pt>
                <c:pt idx="12990">
                  <c:v>0</c:v>
                </c:pt>
                <c:pt idx="12991">
                  <c:v>0</c:v>
                </c:pt>
                <c:pt idx="12992">
                  <c:v>0</c:v>
                </c:pt>
                <c:pt idx="12993">
                  <c:v>0</c:v>
                </c:pt>
                <c:pt idx="12994">
                  <c:v>0</c:v>
                </c:pt>
                <c:pt idx="12995">
                  <c:v>0</c:v>
                </c:pt>
                <c:pt idx="12996">
                  <c:v>0</c:v>
                </c:pt>
                <c:pt idx="12997">
                  <c:v>0</c:v>
                </c:pt>
                <c:pt idx="12998">
                  <c:v>0</c:v>
                </c:pt>
                <c:pt idx="12999">
                  <c:v>0</c:v>
                </c:pt>
                <c:pt idx="13000">
                  <c:v>1</c:v>
                </c:pt>
                <c:pt idx="13001">
                  <c:v>1</c:v>
                </c:pt>
                <c:pt idx="13002">
                  <c:v>3</c:v>
                </c:pt>
                <c:pt idx="13003">
                  <c:v>0</c:v>
                </c:pt>
                <c:pt idx="13004">
                  <c:v>3</c:v>
                </c:pt>
                <c:pt idx="13005">
                  <c:v>0</c:v>
                </c:pt>
                <c:pt idx="13006">
                  <c:v>7</c:v>
                </c:pt>
                <c:pt idx="13007">
                  <c:v>0</c:v>
                </c:pt>
                <c:pt idx="13008">
                  <c:v>1</c:v>
                </c:pt>
                <c:pt idx="13009">
                  <c:v>0</c:v>
                </c:pt>
                <c:pt idx="13010">
                  <c:v>3</c:v>
                </c:pt>
                <c:pt idx="13011">
                  <c:v>1</c:v>
                </c:pt>
                <c:pt idx="13012">
                  <c:v>2</c:v>
                </c:pt>
                <c:pt idx="13013">
                  <c:v>1</c:v>
                </c:pt>
                <c:pt idx="13014">
                  <c:v>2</c:v>
                </c:pt>
                <c:pt idx="13015">
                  <c:v>1</c:v>
                </c:pt>
                <c:pt idx="13016">
                  <c:v>1</c:v>
                </c:pt>
                <c:pt idx="13017">
                  <c:v>0</c:v>
                </c:pt>
                <c:pt idx="13018">
                  <c:v>0</c:v>
                </c:pt>
                <c:pt idx="13019">
                  <c:v>2</c:v>
                </c:pt>
                <c:pt idx="13020">
                  <c:v>0</c:v>
                </c:pt>
                <c:pt idx="13021">
                  <c:v>0</c:v>
                </c:pt>
                <c:pt idx="13022">
                  <c:v>0</c:v>
                </c:pt>
                <c:pt idx="13023">
                  <c:v>0</c:v>
                </c:pt>
                <c:pt idx="13024">
                  <c:v>0</c:v>
                </c:pt>
                <c:pt idx="13025">
                  <c:v>0</c:v>
                </c:pt>
                <c:pt idx="13026">
                  <c:v>0</c:v>
                </c:pt>
                <c:pt idx="13027">
                  <c:v>0</c:v>
                </c:pt>
                <c:pt idx="13028">
                  <c:v>0</c:v>
                </c:pt>
                <c:pt idx="13029">
                  <c:v>0</c:v>
                </c:pt>
                <c:pt idx="13030">
                  <c:v>0</c:v>
                </c:pt>
                <c:pt idx="13031">
                  <c:v>0</c:v>
                </c:pt>
                <c:pt idx="13032">
                  <c:v>0</c:v>
                </c:pt>
                <c:pt idx="13033">
                  <c:v>0</c:v>
                </c:pt>
                <c:pt idx="13034">
                  <c:v>0</c:v>
                </c:pt>
                <c:pt idx="13035">
                  <c:v>0</c:v>
                </c:pt>
                <c:pt idx="13036">
                  <c:v>0</c:v>
                </c:pt>
                <c:pt idx="13037">
                  <c:v>0</c:v>
                </c:pt>
                <c:pt idx="13038">
                  <c:v>0</c:v>
                </c:pt>
                <c:pt idx="13039">
                  <c:v>0</c:v>
                </c:pt>
                <c:pt idx="13040">
                  <c:v>0</c:v>
                </c:pt>
                <c:pt idx="13041">
                  <c:v>0</c:v>
                </c:pt>
                <c:pt idx="13042">
                  <c:v>0</c:v>
                </c:pt>
                <c:pt idx="13043">
                  <c:v>0</c:v>
                </c:pt>
                <c:pt idx="13044">
                  <c:v>0</c:v>
                </c:pt>
                <c:pt idx="13045">
                  <c:v>0</c:v>
                </c:pt>
                <c:pt idx="13046">
                  <c:v>0</c:v>
                </c:pt>
                <c:pt idx="13047">
                  <c:v>0</c:v>
                </c:pt>
                <c:pt idx="13048">
                  <c:v>0</c:v>
                </c:pt>
                <c:pt idx="13049">
                  <c:v>0</c:v>
                </c:pt>
                <c:pt idx="13050">
                  <c:v>0</c:v>
                </c:pt>
                <c:pt idx="13051">
                  <c:v>0</c:v>
                </c:pt>
                <c:pt idx="13052">
                  <c:v>0</c:v>
                </c:pt>
                <c:pt idx="13053">
                  <c:v>0</c:v>
                </c:pt>
                <c:pt idx="13054">
                  <c:v>0</c:v>
                </c:pt>
                <c:pt idx="13055">
                  <c:v>0</c:v>
                </c:pt>
                <c:pt idx="13056">
                  <c:v>0</c:v>
                </c:pt>
                <c:pt idx="13057">
                  <c:v>0</c:v>
                </c:pt>
                <c:pt idx="13058">
                  <c:v>0</c:v>
                </c:pt>
                <c:pt idx="13059">
                  <c:v>0</c:v>
                </c:pt>
                <c:pt idx="13060">
                  <c:v>0</c:v>
                </c:pt>
                <c:pt idx="13061">
                  <c:v>0</c:v>
                </c:pt>
                <c:pt idx="13062">
                  <c:v>0</c:v>
                </c:pt>
                <c:pt idx="13063">
                  <c:v>0</c:v>
                </c:pt>
                <c:pt idx="13064">
                  <c:v>1</c:v>
                </c:pt>
                <c:pt idx="13065">
                  <c:v>0</c:v>
                </c:pt>
                <c:pt idx="13066">
                  <c:v>0</c:v>
                </c:pt>
                <c:pt idx="13067">
                  <c:v>0</c:v>
                </c:pt>
                <c:pt idx="13068">
                  <c:v>0</c:v>
                </c:pt>
                <c:pt idx="13069">
                  <c:v>0</c:v>
                </c:pt>
                <c:pt idx="13070">
                  <c:v>0</c:v>
                </c:pt>
                <c:pt idx="13071">
                  <c:v>0</c:v>
                </c:pt>
                <c:pt idx="13072">
                  <c:v>2</c:v>
                </c:pt>
                <c:pt idx="13073">
                  <c:v>0</c:v>
                </c:pt>
                <c:pt idx="13074">
                  <c:v>0</c:v>
                </c:pt>
                <c:pt idx="13075">
                  <c:v>0</c:v>
                </c:pt>
                <c:pt idx="13076">
                  <c:v>0</c:v>
                </c:pt>
                <c:pt idx="13077">
                  <c:v>0</c:v>
                </c:pt>
                <c:pt idx="13078">
                  <c:v>0</c:v>
                </c:pt>
                <c:pt idx="13079">
                  <c:v>0</c:v>
                </c:pt>
                <c:pt idx="13080">
                  <c:v>0</c:v>
                </c:pt>
                <c:pt idx="13081">
                  <c:v>0</c:v>
                </c:pt>
                <c:pt idx="13082">
                  <c:v>0</c:v>
                </c:pt>
                <c:pt idx="13083">
                  <c:v>0</c:v>
                </c:pt>
                <c:pt idx="13084">
                  <c:v>0</c:v>
                </c:pt>
                <c:pt idx="13085">
                  <c:v>0</c:v>
                </c:pt>
                <c:pt idx="13086">
                  <c:v>0</c:v>
                </c:pt>
                <c:pt idx="13087">
                  <c:v>0</c:v>
                </c:pt>
                <c:pt idx="13088">
                  <c:v>0</c:v>
                </c:pt>
                <c:pt idx="13089">
                  <c:v>0</c:v>
                </c:pt>
                <c:pt idx="13090">
                  <c:v>1</c:v>
                </c:pt>
                <c:pt idx="13091">
                  <c:v>0</c:v>
                </c:pt>
                <c:pt idx="13092">
                  <c:v>0</c:v>
                </c:pt>
                <c:pt idx="13093">
                  <c:v>0</c:v>
                </c:pt>
                <c:pt idx="13094">
                  <c:v>0</c:v>
                </c:pt>
                <c:pt idx="13095">
                  <c:v>0</c:v>
                </c:pt>
                <c:pt idx="13096">
                  <c:v>0</c:v>
                </c:pt>
                <c:pt idx="13097">
                  <c:v>0</c:v>
                </c:pt>
                <c:pt idx="13098">
                  <c:v>0</c:v>
                </c:pt>
                <c:pt idx="13099">
                  <c:v>0</c:v>
                </c:pt>
                <c:pt idx="13100">
                  <c:v>0</c:v>
                </c:pt>
                <c:pt idx="13101">
                  <c:v>0</c:v>
                </c:pt>
                <c:pt idx="13102">
                  <c:v>0</c:v>
                </c:pt>
                <c:pt idx="13103">
                  <c:v>0</c:v>
                </c:pt>
                <c:pt idx="13104">
                  <c:v>0</c:v>
                </c:pt>
                <c:pt idx="13105">
                  <c:v>0</c:v>
                </c:pt>
                <c:pt idx="13106">
                  <c:v>0</c:v>
                </c:pt>
                <c:pt idx="13107">
                  <c:v>0</c:v>
                </c:pt>
                <c:pt idx="13108">
                  <c:v>0</c:v>
                </c:pt>
                <c:pt idx="13109">
                  <c:v>0</c:v>
                </c:pt>
                <c:pt idx="13110">
                  <c:v>0</c:v>
                </c:pt>
                <c:pt idx="13111">
                  <c:v>1</c:v>
                </c:pt>
                <c:pt idx="13112">
                  <c:v>1</c:v>
                </c:pt>
                <c:pt idx="13113">
                  <c:v>0</c:v>
                </c:pt>
                <c:pt idx="13114">
                  <c:v>0</c:v>
                </c:pt>
                <c:pt idx="13115">
                  <c:v>0</c:v>
                </c:pt>
                <c:pt idx="13116">
                  <c:v>0</c:v>
                </c:pt>
                <c:pt idx="13117">
                  <c:v>0</c:v>
                </c:pt>
                <c:pt idx="13118">
                  <c:v>0</c:v>
                </c:pt>
                <c:pt idx="13119">
                  <c:v>0</c:v>
                </c:pt>
                <c:pt idx="13120">
                  <c:v>0</c:v>
                </c:pt>
                <c:pt idx="13121">
                  <c:v>0</c:v>
                </c:pt>
                <c:pt idx="13122">
                  <c:v>0</c:v>
                </c:pt>
                <c:pt idx="13123">
                  <c:v>0</c:v>
                </c:pt>
                <c:pt idx="13124">
                  <c:v>0</c:v>
                </c:pt>
                <c:pt idx="13125">
                  <c:v>0</c:v>
                </c:pt>
                <c:pt idx="13126">
                  <c:v>0</c:v>
                </c:pt>
                <c:pt idx="13127">
                  <c:v>0</c:v>
                </c:pt>
                <c:pt idx="13128">
                  <c:v>0</c:v>
                </c:pt>
                <c:pt idx="13129">
                  <c:v>0</c:v>
                </c:pt>
                <c:pt idx="13130">
                  <c:v>0</c:v>
                </c:pt>
                <c:pt idx="13131">
                  <c:v>0</c:v>
                </c:pt>
                <c:pt idx="13132">
                  <c:v>0</c:v>
                </c:pt>
                <c:pt idx="13133">
                  <c:v>0</c:v>
                </c:pt>
                <c:pt idx="13134">
                  <c:v>0</c:v>
                </c:pt>
                <c:pt idx="13135">
                  <c:v>0</c:v>
                </c:pt>
                <c:pt idx="13136">
                  <c:v>0</c:v>
                </c:pt>
                <c:pt idx="13137">
                  <c:v>0</c:v>
                </c:pt>
                <c:pt idx="13138">
                  <c:v>2</c:v>
                </c:pt>
                <c:pt idx="13139">
                  <c:v>0</c:v>
                </c:pt>
                <c:pt idx="13140">
                  <c:v>0</c:v>
                </c:pt>
                <c:pt idx="13141">
                  <c:v>0</c:v>
                </c:pt>
                <c:pt idx="13142">
                  <c:v>0</c:v>
                </c:pt>
                <c:pt idx="13143">
                  <c:v>0</c:v>
                </c:pt>
                <c:pt idx="13144">
                  <c:v>0</c:v>
                </c:pt>
                <c:pt idx="13145">
                  <c:v>0</c:v>
                </c:pt>
                <c:pt idx="13146">
                  <c:v>0</c:v>
                </c:pt>
                <c:pt idx="13147">
                  <c:v>0</c:v>
                </c:pt>
                <c:pt idx="13148">
                  <c:v>0</c:v>
                </c:pt>
                <c:pt idx="13149">
                  <c:v>0</c:v>
                </c:pt>
                <c:pt idx="13150">
                  <c:v>0</c:v>
                </c:pt>
                <c:pt idx="13151">
                  <c:v>0</c:v>
                </c:pt>
                <c:pt idx="13152">
                  <c:v>0</c:v>
                </c:pt>
                <c:pt idx="13153">
                  <c:v>0</c:v>
                </c:pt>
                <c:pt idx="13154">
                  <c:v>0</c:v>
                </c:pt>
                <c:pt idx="13155">
                  <c:v>0</c:v>
                </c:pt>
                <c:pt idx="13156">
                  <c:v>0</c:v>
                </c:pt>
                <c:pt idx="13157">
                  <c:v>0</c:v>
                </c:pt>
                <c:pt idx="13158">
                  <c:v>0</c:v>
                </c:pt>
                <c:pt idx="13159">
                  <c:v>0</c:v>
                </c:pt>
                <c:pt idx="13160">
                  <c:v>0</c:v>
                </c:pt>
                <c:pt idx="13161">
                  <c:v>0</c:v>
                </c:pt>
                <c:pt idx="13162">
                  <c:v>0</c:v>
                </c:pt>
                <c:pt idx="13163">
                  <c:v>0</c:v>
                </c:pt>
                <c:pt idx="13164">
                  <c:v>0</c:v>
                </c:pt>
                <c:pt idx="13165">
                  <c:v>0</c:v>
                </c:pt>
                <c:pt idx="13166">
                  <c:v>0</c:v>
                </c:pt>
                <c:pt idx="13167">
                  <c:v>0</c:v>
                </c:pt>
                <c:pt idx="13168">
                  <c:v>0</c:v>
                </c:pt>
                <c:pt idx="13169">
                  <c:v>0</c:v>
                </c:pt>
                <c:pt idx="13170">
                  <c:v>0</c:v>
                </c:pt>
                <c:pt idx="13171">
                  <c:v>0</c:v>
                </c:pt>
                <c:pt idx="13172">
                  <c:v>0</c:v>
                </c:pt>
                <c:pt idx="13173">
                  <c:v>0</c:v>
                </c:pt>
                <c:pt idx="13174">
                  <c:v>0</c:v>
                </c:pt>
                <c:pt idx="13175">
                  <c:v>0</c:v>
                </c:pt>
                <c:pt idx="13176">
                  <c:v>0</c:v>
                </c:pt>
                <c:pt idx="13177">
                  <c:v>1</c:v>
                </c:pt>
                <c:pt idx="13178">
                  <c:v>0</c:v>
                </c:pt>
                <c:pt idx="13179">
                  <c:v>0</c:v>
                </c:pt>
                <c:pt idx="13180">
                  <c:v>0</c:v>
                </c:pt>
                <c:pt idx="13181">
                  <c:v>0</c:v>
                </c:pt>
                <c:pt idx="13182">
                  <c:v>0</c:v>
                </c:pt>
                <c:pt idx="13183">
                  <c:v>0</c:v>
                </c:pt>
                <c:pt idx="13184">
                  <c:v>0</c:v>
                </c:pt>
                <c:pt idx="13185">
                  <c:v>0</c:v>
                </c:pt>
                <c:pt idx="13186">
                  <c:v>0</c:v>
                </c:pt>
                <c:pt idx="13187">
                  <c:v>0</c:v>
                </c:pt>
                <c:pt idx="13188">
                  <c:v>0</c:v>
                </c:pt>
                <c:pt idx="13189">
                  <c:v>0</c:v>
                </c:pt>
                <c:pt idx="13190">
                  <c:v>0</c:v>
                </c:pt>
                <c:pt idx="13191">
                  <c:v>0</c:v>
                </c:pt>
                <c:pt idx="13192">
                  <c:v>1</c:v>
                </c:pt>
                <c:pt idx="13193">
                  <c:v>1</c:v>
                </c:pt>
                <c:pt idx="13194">
                  <c:v>0</c:v>
                </c:pt>
                <c:pt idx="13195">
                  <c:v>0</c:v>
                </c:pt>
                <c:pt idx="13196">
                  <c:v>0</c:v>
                </c:pt>
                <c:pt idx="13197">
                  <c:v>0</c:v>
                </c:pt>
                <c:pt idx="13198">
                  <c:v>0</c:v>
                </c:pt>
                <c:pt idx="13199">
                  <c:v>6</c:v>
                </c:pt>
                <c:pt idx="13200">
                  <c:v>2</c:v>
                </c:pt>
                <c:pt idx="13201">
                  <c:v>0</c:v>
                </c:pt>
                <c:pt idx="13202">
                  <c:v>0</c:v>
                </c:pt>
                <c:pt idx="13203">
                  <c:v>0</c:v>
                </c:pt>
                <c:pt idx="13204">
                  <c:v>4</c:v>
                </c:pt>
                <c:pt idx="13205">
                  <c:v>4</c:v>
                </c:pt>
                <c:pt idx="13206">
                  <c:v>0</c:v>
                </c:pt>
                <c:pt idx="13207">
                  <c:v>0</c:v>
                </c:pt>
                <c:pt idx="13208">
                  <c:v>0</c:v>
                </c:pt>
                <c:pt idx="13209">
                  <c:v>0</c:v>
                </c:pt>
                <c:pt idx="13210">
                  <c:v>0</c:v>
                </c:pt>
                <c:pt idx="13211">
                  <c:v>0</c:v>
                </c:pt>
                <c:pt idx="13212">
                  <c:v>0</c:v>
                </c:pt>
                <c:pt idx="13213">
                  <c:v>0</c:v>
                </c:pt>
                <c:pt idx="13214">
                  <c:v>1</c:v>
                </c:pt>
                <c:pt idx="13215">
                  <c:v>1</c:v>
                </c:pt>
                <c:pt idx="13216">
                  <c:v>0</c:v>
                </c:pt>
                <c:pt idx="13217">
                  <c:v>0</c:v>
                </c:pt>
                <c:pt idx="13218">
                  <c:v>0</c:v>
                </c:pt>
                <c:pt idx="13219">
                  <c:v>2</c:v>
                </c:pt>
                <c:pt idx="13220">
                  <c:v>2</c:v>
                </c:pt>
                <c:pt idx="13221">
                  <c:v>0</c:v>
                </c:pt>
                <c:pt idx="13222">
                  <c:v>0</c:v>
                </c:pt>
                <c:pt idx="13223">
                  <c:v>0</c:v>
                </c:pt>
                <c:pt idx="13224">
                  <c:v>0</c:v>
                </c:pt>
                <c:pt idx="13225">
                  <c:v>0</c:v>
                </c:pt>
                <c:pt idx="13226">
                  <c:v>0</c:v>
                </c:pt>
                <c:pt idx="13227">
                  <c:v>0</c:v>
                </c:pt>
                <c:pt idx="13228">
                  <c:v>5</c:v>
                </c:pt>
                <c:pt idx="13229">
                  <c:v>0</c:v>
                </c:pt>
                <c:pt idx="13230">
                  <c:v>0</c:v>
                </c:pt>
                <c:pt idx="13231">
                  <c:v>2</c:v>
                </c:pt>
                <c:pt idx="13232">
                  <c:v>0</c:v>
                </c:pt>
                <c:pt idx="13233">
                  <c:v>0</c:v>
                </c:pt>
                <c:pt idx="13234">
                  <c:v>0</c:v>
                </c:pt>
                <c:pt idx="13235">
                  <c:v>0</c:v>
                </c:pt>
                <c:pt idx="13236">
                  <c:v>0</c:v>
                </c:pt>
                <c:pt idx="13237">
                  <c:v>0</c:v>
                </c:pt>
                <c:pt idx="13238">
                  <c:v>0</c:v>
                </c:pt>
                <c:pt idx="13239">
                  <c:v>0</c:v>
                </c:pt>
                <c:pt idx="13240">
                  <c:v>2</c:v>
                </c:pt>
                <c:pt idx="13241">
                  <c:v>1</c:v>
                </c:pt>
                <c:pt idx="13242">
                  <c:v>0</c:v>
                </c:pt>
                <c:pt idx="13243">
                  <c:v>0</c:v>
                </c:pt>
                <c:pt idx="13244">
                  <c:v>0</c:v>
                </c:pt>
                <c:pt idx="13245">
                  <c:v>0</c:v>
                </c:pt>
                <c:pt idx="13246">
                  <c:v>0</c:v>
                </c:pt>
                <c:pt idx="13247">
                  <c:v>1</c:v>
                </c:pt>
                <c:pt idx="13248">
                  <c:v>2</c:v>
                </c:pt>
                <c:pt idx="13249">
                  <c:v>1</c:v>
                </c:pt>
                <c:pt idx="13250">
                  <c:v>0</c:v>
                </c:pt>
                <c:pt idx="13251">
                  <c:v>0</c:v>
                </c:pt>
                <c:pt idx="13252">
                  <c:v>0</c:v>
                </c:pt>
                <c:pt idx="13253">
                  <c:v>0</c:v>
                </c:pt>
                <c:pt idx="13254">
                  <c:v>5</c:v>
                </c:pt>
                <c:pt idx="13255">
                  <c:v>0</c:v>
                </c:pt>
                <c:pt idx="13256">
                  <c:v>2</c:v>
                </c:pt>
                <c:pt idx="13257">
                  <c:v>1</c:v>
                </c:pt>
                <c:pt idx="13258">
                  <c:v>5</c:v>
                </c:pt>
                <c:pt idx="13259">
                  <c:v>11</c:v>
                </c:pt>
                <c:pt idx="13260">
                  <c:v>0</c:v>
                </c:pt>
                <c:pt idx="13261">
                  <c:v>0</c:v>
                </c:pt>
                <c:pt idx="13262">
                  <c:v>0</c:v>
                </c:pt>
                <c:pt idx="13263">
                  <c:v>0</c:v>
                </c:pt>
                <c:pt idx="13264">
                  <c:v>0</c:v>
                </c:pt>
                <c:pt idx="13265">
                  <c:v>1</c:v>
                </c:pt>
                <c:pt idx="13266">
                  <c:v>0</c:v>
                </c:pt>
                <c:pt idx="13267">
                  <c:v>0</c:v>
                </c:pt>
                <c:pt idx="13268">
                  <c:v>1</c:v>
                </c:pt>
                <c:pt idx="13269">
                  <c:v>0</c:v>
                </c:pt>
                <c:pt idx="13270">
                  <c:v>0</c:v>
                </c:pt>
                <c:pt idx="13271">
                  <c:v>0</c:v>
                </c:pt>
                <c:pt idx="13272">
                  <c:v>0</c:v>
                </c:pt>
                <c:pt idx="13273">
                  <c:v>0</c:v>
                </c:pt>
                <c:pt idx="13274">
                  <c:v>0</c:v>
                </c:pt>
                <c:pt idx="13275">
                  <c:v>0</c:v>
                </c:pt>
                <c:pt idx="13276">
                  <c:v>2</c:v>
                </c:pt>
                <c:pt idx="13277">
                  <c:v>0</c:v>
                </c:pt>
                <c:pt idx="13278">
                  <c:v>0</c:v>
                </c:pt>
                <c:pt idx="13279">
                  <c:v>0</c:v>
                </c:pt>
                <c:pt idx="13280">
                  <c:v>0</c:v>
                </c:pt>
                <c:pt idx="13281">
                  <c:v>1</c:v>
                </c:pt>
                <c:pt idx="13282">
                  <c:v>0</c:v>
                </c:pt>
                <c:pt idx="13283">
                  <c:v>0</c:v>
                </c:pt>
                <c:pt idx="13284">
                  <c:v>0</c:v>
                </c:pt>
                <c:pt idx="13285">
                  <c:v>0</c:v>
                </c:pt>
                <c:pt idx="13286">
                  <c:v>0</c:v>
                </c:pt>
                <c:pt idx="13287">
                  <c:v>0</c:v>
                </c:pt>
                <c:pt idx="13288">
                  <c:v>17</c:v>
                </c:pt>
                <c:pt idx="13289">
                  <c:v>0</c:v>
                </c:pt>
                <c:pt idx="13290">
                  <c:v>14</c:v>
                </c:pt>
                <c:pt idx="13291">
                  <c:v>0</c:v>
                </c:pt>
                <c:pt idx="13292">
                  <c:v>1</c:v>
                </c:pt>
                <c:pt idx="13293">
                  <c:v>2</c:v>
                </c:pt>
                <c:pt idx="13294">
                  <c:v>0</c:v>
                </c:pt>
                <c:pt idx="13295">
                  <c:v>1</c:v>
                </c:pt>
                <c:pt idx="13296">
                  <c:v>0</c:v>
                </c:pt>
                <c:pt idx="13297">
                  <c:v>2</c:v>
                </c:pt>
                <c:pt idx="13298">
                  <c:v>4</c:v>
                </c:pt>
                <c:pt idx="13299">
                  <c:v>0</c:v>
                </c:pt>
                <c:pt idx="13300">
                  <c:v>2</c:v>
                </c:pt>
                <c:pt idx="13301">
                  <c:v>2</c:v>
                </c:pt>
                <c:pt idx="13302">
                  <c:v>0</c:v>
                </c:pt>
                <c:pt idx="13303">
                  <c:v>1</c:v>
                </c:pt>
                <c:pt idx="13304">
                  <c:v>2</c:v>
                </c:pt>
                <c:pt idx="13305">
                  <c:v>1</c:v>
                </c:pt>
                <c:pt idx="13306">
                  <c:v>1</c:v>
                </c:pt>
                <c:pt idx="13307">
                  <c:v>6</c:v>
                </c:pt>
                <c:pt idx="13308">
                  <c:v>0</c:v>
                </c:pt>
                <c:pt idx="13309">
                  <c:v>2</c:v>
                </c:pt>
                <c:pt idx="13310">
                  <c:v>2</c:v>
                </c:pt>
                <c:pt idx="13311">
                  <c:v>4</c:v>
                </c:pt>
                <c:pt idx="13312">
                  <c:v>0</c:v>
                </c:pt>
                <c:pt idx="13313">
                  <c:v>4</c:v>
                </c:pt>
                <c:pt idx="13314">
                  <c:v>6</c:v>
                </c:pt>
                <c:pt idx="13315">
                  <c:v>6</c:v>
                </c:pt>
                <c:pt idx="13316">
                  <c:v>3</c:v>
                </c:pt>
                <c:pt idx="13317">
                  <c:v>3</c:v>
                </c:pt>
                <c:pt idx="13318">
                  <c:v>1</c:v>
                </c:pt>
                <c:pt idx="13319">
                  <c:v>4</c:v>
                </c:pt>
                <c:pt idx="13320">
                  <c:v>3</c:v>
                </c:pt>
                <c:pt idx="13321">
                  <c:v>1</c:v>
                </c:pt>
                <c:pt idx="13322">
                  <c:v>0</c:v>
                </c:pt>
                <c:pt idx="13323">
                  <c:v>0</c:v>
                </c:pt>
                <c:pt idx="13324">
                  <c:v>0</c:v>
                </c:pt>
                <c:pt idx="13325">
                  <c:v>1</c:v>
                </c:pt>
                <c:pt idx="13326">
                  <c:v>5</c:v>
                </c:pt>
                <c:pt idx="13327">
                  <c:v>0</c:v>
                </c:pt>
                <c:pt idx="13328">
                  <c:v>1</c:v>
                </c:pt>
                <c:pt idx="13329">
                  <c:v>0</c:v>
                </c:pt>
                <c:pt idx="13330">
                  <c:v>0</c:v>
                </c:pt>
                <c:pt idx="13331">
                  <c:v>0</c:v>
                </c:pt>
                <c:pt idx="13332">
                  <c:v>2</c:v>
                </c:pt>
                <c:pt idx="13333">
                  <c:v>0</c:v>
                </c:pt>
                <c:pt idx="13334">
                  <c:v>0</c:v>
                </c:pt>
                <c:pt idx="13335">
                  <c:v>1</c:v>
                </c:pt>
                <c:pt idx="13336">
                  <c:v>0</c:v>
                </c:pt>
                <c:pt idx="13337">
                  <c:v>0</c:v>
                </c:pt>
                <c:pt idx="13338">
                  <c:v>0</c:v>
                </c:pt>
                <c:pt idx="13339">
                  <c:v>0</c:v>
                </c:pt>
                <c:pt idx="13340">
                  <c:v>0</c:v>
                </c:pt>
                <c:pt idx="13341">
                  <c:v>0</c:v>
                </c:pt>
                <c:pt idx="13342">
                  <c:v>0</c:v>
                </c:pt>
                <c:pt idx="13343">
                  <c:v>0</c:v>
                </c:pt>
                <c:pt idx="13344">
                  <c:v>0</c:v>
                </c:pt>
                <c:pt idx="13345">
                  <c:v>2</c:v>
                </c:pt>
                <c:pt idx="13346">
                  <c:v>0</c:v>
                </c:pt>
                <c:pt idx="13347">
                  <c:v>2</c:v>
                </c:pt>
                <c:pt idx="13348">
                  <c:v>0</c:v>
                </c:pt>
                <c:pt idx="13349">
                  <c:v>0</c:v>
                </c:pt>
                <c:pt idx="13350">
                  <c:v>2</c:v>
                </c:pt>
                <c:pt idx="13351">
                  <c:v>2</c:v>
                </c:pt>
                <c:pt idx="13352">
                  <c:v>2</c:v>
                </c:pt>
                <c:pt idx="13353">
                  <c:v>0</c:v>
                </c:pt>
                <c:pt idx="13354">
                  <c:v>0</c:v>
                </c:pt>
                <c:pt idx="13355">
                  <c:v>0</c:v>
                </c:pt>
                <c:pt idx="13356">
                  <c:v>0</c:v>
                </c:pt>
                <c:pt idx="13357">
                  <c:v>0</c:v>
                </c:pt>
                <c:pt idx="13358">
                  <c:v>0</c:v>
                </c:pt>
                <c:pt idx="13359">
                  <c:v>5</c:v>
                </c:pt>
                <c:pt idx="13360">
                  <c:v>4</c:v>
                </c:pt>
                <c:pt idx="13361">
                  <c:v>0</c:v>
                </c:pt>
                <c:pt idx="13362">
                  <c:v>0</c:v>
                </c:pt>
                <c:pt idx="13363">
                  <c:v>0</c:v>
                </c:pt>
                <c:pt idx="13364">
                  <c:v>0</c:v>
                </c:pt>
                <c:pt idx="13365">
                  <c:v>0</c:v>
                </c:pt>
                <c:pt idx="13366">
                  <c:v>0</c:v>
                </c:pt>
                <c:pt idx="13367">
                  <c:v>0</c:v>
                </c:pt>
                <c:pt idx="13368">
                  <c:v>0</c:v>
                </c:pt>
                <c:pt idx="13369">
                  <c:v>0</c:v>
                </c:pt>
                <c:pt idx="13370">
                  <c:v>0</c:v>
                </c:pt>
                <c:pt idx="13371">
                  <c:v>0</c:v>
                </c:pt>
                <c:pt idx="13372">
                  <c:v>0</c:v>
                </c:pt>
                <c:pt idx="13373">
                  <c:v>3</c:v>
                </c:pt>
                <c:pt idx="13374">
                  <c:v>0</c:v>
                </c:pt>
                <c:pt idx="13375">
                  <c:v>0</c:v>
                </c:pt>
                <c:pt idx="13376">
                  <c:v>0</c:v>
                </c:pt>
                <c:pt idx="13377">
                  <c:v>0</c:v>
                </c:pt>
                <c:pt idx="13378">
                  <c:v>0</c:v>
                </c:pt>
                <c:pt idx="13379">
                  <c:v>0</c:v>
                </c:pt>
                <c:pt idx="13380">
                  <c:v>0</c:v>
                </c:pt>
                <c:pt idx="13381">
                  <c:v>6</c:v>
                </c:pt>
                <c:pt idx="13382">
                  <c:v>2</c:v>
                </c:pt>
                <c:pt idx="13383">
                  <c:v>0</c:v>
                </c:pt>
                <c:pt idx="13384">
                  <c:v>0</c:v>
                </c:pt>
                <c:pt idx="13385">
                  <c:v>4</c:v>
                </c:pt>
                <c:pt idx="13386">
                  <c:v>4</c:v>
                </c:pt>
                <c:pt idx="13387">
                  <c:v>4</c:v>
                </c:pt>
                <c:pt idx="13388">
                  <c:v>0</c:v>
                </c:pt>
                <c:pt idx="13389">
                  <c:v>0</c:v>
                </c:pt>
                <c:pt idx="13390">
                  <c:v>0</c:v>
                </c:pt>
                <c:pt idx="13391">
                  <c:v>0</c:v>
                </c:pt>
                <c:pt idx="13392">
                  <c:v>0</c:v>
                </c:pt>
                <c:pt idx="13393">
                  <c:v>0</c:v>
                </c:pt>
                <c:pt idx="13394">
                  <c:v>0</c:v>
                </c:pt>
                <c:pt idx="13395">
                  <c:v>0</c:v>
                </c:pt>
                <c:pt idx="13396">
                  <c:v>0</c:v>
                </c:pt>
                <c:pt idx="13397">
                  <c:v>0</c:v>
                </c:pt>
                <c:pt idx="13398">
                  <c:v>2</c:v>
                </c:pt>
                <c:pt idx="13399">
                  <c:v>2</c:v>
                </c:pt>
                <c:pt idx="13400">
                  <c:v>1</c:v>
                </c:pt>
                <c:pt idx="13401">
                  <c:v>0</c:v>
                </c:pt>
                <c:pt idx="13402">
                  <c:v>0</c:v>
                </c:pt>
                <c:pt idx="13403">
                  <c:v>0</c:v>
                </c:pt>
                <c:pt idx="13404">
                  <c:v>0</c:v>
                </c:pt>
                <c:pt idx="13405">
                  <c:v>2</c:v>
                </c:pt>
                <c:pt idx="13406">
                  <c:v>0</c:v>
                </c:pt>
                <c:pt idx="13407">
                  <c:v>1</c:v>
                </c:pt>
                <c:pt idx="13408">
                  <c:v>0</c:v>
                </c:pt>
                <c:pt idx="13409">
                  <c:v>0</c:v>
                </c:pt>
                <c:pt idx="13410">
                  <c:v>0</c:v>
                </c:pt>
                <c:pt idx="13411">
                  <c:v>0</c:v>
                </c:pt>
                <c:pt idx="13412">
                  <c:v>0</c:v>
                </c:pt>
                <c:pt idx="13413">
                  <c:v>0</c:v>
                </c:pt>
                <c:pt idx="13414">
                  <c:v>3</c:v>
                </c:pt>
                <c:pt idx="13415">
                  <c:v>3</c:v>
                </c:pt>
                <c:pt idx="13416">
                  <c:v>0</c:v>
                </c:pt>
                <c:pt idx="13417">
                  <c:v>2</c:v>
                </c:pt>
                <c:pt idx="13418">
                  <c:v>0</c:v>
                </c:pt>
                <c:pt idx="13419">
                  <c:v>3</c:v>
                </c:pt>
                <c:pt idx="13420">
                  <c:v>0</c:v>
                </c:pt>
                <c:pt idx="13421">
                  <c:v>0</c:v>
                </c:pt>
                <c:pt idx="13422">
                  <c:v>4</c:v>
                </c:pt>
                <c:pt idx="13423">
                  <c:v>1</c:v>
                </c:pt>
                <c:pt idx="13424">
                  <c:v>0</c:v>
                </c:pt>
                <c:pt idx="13425">
                  <c:v>1</c:v>
                </c:pt>
                <c:pt idx="13426">
                  <c:v>1</c:v>
                </c:pt>
                <c:pt idx="13427">
                  <c:v>0</c:v>
                </c:pt>
                <c:pt idx="13428">
                  <c:v>0</c:v>
                </c:pt>
                <c:pt idx="13429">
                  <c:v>1</c:v>
                </c:pt>
                <c:pt idx="13430">
                  <c:v>0</c:v>
                </c:pt>
                <c:pt idx="13431">
                  <c:v>1</c:v>
                </c:pt>
                <c:pt idx="13432">
                  <c:v>0</c:v>
                </c:pt>
                <c:pt idx="13433">
                  <c:v>0</c:v>
                </c:pt>
                <c:pt idx="13434">
                  <c:v>0</c:v>
                </c:pt>
                <c:pt idx="13435">
                  <c:v>0</c:v>
                </c:pt>
                <c:pt idx="13436">
                  <c:v>0</c:v>
                </c:pt>
                <c:pt idx="13437">
                  <c:v>1</c:v>
                </c:pt>
                <c:pt idx="13438">
                  <c:v>0</c:v>
                </c:pt>
                <c:pt idx="13439">
                  <c:v>0</c:v>
                </c:pt>
                <c:pt idx="13440">
                  <c:v>0</c:v>
                </c:pt>
                <c:pt idx="13441">
                  <c:v>0</c:v>
                </c:pt>
                <c:pt idx="13442">
                  <c:v>0</c:v>
                </c:pt>
                <c:pt idx="13443">
                  <c:v>0</c:v>
                </c:pt>
                <c:pt idx="13444">
                  <c:v>0</c:v>
                </c:pt>
                <c:pt idx="13445">
                  <c:v>0</c:v>
                </c:pt>
                <c:pt idx="13446">
                  <c:v>0</c:v>
                </c:pt>
                <c:pt idx="13447">
                  <c:v>0</c:v>
                </c:pt>
                <c:pt idx="13448">
                  <c:v>0</c:v>
                </c:pt>
                <c:pt idx="13449">
                  <c:v>4</c:v>
                </c:pt>
                <c:pt idx="13450">
                  <c:v>0</c:v>
                </c:pt>
                <c:pt idx="13451">
                  <c:v>0</c:v>
                </c:pt>
                <c:pt idx="13452">
                  <c:v>1</c:v>
                </c:pt>
                <c:pt idx="13453">
                  <c:v>0</c:v>
                </c:pt>
                <c:pt idx="13454">
                  <c:v>0</c:v>
                </c:pt>
                <c:pt idx="13455">
                  <c:v>0</c:v>
                </c:pt>
                <c:pt idx="13456">
                  <c:v>0</c:v>
                </c:pt>
                <c:pt idx="13457">
                  <c:v>0</c:v>
                </c:pt>
                <c:pt idx="13458">
                  <c:v>0</c:v>
                </c:pt>
                <c:pt idx="13459">
                  <c:v>0</c:v>
                </c:pt>
                <c:pt idx="13460">
                  <c:v>0</c:v>
                </c:pt>
                <c:pt idx="13461">
                  <c:v>0</c:v>
                </c:pt>
                <c:pt idx="13462">
                  <c:v>0</c:v>
                </c:pt>
                <c:pt idx="13463">
                  <c:v>0</c:v>
                </c:pt>
                <c:pt idx="13464">
                  <c:v>2</c:v>
                </c:pt>
                <c:pt idx="13465">
                  <c:v>0</c:v>
                </c:pt>
                <c:pt idx="13466">
                  <c:v>0</c:v>
                </c:pt>
                <c:pt idx="13467">
                  <c:v>0</c:v>
                </c:pt>
                <c:pt idx="13468">
                  <c:v>0</c:v>
                </c:pt>
                <c:pt idx="13469">
                  <c:v>0</c:v>
                </c:pt>
                <c:pt idx="13470">
                  <c:v>0</c:v>
                </c:pt>
                <c:pt idx="13471">
                  <c:v>0</c:v>
                </c:pt>
                <c:pt idx="13472">
                  <c:v>0</c:v>
                </c:pt>
                <c:pt idx="13473">
                  <c:v>0</c:v>
                </c:pt>
                <c:pt idx="13474">
                  <c:v>0</c:v>
                </c:pt>
                <c:pt idx="13475">
                  <c:v>0</c:v>
                </c:pt>
                <c:pt idx="13476">
                  <c:v>0</c:v>
                </c:pt>
                <c:pt idx="13477">
                  <c:v>0</c:v>
                </c:pt>
                <c:pt idx="13478">
                  <c:v>0</c:v>
                </c:pt>
                <c:pt idx="13479">
                  <c:v>0</c:v>
                </c:pt>
                <c:pt idx="13480">
                  <c:v>0</c:v>
                </c:pt>
                <c:pt idx="13481">
                  <c:v>0</c:v>
                </c:pt>
                <c:pt idx="13482">
                  <c:v>1</c:v>
                </c:pt>
                <c:pt idx="13483">
                  <c:v>0</c:v>
                </c:pt>
                <c:pt idx="13484">
                  <c:v>4</c:v>
                </c:pt>
                <c:pt idx="13485">
                  <c:v>2</c:v>
                </c:pt>
                <c:pt idx="13486">
                  <c:v>0</c:v>
                </c:pt>
                <c:pt idx="13487">
                  <c:v>0</c:v>
                </c:pt>
                <c:pt idx="13488">
                  <c:v>0</c:v>
                </c:pt>
                <c:pt idx="13489">
                  <c:v>0</c:v>
                </c:pt>
                <c:pt idx="13490">
                  <c:v>0</c:v>
                </c:pt>
                <c:pt idx="13491">
                  <c:v>2</c:v>
                </c:pt>
                <c:pt idx="13492">
                  <c:v>0</c:v>
                </c:pt>
                <c:pt idx="13493">
                  <c:v>1</c:v>
                </c:pt>
                <c:pt idx="13494">
                  <c:v>0</c:v>
                </c:pt>
                <c:pt idx="13495">
                  <c:v>2</c:v>
                </c:pt>
                <c:pt idx="13496">
                  <c:v>4</c:v>
                </c:pt>
                <c:pt idx="13497">
                  <c:v>2</c:v>
                </c:pt>
                <c:pt idx="13498">
                  <c:v>2</c:v>
                </c:pt>
                <c:pt idx="13499">
                  <c:v>2</c:v>
                </c:pt>
                <c:pt idx="13500">
                  <c:v>0</c:v>
                </c:pt>
                <c:pt idx="13501">
                  <c:v>0</c:v>
                </c:pt>
                <c:pt idx="13502">
                  <c:v>0</c:v>
                </c:pt>
                <c:pt idx="13503">
                  <c:v>0</c:v>
                </c:pt>
                <c:pt idx="13504">
                  <c:v>0</c:v>
                </c:pt>
                <c:pt idx="13505">
                  <c:v>0</c:v>
                </c:pt>
                <c:pt idx="13506">
                  <c:v>0</c:v>
                </c:pt>
                <c:pt idx="13507">
                  <c:v>0</c:v>
                </c:pt>
                <c:pt idx="13508">
                  <c:v>0</c:v>
                </c:pt>
                <c:pt idx="13509">
                  <c:v>0</c:v>
                </c:pt>
                <c:pt idx="13510">
                  <c:v>0</c:v>
                </c:pt>
                <c:pt idx="13511">
                  <c:v>0</c:v>
                </c:pt>
                <c:pt idx="13512">
                  <c:v>0</c:v>
                </c:pt>
                <c:pt idx="13513">
                  <c:v>0</c:v>
                </c:pt>
                <c:pt idx="13514">
                  <c:v>0</c:v>
                </c:pt>
                <c:pt idx="13515">
                  <c:v>1</c:v>
                </c:pt>
                <c:pt idx="13516">
                  <c:v>0</c:v>
                </c:pt>
                <c:pt idx="13517">
                  <c:v>0</c:v>
                </c:pt>
                <c:pt idx="13518">
                  <c:v>0</c:v>
                </c:pt>
                <c:pt idx="13519">
                  <c:v>0</c:v>
                </c:pt>
                <c:pt idx="13520">
                  <c:v>0</c:v>
                </c:pt>
                <c:pt idx="13521">
                  <c:v>0</c:v>
                </c:pt>
                <c:pt idx="13522">
                  <c:v>1</c:v>
                </c:pt>
                <c:pt idx="13523">
                  <c:v>0</c:v>
                </c:pt>
                <c:pt idx="13524">
                  <c:v>0</c:v>
                </c:pt>
                <c:pt idx="13525">
                  <c:v>1</c:v>
                </c:pt>
                <c:pt idx="13526">
                  <c:v>1</c:v>
                </c:pt>
                <c:pt idx="13527">
                  <c:v>0</c:v>
                </c:pt>
                <c:pt idx="13528">
                  <c:v>0</c:v>
                </c:pt>
                <c:pt idx="13529">
                  <c:v>0</c:v>
                </c:pt>
                <c:pt idx="13530">
                  <c:v>0</c:v>
                </c:pt>
                <c:pt idx="13531">
                  <c:v>0</c:v>
                </c:pt>
                <c:pt idx="13532">
                  <c:v>0</c:v>
                </c:pt>
                <c:pt idx="13533">
                  <c:v>0</c:v>
                </c:pt>
                <c:pt idx="13534">
                  <c:v>1</c:v>
                </c:pt>
                <c:pt idx="13535">
                  <c:v>0</c:v>
                </c:pt>
                <c:pt idx="13536">
                  <c:v>0</c:v>
                </c:pt>
                <c:pt idx="13537">
                  <c:v>0</c:v>
                </c:pt>
                <c:pt idx="13538">
                  <c:v>0</c:v>
                </c:pt>
                <c:pt idx="13539">
                  <c:v>0</c:v>
                </c:pt>
                <c:pt idx="13540">
                  <c:v>0</c:v>
                </c:pt>
                <c:pt idx="13541">
                  <c:v>0</c:v>
                </c:pt>
                <c:pt idx="13542">
                  <c:v>0</c:v>
                </c:pt>
                <c:pt idx="13543">
                  <c:v>0</c:v>
                </c:pt>
                <c:pt idx="13544">
                  <c:v>0</c:v>
                </c:pt>
                <c:pt idx="13545">
                  <c:v>0</c:v>
                </c:pt>
                <c:pt idx="13546">
                  <c:v>0</c:v>
                </c:pt>
                <c:pt idx="13547">
                  <c:v>0</c:v>
                </c:pt>
                <c:pt idx="13548">
                  <c:v>0</c:v>
                </c:pt>
                <c:pt idx="13549">
                  <c:v>0</c:v>
                </c:pt>
                <c:pt idx="13550">
                  <c:v>0</c:v>
                </c:pt>
                <c:pt idx="13551">
                  <c:v>0</c:v>
                </c:pt>
                <c:pt idx="13552">
                  <c:v>0</c:v>
                </c:pt>
                <c:pt idx="13553">
                  <c:v>0</c:v>
                </c:pt>
                <c:pt idx="13554">
                  <c:v>0</c:v>
                </c:pt>
                <c:pt idx="13555">
                  <c:v>0</c:v>
                </c:pt>
                <c:pt idx="13556">
                  <c:v>0</c:v>
                </c:pt>
                <c:pt idx="13557">
                  <c:v>0</c:v>
                </c:pt>
                <c:pt idx="13558">
                  <c:v>0</c:v>
                </c:pt>
                <c:pt idx="13559">
                  <c:v>0</c:v>
                </c:pt>
                <c:pt idx="13560">
                  <c:v>0</c:v>
                </c:pt>
                <c:pt idx="13561">
                  <c:v>0</c:v>
                </c:pt>
                <c:pt idx="13562">
                  <c:v>0</c:v>
                </c:pt>
                <c:pt idx="13563">
                  <c:v>0</c:v>
                </c:pt>
                <c:pt idx="13564">
                  <c:v>0</c:v>
                </c:pt>
                <c:pt idx="13565">
                  <c:v>0</c:v>
                </c:pt>
                <c:pt idx="13566">
                  <c:v>0</c:v>
                </c:pt>
                <c:pt idx="13567">
                  <c:v>0</c:v>
                </c:pt>
                <c:pt idx="13568">
                  <c:v>0</c:v>
                </c:pt>
                <c:pt idx="13569">
                  <c:v>0</c:v>
                </c:pt>
                <c:pt idx="13570">
                  <c:v>0</c:v>
                </c:pt>
                <c:pt idx="13571">
                  <c:v>0</c:v>
                </c:pt>
                <c:pt idx="13572">
                  <c:v>0</c:v>
                </c:pt>
                <c:pt idx="13573">
                  <c:v>0</c:v>
                </c:pt>
                <c:pt idx="13574">
                  <c:v>0</c:v>
                </c:pt>
                <c:pt idx="13575">
                  <c:v>0</c:v>
                </c:pt>
                <c:pt idx="13576">
                  <c:v>0</c:v>
                </c:pt>
                <c:pt idx="13577">
                  <c:v>0</c:v>
                </c:pt>
                <c:pt idx="13578">
                  <c:v>0</c:v>
                </c:pt>
                <c:pt idx="13579">
                  <c:v>0</c:v>
                </c:pt>
                <c:pt idx="13580">
                  <c:v>0</c:v>
                </c:pt>
                <c:pt idx="13581">
                  <c:v>0</c:v>
                </c:pt>
                <c:pt idx="13582">
                  <c:v>0</c:v>
                </c:pt>
                <c:pt idx="13583">
                  <c:v>0</c:v>
                </c:pt>
                <c:pt idx="13584">
                  <c:v>0</c:v>
                </c:pt>
                <c:pt idx="13585">
                  <c:v>0</c:v>
                </c:pt>
                <c:pt idx="13586">
                  <c:v>0</c:v>
                </c:pt>
                <c:pt idx="13587">
                  <c:v>0</c:v>
                </c:pt>
                <c:pt idx="13588">
                  <c:v>0</c:v>
                </c:pt>
                <c:pt idx="13589">
                  <c:v>0</c:v>
                </c:pt>
                <c:pt idx="13590">
                  <c:v>0</c:v>
                </c:pt>
                <c:pt idx="13591">
                  <c:v>0</c:v>
                </c:pt>
                <c:pt idx="13592">
                  <c:v>2</c:v>
                </c:pt>
                <c:pt idx="13593">
                  <c:v>1</c:v>
                </c:pt>
                <c:pt idx="13594">
                  <c:v>0</c:v>
                </c:pt>
                <c:pt idx="13595">
                  <c:v>0</c:v>
                </c:pt>
                <c:pt idx="13596">
                  <c:v>0</c:v>
                </c:pt>
                <c:pt idx="13597">
                  <c:v>0</c:v>
                </c:pt>
                <c:pt idx="13598">
                  <c:v>0</c:v>
                </c:pt>
                <c:pt idx="13599">
                  <c:v>0</c:v>
                </c:pt>
                <c:pt idx="13600">
                  <c:v>0</c:v>
                </c:pt>
                <c:pt idx="13601">
                  <c:v>0</c:v>
                </c:pt>
                <c:pt idx="13602">
                  <c:v>0</c:v>
                </c:pt>
                <c:pt idx="13603">
                  <c:v>0</c:v>
                </c:pt>
                <c:pt idx="13604">
                  <c:v>2</c:v>
                </c:pt>
                <c:pt idx="13605">
                  <c:v>0</c:v>
                </c:pt>
                <c:pt idx="13606">
                  <c:v>0</c:v>
                </c:pt>
                <c:pt idx="13607">
                  <c:v>0</c:v>
                </c:pt>
                <c:pt idx="13608">
                  <c:v>0</c:v>
                </c:pt>
                <c:pt idx="13609">
                  <c:v>0</c:v>
                </c:pt>
                <c:pt idx="13610">
                  <c:v>0</c:v>
                </c:pt>
                <c:pt idx="13611">
                  <c:v>0</c:v>
                </c:pt>
                <c:pt idx="13612">
                  <c:v>0</c:v>
                </c:pt>
                <c:pt idx="13613">
                  <c:v>0</c:v>
                </c:pt>
                <c:pt idx="13614">
                  <c:v>0</c:v>
                </c:pt>
                <c:pt idx="13615">
                  <c:v>0</c:v>
                </c:pt>
                <c:pt idx="13616">
                  <c:v>4</c:v>
                </c:pt>
                <c:pt idx="13617">
                  <c:v>3</c:v>
                </c:pt>
                <c:pt idx="13618">
                  <c:v>0</c:v>
                </c:pt>
                <c:pt idx="13619">
                  <c:v>0</c:v>
                </c:pt>
                <c:pt idx="13620">
                  <c:v>0</c:v>
                </c:pt>
                <c:pt idx="13621">
                  <c:v>0</c:v>
                </c:pt>
                <c:pt idx="13622">
                  <c:v>0</c:v>
                </c:pt>
                <c:pt idx="13623">
                  <c:v>0</c:v>
                </c:pt>
                <c:pt idx="13624">
                  <c:v>0</c:v>
                </c:pt>
                <c:pt idx="13625">
                  <c:v>0</c:v>
                </c:pt>
                <c:pt idx="13626">
                  <c:v>0</c:v>
                </c:pt>
                <c:pt idx="13627">
                  <c:v>0</c:v>
                </c:pt>
                <c:pt idx="13628">
                  <c:v>1</c:v>
                </c:pt>
                <c:pt idx="13629">
                  <c:v>0</c:v>
                </c:pt>
                <c:pt idx="13630">
                  <c:v>0</c:v>
                </c:pt>
                <c:pt idx="13631">
                  <c:v>0</c:v>
                </c:pt>
                <c:pt idx="13632">
                  <c:v>0</c:v>
                </c:pt>
                <c:pt idx="13633">
                  <c:v>0</c:v>
                </c:pt>
                <c:pt idx="13634">
                  <c:v>0</c:v>
                </c:pt>
                <c:pt idx="13635">
                  <c:v>0</c:v>
                </c:pt>
                <c:pt idx="13636">
                  <c:v>0</c:v>
                </c:pt>
                <c:pt idx="13637">
                  <c:v>0</c:v>
                </c:pt>
                <c:pt idx="13638">
                  <c:v>0</c:v>
                </c:pt>
                <c:pt idx="13639">
                  <c:v>0</c:v>
                </c:pt>
                <c:pt idx="13640">
                  <c:v>1</c:v>
                </c:pt>
                <c:pt idx="13641">
                  <c:v>0</c:v>
                </c:pt>
                <c:pt idx="13642">
                  <c:v>0</c:v>
                </c:pt>
                <c:pt idx="13643">
                  <c:v>0</c:v>
                </c:pt>
                <c:pt idx="13644">
                  <c:v>0</c:v>
                </c:pt>
                <c:pt idx="13645">
                  <c:v>0</c:v>
                </c:pt>
                <c:pt idx="13646">
                  <c:v>2</c:v>
                </c:pt>
                <c:pt idx="13647">
                  <c:v>2</c:v>
                </c:pt>
                <c:pt idx="13648">
                  <c:v>0</c:v>
                </c:pt>
                <c:pt idx="13649">
                  <c:v>0</c:v>
                </c:pt>
                <c:pt idx="13650">
                  <c:v>0</c:v>
                </c:pt>
                <c:pt idx="13651">
                  <c:v>0</c:v>
                </c:pt>
                <c:pt idx="13652">
                  <c:v>0</c:v>
                </c:pt>
                <c:pt idx="13653">
                  <c:v>0</c:v>
                </c:pt>
                <c:pt idx="13654">
                  <c:v>0</c:v>
                </c:pt>
                <c:pt idx="13655">
                  <c:v>0</c:v>
                </c:pt>
                <c:pt idx="13656">
                  <c:v>1</c:v>
                </c:pt>
                <c:pt idx="13657">
                  <c:v>0</c:v>
                </c:pt>
                <c:pt idx="13658">
                  <c:v>0</c:v>
                </c:pt>
                <c:pt idx="13659">
                  <c:v>0</c:v>
                </c:pt>
                <c:pt idx="13660">
                  <c:v>0</c:v>
                </c:pt>
                <c:pt idx="13661">
                  <c:v>0</c:v>
                </c:pt>
                <c:pt idx="13662">
                  <c:v>0</c:v>
                </c:pt>
                <c:pt idx="13663">
                  <c:v>0</c:v>
                </c:pt>
                <c:pt idx="13664">
                  <c:v>0</c:v>
                </c:pt>
                <c:pt idx="13665">
                  <c:v>0</c:v>
                </c:pt>
                <c:pt idx="13666">
                  <c:v>0</c:v>
                </c:pt>
                <c:pt idx="13667">
                  <c:v>0</c:v>
                </c:pt>
                <c:pt idx="13668">
                  <c:v>0</c:v>
                </c:pt>
                <c:pt idx="13669">
                  <c:v>0</c:v>
                </c:pt>
                <c:pt idx="13670">
                  <c:v>0</c:v>
                </c:pt>
                <c:pt idx="13671">
                  <c:v>0</c:v>
                </c:pt>
                <c:pt idx="13672">
                  <c:v>0</c:v>
                </c:pt>
                <c:pt idx="13673">
                  <c:v>0</c:v>
                </c:pt>
                <c:pt idx="13674">
                  <c:v>0</c:v>
                </c:pt>
                <c:pt idx="13675">
                  <c:v>0</c:v>
                </c:pt>
                <c:pt idx="13676">
                  <c:v>0</c:v>
                </c:pt>
                <c:pt idx="13677">
                  <c:v>0</c:v>
                </c:pt>
                <c:pt idx="13678">
                  <c:v>0</c:v>
                </c:pt>
                <c:pt idx="13679">
                  <c:v>0</c:v>
                </c:pt>
                <c:pt idx="13680">
                  <c:v>0</c:v>
                </c:pt>
                <c:pt idx="13681">
                  <c:v>0</c:v>
                </c:pt>
                <c:pt idx="13682">
                  <c:v>0</c:v>
                </c:pt>
                <c:pt idx="13683">
                  <c:v>0</c:v>
                </c:pt>
                <c:pt idx="13684">
                  <c:v>0</c:v>
                </c:pt>
                <c:pt idx="13685">
                  <c:v>0</c:v>
                </c:pt>
                <c:pt idx="13686">
                  <c:v>1</c:v>
                </c:pt>
                <c:pt idx="13687">
                  <c:v>0</c:v>
                </c:pt>
                <c:pt idx="13688">
                  <c:v>0</c:v>
                </c:pt>
                <c:pt idx="13689">
                  <c:v>0</c:v>
                </c:pt>
                <c:pt idx="13690">
                  <c:v>0</c:v>
                </c:pt>
                <c:pt idx="13691">
                  <c:v>0</c:v>
                </c:pt>
                <c:pt idx="13692">
                  <c:v>0</c:v>
                </c:pt>
                <c:pt idx="13693">
                  <c:v>0</c:v>
                </c:pt>
                <c:pt idx="13694">
                  <c:v>0</c:v>
                </c:pt>
                <c:pt idx="13695">
                  <c:v>0</c:v>
                </c:pt>
                <c:pt idx="13696">
                  <c:v>0</c:v>
                </c:pt>
                <c:pt idx="13697">
                  <c:v>0</c:v>
                </c:pt>
                <c:pt idx="13698">
                  <c:v>0</c:v>
                </c:pt>
                <c:pt idx="13699">
                  <c:v>0</c:v>
                </c:pt>
                <c:pt idx="13700">
                  <c:v>0</c:v>
                </c:pt>
                <c:pt idx="13701">
                  <c:v>0</c:v>
                </c:pt>
                <c:pt idx="13702">
                  <c:v>2</c:v>
                </c:pt>
                <c:pt idx="13703">
                  <c:v>0</c:v>
                </c:pt>
                <c:pt idx="13704">
                  <c:v>1</c:v>
                </c:pt>
                <c:pt idx="13705">
                  <c:v>0</c:v>
                </c:pt>
                <c:pt idx="13706">
                  <c:v>0</c:v>
                </c:pt>
                <c:pt idx="13707">
                  <c:v>0</c:v>
                </c:pt>
                <c:pt idx="13708">
                  <c:v>0</c:v>
                </c:pt>
                <c:pt idx="13709">
                  <c:v>0</c:v>
                </c:pt>
                <c:pt idx="13710">
                  <c:v>0</c:v>
                </c:pt>
                <c:pt idx="13711">
                  <c:v>0</c:v>
                </c:pt>
                <c:pt idx="13712">
                  <c:v>0</c:v>
                </c:pt>
                <c:pt idx="13713">
                  <c:v>0</c:v>
                </c:pt>
                <c:pt idx="13714">
                  <c:v>0</c:v>
                </c:pt>
                <c:pt idx="13715">
                  <c:v>0</c:v>
                </c:pt>
                <c:pt idx="13716">
                  <c:v>0</c:v>
                </c:pt>
                <c:pt idx="13717">
                  <c:v>0</c:v>
                </c:pt>
                <c:pt idx="13718">
                  <c:v>0</c:v>
                </c:pt>
                <c:pt idx="13719">
                  <c:v>0</c:v>
                </c:pt>
                <c:pt idx="13720">
                  <c:v>0</c:v>
                </c:pt>
                <c:pt idx="13721">
                  <c:v>0</c:v>
                </c:pt>
                <c:pt idx="13722">
                  <c:v>0</c:v>
                </c:pt>
                <c:pt idx="13723">
                  <c:v>0</c:v>
                </c:pt>
                <c:pt idx="13724">
                  <c:v>0</c:v>
                </c:pt>
                <c:pt idx="13725">
                  <c:v>0</c:v>
                </c:pt>
                <c:pt idx="13726">
                  <c:v>0</c:v>
                </c:pt>
                <c:pt idx="13727">
                  <c:v>0</c:v>
                </c:pt>
                <c:pt idx="13728">
                  <c:v>0</c:v>
                </c:pt>
                <c:pt idx="13729">
                  <c:v>0</c:v>
                </c:pt>
                <c:pt idx="13730">
                  <c:v>0</c:v>
                </c:pt>
                <c:pt idx="13731">
                  <c:v>0</c:v>
                </c:pt>
                <c:pt idx="13732">
                  <c:v>0</c:v>
                </c:pt>
                <c:pt idx="13733">
                  <c:v>0</c:v>
                </c:pt>
                <c:pt idx="13734">
                  <c:v>0</c:v>
                </c:pt>
                <c:pt idx="13735">
                  <c:v>0</c:v>
                </c:pt>
                <c:pt idx="13736">
                  <c:v>0</c:v>
                </c:pt>
                <c:pt idx="13737">
                  <c:v>0</c:v>
                </c:pt>
                <c:pt idx="13738">
                  <c:v>0</c:v>
                </c:pt>
                <c:pt idx="13739">
                  <c:v>0</c:v>
                </c:pt>
                <c:pt idx="13740">
                  <c:v>0</c:v>
                </c:pt>
                <c:pt idx="13741">
                  <c:v>0</c:v>
                </c:pt>
                <c:pt idx="13742">
                  <c:v>0</c:v>
                </c:pt>
                <c:pt idx="13743">
                  <c:v>0</c:v>
                </c:pt>
                <c:pt idx="13744">
                  <c:v>0</c:v>
                </c:pt>
                <c:pt idx="13745">
                  <c:v>0</c:v>
                </c:pt>
                <c:pt idx="13746">
                  <c:v>0</c:v>
                </c:pt>
                <c:pt idx="13747">
                  <c:v>0</c:v>
                </c:pt>
                <c:pt idx="13748">
                  <c:v>0</c:v>
                </c:pt>
                <c:pt idx="13749">
                  <c:v>0</c:v>
                </c:pt>
                <c:pt idx="13750">
                  <c:v>0</c:v>
                </c:pt>
                <c:pt idx="13751">
                  <c:v>0</c:v>
                </c:pt>
                <c:pt idx="13752">
                  <c:v>0</c:v>
                </c:pt>
                <c:pt idx="13753">
                  <c:v>0</c:v>
                </c:pt>
                <c:pt idx="13754">
                  <c:v>0</c:v>
                </c:pt>
                <c:pt idx="13755">
                  <c:v>0</c:v>
                </c:pt>
                <c:pt idx="13756">
                  <c:v>0</c:v>
                </c:pt>
                <c:pt idx="13757">
                  <c:v>0</c:v>
                </c:pt>
                <c:pt idx="13758">
                  <c:v>0</c:v>
                </c:pt>
                <c:pt idx="13759">
                  <c:v>0</c:v>
                </c:pt>
                <c:pt idx="13760">
                  <c:v>0</c:v>
                </c:pt>
                <c:pt idx="13761">
                  <c:v>0</c:v>
                </c:pt>
                <c:pt idx="13762">
                  <c:v>0</c:v>
                </c:pt>
                <c:pt idx="13763">
                  <c:v>0</c:v>
                </c:pt>
                <c:pt idx="13764">
                  <c:v>0</c:v>
                </c:pt>
                <c:pt idx="13765">
                  <c:v>0</c:v>
                </c:pt>
                <c:pt idx="13766">
                  <c:v>0</c:v>
                </c:pt>
                <c:pt idx="13767">
                  <c:v>0</c:v>
                </c:pt>
                <c:pt idx="13768">
                  <c:v>0</c:v>
                </c:pt>
                <c:pt idx="13769">
                  <c:v>0</c:v>
                </c:pt>
                <c:pt idx="13770">
                  <c:v>0</c:v>
                </c:pt>
                <c:pt idx="13771">
                  <c:v>0</c:v>
                </c:pt>
                <c:pt idx="13772">
                  <c:v>0</c:v>
                </c:pt>
                <c:pt idx="13773">
                  <c:v>0</c:v>
                </c:pt>
                <c:pt idx="13774">
                  <c:v>0</c:v>
                </c:pt>
                <c:pt idx="13775">
                  <c:v>0</c:v>
                </c:pt>
                <c:pt idx="13776">
                  <c:v>0</c:v>
                </c:pt>
                <c:pt idx="13777">
                  <c:v>0</c:v>
                </c:pt>
                <c:pt idx="13778">
                  <c:v>0</c:v>
                </c:pt>
                <c:pt idx="13779">
                  <c:v>0</c:v>
                </c:pt>
                <c:pt idx="13780">
                  <c:v>0</c:v>
                </c:pt>
                <c:pt idx="13781">
                  <c:v>0</c:v>
                </c:pt>
                <c:pt idx="13782">
                  <c:v>0</c:v>
                </c:pt>
                <c:pt idx="13783">
                  <c:v>0</c:v>
                </c:pt>
                <c:pt idx="13784">
                  <c:v>0</c:v>
                </c:pt>
                <c:pt idx="13785">
                  <c:v>0</c:v>
                </c:pt>
                <c:pt idx="13786">
                  <c:v>0</c:v>
                </c:pt>
                <c:pt idx="13787">
                  <c:v>0</c:v>
                </c:pt>
                <c:pt idx="13788">
                  <c:v>1</c:v>
                </c:pt>
                <c:pt idx="13789">
                  <c:v>0</c:v>
                </c:pt>
                <c:pt idx="13790">
                  <c:v>0</c:v>
                </c:pt>
                <c:pt idx="13791">
                  <c:v>0</c:v>
                </c:pt>
                <c:pt idx="13792">
                  <c:v>0</c:v>
                </c:pt>
                <c:pt idx="13793">
                  <c:v>0</c:v>
                </c:pt>
                <c:pt idx="13794">
                  <c:v>0</c:v>
                </c:pt>
                <c:pt idx="13795">
                  <c:v>0</c:v>
                </c:pt>
                <c:pt idx="13796">
                  <c:v>0</c:v>
                </c:pt>
                <c:pt idx="13797">
                  <c:v>0</c:v>
                </c:pt>
                <c:pt idx="13798">
                  <c:v>0</c:v>
                </c:pt>
                <c:pt idx="13799">
                  <c:v>0</c:v>
                </c:pt>
                <c:pt idx="13800">
                  <c:v>0</c:v>
                </c:pt>
                <c:pt idx="13801">
                  <c:v>0</c:v>
                </c:pt>
                <c:pt idx="13802">
                  <c:v>0</c:v>
                </c:pt>
                <c:pt idx="13803">
                  <c:v>2</c:v>
                </c:pt>
                <c:pt idx="13804">
                  <c:v>3</c:v>
                </c:pt>
                <c:pt idx="13805">
                  <c:v>3</c:v>
                </c:pt>
                <c:pt idx="13806">
                  <c:v>3</c:v>
                </c:pt>
                <c:pt idx="13807">
                  <c:v>0</c:v>
                </c:pt>
                <c:pt idx="13808">
                  <c:v>0</c:v>
                </c:pt>
                <c:pt idx="13809">
                  <c:v>4</c:v>
                </c:pt>
                <c:pt idx="13810">
                  <c:v>0</c:v>
                </c:pt>
                <c:pt idx="13811">
                  <c:v>0</c:v>
                </c:pt>
                <c:pt idx="13812">
                  <c:v>2</c:v>
                </c:pt>
                <c:pt idx="13813">
                  <c:v>2</c:v>
                </c:pt>
                <c:pt idx="13814">
                  <c:v>0</c:v>
                </c:pt>
                <c:pt idx="13815">
                  <c:v>0</c:v>
                </c:pt>
                <c:pt idx="13816">
                  <c:v>1</c:v>
                </c:pt>
                <c:pt idx="13817">
                  <c:v>0</c:v>
                </c:pt>
                <c:pt idx="13818">
                  <c:v>0</c:v>
                </c:pt>
                <c:pt idx="13819">
                  <c:v>0</c:v>
                </c:pt>
                <c:pt idx="13820">
                  <c:v>0</c:v>
                </c:pt>
                <c:pt idx="13821">
                  <c:v>0</c:v>
                </c:pt>
                <c:pt idx="13822">
                  <c:v>0</c:v>
                </c:pt>
                <c:pt idx="13823">
                  <c:v>0</c:v>
                </c:pt>
                <c:pt idx="13824">
                  <c:v>0</c:v>
                </c:pt>
                <c:pt idx="13825">
                  <c:v>0</c:v>
                </c:pt>
                <c:pt idx="13826">
                  <c:v>0</c:v>
                </c:pt>
                <c:pt idx="13827">
                  <c:v>0</c:v>
                </c:pt>
                <c:pt idx="13828">
                  <c:v>0</c:v>
                </c:pt>
                <c:pt idx="13829">
                  <c:v>0</c:v>
                </c:pt>
                <c:pt idx="13830">
                  <c:v>0</c:v>
                </c:pt>
                <c:pt idx="13831">
                  <c:v>0</c:v>
                </c:pt>
                <c:pt idx="13832">
                  <c:v>0</c:v>
                </c:pt>
                <c:pt idx="13833">
                  <c:v>0</c:v>
                </c:pt>
                <c:pt idx="13834">
                  <c:v>0</c:v>
                </c:pt>
                <c:pt idx="13835">
                  <c:v>0</c:v>
                </c:pt>
                <c:pt idx="13836">
                  <c:v>0</c:v>
                </c:pt>
                <c:pt idx="13837">
                  <c:v>0</c:v>
                </c:pt>
                <c:pt idx="13838">
                  <c:v>0</c:v>
                </c:pt>
                <c:pt idx="13839">
                  <c:v>0</c:v>
                </c:pt>
                <c:pt idx="13840">
                  <c:v>0</c:v>
                </c:pt>
                <c:pt idx="13841">
                  <c:v>0</c:v>
                </c:pt>
                <c:pt idx="13842">
                  <c:v>0</c:v>
                </c:pt>
                <c:pt idx="13843">
                  <c:v>0</c:v>
                </c:pt>
                <c:pt idx="13844">
                  <c:v>0</c:v>
                </c:pt>
                <c:pt idx="13845">
                  <c:v>0</c:v>
                </c:pt>
                <c:pt idx="13846">
                  <c:v>0</c:v>
                </c:pt>
                <c:pt idx="13847">
                  <c:v>0</c:v>
                </c:pt>
                <c:pt idx="13848">
                  <c:v>1</c:v>
                </c:pt>
                <c:pt idx="13849">
                  <c:v>0</c:v>
                </c:pt>
                <c:pt idx="13850">
                  <c:v>0</c:v>
                </c:pt>
                <c:pt idx="13851">
                  <c:v>4</c:v>
                </c:pt>
                <c:pt idx="13852">
                  <c:v>9</c:v>
                </c:pt>
                <c:pt idx="13853">
                  <c:v>2</c:v>
                </c:pt>
                <c:pt idx="13854">
                  <c:v>0</c:v>
                </c:pt>
                <c:pt idx="13855">
                  <c:v>0</c:v>
                </c:pt>
                <c:pt idx="13856">
                  <c:v>0</c:v>
                </c:pt>
                <c:pt idx="13857">
                  <c:v>0</c:v>
                </c:pt>
                <c:pt idx="13858">
                  <c:v>0</c:v>
                </c:pt>
                <c:pt idx="13859">
                  <c:v>0</c:v>
                </c:pt>
                <c:pt idx="13860">
                  <c:v>0</c:v>
                </c:pt>
                <c:pt idx="13861">
                  <c:v>0</c:v>
                </c:pt>
                <c:pt idx="13862">
                  <c:v>0</c:v>
                </c:pt>
                <c:pt idx="13863">
                  <c:v>0</c:v>
                </c:pt>
                <c:pt idx="13864">
                  <c:v>0</c:v>
                </c:pt>
                <c:pt idx="13865">
                  <c:v>1</c:v>
                </c:pt>
                <c:pt idx="13866">
                  <c:v>0</c:v>
                </c:pt>
                <c:pt idx="13867">
                  <c:v>0</c:v>
                </c:pt>
                <c:pt idx="13868">
                  <c:v>0</c:v>
                </c:pt>
                <c:pt idx="13869">
                  <c:v>0</c:v>
                </c:pt>
                <c:pt idx="13870">
                  <c:v>0</c:v>
                </c:pt>
                <c:pt idx="13871">
                  <c:v>0</c:v>
                </c:pt>
                <c:pt idx="13872">
                  <c:v>0</c:v>
                </c:pt>
                <c:pt idx="13873">
                  <c:v>0</c:v>
                </c:pt>
                <c:pt idx="13874">
                  <c:v>0</c:v>
                </c:pt>
                <c:pt idx="13875">
                  <c:v>0</c:v>
                </c:pt>
                <c:pt idx="13876">
                  <c:v>0</c:v>
                </c:pt>
                <c:pt idx="13877">
                  <c:v>0</c:v>
                </c:pt>
                <c:pt idx="13878">
                  <c:v>0</c:v>
                </c:pt>
                <c:pt idx="13879">
                  <c:v>0</c:v>
                </c:pt>
                <c:pt idx="13880">
                  <c:v>0</c:v>
                </c:pt>
                <c:pt idx="13881">
                  <c:v>0</c:v>
                </c:pt>
                <c:pt idx="13882">
                  <c:v>0</c:v>
                </c:pt>
                <c:pt idx="13883">
                  <c:v>1</c:v>
                </c:pt>
                <c:pt idx="13884">
                  <c:v>0</c:v>
                </c:pt>
                <c:pt idx="13885">
                  <c:v>0</c:v>
                </c:pt>
                <c:pt idx="13886">
                  <c:v>0</c:v>
                </c:pt>
                <c:pt idx="13887">
                  <c:v>0</c:v>
                </c:pt>
                <c:pt idx="13888">
                  <c:v>0</c:v>
                </c:pt>
                <c:pt idx="13889">
                  <c:v>0</c:v>
                </c:pt>
                <c:pt idx="13890">
                  <c:v>0</c:v>
                </c:pt>
                <c:pt idx="13891">
                  <c:v>0</c:v>
                </c:pt>
                <c:pt idx="13892">
                  <c:v>0</c:v>
                </c:pt>
                <c:pt idx="13893">
                  <c:v>0</c:v>
                </c:pt>
                <c:pt idx="13894">
                  <c:v>0</c:v>
                </c:pt>
                <c:pt idx="13895">
                  <c:v>0</c:v>
                </c:pt>
                <c:pt idx="13896">
                  <c:v>0</c:v>
                </c:pt>
                <c:pt idx="13897">
                  <c:v>0</c:v>
                </c:pt>
                <c:pt idx="13898">
                  <c:v>0</c:v>
                </c:pt>
                <c:pt idx="13899">
                  <c:v>0</c:v>
                </c:pt>
                <c:pt idx="13900">
                  <c:v>0</c:v>
                </c:pt>
                <c:pt idx="13901">
                  <c:v>0</c:v>
                </c:pt>
                <c:pt idx="13902">
                  <c:v>0</c:v>
                </c:pt>
                <c:pt idx="13903">
                  <c:v>0</c:v>
                </c:pt>
                <c:pt idx="13904">
                  <c:v>0</c:v>
                </c:pt>
                <c:pt idx="13905">
                  <c:v>0</c:v>
                </c:pt>
                <c:pt idx="13906">
                  <c:v>0</c:v>
                </c:pt>
                <c:pt idx="13907">
                  <c:v>0</c:v>
                </c:pt>
                <c:pt idx="13908">
                  <c:v>0</c:v>
                </c:pt>
                <c:pt idx="13909">
                  <c:v>0</c:v>
                </c:pt>
                <c:pt idx="13910">
                  <c:v>0</c:v>
                </c:pt>
                <c:pt idx="13911">
                  <c:v>0</c:v>
                </c:pt>
                <c:pt idx="13912">
                  <c:v>0</c:v>
                </c:pt>
                <c:pt idx="13913">
                  <c:v>2</c:v>
                </c:pt>
                <c:pt idx="13914">
                  <c:v>0</c:v>
                </c:pt>
                <c:pt idx="13915">
                  <c:v>0</c:v>
                </c:pt>
                <c:pt idx="13916">
                  <c:v>0</c:v>
                </c:pt>
                <c:pt idx="13917">
                  <c:v>0</c:v>
                </c:pt>
                <c:pt idx="13918">
                  <c:v>0</c:v>
                </c:pt>
                <c:pt idx="13919">
                  <c:v>0</c:v>
                </c:pt>
                <c:pt idx="13920">
                  <c:v>1</c:v>
                </c:pt>
                <c:pt idx="13921">
                  <c:v>2</c:v>
                </c:pt>
                <c:pt idx="13922">
                  <c:v>0</c:v>
                </c:pt>
                <c:pt idx="13923">
                  <c:v>0</c:v>
                </c:pt>
                <c:pt idx="13924">
                  <c:v>0</c:v>
                </c:pt>
                <c:pt idx="13925">
                  <c:v>0</c:v>
                </c:pt>
                <c:pt idx="13926">
                  <c:v>2</c:v>
                </c:pt>
                <c:pt idx="13927">
                  <c:v>3</c:v>
                </c:pt>
                <c:pt idx="13928">
                  <c:v>2</c:v>
                </c:pt>
                <c:pt idx="13929">
                  <c:v>0</c:v>
                </c:pt>
                <c:pt idx="13930">
                  <c:v>1</c:v>
                </c:pt>
                <c:pt idx="13931">
                  <c:v>0</c:v>
                </c:pt>
                <c:pt idx="13932">
                  <c:v>1</c:v>
                </c:pt>
                <c:pt idx="13933">
                  <c:v>0</c:v>
                </c:pt>
                <c:pt idx="13934">
                  <c:v>0</c:v>
                </c:pt>
                <c:pt idx="13935">
                  <c:v>0</c:v>
                </c:pt>
                <c:pt idx="13936">
                  <c:v>4</c:v>
                </c:pt>
                <c:pt idx="13937">
                  <c:v>0</c:v>
                </c:pt>
                <c:pt idx="13938">
                  <c:v>0</c:v>
                </c:pt>
                <c:pt idx="13939">
                  <c:v>0</c:v>
                </c:pt>
                <c:pt idx="13940">
                  <c:v>0</c:v>
                </c:pt>
                <c:pt idx="13941">
                  <c:v>0</c:v>
                </c:pt>
                <c:pt idx="13942">
                  <c:v>2</c:v>
                </c:pt>
                <c:pt idx="13943">
                  <c:v>0</c:v>
                </c:pt>
                <c:pt idx="13944">
                  <c:v>0</c:v>
                </c:pt>
                <c:pt idx="13945">
                  <c:v>0</c:v>
                </c:pt>
                <c:pt idx="13946">
                  <c:v>0</c:v>
                </c:pt>
                <c:pt idx="13947">
                  <c:v>0</c:v>
                </c:pt>
                <c:pt idx="13948">
                  <c:v>0</c:v>
                </c:pt>
                <c:pt idx="13949">
                  <c:v>0</c:v>
                </c:pt>
                <c:pt idx="13950">
                  <c:v>1</c:v>
                </c:pt>
                <c:pt idx="13951">
                  <c:v>1</c:v>
                </c:pt>
                <c:pt idx="13952">
                  <c:v>0</c:v>
                </c:pt>
                <c:pt idx="13953">
                  <c:v>0</c:v>
                </c:pt>
                <c:pt idx="13954">
                  <c:v>4</c:v>
                </c:pt>
                <c:pt idx="13955">
                  <c:v>0</c:v>
                </c:pt>
                <c:pt idx="13956">
                  <c:v>3</c:v>
                </c:pt>
                <c:pt idx="13957">
                  <c:v>0</c:v>
                </c:pt>
                <c:pt idx="13958">
                  <c:v>0</c:v>
                </c:pt>
                <c:pt idx="13959">
                  <c:v>2</c:v>
                </c:pt>
                <c:pt idx="13960">
                  <c:v>0</c:v>
                </c:pt>
                <c:pt idx="13961">
                  <c:v>2</c:v>
                </c:pt>
                <c:pt idx="13962">
                  <c:v>0</c:v>
                </c:pt>
                <c:pt idx="13963">
                  <c:v>2</c:v>
                </c:pt>
                <c:pt idx="13964">
                  <c:v>6</c:v>
                </c:pt>
                <c:pt idx="13965">
                  <c:v>9</c:v>
                </c:pt>
                <c:pt idx="13966">
                  <c:v>3</c:v>
                </c:pt>
                <c:pt idx="13967">
                  <c:v>2</c:v>
                </c:pt>
                <c:pt idx="13968">
                  <c:v>1</c:v>
                </c:pt>
                <c:pt idx="13969">
                  <c:v>0</c:v>
                </c:pt>
                <c:pt idx="13970">
                  <c:v>2</c:v>
                </c:pt>
                <c:pt idx="13971">
                  <c:v>0</c:v>
                </c:pt>
                <c:pt idx="13972">
                  <c:v>2</c:v>
                </c:pt>
                <c:pt idx="13973">
                  <c:v>0</c:v>
                </c:pt>
                <c:pt idx="13974">
                  <c:v>0</c:v>
                </c:pt>
                <c:pt idx="13975">
                  <c:v>0</c:v>
                </c:pt>
                <c:pt idx="13976">
                  <c:v>1</c:v>
                </c:pt>
                <c:pt idx="13977">
                  <c:v>3</c:v>
                </c:pt>
                <c:pt idx="13978">
                  <c:v>6</c:v>
                </c:pt>
                <c:pt idx="13979">
                  <c:v>3</c:v>
                </c:pt>
                <c:pt idx="13980">
                  <c:v>1</c:v>
                </c:pt>
                <c:pt idx="13981">
                  <c:v>4</c:v>
                </c:pt>
                <c:pt idx="13982">
                  <c:v>1</c:v>
                </c:pt>
                <c:pt idx="13983">
                  <c:v>3</c:v>
                </c:pt>
                <c:pt idx="13984">
                  <c:v>5</c:v>
                </c:pt>
                <c:pt idx="13985">
                  <c:v>0</c:v>
                </c:pt>
                <c:pt idx="13986">
                  <c:v>0</c:v>
                </c:pt>
                <c:pt idx="13987">
                  <c:v>0</c:v>
                </c:pt>
                <c:pt idx="13988">
                  <c:v>0</c:v>
                </c:pt>
                <c:pt idx="13989">
                  <c:v>1</c:v>
                </c:pt>
                <c:pt idx="13990">
                  <c:v>0</c:v>
                </c:pt>
                <c:pt idx="13991">
                  <c:v>1</c:v>
                </c:pt>
                <c:pt idx="13992">
                  <c:v>4</c:v>
                </c:pt>
                <c:pt idx="13993">
                  <c:v>0</c:v>
                </c:pt>
                <c:pt idx="13994">
                  <c:v>2</c:v>
                </c:pt>
                <c:pt idx="13995">
                  <c:v>0</c:v>
                </c:pt>
                <c:pt idx="13996">
                  <c:v>0</c:v>
                </c:pt>
                <c:pt idx="13997">
                  <c:v>0</c:v>
                </c:pt>
                <c:pt idx="13998">
                  <c:v>0</c:v>
                </c:pt>
                <c:pt idx="13999">
                  <c:v>0</c:v>
                </c:pt>
                <c:pt idx="14000">
                  <c:v>1</c:v>
                </c:pt>
                <c:pt idx="14001">
                  <c:v>0</c:v>
                </c:pt>
                <c:pt idx="14002">
                  <c:v>0</c:v>
                </c:pt>
                <c:pt idx="14003">
                  <c:v>0</c:v>
                </c:pt>
                <c:pt idx="14004">
                  <c:v>1</c:v>
                </c:pt>
                <c:pt idx="14005">
                  <c:v>0</c:v>
                </c:pt>
                <c:pt idx="14006">
                  <c:v>2</c:v>
                </c:pt>
                <c:pt idx="14007">
                  <c:v>1</c:v>
                </c:pt>
                <c:pt idx="14008">
                  <c:v>0</c:v>
                </c:pt>
                <c:pt idx="14009">
                  <c:v>1</c:v>
                </c:pt>
                <c:pt idx="14010">
                  <c:v>0</c:v>
                </c:pt>
                <c:pt idx="14011">
                  <c:v>0</c:v>
                </c:pt>
                <c:pt idx="14012">
                  <c:v>0</c:v>
                </c:pt>
                <c:pt idx="14013">
                  <c:v>0</c:v>
                </c:pt>
                <c:pt idx="14014">
                  <c:v>0</c:v>
                </c:pt>
                <c:pt idx="14015">
                  <c:v>2</c:v>
                </c:pt>
                <c:pt idx="14016">
                  <c:v>0</c:v>
                </c:pt>
                <c:pt idx="14017">
                  <c:v>1</c:v>
                </c:pt>
                <c:pt idx="14018">
                  <c:v>0</c:v>
                </c:pt>
                <c:pt idx="14019">
                  <c:v>2</c:v>
                </c:pt>
                <c:pt idx="14020">
                  <c:v>0</c:v>
                </c:pt>
                <c:pt idx="14021">
                  <c:v>1</c:v>
                </c:pt>
                <c:pt idx="14022">
                  <c:v>2</c:v>
                </c:pt>
                <c:pt idx="14023">
                  <c:v>1</c:v>
                </c:pt>
                <c:pt idx="14024">
                  <c:v>8</c:v>
                </c:pt>
                <c:pt idx="14025">
                  <c:v>0</c:v>
                </c:pt>
                <c:pt idx="14026">
                  <c:v>0</c:v>
                </c:pt>
                <c:pt idx="14027">
                  <c:v>0</c:v>
                </c:pt>
                <c:pt idx="14028">
                  <c:v>4</c:v>
                </c:pt>
                <c:pt idx="14029">
                  <c:v>0</c:v>
                </c:pt>
                <c:pt idx="14030">
                  <c:v>2</c:v>
                </c:pt>
                <c:pt idx="14031">
                  <c:v>0</c:v>
                </c:pt>
                <c:pt idx="14032">
                  <c:v>2</c:v>
                </c:pt>
                <c:pt idx="14033">
                  <c:v>0</c:v>
                </c:pt>
                <c:pt idx="14034">
                  <c:v>5</c:v>
                </c:pt>
                <c:pt idx="14035">
                  <c:v>3</c:v>
                </c:pt>
                <c:pt idx="14036">
                  <c:v>0</c:v>
                </c:pt>
                <c:pt idx="14037">
                  <c:v>0</c:v>
                </c:pt>
                <c:pt idx="14038">
                  <c:v>0</c:v>
                </c:pt>
                <c:pt idx="14039">
                  <c:v>0</c:v>
                </c:pt>
                <c:pt idx="14040">
                  <c:v>1</c:v>
                </c:pt>
                <c:pt idx="14041">
                  <c:v>0</c:v>
                </c:pt>
                <c:pt idx="14042">
                  <c:v>3</c:v>
                </c:pt>
                <c:pt idx="14043">
                  <c:v>2</c:v>
                </c:pt>
                <c:pt idx="14044">
                  <c:v>4</c:v>
                </c:pt>
                <c:pt idx="14045">
                  <c:v>0</c:v>
                </c:pt>
                <c:pt idx="14046">
                  <c:v>0</c:v>
                </c:pt>
                <c:pt idx="14047">
                  <c:v>0</c:v>
                </c:pt>
                <c:pt idx="14048">
                  <c:v>0</c:v>
                </c:pt>
                <c:pt idx="14049">
                  <c:v>0</c:v>
                </c:pt>
                <c:pt idx="14050">
                  <c:v>0</c:v>
                </c:pt>
                <c:pt idx="14051">
                  <c:v>0</c:v>
                </c:pt>
                <c:pt idx="14052">
                  <c:v>0</c:v>
                </c:pt>
                <c:pt idx="14053">
                  <c:v>0</c:v>
                </c:pt>
                <c:pt idx="14054">
                  <c:v>0</c:v>
                </c:pt>
                <c:pt idx="14055">
                  <c:v>0</c:v>
                </c:pt>
                <c:pt idx="14056">
                  <c:v>0</c:v>
                </c:pt>
                <c:pt idx="14057">
                  <c:v>0</c:v>
                </c:pt>
                <c:pt idx="14058">
                  <c:v>0</c:v>
                </c:pt>
                <c:pt idx="14059">
                  <c:v>0</c:v>
                </c:pt>
                <c:pt idx="14060">
                  <c:v>0</c:v>
                </c:pt>
                <c:pt idx="14061">
                  <c:v>0</c:v>
                </c:pt>
                <c:pt idx="14062">
                  <c:v>0</c:v>
                </c:pt>
                <c:pt idx="14063">
                  <c:v>1</c:v>
                </c:pt>
                <c:pt idx="14064">
                  <c:v>0</c:v>
                </c:pt>
                <c:pt idx="14065">
                  <c:v>0</c:v>
                </c:pt>
                <c:pt idx="14066">
                  <c:v>1</c:v>
                </c:pt>
                <c:pt idx="14067">
                  <c:v>0</c:v>
                </c:pt>
                <c:pt idx="14068">
                  <c:v>9</c:v>
                </c:pt>
                <c:pt idx="14069">
                  <c:v>0</c:v>
                </c:pt>
                <c:pt idx="14070">
                  <c:v>0</c:v>
                </c:pt>
                <c:pt idx="14071">
                  <c:v>0</c:v>
                </c:pt>
                <c:pt idx="14072">
                  <c:v>2</c:v>
                </c:pt>
                <c:pt idx="14073">
                  <c:v>0</c:v>
                </c:pt>
                <c:pt idx="14074">
                  <c:v>0</c:v>
                </c:pt>
                <c:pt idx="14075">
                  <c:v>1</c:v>
                </c:pt>
                <c:pt idx="14076">
                  <c:v>1</c:v>
                </c:pt>
                <c:pt idx="14077">
                  <c:v>0</c:v>
                </c:pt>
                <c:pt idx="14078">
                  <c:v>3</c:v>
                </c:pt>
                <c:pt idx="14079">
                  <c:v>0</c:v>
                </c:pt>
                <c:pt idx="14080">
                  <c:v>2</c:v>
                </c:pt>
                <c:pt idx="14081">
                  <c:v>3</c:v>
                </c:pt>
                <c:pt idx="14082">
                  <c:v>1</c:v>
                </c:pt>
                <c:pt idx="14083">
                  <c:v>2</c:v>
                </c:pt>
                <c:pt idx="14084">
                  <c:v>3</c:v>
                </c:pt>
                <c:pt idx="14085">
                  <c:v>2</c:v>
                </c:pt>
                <c:pt idx="14086">
                  <c:v>2</c:v>
                </c:pt>
                <c:pt idx="14087">
                  <c:v>2</c:v>
                </c:pt>
                <c:pt idx="14088">
                  <c:v>1</c:v>
                </c:pt>
                <c:pt idx="14089">
                  <c:v>0</c:v>
                </c:pt>
                <c:pt idx="14090">
                  <c:v>3</c:v>
                </c:pt>
                <c:pt idx="14091">
                  <c:v>2</c:v>
                </c:pt>
                <c:pt idx="14092">
                  <c:v>1</c:v>
                </c:pt>
                <c:pt idx="14093">
                  <c:v>0</c:v>
                </c:pt>
                <c:pt idx="14094">
                  <c:v>2</c:v>
                </c:pt>
                <c:pt idx="14095">
                  <c:v>1</c:v>
                </c:pt>
                <c:pt idx="14096">
                  <c:v>0</c:v>
                </c:pt>
                <c:pt idx="14097">
                  <c:v>1</c:v>
                </c:pt>
                <c:pt idx="14098">
                  <c:v>1</c:v>
                </c:pt>
                <c:pt idx="14099">
                  <c:v>0</c:v>
                </c:pt>
                <c:pt idx="14100">
                  <c:v>0</c:v>
                </c:pt>
                <c:pt idx="14101">
                  <c:v>1</c:v>
                </c:pt>
                <c:pt idx="14102">
                  <c:v>3</c:v>
                </c:pt>
                <c:pt idx="14103">
                  <c:v>1</c:v>
                </c:pt>
                <c:pt idx="14104">
                  <c:v>3</c:v>
                </c:pt>
                <c:pt idx="14105">
                  <c:v>0</c:v>
                </c:pt>
                <c:pt idx="14106">
                  <c:v>1</c:v>
                </c:pt>
                <c:pt idx="14107">
                  <c:v>0</c:v>
                </c:pt>
                <c:pt idx="14108">
                  <c:v>2</c:v>
                </c:pt>
                <c:pt idx="14109">
                  <c:v>1</c:v>
                </c:pt>
                <c:pt idx="14110">
                  <c:v>0</c:v>
                </c:pt>
                <c:pt idx="14111">
                  <c:v>0</c:v>
                </c:pt>
                <c:pt idx="14112">
                  <c:v>0</c:v>
                </c:pt>
                <c:pt idx="14113">
                  <c:v>0</c:v>
                </c:pt>
                <c:pt idx="14114">
                  <c:v>3</c:v>
                </c:pt>
                <c:pt idx="14115">
                  <c:v>0</c:v>
                </c:pt>
                <c:pt idx="14116">
                  <c:v>1</c:v>
                </c:pt>
                <c:pt idx="14117">
                  <c:v>0</c:v>
                </c:pt>
                <c:pt idx="14118">
                  <c:v>0</c:v>
                </c:pt>
                <c:pt idx="14119">
                  <c:v>0</c:v>
                </c:pt>
                <c:pt idx="14120">
                  <c:v>0</c:v>
                </c:pt>
                <c:pt idx="14121">
                  <c:v>2</c:v>
                </c:pt>
                <c:pt idx="14122">
                  <c:v>0</c:v>
                </c:pt>
                <c:pt idx="14123">
                  <c:v>7</c:v>
                </c:pt>
                <c:pt idx="14124">
                  <c:v>1</c:v>
                </c:pt>
                <c:pt idx="14125">
                  <c:v>3</c:v>
                </c:pt>
                <c:pt idx="14126">
                  <c:v>0</c:v>
                </c:pt>
                <c:pt idx="14127">
                  <c:v>2</c:v>
                </c:pt>
                <c:pt idx="14128">
                  <c:v>1</c:v>
                </c:pt>
                <c:pt idx="14129">
                  <c:v>1</c:v>
                </c:pt>
                <c:pt idx="14130">
                  <c:v>1</c:v>
                </c:pt>
                <c:pt idx="14131">
                  <c:v>0</c:v>
                </c:pt>
                <c:pt idx="14132">
                  <c:v>0</c:v>
                </c:pt>
                <c:pt idx="14133">
                  <c:v>0</c:v>
                </c:pt>
                <c:pt idx="14134">
                  <c:v>0</c:v>
                </c:pt>
                <c:pt idx="14135">
                  <c:v>0</c:v>
                </c:pt>
                <c:pt idx="14136">
                  <c:v>1</c:v>
                </c:pt>
                <c:pt idx="14137">
                  <c:v>0</c:v>
                </c:pt>
                <c:pt idx="14138">
                  <c:v>0</c:v>
                </c:pt>
                <c:pt idx="14139">
                  <c:v>0</c:v>
                </c:pt>
                <c:pt idx="14140">
                  <c:v>0</c:v>
                </c:pt>
                <c:pt idx="14141">
                  <c:v>0</c:v>
                </c:pt>
                <c:pt idx="14142">
                  <c:v>0</c:v>
                </c:pt>
                <c:pt idx="14143">
                  <c:v>0</c:v>
                </c:pt>
                <c:pt idx="14144">
                  <c:v>1</c:v>
                </c:pt>
                <c:pt idx="14145">
                  <c:v>0</c:v>
                </c:pt>
                <c:pt idx="14146">
                  <c:v>0</c:v>
                </c:pt>
                <c:pt idx="14147">
                  <c:v>0</c:v>
                </c:pt>
                <c:pt idx="14148">
                  <c:v>0</c:v>
                </c:pt>
                <c:pt idx="14149">
                  <c:v>4</c:v>
                </c:pt>
                <c:pt idx="14150">
                  <c:v>0</c:v>
                </c:pt>
                <c:pt idx="14151">
                  <c:v>0</c:v>
                </c:pt>
                <c:pt idx="14152">
                  <c:v>0</c:v>
                </c:pt>
                <c:pt idx="14153">
                  <c:v>0</c:v>
                </c:pt>
                <c:pt idx="14154">
                  <c:v>0</c:v>
                </c:pt>
                <c:pt idx="14155">
                  <c:v>0</c:v>
                </c:pt>
                <c:pt idx="14156">
                  <c:v>0</c:v>
                </c:pt>
                <c:pt idx="14157">
                  <c:v>3</c:v>
                </c:pt>
                <c:pt idx="14158">
                  <c:v>0</c:v>
                </c:pt>
                <c:pt idx="14159">
                  <c:v>0</c:v>
                </c:pt>
                <c:pt idx="14160">
                  <c:v>0</c:v>
                </c:pt>
                <c:pt idx="14161">
                  <c:v>0</c:v>
                </c:pt>
                <c:pt idx="14162">
                  <c:v>1</c:v>
                </c:pt>
                <c:pt idx="14163">
                  <c:v>0</c:v>
                </c:pt>
                <c:pt idx="14164">
                  <c:v>0</c:v>
                </c:pt>
                <c:pt idx="14165">
                  <c:v>0</c:v>
                </c:pt>
                <c:pt idx="14166">
                  <c:v>0</c:v>
                </c:pt>
                <c:pt idx="14167">
                  <c:v>0</c:v>
                </c:pt>
                <c:pt idx="14168">
                  <c:v>0</c:v>
                </c:pt>
                <c:pt idx="14169">
                  <c:v>0</c:v>
                </c:pt>
                <c:pt idx="14170">
                  <c:v>0</c:v>
                </c:pt>
                <c:pt idx="14171">
                  <c:v>0</c:v>
                </c:pt>
                <c:pt idx="14172">
                  <c:v>0</c:v>
                </c:pt>
                <c:pt idx="14173">
                  <c:v>0</c:v>
                </c:pt>
                <c:pt idx="14174">
                  <c:v>0</c:v>
                </c:pt>
                <c:pt idx="14175">
                  <c:v>0</c:v>
                </c:pt>
                <c:pt idx="14176">
                  <c:v>0</c:v>
                </c:pt>
                <c:pt idx="14177">
                  <c:v>0</c:v>
                </c:pt>
                <c:pt idx="14178">
                  <c:v>0</c:v>
                </c:pt>
                <c:pt idx="14179">
                  <c:v>0</c:v>
                </c:pt>
                <c:pt idx="14180">
                  <c:v>0</c:v>
                </c:pt>
                <c:pt idx="14181">
                  <c:v>0</c:v>
                </c:pt>
                <c:pt idx="14182">
                  <c:v>0</c:v>
                </c:pt>
                <c:pt idx="14183">
                  <c:v>0</c:v>
                </c:pt>
                <c:pt idx="14184">
                  <c:v>0</c:v>
                </c:pt>
                <c:pt idx="14185">
                  <c:v>0</c:v>
                </c:pt>
                <c:pt idx="14186">
                  <c:v>0</c:v>
                </c:pt>
                <c:pt idx="14187">
                  <c:v>0</c:v>
                </c:pt>
                <c:pt idx="14188">
                  <c:v>0</c:v>
                </c:pt>
                <c:pt idx="14189">
                  <c:v>0</c:v>
                </c:pt>
                <c:pt idx="14190">
                  <c:v>0</c:v>
                </c:pt>
                <c:pt idx="14191">
                  <c:v>0</c:v>
                </c:pt>
                <c:pt idx="14192">
                  <c:v>2</c:v>
                </c:pt>
                <c:pt idx="14193">
                  <c:v>1</c:v>
                </c:pt>
                <c:pt idx="14194">
                  <c:v>0</c:v>
                </c:pt>
                <c:pt idx="14195">
                  <c:v>0</c:v>
                </c:pt>
                <c:pt idx="14196">
                  <c:v>0</c:v>
                </c:pt>
                <c:pt idx="14197">
                  <c:v>0</c:v>
                </c:pt>
                <c:pt idx="14198">
                  <c:v>0</c:v>
                </c:pt>
                <c:pt idx="14199">
                  <c:v>1</c:v>
                </c:pt>
                <c:pt idx="14200">
                  <c:v>3</c:v>
                </c:pt>
                <c:pt idx="14201">
                  <c:v>0</c:v>
                </c:pt>
                <c:pt idx="14202">
                  <c:v>0</c:v>
                </c:pt>
                <c:pt idx="14203">
                  <c:v>0</c:v>
                </c:pt>
                <c:pt idx="14204">
                  <c:v>0</c:v>
                </c:pt>
                <c:pt idx="14205">
                  <c:v>0</c:v>
                </c:pt>
                <c:pt idx="14206">
                  <c:v>0</c:v>
                </c:pt>
                <c:pt idx="14207">
                  <c:v>0</c:v>
                </c:pt>
                <c:pt idx="14208">
                  <c:v>0</c:v>
                </c:pt>
                <c:pt idx="14209">
                  <c:v>0</c:v>
                </c:pt>
                <c:pt idx="14210">
                  <c:v>0</c:v>
                </c:pt>
                <c:pt idx="14211">
                  <c:v>0</c:v>
                </c:pt>
                <c:pt idx="14212">
                  <c:v>0</c:v>
                </c:pt>
                <c:pt idx="14213">
                  <c:v>0</c:v>
                </c:pt>
                <c:pt idx="14214">
                  <c:v>0</c:v>
                </c:pt>
                <c:pt idx="14215">
                  <c:v>0</c:v>
                </c:pt>
                <c:pt idx="14216">
                  <c:v>0</c:v>
                </c:pt>
                <c:pt idx="14217">
                  <c:v>0</c:v>
                </c:pt>
                <c:pt idx="14218">
                  <c:v>0</c:v>
                </c:pt>
                <c:pt idx="14219">
                  <c:v>0</c:v>
                </c:pt>
                <c:pt idx="14220">
                  <c:v>0</c:v>
                </c:pt>
                <c:pt idx="14221">
                  <c:v>0</c:v>
                </c:pt>
                <c:pt idx="14222">
                  <c:v>0</c:v>
                </c:pt>
                <c:pt idx="14223">
                  <c:v>0</c:v>
                </c:pt>
                <c:pt idx="14224">
                  <c:v>0</c:v>
                </c:pt>
                <c:pt idx="14225">
                  <c:v>0</c:v>
                </c:pt>
                <c:pt idx="14226">
                  <c:v>0</c:v>
                </c:pt>
                <c:pt idx="14227">
                  <c:v>1</c:v>
                </c:pt>
                <c:pt idx="14228">
                  <c:v>0</c:v>
                </c:pt>
                <c:pt idx="14229">
                  <c:v>1</c:v>
                </c:pt>
                <c:pt idx="14230">
                  <c:v>0</c:v>
                </c:pt>
                <c:pt idx="14231">
                  <c:v>0</c:v>
                </c:pt>
                <c:pt idx="14232">
                  <c:v>0</c:v>
                </c:pt>
                <c:pt idx="14233">
                  <c:v>0</c:v>
                </c:pt>
                <c:pt idx="14234">
                  <c:v>0</c:v>
                </c:pt>
                <c:pt idx="14235">
                  <c:v>0</c:v>
                </c:pt>
                <c:pt idx="14236">
                  <c:v>0</c:v>
                </c:pt>
                <c:pt idx="14237">
                  <c:v>0</c:v>
                </c:pt>
                <c:pt idx="14238">
                  <c:v>0</c:v>
                </c:pt>
                <c:pt idx="14239">
                  <c:v>0</c:v>
                </c:pt>
                <c:pt idx="14240">
                  <c:v>0</c:v>
                </c:pt>
                <c:pt idx="14241">
                  <c:v>0</c:v>
                </c:pt>
                <c:pt idx="14242">
                  <c:v>0</c:v>
                </c:pt>
                <c:pt idx="14243">
                  <c:v>0</c:v>
                </c:pt>
                <c:pt idx="14244">
                  <c:v>0</c:v>
                </c:pt>
                <c:pt idx="14245">
                  <c:v>0</c:v>
                </c:pt>
                <c:pt idx="14246">
                  <c:v>0</c:v>
                </c:pt>
                <c:pt idx="14247">
                  <c:v>1</c:v>
                </c:pt>
                <c:pt idx="14248">
                  <c:v>0</c:v>
                </c:pt>
                <c:pt idx="14249">
                  <c:v>0</c:v>
                </c:pt>
                <c:pt idx="14250">
                  <c:v>0</c:v>
                </c:pt>
                <c:pt idx="14251">
                  <c:v>0</c:v>
                </c:pt>
                <c:pt idx="14252">
                  <c:v>0</c:v>
                </c:pt>
                <c:pt idx="14253">
                  <c:v>0</c:v>
                </c:pt>
                <c:pt idx="14254">
                  <c:v>0</c:v>
                </c:pt>
                <c:pt idx="14255">
                  <c:v>0</c:v>
                </c:pt>
                <c:pt idx="14256">
                  <c:v>0</c:v>
                </c:pt>
                <c:pt idx="14257">
                  <c:v>0</c:v>
                </c:pt>
                <c:pt idx="14258">
                  <c:v>0</c:v>
                </c:pt>
                <c:pt idx="14259">
                  <c:v>0</c:v>
                </c:pt>
                <c:pt idx="14260">
                  <c:v>0</c:v>
                </c:pt>
                <c:pt idx="14261">
                  <c:v>0</c:v>
                </c:pt>
                <c:pt idx="14262">
                  <c:v>0</c:v>
                </c:pt>
                <c:pt idx="14263">
                  <c:v>0</c:v>
                </c:pt>
                <c:pt idx="14264">
                  <c:v>0</c:v>
                </c:pt>
                <c:pt idx="14265">
                  <c:v>0</c:v>
                </c:pt>
                <c:pt idx="14266">
                  <c:v>0</c:v>
                </c:pt>
                <c:pt idx="14267">
                  <c:v>0</c:v>
                </c:pt>
                <c:pt idx="14268">
                  <c:v>0</c:v>
                </c:pt>
                <c:pt idx="14269">
                  <c:v>0</c:v>
                </c:pt>
                <c:pt idx="14270">
                  <c:v>0</c:v>
                </c:pt>
                <c:pt idx="14271">
                  <c:v>0</c:v>
                </c:pt>
                <c:pt idx="14272">
                  <c:v>0</c:v>
                </c:pt>
                <c:pt idx="14273">
                  <c:v>0</c:v>
                </c:pt>
                <c:pt idx="14274">
                  <c:v>0</c:v>
                </c:pt>
                <c:pt idx="14275">
                  <c:v>0</c:v>
                </c:pt>
                <c:pt idx="14276">
                  <c:v>0</c:v>
                </c:pt>
                <c:pt idx="14277">
                  <c:v>0</c:v>
                </c:pt>
                <c:pt idx="14278">
                  <c:v>0</c:v>
                </c:pt>
                <c:pt idx="14279">
                  <c:v>0</c:v>
                </c:pt>
                <c:pt idx="14280">
                  <c:v>0</c:v>
                </c:pt>
                <c:pt idx="14281">
                  <c:v>0</c:v>
                </c:pt>
                <c:pt idx="14282">
                  <c:v>0</c:v>
                </c:pt>
                <c:pt idx="14283">
                  <c:v>0</c:v>
                </c:pt>
                <c:pt idx="14284">
                  <c:v>0</c:v>
                </c:pt>
                <c:pt idx="14285">
                  <c:v>0</c:v>
                </c:pt>
                <c:pt idx="14286">
                  <c:v>0</c:v>
                </c:pt>
                <c:pt idx="14287">
                  <c:v>0</c:v>
                </c:pt>
                <c:pt idx="14288">
                  <c:v>0</c:v>
                </c:pt>
                <c:pt idx="14289">
                  <c:v>0</c:v>
                </c:pt>
                <c:pt idx="14290">
                  <c:v>0</c:v>
                </c:pt>
                <c:pt idx="14291">
                  <c:v>0</c:v>
                </c:pt>
                <c:pt idx="14292">
                  <c:v>1</c:v>
                </c:pt>
                <c:pt idx="14293">
                  <c:v>0</c:v>
                </c:pt>
                <c:pt idx="14294">
                  <c:v>0</c:v>
                </c:pt>
                <c:pt idx="14295">
                  <c:v>0</c:v>
                </c:pt>
                <c:pt idx="14296">
                  <c:v>0</c:v>
                </c:pt>
                <c:pt idx="14297">
                  <c:v>0</c:v>
                </c:pt>
                <c:pt idx="14298">
                  <c:v>0</c:v>
                </c:pt>
                <c:pt idx="14299">
                  <c:v>0</c:v>
                </c:pt>
                <c:pt idx="14300">
                  <c:v>0</c:v>
                </c:pt>
                <c:pt idx="14301">
                  <c:v>0</c:v>
                </c:pt>
                <c:pt idx="14302">
                  <c:v>0</c:v>
                </c:pt>
                <c:pt idx="14303">
                  <c:v>0</c:v>
                </c:pt>
                <c:pt idx="14304">
                  <c:v>0</c:v>
                </c:pt>
                <c:pt idx="14305">
                  <c:v>0</c:v>
                </c:pt>
                <c:pt idx="14306">
                  <c:v>5</c:v>
                </c:pt>
                <c:pt idx="14307">
                  <c:v>0</c:v>
                </c:pt>
                <c:pt idx="14308">
                  <c:v>0</c:v>
                </c:pt>
                <c:pt idx="14309">
                  <c:v>0</c:v>
                </c:pt>
                <c:pt idx="14310">
                  <c:v>0</c:v>
                </c:pt>
                <c:pt idx="14311">
                  <c:v>0</c:v>
                </c:pt>
                <c:pt idx="14312">
                  <c:v>0</c:v>
                </c:pt>
                <c:pt idx="14313">
                  <c:v>0</c:v>
                </c:pt>
                <c:pt idx="14314">
                  <c:v>0</c:v>
                </c:pt>
                <c:pt idx="14315">
                  <c:v>0</c:v>
                </c:pt>
                <c:pt idx="14316">
                  <c:v>0</c:v>
                </c:pt>
                <c:pt idx="14317">
                  <c:v>0</c:v>
                </c:pt>
                <c:pt idx="14318">
                  <c:v>0</c:v>
                </c:pt>
                <c:pt idx="14319">
                  <c:v>0</c:v>
                </c:pt>
                <c:pt idx="14320">
                  <c:v>0</c:v>
                </c:pt>
                <c:pt idx="14321">
                  <c:v>0</c:v>
                </c:pt>
                <c:pt idx="14322">
                  <c:v>1</c:v>
                </c:pt>
                <c:pt idx="14323">
                  <c:v>0</c:v>
                </c:pt>
                <c:pt idx="14324">
                  <c:v>0</c:v>
                </c:pt>
                <c:pt idx="14325">
                  <c:v>0</c:v>
                </c:pt>
                <c:pt idx="14326">
                  <c:v>0</c:v>
                </c:pt>
                <c:pt idx="14327">
                  <c:v>0</c:v>
                </c:pt>
                <c:pt idx="14328">
                  <c:v>0</c:v>
                </c:pt>
                <c:pt idx="14329">
                  <c:v>0</c:v>
                </c:pt>
                <c:pt idx="14330">
                  <c:v>0</c:v>
                </c:pt>
                <c:pt idx="14331">
                  <c:v>0</c:v>
                </c:pt>
                <c:pt idx="14332">
                  <c:v>0</c:v>
                </c:pt>
                <c:pt idx="14333">
                  <c:v>0</c:v>
                </c:pt>
                <c:pt idx="14334">
                  <c:v>0</c:v>
                </c:pt>
                <c:pt idx="14335">
                  <c:v>0</c:v>
                </c:pt>
                <c:pt idx="14336">
                  <c:v>0</c:v>
                </c:pt>
                <c:pt idx="14337">
                  <c:v>4</c:v>
                </c:pt>
                <c:pt idx="14338">
                  <c:v>0</c:v>
                </c:pt>
                <c:pt idx="14339">
                  <c:v>0</c:v>
                </c:pt>
                <c:pt idx="14340">
                  <c:v>2</c:v>
                </c:pt>
                <c:pt idx="14341">
                  <c:v>0</c:v>
                </c:pt>
                <c:pt idx="14342">
                  <c:v>0</c:v>
                </c:pt>
                <c:pt idx="14343">
                  <c:v>0</c:v>
                </c:pt>
                <c:pt idx="14344">
                  <c:v>0</c:v>
                </c:pt>
                <c:pt idx="14345">
                  <c:v>0</c:v>
                </c:pt>
                <c:pt idx="14346">
                  <c:v>0</c:v>
                </c:pt>
                <c:pt idx="14347">
                  <c:v>0</c:v>
                </c:pt>
                <c:pt idx="14348">
                  <c:v>0</c:v>
                </c:pt>
                <c:pt idx="14349">
                  <c:v>0</c:v>
                </c:pt>
                <c:pt idx="14350">
                  <c:v>0</c:v>
                </c:pt>
                <c:pt idx="14351">
                  <c:v>0</c:v>
                </c:pt>
                <c:pt idx="14352">
                  <c:v>0</c:v>
                </c:pt>
                <c:pt idx="14353">
                  <c:v>0</c:v>
                </c:pt>
                <c:pt idx="14354">
                  <c:v>0</c:v>
                </c:pt>
                <c:pt idx="14355">
                  <c:v>0</c:v>
                </c:pt>
                <c:pt idx="14356">
                  <c:v>2</c:v>
                </c:pt>
                <c:pt idx="14357">
                  <c:v>0</c:v>
                </c:pt>
                <c:pt idx="14358">
                  <c:v>0</c:v>
                </c:pt>
                <c:pt idx="14359">
                  <c:v>0</c:v>
                </c:pt>
                <c:pt idx="14360">
                  <c:v>0</c:v>
                </c:pt>
                <c:pt idx="14361">
                  <c:v>0</c:v>
                </c:pt>
                <c:pt idx="14362">
                  <c:v>0</c:v>
                </c:pt>
                <c:pt idx="14363">
                  <c:v>0</c:v>
                </c:pt>
                <c:pt idx="14364">
                  <c:v>0</c:v>
                </c:pt>
                <c:pt idx="14365">
                  <c:v>0</c:v>
                </c:pt>
                <c:pt idx="14366">
                  <c:v>0</c:v>
                </c:pt>
                <c:pt idx="14367">
                  <c:v>1</c:v>
                </c:pt>
                <c:pt idx="14368">
                  <c:v>0</c:v>
                </c:pt>
                <c:pt idx="14369">
                  <c:v>0</c:v>
                </c:pt>
                <c:pt idx="14370">
                  <c:v>0</c:v>
                </c:pt>
                <c:pt idx="14371">
                  <c:v>0</c:v>
                </c:pt>
                <c:pt idx="14372">
                  <c:v>1</c:v>
                </c:pt>
                <c:pt idx="14373">
                  <c:v>1</c:v>
                </c:pt>
                <c:pt idx="14374">
                  <c:v>0</c:v>
                </c:pt>
                <c:pt idx="14375">
                  <c:v>3</c:v>
                </c:pt>
                <c:pt idx="14376">
                  <c:v>0</c:v>
                </c:pt>
                <c:pt idx="14377">
                  <c:v>0</c:v>
                </c:pt>
                <c:pt idx="14378">
                  <c:v>2</c:v>
                </c:pt>
                <c:pt idx="14379">
                  <c:v>1</c:v>
                </c:pt>
                <c:pt idx="14380">
                  <c:v>2</c:v>
                </c:pt>
                <c:pt idx="14381">
                  <c:v>1</c:v>
                </c:pt>
                <c:pt idx="14382">
                  <c:v>1</c:v>
                </c:pt>
                <c:pt idx="14383">
                  <c:v>6</c:v>
                </c:pt>
                <c:pt idx="14384">
                  <c:v>0</c:v>
                </c:pt>
                <c:pt idx="14385">
                  <c:v>0</c:v>
                </c:pt>
                <c:pt idx="14386">
                  <c:v>0</c:v>
                </c:pt>
                <c:pt idx="14387">
                  <c:v>0</c:v>
                </c:pt>
                <c:pt idx="14388">
                  <c:v>0</c:v>
                </c:pt>
                <c:pt idx="14389">
                  <c:v>1</c:v>
                </c:pt>
                <c:pt idx="14390">
                  <c:v>0</c:v>
                </c:pt>
                <c:pt idx="14391">
                  <c:v>0</c:v>
                </c:pt>
                <c:pt idx="14392">
                  <c:v>0</c:v>
                </c:pt>
                <c:pt idx="14393">
                  <c:v>2</c:v>
                </c:pt>
                <c:pt idx="14394">
                  <c:v>0</c:v>
                </c:pt>
                <c:pt idx="14395">
                  <c:v>0</c:v>
                </c:pt>
                <c:pt idx="14396">
                  <c:v>0</c:v>
                </c:pt>
                <c:pt idx="14397">
                  <c:v>0</c:v>
                </c:pt>
                <c:pt idx="14398">
                  <c:v>0</c:v>
                </c:pt>
                <c:pt idx="14399">
                  <c:v>0</c:v>
                </c:pt>
                <c:pt idx="14400">
                  <c:v>0</c:v>
                </c:pt>
                <c:pt idx="14401">
                  <c:v>0</c:v>
                </c:pt>
                <c:pt idx="14402">
                  <c:v>0</c:v>
                </c:pt>
                <c:pt idx="14403">
                  <c:v>0</c:v>
                </c:pt>
                <c:pt idx="14404">
                  <c:v>0</c:v>
                </c:pt>
                <c:pt idx="14405">
                  <c:v>0</c:v>
                </c:pt>
                <c:pt idx="14406">
                  <c:v>0</c:v>
                </c:pt>
                <c:pt idx="14407">
                  <c:v>0</c:v>
                </c:pt>
                <c:pt idx="14408">
                  <c:v>0</c:v>
                </c:pt>
                <c:pt idx="14409">
                  <c:v>0</c:v>
                </c:pt>
                <c:pt idx="14410">
                  <c:v>0</c:v>
                </c:pt>
                <c:pt idx="14411">
                  <c:v>0</c:v>
                </c:pt>
                <c:pt idx="14412">
                  <c:v>0</c:v>
                </c:pt>
                <c:pt idx="14413">
                  <c:v>0</c:v>
                </c:pt>
                <c:pt idx="14414">
                  <c:v>0</c:v>
                </c:pt>
                <c:pt idx="14415">
                  <c:v>0</c:v>
                </c:pt>
                <c:pt idx="14416">
                  <c:v>0</c:v>
                </c:pt>
                <c:pt idx="14417">
                  <c:v>0</c:v>
                </c:pt>
                <c:pt idx="14418">
                  <c:v>0</c:v>
                </c:pt>
                <c:pt idx="14419">
                  <c:v>0</c:v>
                </c:pt>
                <c:pt idx="14420">
                  <c:v>1</c:v>
                </c:pt>
                <c:pt idx="14421">
                  <c:v>0</c:v>
                </c:pt>
                <c:pt idx="14422">
                  <c:v>0</c:v>
                </c:pt>
                <c:pt idx="14423">
                  <c:v>0</c:v>
                </c:pt>
                <c:pt idx="14424">
                  <c:v>0</c:v>
                </c:pt>
                <c:pt idx="14425">
                  <c:v>0</c:v>
                </c:pt>
                <c:pt idx="14426">
                  <c:v>1</c:v>
                </c:pt>
                <c:pt idx="14427">
                  <c:v>0</c:v>
                </c:pt>
                <c:pt idx="14428">
                  <c:v>0</c:v>
                </c:pt>
                <c:pt idx="14429">
                  <c:v>0</c:v>
                </c:pt>
                <c:pt idx="14430">
                  <c:v>0</c:v>
                </c:pt>
                <c:pt idx="14431">
                  <c:v>0</c:v>
                </c:pt>
                <c:pt idx="14432">
                  <c:v>0</c:v>
                </c:pt>
                <c:pt idx="14433">
                  <c:v>1</c:v>
                </c:pt>
                <c:pt idx="14434">
                  <c:v>1</c:v>
                </c:pt>
                <c:pt idx="14435">
                  <c:v>1</c:v>
                </c:pt>
                <c:pt idx="14436">
                  <c:v>0</c:v>
                </c:pt>
                <c:pt idx="14437">
                  <c:v>0</c:v>
                </c:pt>
                <c:pt idx="14438">
                  <c:v>1</c:v>
                </c:pt>
                <c:pt idx="14439">
                  <c:v>0</c:v>
                </c:pt>
                <c:pt idx="14440">
                  <c:v>0</c:v>
                </c:pt>
                <c:pt idx="14441">
                  <c:v>0</c:v>
                </c:pt>
                <c:pt idx="14442">
                  <c:v>0</c:v>
                </c:pt>
                <c:pt idx="14443">
                  <c:v>0</c:v>
                </c:pt>
                <c:pt idx="14444">
                  <c:v>0</c:v>
                </c:pt>
                <c:pt idx="14445">
                  <c:v>1</c:v>
                </c:pt>
                <c:pt idx="14446">
                  <c:v>0</c:v>
                </c:pt>
                <c:pt idx="14447">
                  <c:v>0</c:v>
                </c:pt>
                <c:pt idx="14448">
                  <c:v>0</c:v>
                </c:pt>
                <c:pt idx="14449">
                  <c:v>0</c:v>
                </c:pt>
                <c:pt idx="14450">
                  <c:v>0</c:v>
                </c:pt>
                <c:pt idx="14451">
                  <c:v>0</c:v>
                </c:pt>
                <c:pt idx="14452">
                  <c:v>0</c:v>
                </c:pt>
                <c:pt idx="14453">
                  <c:v>0</c:v>
                </c:pt>
                <c:pt idx="14454">
                  <c:v>0</c:v>
                </c:pt>
                <c:pt idx="14455">
                  <c:v>0</c:v>
                </c:pt>
                <c:pt idx="14456">
                  <c:v>0</c:v>
                </c:pt>
                <c:pt idx="14457">
                  <c:v>0</c:v>
                </c:pt>
                <c:pt idx="14458">
                  <c:v>0</c:v>
                </c:pt>
                <c:pt idx="14459">
                  <c:v>0</c:v>
                </c:pt>
                <c:pt idx="14460">
                  <c:v>1</c:v>
                </c:pt>
                <c:pt idx="14461">
                  <c:v>0</c:v>
                </c:pt>
                <c:pt idx="14462">
                  <c:v>1</c:v>
                </c:pt>
                <c:pt idx="14463">
                  <c:v>0</c:v>
                </c:pt>
                <c:pt idx="14464">
                  <c:v>0</c:v>
                </c:pt>
                <c:pt idx="14465">
                  <c:v>1</c:v>
                </c:pt>
                <c:pt idx="14466">
                  <c:v>0</c:v>
                </c:pt>
                <c:pt idx="14467">
                  <c:v>0</c:v>
                </c:pt>
                <c:pt idx="14468">
                  <c:v>0</c:v>
                </c:pt>
                <c:pt idx="14469">
                  <c:v>2</c:v>
                </c:pt>
                <c:pt idx="14470">
                  <c:v>1</c:v>
                </c:pt>
                <c:pt idx="14471">
                  <c:v>0</c:v>
                </c:pt>
                <c:pt idx="14472">
                  <c:v>0</c:v>
                </c:pt>
                <c:pt idx="14473">
                  <c:v>1</c:v>
                </c:pt>
                <c:pt idx="14474">
                  <c:v>0</c:v>
                </c:pt>
                <c:pt idx="14475">
                  <c:v>0</c:v>
                </c:pt>
                <c:pt idx="14476">
                  <c:v>0</c:v>
                </c:pt>
                <c:pt idx="14477">
                  <c:v>0</c:v>
                </c:pt>
                <c:pt idx="14478">
                  <c:v>0</c:v>
                </c:pt>
                <c:pt idx="14479">
                  <c:v>0</c:v>
                </c:pt>
                <c:pt idx="14480">
                  <c:v>0</c:v>
                </c:pt>
                <c:pt idx="14481">
                  <c:v>0</c:v>
                </c:pt>
                <c:pt idx="14482">
                  <c:v>0</c:v>
                </c:pt>
                <c:pt idx="14483">
                  <c:v>0</c:v>
                </c:pt>
                <c:pt idx="14484">
                  <c:v>0</c:v>
                </c:pt>
                <c:pt idx="14485">
                  <c:v>0</c:v>
                </c:pt>
                <c:pt idx="14486">
                  <c:v>0</c:v>
                </c:pt>
                <c:pt idx="14487">
                  <c:v>0</c:v>
                </c:pt>
                <c:pt idx="14488">
                  <c:v>0</c:v>
                </c:pt>
                <c:pt idx="14489">
                  <c:v>0</c:v>
                </c:pt>
                <c:pt idx="14490">
                  <c:v>0</c:v>
                </c:pt>
                <c:pt idx="14491">
                  <c:v>0</c:v>
                </c:pt>
                <c:pt idx="14492">
                  <c:v>0</c:v>
                </c:pt>
                <c:pt idx="14493">
                  <c:v>0</c:v>
                </c:pt>
                <c:pt idx="14494">
                  <c:v>0</c:v>
                </c:pt>
                <c:pt idx="14495">
                  <c:v>0</c:v>
                </c:pt>
                <c:pt idx="14496">
                  <c:v>0</c:v>
                </c:pt>
                <c:pt idx="14497">
                  <c:v>0</c:v>
                </c:pt>
                <c:pt idx="14498">
                  <c:v>0</c:v>
                </c:pt>
                <c:pt idx="14499">
                  <c:v>0</c:v>
                </c:pt>
                <c:pt idx="14500">
                  <c:v>0</c:v>
                </c:pt>
                <c:pt idx="14501">
                  <c:v>0</c:v>
                </c:pt>
                <c:pt idx="14502">
                  <c:v>0</c:v>
                </c:pt>
                <c:pt idx="14503">
                  <c:v>0</c:v>
                </c:pt>
                <c:pt idx="14504">
                  <c:v>0</c:v>
                </c:pt>
                <c:pt idx="14505">
                  <c:v>0</c:v>
                </c:pt>
                <c:pt idx="14506">
                  <c:v>0</c:v>
                </c:pt>
                <c:pt idx="14507">
                  <c:v>0</c:v>
                </c:pt>
                <c:pt idx="14508">
                  <c:v>0</c:v>
                </c:pt>
                <c:pt idx="14509">
                  <c:v>0</c:v>
                </c:pt>
                <c:pt idx="14510">
                  <c:v>0</c:v>
                </c:pt>
                <c:pt idx="14511">
                  <c:v>0</c:v>
                </c:pt>
                <c:pt idx="14512">
                  <c:v>0</c:v>
                </c:pt>
                <c:pt idx="14513">
                  <c:v>0</c:v>
                </c:pt>
                <c:pt idx="14514">
                  <c:v>0</c:v>
                </c:pt>
                <c:pt idx="14515">
                  <c:v>0</c:v>
                </c:pt>
                <c:pt idx="14516">
                  <c:v>0</c:v>
                </c:pt>
                <c:pt idx="14517">
                  <c:v>0</c:v>
                </c:pt>
                <c:pt idx="14518">
                  <c:v>0</c:v>
                </c:pt>
                <c:pt idx="14519">
                  <c:v>0</c:v>
                </c:pt>
                <c:pt idx="14520">
                  <c:v>1</c:v>
                </c:pt>
                <c:pt idx="14521">
                  <c:v>0</c:v>
                </c:pt>
                <c:pt idx="14522">
                  <c:v>0</c:v>
                </c:pt>
                <c:pt idx="14523">
                  <c:v>1</c:v>
                </c:pt>
                <c:pt idx="14524">
                  <c:v>0</c:v>
                </c:pt>
                <c:pt idx="14525">
                  <c:v>0</c:v>
                </c:pt>
                <c:pt idx="14526">
                  <c:v>0</c:v>
                </c:pt>
                <c:pt idx="14527">
                  <c:v>0</c:v>
                </c:pt>
                <c:pt idx="14528">
                  <c:v>1</c:v>
                </c:pt>
                <c:pt idx="14529">
                  <c:v>2</c:v>
                </c:pt>
                <c:pt idx="14530">
                  <c:v>0</c:v>
                </c:pt>
                <c:pt idx="14531">
                  <c:v>0</c:v>
                </c:pt>
                <c:pt idx="14532">
                  <c:v>0</c:v>
                </c:pt>
                <c:pt idx="14533">
                  <c:v>3</c:v>
                </c:pt>
                <c:pt idx="14534">
                  <c:v>1</c:v>
                </c:pt>
                <c:pt idx="14535">
                  <c:v>0</c:v>
                </c:pt>
                <c:pt idx="14536">
                  <c:v>0</c:v>
                </c:pt>
                <c:pt idx="14537">
                  <c:v>0</c:v>
                </c:pt>
                <c:pt idx="14538">
                  <c:v>0</c:v>
                </c:pt>
                <c:pt idx="14539">
                  <c:v>0</c:v>
                </c:pt>
                <c:pt idx="14540">
                  <c:v>0</c:v>
                </c:pt>
                <c:pt idx="14541">
                  <c:v>0</c:v>
                </c:pt>
                <c:pt idx="14542">
                  <c:v>0</c:v>
                </c:pt>
                <c:pt idx="14543">
                  <c:v>0</c:v>
                </c:pt>
                <c:pt idx="14544">
                  <c:v>0</c:v>
                </c:pt>
                <c:pt idx="14545">
                  <c:v>0</c:v>
                </c:pt>
                <c:pt idx="14546">
                  <c:v>0</c:v>
                </c:pt>
                <c:pt idx="14547">
                  <c:v>0</c:v>
                </c:pt>
                <c:pt idx="14548">
                  <c:v>0</c:v>
                </c:pt>
                <c:pt idx="14549">
                  <c:v>0</c:v>
                </c:pt>
                <c:pt idx="14550">
                  <c:v>0</c:v>
                </c:pt>
                <c:pt idx="14551">
                  <c:v>0</c:v>
                </c:pt>
                <c:pt idx="14552">
                  <c:v>0</c:v>
                </c:pt>
                <c:pt idx="14553">
                  <c:v>0</c:v>
                </c:pt>
                <c:pt idx="14554">
                  <c:v>0</c:v>
                </c:pt>
                <c:pt idx="14555">
                  <c:v>1</c:v>
                </c:pt>
                <c:pt idx="14556">
                  <c:v>0</c:v>
                </c:pt>
                <c:pt idx="14557">
                  <c:v>0</c:v>
                </c:pt>
                <c:pt idx="14558">
                  <c:v>0</c:v>
                </c:pt>
                <c:pt idx="14559">
                  <c:v>1</c:v>
                </c:pt>
                <c:pt idx="14560">
                  <c:v>0</c:v>
                </c:pt>
                <c:pt idx="14561">
                  <c:v>0</c:v>
                </c:pt>
                <c:pt idx="14562">
                  <c:v>0</c:v>
                </c:pt>
                <c:pt idx="14563">
                  <c:v>0</c:v>
                </c:pt>
                <c:pt idx="14564">
                  <c:v>1</c:v>
                </c:pt>
                <c:pt idx="14565">
                  <c:v>0</c:v>
                </c:pt>
                <c:pt idx="14566">
                  <c:v>0</c:v>
                </c:pt>
                <c:pt idx="14567">
                  <c:v>0</c:v>
                </c:pt>
                <c:pt idx="14568">
                  <c:v>0</c:v>
                </c:pt>
                <c:pt idx="14569">
                  <c:v>0</c:v>
                </c:pt>
                <c:pt idx="14570">
                  <c:v>0</c:v>
                </c:pt>
                <c:pt idx="14571">
                  <c:v>0</c:v>
                </c:pt>
                <c:pt idx="14572">
                  <c:v>0</c:v>
                </c:pt>
                <c:pt idx="14573">
                  <c:v>1</c:v>
                </c:pt>
                <c:pt idx="14574">
                  <c:v>0</c:v>
                </c:pt>
                <c:pt idx="14575">
                  <c:v>0</c:v>
                </c:pt>
                <c:pt idx="14576">
                  <c:v>5</c:v>
                </c:pt>
                <c:pt idx="14577">
                  <c:v>0</c:v>
                </c:pt>
                <c:pt idx="14578">
                  <c:v>0</c:v>
                </c:pt>
                <c:pt idx="14579">
                  <c:v>0</c:v>
                </c:pt>
                <c:pt idx="14580">
                  <c:v>4</c:v>
                </c:pt>
                <c:pt idx="14581">
                  <c:v>5</c:v>
                </c:pt>
                <c:pt idx="14582">
                  <c:v>0</c:v>
                </c:pt>
                <c:pt idx="14583">
                  <c:v>2</c:v>
                </c:pt>
                <c:pt idx="14584">
                  <c:v>0</c:v>
                </c:pt>
                <c:pt idx="14585">
                  <c:v>1</c:v>
                </c:pt>
                <c:pt idx="14586">
                  <c:v>0</c:v>
                </c:pt>
                <c:pt idx="14587">
                  <c:v>0</c:v>
                </c:pt>
                <c:pt idx="14588">
                  <c:v>0</c:v>
                </c:pt>
                <c:pt idx="14589">
                  <c:v>0</c:v>
                </c:pt>
                <c:pt idx="14590">
                  <c:v>0</c:v>
                </c:pt>
                <c:pt idx="14591">
                  <c:v>0</c:v>
                </c:pt>
                <c:pt idx="14592">
                  <c:v>2</c:v>
                </c:pt>
                <c:pt idx="14593">
                  <c:v>0</c:v>
                </c:pt>
                <c:pt idx="14594">
                  <c:v>0</c:v>
                </c:pt>
                <c:pt idx="14595">
                  <c:v>0</c:v>
                </c:pt>
                <c:pt idx="14596">
                  <c:v>0</c:v>
                </c:pt>
                <c:pt idx="14597">
                  <c:v>0</c:v>
                </c:pt>
                <c:pt idx="14598">
                  <c:v>0</c:v>
                </c:pt>
                <c:pt idx="14599">
                  <c:v>0</c:v>
                </c:pt>
                <c:pt idx="14600">
                  <c:v>0</c:v>
                </c:pt>
                <c:pt idx="14601">
                  <c:v>0</c:v>
                </c:pt>
                <c:pt idx="14602">
                  <c:v>0</c:v>
                </c:pt>
                <c:pt idx="14603">
                  <c:v>0</c:v>
                </c:pt>
                <c:pt idx="14604">
                  <c:v>0</c:v>
                </c:pt>
                <c:pt idx="14605">
                  <c:v>0</c:v>
                </c:pt>
                <c:pt idx="14606">
                  <c:v>0</c:v>
                </c:pt>
                <c:pt idx="14607">
                  <c:v>0</c:v>
                </c:pt>
                <c:pt idx="14608">
                  <c:v>0</c:v>
                </c:pt>
                <c:pt idx="14609">
                  <c:v>1</c:v>
                </c:pt>
                <c:pt idx="14610">
                  <c:v>8</c:v>
                </c:pt>
                <c:pt idx="14611">
                  <c:v>3</c:v>
                </c:pt>
                <c:pt idx="14612">
                  <c:v>0</c:v>
                </c:pt>
                <c:pt idx="14613">
                  <c:v>4</c:v>
                </c:pt>
                <c:pt idx="14614">
                  <c:v>0</c:v>
                </c:pt>
                <c:pt idx="14615">
                  <c:v>1</c:v>
                </c:pt>
                <c:pt idx="14616">
                  <c:v>1</c:v>
                </c:pt>
                <c:pt idx="14617">
                  <c:v>6</c:v>
                </c:pt>
                <c:pt idx="14618">
                  <c:v>1</c:v>
                </c:pt>
                <c:pt idx="14619">
                  <c:v>5</c:v>
                </c:pt>
                <c:pt idx="14620">
                  <c:v>2</c:v>
                </c:pt>
                <c:pt idx="14621">
                  <c:v>2</c:v>
                </c:pt>
                <c:pt idx="14622">
                  <c:v>7</c:v>
                </c:pt>
                <c:pt idx="14623">
                  <c:v>1</c:v>
                </c:pt>
                <c:pt idx="14624">
                  <c:v>1</c:v>
                </c:pt>
                <c:pt idx="14625">
                  <c:v>0</c:v>
                </c:pt>
                <c:pt idx="14626">
                  <c:v>0</c:v>
                </c:pt>
                <c:pt idx="14627">
                  <c:v>0</c:v>
                </c:pt>
                <c:pt idx="14628">
                  <c:v>0</c:v>
                </c:pt>
                <c:pt idx="14629">
                  <c:v>0</c:v>
                </c:pt>
                <c:pt idx="14630">
                  <c:v>0</c:v>
                </c:pt>
                <c:pt idx="14631">
                  <c:v>0</c:v>
                </c:pt>
                <c:pt idx="14632">
                  <c:v>0</c:v>
                </c:pt>
                <c:pt idx="14633">
                  <c:v>0</c:v>
                </c:pt>
                <c:pt idx="14634">
                  <c:v>0</c:v>
                </c:pt>
                <c:pt idx="14635">
                  <c:v>0</c:v>
                </c:pt>
                <c:pt idx="14636">
                  <c:v>0</c:v>
                </c:pt>
                <c:pt idx="14637">
                  <c:v>0</c:v>
                </c:pt>
                <c:pt idx="14638">
                  <c:v>0</c:v>
                </c:pt>
                <c:pt idx="14639">
                  <c:v>0</c:v>
                </c:pt>
                <c:pt idx="14640">
                  <c:v>0</c:v>
                </c:pt>
                <c:pt idx="14641">
                  <c:v>0</c:v>
                </c:pt>
                <c:pt idx="14642">
                  <c:v>0</c:v>
                </c:pt>
                <c:pt idx="14643">
                  <c:v>0</c:v>
                </c:pt>
                <c:pt idx="14644">
                  <c:v>0</c:v>
                </c:pt>
                <c:pt idx="14645">
                  <c:v>0</c:v>
                </c:pt>
                <c:pt idx="14646">
                  <c:v>0</c:v>
                </c:pt>
                <c:pt idx="14647">
                  <c:v>0</c:v>
                </c:pt>
                <c:pt idx="14648">
                  <c:v>0</c:v>
                </c:pt>
                <c:pt idx="14649">
                  <c:v>0</c:v>
                </c:pt>
                <c:pt idx="14650">
                  <c:v>0</c:v>
                </c:pt>
                <c:pt idx="14651">
                  <c:v>0</c:v>
                </c:pt>
                <c:pt idx="14652">
                  <c:v>0</c:v>
                </c:pt>
                <c:pt idx="14653">
                  <c:v>0</c:v>
                </c:pt>
                <c:pt idx="14654">
                  <c:v>0</c:v>
                </c:pt>
                <c:pt idx="14655">
                  <c:v>0</c:v>
                </c:pt>
                <c:pt idx="14656">
                  <c:v>0</c:v>
                </c:pt>
                <c:pt idx="14657">
                  <c:v>0</c:v>
                </c:pt>
                <c:pt idx="14658">
                  <c:v>0</c:v>
                </c:pt>
                <c:pt idx="14659">
                  <c:v>0</c:v>
                </c:pt>
                <c:pt idx="14660">
                  <c:v>0</c:v>
                </c:pt>
                <c:pt idx="14661">
                  <c:v>0</c:v>
                </c:pt>
                <c:pt idx="14662">
                  <c:v>0</c:v>
                </c:pt>
                <c:pt idx="14663">
                  <c:v>0</c:v>
                </c:pt>
                <c:pt idx="14664">
                  <c:v>0</c:v>
                </c:pt>
                <c:pt idx="14665">
                  <c:v>0</c:v>
                </c:pt>
                <c:pt idx="14666">
                  <c:v>0</c:v>
                </c:pt>
                <c:pt idx="14667">
                  <c:v>0</c:v>
                </c:pt>
                <c:pt idx="14668">
                  <c:v>0</c:v>
                </c:pt>
                <c:pt idx="14669">
                  <c:v>0</c:v>
                </c:pt>
                <c:pt idx="14670">
                  <c:v>0</c:v>
                </c:pt>
                <c:pt idx="14671">
                  <c:v>0</c:v>
                </c:pt>
                <c:pt idx="14672">
                  <c:v>0</c:v>
                </c:pt>
                <c:pt idx="14673">
                  <c:v>0</c:v>
                </c:pt>
                <c:pt idx="14674">
                  <c:v>0</c:v>
                </c:pt>
                <c:pt idx="14675">
                  <c:v>0</c:v>
                </c:pt>
                <c:pt idx="14676">
                  <c:v>0</c:v>
                </c:pt>
                <c:pt idx="14677">
                  <c:v>0</c:v>
                </c:pt>
                <c:pt idx="14678">
                  <c:v>0</c:v>
                </c:pt>
                <c:pt idx="14679">
                  <c:v>0</c:v>
                </c:pt>
                <c:pt idx="14680">
                  <c:v>0</c:v>
                </c:pt>
                <c:pt idx="14681">
                  <c:v>0</c:v>
                </c:pt>
                <c:pt idx="14682">
                  <c:v>0</c:v>
                </c:pt>
                <c:pt idx="14683">
                  <c:v>0</c:v>
                </c:pt>
                <c:pt idx="14684">
                  <c:v>0</c:v>
                </c:pt>
                <c:pt idx="14685">
                  <c:v>2</c:v>
                </c:pt>
                <c:pt idx="14686">
                  <c:v>0</c:v>
                </c:pt>
                <c:pt idx="14687">
                  <c:v>0</c:v>
                </c:pt>
                <c:pt idx="14688">
                  <c:v>0</c:v>
                </c:pt>
                <c:pt idx="14689">
                  <c:v>0</c:v>
                </c:pt>
                <c:pt idx="14690">
                  <c:v>0</c:v>
                </c:pt>
                <c:pt idx="14691">
                  <c:v>3</c:v>
                </c:pt>
                <c:pt idx="14692">
                  <c:v>0</c:v>
                </c:pt>
                <c:pt idx="14693">
                  <c:v>0</c:v>
                </c:pt>
                <c:pt idx="14694">
                  <c:v>0</c:v>
                </c:pt>
                <c:pt idx="14695">
                  <c:v>0</c:v>
                </c:pt>
                <c:pt idx="14696">
                  <c:v>0</c:v>
                </c:pt>
                <c:pt idx="14697">
                  <c:v>1</c:v>
                </c:pt>
                <c:pt idx="14698">
                  <c:v>0</c:v>
                </c:pt>
                <c:pt idx="14699">
                  <c:v>0</c:v>
                </c:pt>
                <c:pt idx="14700">
                  <c:v>0</c:v>
                </c:pt>
                <c:pt idx="14701">
                  <c:v>0</c:v>
                </c:pt>
                <c:pt idx="14702">
                  <c:v>0</c:v>
                </c:pt>
                <c:pt idx="14703">
                  <c:v>0</c:v>
                </c:pt>
                <c:pt idx="14704">
                  <c:v>0</c:v>
                </c:pt>
                <c:pt idx="14705">
                  <c:v>0</c:v>
                </c:pt>
                <c:pt idx="14706">
                  <c:v>0</c:v>
                </c:pt>
                <c:pt idx="14707">
                  <c:v>0</c:v>
                </c:pt>
                <c:pt idx="14708">
                  <c:v>0</c:v>
                </c:pt>
                <c:pt idx="14709">
                  <c:v>0</c:v>
                </c:pt>
                <c:pt idx="14710">
                  <c:v>0</c:v>
                </c:pt>
                <c:pt idx="14711">
                  <c:v>0</c:v>
                </c:pt>
                <c:pt idx="14712">
                  <c:v>0</c:v>
                </c:pt>
                <c:pt idx="14713">
                  <c:v>2</c:v>
                </c:pt>
                <c:pt idx="14714">
                  <c:v>0</c:v>
                </c:pt>
                <c:pt idx="14715">
                  <c:v>1</c:v>
                </c:pt>
                <c:pt idx="14716">
                  <c:v>0</c:v>
                </c:pt>
                <c:pt idx="14717">
                  <c:v>0</c:v>
                </c:pt>
                <c:pt idx="14718">
                  <c:v>0</c:v>
                </c:pt>
                <c:pt idx="14719">
                  <c:v>0</c:v>
                </c:pt>
                <c:pt idx="14720">
                  <c:v>0</c:v>
                </c:pt>
                <c:pt idx="14721">
                  <c:v>0</c:v>
                </c:pt>
                <c:pt idx="14722">
                  <c:v>0</c:v>
                </c:pt>
                <c:pt idx="14723">
                  <c:v>0</c:v>
                </c:pt>
                <c:pt idx="14724">
                  <c:v>0</c:v>
                </c:pt>
                <c:pt idx="14725">
                  <c:v>0</c:v>
                </c:pt>
                <c:pt idx="14726">
                  <c:v>0</c:v>
                </c:pt>
                <c:pt idx="14727">
                  <c:v>0</c:v>
                </c:pt>
                <c:pt idx="14728">
                  <c:v>0</c:v>
                </c:pt>
                <c:pt idx="14729">
                  <c:v>3</c:v>
                </c:pt>
                <c:pt idx="14730">
                  <c:v>0</c:v>
                </c:pt>
                <c:pt idx="14731">
                  <c:v>0</c:v>
                </c:pt>
                <c:pt idx="14732">
                  <c:v>0</c:v>
                </c:pt>
                <c:pt idx="14733">
                  <c:v>0</c:v>
                </c:pt>
                <c:pt idx="14734">
                  <c:v>0</c:v>
                </c:pt>
                <c:pt idx="14735">
                  <c:v>0</c:v>
                </c:pt>
                <c:pt idx="14736">
                  <c:v>0</c:v>
                </c:pt>
                <c:pt idx="14737">
                  <c:v>2</c:v>
                </c:pt>
                <c:pt idx="14738">
                  <c:v>0</c:v>
                </c:pt>
                <c:pt idx="14739">
                  <c:v>0</c:v>
                </c:pt>
                <c:pt idx="14740">
                  <c:v>0</c:v>
                </c:pt>
                <c:pt idx="14741">
                  <c:v>0</c:v>
                </c:pt>
                <c:pt idx="14742">
                  <c:v>0</c:v>
                </c:pt>
                <c:pt idx="14743">
                  <c:v>0</c:v>
                </c:pt>
                <c:pt idx="14744">
                  <c:v>0</c:v>
                </c:pt>
                <c:pt idx="14745">
                  <c:v>1</c:v>
                </c:pt>
                <c:pt idx="14746">
                  <c:v>0</c:v>
                </c:pt>
                <c:pt idx="14747">
                  <c:v>0</c:v>
                </c:pt>
                <c:pt idx="14748">
                  <c:v>0</c:v>
                </c:pt>
                <c:pt idx="14749">
                  <c:v>0</c:v>
                </c:pt>
                <c:pt idx="14750">
                  <c:v>0</c:v>
                </c:pt>
                <c:pt idx="14751">
                  <c:v>0</c:v>
                </c:pt>
                <c:pt idx="14752">
                  <c:v>0</c:v>
                </c:pt>
                <c:pt idx="14753">
                  <c:v>0</c:v>
                </c:pt>
                <c:pt idx="14754">
                  <c:v>0</c:v>
                </c:pt>
                <c:pt idx="14755">
                  <c:v>0</c:v>
                </c:pt>
                <c:pt idx="14756">
                  <c:v>0</c:v>
                </c:pt>
                <c:pt idx="14757">
                  <c:v>0</c:v>
                </c:pt>
                <c:pt idx="14758">
                  <c:v>0</c:v>
                </c:pt>
                <c:pt idx="14759">
                  <c:v>0</c:v>
                </c:pt>
                <c:pt idx="14760">
                  <c:v>0</c:v>
                </c:pt>
                <c:pt idx="14761">
                  <c:v>0</c:v>
                </c:pt>
                <c:pt idx="14762">
                  <c:v>0</c:v>
                </c:pt>
                <c:pt idx="14763">
                  <c:v>0</c:v>
                </c:pt>
                <c:pt idx="14764">
                  <c:v>0</c:v>
                </c:pt>
                <c:pt idx="14765">
                  <c:v>2</c:v>
                </c:pt>
                <c:pt idx="14766">
                  <c:v>0</c:v>
                </c:pt>
                <c:pt idx="14767">
                  <c:v>0</c:v>
                </c:pt>
                <c:pt idx="14768">
                  <c:v>0</c:v>
                </c:pt>
                <c:pt idx="14769">
                  <c:v>0</c:v>
                </c:pt>
                <c:pt idx="14770">
                  <c:v>0</c:v>
                </c:pt>
                <c:pt idx="14771">
                  <c:v>0</c:v>
                </c:pt>
                <c:pt idx="14772">
                  <c:v>0</c:v>
                </c:pt>
                <c:pt idx="14773">
                  <c:v>0</c:v>
                </c:pt>
                <c:pt idx="14774">
                  <c:v>0</c:v>
                </c:pt>
                <c:pt idx="14775">
                  <c:v>0</c:v>
                </c:pt>
                <c:pt idx="14776">
                  <c:v>0</c:v>
                </c:pt>
                <c:pt idx="14777">
                  <c:v>0</c:v>
                </c:pt>
                <c:pt idx="14778">
                  <c:v>0</c:v>
                </c:pt>
                <c:pt idx="14779">
                  <c:v>6</c:v>
                </c:pt>
                <c:pt idx="14780">
                  <c:v>0</c:v>
                </c:pt>
                <c:pt idx="14781">
                  <c:v>0</c:v>
                </c:pt>
                <c:pt idx="14782">
                  <c:v>0</c:v>
                </c:pt>
                <c:pt idx="14783">
                  <c:v>0</c:v>
                </c:pt>
                <c:pt idx="14784">
                  <c:v>0</c:v>
                </c:pt>
                <c:pt idx="14785">
                  <c:v>0</c:v>
                </c:pt>
                <c:pt idx="14786">
                  <c:v>0</c:v>
                </c:pt>
                <c:pt idx="14787">
                  <c:v>0</c:v>
                </c:pt>
                <c:pt idx="14788">
                  <c:v>0</c:v>
                </c:pt>
                <c:pt idx="14789">
                  <c:v>0</c:v>
                </c:pt>
                <c:pt idx="14790">
                  <c:v>0</c:v>
                </c:pt>
                <c:pt idx="14791">
                  <c:v>0</c:v>
                </c:pt>
                <c:pt idx="14792">
                  <c:v>0</c:v>
                </c:pt>
                <c:pt idx="14793">
                  <c:v>0</c:v>
                </c:pt>
                <c:pt idx="14794">
                  <c:v>0</c:v>
                </c:pt>
                <c:pt idx="14795">
                  <c:v>0</c:v>
                </c:pt>
                <c:pt idx="14796">
                  <c:v>0</c:v>
                </c:pt>
                <c:pt idx="14797">
                  <c:v>0</c:v>
                </c:pt>
                <c:pt idx="14798">
                  <c:v>0</c:v>
                </c:pt>
                <c:pt idx="14799">
                  <c:v>0</c:v>
                </c:pt>
                <c:pt idx="14800">
                  <c:v>0</c:v>
                </c:pt>
                <c:pt idx="14801">
                  <c:v>0</c:v>
                </c:pt>
                <c:pt idx="14802">
                  <c:v>0</c:v>
                </c:pt>
                <c:pt idx="14803">
                  <c:v>0</c:v>
                </c:pt>
                <c:pt idx="14804">
                  <c:v>0</c:v>
                </c:pt>
                <c:pt idx="14805">
                  <c:v>0</c:v>
                </c:pt>
                <c:pt idx="14806">
                  <c:v>0</c:v>
                </c:pt>
                <c:pt idx="14807">
                  <c:v>0</c:v>
                </c:pt>
                <c:pt idx="14808">
                  <c:v>0</c:v>
                </c:pt>
                <c:pt idx="14809">
                  <c:v>0</c:v>
                </c:pt>
                <c:pt idx="14810">
                  <c:v>0</c:v>
                </c:pt>
                <c:pt idx="14811">
                  <c:v>0</c:v>
                </c:pt>
                <c:pt idx="14812">
                  <c:v>0</c:v>
                </c:pt>
                <c:pt idx="14813">
                  <c:v>0</c:v>
                </c:pt>
                <c:pt idx="14814">
                  <c:v>0</c:v>
                </c:pt>
                <c:pt idx="14815">
                  <c:v>0</c:v>
                </c:pt>
                <c:pt idx="14816">
                  <c:v>0</c:v>
                </c:pt>
                <c:pt idx="14817">
                  <c:v>0</c:v>
                </c:pt>
                <c:pt idx="14818">
                  <c:v>0</c:v>
                </c:pt>
                <c:pt idx="14819">
                  <c:v>0</c:v>
                </c:pt>
                <c:pt idx="14820">
                  <c:v>0</c:v>
                </c:pt>
                <c:pt idx="14821">
                  <c:v>0</c:v>
                </c:pt>
                <c:pt idx="14822">
                  <c:v>0</c:v>
                </c:pt>
                <c:pt idx="14823">
                  <c:v>0</c:v>
                </c:pt>
                <c:pt idx="14824">
                  <c:v>0</c:v>
                </c:pt>
                <c:pt idx="14825">
                  <c:v>0</c:v>
                </c:pt>
                <c:pt idx="14826">
                  <c:v>0</c:v>
                </c:pt>
                <c:pt idx="14827">
                  <c:v>0</c:v>
                </c:pt>
                <c:pt idx="14828">
                  <c:v>0</c:v>
                </c:pt>
                <c:pt idx="14829">
                  <c:v>0</c:v>
                </c:pt>
                <c:pt idx="14830">
                  <c:v>0</c:v>
                </c:pt>
                <c:pt idx="14831">
                  <c:v>0</c:v>
                </c:pt>
                <c:pt idx="14832">
                  <c:v>0</c:v>
                </c:pt>
                <c:pt idx="14833">
                  <c:v>0</c:v>
                </c:pt>
                <c:pt idx="14834">
                  <c:v>0</c:v>
                </c:pt>
                <c:pt idx="14835">
                  <c:v>0</c:v>
                </c:pt>
                <c:pt idx="14836">
                  <c:v>0</c:v>
                </c:pt>
                <c:pt idx="14837">
                  <c:v>0</c:v>
                </c:pt>
                <c:pt idx="14838">
                  <c:v>0</c:v>
                </c:pt>
                <c:pt idx="14839">
                  <c:v>0</c:v>
                </c:pt>
                <c:pt idx="14840">
                  <c:v>0</c:v>
                </c:pt>
                <c:pt idx="14841">
                  <c:v>0</c:v>
                </c:pt>
                <c:pt idx="14842">
                  <c:v>0</c:v>
                </c:pt>
                <c:pt idx="14843">
                  <c:v>0</c:v>
                </c:pt>
                <c:pt idx="14844">
                  <c:v>0</c:v>
                </c:pt>
                <c:pt idx="14845">
                  <c:v>0</c:v>
                </c:pt>
                <c:pt idx="14846">
                  <c:v>0</c:v>
                </c:pt>
                <c:pt idx="14847">
                  <c:v>0</c:v>
                </c:pt>
                <c:pt idx="14848">
                  <c:v>0</c:v>
                </c:pt>
                <c:pt idx="14849">
                  <c:v>0</c:v>
                </c:pt>
                <c:pt idx="14850">
                  <c:v>0</c:v>
                </c:pt>
                <c:pt idx="14851">
                  <c:v>0</c:v>
                </c:pt>
                <c:pt idx="14852">
                  <c:v>0</c:v>
                </c:pt>
                <c:pt idx="14853">
                  <c:v>0</c:v>
                </c:pt>
                <c:pt idx="14854">
                  <c:v>0</c:v>
                </c:pt>
                <c:pt idx="14855">
                  <c:v>0</c:v>
                </c:pt>
                <c:pt idx="14856">
                  <c:v>4</c:v>
                </c:pt>
                <c:pt idx="14857">
                  <c:v>6</c:v>
                </c:pt>
                <c:pt idx="14858">
                  <c:v>3</c:v>
                </c:pt>
                <c:pt idx="14859">
                  <c:v>0</c:v>
                </c:pt>
                <c:pt idx="14860">
                  <c:v>4</c:v>
                </c:pt>
                <c:pt idx="14861">
                  <c:v>0</c:v>
                </c:pt>
                <c:pt idx="14862">
                  <c:v>4</c:v>
                </c:pt>
                <c:pt idx="14863">
                  <c:v>0</c:v>
                </c:pt>
                <c:pt idx="14864">
                  <c:v>0</c:v>
                </c:pt>
                <c:pt idx="14865">
                  <c:v>0</c:v>
                </c:pt>
                <c:pt idx="14866">
                  <c:v>0</c:v>
                </c:pt>
                <c:pt idx="14867">
                  <c:v>0</c:v>
                </c:pt>
                <c:pt idx="14868">
                  <c:v>0</c:v>
                </c:pt>
                <c:pt idx="14869">
                  <c:v>0</c:v>
                </c:pt>
                <c:pt idx="14870">
                  <c:v>0</c:v>
                </c:pt>
                <c:pt idx="14871">
                  <c:v>0</c:v>
                </c:pt>
                <c:pt idx="14872">
                  <c:v>0</c:v>
                </c:pt>
                <c:pt idx="14873">
                  <c:v>0</c:v>
                </c:pt>
                <c:pt idx="14874">
                  <c:v>0</c:v>
                </c:pt>
                <c:pt idx="14875">
                  <c:v>0</c:v>
                </c:pt>
                <c:pt idx="14876">
                  <c:v>0</c:v>
                </c:pt>
                <c:pt idx="14877">
                  <c:v>0</c:v>
                </c:pt>
                <c:pt idx="14878">
                  <c:v>0</c:v>
                </c:pt>
                <c:pt idx="14879">
                  <c:v>0</c:v>
                </c:pt>
                <c:pt idx="14880">
                  <c:v>0</c:v>
                </c:pt>
                <c:pt idx="14881">
                  <c:v>0</c:v>
                </c:pt>
                <c:pt idx="14882">
                  <c:v>0</c:v>
                </c:pt>
                <c:pt idx="14883">
                  <c:v>0</c:v>
                </c:pt>
                <c:pt idx="14884">
                  <c:v>0</c:v>
                </c:pt>
                <c:pt idx="14885">
                  <c:v>0</c:v>
                </c:pt>
                <c:pt idx="14886">
                  <c:v>0</c:v>
                </c:pt>
                <c:pt idx="14887">
                  <c:v>0</c:v>
                </c:pt>
                <c:pt idx="14888">
                  <c:v>0</c:v>
                </c:pt>
                <c:pt idx="14889">
                  <c:v>0</c:v>
                </c:pt>
                <c:pt idx="14890">
                  <c:v>0</c:v>
                </c:pt>
                <c:pt idx="14891">
                  <c:v>0</c:v>
                </c:pt>
                <c:pt idx="14892">
                  <c:v>0</c:v>
                </c:pt>
                <c:pt idx="14893">
                  <c:v>0</c:v>
                </c:pt>
                <c:pt idx="14894">
                  <c:v>0</c:v>
                </c:pt>
                <c:pt idx="14895">
                  <c:v>0</c:v>
                </c:pt>
                <c:pt idx="14896">
                  <c:v>0</c:v>
                </c:pt>
                <c:pt idx="14897">
                  <c:v>0</c:v>
                </c:pt>
                <c:pt idx="14898">
                  <c:v>0</c:v>
                </c:pt>
                <c:pt idx="14899">
                  <c:v>0</c:v>
                </c:pt>
                <c:pt idx="14900">
                  <c:v>0</c:v>
                </c:pt>
                <c:pt idx="14901">
                  <c:v>0</c:v>
                </c:pt>
                <c:pt idx="14902">
                  <c:v>0</c:v>
                </c:pt>
                <c:pt idx="14903">
                  <c:v>0</c:v>
                </c:pt>
                <c:pt idx="14904">
                  <c:v>0</c:v>
                </c:pt>
                <c:pt idx="14905">
                  <c:v>0</c:v>
                </c:pt>
                <c:pt idx="14906">
                  <c:v>0</c:v>
                </c:pt>
                <c:pt idx="14907">
                  <c:v>0</c:v>
                </c:pt>
                <c:pt idx="14908">
                  <c:v>0</c:v>
                </c:pt>
                <c:pt idx="14909">
                  <c:v>0</c:v>
                </c:pt>
                <c:pt idx="14910">
                  <c:v>0</c:v>
                </c:pt>
                <c:pt idx="14911">
                  <c:v>0</c:v>
                </c:pt>
                <c:pt idx="14912">
                  <c:v>0</c:v>
                </c:pt>
                <c:pt idx="14913">
                  <c:v>0</c:v>
                </c:pt>
                <c:pt idx="14914">
                  <c:v>0</c:v>
                </c:pt>
                <c:pt idx="14915">
                  <c:v>0</c:v>
                </c:pt>
                <c:pt idx="14916">
                  <c:v>0</c:v>
                </c:pt>
                <c:pt idx="14917">
                  <c:v>0</c:v>
                </c:pt>
                <c:pt idx="14918">
                  <c:v>0</c:v>
                </c:pt>
                <c:pt idx="14919">
                  <c:v>0</c:v>
                </c:pt>
                <c:pt idx="14920">
                  <c:v>0</c:v>
                </c:pt>
                <c:pt idx="14921">
                  <c:v>1</c:v>
                </c:pt>
                <c:pt idx="14922">
                  <c:v>0</c:v>
                </c:pt>
                <c:pt idx="14923">
                  <c:v>0</c:v>
                </c:pt>
                <c:pt idx="14924">
                  <c:v>0</c:v>
                </c:pt>
                <c:pt idx="14925">
                  <c:v>0</c:v>
                </c:pt>
                <c:pt idx="14926">
                  <c:v>1</c:v>
                </c:pt>
                <c:pt idx="14927">
                  <c:v>0</c:v>
                </c:pt>
                <c:pt idx="14928">
                  <c:v>0</c:v>
                </c:pt>
                <c:pt idx="14929">
                  <c:v>0</c:v>
                </c:pt>
                <c:pt idx="14930">
                  <c:v>0</c:v>
                </c:pt>
                <c:pt idx="14931">
                  <c:v>0</c:v>
                </c:pt>
                <c:pt idx="14932">
                  <c:v>0</c:v>
                </c:pt>
                <c:pt idx="14933">
                  <c:v>0</c:v>
                </c:pt>
                <c:pt idx="14934">
                  <c:v>0</c:v>
                </c:pt>
                <c:pt idx="14935">
                  <c:v>0</c:v>
                </c:pt>
                <c:pt idx="14936">
                  <c:v>0</c:v>
                </c:pt>
                <c:pt idx="14937">
                  <c:v>0</c:v>
                </c:pt>
                <c:pt idx="14938">
                  <c:v>0</c:v>
                </c:pt>
                <c:pt idx="14939">
                  <c:v>0</c:v>
                </c:pt>
                <c:pt idx="14940">
                  <c:v>0</c:v>
                </c:pt>
                <c:pt idx="14941">
                  <c:v>0</c:v>
                </c:pt>
                <c:pt idx="14942">
                  <c:v>0</c:v>
                </c:pt>
                <c:pt idx="14943">
                  <c:v>0</c:v>
                </c:pt>
                <c:pt idx="14944">
                  <c:v>0</c:v>
                </c:pt>
                <c:pt idx="14945">
                  <c:v>0</c:v>
                </c:pt>
                <c:pt idx="14946">
                  <c:v>0</c:v>
                </c:pt>
                <c:pt idx="14947">
                  <c:v>0</c:v>
                </c:pt>
                <c:pt idx="14948">
                  <c:v>0</c:v>
                </c:pt>
                <c:pt idx="14949">
                  <c:v>0</c:v>
                </c:pt>
                <c:pt idx="14950">
                  <c:v>0</c:v>
                </c:pt>
                <c:pt idx="14951">
                  <c:v>1</c:v>
                </c:pt>
                <c:pt idx="14952">
                  <c:v>0</c:v>
                </c:pt>
                <c:pt idx="14953">
                  <c:v>0</c:v>
                </c:pt>
                <c:pt idx="14954">
                  <c:v>0</c:v>
                </c:pt>
                <c:pt idx="14955">
                  <c:v>0</c:v>
                </c:pt>
                <c:pt idx="14956">
                  <c:v>0</c:v>
                </c:pt>
                <c:pt idx="14957">
                  <c:v>0</c:v>
                </c:pt>
                <c:pt idx="14958">
                  <c:v>0</c:v>
                </c:pt>
                <c:pt idx="14959">
                  <c:v>0</c:v>
                </c:pt>
                <c:pt idx="14960">
                  <c:v>0</c:v>
                </c:pt>
                <c:pt idx="14961">
                  <c:v>0</c:v>
                </c:pt>
                <c:pt idx="14962">
                  <c:v>0</c:v>
                </c:pt>
                <c:pt idx="14963">
                  <c:v>0</c:v>
                </c:pt>
                <c:pt idx="14964">
                  <c:v>0</c:v>
                </c:pt>
                <c:pt idx="14965">
                  <c:v>0</c:v>
                </c:pt>
                <c:pt idx="14966">
                  <c:v>0</c:v>
                </c:pt>
                <c:pt idx="14967">
                  <c:v>0</c:v>
                </c:pt>
                <c:pt idx="14968">
                  <c:v>0</c:v>
                </c:pt>
                <c:pt idx="14969">
                  <c:v>1</c:v>
                </c:pt>
                <c:pt idx="14970">
                  <c:v>0</c:v>
                </c:pt>
                <c:pt idx="14971">
                  <c:v>0</c:v>
                </c:pt>
                <c:pt idx="14972">
                  <c:v>0</c:v>
                </c:pt>
                <c:pt idx="14973">
                  <c:v>0</c:v>
                </c:pt>
                <c:pt idx="14974">
                  <c:v>0</c:v>
                </c:pt>
                <c:pt idx="14975">
                  <c:v>0</c:v>
                </c:pt>
                <c:pt idx="14976">
                  <c:v>0</c:v>
                </c:pt>
                <c:pt idx="14977">
                  <c:v>0</c:v>
                </c:pt>
                <c:pt idx="14978">
                  <c:v>0</c:v>
                </c:pt>
                <c:pt idx="14979">
                  <c:v>0</c:v>
                </c:pt>
                <c:pt idx="14980">
                  <c:v>0</c:v>
                </c:pt>
                <c:pt idx="14981">
                  <c:v>0</c:v>
                </c:pt>
                <c:pt idx="14982">
                  <c:v>0</c:v>
                </c:pt>
                <c:pt idx="14983">
                  <c:v>0</c:v>
                </c:pt>
                <c:pt idx="14984">
                  <c:v>0</c:v>
                </c:pt>
                <c:pt idx="14985">
                  <c:v>0</c:v>
                </c:pt>
                <c:pt idx="14986">
                  <c:v>0</c:v>
                </c:pt>
                <c:pt idx="14987">
                  <c:v>0</c:v>
                </c:pt>
                <c:pt idx="14988">
                  <c:v>0</c:v>
                </c:pt>
                <c:pt idx="14989">
                  <c:v>0</c:v>
                </c:pt>
                <c:pt idx="14990">
                  <c:v>0</c:v>
                </c:pt>
                <c:pt idx="14991">
                  <c:v>0</c:v>
                </c:pt>
                <c:pt idx="14992">
                  <c:v>0</c:v>
                </c:pt>
                <c:pt idx="14993">
                  <c:v>0</c:v>
                </c:pt>
                <c:pt idx="14994">
                  <c:v>0</c:v>
                </c:pt>
                <c:pt idx="14995">
                  <c:v>0</c:v>
                </c:pt>
                <c:pt idx="14996">
                  <c:v>0</c:v>
                </c:pt>
                <c:pt idx="14997">
                  <c:v>0</c:v>
                </c:pt>
                <c:pt idx="14998">
                  <c:v>0</c:v>
                </c:pt>
                <c:pt idx="14999">
                  <c:v>0</c:v>
                </c:pt>
                <c:pt idx="15000">
                  <c:v>0</c:v>
                </c:pt>
                <c:pt idx="15001">
                  <c:v>0</c:v>
                </c:pt>
                <c:pt idx="15002">
                  <c:v>0</c:v>
                </c:pt>
                <c:pt idx="15003">
                  <c:v>0</c:v>
                </c:pt>
                <c:pt idx="15004">
                  <c:v>0</c:v>
                </c:pt>
                <c:pt idx="15005">
                  <c:v>0</c:v>
                </c:pt>
                <c:pt idx="15006">
                  <c:v>0</c:v>
                </c:pt>
                <c:pt idx="15007">
                  <c:v>0</c:v>
                </c:pt>
                <c:pt idx="15008">
                  <c:v>0</c:v>
                </c:pt>
                <c:pt idx="15009">
                  <c:v>0</c:v>
                </c:pt>
                <c:pt idx="15010">
                  <c:v>0</c:v>
                </c:pt>
                <c:pt idx="15011">
                  <c:v>0</c:v>
                </c:pt>
                <c:pt idx="15012">
                  <c:v>0</c:v>
                </c:pt>
                <c:pt idx="15013">
                  <c:v>0</c:v>
                </c:pt>
                <c:pt idx="15014">
                  <c:v>1</c:v>
                </c:pt>
                <c:pt idx="15015">
                  <c:v>3</c:v>
                </c:pt>
                <c:pt idx="15016">
                  <c:v>7</c:v>
                </c:pt>
                <c:pt idx="15017">
                  <c:v>0</c:v>
                </c:pt>
                <c:pt idx="15018">
                  <c:v>0</c:v>
                </c:pt>
                <c:pt idx="15019">
                  <c:v>0</c:v>
                </c:pt>
                <c:pt idx="15020">
                  <c:v>0</c:v>
                </c:pt>
                <c:pt idx="15021">
                  <c:v>0</c:v>
                </c:pt>
                <c:pt idx="15022">
                  <c:v>0</c:v>
                </c:pt>
                <c:pt idx="15023">
                  <c:v>0</c:v>
                </c:pt>
                <c:pt idx="15024">
                  <c:v>0</c:v>
                </c:pt>
                <c:pt idx="15025">
                  <c:v>0</c:v>
                </c:pt>
                <c:pt idx="15026">
                  <c:v>0</c:v>
                </c:pt>
                <c:pt idx="15027">
                  <c:v>2</c:v>
                </c:pt>
                <c:pt idx="15028">
                  <c:v>3</c:v>
                </c:pt>
                <c:pt idx="15029">
                  <c:v>1</c:v>
                </c:pt>
                <c:pt idx="15030">
                  <c:v>0</c:v>
                </c:pt>
                <c:pt idx="15031">
                  <c:v>0</c:v>
                </c:pt>
                <c:pt idx="15032">
                  <c:v>1</c:v>
                </c:pt>
                <c:pt idx="15033">
                  <c:v>4</c:v>
                </c:pt>
                <c:pt idx="15034">
                  <c:v>0</c:v>
                </c:pt>
                <c:pt idx="15035">
                  <c:v>0</c:v>
                </c:pt>
                <c:pt idx="15036">
                  <c:v>3</c:v>
                </c:pt>
                <c:pt idx="15037">
                  <c:v>1</c:v>
                </c:pt>
                <c:pt idx="15038">
                  <c:v>2</c:v>
                </c:pt>
                <c:pt idx="15039">
                  <c:v>0</c:v>
                </c:pt>
                <c:pt idx="15040">
                  <c:v>2</c:v>
                </c:pt>
                <c:pt idx="15041">
                  <c:v>4</c:v>
                </c:pt>
                <c:pt idx="15042">
                  <c:v>0</c:v>
                </c:pt>
                <c:pt idx="15043">
                  <c:v>3</c:v>
                </c:pt>
                <c:pt idx="15044">
                  <c:v>0</c:v>
                </c:pt>
                <c:pt idx="15045">
                  <c:v>0</c:v>
                </c:pt>
                <c:pt idx="15046">
                  <c:v>0</c:v>
                </c:pt>
                <c:pt idx="15047">
                  <c:v>0</c:v>
                </c:pt>
                <c:pt idx="15048">
                  <c:v>0</c:v>
                </c:pt>
                <c:pt idx="15049">
                  <c:v>0</c:v>
                </c:pt>
                <c:pt idx="15050">
                  <c:v>0</c:v>
                </c:pt>
                <c:pt idx="15051">
                  <c:v>0</c:v>
                </c:pt>
                <c:pt idx="15052">
                  <c:v>0</c:v>
                </c:pt>
                <c:pt idx="15053">
                  <c:v>0</c:v>
                </c:pt>
                <c:pt idx="15054">
                  <c:v>0</c:v>
                </c:pt>
                <c:pt idx="15055">
                  <c:v>0</c:v>
                </c:pt>
                <c:pt idx="15056">
                  <c:v>0</c:v>
                </c:pt>
                <c:pt idx="15057">
                  <c:v>0</c:v>
                </c:pt>
                <c:pt idx="15058">
                  <c:v>0</c:v>
                </c:pt>
                <c:pt idx="15059">
                  <c:v>0</c:v>
                </c:pt>
                <c:pt idx="15060">
                  <c:v>0</c:v>
                </c:pt>
                <c:pt idx="15061">
                  <c:v>0</c:v>
                </c:pt>
                <c:pt idx="15062">
                  <c:v>0</c:v>
                </c:pt>
                <c:pt idx="15063">
                  <c:v>0</c:v>
                </c:pt>
                <c:pt idx="15064">
                  <c:v>0</c:v>
                </c:pt>
                <c:pt idx="15065">
                  <c:v>0</c:v>
                </c:pt>
                <c:pt idx="15066">
                  <c:v>0</c:v>
                </c:pt>
                <c:pt idx="15067">
                  <c:v>0</c:v>
                </c:pt>
                <c:pt idx="15068">
                  <c:v>0</c:v>
                </c:pt>
                <c:pt idx="15069">
                  <c:v>0</c:v>
                </c:pt>
                <c:pt idx="15070">
                  <c:v>0</c:v>
                </c:pt>
                <c:pt idx="15071">
                  <c:v>0</c:v>
                </c:pt>
                <c:pt idx="15072">
                  <c:v>0</c:v>
                </c:pt>
                <c:pt idx="15073">
                  <c:v>0</c:v>
                </c:pt>
                <c:pt idx="15074">
                  <c:v>0</c:v>
                </c:pt>
                <c:pt idx="15075">
                  <c:v>0</c:v>
                </c:pt>
                <c:pt idx="15076">
                  <c:v>0</c:v>
                </c:pt>
                <c:pt idx="15077">
                  <c:v>0</c:v>
                </c:pt>
                <c:pt idx="15078">
                  <c:v>0</c:v>
                </c:pt>
                <c:pt idx="15079">
                  <c:v>0</c:v>
                </c:pt>
                <c:pt idx="15080">
                  <c:v>0</c:v>
                </c:pt>
                <c:pt idx="15081">
                  <c:v>0</c:v>
                </c:pt>
                <c:pt idx="15082">
                  <c:v>0</c:v>
                </c:pt>
                <c:pt idx="15083">
                  <c:v>0</c:v>
                </c:pt>
                <c:pt idx="15084">
                  <c:v>0</c:v>
                </c:pt>
                <c:pt idx="15085">
                  <c:v>0</c:v>
                </c:pt>
                <c:pt idx="15086">
                  <c:v>0</c:v>
                </c:pt>
                <c:pt idx="15087">
                  <c:v>0</c:v>
                </c:pt>
                <c:pt idx="15088">
                  <c:v>0</c:v>
                </c:pt>
                <c:pt idx="15089">
                  <c:v>0</c:v>
                </c:pt>
                <c:pt idx="15090">
                  <c:v>0</c:v>
                </c:pt>
                <c:pt idx="15091">
                  <c:v>0</c:v>
                </c:pt>
                <c:pt idx="15092">
                  <c:v>0</c:v>
                </c:pt>
                <c:pt idx="15093">
                  <c:v>0</c:v>
                </c:pt>
                <c:pt idx="15094">
                  <c:v>0</c:v>
                </c:pt>
                <c:pt idx="15095">
                  <c:v>2</c:v>
                </c:pt>
                <c:pt idx="15096">
                  <c:v>0</c:v>
                </c:pt>
                <c:pt idx="15097">
                  <c:v>0</c:v>
                </c:pt>
                <c:pt idx="15098">
                  <c:v>0</c:v>
                </c:pt>
                <c:pt idx="15099">
                  <c:v>0</c:v>
                </c:pt>
                <c:pt idx="15100">
                  <c:v>0</c:v>
                </c:pt>
                <c:pt idx="15101">
                  <c:v>0</c:v>
                </c:pt>
                <c:pt idx="15102">
                  <c:v>0</c:v>
                </c:pt>
                <c:pt idx="15103">
                  <c:v>0</c:v>
                </c:pt>
                <c:pt idx="15104">
                  <c:v>0</c:v>
                </c:pt>
                <c:pt idx="15105">
                  <c:v>0</c:v>
                </c:pt>
                <c:pt idx="15106">
                  <c:v>0</c:v>
                </c:pt>
                <c:pt idx="15107">
                  <c:v>0</c:v>
                </c:pt>
                <c:pt idx="15108">
                  <c:v>0</c:v>
                </c:pt>
                <c:pt idx="15109">
                  <c:v>0</c:v>
                </c:pt>
                <c:pt idx="15110">
                  <c:v>0</c:v>
                </c:pt>
                <c:pt idx="15111">
                  <c:v>0</c:v>
                </c:pt>
                <c:pt idx="15112">
                  <c:v>0</c:v>
                </c:pt>
                <c:pt idx="15113">
                  <c:v>0</c:v>
                </c:pt>
                <c:pt idx="15114">
                  <c:v>0</c:v>
                </c:pt>
                <c:pt idx="15115">
                  <c:v>0</c:v>
                </c:pt>
                <c:pt idx="15116">
                  <c:v>0</c:v>
                </c:pt>
                <c:pt idx="15117">
                  <c:v>0</c:v>
                </c:pt>
                <c:pt idx="15118">
                  <c:v>0</c:v>
                </c:pt>
                <c:pt idx="15119">
                  <c:v>0</c:v>
                </c:pt>
                <c:pt idx="15120">
                  <c:v>0</c:v>
                </c:pt>
                <c:pt idx="15121">
                  <c:v>0</c:v>
                </c:pt>
                <c:pt idx="15122">
                  <c:v>0</c:v>
                </c:pt>
                <c:pt idx="15123">
                  <c:v>0</c:v>
                </c:pt>
                <c:pt idx="15124">
                  <c:v>0</c:v>
                </c:pt>
                <c:pt idx="15125">
                  <c:v>0</c:v>
                </c:pt>
                <c:pt idx="15126">
                  <c:v>0</c:v>
                </c:pt>
                <c:pt idx="15127">
                  <c:v>0</c:v>
                </c:pt>
                <c:pt idx="15128">
                  <c:v>0</c:v>
                </c:pt>
                <c:pt idx="15129">
                  <c:v>0</c:v>
                </c:pt>
                <c:pt idx="15130">
                  <c:v>0</c:v>
                </c:pt>
                <c:pt idx="15131">
                  <c:v>0</c:v>
                </c:pt>
                <c:pt idx="15132">
                  <c:v>0</c:v>
                </c:pt>
                <c:pt idx="15133">
                  <c:v>0</c:v>
                </c:pt>
                <c:pt idx="15134">
                  <c:v>0</c:v>
                </c:pt>
                <c:pt idx="15135">
                  <c:v>0</c:v>
                </c:pt>
                <c:pt idx="15136">
                  <c:v>0</c:v>
                </c:pt>
                <c:pt idx="15137">
                  <c:v>0</c:v>
                </c:pt>
                <c:pt idx="15138">
                  <c:v>0</c:v>
                </c:pt>
                <c:pt idx="15139">
                  <c:v>0</c:v>
                </c:pt>
                <c:pt idx="15140">
                  <c:v>0</c:v>
                </c:pt>
                <c:pt idx="15141">
                  <c:v>0</c:v>
                </c:pt>
                <c:pt idx="15142">
                  <c:v>0</c:v>
                </c:pt>
                <c:pt idx="15143">
                  <c:v>0</c:v>
                </c:pt>
                <c:pt idx="15144">
                  <c:v>0</c:v>
                </c:pt>
                <c:pt idx="15145">
                  <c:v>0</c:v>
                </c:pt>
                <c:pt idx="15146">
                  <c:v>0</c:v>
                </c:pt>
                <c:pt idx="15147">
                  <c:v>0</c:v>
                </c:pt>
                <c:pt idx="15148">
                  <c:v>0</c:v>
                </c:pt>
                <c:pt idx="15149">
                  <c:v>0</c:v>
                </c:pt>
                <c:pt idx="15150">
                  <c:v>0</c:v>
                </c:pt>
                <c:pt idx="15151">
                  <c:v>0</c:v>
                </c:pt>
                <c:pt idx="15152">
                  <c:v>0</c:v>
                </c:pt>
                <c:pt idx="15153">
                  <c:v>0</c:v>
                </c:pt>
                <c:pt idx="15154">
                  <c:v>0</c:v>
                </c:pt>
                <c:pt idx="15155">
                  <c:v>0</c:v>
                </c:pt>
                <c:pt idx="15156">
                  <c:v>0</c:v>
                </c:pt>
                <c:pt idx="15157">
                  <c:v>0</c:v>
                </c:pt>
                <c:pt idx="15158">
                  <c:v>0</c:v>
                </c:pt>
                <c:pt idx="15159">
                  <c:v>0</c:v>
                </c:pt>
                <c:pt idx="15160">
                  <c:v>0</c:v>
                </c:pt>
                <c:pt idx="15161">
                  <c:v>0</c:v>
                </c:pt>
                <c:pt idx="15162">
                  <c:v>0</c:v>
                </c:pt>
                <c:pt idx="15163">
                  <c:v>0</c:v>
                </c:pt>
                <c:pt idx="15164">
                  <c:v>0</c:v>
                </c:pt>
                <c:pt idx="15165">
                  <c:v>0</c:v>
                </c:pt>
                <c:pt idx="15166">
                  <c:v>0</c:v>
                </c:pt>
                <c:pt idx="15167">
                  <c:v>0</c:v>
                </c:pt>
                <c:pt idx="15168">
                  <c:v>0</c:v>
                </c:pt>
                <c:pt idx="15169">
                  <c:v>0</c:v>
                </c:pt>
                <c:pt idx="15170">
                  <c:v>0</c:v>
                </c:pt>
                <c:pt idx="15171">
                  <c:v>0</c:v>
                </c:pt>
                <c:pt idx="15172">
                  <c:v>0</c:v>
                </c:pt>
                <c:pt idx="15173">
                  <c:v>3</c:v>
                </c:pt>
                <c:pt idx="15174">
                  <c:v>0</c:v>
                </c:pt>
                <c:pt idx="15175">
                  <c:v>0</c:v>
                </c:pt>
                <c:pt idx="15176">
                  <c:v>0</c:v>
                </c:pt>
                <c:pt idx="15177">
                  <c:v>0</c:v>
                </c:pt>
                <c:pt idx="15178">
                  <c:v>0</c:v>
                </c:pt>
                <c:pt idx="15179">
                  <c:v>0</c:v>
                </c:pt>
                <c:pt idx="15180">
                  <c:v>0</c:v>
                </c:pt>
                <c:pt idx="15181">
                  <c:v>0</c:v>
                </c:pt>
                <c:pt idx="15182">
                  <c:v>0</c:v>
                </c:pt>
                <c:pt idx="15183">
                  <c:v>0</c:v>
                </c:pt>
                <c:pt idx="15184">
                  <c:v>0</c:v>
                </c:pt>
                <c:pt idx="15185">
                  <c:v>0</c:v>
                </c:pt>
                <c:pt idx="15186">
                  <c:v>0</c:v>
                </c:pt>
                <c:pt idx="15187">
                  <c:v>0</c:v>
                </c:pt>
                <c:pt idx="15188">
                  <c:v>0</c:v>
                </c:pt>
                <c:pt idx="15189">
                  <c:v>0</c:v>
                </c:pt>
                <c:pt idx="15190">
                  <c:v>0</c:v>
                </c:pt>
                <c:pt idx="15191">
                  <c:v>0</c:v>
                </c:pt>
                <c:pt idx="15192">
                  <c:v>0</c:v>
                </c:pt>
                <c:pt idx="15193">
                  <c:v>0</c:v>
                </c:pt>
                <c:pt idx="15194">
                  <c:v>0</c:v>
                </c:pt>
                <c:pt idx="15195">
                  <c:v>0</c:v>
                </c:pt>
                <c:pt idx="15196">
                  <c:v>0</c:v>
                </c:pt>
                <c:pt idx="15197">
                  <c:v>0</c:v>
                </c:pt>
                <c:pt idx="15198">
                  <c:v>0</c:v>
                </c:pt>
                <c:pt idx="15199">
                  <c:v>0</c:v>
                </c:pt>
                <c:pt idx="15200">
                  <c:v>0</c:v>
                </c:pt>
                <c:pt idx="15201">
                  <c:v>0</c:v>
                </c:pt>
                <c:pt idx="15202">
                  <c:v>0</c:v>
                </c:pt>
                <c:pt idx="15203">
                  <c:v>0</c:v>
                </c:pt>
                <c:pt idx="15204">
                  <c:v>0</c:v>
                </c:pt>
                <c:pt idx="15205">
                  <c:v>0</c:v>
                </c:pt>
                <c:pt idx="15206">
                  <c:v>0</c:v>
                </c:pt>
                <c:pt idx="15207">
                  <c:v>0</c:v>
                </c:pt>
                <c:pt idx="15208">
                  <c:v>0</c:v>
                </c:pt>
                <c:pt idx="15209">
                  <c:v>0</c:v>
                </c:pt>
                <c:pt idx="15210">
                  <c:v>0</c:v>
                </c:pt>
                <c:pt idx="15211">
                  <c:v>0</c:v>
                </c:pt>
                <c:pt idx="15212">
                  <c:v>0</c:v>
                </c:pt>
                <c:pt idx="15213">
                  <c:v>0</c:v>
                </c:pt>
                <c:pt idx="15214">
                  <c:v>0</c:v>
                </c:pt>
                <c:pt idx="15215">
                  <c:v>0</c:v>
                </c:pt>
                <c:pt idx="15216">
                  <c:v>0</c:v>
                </c:pt>
                <c:pt idx="15217">
                  <c:v>0</c:v>
                </c:pt>
                <c:pt idx="15218">
                  <c:v>0</c:v>
                </c:pt>
                <c:pt idx="15219">
                  <c:v>0</c:v>
                </c:pt>
                <c:pt idx="15220">
                  <c:v>0</c:v>
                </c:pt>
                <c:pt idx="15221">
                  <c:v>0</c:v>
                </c:pt>
                <c:pt idx="15222">
                  <c:v>0</c:v>
                </c:pt>
                <c:pt idx="15223">
                  <c:v>0</c:v>
                </c:pt>
                <c:pt idx="15224">
                  <c:v>0</c:v>
                </c:pt>
                <c:pt idx="15225">
                  <c:v>0</c:v>
                </c:pt>
                <c:pt idx="15226">
                  <c:v>3</c:v>
                </c:pt>
                <c:pt idx="15227">
                  <c:v>3</c:v>
                </c:pt>
                <c:pt idx="15228">
                  <c:v>0</c:v>
                </c:pt>
                <c:pt idx="15229">
                  <c:v>0</c:v>
                </c:pt>
                <c:pt idx="15230">
                  <c:v>1</c:v>
                </c:pt>
                <c:pt idx="15231">
                  <c:v>0</c:v>
                </c:pt>
                <c:pt idx="15232">
                  <c:v>0</c:v>
                </c:pt>
                <c:pt idx="15233">
                  <c:v>0</c:v>
                </c:pt>
                <c:pt idx="15234">
                  <c:v>0</c:v>
                </c:pt>
                <c:pt idx="15235">
                  <c:v>0</c:v>
                </c:pt>
                <c:pt idx="15236">
                  <c:v>0</c:v>
                </c:pt>
                <c:pt idx="15237">
                  <c:v>0</c:v>
                </c:pt>
                <c:pt idx="15238">
                  <c:v>0</c:v>
                </c:pt>
                <c:pt idx="15239">
                  <c:v>0</c:v>
                </c:pt>
                <c:pt idx="15240">
                  <c:v>0</c:v>
                </c:pt>
                <c:pt idx="15241">
                  <c:v>0</c:v>
                </c:pt>
                <c:pt idx="15242">
                  <c:v>0</c:v>
                </c:pt>
                <c:pt idx="15243">
                  <c:v>0</c:v>
                </c:pt>
                <c:pt idx="15244">
                  <c:v>0</c:v>
                </c:pt>
                <c:pt idx="15245">
                  <c:v>0</c:v>
                </c:pt>
                <c:pt idx="15246">
                  <c:v>0</c:v>
                </c:pt>
                <c:pt idx="15247">
                  <c:v>0</c:v>
                </c:pt>
                <c:pt idx="15248">
                  <c:v>0</c:v>
                </c:pt>
                <c:pt idx="15249">
                  <c:v>0</c:v>
                </c:pt>
                <c:pt idx="15250">
                  <c:v>0</c:v>
                </c:pt>
                <c:pt idx="15251">
                  <c:v>0</c:v>
                </c:pt>
                <c:pt idx="15252">
                  <c:v>0</c:v>
                </c:pt>
                <c:pt idx="15253">
                  <c:v>0</c:v>
                </c:pt>
                <c:pt idx="15254">
                  <c:v>0</c:v>
                </c:pt>
                <c:pt idx="15255">
                  <c:v>0</c:v>
                </c:pt>
                <c:pt idx="15256">
                  <c:v>0</c:v>
                </c:pt>
                <c:pt idx="15257">
                  <c:v>0</c:v>
                </c:pt>
                <c:pt idx="15258">
                  <c:v>0</c:v>
                </c:pt>
                <c:pt idx="15259">
                  <c:v>0</c:v>
                </c:pt>
                <c:pt idx="15260">
                  <c:v>0</c:v>
                </c:pt>
                <c:pt idx="15261">
                  <c:v>0</c:v>
                </c:pt>
                <c:pt idx="15262">
                  <c:v>0</c:v>
                </c:pt>
                <c:pt idx="15263">
                  <c:v>0</c:v>
                </c:pt>
                <c:pt idx="15264">
                  <c:v>0</c:v>
                </c:pt>
                <c:pt idx="15265">
                  <c:v>0</c:v>
                </c:pt>
                <c:pt idx="15266">
                  <c:v>0</c:v>
                </c:pt>
                <c:pt idx="15267">
                  <c:v>0</c:v>
                </c:pt>
                <c:pt idx="15268">
                  <c:v>0</c:v>
                </c:pt>
                <c:pt idx="15269">
                  <c:v>0</c:v>
                </c:pt>
                <c:pt idx="15270">
                  <c:v>0</c:v>
                </c:pt>
                <c:pt idx="15271">
                  <c:v>0</c:v>
                </c:pt>
                <c:pt idx="15272">
                  <c:v>0</c:v>
                </c:pt>
                <c:pt idx="15273">
                  <c:v>0</c:v>
                </c:pt>
                <c:pt idx="15274">
                  <c:v>0</c:v>
                </c:pt>
                <c:pt idx="15275">
                  <c:v>0</c:v>
                </c:pt>
                <c:pt idx="15276">
                  <c:v>0</c:v>
                </c:pt>
                <c:pt idx="15277">
                  <c:v>0</c:v>
                </c:pt>
                <c:pt idx="15278">
                  <c:v>0</c:v>
                </c:pt>
                <c:pt idx="15279">
                  <c:v>0</c:v>
                </c:pt>
                <c:pt idx="15280">
                  <c:v>0</c:v>
                </c:pt>
                <c:pt idx="15281">
                  <c:v>0</c:v>
                </c:pt>
                <c:pt idx="15282">
                  <c:v>0</c:v>
                </c:pt>
                <c:pt idx="15283">
                  <c:v>0</c:v>
                </c:pt>
                <c:pt idx="15284">
                  <c:v>0</c:v>
                </c:pt>
                <c:pt idx="15285">
                  <c:v>0</c:v>
                </c:pt>
                <c:pt idx="15286">
                  <c:v>0</c:v>
                </c:pt>
                <c:pt idx="15287">
                  <c:v>0</c:v>
                </c:pt>
                <c:pt idx="15288">
                  <c:v>0</c:v>
                </c:pt>
                <c:pt idx="15289">
                  <c:v>0</c:v>
                </c:pt>
                <c:pt idx="15290">
                  <c:v>0</c:v>
                </c:pt>
                <c:pt idx="15291">
                  <c:v>0</c:v>
                </c:pt>
                <c:pt idx="15292">
                  <c:v>0</c:v>
                </c:pt>
                <c:pt idx="15293">
                  <c:v>0</c:v>
                </c:pt>
                <c:pt idx="15294">
                  <c:v>0</c:v>
                </c:pt>
                <c:pt idx="15295">
                  <c:v>0</c:v>
                </c:pt>
                <c:pt idx="15296">
                  <c:v>0</c:v>
                </c:pt>
                <c:pt idx="15297">
                  <c:v>0</c:v>
                </c:pt>
                <c:pt idx="15298">
                  <c:v>0</c:v>
                </c:pt>
                <c:pt idx="15299">
                  <c:v>0</c:v>
                </c:pt>
                <c:pt idx="15300">
                  <c:v>0</c:v>
                </c:pt>
                <c:pt idx="15301">
                  <c:v>0</c:v>
                </c:pt>
                <c:pt idx="15302">
                  <c:v>0</c:v>
                </c:pt>
                <c:pt idx="15303">
                  <c:v>0</c:v>
                </c:pt>
                <c:pt idx="15304">
                  <c:v>0</c:v>
                </c:pt>
                <c:pt idx="15305">
                  <c:v>2</c:v>
                </c:pt>
                <c:pt idx="15306">
                  <c:v>1</c:v>
                </c:pt>
                <c:pt idx="15307">
                  <c:v>1</c:v>
                </c:pt>
                <c:pt idx="15308">
                  <c:v>3</c:v>
                </c:pt>
                <c:pt idx="15309">
                  <c:v>0</c:v>
                </c:pt>
                <c:pt idx="15310">
                  <c:v>0</c:v>
                </c:pt>
                <c:pt idx="15311">
                  <c:v>0</c:v>
                </c:pt>
                <c:pt idx="15312">
                  <c:v>0</c:v>
                </c:pt>
                <c:pt idx="15313">
                  <c:v>0</c:v>
                </c:pt>
                <c:pt idx="15314">
                  <c:v>0</c:v>
                </c:pt>
                <c:pt idx="15315">
                  <c:v>0</c:v>
                </c:pt>
                <c:pt idx="15316">
                  <c:v>0</c:v>
                </c:pt>
                <c:pt idx="15317">
                  <c:v>0</c:v>
                </c:pt>
                <c:pt idx="15318">
                  <c:v>0</c:v>
                </c:pt>
                <c:pt idx="15319">
                  <c:v>0</c:v>
                </c:pt>
                <c:pt idx="15320">
                  <c:v>0</c:v>
                </c:pt>
                <c:pt idx="15321">
                  <c:v>0</c:v>
                </c:pt>
                <c:pt idx="15322">
                  <c:v>0</c:v>
                </c:pt>
                <c:pt idx="15323">
                  <c:v>0</c:v>
                </c:pt>
                <c:pt idx="15324">
                  <c:v>0</c:v>
                </c:pt>
                <c:pt idx="15325">
                  <c:v>0</c:v>
                </c:pt>
                <c:pt idx="15326">
                  <c:v>0</c:v>
                </c:pt>
                <c:pt idx="15327">
                  <c:v>0</c:v>
                </c:pt>
                <c:pt idx="15328">
                  <c:v>0</c:v>
                </c:pt>
                <c:pt idx="15329">
                  <c:v>0</c:v>
                </c:pt>
                <c:pt idx="15330">
                  <c:v>0</c:v>
                </c:pt>
                <c:pt idx="15331">
                  <c:v>0</c:v>
                </c:pt>
                <c:pt idx="15332">
                  <c:v>0</c:v>
                </c:pt>
                <c:pt idx="15333">
                  <c:v>0</c:v>
                </c:pt>
                <c:pt idx="15334">
                  <c:v>0</c:v>
                </c:pt>
                <c:pt idx="15335">
                  <c:v>0</c:v>
                </c:pt>
                <c:pt idx="15336">
                  <c:v>0</c:v>
                </c:pt>
                <c:pt idx="15337">
                  <c:v>0</c:v>
                </c:pt>
                <c:pt idx="15338">
                  <c:v>0</c:v>
                </c:pt>
                <c:pt idx="15339">
                  <c:v>0</c:v>
                </c:pt>
                <c:pt idx="15340">
                  <c:v>0</c:v>
                </c:pt>
                <c:pt idx="15341">
                  <c:v>0</c:v>
                </c:pt>
                <c:pt idx="15342">
                  <c:v>0</c:v>
                </c:pt>
                <c:pt idx="15343">
                  <c:v>0</c:v>
                </c:pt>
                <c:pt idx="15344">
                  <c:v>0</c:v>
                </c:pt>
                <c:pt idx="15345">
                  <c:v>0</c:v>
                </c:pt>
                <c:pt idx="15346">
                  <c:v>0</c:v>
                </c:pt>
                <c:pt idx="15347">
                  <c:v>0</c:v>
                </c:pt>
                <c:pt idx="15348">
                  <c:v>0</c:v>
                </c:pt>
                <c:pt idx="15349">
                  <c:v>1</c:v>
                </c:pt>
                <c:pt idx="15350">
                  <c:v>0</c:v>
                </c:pt>
                <c:pt idx="15351">
                  <c:v>0</c:v>
                </c:pt>
                <c:pt idx="15352">
                  <c:v>0</c:v>
                </c:pt>
                <c:pt idx="15353">
                  <c:v>0</c:v>
                </c:pt>
                <c:pt idx="15354">
                  <c:v>1</c:v>
                </c:pt>
                <c:pt idx="15355">
                  <c:v>0</c:v>
                </c:pt>
                <c:pt idx="15356">
                  <c:v>0</c:v>
                </c:pt>
                <c:pt idx="15357">
                  <c:v>0</c:v>
                </c:pt>
                <c:pt idx="15358">
                  <c:v>0</c:v>
                </c:pt>
                <c:pt idx="15359">
                  <c:v>0</c:v>
                </c:pt>
                <c:pt idx="15360">
                  <c:v>0</c:v>
                </c:pt>
                <c:pt idx="15361">
                  <c:v>0</c:v>
                </c:pt>
                <c:pt idx="15362">
                  <c:v>0</c:v>
                </c:pt>
                <c:pt idx="15363">
                  <c:v>0</c:v>
                </c:pt>
                <c:pt idx="15364">
                  <c:v>0</c:v>
                </c:pt>
                <c:pt idx="15365">
                  <c:v>0</c:v>
                </c:pt>
                <c:pt idx="15366">
                  <c:v>0</c:v>
                </c:pt>
                <c:pt idx="15367">
                  <c:v>0</c:v>
                </c:pt>
                <c:pt idx="15368">
                  <c:v>0</c:v>
                </c:pt>
                <c:pt idx="15369">
                  <c:v>0</c:v>
                </c:pt>
                <c:pt idx="15370">
                  <c:v>0</c:v>
                </c:pt>
                <c:pt idx="15371">
                  <c:v>0</c:v>
                </c:pt>
                <c:pt idx="15372">
                  <c:v>0</c:v>
                </c:pt>
                <c:pt idx="15373">
                  <c:v>0</c:v>
                </c:pt>
                <c:pt idx="15374">
                  <c:v>0</c:v>
                </c:pt>
                <c:pt idx="15375">
                  <c:v>0</c:v>
                </c:pt>
                <c:pt idx="15376">
                  <c:v>0</c:v>
                </c:pt>
                <c:pt idx="15377">
                  <c:v>0</c:v>
                </c:pt>
                <c:pt idx="15378">
                  <c:v>0</c:v>
                </c:pt>
                <c:pt idx="15379">
                  <c:v>0</c:v>
                </c:pt>
                <c:pt idx="15380">
                  <c:v>0</c:v>
                </c:pt>
                <c:pt idx="15381">
                  <c:v>0</c:v>
                </c:pt>
                <c:pt idx="15382">
                  <c:v>0</c:v>
                </c:pt>
                <c:pt idx="15383">
                  <c:v>0</c:v>
                </c:pt>
                <c:pt idx="15384">
                  <c:v>0</c:v>
                </c:pt>
                <c:pt idx="15385">
                  <c:v>3</c:v>
                </c:pt>
                <c:pt idx="15386">
                  <c:v>4</c:v>
                </c:pt>
                <c:pt idx="15387">
                  <c:v>0</c:v>
                </c:pt>
                <c:pt idx="15388">
                  <c:v>0</c:v>
                </c:pt>
                <c:pt idx="15389">
                  <c:v>0</c:v>
                </c:pt>
                <c:pt idx="15390">
                  <c:v>0</c:v>
                </c:pt>
                <c:pt idx="15391">
                  <c:v>0</c:v>
                </c:pt>
                <c:pt idx="15392">
                  <c:v>0</c:v>
                </c:pt>
                <c:pt idx="15393">
                  <c:v>0</c:v>
                </c:pt>
                <c:pt idx="15394">
                  <c:v>0</c:v>
                </c:pt>
                <c:pt idx="15395">
                  <c:v>0</c:v>
                </c:pt>
                <c:pt idx="15396">
                  <c:v>0</c:v>
                </c:pt>
                <c:pt idx="15397">
                  <c:v>0</c:v>
                </c:pt>
                <c:pt idx="15398">
                  <c:v>0</c:v>
                </c:pt>
                <c:pt idx="15399">
                  <c:v>0</c:v>
                </c:pt>
                <c:pt idx="15400">
                  <c:v>0</c:v>
                </c:pt>
                <c:pt idx="15401">
                  <c:v>0</c:v>
                </c:pt>
                <c:pt idx="15402">
                  <c:v>0</c:v>
                </c:pt>
                <c:pt idx="15403">
                  <c:v>0</c:v>
                </c:pt>
                <c:pt idx="15404">
                  <c:v>0</c:v>
                </c:pt>
                <c:pt idx="15405">
                  <c:v>0</c:v>
                </c:pt>
                <c:pt idx="15406">
                  <c:v>0</c:v>
                </c:pt>
                <c:pt idx="15407">
                  <c:v>0</c:v>
                </c:pt>
                <c:pt idx="15408">
                  <c:v>0</c:v>
                </c:pt>
                <c:pt idx="15409">
                  <c:v>0</c:v>
                </c:pt>
                <c:pt idx="15410">
                  <c:v>0</c:v>
                </c:pt>
                <c:pt idx="15411">
                  <c:v>0</c:v>
                </c:pt>
                <c:pt idx="15412">
                  <c:v>0</c:v>
                </c:pt>
                <c:pt idx="15413">
                  <c:v>0</c:v>
                </c:pt>
                <c:pt idx="15414">
                  <c:v>0</c:v>
                </c:pt>
                <c:pt idx="15415">
                  <c:v>0</c:v>
                </c:pt>
                <c:pt idx="15416">
                  <c:v>0</c:v>
                </c:pt>
                <c:pt idx="15417">
                  <c:v>0</c:v>
                </c:pt>
                <c:pt idx="15418">
                  <c:v>0</c:v>
                </c:pt>
                <c:pt idx="15419">
                  <c:v>0</c:v>
                </c:pt>
                <c:pt idx="15420">
                  <c:v>0</c:v>
                </c:pt>
                <c:pt idx="15421">
                  <c:v>0</c:v>
                </c:pt>
                <c:pt idx="15422">
                  <c:v>0</c:v>
                </c:pt>
                <c:pt idx="15423">
                  <c:v>0</c:v>
                </c:pt>
                <c:pt idx="15424">
                  <c:v>0</c:v>
                </c:pt>
                <c:pt idx="15425">
                  <c:v>0</c:v>
                </c:pt>
                <c:pt idx="15426">
                  <c:v>0</c:v>
                </c:pt>
                <c:pt idx="15427">
                  <c:v>0</c:v>
                </c:pt>
                <c:pt idx="15428">
                  <c:v>0</c:v>
                </c:pt>
                <c:pt idx="15429">
                  <c:v>0</c:v>
                </c:pt>
                <c:pt idx="15430">
                  <c:v>0</c:v>
                </c:pt>
                <c:pt idx="15431">
                  <c:v>0</c:v>
                </c:pt>
                <c:pt idx="15432">
                  <c:v>0</c:v>
                </c:pt>
                <c:pt idx="15433">
                  <c:v>0</c:v>
                </c:pt>
                <c:pt idx="15434">
                  <c:v>0</c:v>
                </c:pt>
                <c:pt idx="15435">
                  <c:v>0</c:v>
                </c:pt>
                <c:pt idx="15436">
                  <c:v>0</c:v>
                </c:pt>
                <c:pt idx="15437">
                  <c:v>0</c:v>
                </c:pt>
                <c:pt idx="15438">
                  <c:v>0</c:v>
                </c:pt>
                <c:pt idx="15439">
                  <c:v>0</c:v>
                </c:pt>
                <c:pt idx="15440">
                  <c:v>0</c:v>
                </c:pt>
                <c:pt idx="15441">
                  <c:v>0</c:v>
                </c:pt>
                <c:pt idx="15442">
                  <c:v>0</c:v>
                </c:pt>
                <c:pt idx="15443">
                  <c:v>0</c:v>
                </c:pt>
                <c:pt idx="15444">
                  <c:v>0</c:v>
                </c:pt>
                <c:pt idx="15445">
                  <c:v>0</c:v>
                </c:pt>
                <c:pt idx="15446">
                  <c:v>0</c:v>
                </c:pt>
                <c:pt idx="15447">
                  <c:v>0</c:v>
                </c:pt>
                <c:pt idx="15448">
                  <c:v>0</c:v>
                </c:pt>
                <c:pt idx="15449">
                  <c:v>0</c:v>
                </c:pt>
                <c:pt idx="15450">
                  <c:v>0</c:v>
                </c:pt>
                <c:pt idx="15451">
                  <c:v>0</c:v>
                </c:pt>
                <c:pt idx="15452">
                  <c:v>0</c:v>
                </c:pt>
                <c:pt idx="15453">
                  <c:v>0</c:v>
                </c:pt>
                <c:pt idx="15454">
                  <c:v>0</c:v>
                </c:pt>
                <c:pt idx="15455">
                  <c:v>1</c:v>
                </c:pt>
                <c:pt idx="15456">
                  <c:v>2</c:v>
                </c:pt>
                <c:pt idx="15457">
                  <c:v>0</c:v>
                </c:pt>
                <c:pt idx="15458">
                  <c:v>0</c:v>
                </c:pt>
                <c:pt idx="15459">
                  <c:v>0</c:v>
                </c:pt>
                <c:pt idx="15460">
                  <c:v>0</c:v>
                </c:pt>
                <c:pt idx="15461">
                  <c:v>0</c:v>
                </c:pt>
                <c:pt idx="15462">
                  <c:v>0</c:v>
                </c:pt>
                <c:pt idx="15463">
                  <c:v>0</c:v>
                </c:pt>
                <c:pt idx="15464">
                  <c:v>0</c:v>
                </c:pt>
                <c:pt idx="15465">
                  <c:v>0</c:v>
                </c:pt>
                <c:pt idx="15466">
                  <c:v>0</c:v>
                </c:pt>
                <c:pt idx="15467">
                  <c:v>0</c:v>
                </c:pt>
                <c:pt idx="15468">
                  <c:v>0</c:v>
                </c:pt>
                <c:pt idx="15469">
                  <c:v>0</c:v>
                </c:pt>
                <c:pt idx="15470">
                  <c:v>0</c:v>
                </c:pt>
                <c:pt idx="15471">
                  <c:v>0</c:v>
                </c:pt>
                <c:pt idx="15472">
                  <c:v>0</c:v>
                </c:pt>
                <c:pt idx="15473">
                  <c:v>0</c:v>
                </c:pt>
                <c:pt idx="15474">
                  <c:v>0</c:v>
                </c:pt>
                <c:pt idx="15475">
                  <c:v>0</c:v>
                </c:pt>
                <c:pt idx="15476">
                  <c:v>0</c:v>
                </c:pt>
                <c:pt idx="15477">
                  <c:v>0</c:v>
                </c:pt>
                <c:pt idx="15478">
                  <c:v>0</c:v>
                </c:pt>
                <c:pt idx="15479">
                  <c:v>0</c:v>
                </c:pt>
                <c:pt idx="15480">
                  <c:v>0</c:v>
                </c:pt>
                <c:pt idx="15481">
                  <c:v>0</c:v>
                </c:pt>
                <c:pt idx="15482">
                  <c:v>0</c:v>
                </c:pt>
                <c:pt idx="15483">
                  <c:v>0</c:v>
                </c:pt>
                <c:pt idx="15484">
                  <c:v>0</c:v>
                </c:pt>
                <c:pt idx="15485">
                  <c:v>0</c:v>
                </c:pt>
                <c:pt idx="15486">
                  <c:v>0</c:v>
                </c:pt>
                <c:pt idx="15487">
                  <c:v>0</c:v>
                </c:pt>
                <c:pt idx="15488">
                  <c:v>0</c:v>
                </c:pt>
                <c:pt idx="15489">
                  <c:v>0</c:v>
                </c:pt>
                <c:pt idx="15490">
                  <c:v>0</c:v>
                </c:pt>
                <c:pt idx="15491">
                  <c:v>0</c:v>
                </c:pt>
                <c:pt idx="15492">
                  <c:v>0</c:v>
                </c:pt>
                <c:pt idx="15493">
                  <c:v>0</c:v>
                </c:pt>
                <c:pt idx="15494">
                  <c:v>0</c:v>
                </c:pt>
                <c:pt idx="15495">
                  <c:v>0</c:v>
                </c:pt>
                <c:pt idx="15496">
                  <c:v>0</c:v>
                </c:pt>
                <c:pt idx="15497">
                  <c:v>0</c:v>
                </c:pt>
                <c:pt idx="15498">
                  <c:v>1</c:v>
                </c:pt>
                <c:pt idx="15499">
                  <c:v>0</c:v>
                </c:pt>
                <c:pt idx="15500">
                  <c:v>0</c:v>
                </c:pt>
                <c:pt idx="15501">
                  <c:v>0</c:v>
                </c:pt>
                <c:pt idx="15502">
                  <c:v>0</c:v>
                </c:pt>
                <c:pt idx="15503">
                  <c:v>0</c:v>
                </c:pt>
                <c:pt idx="15504">
                  <c:v>0</c:v>
                </c:pt>
                <c:pt idx="15505">
                  <c:v>0</c:v>
                </c:pt>
                <c:pt idx="15506">
                  <c:v>0</c:v>
                </c:pt>
                <c:pt idx="15507">
                  <c:v>0</c:v>
                </c:pt>
                <c:pt idx="15508">
                  <c:v>0</c:v>
                </c:pt>
                <c:pt idx="15509">
                  <c:v>0</c:v>
                </c:pt>
                <c:pt idx="15510">
                  <c:v>0</c:v>
                </c:pt>
                <c:pt idx="15511">
                  <c:v>0</c:v>
                </c:pt>
                <c:pt idx="15512">
                  <c:v>0</c:v>
                </c:pt>
                <c:pt idx="15513">
                  <c:v>0</c:v>
                </c:pt>
                <c:pt idx="15514">
                  <c:v>0</c:v>
                </c:pt>
                <c:pt idx="15515">
                  <c:v>0</c:v>
                </c:pt>
                <c:pt idx="15516">
                  <c:v>0</c:v>
                </c:pt>
                <c:pt idx="15517">
                  <c:v>0</c:v>
                </c:pt>
                <c:pt idx="15518">
                  <c:v>0</c:v>
                </c:pt>
                <c:pt idx="15519">
                  <c:v>0</c:v>
                </c:pt>
                <c:pt idx="15520">
                  <c:v>0</c:v>
                </c:pt>
                <c:pt idx="15521">
                  <c:v>0</c:v>
                </c:pt>
                <c:pt idx="15522">
                  <c:v>0</c:v>
                </c:pt>
                <c:pt idx="15523">
                  <c:v>0</c:v>
                </c:pt>
                <c:pt idx="15524">
                  <c:v>0</c:v>
                </c:pt>
                <c:pt idx="15525">
                  <c:v>0</c:v>
                </c:pt>
                <c:pt idx="15526">
                  <c:v>0</c:v>
                </c:pt>
                <c:pt idx="15527">
                  <c:v>0</c:v>
                </c:pt>
                <c:pt idx="15528">
                  <c:v>0</c:v>
                </c:pt>
                <c:pt idx="15529">
                  <c:v>0</c:v>
                </c:pt>
                <c:pt idx="15530">
                  <c:v>0</c:v>
                </c:pt>
                <c:pt idx="15531">
                  <c:v>0</c:v>
                </c:pt>
                <c:pt idx="15532">
                  <c:v>0</c:v>
                </c:pt>
                <c:pt idx="15533">
                  <c:v>0</c:v>
                </c:pt>
                <c:pt idx="15534">
                  <c:v>0</c:v>
                </c:pt>
                <c:pt idx="15535">
                  <c:v>0</c:v>
                </c:pt>
                <c:pt idx="15536">
                  <c:v>0</c:v>
                </c:pt>
                <c:pt idx="15537">
                  <c:v>0</c:v>
                </c:pt>
                <c:pt idx="15538">
                  <c:v>0</c:v>
                </c:pt>
                <c:pt idx="15539">
                  <c:v>0</c:v>
                </c:pt>
                <c:pt idx="15540">
                  <c:v>0</c:v>
                </c:pt>
                <c:pt idx="15541">
                  <c:v>0</c:v>
                </c:pt>
                <c:pt idx="15542">
                  <c:v>0</c:v>
                </c:pt>
                <c:pt idx="15543">
                  <c:v>0</c:v>
                </c:pt>
                <c:pt idx="15544">
                  <c:v>0</c:v>
                </c:pt>
                <c:pt idx="15545">
                  <c:v>0</c:v>
                </c:pt>
                <c:pt idx="15546">
                  <c:v>0</c:v>
                </c:pt>
                <c:pt idx="15547">
                  <c:v>0</c:v>
                </c:pt>
                <c:pt idx="15548">
                  <c:v>0</c:v>
                </c:pt>
                <c:pt idx="15549">
                  <c:v>0</c:v>
                </c:pt>
                <c:pt idx="15550">
                  <c:v>0</c:v>
                </c:pt>
                <c:pt idx="15551">
                  <c:v>0</c:v>
                </c:pt>
                <c:pt idx="15552">
                  <c:v>0</c:v>
                </c:pt>
                <c:pt idx="15553">
                  <c:v>0</c:v>
                </c:pt>
                <c:pt idx="15554">
                  <c:v>0</c:v>
                </c:pt>
                <c:pt idx="15555">
                  <c:v>0</c:v>
                </c:pt>
                <c:pt idx="15556">
                  <c:v>0</c:v>
                </c:pt>
                <c:pt idx="15557">
                  <c:v>1</c:v>
                </c:pt>
                <c:pt idx="15558">
                  <c:v>0</c:v>
                </c:pt>
                <c:pt idx="15559">
                  <c:v>0</c:v>
                </c:pt>
                <c:pt idx="15560">
                  <c:v>0</c:v>
                </c:pt>
                <c:pt idx="15561">
                  <c:v>8</c:v>
                </c:pt>
                <c:pt idx="15562">
                  <c:v>4</c:v>
                </c:pt>
                <c:pt idx="15563">
                  <c:v>2</c:v>
                </c:pt>
                <c:pt idx="15564">
                  <c:v>2</c:v>
                </c:pt>
                <c:pt idx="15565">
                  <c:v>0</c:v>
                </c:pt>
                <c:pt idx="15566">
                  <c:v>0</c:v>
                </c:pt>
                <c:pt idx="15567">
                  <c:v>0</c:v>
                </c:pt>
                <c:pt idx="15568">
                  <c:v>0</c:v>
                </c:pt>
                <c:pt idx="15569">
                  <c:v>0</c:v>
                </c:pt>
                <c:pt idx="15570">
                  <c:v>0</c:v>
                </c:pt>
                <c:pt idx="15571">
                  <c:v>0</c:v>
                </c:pt>
                <c:pt idx="15572">
                  <c:v>0</c:v>
                </c:pt>
                <c:pt idx="15573">
                  <c:v>4</c:v>
                </c:pt>
                <c:pt idx="15574">
                  <c:v>0</c:v>
                </c:pt>
                <c:pt idx="15575">
                  <c:v>0</c:v>
                </c:pt>
                <c:pt idx="15576">
                  <c:v>0</c:v>
                </c:pt>
                <c:pt idx="15577">
                  <c:v>0</c:v>
                </c:pt>
                <c:pt idx="15578">
                  <c:v>0</c:v>
                </c:pt>
                <c:pt idx="15579">
                  <c:v>0</c:v>
                </c:pt>
                <c:pt idx="15580">
                  <c:v>0</c:v>
                </c:pt>
                <c:pt idx="15581">
                  <c:v>0</c:v>
                </c:pt>
                <c:pt idx="15582">
                  <c:v>0</c:v>
                </c:pt>
                <c:pt idx="15583">
                  <c:v>0</c:v>
                </c:pt>
                <c:pt idx="15584">
                  <c:v>1</c:v>
                </c:pt>
                <c:pt idx="15585">
                  <c:v>0</c:v>
                </c:pt>
                <c:pt idx="15586">
                  <c:v>0</c:v>
                </c:pt>
                <c:pt idx="15587">
                  <c:v>0</c:v>
                </c:pt>
                <c:pt idx="15588">
                  <c:v>0</c:v>
                </c:pt>
                <c:pt idx="15589">
                  <c:v>0</c:v>
                </c:pt>
                <c:pt idx="15590">
                  <c:v>0</c:v>
                </c:pt>
                <c:pt idx="15591">
                  <c:v>0</c:v>
                </c:pt>
                <c:pt idx="15592">
                  <c:v>0</c:v>
                </c:pt>
                <c:pt idx="15593">
                  <c:v>0</c:v>
                </c:pt>
                <c:pt idx="15594">
                  <c:v>0</c:v>
                </c:pt>
                <c:pt idx="15595">
                  <c:v>0</c:v>
                </c:pt>
                <c:pt idx="15596">
                  <c:v>0</c:v>
                </c:pt>
                <c:pt idx="15597">
                  <c:v>0</c:v>
                </c:pt>
                <c:pt idx="15598">
                  <c:v>0</c:v>
                </c:pt>
                <c:pt idx="15599">
                  <c:v>0</c:v>
                </c:pt>
                <c:pt idx="15600">
                  <c:v>0</c:v>
                </c:pt>
                <c:pt idx="15601">
                  <c:v>0</c:v>
                </c:pt>
                <c:pt idx="15602">
                  <c:v>0</c:v>
                </c:pt>
                <c:pt idx="15603">
                  <c:v>0</c:v>
                </c:pt>
                <c:pt idx="15604">
                  <c:v>0</c:v>
                </c:pt>
                <c:pt idx="15605">
                  <c:v>0</c:v>
                </c:pt>
                <c:pt idx="15606">
                  <c:v>0</c:v>
                </c:pt>
                <c:pt idx="15607">
                  <c:v>0</c:v>
                </c:pt>
                <c:pt idx="15608">
                  <c:v>0</c:v>
                </c:pt>
                <c:pt idx="15609">
                  <c:v>0</c:v>
                </c:pt>
                <c:pt idx="15610">
                  <c:v>0</c:v>
                </c:pt>
                <c:pt idx="15611">
                  <c:v>0</c:v>
                </c:pt>
                <c:pt idx="15612">
                  <c:v>0</c:v>
                </c:pt>
                <c:pt idx="15613">
                  <c:v>0</c:v>
                </c:pt>
                <c:pt idx="15614">
                  <c:v>0</c:v>
                </c:pt>
                <c:pt idx="15615">
                  <c:v>0</c:v>
                </c:pt>
                <c:pt idx="15616">
                  <c:v>0</c:v>
                </c:pt>
                <c:pt idx="15617">
                  <c:v>0</c:v>
                </c:pt>
                <c:pt idx="15618">
                  <c:v>0</c:v>
                </c:pt>
                <c:pt idx="15619">
                  <c:v>0</c:v>
                </c:pt>
                <c:pt idx="15620">
                  <c:v>0</c:v>
                </c:pt>
                <c:pt idx="15621">
                  <c:v>0</c:v>
                </c:pt>
                <c:pt idx="15622">
                  <c:v>0</c:v>
                </c:pt>
                <c:pt idx="15623">
                  <c:v>4</c:v>
                </c:pt>
                <c:pt idx="15624">
                  <c:v>1</c:v>
                </c:pt>
                <c:pt idx="15625">
                  <c:v>4</c:v>
                </c:pt>
                <c:pt idx="15626">
                  <c:v>0</c:v>
                </c:pt>
                <c:pt idx="15627">
                  <c:v>1</c:v>
                </c:pt>
                <c:pt idx="15628">
                  <c:v>2</c:v>
                </c:pt>
                <c:pt idx="15629">
                  <c:v>0</c:v>
                </c:pt>
                <c:pt idx="15630">
                  <c:v>0</c:v>
                </c:pt>
                <c:pt idx="15631">
                  <c:v>0</c:v>
                </c:pt>
                <c:pt idx="15632">
                  <c:v>0</c:v>
                </c:pt>
                <c:pt idx="15633">
                  <c:v>0</c:v>
                </c:pt>
                <c:pt idx="15634">
                  <c:v>0</c:v>
                </c:pt>
                <c:pt idx="15635">
                  <c:v>0</c:v>
                </c:pt>
                <c:pt idx="15636">
                  <c:v>0</c:v>
                </c:pt>
                <c:pt idx="15637">
                  <c:v>0</c:v>
                </c:pt>
                <c:pt idx="15638">
                  <c:v>0</c:v>
                </c:pt>
                <c:pt idx="15639">
                  <c:v>1</c:v>
                </c:pt>
                <c:pt idx="15640">
                  <c:v>0</c:v>
                </c:pt>
                <c:pt idx="15641">
                  <c:v>0</c:v>
                </c:pt>
                <c:pt idx="15642">
                  <c:v>0</c:v>
                </c:pt>
                <c:pt idx="15643">
                  <c:v>0</c:v>
                </c:pt>
                <c:pt idx="15644">
                  <c:v>0</c:v>
                </c:pt>
                <c:pt idx="15645">
                  <c:v>0</c:v>
                </c:pt>
                <c:pt idx="15646">
                  <c:v>0</c:v>
                </c:pt>
                <c:pt idx="15647">
                  <c:v>0</c:v>
                </c:pt>
                <c:pt idx="15648">
                  <c:v>1</c:v>
                </c:pt>
                <c:pt idx="15649">
                  <c:v>0</c:v>
                </c:pt>
                <c:pt idx="15650">
                  <c:v>0</c:v>
                </c:pt>
                <c:pt idx="15651">
                  <c:v>0</c:v>
                </c:pt>
                <c:pt idx="15652">
                  <c:v>0</c:v>
                </c:pt>
                <c:pt idx="15653">
                  <c:v>0</c:v>
                </c:pt>
                <c:pt idx="15654">
                  <c:v>0</c:v>
                </c:pt>
                <c:pt idx="15655">
                  <c:v>0</c:v>
                </c:pt>
                <c:pt idx="15656">
                  <c:v>0</c:v>
                </c:pt>
                <c:pt idx="15657">
                  <c:v>0</c:v>
                </c:pt>
                <c:pt idx="15658">
                  <c:v>0</c:v>
                </c:pt>
                <c:pt idx="15659">
                  <c:v>0</c:v>
                </c:pt>
                <c:pt idx="15660">
                  <c:v>0</c:v>
                </c:pt>
                <c:pt idx="15661">
                  <c:v>0</c:v>
                </c:pt>
                <c:pt idx="15662">
                  <c:v>0</c:v>
                </c:pt>
                <c:pt idx="15663">
                  <c:v>0</c:v>
                </c:pt>
                <c:pt idx="15664">
                  <c:v>0</c:v>
                </c:pt>
                <c:pt idx="15665">
                  <c:v>0</c:v>
                </c:pt>
                <c:pt idx="15666">
                  <c:v>0</c:v>
                </c:pt>
                <c:pt idx="15667">
                  <c:v>0</c:v>
                </c:pt>
                <c:pt idx="15668">
                  <c:v>0</c:v>
                </c:pt>
                <c:pt idx="15669">
                  <c:v>0</c:v>
                </c:pt>
                <c:pt idx="15670">
                  <c:v>0</c:v>
                </c:pt>
                <c:pt idx="15671">
                  <c:v>0</c:v>
                </c:pt>
                <c:pt idx="15672">
                  <c:v>0</c:v>
                </c:pt>
                <c:pt idx="15673">
                  <c:v>0</c:v>
                </c:pt>
                <c:pt idx="15674">
                  <c:v>0</c:v>
                </c:pt>
                <c:pt idx="15675">
                  <c:v>2</c:v>
                </c:pt>
                <c:pt idx="15676">
                  <c:v>0</c:v>
                </c:pt>
                <c:pt idx="15677">
                  <c:v>0</c:v>
                </c:pt>
                <c:pt idx="15678">
                  <c:v>0</c:v>
                </c:pt>
                <c:pt idx="15679">
                  <c:v>0</c:v>
                </c:pt>
                <c:pt idx="15680">
                  <c:v>0</c:v>
                </c:pt>
                <c:pt idx="15681">
                  <c:v>0</c:v>
                </c:pt>
                <c:pt idx="15682">
                  <c:v>0</c:v>
                </c:pt>
                <c:pt idx="15683">
                  <c:v>1</c:v>
                </c:pt>
                <c:pt idx="15684">
                  <c:v>0</c:v>
                </c:pt>
                <c:pt idx="15685">
                  <c:v>0</c:v>
                </c:pt>
                <c:pt idx="15686">
                  <c:v>0</c:v>
                </c:pt>
                <c:pt idx="15687">
                  <c:v>0</c:v>
                </c:pt>
                <c:pt idx="15688">
                  <c:v>0</c:v>
                </c:pt>
                <c:pt idx="15689">
                  <c:v>0</c:v>
                </c:pt>
                <c:pt idx="15690">
                  <c:v>0</c:v>
                </c:pt>
                <c:pt idx="15691">
                  <c:v>0</c:v>
                </c:pt>
                <c:pt idx="15692">
                  <c:v>0</c:v>
                </c:pt>
                <c:pt idx="15693">
                  <c:v>0</c:v>
                </c:pt>
                <c:pt idx="15694">
                  <c:v>0</c:v>
                </c:pt>
                <c:pt idx="15695">
                  <c:v>0</c:v>
                </c:pt>
                <c:pt idx="15696">
                  <c:v>0</c:v>
                </c:pt>
                <c:pt idx="15697">
                  <c:v>0</c:v>
                </c:pt>
                <c:pt idx="15698">
                  <c:v>0</c:v>
                </c:pt>
                <c:pt idx="15699">
                  <c:v>0</c:v>
                </c:pt>
                <c:pt idx="15700">
                  <c:v>0</c:v>
                </c:pt>
                <c:pt idx="15701">
                  <c:v>0</c:v>
                </c:pt>
                <c:pt idx="15702">
                  <c:v>0</c:v>
                </c:pt>
                <c:pt idx="15703">
                  <c:v>0</c:v>
                </c:pt>
                <c:pt idx="15704">
                  <c:v>0</c:v>
                </c:pt>
                <c:pt idx="15705">
                  <c:v>0</c:v>
                </c:pt>
                <c:pt idx="15706">
                  <c:v>0</c:v>
                </c:pt>
                <c:pt idx="15707">
                  <c:v>0</c:v>
                </c:pt>
                <c:pt idx="15708">
                  <c:v>0</c:v>
                </c:pt>
                <c:pt idx="15709">
                  <c:v>0</c:v>
                </c:pt>
                <c:pt idx="15710">
                  <c:v>0</c:v>
                </c:pt>
                <c:pt idx="15711">
                  <c:v>3</c:v>
                </c:pt>
                <c:pt idx="15712">
                  <c:v>0</c:v>
                </c:pt>
                <c:pt idx="15713">
                  <c:v>0</c:v>
                </c:pt>
                <c:pt idx="15714">
                  <c:v>0</c:v>
                </c:pt>
                <c:pt idx="15715">
                  <c:v>0</c:v>
                </c:pt>
                <c:pt idx="15716">
                  <c:v>0</c:v>
                </c:pt>
                <c:pt idx="15717">
                  <c:v>0</c:v>
                </c:pt>
                <c:pt idx="15718">
                  <c:v>0</c:v>
                </c:pt>
                <c:pt idx="15719">
                  <c:v>1</c:v>
                </c:pt>
                <c:pt idx="15720">
                  <c:v>0</c:v>
                </c:pt>
                <c:pt idx="15721">
                  <c:v>0</c:v>
                </c:pt>
                <c:pt idx="15722">
                  <c:v>0</c:v>
                </c:pt>
                <c:pt idx="15723">
                  <c:v>0</c:v>
                </c:pt>
                <c:pt idx="15724">
                  <c:v>0</c:v>
                </c:pt>
                <c:pt idx="15725">
                  <c:v>0</c:v>
                </c:pt>
                <c:pt idx="15726">
                  <c:v>0</c:v>
                </c:pt>
                <c:pt idx="15727">
                  <c:v>0</c:v>
                </c:pt>
                <c:pt idx="15728">
                  <c:v>0</c:v>
                </c:pt>
                <c:pt idx="15729">
                  <c:v>0</c:v>
                </c:pt>
                <c:pt idx="15730">
                  <c:v>0</c:v>
                </c:pt>
                <c:pt idx="15731">
                  <c:v>0</c:v>
                </c:pt>
                <c:pt idx="15732">
                  <c:v>0</c:v>
                </c:pt>
                <c:pt idx="15733">
                  <c:v>0</c:v>
                </c:pt>
                <c:pt idx="15734">
                  <c:v>0</c:v>
                </c:pt>
                <c:pt idx="15735">
                  <c:v>0</c:v>
                </c:pt>
                <c:pt idx="15736">
                  <c:v>0</c:v>
                </c:pt>
                <c:pt idx="15737">
                  <c:v>0</c:v>
                </c:pt>
                <c:pt idx="15738">
                  <c:v>0</c:v>
                </c:pt>
                <c:pt idx="15739">
                  <c:v>2</c:v>
                </c:pt>
                <c:pt idx="15740">
                  <c:v>0</c:v>
                </c:pt>
                <c:pt idx="15741">
                  <c:v>0</c:v>
                </c:pt>
                <c:pt idx="15742">
                  <c:v>0</c:v>
                </c:pt>
                <c:pt idx="15743">
                  <c:v>0</c:v>
                </c:pt>
                <c:pt idx="15744">
                  <c:v>0</c:v>
                </c:pt>
                <c:pt idx="15745">
                  <c:v>0</c:v>
                </c:pt>
                <c:pt idx="15746">
                  <c:v>0</c:v>
                </c:pt>
                <c:pt idx="15747">
                  <c:v>0</c:v>
                </c:pt>
                <c:pt idx="15748">
                  <c:v>0</c:v>
                </c:pt>
                <c:pt idx="15749">
                  <c:v>0</c:v>
                </c:pt>
                <c:pt idx="15750">
                  <c:v>0</c:v>
                </c:pt>
                <c:pt idx="15751">
                  <c:v>1</c:v>
                </c:pt>
                <c:pt idx="15752">
                  <c:v>0</c:v>
                </c:pt>
                <c:pt idx="15753">
                  <c:v>0</c:v>
                </c:pt>
                <c:pt idx="15754">
                  <c:v>3</c:v>
                </c:pt>
                <c:pt idx="15755">
                  <c:v>0</c:v>
                </c:pt>
                <c:pt idx="15756">
                  <c:v>0</c:v>
                </c:pt>
                <c:pt idx="15757">
                  <c:v>0</c:v>
                </c:pt>
                <c:pt idx="15758">
                  <c:v>0</c:v>
                </c:pt>
                <c:pt idx="15759">
                  <c:v>1</c:v>
                </c:pt>
                <c:pt idx="15760">
                  <c:v>0</c:v>
                </c:pt>
                <c:pt idx="15761">
                  <c:v>0</c:v>
                </c:pt>
                <c:pt idx="15762">
                  <c:v>0</c:v>
                </c:pt>
                <c:pt idx="15763">
                  <c:v>0</c:v>
                </c:pt>
                <c:pt idx="15764">
                  <c:v>1</c:v>
                </c:pt>
                <c:pt idx="15765">
                  <c:v>0</c:v>
                </c:pt>
                <c:pt idx="15766">
                  <c:v>0</c:v>
                </c:pt>
                <c:pt idx="15767">
                  <c:v>0</c:v>
                </c:pt>
                <c:pt idx="15768">
                  <c:v>0</c:v>
                </c:pt>
                <c:pt idx="15769">
                  <c:v>0</c:v>
                </c:pt>
                <c:pt idx="15770">
                  <c:v>2</c:v>
                </c:pt>
                <c:pt idx="15771">
                  <c:v>0</c:v>
                </c:pt>
                <c:pt idx="15772">
                  <c:v>0</c:v>
                </c:pt>
                <c:pt idx="15773">
                  <c:v>0</c:v>
                </c:pt>
                <c:pt idx="15774">
                  <c:v>3</c:v>
                </c:pt>
                <c:pt idx="15775">
                  <c:v>0</c:v>
                </c:pt>
                <c:pt idx="15776">
                  <c:v>3</c:v>
                </c:pt>
                <c:pt idx="15777">
                  <c:v>0</c:v>
                </c:pt>
                <c:pt idx="15778">
                  <c:v>0</c:v>
                </c:pt>
                <c:pt idx="15779">
                  <c:v>0</c:v>
                </c:pt>
                <c:pt idx="15780">
                  <c:v>0</c:v>
                </c:pt>
                <c:pt idx="15781">
                  <c:v>0</c:v>
                </c:pt>
                <c:pt idx="15782">
                  <c:v>0</c:v>
                </c:pt>
                <c:pt idx="15783">
                  <c:v>0</c:v>
                </c:pt>
                <c:pt idx="15784">
                  <c:v>0</c:v>
                </c:pt>
                <c:pt idx="15785">
                  <c:v>1</c:v>
                </c:pt>
                <c:pt idx="15786">
                  <c:v>0</c:v>
                </c:pt>
                <c:pt idx="15787">
                  <c:v>0</c:v>
                </c:pt>
                <c:pt idx="15788">
                  <c:v>0</c:v>
                </c:pt>
                <c:pt idx="15789">
                  <c:v>0</c:v>
                </c:pt>
                <c:pt idx="15790">
                  <c:v>2</c:v>
                </c:pt>
                <c:pt idx="15791">
                  <c:v>0</c:v>
                </c:pt>
                <c:pt idx="15792">
                  <c:v>0</c:v>
                </c:pt>
                <c:pt idx="15793">
                  <c:v>0</c:v>
                </c:pt>
                <c:pt idx="15794">
                  <c:v>0</c:v>
                </c:pt>
                <c:pt idx="15795">
                  <c:v>0</c:v>
                </c:pt>
                <c:pt idx="15796">
                  <c:v>3</c:v>
                </c:pt>
                <c:pt idx="15797">
                  <c:v>0</c:v>
                </c:pt>
                <c:pt idx="15798">
                  <c:v>0</c:v>
                </c:pt>
                <c:pt idx="15799">
                  <c:v>0</c:v>
                </c:pt>
                <c:pt idx="15800">
                  <c:v>0</c:v>
                </c:pt>
                <c:pt idx="15801">
                  <c:v>0</c:v>
                </c:pt>
                <c:pt idx="15802">
                  <c:v>0</c:v>
                </c:pt>
                <c:pt idx="15803">
                  <c:v>1</c:v>
                </c:pt>
                <c:pt idx="15804">
                  <c:v>0</c:v>
                </c:pt>
                <c:pt idx="15805">
                  <c:v>0</c:v>
                </c:pt>
                <c:pt idx="15806">
                  <c:v>4</c:v>
                </c:pt>
                <c:pt idx="15807">
                  <c:v>0</c:v>
                </c:pt>
                <c:pt idx="15808">
                  <c:v>0</c:v>
                </c:pt>
                <c:pt idx="15809">
                  <c:v>0</c:v>
                </c:pt>
                <c:pt idx="15810">
                  <c:v>0</c:v>
                </c:pt>
                <c:pt idx="15811">
                  <c:v>0</c:v>
                </c:pt>
                <c:pt idx="15812">
                  <c:v>0</c:v>
                </c:pt>
                <c:pt idx="15813">
                  <c:v>0</c:v>
                </c:pt>
                <c:pt idx="15814">
                  <c:v>2</c:v>
                </c:pt>
                <c:pt idx="15815">
                  <c:v>0</c:v>
                </c:pt>
                <c:pt idx="15816">
                  <c:v>1</c:v>
                </c:pt>
                <c:pt idx="15817">
                  <c:v>0</c:v>
                </c:pt>
                <c:pt idx="15818">
                  <c:v>0</c:v>
                </c:pt>
                <c:pt idx="15819">
                  <c:v>2</c:v>
                </c:pt>
                <c:pt idx="15820">
                  <c:v>2</c:v>
                </c:pt>
                <c:pt idx="15821">
                  <c:v>1</c:v>
                </c:pt>
                <c:pt idx="15822">
                  <c:v>0</c:v>
                </c:pt>
                <c:pt idx="15823">
                  <c:v>1</c:v>
                </c:pt>
                <c:pt idx="15824">
                  <c:v>3</c:v>
                </c:pt>
                <c:pt idx="15825">
                  <c:v>0</c:v>
                </c:pt>
                <c:pt idx="15826">
                  <c:v>0</c:v>
                </c:pt>
                <c:pt idx="15827">
                  <c:v>0</c:v>
                </c:pt>
                <c:pt idx="15828">
                  <c:v>0</c:v>
                </c:pt>
                <c:pt idx="15829">
                  <c:v>1</c:v>
                </c:pt>
                <c:pt idx="15830">
                  <c:v>0</c:v>
                </c:pt>
                <c:pt idx="15831">
                  <c:v>0</c:v>
                </c:pt>
                <c:pt idx="15832">
                  <c:v>0</c:v>
                </c:pt>
                <c:pt idx="15833">
                  <c:v>1</c:v>
                </c:pt>
                <c:pt idx="15834">
                  <c:v>0</c:v>
                </c:pt>
                <c:pt idx="15835">
                  <c:v>0</c:v>
                </c:pt>
                <c:pt idx="15836">
                  <c:v>0</c:v>
                </c:pt>
                <c:pt idx="15837">
                  <c:v>0</c:v>
                </c:pt>
                <c:pt idx="15838">
                  <c:v>0</c:v>
                </c:pt>
                <c:pt idx="15839">
                  <c:v>0</c:v>
                </c:pt>
                <c:pt idx="15840">
                  <c:v>0</c:v>
                </c:pt>
                <c:pt idx="15841">
                  <c:v>0</c:v>
                </c:pt>
                <c:pt idx="15842">
                  <c:v>1</c:v>
                </c:pt>
                <c:pt idx="15843">
                  <c:v>1</c:v>
                </c:pt>
                <c:pt idx="15844">
                  <c:v>1</c:v>
                </c:pt>
                <c:pt idx="15845">
                  <c:v>0</c:v>
                </c:pt>
                <c:pt idx="15846">
                  <c:v>0</c:v>
                </c:pt>
                <c:pt idx="15847">
                  <c:v>2</c:v>
                </c:pt>
                <c:pt idx="15848">
                  <c:v>4</c:v>
                </c:pt>
                <c:pt idx="15849">
                  <c:v>0</c:v>
                </c:pt>
                <c:pt idx="15850">
                  <c:v>3</c:v>
                </c:pt>
                <c:pt idx="15851">
                  <c:v>0</c:v>
                </c:pt>
                <c:pt idx="15852">
                  <c:v>3</c:v>
                </c:pt>
                <c:pt idx="15853">
                  <c:v>2</c:v>
                </c:pt>
                <c:pt idx="15854">
                  <c:v>1</c:v>
                </c:pt>
                <c:pt idx="15855">
                  <c:v>2</c:v>
                </c:pt>
                <c:pt idx="15856">
                  <c:v>0</c:v>
                </c:pt>
                <c:pt idx="15857">
                  <c:v>5</c:v>
                </c:pt>
                <c:pt idx="15858">
                  <c:v>0</c:v>
                </c:pt>
                <c:pt idx="15859">
                  <c:v>2</c:v>
                </c:pt>
                <c:pt idx="15860">
                  <c:v>0</c:v>
                </c:pt>
                <c:pt idx="15861">
                  <c:v>0</c:v>
                </c:pt>
                <c:pt idx="15862">
                  <c:v>0</c:v>
                </c:pt>
                <c:pt idx="15863">
                  <c:v>0</c:v>
                </c:pt>
                <c:pt idx="15864">
                  <c:v>2</c:v>
                </c:pt>
                <c:pt idx="15865">
                  <c:v>0</c:v>
                </c:pt>
                <c:pt idx="15866">
                  <c:v>0</c:v>
                </c:pt>
                <c:pt idx="15867">
                  <c:v>0</c:v>
                </c:pt>
                <c:pt idx="15868">
                  <c:v>0</c:v>
                </c:pt>
                <c:pt idx="15869">
                  <c:v>0</c:v>
                </c:pt>
                <c:pt idx="15870">
                  <c:v>0</c:v>
                </c:pt>
                <c:pt idx="15871">
                  <c:v>0</c:v>
                </c:pt>
                <c:pt idx="15872">
                  <c:v>5</c:v>
                </c:pt>
                <c:pt idx="15873">
                  <c:v>3</c:v>
                </c:pt>
                <c:pt idx="15874">
                  <c:v>1</c:v>
                </c:pt>
                <c:pt idx="15875">
                  <c:v>0</c:v>
                </c:pt>
                <c:pt idx="15876">
                  <c:v>0</c:v>
                </c:pt>
                <c:pt idx="15877">
                  <c:v>0</c:v>
                </c:pt>
                <c:pt idx="15878">
                  <c:v>6</c:v>
                </c:pt>
                <c:pt idx="15879">
                  <c:v>2</c:v>
                </c:pt>
                <c:pt idx="15880">
                  <c:v>0</c:v>
                </c:pt>
                <c:pt idx="15881">
                  <c:v>0</c:v>
                </c:pt>
                <c:pt idx="15882">
                  <c:v>0</c:v>
                </c:pt>
                <c:pt idx="15883">
                  <c:v>11</c:v>
                </c:pt>
                <c:pt idx="15884">
                  <c:v>0</c:v>
                </c:pt>
                <c:pt idx="15885">
                  <c:v>0</c:v>
                </c:pt>
                <c:pt idx="15886">
                  <c:v>0</c:v>
                </c:pt>
                <c:pt idx="15887">
                  <c:v>2</c:v>
                </c:pt>
                <c:pt idx="15888">
                  <c:v>0</c:v>
                </c:pt>
                <c:pt idx="15889">
                  <c:v>2</c:v>
                </c:pt>
                <c:pt idx="15890">
                  <c:v>1</c:v>
                </c:pt>
                <c:pt idx="15891">
                  <c:v>2</c:v>
                </c:pt>
                <c:pt idx="15892">
                  <c:v>1</c:v>
                </c:pt>
                <c:pt idx="15893">
                  <c:v>2</c:v>
                </c:pt>
                <c:pt idx="15894">
                  <c:v>0</c:v>
                </c:pt>
                <c:pt idx="15895">
                  <c:v>0</c:v>
                </c:pt>
                <c:pt idx="15896">
                  <c:v>3</c:v>
                </c:pt>
                <c:pt idx="15897">
                  <c:v>2</c:v>
                </c:pt>
                <c:pt idx="15898">
                  <c:v>1</c:v>
                </c:pt>
                <c:pt idx="15899">
                  <c:v>1</c:v>
                </c:pt>
                <c:pt idx="15900">
                  <c:v>0</c:v>
                </c:pt>
                <c:pt idx="15901">
                  <c:v>0</c:v>
                </c:pt>
                <c:pt idx="15902">
                  <c:v>2</c:v>
                </c:pt>
                <c:pt idx="15903">
                  <c:v>3</c:v>
                </c:pt>
                <c:pt idx="15904">
                  <c:v>0</c:v>
                </c:pt>
                <c:pt idx="15905">
                  <c:v>1</c:v>
                </c:pt>
                <c:pt idx="15906">
                  <c:v>0</c:v>
                </c:pt>
                <c:pt idx="15907">
                  <c:v>1</c:v>
                </c:pt>
                <c:pt idx="15908">
                  <c:v>1</c:v>
                </c:pt>
                <c:pt idx="15909">
                  <c:v>0</c:v>
                </c:pt>
                <c:pt idx="15910">
                  <c:v>1</c:v>
                </c:pt>
                <c:pt idx="15911">
                  <c:v>2</c:v>
                </c:pt>
                <c:pt idx="15912">
                  <c:v>0</c:v>
                </c:pt>
                <c:pt idx="15913">
                  <c:v>0</c:v>
                </c:pt>
                <c:pt idx="15914">
                  <c:v>0</c:v>
                </c:pt>
                <c:pt idx="15915">
                  <c:v>0</c:v>
                </c:pt>
                <c:pt idx="15916">
                  <c:v>0</c:v>
                </c:pt>
                <c:pt idx="15917">
                  <c:v>0</c:v>
                </c:pt>
                <c:pt idx="15918">
                  <c:v>0</c:v>
                </c:pt>
                <c:pt idx="15919">
                  <c:v>0</c:v>
                </c:pt>
                <c:pt idx="15920">
                  <c:v>1</c:v>
                </c:pt>
                <c:pt idx="15921">
                  <c:v>0</c:v>
                </c:pt>
                <c:pt idx="15922">
                  <c:v>0</c:v>
                </c:pt>
                <c:pt idx="15923">
                  <c:v>0</c:v>
                </c:pt>
                <c:pt idx="15924">
                  <c:v>0</c:v>
                </c:pt>
                <c:pt idx="15925">
                  <c:v>0</c:v>
                </c:pt>
                <c:pt idx="15926">
                  <c:v>0</c:v>
                </c:pt>
                <c:pt idx="15927">
                  <c:v>0</c:v>
                </c:pt>
                <c:pt idx="15928">
                  <c:v>0</c:v>
                </c:pt>
                <c:pt idx="15929">
                  <c:v>0</c:v>
                </c:pt>
                <c:pt idx="15930">
                  <c:v>0</c:v>
                </c:pt>
                <c:pt idx="15931">
                  <c:v>0</c:v>
                </c:pt>
                <c:pt idx="15932">
                  <c:v>0</c:v>
                </c:pt>
                <c:pt idx="15933">
                  <c:v>0</c:v>
                </c:pt>
                <c:pt idx="15934">
                  <c:v>0</c:v>
                </c:pt>
                <c:pt idx="15935">
                  <c:v>0</c:v>
                </c:pt>
                <c:pt idx="15936">
                  <c:v>0</c:v>
                </c:pt>
                <c:pt idx="15937">
                  <c:v>0</c:v>
                </c:pt>
                <c:pt idx="15938">
                  <c:v>0</c:v>
                </c:pt>
                <c:pt idx="15939">
                  <c:v>0</c:v>
                </c:pt>
                <c:pt idx="15940">
                  <c:v>0</c:v>
                </c:pt>
                <c:pt idx="15941">
                  <c:v>0</c:v>
                </c:pt>
                <c:pt idx="15942">
                  <c:v>0</c:v>
                </c:pt>
                <c:pt idx="15943">
                  <c:v>0</c:v>
                </c:pt>
                <c:pt idx="15944">
                  <c:v>0</c:v>
                </c:pt>
                <c:pt idx="15945">
                  <c:v>1</c:v>
                </c:pt>
                <c:pt idx="15946">
                  <c:v>1</c:v>
                </c:pt>
                <c:pt idx="15947">
                  <c:v>0</c:v>
                </c:pt>
                <c:pt idx="15948">
                  <c:v>0</c:v>
                </c:pt>
                <c:pt idx="15949">
                  <c:v>0</c:v>
                </c:pt>
                <c:pt idx="15950">
                  <c:v>0</c:v>
                </c:pt>
                <c:pt idx="15951">
                  <c:v>0</c:v>
                </c:pt>
                <c:pt idx="15952">
                  <c:v>0</c:v>
                </c:pt>
                <c:pt idx="15953">
                  <c:v>0</c:v>
                </c:pt>
                <c:pt idx="15954">
                  <c:v>0</c:v>
                </c:pt>
                <c:pt idx="15955">
                  <c:v>0</c:v>
                </c:pt>
                <c:pt idx="15956">
                  <c:v>0</c:v>
                </c:pt>
                <c:pt idx="15957">
                  <c:v>0</c:v>
                </c:pt>
                <c:pt idx="15958">
                  <c:v>0</c:v>
                </c:pt>
                <c:pt idx="15959">
                  <c:v>0</c:v>
                </c:pt>
                <c:pt idx="15960">
                  <c:v>0</c:v>
                </c:pt>
                <c:pt idx="15961">
                  <c:v>2</c:v>
                </c:pt>
                <c:pt idx="15962">
                  <c:v>0</c:v>
                </c:pt>
                <c:pt idx="15963">
                  <c:v>0</c:v>
                </c:pt>
                <c:pt idx="15964">
                  <c:v>0</c:v>
                </c:pt>
                <c:pt idx="15965">
                  <c:v>0</c:v>
                </c:pt>
                <c:pt idx="15966">
                  <c:v>0</c:v>
                </c:pt>
                <c:pt idx="15967">
                  <c:v>0</c:v>
                </c:pt>
                <c:pt idx="15968">
                  <c:v>0</c:v>
                </c:pt>
                <c:pt idx="15969">
                  <c:v>0</c:v>
                </c:pt>
                <c:pt idx="15970">
                  <c:v>0</c:v>
                </c:pt>
                <c:pt idx="15971">
                  <c:v>0</c:v>
                </c:pt>
                <c:pt idx="15972">
                  <c:v>0</c:v>
                </c:pt>
                <c:pt idx="15973">
                  <c:v>0</c:v>
                </c:pt>
                <c:pt idx="15974">
                  <c:v>0</c:v>
                </c:pt>
                <c:pt idx="15975">
                  <c:v>0</c:v>
                </c:pt>
                <c:pt idx="15976">
                  <c:v>0</c:v>
                </c:pt>
                <c:pt idx="15977">
                  <c:v>0</c:v>
                </c:pt>
                <c:pt idx="15978">
                  <c:v>0</c:v>
                </c:pt>
                <c:pt idx="15979">
                  <c:v>0</c:v>
                </c:pt>
                <c:pt idx="15980">
                  <c:v>0</c:v>
                </c:pt>
                <c:pt idx="15981">
                  <c:v>0</c:v>
                </c:pt>
                <c:pt idx="15982">
                  <c:v>0</c:v>
                </c:pt>
                <c:pt idx="15983">
                  <c:v>0</c:v>
                </c:pt>
                <c:pt idx="15984">
                  <c:v>2</c:v>
                </c:pt>
                <c:pt idx="15985">
                  <c:v>0</c:v>
                </c:pt>
                <c:pt idx="15986">
                  <c:v>0</c:v>
                </c:pt>
                <c:pt idx="15987">
                  <c:v>0</c:v>
                </c:pt>
                <c:pt idx="15988">
                  <c:v>0</c:v>
                </c:pt>
                <c:pt idx="15989">
                  <c:v>2</c:v>
                </c:pt>
                <c:pt idx="15990">
                  <c:v>2</c:v>
                </c:pt>
                <c:pt idx="15991">
                  <c:v>2</c:v>
                </c:pt>
                <c:pt idx="15992">
                  <c:v>3</c:v>
                </c:pt>
                <c:pt idx="15993">
                  <c:v>2</c:v>
                </c:pt>
                <c:pt idx="15994">
                  <c:v>0</c:v>
                </c:pt>
                <c:pt idx="15995">
                  <c:v>1</c:v>
                </c:pt>
                <c:pt idx="15996">
                  <c:v>1</c:v>
                </c:pt>
                <c:pt idx="15997">
                  <c:v>1</c:v>
                </c:pt>
                <c:pt idx="15998">
                  <c:v>1</c:v>
                </c:pt>
                <c:pt idx="15999">
                  <c:v>1</c:v>
                </c:pt>
                <c:pt idx="16000">
                  <c:v>0</c:v>
                </c:pt>
                <c:pt idx="16001">
                  <c:v>0</c:v>
                </c:pt>
                <c:pt idx="16002">
                  <c:v>0</c:v>
                </c:pt>
                <c:pt idx="16003">
                  <c:v>0</c:v>
                </c:pt>
                <c:pt idx="16004">
                  <c:v>0</c:v>
                </c:pt>
                <c:pt idx="16005">
                  <c:v>0</c:v>
                </c:pt>
                <c:pt idx="16006">
                  <c:v>0</c:v>
                </c:pt>
                <c:pt idx="16007">
                  <c:v>0</c:v>
                </c:pt>
                <c:pt idx="16008">
                  <c:v>0</c:v>
                </c:pt>
                <c:pt idx="16009">
                  <c:v>0</c:v>
                </c:pt>
                <c:pt idx="16010">
                  <c:v>0</c:v>
                </c:pt>
                <c:pt idx="16011">
                  <c:v>0</c:v>
                </c:pt>
                <c:pt idx="16012">
                  <c:v>0</c:v>
                </c:pt>
                <c:pt idx="16013">
                  <c:v>0</c:v>
                </c:pt>
                <c:pt idx="16014">
                  <c:v>0</c:v>
                </c:pt>
                <c:pt idx="16015">
                  <c:v>0</c:v>
                </c:pt>
                <c:pt idx="16016">
                  <c:v>0</c:v>
                </c:pt>
                <c:pt idx="16017">
                  <c:v>0</c:v>
                </c:pt>
                <c:pt idx="16018">
                  <c:v>0</c:v>
                </c:pt>
                <c:pt idx="16019">
                  <c:v>0</c:v>
                </c:pt>
                <c:pt idx="16020">
                  <c:v>0</c:v>
                </c:pt>
                <c:pt idx="16021">
                  <c:v>0</c:v>
                </c:pt>
                <c:pt idx="16022">
                  <c:v>0</c:v>
                </c:pt>
                <c:pt idx="16023">
                  <c:v>0</c:v>
                </c:pt>
                <c:pt idx="16024">
                  <c:v>0</c:v>
                </c:pt>
                <c:pt idx="16025">
                  <c:v>1</c:v>
                </c:pt>
                <c:pt idx="16026">
                  <c:v>0</c:v>
                </c:pt>
                <c:pt idx="16027">
                  <c:v>0</c:v>
                </c:pt>
                <c:pt idx="16028">
                  <c:v>0</c:v>
                </c:pt>
                <c:pt idx="16029">
                  <c:v>0</c:v>
                </c:pt>
                <c:pt idx="16030">
                  <c:v>0</c:v>
                </c:pt>
                <c:pt idx="16031">
                  <c:v>0</c:v>
                </c:pt>
                <c:pt idx="16032">
                  <c:v>0</c:v>
                </c:pt>
                <c:pt idx="16033">
                  <c:v>0</c:v>
                </c:pt>
                <c:pt idx="16034">
                  <c:v>0</c:v>
                </c:pt>
                <c:pt idx="16035">
                  <c:v>0</c:v>
                </c:pt>
                <c:pt idx="16036">
                  <c:v>0</c:v>
                </c:pt>
                <c:pt idx="16037">
                  <c:v>0</c:v>
                </c:pt>
                <c:pt idx="16038">
                  <c:v>0</c:v>
                </c:pt>
                <c:pt idx="16039">
                  <c:v>0</c:v>
                </c:pt>
                <c:pt idx="16040">
                  <c:v>0</c:v>
                </c:pt>
                <c:pt idx="16041">
                  <c:v>0</c:v>
                </c:pt>
                <c:pt idx="16042">
                  <c:v>0</c:v>
                </c:pt>
                <c:pt idx="16043">
                  <c:v>0</c:v>
                </c:pt>
                <c:pt idx="16044">
                  <c:v>0</c:v>
                </c:pt>
                <c:pt idx="16045">
                  <c:v>0</c:v>
                </c:pt>
                <c:pt idx="16046">
                  <c:v>0</c:v>
                </c:pt>
                <c:pt idx="16047">
                  <c:v>0</c:v>
                </c:pt>
                <c:pt idx="16048">
                  <c:v>0</c:v>
                </c:pt>
                <c:pt idx="16049">
                  <c:v>0</c:v>
                </c:pt>
                <c:pt idx="16050">
                  <c:v>0</c:v>
                </c:pt>
                <c:pt idx="16051">
                  <c:v>0</c:v>
                </c:pt>
                <c:pt idx="16052">
                  <c:v>0</c:v>
                </c:pt>
                <c:pt idx="16053">
                  <c:v>0</c:v>
                </c:pt>
                <c:pt idx="16054">
                  <c:v>0</c:v>
                </c:pt>
                <c:pt idx="16055">
                  <c:v>0</c:v>
                </c:pt>
                <c:pt idx="16056">
                  <c:v>0</c:v>
                </c:pt>
                <c:pt idx="16057">
                  <c:v>0</c:v>
                </c:pt>
                <c:pt idx="16058">
                  <c:v>0</c:v>
                </c:pt>
                <c:pt idx="16059">
                  <c:v>0</c:v>
                </c:pt>
                <c:pt idx="16060">
                  <c:v>0</c:v>
                </c:pt>
                <c:pt idx="16061">
                  <c:v>0</c:v>
                </c:pt>
                <c:pt idx="16062">
                  <c:v>0</c:v>
                </c:pt>
                <c:pt idx="16063">
                  <c:v>0</c:v>
                </c:pt>
                <c:pt idx="16064">
                  <c:v>0</c:v>
                </c:pt>
                <c:pt idx="16065">
                  <c:v>2</c:v>
                </c:pt>
                <c:pt idx="16066">
                  <c:v>0</c:v>
                </c:pt>
                <c:pt idx="16067">
                  <c:v>0</c:v>
                </c:pt>
                <c:pt idx="16068">
                  <c:v>0</c:v>
                </c:pt>
                <c:pt idx="16069">
                  <c:v>0</c:v>
                </c:pt>
                <c:pt idx="16070">
                  <c:v>0</c:v>
                </c:pt>
                <c:pt idx="16071">
                  <c:v>0</c:v>
                </c:pt>
                <c:pt idx="16072">
                  <c:v>0</c:v>
                </c:pt>
                <c:pt idx="16073">
                  <c:v>0</c:v>
                </c:pt>
                <c:pt idx="16074">
                  <c:v>0</c:v>
                </c:pt>
                <c:pt idx="16075">
                  <c:v>0</c:v>
                </c:pt>
                <c:pt idx="16076">
                  <c:v>0</c:v>
                </c:pt>
                <c:pt idx="16077">
                  <c:v>0</c:v>
                </c:pt>
                <c:pt idx="16078">
                  <c:v>0</c:v>
                </c:pt>
                <c:pt idx="16079">
                  <c:v>0</c:v>
                </c:pt>
                <c:pt idx="16080">
                  <c:v>2</c:v>
                </c:pt>
                <c:pt idx="16081">
                  <c:v>0</c:v>
                </c:pt>
                <c:pt idx="16082">
                  <c:v>0</c:v>
                </c:pt>
                <c:pt idx="16083">
                  <c:v>0</c:v>
                </c:pt>
                <c:pt idx="16084">
                  <c:v>0</c:v>
                </c:pt>
                <c:pt idx="16085">
                  <c:v>0</c:v>
                </c:pt>
                <c:pt idx="16086">
                  <c:v>0</c:v>
                </c:pt>
                <c:pt idx="16087">
                  <c:v>0</c:v>
                </c:pt>
                <c:pt idx="16088">
                  <c:v>0</c:v>
                </c:pt>
                <c:pt idx="16089">
                  <c:v>0</c:v>
                </c:pt>
                <c:pt idx="16090">
                  <c:v>0</c:v>
                </c:pt>
                <c:pt idx="16091">
                  <c:v>0</c:v>
                </c:pt>
                <c:pt idx="16092">
                  <c:v>0</c:v>
                </c:pt>
                <c:pt idx="16093">
                  <c:v>0</c:v>
                </c:pt>
                <c:pt idx="16094">
                  <c:v>0</c:v>
                </c:pt>
                <c:pt idx="16095">
                  <c:v>0</c:v>
                </c:pt>
                <c:pt idx="16096">
                  <c:v>0</c:v>
                </c:pt>
                <c:pt idx="16097">
                  <c:v>0</c:v>
                </c:pt>
                <c:pt idx="16098">
                  <c:v>0</c:v>
                </c:pt>
                <c:pt idx="16099">
                  <c:v>0</c:v>
                </c:pt>
                <c:pt idx="16100">
                  <c:v>0</c:v>
                </c:pt>
                <c:pt idx="16101">
                  <c:v>0</c:v>
                </c:pt>
                <c:pt idx="16102">
                  <c:v>0</c:v>
                </c:pt>
                <c:pt idx="16103">
                  <c:v>3</c:v>
                </c:pt>
                <c:pt idx="16104">
                  <c:v>0</c:v>
                </c:pt>
                <c:pt idx="16105">
                  <c:v>0</c:v>
                </c:pt>
                <c:pt idx="16106">
                  <c:v>0</c:v>
                </c:pt>
                <c:pt idx="16107">
                  <c:v>0</c:v>
                </c:pt>
                <c:pt idx="16108">
                  <c:v>0</c:v>
                </c:pt>
                <c:pt idx="16109">
                  <c:v>0</c:v>
                </c:pt>
                <c:pt idx="16110">
                  <c:v>0</c:v>
                </c:pt>
                <c:pt idx="16111">
                  <c:v>0</c:v>
                </c:pt>
                <c:pt idx="16112">
                  <c:v>0</c:v>
                </c:pt>
                <c:pt idx="16113">
                  <c:v>0</c:v>
                </c:pt>
                <c:pt idx="16114">
                  <c:v>0</c:v>
                </c:pt>
                <c:pt idx="16115">
                  <c:v>0</c:v>
                </c:pt>
                <c:pt idx="16116">
                  <c:v>0</c:v>
                </c:pt>
                <c:pt idx="16117">
                  <c:v>0</c:v>
                </c:pt>
                <c:pt idx="16118">
                  <c:v>0</c:v>
                </c:pt>
                <c:pt idx="16119">
                  <c:v>0</c:v>
                </c:pt>
                <c:pt idx="16120">
                  <c:v>0</c:v>
                </c:pt>
                <c:pt idx="16121">
                  <c:v>0</c:v>
                </c:pt>
                <c:pt idx="16122">
                  <c:v>1</c:v>
                </c:pt>
                <c:pt idx="16123">
                  <c:v>0</c:v>
                </c:pt>
                <c:pt idx="16124">
                  <c:v>0</c:v>
                </c:pt>
                <c:pt idx="16125">
                  <c:v>0</c:v>
                </c:pt>
                <c:pt idx="16126">
                  <c:v>0</c:v>
                </c:pt>
                <c:pt idx="16127">
                  <c:v>0</c:v>
                </c:pt>
                <c:pt idx="16128">
                  <c:v>0</c:v>
                </c:pt>
                <c:pt idx="16129">
                  <c:v>0</c:v>
                </c:pt>
                <c:pt idx="16130">
                  <c:v>0</c:v>
                </c:pt>
                <c:pt idx="16131">
                  <c:v>0</c:v>
                </c:pt>
                <c:pt idx="16132">
                  <c:v>0</c:v>
                </c:pt>
                <c:pt idx="16133">
                  <c:v>0</c:v>
                </c:pt>
                <c:pt idx="16134">
                  <c:v>0</c:v>
                </c:pt>
                <c:pt idx="16135">
                  <c:v>0</c:v>
                </c:pt>
                <c:pt idx="16136">
                  <c:v>0</c:v>
                </c:pt>
                <c:pt idx="16137">
                  <c:v>0</c:v>
                </c:pt>
                <c:pt idx="16138">
                  <c:v>0</c:v>
                </c:pt>
                <c:pt idx="16139">
                  <c:v>0</c:v>
                </c:pt>
                <c:pt idx="16140">
                  <c:v>0</c:v>
                </c:pt>
                <c:pt idx="16141">
                  <c:v>0</c:v>
                </c:pt>
                <c:pt idx="16142">
                  <c:v>0</c:v>
                </c:pt>
                <c:pt idx="16143">
                  <c:v>0</c:v>
                </c:pt>
                <c:pt idx="16144">
                  <c:v>0</c:v>
                </c:pt>
                <c:pt idx="16145">
                  <c:v>0</c:v>
                </c:pt>
                <c:pt idx="16146">
                  <c:v>0</c:v>
                </c:pt>
                <c:pt idx="16147">
                  <c:v>0</c:v>
                </c:pt>
                <c:pt idx="16148">
                  <c:v>0</c:v>
                </c:pt>
                <c:pt idx="16149">
                  <c:v>0</c:v>
                </c:pt>
                <c:pt idx="16150">
                  <c:v>0</c:v>
                </c:pt>
                <c:pt idx="16151">
                  <c:v>0</c:v>
                </c:pt>
                <c:pt idx="16152">
                  <c:v>0</c:v>
                </c:pt>
                <c:pt idx="16153">
                  <c:v>0</c:v>
                </c:pt>
                <c:pt idx="16154">
                  <c:v>0</c:v>
                </c:pt>
                <c:pt idx="16155">
                  <c:v>0</c:v>
                </c:pt>
                <c:pt idx="16156">
                  <c:v>0</c:v>
                </c:pt>
                <c:pt idx="16157">
                  <c:v>0</c:v>
                </c:pt>
                <c:pt idx="16158">
                  <c:v>0</c:v>
                </c:pt>
                <c:pt idx="16159">
                  <c:v>0</c:v>
                </c:pt>
                <c:pt idx="16160">
                  <c:v>0</c:v>
                </c:pt>
                <c:pt idx="16161">
                  <c:v>1</c:v>
                </c:pt>
                <c:pt idx="16162">
                  <c:v>0</c:v>
                </c:pt>
                <c:pt idx="16163">
                  <c:v>0</c:v>
                </c:pt>
                <c:pt idx="16164">
                  <c:v>0</c:v>
                </c:pt>
                <c:pt idx="16165">
                  <c:v>0</c:v>
                </c:pt>
                <c:pt idx="16166">
                  <c:v>0</c:v>
                </c:pt>
                <c:pt idx="16167">
                  <c:v>0</c:v>
                </c:pt>
                <c:pt idx="16168">
                  <c:v>1</c:v>
                </c:pt>
                <c:pt idx="16169">
                  <c:v>0</c:v>
                </c:pt>
                <c:pt idx="16170">
                  <c:v>0</c:v>
                </c:pt>
                <c:pt idx="16171">
                  <c:v>0</c:v>
                </c:pt>
                <c:pt idx="16172">
                  <c:v>0</c:v>
                </c:pt>
                <c:pt idx="16173">
                  <c:v>0</c:v>
                </c:pt>
                <c:pt idx="16174">
                  <c:v>1</c:v>
                </c:pt>
                <c:pt idx="16175">
                  <c:v>3</c:v>
                </c:pt>
                <c:pt idx="16176">
                  <c:v>2</c:v>
                </c:pt>
                <c:pt idx="16177">
                  <c:v>1</c:v>
                </c:pt>
                <c:pt idx="16178">
                  <c:v>3</c:v>
                </c:pt>
                <c:pt idx="16179">
                  <c:v>4</c:v>
                </c:pt>
                <c:pt idx="16180">
                  <c:v>0</c:v>
                </c:pt>
                <c:pt idx="16181">
                  <c:v>0</c:v>
                </c:pt>
                <c:pt idx="16182">
                  <c:v>0</c:v>
                </c:pt>
                <c:pt idx="16183">
                  <c:v>0</c:v>
                </c:pt>
                <c:pt idx="16184">
                  <c:v>0</c:v>
                </c:pt>
                <c:pt idx="16185">
                  <c:v>0</c:v>
                </c:pt>
                <c:pt idx="16186">
                  <c:v>0</c:v>
                </c:pt>
                <c:pt idx="16187">
                  <c:v>0</c:v>
                </c:pt>
                <c:pt idx="16188">
                  <c:v>0</c:v>
                </c:pt>
                <c:pt idx="16189">
                  <c:v>0</c:v>
                </c:pt>
                <c:pt idx="16190">
                  <c:v>0</c:v>
                </c:pt>
                <c:pt idx="16191">
                  <c:v>0</c:v>
                </c:pt>
                <c:pt idx="16192">
                  <c:v>0</c:v>
                </c:pt>
                <c:pt idx="16193">
                  <c:v>0</c:v>
                </c:pt>
                <c:pt idx="16194">
                  <c:v>0</c:v>
                </c:pt>
                <c:pt idx="16195">
                  <c:v>0</c:v>
                </c:pt>
                <c:pt idx="16196">
                  <c:v>0</c:v>
                </c:pt>
                <c:pt idx="16197">
                  <c:v>0</c:v>
                </c:pt>
                <c:pt idx="16198">
                  <c:v>0</c:v>
                </c:pt>
                <c:pt idx="16199">
                  <c:v>0</c:v>
                </c:pt>
                <c:pt idx="16200">
                  <c:v>0</c:v>
                </c:pt>
                <c:pt idx="16201">
                  <c:v>0</c:v>
                </c:pt>
                <c:pt idx="16202">
                  <c:v>0</c:v>
                </c:pt>
                <c:pt idx="16203">
                  <c:v>0</c:v>
                </c:pt>
                <c:pt idx="16204">
                  <c:v>0</c:v>
                </c:pt>
                <c:pt idx="16205">
                  <c:v>0</c:v>
                </c:pt>
                <c:pt idx="16206">
                  <c:v>0</c:v>
                </c:pt>
                <c:pt idx="16207">
                  <c:v>0</c:v>
                </c:pt>
                <c:pt idx="16208">
                  <c:v>0</c:v>
                </c:pt>
                <c:pt idx="16209">
                  <c:v>0</c:v>
                </c:pt>
                <c:pt idx="16210">
                  <c:v>0</c:v>
                </c:pt>
                <c:pt idx="16211">
                  <c:v>0</c:v>
                </c:pt>
                <c:pt idx="16212">
                  <c:v>0</c:v>
                </c:pt>
                <c:pt idx="16213">
                  <c:v>0</c:v>
                </c:pt>
                <c:pt idx="16214">
                  <c:v>0</c:v>
                </c:pt>
                <c:pt idx="16215">
                  <c:v>0</c:v>
                </c:pt>
                <c:pt idx="16216">
                  <c:v>1</c:v>
                </c:pt>
                <c:pt idx="16217">
                  <c:v>0</c:v>
                </c:pt>
                <c:pt idx="16218">
                  <c:v>0</c:v>
                </c:pt>
                <c:pt idx="16219">
                  <c:v>0</c:v>
                </c:pt>
                <c:pt idx="16220">
                  <c:v>0</c:v>
                </c:pt>
                <c:pt idx="16221">
                  <c:v>0</c:v>
                </c:pt>
                <c:pt idx="16222">
                  <c:v>0</c:v>
                </c:pt>
                <c:pt idx="16223">
                  <c:v>0</c:v>
                </c:pt>
                <c:pt idx="16224">
                  <c:v>0</c:v>
                </c:pt>
                <c:pt idx="16225">
                  <c:v>0</c:v>
                </c:pt>
                <c:pt idx="16226">
                  <c:v>0</c:v>
                </c:pt>
                <c:pt idx="16227">
                  <c:v>0</c:v>
                </c:pt>
                <c:pt idx="16228">
                  <c:v>0</c:v>
                </c:pt>
                <c:pt idx="16229">
                  <c:v>0</c:v>
                </c:pt>
                <c:pt idx="16230">
                  <c:v>0</c:v>
                </c:pt>
                <c:pt idx="16231">
                  <c:v>0</c:v>
                </c:pt>
                <c:pt idx="16232">
                  <c:v>0</c:v>
                </c:pt>
                <c:pt idx="16233">
                  <c:v>0</c:v>
                </c:pt>
                <c:pt idx="16234">
                  <c:v>0</c:v>
                </c:pt>
                <c:pt idx="16235">
                  <c:v>0</c:v>
                </c:pt>
                <c:pt idx="16236">
                  <c:v>0</c:v>
                </c:pt>
                <c:pt idx="16237">
                  <c:v>0</c:v>
                </c:pt>
                <c:pt idx="16238">
                  <c:v>2</c:v>
                </c:pt>
                <c:pt idx="16239">
                  <c:v>0</c:v>
                </c:pt>
                <c:pt idx="16240">
                  <c:v>0</c:v>
                </c:pt>
                <c:pt idx="16241">
                  <c:v>2</c:v>
                </c:pt>
                <c:pt idx="16242">
                  <c:v>3</c:v>
                </c:pt>
                <c:pt idx="16243">
                  <c:v>0</c:v>
                </c:pt>
                <c:pt idx="16244">
                  <c:v>0</c:v>
                </c:pt>
                <c:pt idx="16245">
                  <c:v>0</c:v>
                </c:pt>
                <c:pt idx="16246">
                  <c:v>0</c:v>
                </c:pt>
                <c:pt idx="16247">
                  <c:v>0</c:v>
                </c:pt>
                <c:pt idx="16248">
                  <c:v>0</c:v>
                </c:pt>
                <c:pt idx="16249">
                  <c:v>0</c:v>
                </c:pt>
                <c:pt idx="16250">
                  <c:v>0</c:v>
                </c:pt>
                <c:pt idx="16251">
                  <c:v>0</c:v>
                </c:pt>
                <c:pt idx="16252">
                  <c:v>0</c:v>
                </c:pt>
                <c:pt idx="16253">
                  <c:v>0</c:v>
                </c:pt>
                <c:pt idx="16254">
                  <c:v>0</c:v>
                </c:pt>
                <c:pt idx="16255">
                  <c:v>0</c:v>
                </c:pt>
                <c:pt idx="16256">
                  <c:v>0</c:v>
                </c:pt>
                <c:pt idx="16257">
                  <c:v>0</c:v>
                </c:pt>
                <c:pt idx="16258">
                  <c:v>0</c:v>
                </c:pt>
                <c:pt idx="16259">
                  <c:v>0</c:v>
                </c:pt>
                <c:pt idx="16260">
                  <c:v>0</c:v>
                </c:pt>
                <c:pt idx="16261">
                  <c:v>0</c:v>
                </c:pt>
                <c:pt idx="16262">
                  <c:v>0</c:v>
                </c:pt>
                <c:pt idx="16263">
                  <c:v>0</c:v>
                </c:pt>
                <c:pt idx="16264">
                  <c:v>0</c:v>
                </c:pt>
                <c:pt idx="16265">
                  <c:v>0</c:v>
                </c:pt>
                <c:pt idx="16266">
                  <c:v>0</c:v>
                </c:pt>
                <c:pt idx="16267">
                  <c:v>0</c:v>
                </c:pt>
                <c:pt idx="16268">
                  <c:v>0</c:v>
                </c:pt>
                <c:pt idx="16269">
                  <c:v>0</c:v>
                </c:pt>
                <c:pt idx="16270">
                  <c:v>0</c:v>
                </c:pt>
                <c:pt idx="16271">
                  <c:v>0</c:v>
                </c:pt>
                <c:pt idx="16272">
                  <c:v>0</c:v>
                </c:pt>
                <c:pt idx="16273">
                  <c:v>0</c:v>
                </c:pt>
                <c:pt idx="16274">
                  <c:v>0</c:v>
                </c:pt>
                <c:pt idx="16275">
                  <c:v>0</c:v>
                </c:pt>
                <c:pt idx="16276">
                  <c:v>0</c:v>
                </c:pt>
                <c:pt idx="16277">
                  <c:v>0</c:v>
                </c:pt>
                <c:pt idx="16278">
                  <c:v>0</c:v>
                </c:pt>
                <c:pt idx="16279">
                  <c:v>0</c:v>
                </c:pt>
                <c:pt idx="16280">
                  <c:v>0</c:v>
                </c:pt>
                <c:pt idx="16281">
                  <c:v>0</c:v>
                </c:pt>
                <c:pt idx="16282">
                  <c:v>0</c:v>
                </c:pt>
                <c:pt idx="16283">
                  <c:v>0</c:v>
                </c:pt>
                <c:pt idx="16284">
                  <c:v>0</c:v>
                </c:pt>
                <c:pt idx="16285">
                  <c:v>0</c:v>
                </c:pt>
                <c:pt idx="16286">
                  <c:v>0</c:v>
                </c:pt>
                <c:pt idx="16287">
                  <c:v>0</c:v>
                </c:pt>
                <c:pt idx="16288">
                  <c:v>0</c:v>
                </c:pt>
                <c:pt idx="16289">
                  <c:v>0</c:v>
                </c:pt>
                <c:pt idx="16290">
                  <c:v>0</c:v>
                </c:pt>
                <c:pt idx="16291">
                  <c:v>0</c:v>
                </c:pt>
                <c:pt idx="16292">
                  <c:v>0</c:v>
                </c:pt>
                <c:pt idx="16293">
                  <c:v>0</c:v>
                </c:pt>
                <c:pt idx="16294">
                  <c:v>0</c:v>
                </c:pt>
                <c:pt idx="16295">
                  <c:v>0</c:v>
                </c:pt>
                <c:pt idx="16296">
                  <c:v>0</c:v>
                </c:pt>
                <c:pt idx="16297">
                  <c:v>0</c:v>
                </c:pt>
                <c:pt idx="16298">
                  <c:v>0</c:v>
                </c:pt>
                <c:pt idx="16299">
                  <c:v>0</c:v>
                </c:pt>
                <c:pt idx="16300">
                  <c:v>0</c:v>
                </c:pt>
                <c:pt idx="16301">
                  <c:v>1</c:v>
                </c:pt>
                <c:pt idx="16302">
                  <c:v>0</c:v>
                </c:pt>
                <c:pt idx="16303">
                  <c:v>0</c:v>
                </c:pt>
                <c:pt idx="16304">
                  <c:v>0</c:v>
                </c:pt>
                <c:pt idx="16305">
                  <c:v>0</c:v>
                </c:pt>
                <c:pt idx="16306">
                  <c:v>0</c:v>
                </c:pt>
                <c:pt idx="16307">
                  <c:v>0</c:v>
                </c:pt>
                <c:pt idx="16308">
                  <c:v>0</c:v>
                </c:pt>
                <c:pt idx="16309">
                  <c:v>0</c:v>
                </c:pt>
                <c:pt idx="16310">
                  <c:v>0</c:v>
                </c:pt>
                <c:pt idx="16311">
                  <c:v>0</c:v>
                </c:pt>
                <c:pt idx="16312">
                  <c:v>0</c:v>
                </c:pt>
                <c:pt idx="16313">
                  <c:v>0</c:v>
                </c:pt>
                <c:pt idx="16314">
                  <c:v>0</c:v>
                </c:pt>
                <c:pt idx="16315">
                  <c:v>0</c:v>
                </c:pt>
                <c:pt idx="16316">
                  <c:v>0</c:v>
                </c:pt>
                <c:pt idx="16317">
                  <c:v>0</c:v>
                </c:pt>
                <c:pt idx="16318">
                  <c:v>0</c:v>
                </c:pt>
                <c:pt idx="16319">
                  <c:v>0</c:v>
                </c:pt>
                <c:pt idx="16320">
                  <c:v>0</c:v>
                </c:pt>
                <c:pt idx="16321">
                  <c:v>0</c:v>
                </c:pt>
                <c:pt idx="16322">
                  <c:v>0</c:v>
                </c:pt>
                <c:pt idx="16323">
                  <c:v>0</c:v>
                </c:pt>
                <c:pt idx="16324">
                  <c:v>0</c:v>
                </c:pt>
                <c:pt idx="16325">
                  <c:v>0</c:v>
                </c:pt>
                <c:pt idx="16326">
                  <c:v>0</c:v>
                </c:pt>
                <c:pt idx="16327">
                  <c:v>0</c:v>
                </c:pt>
                <c:pt idx="16328">
                  <c:v>0</c:v>
                </c:pt>
                <c:pt idx="16329">
                  <c:v>0</c:v>
                </c:pt>
                <c:pt idx="16330">
                  <c:v>0</c:v>
                </c:pt>
                <c:pt idx="16331">
                  <c:v>0</c:v>
                </c:pt>
                <c:pt idx="16332">
                  <c:v>0</c:v>
                </c:pt>
                <c:pt idx="16333">
                  <c:v>0</c:v>
                </c:pt>
                <c:pt idx="16334">
                  <c:v>2</c:v>
                </c:pt>
                <c:pt idx="16335">
                  <c:v>0</c:v>
                </c:pt>
                <c:pt idx="16336">
                  <c:v>0</c:v>
                </c:pt>
                <c:pt idx="16337">
                  <c:v>0</c:v>
                </c:pt>
                <c:pt idx="16338">
                  <c:v>0</c:v>
                </c:pt>
                <c:pt idx="16339">
                  <c:v>0</c:v>
                </c:pt>
                <c:pt idx="16340">
                  <c:v>0</c:v>
                </c:pt>
                <c:pt idx="16341">
                  <c:v>0</c:v>
                </c:pt>
                <c:pt idx="16342">
                  <c:v>0</c:v>
                </c:pt>
                <c:pt idx="16343">
                  <c:v>0</c:v>
                </c:pt>
                <c:pt idx="16344">
                  <c:v>1</c:v>
                </c:pt>
                <c:pt idx="16345">
                  <c:v>0</c:v>
                </c:pt>
                <c:pt idx="16346">
                  <c:v>0</c:v>
                </c:pt>
                <c:pt idx="16347">
                  <c:v>0</c:v>
                </c:pt>
                <c:pt idx="16348">
                  <c:v>0</c:v>
                </c:pt>
                <c:pt idx="16349">
                  <c:v>0</c:v>
                </c:pt>
                <c:pt idx="16350">
                  <c:v>0</c:v>
                </c:pt>
                <c:pt idx="16351">
                  <c:v>0</c:v>
                </c:pt>
                <c:pt idx="16352">
                  <c:v>4</c:v>
                </c:pt>
                <c:pt idx="16353">
                  <c:v>3</c:v>
                </c:pt>
                <c:pt idx="16354">
                  <c:v>0</c:v>
                </c:pt>
                <c:pt idx="16355">
                  <c:v>0</c:v>
                </c:pt>
                <c:pt idx="16356">
                  <c:v>0</c:v>
                </c:pt>
                <c:pt idx="16357">
                  <c:v>0</c:v>
                </c:pt>
                <c:pt idx="16358">
                  <c:v>0</c:v>
                </c:pt>
                <c:pt idx="16359">
                  <c:v>0</c:v>
                </c:pt>
                <c:pt idx="16360">
                  <c:v>0</c:v>
                </c:pt>
                <c:pt idx="16361">
                  <c:v>0</c:v>
                </c:pt>
                <c:pt idx="16362">
                  <c:v>0</c:v>
                </c:pt>
                <c:pt idx="16363">
                  <c:v>0</c:v>
                </c:pt>
                <c:pt idx="16364">
                  <c:v>0</c:v>
                </c:pt>
                <c:pt idx="16365">
                  <c:v>0</c:v>
                </c:pt>
                <c:pt idx="16366">
                  <c:v>0</c:v>
                </c:pt>
                <c:pt idx="16367">
                  <c:v>0</c:v>
                </c:pt>
                <c:pt idx="16368">
                  <c:v>0</c:v>
                </c:pt>
                <c:pt idx="16369">
                  <c:v>0</c:v>
                </c:pt>
                <c:pt idx="16370">
                  <c:v>0</c:v>
                </c:pt>
                <c:pt idx="16371">
                  <c:v>0</c:v>
                </c:pt>
                <c:pt idx="16372">
                  <c:v>0</c:v>
                </c:pt>
                <c:pt idx="16373">
                  <c:v>0</c:v>
                </c:pt>
                <c:pt idx="16374">
                  <c:v>0</c:v>
                </c:pt>
                <c:pt idx="16375">
                  <c:v>0</c:v>
                </c:pt>
                <c:pt idx="16376">
                  <c:v>0</c:v>
                </c:pt>
                <c:pt idx="16377">
                  <c:v>0</c:v>
                </c:pt>
                <c:pt idx="16378">
                  <c:v>0</c:v>
                </c:pt>
                <c:pt idx="16379">
                  <c:v>0</c:v>
                </c:pt>
                <c:pt idx="16380">
                  <c:v>0</c:v>
                </c:pt>
                <c:pt idx="16381">
                  <c:v>0</c:v>
                </c:pt>
                <c:pt idx="16382">
                  <c:v>1</c:v>
                </c:pt>
                <c:pt idx="16383">
                  <c:v>0</c:v>
                </c:pt>
                <c:pt idx="16384">
                  <c:v>0</c:v>
                </c:pt>
                <c:pt idx="16385">
                  <c:v>0</c:v>
                </c:pt>
                <c:pt idx="16386">
                  <c:v>0</c:v>
                </c:pt>
                <c:pt idx="16387">
                  <c:v>0</c:v>
                </c:pt>
                <c:pt idx="16388">
                  <c:v>0</c:v>
                </c:pt>
                <c:pt idx="16389">
                  <c:v>0</c:v>
                </c:pt>
                <c:pt idx="16390">
                  <c:v>0</c:v>
                </c:pt>
                <c:pt idx="16391">
                  <c:v>0</c:v>
                </c:pt>
                <c:pt idx="16392">
                  <c:v>0</c:v>
                </c:pt>
                <c:pt idx="16393">
                  <c:v>0</c:v>
                </c:pt>
                <c:pt idx="16394">
                  <c:v>0</c:v>
                </c:pt>
                <c:pt idx="16395">
                  <c:v>0</c:v>
                </c:pt>
                <c:pt idx="16396">
                  <c:v>0</c:v>
                </c:pt>
                <c:pt idx="16397">
                  <c:v>0</c:v>
                </c:pt>
                <c:pt idx="16398">
                  <c:v>0</c:v>
                </c:pt>
                <c:pt idx="16399">
                  <c:v>0</c:v>
                </c:pt>
                <c:pt idx="16400">
                  <c:v>0</c:v>
                </c:pt>
                <c:pt idx="16401">
                  <c:v>0</c:v>
                </c:pt>
                <c:pt idx="16402">
                  <c:v>0</c:v>
                </c:pt>
                <c:pt idx="16403">
                  <c:v>0</c:v>
                </c:pt>
                <c:pt idx="16404">
                  <c:v>0</c:v>
                </c:pt>
                <c:pt idx="16405">
                  <c:v>0</c:v>
                </c:pt>
                <c:pt idx="16406">
                  <c:v>0</c:v>
                </c:pt>
                <c:pt idx="16407">
                  <c:v>0</c:v>
                </c:pt>
                <c:pt idx="16408">
                  <c:v>0</c:v>
                </c:pt>
                <c:pt idx="16409">
                  <c:v>0</c:v>
                </c:pt>
                <c:pt idx="16410">
                  <c:v>0</c:v>
                </c:pt>
                <c:pt idx="16411">
                  <c:v>0</c:v>
                </c:pt>
                <c:pt idx="16412">
                  <c:v>0</c:v>
                </c:pt>
                <c:pt idx="16413">
                  <c:v>0</c:v>
                </c:pt>
                <c:pt idx="16414">
                  <c:v>0</c:v>
                </c:pt>
                <c:pt idx="16415">
                  <c:v>0</c:v>
                </c:pt>
                <c:pt idx="16416">
                  <c:v>0</c:v>
                </c:pt>
                <c:pt idx="16417">
                  <c:v>0</c:v>
                </c:pt>
                <c:pt idx="16418">
                  <c:v>0</c:v>
                </c:pt>
                <c:pt idx="16419">
                  <c:v>0</c:v>
                </c:pt>
                <c:pt idx="16420">
                  <c:v>0</c:v>
                </c:pt>
                <c:pt idx="16421">
                  <c:v>0</c:v>
                </c:pt>
                <c:pt idx="16422">
                  <c:v>0</c:v>
                </c:pt>
                <c:pt idx="16423">
                  <c:v>0</c:v>
                </c:pt>
                <c:pt idx="16424">
                  <c:v>0</c:v>
                </c:pt>
                <c:pt idx="16425">
                  <c:v>0</c:v>
                </c:pt>
                <c:pt idx="16426">
                  <c:v>0</c:v>
                </c:pt>
                <c:pt idx="16427">
                  <c:v>0</c:v>
                </c:pt>
                <c:pt idx="16428">
                  <c:v>0</c:v>
                </c:pt>
                <c:pt idx="16429">
                  <c:v>0</c:v>
                </c:pt>
                <c:pt idx="16430">
                  <c:v>0</c:v>
                </c:pt>
                <c:pt idx="16431">
                  <c:v>0</c:v>
                </c:pt>
                <c:pt idx="16432">
                  <c:v>0</c:v>
                </c:pt>
                <c:pt idx="16433">
                  <c:v>0</c:v>
                </c:pt>
                <c:pt idx="16434">
                  <c:v>0</c:v>
                </c:pt>
                <c:pt idx="16435">
                  <c:v>0</c:v>
                </c:pt>
                <c:pt idx="16436">
                  <c:v>0</c:v>
                </c:pt>
                <c:pt idx="16437">
                  <c:v>0</c:v>
                </c:pt>
                <c:pt idx="16438">
                  <c:v>0</c:v>
                </c:pt>
                <c:pt idx="16439">
                  <c:v>0</c:v>
                </c:pt>
                <c:pt idx="16440">
                  <c:v>0</c:v>
                </c:pt>
                <c:pt idx="16441">
                  <c:v>0</c:v>
                </c:pt>
                <c:pt idx="16442">
                  <c:v>0</c:v>
                </c:pt>
                <c:pt idx="16443">
                  <c:v>0</c:v>
                </c:pt>
                <c:pt idx="16444">
                  <c:v>0</c:v>
                </c:pt>
                <c:pt idx="16445">
                  <c:v>0</c:v>
                </c:pt>
                <c:pt idx="16446">
                  <c:v>0</c:v>
                </c:pt>
                <c:pt idx="16447">
                  <c:v>0</c:v>
                </c:pt>
                <c:pt idx="16448">
                  <c:v>0</c:v>
                </c:pt>
                <c:pt idx="16449">
                  <c:v>0</c:v>
                </c:pt>
                <c:pt idx="16450">
                  <c:v>0</c:v>
                </c:pt>
                <c:pt idx="16451">
                  <c:v>0</c:v>
                </c:pt>
                <c:pt idx="16452">
                  <c:v>0</c:v>
                </c:pt>
                <c:pt idx="16453">
                  <c:v>0</c:v>
                </c:pt>
                <c:pt idx="16454">
                  <c:v>0</c:v>
                </c:pt>
                <c:pt idx="16455">
                  <c:v>0</c:v>
                </c:pt>
                <c:pt idx="16456">
                  <c:v>0</c:v>
                </c:pt>
                <c:pt idx="16457">
                  <c:v>0</c:v>
                </c:pt>
                <c:pt idx="16458">
                  <c:v>0</c:v>
                </c:pt>
                <c:pt idx="16459">
                  <c:v>0</c:v>
                </c:pt>
                <c:pt idx="16460">
                  <c:v>0</c:v>
                </c:pt>
                <c:pt idx="16461">
                  <c:v>1</c:v>
                </c:pt>
                <c:pt idx="16462">
                  <c:v>0</c:v>
                </c:pt>
                <c:pt idx="16463">
                  <c:v>3</c:v>
                </c:pt>
                <c:pt idx="16464">
                  <c:v>0</c:v>
                </c:pt>
                <c:pt idx="16465">
                  <c:v>0</c:v>
                </c:pt>
                <c:pt idx="16466">
                  <c:v>2</c:v>
                </c:pt>
                <c:pt idx="16467">
                  <c:v>2</c:v>
                </c:pt>
                <c:pt idx="16468">
                  <c:v>3</c:v>
                </c:pt>
                <c:pt idx="16469">
                  <c:v>0</c:v>
                </c:pt>
                <c:pt idx="16470">
                  <c:v>0</c:v>
                </c:pt>
                <c:pt idx="16471">
                  <c:v>0</c:v>
                </c:pt>
                <c:pt idx="16472">
                  <c:v>0</c:v>
                </c:pt>
                <c:pt idx="16473">
                  <c:v>0</c:v>
                </c:pt>
                <c:pt idx="16474">
                  <c:v>0</c:v>
                </c:pt>
                <c:pt idx="16475">
                  <c:v>0</c:v>
                </c:pt>
                <c:pt idx="16476">
                  <c:v>0</c:v>
                </c:pt>
                <c:pt idx="16477">
                  <c:v>0</c:v>
                </c:pt>
                <c:pt idx="16478">
                  <c:v>0</c:v>
                </c:pt>
                <c:pt idx="16479">
                  <c:v>1</c:v>
                </c:pt>
                <c:pt idx="16480">
                  <c:v>3</c:v>
                </c:pt>
                <c:pt idx="16481">
                  <c:v>0</c:v>
                </c:pt>
                <c:pt idx="16482">
                  <c:v>0</c:v>
                </c:pt>
                <c:pt idx="16483">
                  <c:v>0</c:v>
                </c:pt>
                <c:pt idx="16484">
                  <c:v>0</c:v>
                </c:pt>
                <c:pt idx="16485">
                  <c:v>0</c:v>
                </c:pt>
                <c:pt idx="16486">
                  <c:v>0</c:v>
                </c:pt>
                <c:pt idx="16487">
                  <c:v>0</c:v>
                </c:pt>
                <c:pt idx="16488">
                  <c:v>0</c:v>
                </c:pt>
                <c:pt idx="16489">
                  <c:v>0</c:v>
                </c:pt>
                <c:pt idx="16490">
                  <c:v>0</c:v>
                </c:pt>
                <c:pt idx="16491">
                  <c:v>0</c:v>
                </c:pt>
                <c:pt idx="16492">
                  <c:v>1</c:v>
                </c:pt>
                <c:pt idx="16493">
                  <c:v>0</c:v>
                </c:pt>
                <c:pt idx="16494">
                  <c:v>0</c:v>
                </c:pt>
                <c:pt idx="16495">
                  <c:v>0</c:v>
                </c:pt>
                <c:pt idx="16496">
                  <c:v>0</c:v>
                </c:pt>
                <c:pt idx="16497">
                  <c:v>0</c:v>
                </c:pt>
                <c:pt idx="16498">
                  <c:v>0</c:v>
                </c:pt>
                <c:pt idx="16499">
                  <c:v>0</c:v>
                </c:pt>
                <c:pt idx="16500">
                  <c:v>0</c:v>
                </c:pt>
                <c:pt idx="16501">
                  <c:v>0</c:v>
                </c:pt>
                <c:pt idx="16502">
                  <c:v>0</c:v>
                </c:pt>
                <c:pt idx="16503">
                  <c:v>0</c:v>
                </c:pt>
                <c:pt idx="16504">
                  <c:v>0</c:v>
                </c:pt>
                <c:pt idx="16505">
                  <c:v>0</c:v>
                </c:pt>
                <c:pt idx="16506">
                  <c:v>0</c:v>
                </c:pt>
                <c:pt idx="16507">
                  <c:v>0</c:v>
                </c:pt>
                <c:pt idx="16508">
                  <c:v>0</c:v>
                </c:pt>
                <c:pt idx="16509">
                  <c:v>0</c:v>
                </c:pt>
                <c:pt idx="16510">
                  <c:v>0</c:v>
                </c:pt>
                <c:pt idx="16511">
                  <c:v>0</c:v>
                </c:pt>
                <c:pt idx="16512">
                  <c:v>0</c:v>
                </c:pt>
                <c:pt idx="16513">
                  <c:v>0</c:v>
                </c:pt>
                <c:pt idx="16514">
                  <c:v>0</c:v>
                </c:pt>
                <c:pt idx="16515">
                  <c:v>0</c:v>
                </c:pt>
                <c:pt idx="16516">
                  <c:v>0</c:v>
                </c:pt>
                <c:pt idx="16517">
                  <c:v>0</c:v>
                </c:pt>
                <c:pt idx="16518">
                  <c:v>0</c:v>
                </c:pt>
                <c:pt idx="16519">
                  <c:v>1</c:v>
                </c:pt>
                <c:pt idx="16520">
                  <c:v>0</c:v>
                </c:pt>
                <c:pt idx="16521">
                  <c:v>0</c:v>
                </c:pt>
                <c:pt idx="16522">
                  <c:v>0</c:v>
                </c:pt>
                <c:pt idx="16523">
                  <c:v>0</c:v>
                </c:pt>
                <c:pt idx="16524">
                  <c:v>1</c:v>
                </c:pt>
                <c:pt idx="16525">
                  <c:v>3</c:v>
                </c:pt>
                <c:pt idx="16526">
                  <c:v>0</c:v>
                </c:pt>
                <c:pt idx="16527">
                  <c:v>0</c:v>
                </c:pt>
                <c:pt idx="16528">
                  <c:v>0</c:v>
                </c:pt>
                <c:pt idx="16529">
                  <c:v>0</c:v>
                </c:pt>
                <c:pt idx="16530">
                  <c:v>0</c:v>
                </c:pt>
                <c:pt idx="16531">
                  <c:v>0</c:v>
                </c:pt>
                <c:pt idx="16532">
                  <c:v>3</c:v>
                </c:pt>
                <c:pt idx="16533">
                  <c:v>0</c:v>
                </c:pt>
                <c:pt idx="16534">
                  <c:v>0</c:v>
                </c:pt>
                <c:pt idx="16535">
                  <c:v>0</c:v>
                </c:pt>
                <c:pt idx="16536">
                  <c:v>0</c:v>
                </c:pt>
                <c:pt idx="16537">
                  <c:v>0</c:v>
                </c:pt>
                <c:pt idx="16538">
                  <c:v>0</c:v>
                </c:pt>
                <c:pt idx="16539">
                  <c:v>0</c:v>
                </c:pt>
                <c:pt idx="16540">
                  <c:v>0</c:v>
                </c:pt>
                <c:pt idx="16541">
                  <c:v>0</c:v>
                </c:pt>
                <c:pt idx="16542">
                  <c:v>0</c:v>
                </c:pt>
                <c:pt idx="16543">
                  <c:v>0</c:v>
                </c:pt>
                <c:pt idx="16544">
                  <c:v>0</c:v>
                </c:pt>
                <c:pt idx="16545">
                  <c:v>2</c:v>
                </c:pt>
                <c:pt idx="16546">
                  <c:v>0</c:v>
                </c:pt>
                <c:pt idx="16547">
                  <c:v>2</c:v>
                </c:pt>
                <c:pt idx="16548">
                  <c:v>0</c:v>
                </c:pt>
                <c:pt idx="16549">
                  <c:v>0</c:v>
                </c:pt>
                <c:pt idx="16550">
                  <c:v>0</c:v>
                </c:pt>
                <c:pt idx="16551">
                  <c:v>0</c:v>
                </c:pt>
                <c:pt idx="16552">
                  <c:v>0</c:v>
                </c:pt>
                <c:pt idx="16553">
                  <c:v>0</c:v>
                </c:pt>
                <c:pt idx="16554">
                  <c:v>0</c:v>
                </c:pt>
                <c:pt idx="16555">
                  <c:v>0</c:v>
                </c:pt>
                <c:pt idx="16556">
                  <c:v>0</c:v>
                </c:pt>
                <c:pt idx="16557">
                  <c:v>0</c:v>
                </c:pt>
                <c:pt idx="16558">
                  <c:v>2</c:v>
                </c:pt>
                <c:pt idx="16559">
                  <c:v>3</c:v>
                </c:pt>
                <c:pt idx="16560">
                  <c:v>0</c:v>
                </c:pt>
                <c:pt idx="16561">
                  <c:v>0</c:v>
                </c:pt>
                <c:pt idx="16562">
                  <c:v>1</c:v>
                </c:pt>
                <c:pt idx="16563">
                  <c:v>1</c:v>
                </c:pt>
                <c:pt idx="16564">
                  <c:v>0</c:v>
                </c:pt>
                <c:pt idx="16565">
                  <c:v>0</c:v>
                </c:pt>
                <c:pt idx="16566">
                  <c:v>0</c:v>
                </c:pt>
                <c:pt idx="16567">
                  <c:v>0</c:v>
                </c:pt>
                <c:pt idx="16568">
                  <c:v>0</c:v>
                </c:pt>
                <c:pt idx="16569">
                  <c:v>0</c:v>
                </c:pt>
                <c:pt idx="16570">
                  <c:v>0</c:v>
                </c:pt>
                <c:pt idx="16571">
                  <c:v>0</c:v>
                </c:pt>
                <c:pt idx="16572">
                  <c:v>1</c:v>
                </c:pt>
                <c:pt idx="16573">
                  <c:v>0</c:v>
                </c:pt>
                <c:pt idx="16574">
                  <c:v>0</c:v>
                </c:pt>
                <c:pt idx="16575">
                  <c:v>3</c:v>
                </c:pt>
                <c:pt idx="16576">
                  <c:v>0</c:v>
                </c:pt>
                <c:pt idx="16577">
                  <c:v>0</c:v>
                </c:pt>
                <c:pt idx="16578">
                  <c:v>0</c:v>
                </c:pt>
                <c:pt idx="16579">
                  <c:v>0</c:v>
                </c:pt>
                <c:pt idx="16580">
                  <c:v>0</c:v>
                </c:pt>
                <c:pt idx="16581">
                  <c:v>0</c:v>
                </c:pt>
                <c:pt idx="16582">
                  <c:v>0</c:v>
                </c:pt>
                <c:pt idx="16583">
                  <c:v>0</c:v>
                </c:pt>
                <c:pt idx="16584">
                  <c:v>0</c:v>
                </c:pt>
                <c:pt idx="16585">
                  <c:v>0</c:v>
                </c:pt>
                <c:pt idx="16586">
                  <c:v>6</c:v>
                </c:pt>
                <c:pt idx="16587">
                  <c:v>2</c:v>
                </c:pt>
                <c:pt idx="16588">
                  <c:v>1</c:v>
                </c:pt>
                <c:pt idx="16589">
                  <c:v>1</c:v>
                </c:pt>
                <c:pt idx="16590">
                  <c:v>0</c:v>
                </c:pt>
                <c:pt idx="16591">
                  <c:v>5</c:v>
                </c:pt>
                <c:pt idx="16592">
                  <c:v>2</c:v>
                </c:pt>
                <c:pt idx="16593">
                  <c:v>0</c:v>
                </c:pt>
                <c:pt idx="16594">
                  <c:v>4</c:v>
                </c:pt>
                <c:pt idx="16595">
                  <c:v>0</c:v>
                </c:pt>
                <c:pt idx="16596">
                  <c:v>0</c:v>
                </c:pt>
                <c:pt idx="16597">
                  <c:v>2</c:v>
                </c:pt>
                <c:pt idx="16598">
                  <c:v>0</c:v>
                </c:pt>
                <c:pt idx="16599">
                  <c:v>3</c:v>
                </c:pt>
                <c:pt idx="16600">
                  <c:v>1</c:v>
                </c:pt>
                <c:pt idx="16601">
                  <c:v>0</c:v>
                </c:pt>
                <c:pt idx="16602">
                  <c:v>2</c:v>
                </c:pt>
                <c:pt idx="16603">
                  <c:v>5</c:v>
                </c:pt>
                <c:pt idx="16604">
                  <c:v>0</c:v>
                </c:pt>
                <c:pt idx="16605">
                  <c:v>3</c:v>
                </c:pt>
                <c:pt idx="16606">
                  <c:v>5</c:v>
                </c:pt>
                <c:pt idx="16607">
                  <c:v>2</c:v>
                </c:pt>
                <c:pt idx="16608">
                  <c:v>2</c:v>
                </c:pt>
                <c:pt idx="16609">
                  <c:v>4</c:v>
                </c:pt>
                <c:pt idx="16610">
                  <c:v>2</c:v>
                </c:pt>
                <c:pt idx="16611">
                  <c:v>0</c:v>
                </c:pt>
                <c:pt idx="16612">
                  <c:v>0</c:v>
                </c:pt>
                <c:pt idx="16613">
                  <c:v>1</c:v>
                </c:pt>
                <c:pt idx="16614">
                  <c:v>0</c:v>
                </c:pt>
                <c:pt idx="16615">
                  <c:v>0</c:v>
                </c:pt>
                <c:pt idx="16616">
                  <c:v>1</c:v>
                </c:pt>
                <c:pt idx="16617">
                  <c:v>3</c:v>
                </c:pt>
                <c:pt idx="16618">
                  <c:v>3</c:v>
                </c:pt>
                <c:pt idx="16619">
                  <c:v>0</c:v>
                </c:pt>
                <c:pt idx="16620">
                  <c:v>0</c:v>
                </c:pt>
                <c:pt idx="16621">
                  <c:v>0</c:v>
                </c:pt>
                <c:pt idx="16622">
                  <c:v>0</c:v>
                </c:pt>
                <c:pt idx="16623">
                  <c:v>3</c:v>
                </c:pt>
                <c:pt idx="16624">
                  <c:v>0</c:v>
                </c:pt>
                <c:pt idx="16625">
                  <c:v>1</c:v>
                </c:pt>
                <c:pt idx="16626">
                  <c:v>0</c:v>
                </c:pt>
                <c:pt idx="16627">
                  <c:v>0</c:v>
                </c:pt>
                <c:pt idx="16628">
                  <c:v>2</c:v>
                </c:pt>
                <c:pt idx="16629">
                  <c:v>2</c:v>
                </c:pt>
                <c:pt idx="16630">
                  <c:v>2</c:v>
                </c:pt>
                <c:pt idx="16631">
                  <c:v>0</c:v>
                </c:pt>
                <c:pt idx="16632">
                  <c:v>0</c:v>
                </c:pt>
                <c:pt idx="16633">
                  <c:v>0</c:v>
                </c:pt>
                <c:pt idx="16634">
                  <c:v>0</c:v>
                </c:pt>
                <c:pt idx="16635">
                  <c:v>0</c:v>
                </c:pt>
                <c:pt idx="16636">
                  <c:v>0</c:v>
                </c:pt>
                <c:pt idx="16637">
                  <c:v>0</c:v>
                </c:pt>
                <c:pt idx="16638">
                  <c:v>0</c:v>
                </c:pt>
                <c:pt idx="16639">
                  <c:v>0</c:v>
                </c:pt>
                <c:pt idx="16640">
                  <c:v>2</c:v>
                </c:pt>
                <c:pt idx="16641">
                  <c:v>1</c:v>
                </c:pt>
                <c:pt idx="16642">
                  <c:v>0</c:v>
                </c:pt>
                <c:pt idx="16643">
                  <c:v>0</c:v>
                </c:pt>
                <c:pt idx="16644">
                  <c:v>0</c:v>
                </c:pt>
                <c:pt idx="16645">
                  <c:v>0</c:v>
                </c:pt>
                <c:pt idx="16646">
                  <c:v>0</c:v>
                </c:pt>
                <c:pt idx="16647">
                  <c:v>2</c:v>
                </c:pt>
                <c:pt idx="16648">
                  <c:v>2</c:v>
                </c:pt>
                <c:pt idx="16649">
                  <c:v>0</c:v>
                </c:pt>
                <c:pt idx="16650">
                  <c:v>0</c:v>
                </c:pt>
                <c:pt idx="16651">
                  <c:v>2</c:v>
                </c:pt>
                <c:pt idx="16652">
                  <c:v>3</c:v>
                </c:pt>
                <c:pt idx="16653">
                  <c:v>1</c:v>
                </c:pt>
                <c:pt idx="16654">
                  <c:v>0</c:v>
                </c:pt>
                <c:pt idx="16655">
                  <c:v>0</c:v>
                </c:pt>
                <c:pt idx="16656">
                  <c:v>0</c:v>
                </c:pt>
                <c:pt idx="16657">
                  <c:v>1</c:v>
                </c:pt>
                <c:pt idx="16658">
                  <c:v>0</c:v>
                </c:pt>
                <c:pt idx="16659">
                  <c:v>0</c:v>
                </c:pt>
                <c:pt idx="16660">
                  <c:v>0</c:v>
                </c:pt>
                <c:pt idx="16661">
                  <c:v>0</c:v>
                </c:pt>
                <c:pt idx="16662">
                  <c:v>0</c:v>
                </c:pt>
                <c:pt idx="16663">
                  <c:v>0</c:v>
                </c:pt>
                <c:pt idx="16664">
                  <c:v>0</c:v>
                </c:pt>
                <c:pt idx="16665">
                  <c:v>0</c:v>
                </c:pt>
                <c:pt idx="16666">
                  <c:v>0</c:v>
                </c:pt>
                <c:pt idx="16667">
                  <c:v>1</c:v>
                </c:pt>
                <c:pt idx="16668">
                  <c:v>0</c:v>
                </c:pt>
                <c:pt idx="16669">
                  <c:v>0</c:v>
                </c:pt>
                <c:pt idx="16670">
                  <c:v>0</c:v>
                </c:pt>
                <c:pt idx="16671">
                  <c:v>0</c:v>
                </c:pt>
                <c:pt idx="16672">
                  <c:v>0</c:v>
                </c:pt>
                <c:pt idx="16673">
                  <c:v>3</c:v>
                </c:pt>
                <c:pt idx="16674">
                  <c:v>0</c:v>
                </c:pt>
                <c:pt idx="16675">
                  <c:v>0</c:v>
                </c:pt>
                <c:pt idx="16676">
                  <c:v>0</c:v>
                </c:pt>
                <c:pt idx="16677">
                  <c:v>0</c:v>
                </c:pt>
                <c:pt idx="16678">
                  <c:v>2</c:v>
                </c:pt>
                <c:pt idx="16679">
                  <c:v>0</c:v>
                </c:pt>
                <c:pt idx="16680">
                  <c:v>1</c:v>
                </c:pt>
                <c:pt idx="16681">
                  <c:v>4</c:v>
                </c:pt>
                <c:pt idx="16682">
                  <c:v>3</c:v>
                </c:pt>
                <c:pt idx="16683">
                  <c:v>0</c:v>
                </c:pt>
                <c:pt idx="16684">
                  <c:v>0</c:v>
                </c:pt>
                <c:pt idx="16685">
                  <c:v>0</c:v>
                </c:pt>
                <c:pt idx="16686">
                  <c:v>0</c:v>
                </c:pt>
                <c:pt idx="16687">
                  <c:v>0</c:v>
                </c:pt>
                <c:pt idx="16688">
                  <c:v>2</c:v>
                </c:pt>
                <c:pt idx="16689">
                  <c:v>0</c:v>
                </c:pt>
                <c:pt idx="16690">
                  <c:v>0</c:v>
                </c:pt>
                <c:pt idx="16691">
                  <c:v>0</c:v>
                </c:pt>
                <c:pt idx="16692">
                  <c:v>1</c:v>
                </c:pt>
                <c:pt idx="16693">
                  <c:v>0</c:v>
                </c:pt>
                <c:pt idx="16694">
                  <c:v>0</c:v>
                </c:pt>
                <c:pt idx="16695">
                  <c:v>0</c:v>
                </c:pt>
                <c:pt idx="16696">
                  <c:v>0</c:v>
                </c:pt>
                <c:pt idx="16697">
                  <c:v>4</c:v>
                </c:pt>
                <c:pt idx="16698">
                  <c:v>3</c:v>
                </c:pt>
                <c:pt idx="16699">
                  <c:v>0</c:v>
                </c:pt>
                <c:pt idx="16700">
                  <c:v>1</c:v>
                </c:pt>
                <c:pt idx="16701">
                  <c:v>2</c:v>
                </c:pt>
                <c:pt idx="16702">
                  <c:v>0</c:v>
                </c:pt>
                <c:pt idx="16703">
                  <c:v>2</c:v>
                </c:pt>
                <c:pt idx="16704">
                  <c:v>0</c:v>
                </c:pt>
                <c:pt idx="16705">
                  <c:v>1</c:v>
                </c:pt>
                <c:pt idx="16706">
                  <c:v>0</c:v>
                </c:pt>
                <c:pt idx="16707">
                  <c:v>0</c:v>
                </c:pt>
                <c:pt idx="16708">
                  <c:v>1</c:v>
                </c:pt>
                <c:pt idx="16709">
                  <c:v>6</c:v>
                </c:pt>
                <c:pt idx="16710">
                  <c:v>2</c:v>
                </c:pt>
                <c:pt idx="16711">
                  <c:v>3</c:v>
                </c:pt>
                <c:pt idx="16712">
                  <c:v>1</c:v>
                </c:pt>
                <c:pt idx="16713">
                  <c:v>1</c:v>
                </c:pt>
                <c:pt idx="16714">
                  <c:v>1</c:v>
                </c:pt>
                <c:pt idx="16715">
                  <c:v>1</c:v>
                </c:pt>
                <c:pt idx="16716">
                  <c:v>3</c:v>
                </c:pt>
                <c:pt idx="16717">
                  <c:v>2</c:v>
                </c:pt>
                <c:pt idx="16718">
                  <c:v>1</c:v>
                </c:pt>
                <c:pt idx="16719">
                  <c:v>3</c:v>
                </c:pt>
                <c:pt idx="16720">
                  <c:v>5</c:v>
                </c:pt>
                <c:pt idx="16721">
                  <c:v>0</c:v>
                </c:pt>
                <c:pt idx="16722">
                  <c:v>0</c:v>
                </c:pt>
                <c:pt idx="16723">
                  <c:v>3</c:v>
                </c:pt>
                <c:pt idx="16724">
                  <c:v>2</c:v>
                </c:pt>
                <c:pt idx="16725">
                  <c:v>1</c:v>
                </c:pt>
                <c:pt idx="16726">
                  <c:v>1</c:v>
                </c:pt>
                <c:pt idx="16727">
                  <c:v>1</c:v>
                </c:pt>
                <c:pt idx="16728">
                  <c:v>0</c:v>
                </c:pt>
                <c:pt idx="16729">
                  <c:v>2</c:v>
                </c:pt>
                <c:pt idx="16730">
                  <c:v>4</c:v>
                </c:pt>
                <c:pt idx="16731">
                  <c:v>2</c:v>
                </c:pt>
                <c:pt idx="16732">
                  <c:v>0</c:v>
                </c:pt>
                <c:pt idx="16733">
                  <c:v>3</c:v>
                </c:pt>
                <c:pt idx="16734">
                  <c:v>0</c:v>
                </c:pt>
                <c:pt idx="16735">
                  <c:v>3</c:v>
                </c:pt>
                <c:pt idx="16736">
                  <c:v>0</c:v>
                </c:pt>
                <c:pt idx="16737">
                  <c:v>2</c:v>
                </c:pt>
                <c:pt idx="16738">
                  <c:v>0</c:v>
                </c:pt>
                <c:pt idx="16739">
                  <c:v>5</c:v>
                </c:pt>
                <c:pt idx="16740">
                  <c:v>1</c:v>
                </c:pt>
                <c:pt idx="16741">
                  <c:v>2</c:v>
                </c:pt>
                <c:pt idx="16742">
                  <c:v>0</c:v>
                </c:pt>
                <c:pt idx="16743">
                  <c:v>2</c:v>
                </c:pt>
                <c:pt idx="16744">
                  <c:v>3</c:v>
                </c:pt>
                <c:pt idx="16745">
                  <c:v>0</c:v>
                </c:pt>
                <c:pt idx="16746">
                  <c:v>0</c:v>
                </c:pt>
                <c:pt idx="16747">
                  <c:v>0</c:v>
                </c:pt>
                <c:pt idx="16748">
                  <c:v>0</c:v>
                </c:pt>
                <c:pt idx="16749">
                  <c:v>0</c:v>
                </c:pt>
                <c:pt idx="16750">
                  <c:v>0</c:v>
                </c:pt>
                <c:pt idx="16751">
                  <c:v>0</c:v>
                </c:pt>
                <c:pt idx="16752">
                  <c:v>0</c:v>
                </c:pt>
                <c:pt idx="16753">
                  <c:v>0</c:v>
                </c:pt>
                <c:pt idx="16754">
                  <c:v>0</c:v>
                </c:pt>
                <c:pt idx="16755">
                  <c:v>0</c:v>
                </c:pt>
                <c:pt idx="16756">
                  <c:v>0</c:v>
                </c:pt>
                <c:pt idx="16757">
                  <c:v>0</c:v>
                </c:pt>
                <c:pt idx="16758">
                  <c:v>0</c:v>
                </c:pt>
                <c:pt idx="16759">
                  <c:v>0</c:v>
                </c:pt>
                <c:pt idx="16760">
                  <c:v>0</c:v>
                </c:pt>
                <c:pt idx="16761">
                  <c:v>0</c:v>
                </c:pt>
                <c:pt idx="16762">
                  <c:v>0</c:v>
                </c:pt>
                <c:pt idx="16763">
                  <c:v>0</c:v>
                </c:pt>
                <c:pt idx="16764">
                  <c:v>0</c:v>
                </c:pt>
                <c:pt idx="16765">
                  <c:v>0</c:v>
                </c:pt>
                <c:pt idx="16766">
                  <c:v>0</c:v>
                </c:pt>
                <c:pt idx="16767">
                  <c:v>0</c:v>
                </c:pt>
                <c:pt idx="16768">
                  <c:v>0</c:v>
                </c:pt>
                <c:pt idx="16769">
                  <c:v>0</c:v>
                </c:pt>
                <c:pt idx="16770">
                  <c:v>0</c:v>
                </c:pt>
                <c:pt idx="16771">
                  <c:v>0</c:v>
                </c:pt>
                <c:pt idx="16772">
                  <c:v>0</c:v>
                </c:pt>
                <c:pt idx="16773">
                  <c:v>0</c:v>
                </c:pt>
                <c:pt idx="16774">
                  <c:v>0</c:v>
                </c:pt>
                <c:pt idx="16775">
                  <c:v>0</c:v>
                </c:pt>
                <c:pt idx="16776">
                  <c:v>0</c:v>
                </c:pt>
                <c:pt idx="16777">
                  <c:v>0</c:v>
                </c:pt>
                <c:pt idx="16778">
                  <c:v>0</c:v>
                </c:pt>
                <c:pt idx="16779">
                  <c:v>0</c:v>
                </c:pt>
                <c:pt idx="16780">
                  <c:v>0</c:v>
                </c:pt>
                <c:pt idx="16781">
                  <c:v>0</c:v>
                </c:pt>
                <c:pt idx="16782">
                  <c:v>0</c:v>
                </c:pt>
                <c:pt idx="16783">
                  <c:v>0</c:v>
                </c:pt>
                <c:pt idx="16784">
                  <c:v>0</c:v>
                </c:pt>
                <c:pt idx="16785">
                  <c:v>0</c:v>
                </c:pt>
                <c:pt idx="16786">
                  <c:v>0</c:v>
                </c:pt>
                <c:pt idx="16787">
                  <c:v>0</c:v>
                </c:pt>
                <c:pt idx="16788">
                  <c:v>0</c:v>
                </c:pt>
                <c:pt idx="16789">
                  <c:v>1</c:v>
                </c:pt>
                <c:pt idx="16790">
                  <c:v>0</c:v>
                </c:pt>
                <c:pt idx="16791">
                  <c:v>0</c:v>
                </c:pt>
                <c:pt idx="16792">
                  <c:v>0</c:v>
                </c:pt>
                <c:pt idx="16793">
                  <c:v>0</c:v>
                </c:pt>
                <c:pt idx="16794">
                  <c:v>0</c:v>
                </c:pt>
                <c:pt idx="16795">
                  <c:v>0</c:v>
                </c:pt>
                <c:pt idx="16796">
                  <c:v>0</c:v>
                </c:pt>
                <c:pt idx="16797">
                  <c:v>0</c:v>
                </c:pt>
                <c:pt idx="16798">
                  <c:v>0</c:v>
                </c:pt>
                <c:pt idx="16799">
                  <c:v>0</c:v>
                </c:pt>
                <c:pt idx="16800">
                  <c:v>0</c:v>
                </c:pt>
                <c:pt idx="16801">
                  <c:v>0</c:v>
                </c:pt>
                <c:pt idx="16802">
                  <c:v>0</c:v>
                </c:pt>
                <c:pt idx="16803">
                  <c:v>0</c:v>
                </c:pt>
                <c:pt idx="16804">
                  <c:v>0</c:v>
                </c:pt>
                <c:pt idx="16805">
                  <c:v>0</c:v>
                </c:pt>
                <c:pt idx="16806">
                  <c:v>0</c:v>
                </c:pt>
                <c:pt idx="16807">
                  <c:v>0</c:v>
                </c:pt>
                <c:pt idx="16808">
                  <c:v>0</c:v>
                </c:pt>
                <c:pt idx="16809">
                  <c:v>0</c:v>
                </c:pt>
                <c:pt idx="16810">
                  <c:v>0</c:v>
                </c:pt>
                <c:pt idx="16811">
                  <c:v>0</c:v>
                </c:pt>
                <c:pt idx="16812">
                  <c:v>0</c:v>
                </c:pt>
                <c:pt idx="16813">
                  <c:v>0</c:v>
                </c:pt>
                <c:pt idx="16814">
                  <c:v>0</c:v>
                </c:pt>
                <c:pt idx="16815">
                  <c:v>0</c:v>
                </c:pt>
                <c:pt idx="16816">
                  <c:v>0</c:v>
                </c:pt>
                <c:pt idx="16817">
                  <c:v>0</c:v>
                </c:pt>
                <c:pt idx="16818">
                  <c:v>0</c:v>
                </c:pt>
                <c:pt idx="16819">
                  <c:v>0</c:v>
                </c:pt>
                <c:pt idx="16820">
                  <c:v>0</c:v>
                </c:pt>
                <c:pt idx="16821">
                  <c:v>0</c:v>
                </c:pt>
                <c:pt idx="16822">
                  <c:v>0</c:v>
                </c:pt>
                <c:pt idx="16823">
                  <c:v>0</c:v>
                </c:pt>
                <c:pt idx="16824">
                  <c:v>0</c:v>
                </c:pt>
                <c:pt idx="16825">
                  <c:v>0</c:v>
                </c:pt>
                <c:pt idx="16826">
                  <c:v>0</c:v>
                </c:pt>
                <c:pt idx="16827">
                  <c:v>0</c:v>
                </c:pt>
                <c:pt idx="16828">
                  <c:v>0</c:v>
                </c:pt>
                <c:pt idx="16829">
                  <c:v>0</c:v>
                </c:pt>
                <c:pt idx="16830">
                  <c:v>0</c:v>
                </c:pt>
                <c:pt idx="16831">
                  <c:v>0</c:v>
                </c:pt>
                <c:pt idx="16832">
                  <c:v>0</c:v>
                </c:pt>
                <c:pt idx="16833">
                  <c:v>2</c:v>
                </c:pt>
                <c:pt idx="16834">
                  <c:v>1</c:v>
                </c:pt>
                <c:pt idx="16835">
                  <c:v>3</c:v>
                </c:pt>
                <c:pt idx="16836">
                  <c:v>4</c:v>
                </c:pt>
                <c:pt idx="16837">
                  <c:v>2</c:v>
                </c:pt>
                <c:pt idx="16838">
                  <c:v>0</c:v>
                </c:pt>
                <c:pt idx="16839">
                  <c:v>0</c:v>
                </c:pt>
                <c:pt idx="16840">
                  <c:v>0</c:v>
                </c:pt>
                <c:pt idx="16841">
                  <c:v>0</c:v>
                </c:pt>
                <c:pt idx="16842">
                  <c:v>0</c:v>
                </c:pt>
                <c:pt idx="16843">
                  <c:v>0</c:v>
                </c:pt>
                <c:pt idx="16844">
                  <c:v>0</c:v>
                </c:pt>
                <c:pt idx="16845">
                  <c:v>0</c:v>
                </c:pt>
                <c:pt idx="16846">
                  <c:v>0</c:v>
                </c:pt>
                <c:pt idx="16847">
                  <c:v>0</c:v>
                </c:pt>
                <c:pt idx="16848">
                  <c:v>0</c:v>
                </c:pt>
                <c:pt idx="16849">
                  <c:v>0</c:v>
                </c:pt>
                <c:pt idx="16850">
                  <c:v>0</c:v>
                </c:pt>
                <c:pt idx="16851">
                  <c:v>0</c:v>
                </c:pt>
                <c:pt idx="16852">
                  <c:v>0</c:v>
                </c:pt>
                <c:pt idx="16853">
                  <c:v>0</c:v>
                </c:pt>
                <c:pt idx="16854">
                  <c:v>0</c:v>
                </c:pt>
                <c:pt idx="16855">
                  <c:v>0</c:v>
                </c:pt>
                <c:pt idx="16856">
                  <c:v>0</c:v>
                </c:pt>
                <c:pt idx="16857">
                  <c:v>0</c:v>
                </c:pt>
                <c:pt idx="16858">
                  <c:v>0</c:v>
                </c:pt>
                <c:pt idx="16859">
                  <c:v>0</c:v>
                </c:pt>
                <c:pt idx="16860">
                  <c:v>0</c:v>
                </c:pt>
                <c:pt idx="16861">
                  <c:v>0</c:v>
                </c:pt>
                <c:pt idx="16862">
                  <c:v>0</c:v>
                </c:pt>
                <c:pt idx="16863">
                  <c:v>0</c:v>
                </c:pt>
                <c:pt idx="16864">
                  <c:v>0</c:v>
                </c:pt>
                <c:pt idx="16865">
                  <c:v>0</c:v>
                </c:pt>
                <c:pt idx="16866">
                  <c:v>0</c:v>
                </c:pt>
                <c:pt idx="16867">
                  <c:v>0</c:v>
                </c:pt>
                <c:pt idx="16868">
                  <c:v>0</c:v>
                </c:pt>
                <c:pt idx="16869">
                  <c:v>0</c:v>
                </c:pt>
                <c:pt idx="16870">
                  <c:v>0</c:v>
                </c:pt>
                <c:pt idx="16871">
                  <c:v>0</c:v>
                </c:pt>
                <c:pt idx="16872">
                  <c:v>0</c:v>
                </c:pt>
                <c:pt idx="16873">
                  <c:v>0</c:v>
                </c:pt>
                <c:pt idx="16874">
                  <c:v>0</c:v>
                </c:pt>
                <c:pt idx="16875">
                  <c:v>0</c:v>
                </c:pt>
                <c:pt idx="16876">
                  <c:v>0</c:v>
                </c:pt>
                <c:pt idx="16877">
                  <c:v>0</c:v>
                </c:pt>
                <c:pt idx="16878">
                  <c:v>0</c:v>
                </c:pt>
                <c:pt idx="16879">
                  <c:v>0</c:v>
                </c:pt>
                <c:pt idx="16880">
                  <c:v>0</c:v>
                </c:pt>
                <c:pt idx="16881">
                  <c:v>0</c:v>
                </c:pt>
                <c:pt idx="16882">
                  <c:v>0</c:v>
                </c:pt>
                <c:pt idx="16883">
                  <c:v>0</c:v>
                </c:pt>
                <c:pt idx="16884">
                  <c:v>0</c:v>
                </c:pt>
                <c:pt idx="16885">
                  <c:v>0</c:v>
                </c:pt>
                <c:pt idx="16886">
                  <c:v>0</c:v>
                </c:pt>
                <c:pt idx="16887">
                  <c:v>0</c:v>
                </c:pt>
                <c:pt idx="16888">
                  <c:v>0</c:v>
                </c:pt>
                <c:pt idx="16889">
                  <c:v>0</c:v>
                </c:pt>
                <c:pt idx="16890">
                  <c:v>0</c:v>
                </c:pt>
                <c:pt idx="16891">
                  <c:v>0</c:v>
                </c:pt>
                <c:pt idx="16892">
                  <c:v>0</c:v>
                </c:pt>
                <c:pt idx="16893">
                  <c:v>0</c:v>
                </c:pt>
                <c:pt idx="16894">
                  <c:v>0</c:v>
                </c:pt>
                <c:pt idx="16895">
                  <c:v>0</c:v>
                </c:pt>
                <c:pt idx="16896">
                  <c:v>0</c:v>
                </c:pt>
                <c:pt idx="16897">
                  <c:v>0</c:v>
                </c:pt>
                <c:pt idx="16898">
                  <c:v>0</c:v>
                </c:pt>
                <c:pt idx="16899">
                  <c:v>0</c:v>
                </c:pt>
                <c:pt idx="16900">
                  <c:v>1</c:v>
                </c:pt>
                <c:pt idx="16901">
                  <c:v>0</c:v>
                </c:pt>
                <c:pt idx="16902">
                  <c:v>0</c:v>
                </c:pt>
                <c:pt idx="16903">
                  <c:v>0</c:v>
                </c:pt>
                <c:pt idx="16904">
                  <c:v>3</c:v>
                </c:pt>
                <c:pt idx="16905">
                  <c:v>0</c:v>
                </c:pt>
                <c:pt idx="16906">
                  <c:v>0</c:v>
                </c:pt>
                <c:pt idx="16907">
                  <c:v>0</c:v>
                </c:pt>
                <c:pt idx="16908">
                  <c:v>0</c:v>
                </c:pt>
                <c:pt idx="16909">
                  <c:v>0</c:v>
                </c:pt>
                <c:pt idx="16910">
                  <c:v>0</c:v>
                </c:pt>
                <c:pt idx="16911">
                  <c:v>0</c:v>
                </c:pt>
                <c:pt idx="16912">
                  <c:v>0</c:v>
                </c:pt>
                <c:pt idx="16913">
                  <c:v>0</c:v>
                </c:pt>
                <c:pt idx="16914">
                  <c:v>0</c:v>
                </c:pt>
                <c:pt idx="16915">
                  <c:v>0</c:v>
                </c:pt>
                <c:pt idx="16916">
                  <c:v>0</c:v>
                </c:pt>
                <c:pt idx="16917">
                  <c:v>0</c:v>
                </c:pt>
                <c:pt idx="16918">
                  <c:v>0</c:v>
                </c:pt>
                <c:pt idx="16919">
                  <c:v>0</c:v>
                </c:pt>
                <c:pt idx="16920">
                  <c:v>0</c:v>
                </c:pt>
                <c:pt idx="16921">
                  <c:v>0</c:v>
                </c:pt>
                <c:pt idx="16922">
                  <c:v>0</c:v>
                </c:pt>
                <c:pt idx="16923">
                  <c:v>0</c:v>
                </c:pt>
                <c:pt idx="16924">
                  <c:v>0</c:v>
                </c:pt>
                <c:pt idx="16925">
                  <c:v>0</c:v>
                </c:pt>
                <c:pt idx="16926">
                  <c:v>0</c:v>
                </c:pt>
                <c:pt idx="16927">
                  <c:v>0</c:v>
                </c:pt>
                <c:pt idx="16928">
                  <c:v>0</c:v>
                </c:pt>
                <c:pt idx="16929">
                  <c:v>0</c:v>
                </c:pt>
                <c:pt idx="16930">
                  <c:v>0</c:v>
                </c:pt>
                <c:pt idx="16931">
                  <c:v>0</c:v>
                </c:pt>
                <c:pt idx="16932">
                  <c:v>0</c:v>
                </c:pt>
                <c:pt idx="16933">
                  <c:v>0</c:v>
                </c:pt>
                <c:pt idx="16934">
                  <c:v>0</c:v>
                </c:pt>
                <c:pt idx="16935">
                  <c:v>0</c:v>
                </c:pt>
                <c:pt idx="16936">
                  <c:v>0</c:v>
                </c:pt>
                <c:pt idx="16937">
                  <c:v>0</c:v>
                </c:pt>
                <c:pt idx="16938">
                  <c:v>0</c:v>
                </c:pt>
                <c:pt idx="16939">
                  <c:v>0</c:v>
                </c:pt>
                <c:pt idx="16940">
                  <c:v>0</c:v>
                </c:pt>
                <c:pt idx="16941">
                  <c:v>0</c:v>
                </c:pt>
                <c:pt idx="16942">
                  <c:v>0</c:v>
                </c:pt>
                <c:pt idx="16943">
                  <c:v>0</c:v>
                </c:pt>
                <c:pt idx="16944">
                  <c:v>0</c:v>
                </c:pt>
                <c:pt idx="16945">
                  <c:v>0</c:v>
                </c:pt>
                <c:pt idx="16946">
                  <c:v>0</c:v>
                </c:pt>
                <c:pt idx="16947">
                  <c:v>0</c:v>
                </c:pt>
                <c:pt idx="16948">
                  <c:v>0</c:v>
                </c:pt>
                <c:pt idx="16949">
                  <c:v>0</c:v>
                </c:pt>
                <c:pt idx="16950">
                  <c:v>0</c:v>
                </c:pt>
                <c:pt idx="16951">
                  <c:v>0</c:v>
                </c:pt>
                <c:pt idx="16952">
                  <c:v>0</c:v>
                </c:pt>
                <c:pt idx="16953">
                  <c:v>0</c:v>
                </c:pt>
                <c:pt idx="16954">
                  <c:v>0</c:v>
                </c:pt>
                <c:pt idx="16955">
                  <c:v>0</c:v>
                </c:pt>
                <c:pt idx="16956">
                  <c:v>0</c:v>
                </c:pt>
                <c:pt idx="16957">
                  <c:v>0</c:v>
                </c:pt>
                <c:pt idx="16958">
                  <c:v>0</c:v>
                </c:pt>
                <c:pt idx="16959">
                  <c:v>0</c:v>
                </c:pt>
                <c:pt idx="16960">
                  <c:v>0</c:v>
                </c:pt>
                <c:pt idx="16961">
                  <c:v>1</c:v>
                </c:pt>
                <c:pt idx="16962">
                  <c:v>0</c:v>
                </c:pt>
                <c:pt idx="16963">
                  <c:v>0</c:v>
                </c:pt>
                <c:pt idx="16964">
                  <c:v>0</c:v>
                </c:pt>
                <c:pt idx="16965">
                  <c:v>0</c:v>
                </c:pt>
                <c:pt idx="16966">
                  <c:v>0</c:v>
                </c:pt>
                <c:pt idx="16967">
                  <c:v>0</c:v>
                </c:pt>
                <c:pt idx="16968">
                  <c:v>0</c:v>
                </c:pt>
                <c:pt idx="16969">
                  <c:v>0</c:v>
                </c:pt>
                <c:pt idx="16970">
                  <c:v>0</c:v>
                </c:pt>
                <c:pt idx="16971">
                  <c:v>0</c:v>
                </c:pt>
                <c:pt idx="16972">
                  <c:v>0</c:v>
                </c:pt>
                <c:pt idx="16973">
                  <c:v>0</c:v>
                </c:pt>
                <c:pt idx="16974">
                  <c:v>0</c:v>
                </c:pt>
                <c:pt idx="16975">
                  <c:v>0</c:v>
                </c:pt>
                <c:pt idx="16976">
                  <c:v>0</c:v>
                </c:pt>
                <c:pt idx="16977">
                  <c:v>0</c:v>
                </c:pt>
                <c:pt idx="16978">
                  <c:v>0</c:v>
                </c:pt>
                <c:pt idx="16979">
                  <c:v>0</c:v>
                </c:pt>
                <c:pt idx="16980">
                  <c:v>0</c:v>
                </c:pt>
                <c:pt idx="16981">
                  <c:v>0</c:v>
                </c:pt>
                <c:pt idx="16982">
                  <c:v>0</c:v>
                </c:pt>
                <c:pt idx="16983">
                  <c:v>0</c:v>
                </c:pt>
                <c:pt idx="16984">
                  <c:v>0</c:v>
                </c:pt>
                <c:pt idx="16985">
                  <c:v>0</c:v>
                </c:pt>
                <c:pt idx="16986">
                  <c:v>0</c:v>
                </c:pt>
                <c:pt idx="16987">
                  <c:v>0</c:v>
                </c:pt>
                <c:pt idx="16988">
                  <c:v>0</c:v>
                </c:pt>
                <c:pt idx="16989">
                  <c:v>0</c:v>
                </c:pt>
                <c:pt idx="16990">
                  <c:v>0</c:v>
                </c:pt>
                <c:pt idx="16991">
                  <c:v>0</c:v>
                </c:pt>
                <c:pt idx="16992">
                  <c:v>0</c:v>
                </c:pt>
                <c:pt idx="16993">
                  <c:v>0</c:v>
                </c:pt>
                <c:pt idx="16994">
                  <c:v>0</c:v>
                </c:pt>
                <c:pt idx="16995">
                  <c:v>0</c:v>
                </c:pt>
                <c:pt idx="16996">
                  <c:v>0</c:v>
                </c:pt>
                <c:pt idx="16997">
                  <c:v>0</c:v>
                </c:pt>
                <c:pt idx="16998">
                  <c:v>0</c:v>
                </c:pt>
                <c:pt idx="16999">
                  <c:v>0</c:v>
                </c:pt>
                <c:pt idx="17000">
                  <c:v>0</c:v>
                </c:pt>
                <c:pt idx="17001">
                  <c:v>0</c:v>
                </c:pt>
                <c:pt idx="17002">
                  <c:v>0</c:v>
                </c:pt>
                <c:pt idx="17003">
                  <c:v>0</c:v>
                </c:pt>
                <c:pt idx="17004">
                  <c:v>0</c:v>
                </c:pt>
                <c:pt idx="17005">
                  <c:v>0</c:v>
                </c:pt>
                <c:pt idx="17006">
                  <c:v>0</c:v>
                </c:pt>
                <c:pt idx="17007">
                  <c:v>0</c:v>
                </c:pt>
                <c:pt idx="17008">
                  <c:v>0</c:v>
                </c:pt>
                <c:pt idx="17009">
                  <c:v>0</c:v>
                </c:pt>
                <c:pt idx="17010">
                  <c:v>0</c:v>
                </c:pt>
                <c:pt idx="17011">
                  <c:v>0</c:v>
                </c:pt>
                <c:pt idx="17012">
                  <c:v>0</c:v>
                </c:pt>
                <c:pt idx="17013">
                  <c:v>0</c:v>
                </c:pt>
                <c:pt idx="17014">
                  <c:v>0</c:v>
                </c:pt>
                <c:pt idx="17015">
                  <c:v>0</c:v>
                </c:pt>
                <c:pt idx="17016">
                  <c:v>0</c:v>
                </c:pt>
                <c:pt idx="17017">
                  <c:v>0</c:v>
                </c:pt>
                <c:pt idx="17018">
                  <c:v>0</c:v>
                </c:pt>
                <c:pt idx="17019">
                  <c:v>0</c:v>
                </c:pt>
                <c:pt idx="17020">
                  <c:v>0</c:v>
                </c:pt>
                <c:pt idx="17021">
                  <c:v>0</c:v>
                </c:pt>
                <c:pt idx="17022">
                  <c:v>0</c:v>
                </c:pt>
                <c:pt idx="17023">
                  <c:v>0</c:v>
                </c:pt>
                <c:pt idx="17024">
                  <c:v>0</c:v>
                </c:pt>
                <c:pt idx="17025">
                  <c:v>0</c:v>
                </c:pt>
                <c:pt idx="17026">
                  <c:v>0</c:v>
                </c:pt>
                <c:pt idx="17027">
                  <c:v>0</c:v>
                </c:pt>
                <c:pt idx="17028">
                  <c:v>0</c:v>
                </c:pt>
                <c:pt idx="17029">
                  <c:v>0</c:v>
                </c:pt>
                <c:pt idx="17030">
                  <c:v>0</c:v>
                </c:pt>
                <c:pt idx="17031">
                  <c:v>0</c:v>
                </c:pt>
                <c:pt idx="17032">
                  <c:v>0</c:v>
                </c:pt>
                <c:pt idx="17033">
                  <c:v>0</c:v>
                </c:pt>
                <c:pt idx="17034">
                  <c:v>0</c:v>
                </c:pt>
                <c:pt idx="17035">
                  <c:v>0</c:v>
                </c:pt>
                <c:pt idx="17036">
                  <c:v>1</c:v>
                </c:pt>
                <c:pt idx="17037">
                  <c:v>2</c:v>
                </c:pt>
                <c:pt idx="17038">
                  <c:v>0</c:v>
                </c:pt>
                <c:pt idx="17039">
                  <c:v>0</c:v>
                </c:pt>
                <c:pt idx="17040">
                  <c:v>0</c:v>
                </c:pt>
                <c:pt idx="17041">
                  <c:v>0</c:v>
                </c:pt>
                <c:pt idx="17042">
                  <c:v>0</c:v>
                </c:pt>
                <c:pt idx="17043">
                  <c:v>0</c:v>
                </c:pt>
                <c:pt idx="17044">
                  <c:v>0</c:v>
                </c:pt>
                <c:pt idx="17045">
                  <c:v>0</c:v>
                </c:pt>
                <c:pt idx="17046">
                  <c:v>0</c:v>
                </c:pt>
                <c:pt idx="17047">
                  <c:v>0</c:v>
                </c:pt>
                <c:pt idx="17048">
                  <c:v>0</c:v>
                </c:pt>
                <c:pt idx="17049">
                  <c:v>0</c:v>
                </c:pt>
                <c:pt idx="17050">
                  <c:v>0</c:v>
                </c:pt>
                <c:pt idx="17051">
                  <c:v>0</c:v>
                </c:pt>
                <c:pt idx="17052">
                  <c:v>0</c:v>
                </c:pt>
                <c:pt idx="17053">
                  <c:v>0</c:v>
                </c:pt>
                <c:pt idx="17054">
                  <c:v>0</c:v>
                </c:pt>
                <c:pt idx="17055">
                  <c:v>0</c:v>
                </c:pt>
                <c:pt idx="17056">
                  <c:v>0</c:v>
                </c:pt>
                <c:pt idx="17057">
                  <c:v>0</c:v>
                </c:pt>
                <c:pt idx="17058">
                  <c:v>0</c:v>
                </c:pt>
                <c:pt idx="17059">
                  <c:v>0</c:v>
                </c:pt>
                <c:pt idx="17060">
                  <c:v>0</c:v>
                </c:pt>
                <c:pt idx="17061">
                  <c:v>0</c:v>
                </c:pt>
                <c:pt idx="17062">
                  <c:v>0</c:v>
                </c:pt>
                <c:pt idx="17063">
                  <c:v>0</c:v>
                </c:pt>
                <c:pt idx="17064">
                  <c:v>0</c:v>
                </c:pt>
                <c:pt idx="17065">
                  <c:v>0</c:v>
                </c:pt>
                <c:pt idx="17066">
                  <c:v>0</c:v>
                </c:pt>
                <c:pt idx="17067">
                  <c:v>0</c:v>
                </c:pt>
                <c:pt idx="17068">
                  <c:v>0</c:v>
                </c:pt>
                <c:pt idx="17069">
                  <c:v>0</c:v>
                </c:pt>
                <c:pt idx="17070">
                  <c:v>0</c:v>
                </c:pt>
                <c:pt idx="17071">
                  <c:v>0</c:v>
                </c:pt>
                <c:pt idx="17072">
                  <c:v>0</c:v>
                </c:pt>
                <c:pt idx="17073">
                  <c:v>0</c:v>
                </c:pt>
                <c:pt idx="17074">
                  <c:v>0</c:v>
                </c:pt>
                <c:pt idx="17075">
                  <c:v>0</c:v>
                </c:pt>
                <c:pt idx="17076">
                  <c:v>0</c:v>
                </c:pt>
                <c:pt idx="17077">
                  <c:v>0</c:v>
                </c:pt>
                <c:pt idx="17078">
                  <c:v>1</c:v>
                </c:pt>
                <c:pt idx="17079">
                  <c:v>0</c:v>
                </c:pt>
                <c:pt idx="17080">
                  <c:v>0</c:v>
                </c:pt>
                <c:pt idx="17081">
                  <c:v>0</c:v>
                </c:pt>
                <c:pt idx="17082">
                  <c:v>0</c:v>
                </c:pt>
                <c:pt idx="17083">
                  <c:v>0</c:v>
                </c:pt>
                <c:pt idx="17084">
                  <c:v>0</c:v>
                </c:pt>
                <c:pt idx="17085">
                  <c:v>0</c:v>
                </c:pt>
                <c:pt idx="17086">
                  <c:v>0</c:v>
                </c:pt>
                <c:pt idx="17087">
                  <c:v>0</c:v>
                </c:pt>
                <c:pt idx="17088">
                  <c:v>0</c:v>
                </c:pt>
                <c:pt idx="17089">
                  <c:v>0</c:v>
                </c:pt>
                <c:pt idx="17090">
                  <c:v>0</c:v>
                </c:pt>
                <c:pt idx="17091">
                  <c:v>0</c:v>
                </c:pt>
                <c:pt idx="17092">
                  <c:v>0</c:v>
                </c:pt>
                <c:pt idx="17093">
                  <c:v>0</c:v>
                </c:pt>
                <c:pt idx="17094">
                  <c:v>0</c:v>
                </c:pt>
                <c:pt idx="17095">
                  <c:v>0</c:v>
                </c:pt>
                <c:pt idx="17096">
                  <c:v>0</c:v>
                </c:pt>
                <c:pt idx="17097">
                  <c:v>0</c:v>
                </c:pt>
                <c:pt idx="17098">
                  <c:v>0</c:v>
                </c:pt>
                <c:pt idx="17099">
                  <c:v>0</c:v>
                </c:pt>
                <c:pt idx="17100">
                  <c:v>0</c:v>
                </c:pt>
                <c:pt idx="17101">
                  <c:v>0</c:v>
                </c:pt>
                <c:pt idx="17102">
                  <c:v>0</c:v>
                </c:pt>
                <c:pt idx="17103">
                  <c:v>0</c:v>
                </c:pt>
                <c:pt idx="17104">
                  <c:v>0</c:v>
                </c:pt>
                <c:pt idx="17105">
                  <c:v>0</c:v>
                </c:pt>
                <c:pt idx="17106">
                  <c:v>0</c:v>
                </c:pt>
                <c:pt idx="17107">
                  <c:v>0</c:v>
                </c:pt>
                <c:pt idx="17108">
                  <c:v>2</c:v>
                </c:pt>
                <c:pt idx="17109">
                  <c:v>4</c:v>
                </c:pt>
                <c:pt idx="17110">
                  <c:v>0</c:v>
                </c:pt>
                <c:pt idx="17111">
                  <c:v>0</c:v>
                </c:pt>
                <c:pt idx="17112">
                  <c:v>2</c:v>
                </c:pt>
                <c:pt idx="17113">
                  <c:v>0</c:v>
                </c:pt>
                <c:pt idx="17114">
                  <c:v>0</c:v>
                </c:pt>
                <c:pt idx="17115">
                  <c:v>0</c:v>
                </c:pt>
                <c:pt idx="17116">
                  <c:v>0</c:v>
                </c:pt>
                <c:pt idx="17117">
                  <c:v>0</c:v>
                </c:pt>
                <c:pt idx="17118">
                  <c:v>0</c:v>
                </c:pt>
                <c:pt idx="17119">
                  <c:v>0</c:v>
                </c:pt>
                <c:pt idx="17120">
                  <c:v>0</c:v>
                </c:pt>
                <c:pt idx="17121">
                  <c:v>0</c:v>
                </c:pt>
                <c:pt idx="17122">
                  <c:v>0</c:v>
                </c:pt>
                <c:pt idx="17123">
                  <c:v>0</c:v>
                </c:pt>
                <c:pt idx="17124">
                  <c:v>0</c:v>
                </c:pt>
                <c:pt idx="17125">
                  <c:v>0</c:v>
                </c:pt>
                <c:pt idx="17126">
                  <c:v>0</c:v>
                </c:pt>
                <c:pt idx="17127">
                  <c:v>0</c:v>
                </c:pt>
                <c:pt idx="17128">
                  <c:v>0</c:v>
                </c:pt>
                <c:pt idx="17129">
                  <c:v>0</c:v>
                </c:pt>
                <c:pt idx="17130">
                  <c:v>0</c:v>
                </c:pt>
                <c:pt idx="17131">
                  <c:v>0</c:v>
                </c:pt>
                <c:pt idx="17132">
                  <c:v>0</c:v>
                </c:pt>
                <c:pt idx="17133">
                  <c:v>0</c:v>
                </c:pt>
                <c:pt idx="17134">
                  <c:v>0</c:v>
                </c:pt>
                <c:pt idx="17135">
                  <c:v>0</c:v>
                </c:pt>
                <c:pt idx="17136">
                  <c:v>0</c:v>
                </c:pt>
                <c:pt idx="17137">
                  <c:v>0</c:v>
                </c:pt>
                <c:pt idx="17138">
                  <c:v>0</c:v>
                </c:pt>
                <c:pt idx="17139">
                  <c:v>0</c:v>
                </c:pt>
                <c:pt idx="17140">
                  <c:v>0</c:v>
                </c:pt>
                <c:pt idx="17141">
                  <c:v>0</c:v>
                </c:pt>
                <c:pt idx="17142">
                  <c:v>0</c:v>
                </c:pt>
                <c:pt idx="17143">
                  <c:v>0</c:v>
                </c:pt>
                <c:pt idx="17144">
                  <c:v>0</c:v>
                </c:pt>
                <c:pt idx="17145">
                  <c:v>0</c:v>
                </c:pt>
                <c:pt idx="17146">
                  <c:v>0</c:v>
                </c:pt>
                <c:pt idx="17147">
                  <c:v>0</c:v>
                </c:pt>
                <c:pt idx="17148">
                  <c:v>0</c:v>
                </c:pt>
                <c:pt idx="17149">
                  <c:v>0</c:v>
                </c:pt>
                <c:pt idx="17150">
                  <c:v>0</c:v>
                </c:pt>
                <c:pt idx="17151">
                  <c:v>0</c:v>
                </c:pt>
                <c:pt idx="17152">
                  <c:v>0</c:v>
                </c:pt>
                <c:pt idx="17153">
                  <c:v>0</c:v>
                </c:pt>
                <c:pt idx="17154">
                  <c:v>0</c:v>
                </c:pt>
                <c:pt idx="17155">
                  <c:v>0</c:v>
                </c:pt>
                <c:pt idx="17156">
                  <c:v>0</c:v>
                </c:pt>
                <c:pt idx="17157">
                  <c:v>0</c:v>
                </c:pt>
                <c:pt idx="17158">
                  <c:v>0</c:v>
                </c:pt>
                <c:pt idx="17159">
                  <c:v>0</c:v>
                </c:pt>
                <c:pt idx="17160">
                  <c:v>0</c:v>
                </c:pt>
                <c:pt idx="17161">
                  <c:v>0</c:v>
                </c:pt>
                <c:pt idx="17162">
                  <c:v>0</c:v>
                </c:pt>
                <c:pt idx="17163">
                  <c:v>0</c:v>
                </c:pt>
                <c:pt idx="17164">
                  <c:v>0</c:v>
                </c:pt>
                <c:pt idx="17165">
                  <c:v>0</c:v>
                </c:pt>
                <c:pt idx="17166">
                  <c:v>0</c:v>
                </c:pt>
                <c:pt idx="17167">
                  <c:v>0</c:v>
                </c:pt>
                <c:pt idx="17168">
                  <c:v>0</c:v>
                </c:pt>
                <c:pt idx="17169">
                  <c:v>0</c:v>
                </c:pt>
                <c:pt idx="17170">
                  <c:v>0</c:v>
                </c:pt>
                <c:pt idx="17171">
                  <c:v>0</c:v>
                </c:pt>
                <c:pt idx="17172">
                  <c:v>0</c:v>
                </c:pt>
                <c:pt idx="17173">
                  <c:v>0</c:v>
                </c:pt>
                <c:pt idx="17174">
                  <c:v>0</c:v>
                </c:pt>
                <c:pt idx="17175">
                  <c:v>2</c:v>
                </c:pt>
                <c:pt idx="17176">
                  <c:v>0</c:v>
                </c:pt>
                <c:pt idx="17177">
                  <c:v>3</c:v>
                </c:pt>
                <c:pt idx="17178">
                  <c:v>0</c:v>
                </c:pt>
                <c:pt idx="17179">
                  <c:v>0</c:v>
                </c:pt>
                <c:pt idx="17180">
                  <c:v>0</c:v>
                </c:pt>
                <c:pt idx="17181">
                  <c:v>0</c:v>
                </c:pt>
                <c:pt idx="17182">
                  <c:v>0</c:v>
                </c:pt>
                <c:pt idx="17183">
                  <c:v>0</c:v>
                </c:pt>
                <c:pt idx="17184">
                  <c:v>0</c:v>
                </c:pt>
                <c:pt idx="17185">
                  <c:v>0</c:v>
                </c:pt>
                <c:pt idx="17186">
                  <c:v>0</c:v>
                </c:pt>
                <c:pt idx="17187">
                  <c:v>0</c:v>
                </c:pt>
                <c:pt idx="17188">
                  <c:v>0</c:v>
                </c:pt>
                <c:pt idx="17189">
                  <c:v>0</c:v>
                </c:pt>
                <c:pt idx="17190">
                  <c:v>0</c:v>
                </c:pt>
                <c:pt idx="17191">
                  <c:v>0</c:v>
                </c:pt>
                <c:pt idx="17192">
                  <c:v>0</c:v>
                </c:pt>
                <c:pt idx="17193">
                  <c:v>0</c:v>
                </c:pt>
                <c:pt idx="17194">
                  <c:v>0</c:v>
                </c:pt>
                <c:pt idx="17195">
                  <c:v>0</c:v>
                </c:pt>
                <c:pt idx="17196">
                  <c:v>0</c:v>
                </c:pt>
                <c:pt idx="17197">
                  <c:v>0</c:v>
                </c:pt>
                <c:pt idx="17198">
                  <c:v>0</c:v>
                </c:pt>
                <c:pt idx="17199">
                  <c:v>0</c:v>
                </c:pt>
                <c:pt idx="17200">
                  <c:v>0</c:v>
                </c:pt>
                <c:pt idx="17201">
                  <c:v>0</c:v>
                </c:pt>
                <c:pt idx="17202">
                  <c:v>0</c:v>
                </c:pt>
                <c:pt idx="17203">
                  <c:v>0</c:v>
                </c:pt>
                <c:pt idx="17204">
                  <c:v>0</c:v>
                </c:pt>
                <c:pt idx="17205">
                  <c:v>0</c:v>
                </c:pt>
                <c:pt idx="17206">
                  <c:v>0</c:v>
                </c:pt>
                <c:pt idx="17207">
                  <c:v>0</c:v>
                </c:pt>
                <c:pt idx="17208">
                  <c:v>0</c:v>
                </c:pt>
                <c:pt idx="17209">
                  <c:v>0</c:v>
                </c:pt>
                <c:pt idx="17210">
                  <c:v>0</c:v>
                </c:pt>
                <c:pt idx="17211">
                  <c:v>0</c:v>
                </c:pt>
                <c:pt idx="17212">
                  <c:v>0</c:v>
                </c:pt>
                <c:pt idx="17213">
                  <c:v>0</c:v>
                </c:pt>
                <c:pt idx="17214">
                  <c:v>0</c:v>
                </c:pt>
                <c:pt idx="17215">
                  <c:v>0</c:v>
                </c:pt>
                <c:pt idx="17216">
                  <c:v>0</c:v>
                </c:pt>
                <c:pt idx="17217">
                  <c:v>0</c:v>
                </c:pt>
                <c:pt idx="17218">
                  <c:v>0</c:v>
                </c:pt>
                <c:pt idx="17219">
                  <c:v>0</c:v>
                </c:pt>
                <c:pt idx="17220">
                  <c:v>0</c:v>
                </c:pt>
                <c:pt idx="17221">
                  <c:v>0</c:v>
                </c:pt>
                <c:pt idx="17222">
                  <c:v>0</c:v>
                </c:pt>
                <c:pt idx="17223">
                  <c:v>0</c:v>
                </c:pt>
                <c:pt idx="17224">
                  <c:v>0</c:v>
                </c:pt>
                <c:pt idx="17225">
                  <c:v>0</c:v>
                </c:pt>
                <c:pt idx="17226">
                  <c:v>0</c:v>
                </c:pt>
                <c:pt idx="17227">
                  <c:v>0</c:v>
                </c:pt>
                <c:pt idx="17228">
                  <c:v>0</c:v>
                </c:pt>
                <c:pt idx="17229">
                  <c:v>0</c:v>
                </c:pt>
                <c:pt idx="17230">
                  <c:v>0</c:v>
                </c:pt>
                <c:pt idx="17231">
                  <c:v>0</c:v>
                </c:pt>
                <c:pt idx="17232">
                  <c:v>0</c:v>
                </c:pt>
                <c:pt idx="17233">
                  <c:v>0</c:v>
                </c:pt>
                <c:pt idx="17234">
                  <c:v>0</c:v>
                </c:pt>
                <c:pt idx="17235">
                  <c:v>0</c:v>
                </c:pt>
                <c:pt idx="17236">
                  <c:v>0</c:v>
                </c:pt>
                <c:pt idx="17237">
                  <c:v>0</c:v>
                </c:pt>
                <c:pt idx="17238">
                  <c:v>0</c:v>
                </c:pt>
                <c:pt idx="17239">
                  <c:v>0</c:v>
                </c:pt>
                <c:pt idx="17240">
                  <c:v>0</c:v>
                </c:pt>
                <c:pt idx="17241">
                  <c:v>0</c:v>
                </c:pt>
                <c:pt idx="17242">
                  <c:v>0</c:v>
                </c:pt>
                <c:pt idx="17243">
                  <c:v>0</c:v>
                </c:pt>
                <c:pt idx="17244">
                  <c:v>0</c:v>
                </c:pt>
                <c:pt idx="17245">
                  <c:v>0</c:v>
                </c:pt>
                <c:pt idx="17246">
                  <c:v>0</c:v>
                </c:pt>
                <c:pt idx="17247">
                  <c:v>0</c:v>
                </c:pt>
                <c:pt idx="17248">
                  <c:v>0</c:v>
                </c:pt>
                <c:pt idx="17249">
                  <c:v>0</c:v>
                </c:pt>
                <c:pt idx="17250">
                  <c:v>0</c:v>
                </c:pt>
                <c:pt idx="17251">
                  <c:v>0</c:v>
                </c:pt>
                <c:pt idx="17252">
                  <c:v>0</c:v>
                </c:pt>
                <c:pt idx="17253">
                  <c:v>0</c:v>
                </c:pt>
                <c:pt idx="17254">
                  <c:v>0</c:v>
                </c:pt>
                <c:pt idx="17255">
                  <c:v>0</c:v>
                </c:pt>
                <c:pt idx="17256">
                  <c:v>2</c:v>
                </c:pt>
                <c:pt idx="17257">
                  <c:v>0</c:v>
                </c:pt>
                <c:pt idx="17258">
                  <c:v>0</c:v>
                </c:pt>
                <c:pt idx="17259">
                  <c:v>0</c:v>
                </c:pt>
                <c:pt idx="17260">
                  <c:v>0</c:v>
                </c:pt>
                <c:pt idx="17261">
                  <c:v>0</c:v>
                </c:pt>
                <c:pt idx="17262">
                  <c:v>0</c:v>
                </c:pt>
                <c:pt idx="17263">
                  <c:v>0</c:v>
                </c:pt>
                <c:pt idx="17264">
                  <c:v>0</c:v>
                </c:pt>
                <c:pt idx="17265">
                  <c:v>0</c:v>
                </c:pt>
                <c:pt idx="17266">
                  <c:v>0</c:v>
                </c:pt>
                <c:pt idx="17267">
                  <c:v>0</c:v>
                </c:pt>
                <c:pt idx="17268">
                  <c:v>0</c:v>
                </c:pt>
                <c:pt idx="17269">
                  <c:v>0</c:v>
                </c:pt>
                <c:pt idx="17270">
                  <c:v>0</c:v>
                </c:pt>
                <c:pt idx="17271">
                  <c:v>0</c:v>
                </c:pt>
                <c:pt idx="17272">
                  <c:v>0</c:v>
                </c:pt>
                <c:pt idx="17273">
                  <c:v>0</c:v>
                </c:pt>
                <c:pt idx="17274">
                  <c:v>0</c:v>
                </c:pt>
                <c:pt idx="17275">
                  <c:v>0</c:v>
                </c:pt>
                <c:pt idx="17276">
                  <c:v>0</c:v>
                </c:pt>
                <c:pt idx="17277">
                  <c:v>0</c:v>
                </c:pt>
                <c:pt idx="17278">
                  <c:v>0</c:v>
                </c:pt>
                <c:pt idx="17279">
                  <c:v>0</c:v>
                </c:pt>
                <c:pt idx="17280">
                  <c:v>0</c:v>
                </c:pt>
                <c:pt idx="17281">
                  <c:v>0</c:v>
                </c:pt>
                <c:pt idx="17282">
                  <c:v>0</c:v>
                </c:pt>
                <c:pt idx="17283">
                  <c:v>2</c:v>
                </c:pt>
                <c:pt idx="17284">
                  <c:v>0</c:v>
                </c:pt>
                <c:pt idx="17285">
                  <c:v>0</c:v>
                </c:pt>
                <c:pt idx="17286">
                  <c:v>0</c:v>
                </c:pt>
                <c:pt idx="17287">
                  <c:v>0</c:v>
                </c:pt>
                <c:pt idx="17288">
                  <c:v>0</c:v>
                </c:pt>
                <c:pt idx="17289">
                  <c:v>0</c:v>
                </c:pt>
                <c:pt idx="17290">
                  <c:v>0</c:v>
                </c:pt>
                <c:pt idx="17291">
                  <c:v>0</c:v>
                </c:pt>
                <c:pt idx="17292">
                  <c:v>0</c:v>
                </c:pt>
                <c:pt idx="17293">
                  <c:v>0</c:v>
                </c:pt>
                <c:pt idx="17294">
                  <c:v>0</c:v>
                </c:pt>
                <c:pt idx="17295">
                  <c:v>0</c:v>
                </c:pt>
                <c:pt idx="17296">
                  <c:v>0</c:v>
                </c:pt>
                <c:pt idx="17297">
                  <c:v>0</c:v>
                </c:pt>
                <c:pt idx="17298">
                  <c:v>0</c:v>
                </c:pt>
                <c:pt idx="17299">
                  <c:v>0</c:v>
                </c:pt>
                <c:pt idx="17300">
                  <c:v>0</c:v>
                </c:pt>
                <c:pt idx="17301">
                  <c:v>0</c:v>
                </c:pt>
                <c:pt idx="17302">
                  <c:v>0</c:v>
                </c:pt>
                <c:pt idx="17303">
                  <c:v>0</c:v>
                </c:pt>
                <c:pt idx="17304">
                  <c:v>0</c:v>
                </c:pt>
                <c:pt idx="17305">
                  <c:v>0</c:v>
                </c:pt>
                <c:pt idx="17306">
                  <c:v>0</c:v>
                </c:pt>
                <c:pt idx="17307">
                  <c:v>0</c:v>
                </c:pt>
                <c:pt idx="17308">
                  <c:v>0</c:v>
                </c:pt>
                <c:pt idx="17309">
                  <c:v>0</c:v>
                </c:pt>
                <c:pt idx="17310">
                  <c:v>0</c:v>
                </c:pt>
                <c:pt idx="17311">
                  <c:v>0</c:v>
                </c:pt>
                <c:pt idx="17312">
                  <c:v>0</c:v>
                </c:pt>
                <c:pt idx="17313">
                  <c:v>0</c:v>
                </c:pt>
                <c:pt idx="17314">
                  <c:v>0</c:v>
                </c:pt>
                <c:pt idx="17315">
                  <c:v>0</c:v>
                </c:pt>
                <c:pt idx="17316">
                  <c:v>0</c:v>
                </c:pt>
                <c:pt idx="17317">
                  <c:v>0</c:v>
                </c:pt>
                <c:pt idx="17318">
                  <c:v>0</c:v>
                </c:pt>
                <c:pt idx="17319">
                  <c:v>0</c:v>
                </c:pt>
                <c:pt idx="17320">
                  <c:v>0</c:v>
                </c:pt>
                <c:pt idx="17321">
                  <c:v>0</c:v>
                </c:pt>
                <c:pt idx="17322">
                  <c:v>0</c:v>
                </c:pt>
                <c:pt idx="17323">
                  <c:v>0</c:v>
                </c:pt>
                <c:pt idx="17324">
                  <c:v>0</c:v>
                </c:pt>
                <c:pt idx="17325">
                  <c:v>0</c:v>
                </c:pt>
                <c:pt idx="17326">
                  <c:v>0</c:v>
                </c:pt>
                <c:pt idx="17327">
                  <c:v>0</c:v>
                </c:pt>
                <c:pt idx="17328">
                  <c:v>0</c:v>
                </c:pt>
                <c:pt idx="17329">
                  <c:v>0</c:v>
                </c:pt>
                <c:pt idx="17330">
                  <c:v>0</c:v>
                </c:pt>
                <c:pt idx="17331">
                  <c:v>0</c:v>
                </c:pt>
                <c:pt idx="17332">
                  <c:v>0</c:v>
                </c:pt>
                <c:pt idx="17333">
                  <c:v>0</c:v>
                </c:pt>
                <c:pt idx="17334">
                  <c:v>0</c:v>
                </c:pt>
                <c:pt idx="17335">
                  <c:v>0</c:v>
                </c:pt>
                <c:pt idx="17336">
                  <c:v>0</c:v>
                </c:pt>
                <c:pt idx="17337">
                  <c:v>0</c:v>
                </c:pt>
                <c:pt idx="17338">
                  <c:v>0</c:v>
                </c:pt>
                <c:pt idx="17339">
                  <c:v>0</c:v>
                </c:pt>
                <c:pt idx="17340">
                  <c:v>0</c:v>
                </c:pt>
                <c:pt idx="17341">
                  <c:v>0</c:v>
                </c:pt>
                <c:pt idx="17342">
                  <c:v>0</c:v>
                </c:pt>
                <c:pt idx="17343">
                  <c:v>0</c:v>
                </c:pt>
                <c:pt idx="17344">
                  <c:v>0</c:v>
                </c:pt>
                <c:pt idx="17345">
                  <c:v>0</c:v>
                </c:pt>
                <c:pt idx="17346">
                  <c:v>0</c:v>
                </c:pt>
                <c:pt idx="17347">
                  <c:v>0</c:v>
                </c:pt>
                <c:pt idx="17348">
                  <c:v>0</c:v>
                </c:pt>
                <c:pt idx="17349">
                  <c:v>0</c:v>
                </c:pt>
                <c:pt idx="17350">
                  <c:v>0</c:v>
                </c:pt>
                <c:pt idx="17351">
                  <c:v>0</c:v>
                </c:pt>
                <c:pt idx="17352">
                  <c:v>0</c:v>
                </c:pt>
                <c:pt idx="17353">
                  <c:v>0</c:v>
                </c:pt>
                <c:pt idx="17354">
                  <c:v>0</c:v>
                </c:pt>
                <c:pt idx="17355">
                  <c:v>0</c:v>
                </c:pt>
                <c:pt idx="17356">
                  <c:v>0</c:v>
                </c:pt>
                <c:pt idx="17357">
                  <c:v>0</c:v>
                </c:pt>
                <c:pt idx="17358">
                  <c:v>0</c:v>
                </c:pt>
                <c:pt idx="17359">
                  <c:v>0</c:v>
                </c:pt>
                <c:pt idx="17360">
                  <c:v>0</c:v>
                </c:pt>
                <c:pt idx="17361">
                  <c:v>0</c:v>
                </c:pt>
                <c:pt idx="17362">
                  <c:v>0</c:v>
                </c:pt>
                <c:pt idx="17363">
                  <c:v>0</c:v>
                </c:pt>
                <c:pt idx="17364">
                  <c:v>0</c:v>
                </c:pt>
                <c:pt idx="17365">
                  <c:v>0</c:v>
                </c:pt>
                <c:pt idx="17366">
                  <c:v>0</c:v>
                </c:pt>
                <c:pt idx="17367">
                  <c:v>0</c:v>
                </c:pt>
                <c:pt idx="17368">
                  <c:v>0</c:v>
                </c:pt>
                <c:pt idx="17369">
                  <c:v>0</c:v>
                </c:pt>
                <c:pt idx="17370">
                  <c:v>0</c:v>
                </c:pt>
                <c:pt idx="17371">
                  <c:v>0</c:v>
                </c:pt>
                <c:pt idx="17372">
                  <c:v>0</c:v>
                </c:pt>
                <c:pt idx="17373">
                  <c:v>3</c:v>
                </c:pt>
                <c:pt idx="17374">
                  <c:v>0</c:v>
                </c:pt>
                <c:pt idx="17375">
                  <c:v>0</c:v>
                </c:pt>
                <c:pt idx="17376">
                  <c:v>0</c:v>
                </c:pt>
                <c:pt idx="17377">
                  <c:v>0</c:v>
                </c:pt>
                <c:pt idx="17378">
                  <c:v>0</c:v>
                </c:pt>
                <c:pt idx="17379">
                  <c:v>0</c:v>
                </c:pt>
                <c:pt idx="17380">
                  <c:v>0</c:v>
                </c:pt>
                <c:pt idx="17381">
                  <c:v>0</c:v>
                </c:pt>
                <c:pt idx="17382">
                  <c:v>0</c:v>
                </c:pt>
                <c:pt idx="17383">
                  <c:v>0</c:v>
                </c:pt>
                <c:pt idx="17384">
                  <c:v>0</c:v>
                </c:pt>
                <c:pt idx="17385">
                  <c:v>0</c:v>
                </c:pt>
                <c:pt idx="17386">
                  <c:v>0</c:v>
                </c:pt>
                <c:pt idx="17387">
                  <c:v>0</c:v>
                </c:pt>
                <c:pt idx="17388">
                  <c:v>0</c:v>
                </c:pt>
                <c:pt idx="17389">
                  <c:v>0</c:v>
                </c:pt>
                <c:pt idx="17390">
                  <c:v>0</c:v>
                </c:pt>
                <c:pt idx="17391">
                  <c:v>0</c:v>
                </c:pt>
                <c:pt idx="17392">
                  <c:v>0</c:v>
                </c:pt>
                <c:pt idx="17393">
                  <c:v>0</c:v>
                </c:pt>
                <c:pt idx="17394">
                  <c:v>0</c:v>
                </c:pt>
                <c:pt idx="17395">
                  <c:v>0</c:v>
                </c:pt>
                <c:pt idx="17396">
                  <c:v>0</c:v>
                </c:pt>
                <c:pt idx="17397">
                  <c:v>0</c:v>
                </c:pt>
                <c:pt idx="17398">
                  <c:v>0</c:v>
                </c:pt>
                <c:pt idx="17399">
                  <c:v>0</c:v>
                </c:pt>
                <c:pt idx="17400">
                  <c:v>0</c:v>
                </c:pt>
                <c:pt idx="17401">
                  <c:v>0</c:v>
                </c:pt>
                <c:pt idx="17402">
                  <c:v>0</c:v>
                </c:pt>
                <c:pt idx="17403">
                  <c:v>0</c:v>
                </c:pt>
                <c:pt idx="17404">
                  <c:v>0</c:v>
                </c:pt>
                <c:pt idx="17405">
                  <c:v>0</c:v>
                </c:pt>
                <c:pt idx="17406">
                  <c:v>0</c:v>
                </c:pt>
                <c:pt idx="17407">
                  <c:v>0</c:v>
                </c:pt>
                <c:pt idx="17408">
                  <c:v>0</c:v>
                </c:pt>
                <c:pt idx="17409">
                  <c:v>0</c:v>
                </c:pt>
                <c:pt idx="17410">
                  <c:v>0</c:v>
                </c:pt>
                <c:pt idx="17411">
                  <c:v>0</c:v>
                </c:pt>
                <c:pt idx="17412">
                  <c:v>0</c:v>
                </c:pt>
                <c:pt idx="17413">
                  <c:v>0</c:v>
                </c:pt>
                <c:pt idx="17414">
                  <c:v>0</c:v>
                </c:pt>
                <c:pt idx="17415">
                  <c:v>0</c:v>
                </c:pt>
                <c:pt idx="17416">
                  <c:v>0</c:v>
                </c:pt>
                <c:pt idx="17417">
                  <c:v>0</c:v>
                </c:pt>
                <c:pt idx="17418">
                  <c:v>0</c:v>
                </c:pt>
                <c:pt idx="17419">
                  <c:v>0</c:v>
                </c:pt>
                <c:pt idx="17420">
                  <c:v>0</c:v>
                </c:pt>
                <c:pt idx="17421">
                  <c:v>0</c:v>
                </c:pt>
                <c:pt idx="17422">
                  <c:v>0</c:v>
                </c:pt>
                <c:pt idx="17423">
                  <c:v>1</c:v>
                </c:pt>
                <c:pt idx="17424">
                  <c:v>0</c:v>
                </c:pt>
                <c:pt idx="17425">
                  <c:v>0</c:v>
                </c:pt>
                <c:pt idx="17426">
                  <c:v>0</c:v>
                </c:pt>
                <c:pt idx="17427">
                  <c:v>0</c:v>
                </c:pt>
                <c:pt idx="17428">
                  <c:v>0</c:v>
                </c:pt>
                <c:pt idx="17429">
                  <c:v>0</c:v>
                </c:pt>
                <c:pt idx="17430">
                  <c:v>0</c:v>
                </c:pt>
                <c:pt idx="17431">
                  <c:v>1</c:v>
                </c:pt>
                <c:pt idx="17432">
                  <c:v>3</c:v>
                </c:pt>
                <c:pt idx="17433">
                  <c:v>0</c:v>
                </c:pt>
                <c:pt idx="17434">
                  <c:v>3</c:v>
                </c:pt>
                <c:pt idx="17435">
                  <c:v>1</c:v>
                </c:pt>
                <c:pt idx="17436">
                  <c:v>0</c:v>
                </c:pt>
                <c:pt idx="17437">
                  <c:v>2</c:v>
                </c:pt>
                <c:pt idx="17438">
                  <c:v>4</c:v>
                </c:pt>
                <c:pt idx="17439">
                  <c:v>1</c:v>
                </c:pt>
                <c:pt idx="17440">
                  <c:v>0</c:v>
                </c:pt>
                <c:pt idx="17441">
                  <c:v>0</c:v>
                </c:pt>
                <c:pt idx="17442">
                  <c:v>0</c:v>
                </c:pt>
                <c:pt idx="17443">
                  <c:v>0</c:v>
                </c:pt>
                <c:pt idx="17444">
                  <c:v>0</c:v>
                </c:pt>
                <c:pt idx="17445">
                  <c:v>0</c:v>
                </c:pt>
                <c:pt idx="17446">
                  <c:v>0</c:v>
                </c:pt>
                <c:pt idx="17447">
                  <c:v>0</c:v>
                </c:pt>
                <c:pt idx="17448">
                  <c:v>0</c:v>
                </c:pt>
                <c:pt idx="17449">
                  <c:v>0</c:v>
                </c:pt>
                <c:pt idx="17450">
                  <c:v>0</c:v>
                </c:pt>
                <c:pt idx="17451">
                  <c:v>0</c:v>
                </c:pt>
                <c:pt idx="17452">
                  <c:v>0</c:v>
                </c:pt>
                <c:pt idx="17453">
                  <c:v>0</c:v>
                </c:pt>
                <c:pt idx="17454">
                  <c:v>0</c:v>
                </c:pt>
                <c:pt idx="17455">
                  <c:v>0</c:v>
                </c:pt>
                <c:pt idx="17456">
                  <c:v>0</c:v>
                </c:pt>
                <c:pt idx="17457">
                  <c:v>0</c:v>
                </c:pt>
                <c:pt idx="17458">
                  <c:v>0</c:v>
                </c:pt>
                <c:pt idx="17459">
                  <c:v>0</c:v>
                </c:pt>
                <c:pt idx="17460">
                  <c:v>0</c:v>
                </c:pt>
                <c:pt idx="17461">
                  <c:v>0</c:v>
                </c:pt>
                <c:pt idx="17462">
                  <c:v>0</c:v>
                </c:pt>
                <c:pt idx="17463">
                  <c:v>0</c:v>
                </c:pt>
                <c:pt idx="17464">
                  <c:v>0</c:v>
                </c:pt>
                <c:pt idx="17465">
                  <c:v>0</c:v>
                </c:pt>
                <c:pt idx="17466">
                  <c:v>0</c:v>
                </c:pt>
                <c:pt idx="17467">
                  <c:v>0</c:v>
                </c:pt>
                <c:pt idx="17468">
                  <c:v>0</c:v>
                </c:pt>
                <c:pt idx="17469">
                  <c:v>0</c:v>
                </c:pt>
                <c:pt idx="17470">
                  <c:v>0</c:v>
                </c:pt>
                <c:pt idx="17471">
                  <c:v>0</c:v>
                </c:pt>
                <c:pt idx="17472">
                  <c:v>0</c:v>
                </c:pt>
                <c:pt idx="17473">
                  <c:v>0</c:v>
                </c:pt>
                <c:pt idx="17474">
                  <c:v>0</c:v>
                </c:pt>
                <c:pt idx="17475">
                  <c:v>0</c:v>
                </c:pt>
                <c:pt idx="17476">
                  <c:v>0</c:v>
                </c:pt>
                <c:pt idx="17477">
                  <c:v>0</c:v>
                </c:pt>
                <c:pt idx="17478">
                  <c:v>0</c:v>
                </c:pt>
                <c:pt idx="17479">
                  <c:v>0</c:v>
                </c:pt>
                <c:pt idx="17480">
                  <c:v>0</c:v>
                </c:pt>
                <c:pt idx="17481">
                  <c:v>0</c:v>
                </c:pt>
                <c:pt idx="17482">
                  <c:v>0</c:v>
                </c:pt>
                <c:pt idx="17483">
                  <c:v>0</c:v>
                </c:pt>
                <c:pt idx="17484">
                  <c:v>0</c:v>
                </c:pt>
                <c:pt idx="17485">
                  <c:v>0</c:v>
                </c:pt>
                <c:pt idx="17486">
                  <c:v>0</c:v>
                </c:pt>
                <c:pt idx="17487">
                  <c:v>0</c:v>
                </c:pt>
                <c:pt idx="17488">
                  <c:v>0</c:v>
                </c:pt>
                <c:pt idx="17489">
                  <c:v>0</c:v>
                </c:pt>
                <c:pt idx="17490">
                  <c:v>1</c:v>
                </c:pt>
                <c:pt idx="17491">
                  <c:v>0</c:v>
                </c:pt>
                <c:pt idx="17492">
                  <c:v>0</c:v>
                </c:pt>
                <c:pt idx="17493">
                  <c:v>0</c:v>
                </c:pt>
                <c:pt idx="17494">
                  <c:v>0</c:v>
                </c:pt>
                <c:pt idx="17495">
                  <c:v>0</c:v>
                </c:pt>
                <c:pt idx="17496">
                  <c:v>0</c:v>
                </c:pt>
                <c:pt idx="17497">
                  <c:v>0</c:v>
                </c:pt>
                <c:pt idx="17498">
                  <c:v>0</c:v>
                </c:pt>
                <c:pt idx="17499">
                  <c:v>0</c:v>
                </c:pt>
                <c:pt idx="17500">
                  <c:v>0</c:v>
                </c:pt>
                <c:pt idx="17501">
                  <c:v>0</c:v>
                </c:pt>
                <c:pt idx="17502">
                  <c:v>0</c:v>
                </c:pt>
                <c:pt idx="17503">
                  <c:v>0</c:v>
                </c:pt>
                <c:pt idx="17504">
                  <c:v>0</c:v>
                </c:pt>
                <c:pt idx="17505">
                  <c:v>0</c:v>
                </c:pt>
                <c:pt idx="17506">
                  <c:v>0</c:v>
                </c:pt>
                <c:pt idx="17507">
                  <c:v>0</c:v>
                </c:pt>
                <c:pt idx="17508">
                  <c:v>0</c:v>
                </c:pt>
                <c:pt idx="17509">
                  <c:v>0</c:v>
                </c:pt>
                <c:pt idx="17510">
                  <c:v>0</c:v>
                </c:pt>
                <c:pt idx="17511">
                  <c:v>0</c:v>
                </c:pt>
                <c:pt idx="17512">
                  <c:v>0</c:v>
                </c:pt>
                <c:pt idx="17513">
                  <c:v>0</c:v>
                </c:pt>
                <c:pt idx="17514">
                  <c:v>0</c:v>
                </c:pt>
                <c:pt idx="17515">
                  <c:v>0</c:v>
                </c:pt>
                <c:pt idx="17516">
                  <c:v>0</c:v>
                </c:pt>
                <c:pt idx="17517">
                  <c:v>0</c:v>
                </c:pt>
                <c:pt idx="17518">
                  <c:v>0</c:v>
                </c:pt>
                <c:pt idx="17519">
                  <c:v>0</c:v>
                </c:pt>
                <c:pt idx="17520">
                  <c:v>0</c:v>
                </c:pt>
                <c:pt idx="17521">
                  <c:v>0</c:v>
                </c:pt>
                <c:pt idx="17522">
                  <c:v>0</c:v>
                </c:pt>
                <c:pt idx="17523">
                  <c:v>0</c:v>
                </c:pt>
                <c:pt idx="17524">
                  <c:v>0</c:v>
                </c:pt>
                <c:pt idx="17525">
                  <c:v>0</c:v>
                </c:pt>
                <c:pt idx="17526">
                  <c:v>0</c:v>
                </c:pt>
                <c:pt idx="17527">
                  <c:v>0</c:v>
                </c:pt>
                <c:pt idx="17528">
                  <c:v>0</c:v>
                </c:pt>
                <c:pt idx="17529">
                  <c:v>0</c:v>
                </c:pt>
                <c:pt idx="17530">
                  <c:v>0</c:v>
                </c:pt>
                <c:pt idx="17531">
                  <c:v>0</c:v>
                </c:pt>
                <c:pt idx="17532">
                  <c:v>0</c:v>
                </c:pt>
                <c:pt idx="17533">
                  <c:v>0</c:v>
                </c:pt>
                <c:pt idx="17534">
                  <c:v>0</c:v>
                </c:pt>
                <c:pt idx="17535">
                  <c:v>0</c:v>
                </c:pt>
                <c:pt idx="17536">
                  <c:v>0</c:v>
                </c:pt>
                <c:pt idx="17537">
                  <c:v>0</c:v>
                </c:pt>
                <c:pt idx="17538">
                  <c:v>0</c:v>
                </c:pt>
                <c:pt idx="17539">
                  <c:v>0</c:v>
                </c:pt>
                <c:pt idx="17540">
                  <c:v>0</c:v>
                </c:pt>
                <c:pt idx="17541">
                  <c:v>0</c:v>
                </c:pt>
                <c:pt idx="17542">
                  <c:v>0</c:v>
                </c:pt>
                <c:pt idx="17543">
                  <c:v>0</c:v>
                </c:pt>
                <c:pt idx="17544">
                  <c:v>2</c:v>
                </c:pt>
                <c:pt idx="17545">
                  <c:v>0</c:v>
                </c:pt>
                <c:pt idx="17546">
                  <c:v>0</c:v>
                </c:pt>
                <c:pt idx="17547">
                  <c:v>0</c:v>
                </c:pt>
                <c:pt idx="17548">
                  <c:v>0</c:v>
                </c:pt>
                <c:pt idx="17549">
                  <c:v>0</c:v>
                </c:pt>
                <c:pt idx="17550">
                  <c:v>0</c:v>
                </c:pt>
                <c:pt idx="17551">
                  <c:v>0</c:v>
                </c:pt>
                <c:pt idx="17552">
                  <c:v>0</c:v>
                </c:pt>
                <c:pt idx="17553">
                  <c:v>0</c:v>
                </c:pt>
                <c:pt idx="17554">
                  <c:v>0</c:v>
                </c:pt>
                <c:pt idx="17555">
                  <c:v>0</c:v>
                </c:pt>
                <c:pt idx="17556">
                  <c:v>0</c:v>
                </c:pt>
                <c:pt idx="17557">
                  <c:v>0</c:v>
                </c:pt>
                <c:pt idx="17558">
                  <c:v>0</c:v>
                </c:pt>
                <c:pt idx="17559">
                  <c:v>0</c:v>
                </c:pt>
                <c:pt idx="17560">
                  <c:v>0</c:v>
                </c:pt>
                <c:pt idx="17561">
                  <c:v>0</c:v>
                </c:pt>
                <c:pt idx="17562">
                  <c:v>0</c:v>
                </c:pt>
                <c:pt idx="17563">
                  <c:v>0</c:v>
                </c:pt>
                <c:pt idx="17564">
                  <c:v>0</c:v>
                </c:pt>
                <c:pt idx="17565">
                  <c:v>0</c:v>
                </c:pt>
                <c:pt idx="17566">
                  <c:v>0</c:v>
                </c:pt>
                <c:pt idx="17567">
                  <c:v>0</c:v>
                </c:pt>
                <c:pt idx="17568">
                  <c:v>0</c:v>
                </c:pt>
                <c:pt idx="17569">
                  <c:v>0</c:v>
                </c:pt>
                <c:pt idx="17570">
                  <c:v>0</c:v>
                </c:pt>
                <c:pt idx="17571">
                  <c:v>0</c:v>
                </c:pt>
                <c:pt idx="17572">
                  <c:v>0</c:v>
                </c:pt>
                <c:pt idx="17573">
                  <c:v>0</c:v>
                </c:pt>
                <c:pt idx="17574">
                  <c:v>0</c:v>
                </c:pt>
                <c:pt idx="17575">
                  <c:v>0</c:v>
                </c:pt>
                <c:pt idx="17576">
                  <c:v>0</c:v>
                </c:pt>
                <c:pt idx="17577">
                  <c:v>0</c:v>
                </c:pt>
                <c:pt idx="17578">
                  <c:v>0</c:v>
                </c:pt>
                <c:pt idx="17579">
                  <c:v>0</c:v>
                </c:pt>
                <c:pt idx="17580">
                  <c:v>0</c:v>
                </c:pt>
                <c:pt idx="17581">
                  <c:v>0</c:v>
                </c:pt>
                <c:pt idx="17582">
                  <c:v>0</c:v>
                </c:pt>
                <c:pt idx="17583">
                  <c:v>0</c:v>
                </c:pt>
                <c:pt idx="17584">
                  <c:v>0</c:v>
                </c:pt>
                <c:pt idx="17585">
                  <c:v>0</c:v>
                </c:pt>
                <c:pt idx="17586">
                  <c:v>0</c:v>
                </c:pt>
                <c:pt idx="17587">
                  <c:v>0</c:v>
                </c:pt>
                <c:pt idx="17588">
                  <c:v>0</c:v>
                </c:pt>
                <c:pt idx="17589">
                  <c:v>0</c:v>
                </c:pt>
                <c:pt idx="17590">
                  <c:v>0</c:v>
                </c:pt>
                <c:pt idx="17591">
                  <c:v>0</c:v>
                </c:pt>
                <c:pt idx="17592">
                  <c:v>0</c:v>
                </c:pt>
                <c:pt idx="17593">
                  <c:v>0</c:v>
                </c:pt>
                <c:pt idx="17594">
                  <c:v>0</c:v>
                </c:pt>
                <c:pt idx="17595">
                  <c:v>0</c:v>
                </c:pt>
                <c:pt idx="17596">
                  <c:v>0</c:v>
                </c:pt>
                <c:pt idx="17597">
                  <c:v>0</c:v>
                </c:pt>
                <c:pt idx="17598">
                  <c:v>0</c:v>
                </c:pt>
                <c:pt idx="17599">
                  <c:v>0</c:v>
                </c:pt>
                <c:pt idx="17600">
                  <c:v>0</c:v>
                </c:pt>
                <c:pt idx="17601">
                  <c:v>0</c:v>
                </c:pt>
                <c:pt idx="17602">
                  <c:v>0</c:v>
                </c:pt>
                <c:pt idx="17603">
                  <c:v>0</c:v>
                </c:pt>
                <c:pt idx="17604">
                  <c:v>0</c:v>
                </c:pt>
                <c:pt idx="17605">
                  <c:v>0</c:v>
                </c:pt>
                <c:pt idx="17606">
                  <c:v>0</c:v>
                </c:pt>
                <c:pt idx="17607">
                  <c:v>0</c:v>
                </c:pt>
                <c:pt idx="17608">
                  <c:v>0</c:v>
                </c:pt>
                <c:pt idx="17609">
                  <c:v>0</c:v>
                </c:pt>
                <c:pt idx="17610">
                  <c:v>0</c:v>
                </c:pt>
                <c:pt idx="17611">
                  <c:v>0</c:v>
                </c:pt>
                <c:pt idx="17612">
                  <c:v>0</c:v>
                </c:pt>
                <c:pt idx="17613">
                  <c:v>0</c:v>
                </c:pt>
                <c:pt idx="17614">
                  <c:v>0</c:v>
                </c:pt>
                <c:pt idx="17615">
                  <c:v>0</c:v>
                </c:pt>
                <c:pt idx="17616">
                  <c:v>0</c:v>
                </c:pt>
                <c:pt idx="17617">
                  <c:v>0</c:v>
                </c:pt>
                <c:pt idx="17618">
                  <c:v>0</c:v>
                </c:pt>
                <c:pt idx="17619">
                  <c:v>0</c:v>
                </c:pt>
                <c:pt idx="17620">
                  <c:v>0</c:v>
                </c:pt>
                <c:pt idx="17621">
                  <c:v>0</c:v>
                </c:pt>
                <c:pt idx="17622">
                  <c:v>0</c:v>
                </c:pt>
                <c:pt idx="17623">
                  <c:v>0</c:v>
                </c:pt>
                <c:pt idx="17624">
                  <c:v>0</c:v>
                </c:pt>
                <c:pt idx="17625">
                  <c:v>0</c:v>
                </c:pt>
                <c:pt idx="17626">
                  <c:v>0</c:v>
                </c:pt>
                <c:pt idx="17627">
                  <c:v>0</c:v>
                </c:pt>
                <c:pt idx="17628">
                  <c:v>0</c:v>
                </c:pt>
                <c:pt idx="17629">
                  <c:v>0</c:v>
                </c:pt>
                <c:pt idx="17630">
                  <c:v>0</c:v>
                </c:pt>
                <c:pt idx="17631">
                  <c:v>0</c:v>
                </c:pt>
                <c:pt idx="17632">
                  <c:v>8</c:v>
                </c:pt>
                <c:pt idx="17633">
                  <c:v>5</c:v>
                </c:pt>
                <c:pt idx="17634">
                  <c:v>0</c:v>
                </c:pt>
                <c:pt idx="17635">
                  <c:v>0</c:v>
                </c:pt>
                <c:pt idx="17636">
                  <c:v>0</c:v>
                </c:pt>
                <c:pt idx="17637">
                  <c:v>0</c:v>
                </c:pt>
                <c:pt idx="17638">
                  <c:v>0</c:v>
                </c:pt>
                <c:pt idx="17639">
                  <c:v>0</c:v>
                </c:pt>
                <c:pt idx="17640">
                  <c:v>0</c:v>
                </c:pt>
                <c:pt idx="17641">
                  <c:v>0</c:v>
                </c:pt>
                <c:pt idx="17642">
                  <c:v>0</c:v>
                </c:pt>
                <c:pt idx="17643">
                  <c:v>0</c:v>
                </c:pt>
                <c:pt idx="17644">
                  <c:v>0</c:v>
                </c:pt>
                <c:pt idx="17645">
                  <c:v>0</c:v>
                </c:pt>
                <c:pt idx="17646">
                  <c:v>0</c:v>
                </c:pt>
                <c:pt idx="17647">
                  <c:v>0</c:v>
                </c:pt>
                <c:pt idx="17648">
                  <c:v>0</c:v>
                </c:pt>
                <c:pt idx="17649">
                  <c:v>0</c:v>
                </c:pt>
                <c:pt idx="17650">
                  <c:v>0</c:v>
                </c:pt>
                <c:pt idx="17651">
                  <c:v>0</c:v>
                </c:pt>
                <c:pt idx="17652">
                  <c:v>0</c:v>
                </c:pt>
                <c:pt idx="17653">
                  <c:v>0</c:v>
                </c:pt>
                <c:pt idx="17654">
                  <c:v>0</c:v>
                </c:pt>
                <c:pt idx="17655">
                  <c:v>0</c:v>
                </c:pt>
                <c:pt idx="17656">
                  <c:v>0</c:v>
                </c:pt>
                <c:pt idx="17657">
                  <c:v>0</c:v>
                </c:pt>
                <c:pt idx="17658">
                  <c:v>0</c:v>
                </c:pt>
                <c:pt idx="17659">
                  <c:v>1</c:v>
                </c:pt>
                <c:pt idx="17660">
                  <c:v>0</c:v>
                </c:pt>
                <c:pt idx="17661">
                  <c:v>0</c:v>
                </c:pt>
                <c:pt idx="17662">
                  <c:v>0</c:v>
                </c:pt>
                <c:pt idx="17663">
                  <c:v>0</c:v>
                </c:pt>
                <c:pt idx="17664">
                  <c:v>0</c:v>
                </c:pt>
                <c:pt idx="17665">
                  <c:v>0</c:v>
                </c:pt>
                <c:pt idx="17666">
                  <c:v>0</c:v>
                </c:pt>
                <c:pt idx="17667">
                  <c:v>0</c:v>
                </c:pt>
                <c:pt idx="17668">
                  <c:v>0</c:v>
                </c:pt>
                <c:pt idx="17669">
                  <c:v>0</c:v>
                </c:pt>
                <c:pt idx="17670">
                  <c:v>0</c:v>
                </c:pt>
                <c:pt idx="17671">
                  <c:v>0</c:v>
                </c:pt>
                <c:pt idx="17672">
                  <c:v>0</c:v>
                </c:pt>
                <c:pt idx="17673">
                  <c:v>0</c:v>
                </c:pt>
                <c:pt idx="17674">
                  <c:v>0</c:v>
                </c:pt>
                <c:pt idx="17675">
                  <c:v>0</c:v>
                </c:pt>
                <c:pt idx="17676">
                  <c:v>0</c:v>
                </c:pt>
                <c:pt idx="17677">
                  <c:v>0</c:v>
                </c:pt>
                <c:pt idx="17678">
                  <c:v>0</c:v>
                </c:pt>
                <c:pt idx="17679">
                  <c:v>0</c:v>
                </c:pt>
                <c:pt idx="17680">
                  <c:v>0</c:v>
                </c:pt>
                <c:pt idx="17681">
                  <c:v>0</c:v>
                </c:pt>
                <c:pt idx="17682">
                  <c:v>0</c:v>
                </c:pt>
                <c:pt idx="17683">
                  <c:v>0</c:v>
                </c:pt>
                <c:pt idx="17684">
                  <c:v>0</c:v>
                </c:pt>
                <c:pt idx="17685">
                  <c:v>0</c:v>
                </c:pt>
                <c:pt idx="17686">
                  <c:v>0</c:v>
                </c:pt>
                <c:pt idx="17687">
                  <c:v>0</c:v>
                </c:pt>
                <c:pt idx="17688">
                  <c:v>0</c:v>
                </c:pt>
                <c:pt idx="17689">
                  <c:v>0</c:v>
                </c:pt>
                <c:pt idx="17690">
                  <c:v>0</c:v>
                </c:pt>
                <c:pt idx="17691">
                  <c:v>0</c:v>
                </c:pt>
                <c:pt idx="17692">
                  <c:v>0</c:v>
                </c:pt>
                <c:pt idx="17693">
                  <c:v>0</c:v>
                </c:pt>
                <c:pt idx="17694">
                  <c:v>0</c:v>
                </c:pt>
                <c:pt idx="17695">
                  <c:v>0</c:v>
                </c:pt>
                <c:pt idx="17696">
                  <c:v>0</c:v>
                </c:pt>
                <c:pt idx="17697">
                  <c:v>0</c:v>
                </c:pt>
                <c:pt idx="17698">
                  <c:v>0</c:v>
                </c:pt>
                <c:pt idx="17699">
                  <c:v>0</c:v>
                </c:pt>
                <c:pt idx="17700">
                  <c:v>0</c:v>
                </c:pt>
                <c:pt idx="17701">
                  <c:v>0</c:v>
                </c:pt>
                <c:pt idx="17702">
                  <c:v>0</c:v>
                </c:pt>
                <c:pt idx="17703">
                  <c:v>0</c:v>
                </c:pt>
                <c:pt idx="17704">
                  <c:v>0</c:v>
                </c:pt>
                <c:pt idx="17705">
                  <c:v>0</c:v>
                </c:pt>
                <c:pt idx="17706">
                  <c:v>0</c:v>
                </c:pt>
                <c:pt idx="17707">
                  <c:v>0</c:v>
                </c:pt>
                <c:pt idx="17708">
                  <c:v>0</c:v>
                </c:pt>
                <c:pt idx="17709">
                  <c:v>0</c:v>
                </c:pt>
                <c:pt idx="17710">
                  <c:v>0</c:v>
                </c:pt>
                <c:pt idx="17711">
                  <c:v>0</c:v>
                </c:pt>
                <c:pt idx="17712">
                  <c:v>1</c:v>
                </c:pt>
                <c:pt idx="17713">
                  <c:v>0</c:v>
                </c:pt>
                <c:pt idx="17714">
                  <c:v>0</c:v>
                </c:pt>
                <c:pt idx="17715">
                  <c:v>0</c:v>
                </c:pt>
                <c:pt idx="17716">
                  <c:v>4</c:v>
                </c:pt>
                <c:pt idx="17717">
                  <c:v>2</c:v>
                </c:pt>
                <c:pt idx="17718">
                  <c:v>3</c:v>
                </c:pt>
                <c:pt idx="17719">
                  <c:v>0</c:v>
                </c:pt>
                <c:pt idx="17720">
                  <c:v>0</c:v>
                </c:pt>
                <c:pt idx="17721">
                  <c:v>0</c:v>
                </c:pt>
                <c:pt idx="17722">
                  <c:v>0</c:v>
                </c:pt>
                <c:pt idx="17723">
                  <c:v>0</c:v>
                </c:pt>
                <c:pt idx="17724">
                  <c:v>0</c:v>
                </c:pt>
                <c:pt idx="17725">
                  <c:v>0</c:v>
                </c:pt>
                <c:pt idx="17726">
                  <c:v>0</c:v>
                </c:pt>
                <c:pt idx="17727">
                  <c:v>0</c:v>
                </c:pt>
                <c:pt idx="17728">
                  <c:v>0</c:v>
                </c:pt>
                <c:pt idx="17729">
                  <c:v>0</c:v>
                </c:pt>
                <c:pt idx="17730">
                  <c:v>0</c:v>
                </c:pt>
                <c:pt idx="17731">
                  <c:v>0</c:v>
                </c:pt>
                <c:pt idx="17732">
                  <c:v>0</c:v>
                </c:pt>
                <c:pt idx="17733">
                  <c:v>0</c:v>
                </c:pt>
                <c:pt idx="17734">
                  <c:v>0</c:v>
                </c:pt>
                <c:pt idx="17735">
                  <c:v>0</c:v>
                </c:pt>
                <c:pt idx="17736">
                  <c:v>0</c:v>
                </c:pt>
                <c:pt idx="17737">
                  <c:v>0</c:v>
                </c:pt>
                <c:pt idx="17738">
                  <c:v>0</c:v>
                </c:pt>
                <c:pt idx="17739">
                  <c:v>0</c:v>
                </c:pt>
                <c:pt idx="17740">
                  <c:v>0</c:v>
                </c:pt>
                <c:pt idx="17741">
                  <c:v>0</c:v>
                </c:pt>
                <c:pt idx="17742">
                  <c:v>0</c:v>
                </c:pt>
                <c:pt idx="17743">
                  <c:v>0</c:v>
                </c:pt>
                <c:pt idx="17744">
                  <c:v>0</c:v>
                </c:pt>
                <c:pt idx="17745">
                  <c:v>0</c:v>
                </c:pt>
                <c:pt idx="17746">
                  <c:v>0</c:v>
                </c:pt>
                <c:pt idx="17747">
                  <c:v>0</c:v>
                </c:pt>
                <c:pt idx="17748">
                  <c:v>0</c:v>
                </c:pt>
                <c:pt idx="17749">
                  <c:v>0</c:v>
                </c:pt>
                <c:pt idx="17750">
                  <c:v>0</c:v>
                </c:pt>
                <c:pt idx="17751">
                  <c:v>0</c:v>
                </c:pt>
                <c:pt idx="17752">
                  <c:v>0</c:v>
                </c:pt>
                <c:pt idx="17753">
                  <c:v>0</c:v>
                </c:pt>
                <c:pt idx="17754">
                  <c:v>0</c:v>
                </c:pt>
                <c:pt idx="17755">
                  <c:v>0</c:v>
                </c:pt>
                <c:pt idx="17756">
                  <c:v>0</c:v>
                </c:pt>
                <c:pt idx="17757">
                  <c:v>0</c:v>
                </c:pt>
                <c:pt idx="17758">
                  <c:v>0</c:v>
                </c:pt>
                <c:pt idx="17759">
                  <c:v>0</c:v>
                </c:pt>
                <c:pt idx="17760">
                  <c:v>0</c:v>
                </c:pt>
                <c:pt idx="17761">
                  <c:v>0</c:v>
                </c:pt>
                <c:pt idx="17762">
                  <c:v>0</c:v>
                </c:pt>
                <c:pt idx="17763">
                  <c:v>0</c:v>
                </c:pt>
                <c:pt idx="17764">
                  <c:v>0</c:v>
                </c:pt>
                <c:pt idx="17765">
                  <c:v>0</c:v>
                </c:pt>
                <c:pt idx="17766">
                  <c:v>0</c:v>
                </c:pt>
                <c:pt idx="17767">
                  <c:v>0</c:v>
                </c:pt>
                <c:pt idx="17768">
                  <c:v>0</c:v>
                </c:pt>
                <c:pt idx="17769">
                  <c:v>0</c:v>
                </c:pt>
                <c:pt idx="17770">
                  <c:v>0</c:v>
                </c:pt>
                <c:pt idx="17771">
                  <c:v>0</c:v>
                </c:pt>
                <c:pt idx="17772">
                  <c:v>0</c:v>
                </c:pt>
                <c:pt idx="17773">
                  <c:v>0</c:v>
                </c:pt>
                <c:pt idx="17774">
                  <c:v>0</c:v>
                </c:pt>
                <c:pt idx="17775">
                  <c:v>0</c:v>
                </c:pt>
                <c:pt idx="17776">
                  <c:v>0</c:v>
                </c:pt>
                <c:pt idx="17777">
                  <c:v>0</c:v>
                </c:pt>
                <c:pt idx="17778">
                  <c:v>0</c:v>
                </c:pt>
                <c:pt idx="17779">
                  <c:v>0</c:v>
                </c:pt>
                <c:pt idx="17780">
                  <c:v>0</c:v>
                </c:pt>
                <c:pt idx="17781">
                  <c:v>0</c:v>
                </c:pt>
                <c:pt idx="17782">
                  <c:v>0</c:v>
                </c:pt>
                <c:pt idx="17783">
                  <c:v>0</c:v>
                </c:pt>
                <c:pt idx="17784">
                  <c:v>0</c:v>
                </c:pt>
                <c:pt idx="17785">
                  <c:v>0</c:v>
                </c:pt>
                <c:pt idx="17786">
                  <c:v>0</c:v>
                </c:pt>
                <c:pt idx="17787">
                  <c:v>0</c:v>
                </c:pt>
                <c:pt idx="17788">
                  <c:v>0</c:v>
                </c:pt>
                <c:pt idx="17789">
                  <c:v>0</c:v>
                </c:pt>
                <c:pt idx="17790">
                  <c:v>0</c:v>
                </c:pt>
                <c:pt idx="17791">
                  <c:v>0</c:v>
                </c:pt>
                <c:pt idx="17792">
                  <c:v>0</c:v>
                </c:pt>
                <c:pt idx="17793">
                  <c:v>0</c:v>
                </c:pt>
                <c:pt idx="17794">
                  <c:v>0</c:v>
                </c:pt>
                <c:pt idx="17795">
                  <c:v>0</c:v>
                </c:pt>
                <c:pt idx="17796">
                  <c:v>0</c:v>
                </c:pt>
                <c:pt idx="17797">
                  <c:v>0</c:v>
                </c:pt>
                <c:pt idx="17798">
                  <c:v>0</c:v>
                </c:pt>
                <c:pt idx="17799">
                  <c:v>0</c:v>
                </c:pt>
                <c:pt idx="17800">
                  <c:v>0</c:v>
                </c:pt>
                <c:pt idx="17801">
                  <c:v>0</c:v>
                </c:pt>
                <c:pt idx="17802">
                  <c:v>0</c:v>
                </c:pt>
                <c:pt idx="17803">
                  <c:v>0</c:v>
                </c:pt>
                <c:pt idx="17804">
                  <c:v>0</c:v>
                </c:pt>
                <c:pt idx="17805">
                  <c:v>0</c:v>
                </c:pt>
                <c:pt idx="17806">
                  <c:v>0</c:v>
                </c:pt>
                <c:pt idx="17807">
                  <c:v>0</c:v>
                </c:pt>
                <c:pt idx="17808">
                  <c:v>0</c:v>
                </c:pt>
                <c:pt idx="17809">
                  <c:v>0</c:v>
                </c:pt>
                <c:pt idx="17810">
                  <c:v>0</c:v>
                </c:pt>
                <c:pt idx="17811">
                  <c:v>0</c:v>
                </c:pt>
                <c:pt idx="17812">
                  <c:v>0</c:v>
                </c:pt>
                <c:pt idx="17813">
                  <c:v>0</c:v>
                </c:pt>
                <c:pt idx="17814">
                  <c:v>0</c:v>
                </c:pt>
                <c:pt idx="17815">
                  <c:v>0</c:v>
                </c:pt>
                <c:pt idx="17816">
                  <c:v>0</c:v>
                </c:pt>
                <c:pt idx="17817">
                  <c:v>0</c:v>
                </c:pt>
                <c:pt idx="17818">
                  <c:v>0</c:v>
                </c:pt>
                <c:pt idx="17819">
                  <c:v>0</c:v>
                </c:pt>
                <c:pt idx="17820">
                  <c:v>0</c:v>
                </c:pt>
                <c:pt idx="17821">
                  <c:v>0</c:v>
                </c:pt>
                <c:pt idx="17822">
                  <c:v>0</c:v>
                </c:pt>
                <c:pt idx="17823">
                  <c:v>0</c:v>
                </c:pt>
                <c:pt idx="17824">
                  <c:v>0</c:v>
                </c:pt>
                <c:pt idx="17825">
                  <c:v>0</c:v>
                </c:pt>
                <c:pt idx="17826">
                  <c:v>0</c:v>
                </c:pt>
                <c:pt idx="17827">
                  <c:v>0</c:v>
                </c:pt>
                <c:pt idx="17828">
                  <c:v>0</c:v>
                </c:pt>
                <c:pt idx="17829">
                  <c:v>0</c:v>
                </c:pt>
                <c:pt idx="17830">
                  <c:v>0</c:v>
                </c:pt>
                <c:pt idx="17831">
                  <c:v>0</c:v>
                </c:pt>
                <c:pt idx="17832">
                  <c:v>0</c:v>
                </c:pt>
                <c:pt idx="17833">
                  <c:v>0</c:v>
                </c:pt>
                <c:pt idx="17834">
                  <c:v>0</c:v>
                </c:pt>
                <c:pt idx="17835">
                  <c:v>0</c:v>
                </c:pt>
                <c:pt idx="17836">
                  <c:v>0</c:v>
                </c:pt>
                <c:pt idx="17837">
                  <c:v>0</c:v>
                </c:pt>
                <c:pt idx="17838">
                  <c:v>0</c:v>
                </c:pt>
                <c:pt idx="17839">
                  <c:v>0</c:v>
                </c:pt>
                <c:pt idx="17840">
                  <c:v>0</c:v>
                </c:pt>
                <c:pt idx="17841">
                  <c:v>0</c:v>
                </c:pt>
                <c:pt idx="17842">
                  <c:v>0</c:v>
                </c:pt>
                <c:pt idx="17843">
                  <c:v>0</c:v>
                </c:pt>
                <c:pt idx="17844">
                  <c:v>0</c:v>
                </c:pt>
                <c:pt idx="17845">
                  <c:v>0</c:v>
                </c:pt>
                <c:pt idx="17846">
                  <c:v>0</c:v>
                </c:pt>
                <c:pt idx="17847">
                  <c:v>0</c:v>
                </c:pt>
                <c:pt idx="17848">
                  <c:v>0</c:v>
                </c:pt>
                <c:pt idx="17849">
                  <c:v>0</c:v>
                </c:pt>
                <c:pt idx="17850">
                  <c:v>3</c:v>
                </c:pt>
                <c:pt idx="17851">
                  <c:v>0</c:v>
                </c:pt>
                <c:pt idx="17852">
                  <c:v>0</c:v>
                </c:pt>
                <c:pt idx="17853">
                  <c:v>0</c:v>
                </c:pt>
                <c:pt idx="17854">
                  <c:v>0</c:v>
                </c:pt>
                <c:pt idx="17855">
                  <c:v>0</c:v>
                </c:pt>
                <c:pt idx="17856">
                  <c:v>0</c:v>
                </c:pt>
                <c:pt idx="17857">
                  <c:v>0</c:v>
                </c:pt>
                <c:pt idx="17858">
                  <c:v>0</c:v>
                </c:pt>
                <c:pt idx="17859">
                  <c:v>0</c:v>
                </c:pt>
                <c:pt idx="17860">
                  <c:v>0</c:v>
                </c:pt>
                <c:pt idx="17861">
                  <c:v>0</c:v>
                </c:pt>
                <c:pt idx="17862">
                  <c:v>0</c:v>
                </c:pt>
                <c:pt idx="17863">
                  <c:v>0</c:v>
                </c:pt>
                <c:pt idx="17864">
                  <c:v>0</c:v>
                </c:pt>
                <c:pt idx="17865">
                  <c:v>0</c:v>
                </c:pt>
                <c:pt idx="17866">
                  <c:v>0</c:v>
                </c:pt>
                <c:pt idx="17867">
                  <c:v>0</c:v>
                </c:pt>
                <c:pt idx="17868">
                  <c:v>0</c:v>
                </c:pt>
                <c:pt idx="17869">
                  <c:v>0</c:v>
                </c:pt>
                <c:pt idx="17870">
                  <c:v>5</c:v>
                </c:pt>
                <c:pt idx="17871">
                  <c:v>0</c:v>
                </c:pt>
                <c:pt idx="17872">
                  <c:v>0</c:v>
                </c:pt>
                <c:pt idx="17873">
                  <c:v>0</c:v>
                </c:pt>
                <c:pt idx="17874">
                  <c:v>0</c:v>
                </c:pt>
                <c:pt idx="17875">
                  <c:v>0</c:v>
                </c:pt>
                <c:pt idx="17876">
                  <c:v>0</c:v>
                </c:pt>
                <c:pt idx="17877">
                  <c:v>0</c:v>
                </c:pt>
                <c:pt idx="17878">
                  <c:v>0</c:v>
                </c:pt>
                <c:pt idx="17879">
                  <c:v>0</c:v>
                </c:pt>
                <c:pt idx="17880">
                  <c:v>0</c:v>
                </c:pt>
                <c:pt idx="17881">
                  <c:v>0</c:v>
                </c:pt>
                <c:pt idx="17882">
                  <c:v>0</c:v>
                </c:pt>
                <c:pt idx="17883">
                  <c:v>0</c:v>
                </c:pt>
                <c:pt idx="17884">
                  <c:v>0</c:v>
                </c:pt>
                <c:pt idx="17885">
                  <c:v>0</c:v>
                </c:pt>
                <c:pt idx="17886">
                  <c:v>0</c:v>
                </c:pt>
                <c:pt idx="17887">
                  <c:v>0</c:v>
                </c:pt>
                <c:pt idx="17888">
                  <c:v>0</c:v>
                </c:pt>
                <c:pt idx="17889">
                  <c:v>1</c:v>
                </c:pt>
                <c:pt idx="17890">
                  <c:v>0</c:v>
                </c:pt>
                <c:pt idx="17891">
                  <c:v>0</c:v>
                </c:pt>
                <c:pt idx="17892">
                  <c:v>0</c:v>
                </c:pt>
                <c:pt idx="17893">
                  <c:v>0</c:v>
                </c:pt>
                <c:pt idx="17894">
                  <c:v>0</c:v>
                </c:pt>
                <c:pt idx="17895">
                  <c:v>0</c:v>
                </c:pt>
                <c:pt idx="17896">
                  <c:v>0</c:v>
                </c:pt>
                <c:pt idx="17897">
                  <c:v>0</c:v>
                </c:pt>
                <c:pt idx="17898">
                  <c:v>0</c:v>
                </c:pt>
                <c:pt idx="17899">
                  <c:v>0</c:v>
                </c:pt>
                <c:pt idx="17900">
                  <c:v>0</c:v>
                </c:pt>
                <c:pt idx="17901">
                  <c:v>0</c:v>
                </c:pt>
                <c:pt idx="17902">
                  <c:v>0</c:v>
                </c:pt>
                <c:pt idx="17903">
                  <c:v>0</c:v>
                </c:pt>
                <c:pt idx="17904">
                  <c:v>0</c:v>
                </c:pt>
                <c:pt idx="17905">
                  <c:v>0</c:v>
                </c:pt>
                <c:pt idx="17906">
                  <c:v>0</c:v>
                </c:pt>
                <c:pt idx="17907">
                  <c:v>0</c:v>
                </c:pt>
                <c:pt idx="17908">
                  <c:v>0</c:v>
                </c:pt>
                <c:pt idx="17909">
                  <c:v>0</c:v>
                </c:pt>
                <c:pt idx="17910">
                  <c:v>0</c:v>
                </c:pt>
                <c:pt idx="17911">
                  <c:v>0</c:v>
                </c:pt>
                <c:pt idx="17912">
                  <c:v>0</c:v>
                </c:pt>
                <c:pt idx="17913">
                  <c:v>0</c:v>
                </c:pt>
                <c:pt idx="17914">
                  <c:v>0</c:v>
                </c:pt>
                <c:pt idx="17915">
                  <c:v>0</c:v>
                </c:pt>
                <c:pt idx="17916">
                  <c:v>0</c:v>
                </c:pt>
                <c:pt idx="17917">
                  <c:v>2</c:v>
                </c:pt>
                <c:pt idx="17918">
                  <c:v>0</c:v>
                </c:pt>
                <c:pt idx="17919">
                  <c:v>0</c:v>
                </c:pt>
                <c:pt idx="17920">
                  <c:v>0</c:v>
                </c:pt>
                <c:pt idx="17921">
                  <c:v>0</c:v>
                </c:pt>
                <c:pt idx="17922">
                  <c:v>0</c:v>
                </c:pt>
                <c:pt idx="17923">
                  <c:v>0</c:v>
                </c:pt>
                <c:pt idx="17924">
                  <c:v>0</c:v>
                </c:pt>
                <c:pt idx="17925">
                  <c:v>0</c:v>
                </c:pt>
                <c:pt idx="17926">
                  <c:v>0</c:v>
                </c:pt>
                <c:pt idx="17927">
                  <c:v>0</c:v>
                </c:pt>
                <c:pt idx="17928">
                  <c:v>0</c:v>
                </c:pt>
                <c:pt idx="17929">
                  <c:v>0</c:v>
                </c:pt>
                <c:pt idx="17930">
                  <c:v>0</c:v>
                </c:pt>
                <c:pt idx="17931">
                  <c:v>0</c:v>
                </c:pt>
                <c:pt idx="17932">
                  <c:v>0</c:v>
                </c:pt>
                <c:pt idx="17933">
                  <c:v>0</c:v>
                </c:pt>
                <c:pt idx="17934">
                  <c:v>0</c:v>
                </c:pt>
                <c:pt idx="17935">
                  <c:v>0</c:v>
                </c:pt>
                <c:pt idx="17936">
                  <c:v>0</c:v>
                </c:pt>
                <c:pt idx="17937">
                  <c:v>0</c:v>
                </c:pt>
                <c:pt idx="17938">
                  <c:v>0</c:v>
                </c:pt>
                <c:pt idx="17939">
                  <c:v>0</c:v>
                </c:pt>
                <c:pt idx="17940">
                  <c:v>0</c:v>
                </c:pt>
                <c:pt idx="17941">
                  <c:v>0</c:v>
                </c:pt>
                <c:pt idx="17942">
                  <c:v>0</c:v>
                </c:pt>
                <c:pt idx="17943">
                  <c:v>0</c:v>
                </c:pt>
                <c:pt idx="17944">
                  <c:v>0</c:v>
                </c:pt>
                <c:pt idx="17945">
                  <c:v>0</c:v>
                </c:pt>
                <c:pt idx="17946">
                  <c:v>0</c:v>
                </c:pt>
                <c:pt idx="17947">
                  <c:v>0</c:v>
                </c:pt>
                <c:pt idx="17948">
                  <c:v>0</c:v>
                </c:pt>
                <c:pt idx="17949">
                  <c:v>0</c:v>
                </c:pt>
                <c:pt idx="17950">
                  <c:v>0</c:v>
                </c:pt>
                <c:pt idx="17951">
                  <c:v>0</c:v>
                </c:pt>
                <c:pt idx="17952">
                  <c:v>0</c:v>
                </c:pt>
                <c:pt idx="17953">
                  <c:v>0</c:v>
                </c:pt>
                <c:pt idx="17954">
                  <c:v>0</c:v>
                </c:pt>
                <c:pt idx="17955">
                  <c:v>0</c:v>
                </c:pt>
                <c:pt idx="17956">
                  <c:v>0</c:v>
                </c:pt>
                <c:pt idx="17957">
                  <c:v>0</c:v>
                </c:pt>
                <c:pt idx="17958">
                  <c:v>0</c:v>
                </c:pt>
                <c:pt idx="17959">
                  <c:v>0</c:v>
                </c:pt>
                <c:pt idx="17960">
                  <c:v>0</c:v>
                </c:pt>
                <c:pt idx="17961">
                  <c:v>0</c:v>
                </c:pt>
                <c:pt idx="17962">
                  <c:v>0</c:v>
                </c:pt>
                <c:pt idx="17963">
                  <c:v>0</c:v>
                </c:pt>
                <c:pt idx="17964">
                  <c:v>0</c:v>
                </c:pt>
                <c:pt idx="17965">
                  <c:v>0</c:v>
                </c:pt>
                <c:pt idx="17966">
                  <c:v>0</c:v>
                </c:pt>
                <c:pt idx="17967">
                  <c:v>0</c:v>
                </c:pt>
                <c:pt idx="17968">
                  <c:v>1</c:v>
                </c:pt>
                <c:pt idx="17969">
                  <c:v>0</c:v>
                </c:pt>
                <c:pt idx="17970">
                  <c:v>0</c:v>
                </c:pt>
                <c:pt idx="17971">
                  <c:v>0</c:v>
                </c:pt>
                <c:pt idx="17972">
                  <c:v>0</c:v>
                </c:pt>
                <c:pt idx="17973">
                  <c:v>0</c:v>
                </c:pt>
                <c:pt idx="17974">
                  <c:v>0</c:v>
                </c:pt>
                <c:pt idx="17975">
                  <c:v>0</c:v>
                </c:pt>
                <c:pt idx="17976">
                  <c:v>0</c:v>
                </c:pt>
                <c:pt idx="17977">
                  <c:v>0</c:v>
                </c:pt>
                <c:pt idx="17978">
                  <c:v>0</c:v>
                </c:pt>
                <c:pt idx="17979">
                  <c:v>0</c:v>
                </c:pt>
                <c:pt idx="17980">
                  <c:v>0</c:v>
                </c:pt>
                <c:pt idx="17981">
                  <c:v>0</c:v>
                </c:pt>
                <c:pt idx="17982">
                  <c:v>0</c:v>
                </c:pt>
                <c:pt idx="17983">
                  <c:v>0</c:v>
                </c:pt>
                <c:pt idx="17984">
                  <c:v>0</c:v>
                </c:pt>
                <c:pt idx="17985">
                  <c:v>0</c:v>
                </c:pt>
                <c:pt idx="17986">
                  <c:v>0</c:v>
                </c:pt>
                <c:pt idx="17987">
                  <c:v>0</c:v>
                </c:pt>
                <c:pt idx="17988">
                  <c:v>0</c:v>
                </c:pt>
                <c:pt idx="17989">
                  <c:v>0</c:v>
                </c:pt>
                <c:pt idx="17990">
                  <c:v>0</c:v>
                </c:pt>
                <c:pt idx="17991">
                  <c:v>0</c:v>
                </c:pt>
                <c:pt idx="17992">
                  <c:v>0</c:v>
                </c:pt>
                <c:pt idx="17993">
                  <c:v>0</c:v>
                </c:pt>
                <c:pt idx="17994">
                  <c:v>0</c:v>
                </c:pt>
                <c:pt idx="17995">
                  <c:v>0</c:v>
                </c:pt>
                <c:pt idx="17996">
                  <c:v>0</c:v>
                </c:pt>
                <c:pt idx="17997">
                  <c:v>0</c:v>
                </c:pt>
                <c:pt idx="17998">
                  <c:v>0</c:v>
                </c:pt>
                <c:pt idx="17999">
                  <c:v>0</c:v>
                </c:pt>
                <c:pt idx="18000">
                  <c:v>0</c:v>
                </c:pt>
                <c:pt idx="18001">
                  <c:v>0</c:v>
                </c:pt>
                <c:pt idx="18002">
                  <c:v>0</c:v>
                </c:pt>
                <c:pt idx="18003">
                  <c:v>0</c:v>
                </c:pt>
                <c:pt idx="18004">
                  <c:v>0</c:v>
                </c:pt>
                <c:pt idx="18005">
                  <c:v>0</c:v>
                </c:pt>
                <c:pt idx="18006">
                  <c:v>0</c:v>
                </c:pt>
                <c:pt idx="18007">
                  <c:v>0</c:v>
                </c:pt>
                <c:pt idx="18008">
                  <c:v>0</c:v>
                </c:pt>
                <c:pt idx="18009">
                  <c:v>0</c:v>
                </c:pt>
                <c:pt idx="18010">
                  <c:v>0</c:v>
                </c:pt>
                <c:pt idx="18011">
                  <c:v>0</c:v>
                </c:pt>
                <c:pt idx="18012">
                  <c:v>0</c:v>
                </c:pt>
                <c:pt idx="18013">
                  <c:v>0</c:v>
                </c:pt>
                <c:pt idx="18014">
                  <c:v>0</c:v>
                </c:pt>
                <c:pt idx="18015">
                  <c:v>0</c:v>
                </c:pt>
                <c:pt idx="18016">
                  <c:v>0</c:v>
                </c:pt>
                <c:pt idx="18017">
                  <c:v>0</c:v>
                </c:pt>
                <c:pt idx="18018">
                  <c:v>0</c:v>
                </c:pt>
                <c:pt idx="18019">
                  <c:v>0</c:v>
                </c:pt>
                <c:pt idx="18020">
                  <c:v>0</c:v>
                </c:pt>
                <c:pt idx="18021">
                  <c:v>0</c:v>
                </c:pt>
                <c:pt idx="18022">
                  <c:v>0</c:v>
                </c:pt>
                <c:pt idx="18023">
                  <c:v>0</c:v>
                </c:pt>
                <c:pt idx="18024">
                  <c:v>0</c:v>
                </c:pt>
                <c:pt idx="18025">
                  <c:v>0</c:v>
                </c:pt>
                <c:pt idx="18026">
                  <c:v>0</c:v>
                </c:pt>
                <c:pt idx="18027">
                  <c:v>0</c:v>
                </c:pt>
                <c:pt idx="18028">
                  <c:v>0</c:v>
                </c:pt>
                <c:pt idx="18029">
                  <c:v>0</c:v>
                </c:pt>
                <c:pt idx="18030">
                  <c:v>0</c:v>
                </c:pt>
                <c:pt idx="18031">
                  <c:v>0</c:v>
                </c:pt>
                <c:pt idx="18032">
                  <c:v>7</c:v>
                </c:pt>
                <c:pt idx="18033">
                  <c:v>5</c:v>
                </c:pt>
                <c:pt idx="18034">
                  <c:v>2</c:v>
                </c:pt>
                <c:pt idx="18035">
                  <c:v>2</c:v>
                </c:pt>
                <c:pt idx="18036">
                  <c:v>0</c:v>
                </c:pt>
                <c:pt idx="18037">
                  <c:v>0</c:v>
                </c:pt>
                <c:pt idx="18038">
                  <c:v>0</c:v>
                </c:pt>
                <c:pt idx="18039">
                  <c:v>0</c:v>
                </c:pt>
                <c:pt idx="18040">
                  <c:v>0</c:v>
                </c:pt>
                <c:pt idx="18041">
                  <c:v>0</c:v>
                </c:pt>
                <c:pt idx="18042">
                  <c:v>0</c:v>
                </c:pt>
                <c:pt idx="18043">
                  <c:v>0</c:v>
                </c:pt>
                <c:pt idx="18044">
                  <c:v>0</c:v>
                </c:pt>
                <c:pt idx="18045">
                  <c:v>0</c:v>
                </c:pt>
                <c:pt idx="18046">
                  <c:v>0</c:v>
                </c:pt>
                <c:pt idx="18047">
                  <c:v>0</c:v>
                </c:pt>
                <c:pt idx="18048">
                  <c:v>0</c:v>
                </c:pt>
                <c:pt idx="18049">
                  <c:v>0</c:v>
                </c:pt>
                <c:pt idx="18050">
                  <c:v>0</c:v>
                </c:pt>
                <c:pt idx="18051">
                  <c:v>0</c:v>
                </c:pt>
                <c:pt idx="18052">
                  <c:v>0</c:v>
                </c:pt>
                <c:pt idx="18053">
                  <c:v>0</c:v>
                </c:pt>
                <c:pt idx="18054">
                  <c:v>0</c:v>
                </c:pt>
                <c:pt idx="18055">
                  <c:v>0</c:v>
                </c:pt>
                <c:pt idx="18056">
                  <c:v>0</c:v>
                </c:pt>
                <c:pt idx="18057">
                  <c:v>0</c:v>
                </c:pt>
                <c:pt idx="18058">
                  <c:v>0</c:v>
                </c:pt>
                <c:pt idx="18059">
                  <c:v>0</c:v>
                </c:pt>
                <c:pt idx="18060">
                  <c:v>0</c:v>
                </c:pt>
                <c:pt idx="18061">
                  <c:v>0</c:v>
                </c:pt>
                <c:pt idx="18062">
                  <c:v>0</c:v>
                </c:pt>
                <c:pt idx="18063">
                  <c:v>0</c:v>
                </c:pt>
                <c:pt idx="18064">
                  <c:v>0</c:v>
                </c:pt>
                <c:pt idx="18065">
                  <c:v>0</c:v>
                </c:pt>
                <c:pt idx="18066">
                  <c:v>0</c:v>
                </c:pt>
                <c:pt idx="18067">
                  <c:v>0</c:v>
                </c:pt>
                <c:pt idx="18068">
                  <c:v>0</c:v>
                </c:pt>
                <c:pt idx="18069">
                  <c:v>0</c:v>
                </c:pt>
                <c:pt idx="18070">
                  <c:v>0</c:v>
                </c:pt>
                <c:pt idx="18071">
                  <c:v>0</c:v>
                </c:pt>
                <c:pt idx="18072">
                  <c:v>0</c:v>
                </c:pt>
                <c:pt idx="18073">
                  <c:v>0</c:v>
                </c:pt>
                <c:pt idx="18074">
                  <c:v>0</c:v>
                </c:pt>
                <c:pt idx="18075">
                  <c:v>0</c:v>
                </c:pt>
                <c:pt idx="18076">
                  <c:v>0</c:v>
                </c:pt>
                <c:pt idx="18077">
                  <c:v>0</c:v>
                </c:pt>
                <c:pt idx="18078">
                  <c:v>0</c:v>
                </c:pt>
                <c:pt idx="18079">
                  <c:v>0</c:v>
                </c:pt>
                <c:pt idx="18080">
                  <c:v>0</c:v>
                </c:pt>
                <c:pt idx="18081">
                  <c:v>0</c:v>
                </c:pt>
                <c:pt idx="18082">
                  <c:v>0</c:v>
                </c:pt>
                <c:pt idx="18083">
                  <c:v>3</c:v>
                </c:pt>
                <c:pt idx="18084">
                  <c:v>0</c:v>
                </c:pt>
                <c:pt idx="18085">
                  <c:v>0</c:v>
                </c:pt>
                <c:pt idx="18086">
                  <c:v>0</c:v>
                </c:pt>
                <c:pt idx="18087">
                  <c:v>0</c:v>
                </c:pt>
                <c:pt idx="18088">
                  <c:v>0</c:v>
                </c:pt>
                <c:pt idx="18089">
                  <c:v>0</c:v>
                </c:pt>
                <c:pt idx="18090">
                  <c:v>0</c:v>
                </c:pt>
                <c:pt idx="18091">
                  <c:v>0</c:v>
                </c:pt>
                <c:pt idx="18092">
                  <c:v>0</c:v>
                </c:pt>
                <c:pt idx="18093">
                  <c:v>0</c:v>
                </c:pt>
                <c:pt idx="18094">
                  <c:v>0</c:v>
                </c:pt>
                <c:pt idx="18095">
                  <c:v>0</c:v>
                </c:pt>
                <c:pt idx="18096">
                  <c:v>0</c:v>
                </c:pt>
                <c:pt idx="18097">
                  <c:v>0</c:v>
                </c:pt>
                <c:pt idx="18098">
                  <c:v>0</c:v>
                </c:pt>
                <c:pt idx="18099">
                  <c:v>0</c:v>
                </c:pt>
                <c:pt idx="18100">
                  <c:v>0</c:v>
                </c:pt>
                <c:pt idx="18101">
                  <c:v>0</c:v>
                </c:pt>
                <c:pt idx="18102">
                  <c:v>0</c:v>
                </c:pt>
                <c:pt idx="18103">
                  <c:v>0</c:v>
                </c:pt>
                <c:pt idx="18104">
                  <c:v>0</c:v>
                </c:pt>
                <c:pt idx="18105">
                  <c:v>0</c:v>
                </c:pt>
                <c:pt idx="18106">
                  <c:v>0</c:v>
                </c:pt>
                <c:pt idx="18107">
                  <c:v>0</c:v>
                </c:pt>
                <c:pt idx="18108">
                  <c:v>0</c:v>
                </c:pt>
                <c:pt idx="18109">
                  <c:v>0</c:v>
                </c:pt>
                <c:pt idx="18110">
                  <c:v>0</c:v>
                </c:pt>
                <c:pt idx="18111">
                  <c:v>0</c:v>
                </c:pt>
                <c:pt idx="18112">
                  <c:v>0</c:v>
                </c:pt>
                <c:pt idx="18113">
                  <c:v>0</c:v>
                </c:pt>
                <c:pt idx="18114">
                  <c:v>0</c:v>
                </c:pt>
                <c:pt idx="18115">
                  <c:v>0</c:v>
                </c:pt>
                <c:pt idx="18116">
                  <c:v>1</c:v>
                </c:pt>
                <c:pt idx="18117">
                  <c:v>0</c:v>
                </c:pt>
                <c:pt idx="18118">
                  <c:v>0</c:v>
                </c:pt>
                <c:pt idx="18119">
                  <c:v>0</c:v>
                </c:pt>
                <c:pt idx="18120">
                  <c:v>0</c:v>
                </c:pt>
                <c:pt idx="18121">
                  <c:v>0</c:v>
                </c:pt>
                <c:pt idx="18122">
                  <c:v>0</c:v>
                </c:pt>
                <c:pt idx="18123">
                  <c:v>0</c:v>
                </c:pt>
                <c:pt idx="18124">
                  <c:v>0</c:v>
                </c:pt>
                <c:pt idx="18125">
                  <c:v>0</c:v>
                </c:pt>
                <c:pt idx="18126">
                  <c:v>0</c:v>
                </c:pt>
                <c:pt idx="18127">
                  <c:v>0</c:v>
                </c:pt>
                <c:pt idx="18128">
                  <c:v>0</c:v>
                </c:pt>
                <c:pt idx="18129">
                  <c:v>0</c:v>
                </c:pt>
                <c:pt idx="18130">
                  <c:v>0</c:v>
                </c:pt>
                <c:pt idx="18131">
                  <c:v>0</c:v>
                </c:pt>
                <c:pt idx="18132">
                  <c:v>0</c:v>
                </c:pt>
                <c:pt idx="18133">
                  <c:v>0</c:v>
                </c:pt>
                <c:pt idx="18134">
                  <c:v>0</c:v>
                </c:pt>
                <c:pt idx="18135">
                  <c:v>0</c:v>
                </c:pt>
                <c:pt idx="18136">
                  <c:v>0</c:v>
                </c:pt>
                <c:pt idx="18137">
                  <c:v>0</c:v>
                </c:pt>
                <c:pt idx="18138">
                  <c:v>0</c:v>
                </c:pt>
                <c:pt idx="18139">
                  <c:v>0</c:v>
                </c:pt>
                <c:pt idx="18140">
                  <c:v>0</c:v>
                </c:pt>
                <c:pt idx="18141">
                  <c:v>0</c:v>
                </c:pt>
                <c:pt idx="18142">
                  <c:v>0</c:v>
                </c:pt>
                <c:pt idx="18143">
                  <c:v>0</c:v>
                </c:pt>
                <c:pt idx="18144">
                  <c:v>0</c:v>
                </c:pt>
                <c:pt idx="18145">
                  <c:v>0</c:v>
                </c:pt>
                <c:pt idx="18146">
                  <c:v>0</c:v>
                </c:pt>
                <c:pt idx="18147">
                  <c:v>0</c:v>
                </c:pt>
                <c:pt idx="18148">
                  <c:v>0</c:v>
                </c:pt>
                <c:pt idx="18149">
                  <c:v>0</c:v>
                </c:pt>
                <c:pt idx="18150">
                  <c:v>0</c:v>
                </c:pt>
                <c:pt idx="18151">
                  <c:v>0</c:v>
                </c:pt>
                <c:pt idx="18152">
                  <c:v>0</c:v>
                </c:pt>
                <c:pt idx="18153">
                  <c:v>3</c:v>
                </c:pt>
                <c:pt idx="18154">
                  <c:v>0</c:v>
                </c:pt>
                <c:pt idx="18155">
                  <c:v>0</c:v>
                </c:pt>
                <c:pt idx="18156">
                  <c:v>0</c:v>
                </c:pt>
                <c:pt idx="18157">
                  <c:v>0</c:v>
                </c:pt>
                <c:pt idx="18158">
                  <c:v>0</c:v>
                </c:pt>
                <c:pt idx="18159">
                  <c:v>0</c:v>
                </c:pt>
                <c:pt idx="18160">
                  <c:v>0</c:v>
                </c:pt>
                <c:pt idx="18161">
                  <c:v>0</c:v>
                </c:pt>
                <c:pt idx="18162">
                  <c:v>0</c:v>
                </c:pt>
                <c:pt idx="18163">
                  <c:v>0</c:v>
                </c:pt>
                <c:pt idx="18164">
                  <c:v>0</c:v>
                </c:pt>
                <c:pt idx="18165">
                  <c:v>0</c:v>
                </c:pt>
                <c:pt idx="18166">
                  <c:v>0</c:v>
                </c:pt>
                <c:pt idx="18167">
                  <c:v>2</c:v>
                </c:pt>
                <c:pt idx="18168">
                  <c:v>0</c:v>
                </c:pt>
                <c:pt idx="18169">
                  <c:v>0</c:v>
                </c:pt>
                <c:pt idx="18170">
                  <c:v>0</c:v>
                </c:pt>
                <c:pt idx="18171">
                  <c:v>5</c:v>
                </c:pt>
                <c:pt idx="18172">
                  <c:v>0</c:v>
                </c:pt>
                <c:pt idx="18173">
                  <c:v>5</c:v>
                </c:pt>
                <c:pt idx="18174">
                  <c:v>0</c:v>
                </c:pt>
                <c:pt idx="18175">
                  <c:v>0</c:v>
                </c:pt>
                <c:pt idx="18176">
                  <c:v>1</c:v>
                </c:pt>
                <c:pt idx="18177">
                  <c:v>0</c:v>
                </c:pt>
                <c:pt idx="18178">
                  <c:v>0</c:v>
                </c:pt>
                <c:pt idx="18179">
                  <c:v>0</c:v>
                </c:pt>
                <c:pt idx="18180">
                  <c:v>0</c:v>
                </c:pt>
                <c:pt idx="18181">
                  <c:v>0</c:v>
                </c:pt>
                <c:pt idx="18182">
                  <c:v>0</c:v>
                </c:pt>
                <c:pt idx="18183">
                  <c:v>0</c:v>
                </c:pt>
                <c:pt idx="18184">
                  <c:v>0</c:v>
                </c:pt>
                <c:pt idx="18185">
                  <c:v>0</c:v>
                </c:pt>
                <c:pt idx="18186">
                  <c:v>0</c:v>
                </c:pt>
                <c:pt idx="18187">
                  <c:v>0</c:v>
                </c:pt>
                <c:pt idx="18188">
                  <c:v>0</c:v>
                </c:pt>
                <c:pt idx="18189">
                  <c:v>0</c:v>
                </c:pt>
                <c:pt idx="18190">
                  <c:v>0</c:v>
                </c:pt>
                <c:pt idx="18191">
                  <c:v>0</c:v>
                </c:pt>
                <c:pt idx="18192">
                  <c:v>0</c:v>
                </c:pt>
                <c:pt idx="18193">
                  <c:v>0</c:v>
                </c:pt>
                <c:pt idx="18194">
                  <c:v>0</c:v>
                </c:pt>
                <c:pt idx="18195">
                  <c:v>0</c:v>
                </c:pt>
                <c:pt idx="18196">
                  <c:v>0</c:v>
                </c:pt>
                <c:pt idx="18197">
                  <c:v>0</c:v>
                </c:pt>
                <c:pt idx="18198">
                  <c:v>0</c:v>
                </c:pt>
                <c:pt idx="18199">
                  <c:v>0</c:v>
                </c:pt>
                <c:pt idx="18200">
                  <c:v>0</c:v>
                </c:pt>
                <c:pt idx="18201">
                  <c:v>0</c:v>
                </c:pt>
                <c:pt idx="18202">
                  <c:v>0</c:v>
                </c:pt>
                <c:pt idx="18203">
                  <c:v>0</c:v>
                </c:pt>
                <c:pt idx="18204">
                  <c:v>3</c:v>
                </c:pt>
                <c:pt idx="18205">
                  <c:v>0</c:v>
                </c:pt>
                <c:pt idx="18206">
                  <c:v>2</c:v>
                </c:pt>
                <c:pt idx="18207">
                  <c:v>0</c:v>
                </c:pt>
                <c:pt idx="18208">
                  <c:v>3</c:v>
                </c:pt>
                <c:pt idx="18209">
                  <c:v>0</c:v>
                </c:pt>
                <c:pt idx="18210">
                  <c:v>0</c:v>
                </c:pt>
                <c:pt idx="18211">
                  <c:v>0</c:v>
                </c:pt>
                <c:pt idx="18212">
                  <c:v>0</c:v>
                </c:pt>
                <c:pt idx="18213">
                  <c:v>0</c:v>
                </c:pt>
                <c:pt idx="18214">
                  <c:v>0</c:v>
                </c:pt>
                <c:pt idx="18215">
                  <c:v>0</c:v>
                </c:pt>
                <c:pt idx="18216">
                  <c:v>0</c:v>
                </c:pt>
                <c:pt idx="18217">
                  <c:v>0</c:v>
                </c:pt>
                <c:pt idx="18218">
                  <c:v>0</c:v>
                </c:pt>
                <c:pt idx="18219">
                  <c:v>0</c:v>
                </c:pt>
                <c:pt idx="18220">
                  <c:v>0</c:v>
                </c:pt>
                <c:pt idx="18221">
                  <c:v>0</c:v>
                </c:pt>
                <c:pt idx="18222">
                  <c:v>0</c:v>
                </c:pt>
                <c:pt idx="18223">
                  <c:v>1</c:v>
                </c:pt>
                <c:pt idx="18224">
                  <c:v>0</c:v>
                </c:pt>
                <c:pt idx="18225">
                  <c:v>0</c:v>
                </c:pt>
                <c:pt idx="18226">
                  <c:v>0</c:v>
                </c:pt>
                <c:pt idx="18227">
                  <c:v>0</c:v>
                </c:pt>
                <c:pt idx="18228">
                  <c:v>0</c:v>
                </c:pt>
                <c:pt idx="18229">
                  <c:v>0</c:v>
                </c:pt>
                <c:pt idx="18230">
                  <c:v>0</c:v>
                </c:pt>
                <c:pt idx="18231">
                  <c:v>0</c:v>
                </c:pt>
                <c:pt idx="18232">
                  <c:v>0</c:v>
                </c:pt>
                <c:pt idx="18233">
                  <c:v>0</c:v>
                </c:pt>
                <c:pt idx="18234">
                  <c:v>0</c:v>
                </c:pt>
                <c:pt idx="18235">
                  <c:v>1</c:v>
                </c:pt>
                <c:pt idx="18236">
                  <c:v>0</c:v>
                </c:pt>
                <c:pt idx="18237">
                  <c:v>0</c:v>
                </c:pt>
                <c:pt idx="18238">
                  <c:v>0</c:v>
                </c:pt>
                <c:pt idx="18239">
                  <c:v>0</c:v>
                </c:pt>
                <c:pt idx="18240">
                  <c:v>0</c:v>
                </c:pt>
                <c:pt idx="18241">
                  <c:v>0</c:v>
                </c:pt>
                <c:pt idx="18242">
                  <c:v>0</c:v>
                </c:pt>
                <c:pt idx="18243">
                  <c:v>0</c:v>
                </c:pt>
                <c:pt idx="18244">
                  <c:v>0</c:v>
                </c:pt>
                <c:pt idx="18245">
                  <c:v>0</c:v>
                </c:pt>
                <c:pt idx="18246">
                  <c:v>6</c:v>
                </c:pt>
                <c:pt idx="18247">
                  <c:v>0</c:v>
                </c:pt>
                <c:pt idx="18248">
                  <c:v>0</c:v>
                </c:pt>
                <c:pt idx="18249">
                  <c:v>0</c:v>
                </c:pt>
                <c:pt idx="18250">
                  <c:v>0</c:v>
                </c:pt>
                <c:pt idx="18251">
                  <c:v>0</c:v>
                </c:pt>
                <c:pt idx="18252">
                  <c:v>0</c:v>
                </c:pt>
                <c:pt idx="18253">
                  <c:v>0</c:v>
                </c:pt>
                <c:pt idx="18254">
                  <c:v>0</c:v>
                </c:pt>
                <c:pt idx="18255">
                  <c:v>0</c:v>
                </c:pt>
                <c:pt idx="18256">
                  <c:v>0</c:v>
                </c:pt>
                <c:pt idx="18257">
                  <c:v>0</c:v>
                </c:pt>
                <c:pt idx="18258">
                  <c:v>0</c:v>
                </c:pt>
                <c:pt idx="18259">
                  <c:v>0</c:v>
                </c:pt>
                <c:pt idx="18260">
                  <c:v>0</c:v>
                </c:pt>
                <c:pt idx="18261">
                  <c:v>0</c:v>
                </c:pt>
                <c:pt idx="18262">
                  <c:v>0</c:v>
                </c:pt>
                <c:pt idx="18263">
                  <c:v>0</c:v>
                </c:pt>
                <c:pt idx="18264">
                  <c:v>0</c:v>
                </c:pt>
                <c:pt idx="18265">
                  <c:v>2</c:v>
                </c:pt>
                <c:pt idx="18266">
                  <c:v>2</c:v>
                </c:pt>
                <c:pt idx="18267">
                  <c:v>4</c:v>
                </c:pt>
                <c:pt idx="18268">
                  <c:v>3</c:v>
                </c:pt>
                <c:pt idx="18269">
                  <c:v>4</c:v>
                </c:pt>
                <c:pt idx="18270">
                  <c:v>2</c:v>
                </c:pt>
                <c:pt idx="18271">
                  <c:v>9</c:v>
                </c:pt>
                <c:pt idx="18272">
                  <c:v>1</c:v>
                </c:pt>
                <c:pt idx="18273">
                  <c:v>1</c:v>
                </c:pt>
                <c:pt idx="18274">
                  <c:v>6</c:v>
                </c:pt>
                <c:pt idx="18275">
                  <c:v>1</c:v>
                </c:pt>
                <c:pt idx="18276">
                  <c:v>1</c:v>
                </c:pt>
                <c:pt idx="18277">
                  <c:v>45</c:v>
                </c:pt>
                <c:pt idx="18278">
                  <c:v>0</c:v>
                </c:pt>
                <c:pt idx="18279">
                  <c:v>1</c:v>
                </c:pt>
                <c:pt idx="18280">
                  <c:v>1</c:v>
                </c:pt>
                <c:pt idx="18281">
                  <c:v>5</c:v>
                </c:pt>
                <c:pt idx="18282">
                  <c:v>4</c:v>
                </c:pt>
                <c:pt idx="18283">
                  <c:v>0</c:v>
                </c:pt>
                <c:pt idx="18284">
                  <c:v>2</c:v>
                </c:pt>
                <c:pt idx="18285">
                  <c:v>8</c:v>
                </c:pt>
                <c:pt idx="18286">
                  <c:v>0</c:v>
                </c:pt>
                <c:pt idx="18287">
                  <c:v>0</c:v>
                </c:pt>
                <c:pt idx="18288">
                  <c:v>4</c:v>
                </c:pt>
                <c:pt idx="18289">
                  <c:v>0</c:v>
                </c:pt>
                <c:pt idx="18290">
                  <c:v>1</c:v>
                </c:pt>
                <c:pt idx="18291">
                  <c:v>0</c:v>
                </c:pt>
                <c:pt idx="18292">
                  <c:v>0</c:v>
                </c:pt>
                <c:pt idx="18293">
                  <c:v>2</c:v>
                </c:pt>
                <c:pt idx="18294">
                  <c:v>5</c:v>
                </c:pt>
                <c:pt idx="18295">
                  <c:v>2</c:v>
                </c:pt>
                <c:pt idx="18296">
                  <c:v>5</c:v>
                </c:pt>
                <c:pt idx="18297">
                  <c:v>4</c:v>
                </c:pt>
                <c:pt idx="18298">
                  <c:v>3</c:v>
                </c:pt>
                <c:pt idx="18299">
                  <c:v>4</c:v>
                </c:pt>
                <c:pt idx="18300">
                  <c:v>2</c:v>
                </c:pt>
                <c:pt idx="18301">
                  <c:v>2</c:v>
                </c:pt>
                <c:pt idx="18302">
                  <c:v>3</c:v>
                </c:pt>
                <c:pt idx="18303">
                  <c:v>2</c:v>
                </c:pt>
                <c:pt idx="18304">
                  <c:v>12</c:v>
                </c:pt>
                <c:pt idx="18305">
                  <c:v>0</c:v>
                </c:pt>
                <c:pt idx="18306">
                  <c:v>5</c:v>
                </c:pt>
                <c:pt idx="18307">
                  <c:v>2</c:v>
                </c:pt>
                <c:pt idx="18308">
                  <c:v>2</c:v>
                </c:pt>
                <c:pt idx="18309">
                  <c:v>0</c:v>
                </c:pt>
                <c:pt idx="18310">
                  <c:v>0</c:v>
                </c:pt>
                <c:pt idx="18311">
                  <c:v>0</c:v>
                </c:pt>
                <c:pt idx="18312">
                  <c:v>1</c:v>
                </c:pt>
                <c:pt idx="18313">
                  <c:v>3</c:v>
                </c:pt>
                <c:pt idx="18314">
                  <c:v>2</c:v>
                </c:pt>
                <c:pt idx="18315">
                  <c:v>1</c:v>
                </c:pt>
                <c:pt idx="18316">
                  <c:v>1</c:v>
                </c:pt>
                <c:pt idx="18317">
                  <c:v>0</c:v>
                </c:pt>
                <c:pt idx="18318">
                  <c:v>0</c:v>
                </c:pt>
                <c:pt idx="18319">
                  <c:v>2</c:v>
                </c:pt>
                <c:pt idx="18320">
                  <c:v>1</c:v>
                </c:pt>
                <c:pt idx="18321">
                  <c:v>4</c:v>
                </c:pt>
                <c:pt idx="18322">
                  <c:v>2</c:v>
                </c:pt>
                <c:pt idx="18323">
                  <c:v>2</c:v>
                </c:pt>
                <c:pt idx="18324">
                  <c:v>3</c:v>
                </c:pt>
                <c:pt idx="18325">
                  <c:v>0</c:v>
                </c:pt>
                <c:pt idx="18326">
                  <c:v>0</c:v>
                </c:pt>
                <c:pt idx="18327">
                  <c:v>2</c:v>
                </c:pt>
                <c:pt idx="18328">
                  <c:v>0</c:v>
                </c:pt>
                <c:pt idx="18329">
                  <c:v>2</c:v>
                </c:pt>
                <c:pt idx="18330">
                  <c:v>4</c:v>
                </c:pt>
                <c:pt idx="18331">
                  <c:v>1</c:v>
                </c:pt>
                <c:pt idx="18332">
                  <c:v>0</c:v>
                </c:pt>
                <c:pt idx="18333">
                  <c:v>1</c:v>
                </c:pt>
                <c:pt idx="18334">
                  <c:v>2</c:v>
                </c:pt>
                <c:pt idx="18335">
                  <c:v>4</c:v>
                </c:pt>
                <c:pt idx="18336">
                  <c:v>0</c:v>
                </c:pt>
                <c:pt idx="18337">
                  <c:v>2</c:v>
                </c:pt>
                <c:pt idx="18338">
                  <c:v>0</c:v>
                </c:pt>
                <c:pt idx="18339">
                  <c:v>0</c:v>
                </c:pt>
                <c:pt idx="18340">
                  <c:v>0</c:v>
                </c:pt>
                <c:pt idx="18341">
                  <c:v>7</c:v>
                </c:pt>
                <c:pt idx="18342">
                  <c:v>3</c:v>
                </c:pt>
                <c:pt idx="18343">
                  <c:v>1</c:v>
                </c:pt>
                <c:pt idx="18344">
                  <c:v>2</c:v>
                </c:pt>
                <c:pt idx="18345">
                  <c:v>2</c:v>
                </c:pt>
                <c:pt idx="18346">
                  <c:v>2</c:v>
                </c:pt>
                <c:pt idx="18347">
                  <c:v>4</c:v>
                </c:pt>
                <c:pt idx="18348">
                  <c:v>0</c:v>
                </c:pt>
                <c:pt idx="18349">
                  <c:v>0</c:v>
                </c:pt>
                <c:pt idx="18350">
                  <c:v>1</c:v>
                </c:pt>
                <c:pt idx="18351">
                  <c:v>1</c:v>
                </c:pt>
                <c:pt idx="18352">
                  <c:v>6</c:v>
                </c:pt>
                <c:pt idx="18353">
                  <c:v>0</c:v>
                </c:pt>
                <c:pt idx="18354">
                  <c:v>0</c:v>
                </c:pt>
                <c:pt idx="18355">
                  <c:v>4</c:v>
                </c:pt>
                <c:pt idx="18356">
                  <c:v>1</c:v>
                </c:pt>
                <c:pt idx="18357">
                  <c:v>0</c:v>
                </c:pt>
                <c:pt idx="18358">
                  <c:v>3</c:v>
                </c:pt>
                <c:pt idx="18359">
                  <c:v>2</c:v>
                </c:pt>
                <c:pt idx="18360">
                  <c:v>0</c:v>
                </c:pt>
                <c:pt idx="18361">
                  <c:v>0</c:v>
                </c:pt>
                <c:pt idx="18362">
                  <c:v>0</c:v>
                </c:pt>
                <c:pt idx="18363">
                  <c:v>2</c:v>
                </c:pt>
                <c:pt idx="18364">
                  <c:v>0</c:v>
                </c:pt>
                <c:pt idx="18365">
                  <c:v>1</c:v>
                </c:pt>
                <c:pt idx="18366">
                  <c:v>0</c:v>
                </c:pt>
                <c:pt idx="18367">
                  <c:v>0</c:v>
                </c:pt>
                <c:pt idx="18368">
                  <c:v>2</c:v>
                </c:pt>
                <c:pt idx="18369">
                  <c:v>2</c:v>
                </c:pt>
                <c:pt idx="18370">
                  <c:v>1</c:v>
                </c:pt>
                <c:pt idx="18371">
                  <c:v>0</c:v>
                </c:pt>
                <c:pt idx="18372">
                  <c:v>3</c:v>
                </c:pt>
                <c:pt idx="18373">
                  <c:v>1</c:v>
                </c:pt>
                <c:pt idx="18374">
                  <c:v>0</c:v>
                </c:pt>
                <c:pt idx="18375">
                  <c:v>0</c:v>
                </c:pt>
                <c:pt idx="18376">
                  <c:v>0</c:v>
                </c:pt>
                <c:pt idx="18377">
                  <c:v>5</c:v>
                </c:pt>
                <c:pt idx="18378">
                  <c:v>2</c:v>
                </c:pt>
                <c:pt idx="18379">
                  <c:v>1</c:v>
                </c:pt>
                <c:pt idx="18380">
                  <c:v>8</c:v>
                </c:pt>
                <c:pt idx="18381">
                  <c:v>4</c:v>
                </c:pt>
                <c:pt idx="18382">
                  <c:v>1</c:v>
                </c:pt>
                <c:pt idx="18383">
                  <c:v>1</c:v>
                </c:pt>
                <c:pt idx="18384">
                  <c:v>1</c:v>
                </c:pt>
                <c:pt idx="18385">
                  <c:v>4</c:v>
                </c:pt>
                <c:pt idx="18386">
                  <c:v>0</c:v>
                </c:pt>
                <c:pt idx="18387">
                  <c:v>2</c:v>
                </c:pt>
                <c:pt idx="18388">
                  <c:v>0</c:v>
                </c:pt>
                <c:pt idx="18389">
                  <c:v>2</c:v>
                </c:pt>
                <c:pt idx="18390">
                  <c:v>3</c:v>
                </c:pt>
                <c:pt idx="18391">
                  <c:v>2</c:v>
                </c:pt>
                <c:pt idx="18392">
                  <c:v>4</c:v>
                </c:pt>
                <c:pt idx="18393">
                  <c:v>0</c:v>
                </c:pt>
                <c:pt idx="18394">
                  <c:v>1</c:v>
                </c:pt>
                <c:pt idx="18395">
                  <c:v>3</c:v>
                </c:pt>
                <c:pt idx="18396">
                  <c:v>1</c:v>
                </c:pt>
                <c:pt idx="18397">
                  <c:v>0</c:v>
                </c:pt>
                <c:pt idx="18398">
                  <c:v>0</c:v>
                </c:pt>
                <c:pt idx="18399">
                  <c:v>4</c:v>
                </c:pt>
                <c:pt idx="18400">
                  <c:v>3</c:v>
                </c:pt>
                <c:pt idx="18401">
                  <c:v>0</c:v>
                </c:pt>
                <c:pt idx="18402">
                  <c:v>1</c:v>
                </c:pt>
                <c:pt idx="18403">
                  <c:v>3</c:v>
                </c:pt>
                <c:pt idx="18404">
                  <c:v>0</c:v>
                </c:pt>
                <c:pt idx="18405">
                  <c:v>1</c:v>
                </c:pt>
                <c:pt idx="18406">
                  <c:v>0</c:v>
                </c:pt>
                <c:pt idx="18407">
                  <c:v>1</c:v>
                </c:pt>
                <c:pt idx="18408">
                  <c:v>0</c:v>
                </c:pt>
                <c:pt idx="18409">
                  <c:v>1</c:v>
                </c:pt>
                <c:pt idx="18410">
                  <c:v>0</c:v>
                </c:pt>
                <c:pt idx="18411">
                  <c:v>0</c:v>
                </c:pt>
                <c:pt idx="18412">
                  <c:v>0</c:v>
                </c:pt>
                <c:pt idx="18413">
                  <c:v>1</c:v>
                </c:pt>
                <c:pt idx="18414">
                  <c:v>0</c:v>
                </c:pt>
                <c:pt idx="18415">
                  <c:v>0</c:v>
                </c:pt>
                <c:pt idx="18416">
                  <c:v>0</c:v>
                </c:pt>
                <c:pt idx="18417">
                  <c:v>0</c:v>
                </c:pt>
                <c:pt idx="18418">
                  <c:v>0</c:v>
                </c:pt>
                <c:pt idx="18419">
                  <c:v>1</c:v>
                </c:pt>
                <c:pt idx="18420">
                  <c:v>0</c:v>
                </c:pt>
                <c:pt idx="18421">
                  <c:v>0</c:v>
                </c:pt>
                <c:pt idx="18422">
                  <c:v>0</c:v>
                </c:pt>
                <c:pt idx="18423">
                  <c:v>0</c:v>
                </c:pt>
                <c:pt idx="18424">
                  <c:v>2</c:v>
                </c:pt>
                <c:pt idx="18425">
                  <c:v>0</c:v>
                </c:pt>
                <c:pt idx="18426">
                  <c:v>0</c:v>
                </c:pt>
                <c:pt idx="18427">
                  <c:v>0</c:v>
                </c:pt>
                <c:pt idx="18428">
                  <c:v>0</c:v>
                </c:pt>
                <c:pt idx="18429">
                  <c:v>0</c:v>
                </c:pt>
                <c:pt idx="18430">
                  <c:v>3</c:v>
                </c:pt>
                <c:pt idx="18431">
                  <c:v>3</c:v>
                </c:pt>
                <c:pt idx="18432">
                  <c:v>0</c:v>
                </c:pt>
                <c:pt idx="18433">
                  <c:v>0</c:v>
                </c:pt>
                <c:pt idx="18434">
                  <c:v>1</c:v>
                </c:pt>
                <c:pt idx="18435">
                  <c:v>0</c:v>
                </c:pt>
                <c:pt idx="18436">
                  <c:v>0</c:v>
                </c:pt>
                <c:pt idx="18437">
                  <c:v>0</c:v>
                </c:pt>
                <c:pt idx="18438">
                  <c:v>2</c:v>
                </c:pt>
                <c:pt idx="18439">
                  <c:v>1</c:v>
                </c:pt>
                <c:pt idx="18440">
                  <c:v>1</c:v>
                </c:pt>
                <c:pt idx="18441">
                  <c:v>0</c:v>
                </c:pt>
                <c:pt idx="18442">
                  <c:v>1</c:v>
                </c:pt>
                <c:pt idx="18443">
                  <c:v>0</c:v>
                </c:pt>
                <c:pt idx="18444">
                  <c:v>0</c:v>
                </c:pt>
                <c:pt idx="18445">
                  <c:v>1</c:v>
                </c:pt>
                <c:pt idx="18446">
                  <c:v>0</c:v>
                </c:pt>
                <c:pt idx="18447">
                  <c:v>3</c:v>
                </c:pt>
                <c:pt idx="18448">
                  <c:v>0</c:v>
                </c:pt>
                <c:pt idx="18449">
                  <c:v>2</c:v>
                </c:pt>
                <c:pt idx="18450">
                  <c:v>5</c:v>
                </c:pt>
                <c:pt idx="18451">
                  <c:v>1</c:v>
                </c:pt>
                <c:pt idx="18452">
                  <c:v>4</c:v>
                </c:pt>
                <c:pt idx="18453">
                  <c:v>1</c:v>
                </c:pt>
                <c:pt idx="18454">
                  <c:v>0</c:v>
                </c:pt>
                <c:pt idx="18455">
                  <c:v>0</c:v>
                </c:pt>
                <c:pt idx="18456">
                  <c:v>0</c:v>
                </c:pt>
                <c:pt idx="18457">
                  <c:v>0</c:v>
                </c:pt>
                <c:pt idx="18458">
                  <c:v>0</c:v>
                </c:pt>
                <c:pt idx="18459">
                  <c:v>0</c:v>
                </c:pt>
                <c:pt idx="18460">
                  <c:v>6</c:v>
                </c:pt>
                <c:pt idx="18461">
                  <c:v>1</c:v>
                </c:pt>
                <c:pt idx="18462">
                  <c:v>0</c:v>
                </c:pt>
                <c:pt idx="18463">
                  <c:v>0</c:v>
                </c:pt>
                <c:pt idx="18464">
                  <c:v>0</c:v>
                </c:pt>
                <c:pt idx="18465">
                  <c:v>3</c:v>
                </c:pt>
                <c:pt idx="18466">
                  <c:v>0</c:v>
                </c:pt>
                <c:pt idx="18467">
                  <c:v>0</c:v>
                </c:pt>
                <c:pt idx="18468">
                  <c:v>0</c:v>
                </c:pt>
                <c:pt idx="18469">
                  <c:v>0</c:v>
                </c:pt>
                <c:pt idx="18470">
                  <c:v>0</c:v>
                </c:pt>
                <c:pt idx="18471">
                  <c:v>3</c:v>
                </c:pt>
                <c:pt idx="18472">
                  <c:v>0</c:v>
                </c:pt>
                <c:pt idx="18473">
                  <c:v>0</c:v>
                </c:pt>
                <c:pt idx="18474">
                  <c:v>2</c:v>
                </c:pt>
                <c:pt idx="18475">
                  <c:v>3</c:v>
                </c:pt>
                <c:pt idx="18476">
                  <c:v>0</c:v>
                </c:pt>
                <c:pt idx="18477">
                  <c:v>0</c:v>
                </c:pt>
                <c:pt idx="18478">
                  <c:v>0</c:v>
                </c:pt>
                <c:pt idx="18479">
                  <c:v>0</c:v>
                </c:pt>
                <c:pt idx="18480">
                  <c:v>0</c:v>
                </c:pt>
                <c:pt idx="18481">
                  <c:v>0</c:v>
                </c:pt>
                <c:pt idx="18482">
                  <c:v>0</c:v>
                </c:pt>
                <c:pt idx="18483">
                  <c:v>1</c:v>
                </c:pt>
                <c:pt idx="18484">
                  <c:v>3</c:v>
                </c:pt>
                <c:pt idx="18485">
                  <c:v>0</c:v>
                </c:pt>
                <c:pt idx="18486">
                  <c:v>2</c:v>
                </c:pt>
                <c:pt idx="18487">
                  <c:v>0</c:v>
                </c:pt>
                <c:pt idx="18488">
                  <c:v>3</c:v>
                </c:pt>
                <c:pt idx="18489">
                  <c:v>0</c:v>
                </c:pt>
                <c:pt idx="18490">
                  <c:v>2</c:v>
                </c:pt>
                <c:pt idx="18491">
                  <c:v>3</c:v>
                </c:pt>
                <c:pt idx="18492">
                  <c:v>0</c:v>
                </c:pt>
                <c:pt idx="18493">
                  <c:v>0</c:v>
                </c:pt>
                <c:pt idx="18494">
                  <c:v>1</c:v>
                </c:pt>
                <c:pt idx="18495">
                  <c:v>2</c:v>
                </c:pt>
                <c:pt idx="18496">
                  <c:v>5</c:v>
                </c:pt>
                <c:pt idx="18497">
                  <c:v>3</c:v>
                </c:pt>
                <c:pt idx="18498">
                  <c:v>4</c:v>
                </c:pt>
                <c:pt idx="18499">
                  <c:v>0</c:v>
                </c:pt>
                <c:pt idx="18500">
                  <c:v>0</c:v>
                </c:pt>
                <c:pt idx="18501">
                  <c:v>2</c:v>
                </c:pt>
                <c:pt idx="18502">
                  <c:v>6</c:v>
                </c:pt>
                <c:pt idx="18503">
                  <c:v>6</c:v>
                </c:pt>
                <c:pt idx="18504">
                  <c:v>0</c:v>
                </c:pt>
                <c:pt idx="18505">
                  <c:v>4</c:v>
                </c:pt>
                <c:pt idx="18506">
                  <c:v>0</c:v>
                </c:pt>
                <c:pt idx="18507">
                  <c:v>0</c:v>
                </c:pt>
                <c:pt idx="18508">
                  <c:v>1</c:v>
                </c:pt>
                <c:pt idx="18509">
                  <c:v>1</c:v>
                </c:pt>
                <c:pt idx="18510">
                  <c:v>0</c:v>
                </c:pt>
                <c:pt idx="18511">
                  <c:v>0</c:v>
                </c:pt>
                <c:pt idx="18512">
                  <c:v>1</c:v>
                </c:pt>
                <c:pt idx="18513">
                  <c:v>6</c:v>
                </c:pt>
                <c:pt idx="18514">
                  <c:v>0</c:v>
                </c:pt>
                <c:pt idx="18515">
                  <c:v>1</c:v>
                </c:pt>
                <c:pt idx="18516">
                  <c:v>3</c:v>
                </c:pt>
                <c:pt idx="18517">
                  <c:v>3</c:v>
                </c:pt>
                <c:pt idx="18518">
                  <c:v>0</c:v>
                </c:pt>
                <c:pt idx="18519">
                  <c:v>1</c:v>
                </c:pt>
                <c:pt idx="18520">
                  <c:v>0</c:v>
                </c:pt>
                <c:pt idx="18521">
                  <c:v>0</c:v>
                </c:pt>
                <c:pt idx="18522">
                  <c:v>0</c:v>
                </c:pt>
                <c:pt idx="18523">
                  <c:v>0</c:v>
                </c:pt>
                <c:pt idx="18524">
                  <c:v>0</c:v>
                </c:pt>
                <c:pt idx="18525">
                  <c:v>0</c:v>
                </c:pt>
                <c:pt idx="18526">
                  <c:v>1</c:v>
                </c:pt>
                <c:pt idx="18527">
                  <c:v>1</c:v>
                </c:pt>
                <c:pt idx="18528">
                  <c:v>0</c:v>
                </c:pt>
                <c:pt idx="18529">
                  <c:v>4</c:v>
                </c:pt>
                <c:pt idx="18530">
                  <c:v>3</c:v>
                </c:pt>
                <c:pt idx="18531">
                  <c:v>2</c:v>
                </c:pt>
                <c:pt idx="18532">
                  <c:v>1</c:v>
                </c:pt>
                <c:pt idx="18533">
                  <c:v>5</c:v>
                </c:pt>
                <c:pt idx="18534">
                  <c:v>2</c:v>
                </c:pt>
                <c:pt idx="18535">
                  <c:v>2</c:v>
                </c:pt>
                <c:pt idx="18536">
                  <c:v>3</c:v>
                </c:pt>
                <c:pt idx="18537">
                  <c:v>2</c:v>
                </c:pt>
                <c:pt idx="18538">
                  <c:v>17</c:v>
                </c:pt>
                <c:pt idx="18539">
                  <c:v>6</c:v>
                </c:pt>
                <c:pt idx="18540">
                  <c:v>4</c:v>
                </c:pt>
                <c:pt idx="18541">
                  <c:v>2</c:v>
                </c:pt>
                <c:pt idx="18542">
                  <c:v>23</c:v>
                </c:pt>
                <c:pt idx="18543">
                  <c:v>22</c:v>
                </c:pt>
                <c:pt idx="18544">
                  <c:v>1</c:v>
                </c:pt>
                <c:pt idx="18545">
                  <c:v>0</c:v>
                </c:pt>
                <c:pt idx="18546">
                  <c:v>11</c:v>
                </c:pt>
                <c:pt idx="18547">
                  <c:v>28</c:v>
                </c:pt>
                <c:pt idx="18548">
                  <c:v>3</c:v>
                </c:pt>
                <c:pt idx="18549">
                  <c:v>6</c:v>
                </c:pt>
                <c:pt idx="18550">
                  <c:v>12</c:v>
                </c:pt>
                <c:pt idx="18551">
                  <c:v>5</c:v>
                </c:pt>
                <c:pt idx="18552">
                  <c:v>5</c:v>
                </c:pt>
                <c:pt idx="18553">
                  <c:v>0</c:v>
                </c:pt>
                <c:pt idx="18554">
                  <c:v>5</c:v>
                </c:pt>
                <c:pt idx="18555">
                  <c:v>1</c:v>
                </c:pt>
                <c:pt idx="18556">
                  <c:v>1</c:v>
                </c:pt>
                <c:pt idx="18557">
                  <c:v>1</c:v>
                </c:pt>
                <c:pt idx="18558">
                  <c:v>4</c:v>
                </c:pt>
                <c:pt idx="18559">
                  <c:v>0</c:v>
                </c:pt>
                <c:pt idx="18560">
                  <c:v>0</c:v>
                </c:pt>
                <c:pt idx="18561">
                  <c:v>3</c:v>
                </c:pt>
                <c:pt idx="18562">
                  <c:v>2</c:v>
                </c:pt>
                <c:pt idx="18563">
                  <c:v>0</c:v>
                </c:pt>
                <c:pt idx="18564">
                  <c:v>1</c:v>
                </c:pt>
                <c:pt idx="18565">
                  <c:v>4</c:v>
                </c:pt>
                <c:pt idx="18566">
                  <c:v>1</c:v>
                </c:pt>
                <c:pt idx="18567">
                  <c:v>2</c:v>
                </c:pt>
                <c:pt idx="18568">
                  <c:v>0</c:v>
                </c:pt>
                <c:pt idx="18569">
                  <c:v>4</c:v>
                </c:pt>
                <c:pt idx="18570">
                  <c:v>0</c:v>
                </c:pt>
                <c:pt idx="18571">
                  <c:v>5</c:v>
                </c:pt>
                <c:pt idx="18572">
                  <c:v>4</c:v>
                </c:pt>
                <c:pt idx="18573">
                  <c:v>2</c:v>
                </c:pt>
                <c:pt idx="18574">
                  <c:v>6</c:v>
                </c:pt>
                <c:pt idx="18575">
                  <c:v>2</c:v>
                </c:pt>
                <c:pt idx="18576">
                  <c:v>4</c:v>
                </c:pt>
                <c:pt idx="18577">
                  <c:v>3</c:v>
                </c:pt>
                <c:pt idx="18578">
                  <c:v>0</c:v>
                </c:pt>
                <c:pt idx="18579">
                  <c:v>0</c:v>
                </c:pt>
                <c:pt idx="18580">
                  <c:v>1</c:v>
                </c:pt>
                <c:pt idx="18581">
                  <c:v>4</c:v>
                </c:pt>
                <c:pt idx="18582">
                  <c:v>0</c:v>
                </c:pt>
                <c:pt idx="18583">
                  <c:v>2</c:v>
                </c:pt>
                <c:pt idx="18584">
                  <c:v>0</c:v>
                </c:pt>
                <c:pt idx="18585">
                  <c:v>1</c:v>
                </c:pt>
                <c:pt idx="18586">
                  <c:v>5</c:v>
                </c:pt>
                <c:pt idx="18587">
                  <c:v>4</c:v>
                </c:pt>
                <c:pt idx="18588">
                  <c:v>1</c:v>
                </c:pt>
                <c:pt idx="18589">
                  <c:v>12</c:v>
                </c:pt>
                <c:pt idx="18590">
                  <c:v>1</c:v>
                </c:pt>
                <c:pt idx="18591">
                  <c:v>4</c:v>
                </c:pt>
                <c:pt idx="18592">
                  <c:v>9</c:v>
                </c:pt>
                <c:pt idx="18593">
                  <c:v>3</c:v>
                </c:pt>
                <c:pt idx="18594">
                  <c:v>1</c:v>
                </c:pt>
                <c:pt idx="18595">
                  <c:v>3</c:v>
                </c:pt>
                <c:pt idx="18596">
                  <c:v>3</c:v>
                </c:pt>
                <c:pt idx="18597">
                  <c:v>2</c:v>
                </c:pt>
                <c:pt idx="18598">
                  <c:v>2</c:v>
                </c:pt>
                <c:pt idx="18599">
                  <c:v>3</c:v>
                </c:pt>
                <c:pt idx="18600">
                  <c:v>0</c:v>
                </c:pt>
                <c:pt idx="18601">
                  <c:v>6</c:v>
                </c:pt>
                <c:pt idx="18602">
                  <c:v>0</c:v>
                </c:pt>
                <c:pt idx="18603">
                  <c:v>0</c:v>
                </c:pt>
                <c:pt idx="18604">
                  <c:v>0</c:v>
                </c:pt>
                <c:pt idx="18605">
                  <c:v>0</c:v>
                </c:pt>
                <c:pt idx="18606">
                  <c:v>6</c:v>
                </c:pt>
                <c:pt idx="18607">
                  <c:v>3</c:v>
                </c:pt>
                <c:pt idx="18608">
                  <c:v>0</c:v>
                </c:pt>
                <c:pt idx="18609">
                  <c:v>0</c:v>
                </c:pt>
                <c:pt idx="18610">
                  <c:v>0</c:v>
                </c:pt>
                <c:pt idx="18611">
                  <c:v>0</c:v>
                </c:pt>
                <c:pt idx="18612">
                  <c:v>0</c:v>
                </c:pt>
                <c:pt idx="18613">
                  <c:v>0</c:v>
                </c:pt>
                <c:pt idx="18614">
                  <c:v>0</c:v>
                </c:pt>
                <c:pt idx="18615">
                  <c:v>0</c:v>
                </c:pt>
                <c:pt idx="18616">
                  <c:v>0</c:v>
                </c:pt>
                <c:pt idx="18617">
                  <c:v>0</c:v>
                </c:pt>
                <c:pt idx="18618">
                  <c:v>0</c:v>
                </c:pt>
                <c:pt idx="18619">
                  <c:v>0</c:v>
                </c:pt>
                <c:pt idx="18620">
                  <c:v>0</c:v>
                </c:pt>
                <c:pt idx="18621">
                  <c:v>0</c:v>
                </c:pt>
                <c:pt idx="18622">
                  <c:v>0</c:v>
                </c:pt>
                <c:pt idx="18623">
                  <c:v>0</c:v>
                </c:pt>
                <c:pt idx="18624">
                  <c:v>0</c:v>
                </c:pt>
                <c:pt idx="18625">
                  <c:v>0</c:v>
                </c:pt>
                <c:pt idx="18626">
                  <c:v>0</c:v>
                </c:pt>
                <c:pt idx="18627">
                  <c:v>0</c:v>
                </c:pt>
                <c:pt idx="18628">
                  <c:v>0</c:v>
                </c:pt>
                <c:pt idx="18629">
                  <c:v>0</c:v>
                </c:pt>
                <c:pt idx="18630">
                  <c:v>0</c:v>
                </c:pt>
                <c:pt idx="18631">
                  <c:v>0</c:v>
                </c:pt>
                <c:pt idx="18632">
                  <c:v>0</c:v>
                </c:pt>
                <c:pt idx="18633">
                  <c:v>0</c:v>
                </c:pt>
                <c:pt idx="18634">
                  <c:v>0</c:v>
                </c:pt>
                <c:pt idx="18635">
                  <c:v>0</c:v>
                </c:pt>
                <c:pt idx="18636">
                  <c:v>0</c:v>
                </c:pt>
                <c:pt idx="18637">
                  <c:v>0</c:v>
                </c:pt>
                <c:pt idx="18638">
                  <c:v>0</c:v>
                </c:pt>
                <c:pt idx="18639">
                  <c:v>0</c:v>
                </c:pt>
                <c:pt idx="18640">
                  <c:v>0</c:v>
                </c:pt>
                <c:pt idx="18641">
                  <c:v>0</c:v>
                </c:pt>
                <c:pt idx="18642">
                  <c:v>0</c:v>
                </c:pt>
                <c:pt idx="18643">
                  <c:v>0</c:v>
                </c:pt>
                <c:pt idx="18644">
                  <c:v>0</c:v>
                </c:pt>
                <c:pt idx="18645">
                  <c:v>0</c:v>
                </c:pt>
                <c:pt idx="18646">
                  <c:v>0</c:v>
                </c:pt>
                <c:pt idx="18647">
                  <c:v>0</c:v>
                </c:pt>
                <c:pt idx="18648">
                  <c:v>0</c:v>
                </c:pt>
                <c:pt idx="18649">
                  <c:v>0</c:v>
                </c:pt>
                <c:pt idx="18650">
                  <c:v>0</c:v>
                </c:pt>
                <c:pt idx="18651">
                  <c:v>0</c:v>
                </c:pt>
                <c:pt idx="18652">
                  <c:v>0</c:v>
                </c:pt>
                <c:pt idx="18653">
                  <c:v>0</c:v>
                </c:pt>
                <c:pt idx="18654">
                  <c:v>0</c:v>
                </c:pt>
                <c:pt idx="18655">
                  <c:v>0</c:v>
                </c:pt>
                <c:pt idx="18656">
                  <c:v>0</c:v>
                </c:pt>
                <c:pt idx="18657">
                  <c:v>3</c:v>
                </c:pt>
                <c:pt idx="18658">
                  <c:v>0</c:v>
                </c:pt>
                <c:pt idx="18659">
                  <c:v>0</c:v>
                </c:pt>
                <c:pt idx="18660">
                  <c:v>0</c:v>
                </c:pt>
                <c:pt idx="18661">
                  <c:v>0</c:v>
                </c:pt>
                <c:pt idx="18662">
                  <c:v>0</c:v>
                </c:pt>
                <c:pt idx="18663">
                  <c:v>0</c:v>
                </c:pt>
                <c:pt idx="18664">
                  <c:v>0</c:v>
                </c:pt>
                <c:pt idx="18665">
                  <c:v>0</c:v>
                </c:pt>
                <c:pt idx="18666">
                  <c:v>0</c:v>
                </c:pt>
                <c:pt idx="18667">
                  <c:v>0</c:v>
                </c:pt>
                <c:pt idx="18668">
                  <c:v>0</c:v>
                </c:pt>
                <c:pt idx="18669">
                  <c:v>0</c:v>
                </c:pt>
                <c:pt idx="18670">
                  <c:v>0</c:v>
                </c:pt>
                <c:pt idx="18671">
                  <c:v>0</c:v>
                </c:pt>
                <c:pt idx="18672">
                  <c:v>0</c:v>
                </c:pt>
                <c:pt idx="18673">
                  <c:v>0</c:v>
                </c:pt>
                <c:pt idx="18674">
                  <c:v>1</c:v>
                </c:pt>
                <c:pt idx="18675">
                  <c:v>0</c:v>
                </c:pt>
                <c:pt idx="18676">
                  <c:v>0</c:v>
                </c:pt>
                <c:pt idx="18677">
                  <c:v>0</c:v>
                </c:pt>
                <c:pt idx="18678">
                  <c:v>0</c:v>
                </c:pt>
                <c:pt idx="18679">
                  <c:v>0</c:v>
                </c:pt>
                <c:pt idx="18680">
                  <c:v>0</c:v>
                </c:pt>
                <c:pt idx="18681">
                  <c:v>0</c:v>
                </c:pt>
                <c:pt idx="18682">
                  <c:v>0</c:v>
                </c:pt>
                <c:pt idx="18683">
                  <c:v>0</c:v>
                </c:pt>
                <c:pt idx="18684">
                  <c:v>0</c:v>
                </c:pt>
                <c:pt idx="18685">
                  <c:v>0</c:v>
                </c:pt>
                <c:pt idx="18686">
                  <c:v>0</c:v>
                </c:pt>
                <c:pt idx="18687">
                  <c:v>0</c:v>
                </c:pt>
                <c:pt idx="18688">
                  <c:v>0</c:v>
                </c:pt>
                <c:pt idx="18689">
                  <c:v>0</c:v>
                </c:pt>
                <c:pt idx="18690">
                  <c:v>0</c:v>
                </c:pt>
                <c:pt idx="18691">
                  <c:v>0</c:v>
                </c:pt>
                <c:pt idx="18692">
                  <c:v>0</c:v>
                </c:pt>
                <c:pt idx="18693">
                  <c:v>0</c:v>
                </c:pt>
                <c:pt idx="18694">
                  <c:v>0</c:v>
                </c:pt>
                <c:pt idx="18695">
                  <c:v>0</c:v>
                </c:pt>
                <c:pt idx="18696">
                  <c:v>0</c:v>
                </c:pt>
                <c:pt idx="18697">
                  <c:v>0</c:v>
                </c:pt>
                <c:pt idx="18698">
                  <c:v>0</c:v>
                </c:pt>
                <c:pt idx="18699">
                  <c:v>0</c:v>
                </c:pt>
                <c:pt idx="18700">
                  <c:v>0</c:v>
                </c:pt>
                <c:pt idx="18701">
                  <c:v>0</c:v>
                </c:pt>
                <c:pt idx="18702">
                  <c:v>0</c:v>
                </c:pt>
                <c:pt idx="18703">
                  <c:v>0</c:v>
                </c:pt>
                <c:pt idx="18704">
                  <c:v>0</c:v>
                </c:pt>
                <c:pt idx="18705">
                  <c:v>0</c:v>
                </c:pt>
                <c:pt idx="18706">
                  <c:v>0</c:v>
                </c:pt>
                <c:pt idx="18707">
                  <c:v>1</c:v>
                </c:pt>
                <c:pt idx="18708">
                  <c:v>0</c:v>
                </c:pt>
                <c:pt idx="18709">
                  <c:v>0</c:v>
                </c:pt>
                <c:pt idx="18710">
                  <c:v>0</c:v>
                </c:pt>
                <c:pt idx="18711">
                  <c:v>0</c:v>
                </c:pt>
                <c:pt idx="18712">
                  <c:v>0</c:v>
                </c:pt>
                <c:pt idx="18713">
                  <c:v>0</c:v>
                </c:pt>
                <c:pt idx="18714">
                  <c:v>0</c:v>
                </c:pt>
                <c:pt idx="18715">
                  <c:v>0</c:v>
                </c:pt>
                <c:pt idx="18716">
                  <c:v>0</c:v>
                </c:pt>
                <c:pt idx="18717">
                  <c:v>4</c:v>
                </c:pt>
                <c:pt idx="18718">
                  <c:v>3</c:v>
                </c:pt>
                <c:pt idx="18719">
                  <c:v>1</c:v>
                </c:pt>
                <c:pt idx="18720">
                  <c:v>1</c:v>
                </c:pt>
                <c:pt idx="18721">
                  <c:v>0</c:v>
                </c:pt>
                <c:pt idx="18722">
                  <c:v>1</c:v>
                </c:pt>
                <c:pt idx="18723">
                  <c:v>2</c:v>
                </c:pt>
                <c:pt idx="18724">
                  <c:v>1</c:v>
                </c:pt>
                <c:pt idx="18725">
                  <c:v>0</c:v>
                </c:pt>
                <c:pt idx="18726">
                  <c:v>0</c:v>
                </c:pt>
                <c:pt idx="18727">
                  <c:v>0</c:v>
                </c:pt>
                <c:pt idx="18728">
                  <c:v>0</c:v>
                </c:pt>
                <c:pt idx="18729">
                  <c:v>0</c:v>
                </c:pt>
                <c:pt idx="18730">
                  <c:v>0</c:v>
                </c:pt>
                <c:pt idx="18731">
                  <c:v>0</c:v>
                </c:pt>
                <c:pt idx="18732">
                  <c:v>0</c:v>
                </c:pt>
                <c:pt idx="18733">
                  <c:v>0</c:v>
                </c:pt>
                <c:pt idx="18734">
                  <c:v>0</c:v>
                </c:pt>
                <c:pt idx="18735">
                  <c:v>0</c:v>
                </c:pt>
                <c:pt idx="18736">
                  <c:v>0</c:v>
                </c:pt>
                <c:pt idx="18737">
                  <c:v>0</c:v>
                </c:pt>
                <c:pt idx="18738">
                  <c:v>1</c:v>
                </c:pt>
                <c:pt idx="18739">
                  <c:v>0</c:v>
                </c:pt>
                <c:pt idx="18740">
                  <c:v>0</c:v>
                </c:pt>
                <c:pt idx="18741">
                  <c:v>0</c:v>
                </c:pt>
                <c:pt idx="18742">
                  <c:v>0</c:v>
                </c:pt>
                <c:pt idx="18743">
                  <c:v>0</c:v>
                </c:pt>
                <c:pt idx="18744">
                  <c:v>0</c:v>
                </c:pt>
                <c:pt idx="18745">
                  <c:v>0</c:v>
                </c:pt>
                <c:pt idx="18746">
                  <c:v>0</c:v>
                </c:pt>
                <c:pt idx="18747">
                  <c:v>0</c:v>
                </c:pt>
                <c:pt idx="18748">
                  <c:v>0</c:v>
                </c:pt>
                <c:pt idx="18749">
                  <c:v>0</c:v>
                </c:pt>
                <c:pt idx="18750">
                  <c:v>0</c:v>
                </c:pt>
                <c:pt idx="18751">
                  <c:v>1</c:v>
                </c:pt>
                <c:pt idx="18752">
                  <c:v>5</c:v>
                </c:pt>
                <c:pt idx="18753">
                  <c:v>0</c:v>
                </c:pt>
                <c:pt idx="18754">
                  <c:v>0</c:v>
                </c:pt>
                <c:pt idx="18755">
                  <c:v>0</c:v>
                </c:pt>
                <c:pt idx="18756">
                  <c:v>0</c:v>
                </c:pt>
                <c:pt idx="18757">
                  <c:v>0</c:v>
                </c:pt>
                <c:pt idx="18758">
                  <c:v>0</c:v>
                </c:pt>
                <c:pt idx="18759">
                  <c:v>0</c:v>
                </c:pt>
                <c:pt idx="18760">
                  <c:v>0</c:v>
                </c:pt>
                <c:pt idx="18761">
                  <c:v>0</c:v>
                </c:pt>
                <c:pt idx="18762">
                  <c:v>1</c:v>
                </c:pt>
                <c:pt idx="18763">
                  <c:v>0</c:v>
                </c:pt>
                <c:pt idx="18764">
                  <c:v>0</c:v>
                </c:pt>
                <c:pt idx="18765">
                  <c:v>0</c:v>
                </c:pt>
                <c:pt idx="18766">
                  <c:v>2</c:v>
                </c:pt>
                <c:pt idx="18767">
                  <c:v>0</c:v>
                </c:pt>
                <c:pt idx="18768">
                  <c:v>0</c:v>
                </c:pt>
                <c:pt idx="18769">
                  <c:v>0</c:v>
                </c:pt>
                <c:pt idx="18770">
                  <c:v>0</c:v>
                </c:pt>
                <c:pt idx="18771">
                  <c:v>0</c:v>
                </c:pt>
                <c:pt idx="18772">
                  <c:v>0</c:v>
                </c:pt>
                <c:pt idx="18773">
                  <c:v>0</c:v>
                </c:pt>
                <c:pt idx="18774">
                  <c:v>0</c:v>
                </c:pt>
                <c:pt idx="18775">
                  <c:v>0</c:v>
                </c:pt>
                <c:pt idx="18776">
                  <c:v>0</c:v>
                </c:pt>
                <c:pt idx="18777">
                  <c:v>0</c:v>
                </c:pt>
                <c:pt idx="18778">
                  <c:v>0</c:v>
                </c:pt>
                <c:pt idx="18779">
                  <c:v>0</c:v>
                </c:pt>
                <c:pt idx="18780">
                  <c:v>0</c:v>
                </c:pt>
                <c:pt idx="18781">
                  <c:v>0</c:v>
                </c:pt>
                <c:pt idx="18782">
                  <c:v>0</c:v>
                </c:pt>
                <c:pt idx="18783">
                  <c:v>0</c:v>
                </c:pt>
                <c:pt idx="18784">
                  <c:v>0</c:v>
                </c:pt>
                <c:pt idx="18785">
                  <c:v>0</c:v>
                </c:pt>
                <c:pt idx="18786">
                  <c:v>0</c:v>
                </c:pt>
                <c:pt idx="18787">
                  <c:v>0</c:v>
                </c:pt>
                <c:pt idx="18788">
                  <c:v>0</c:v>
                </c:pt>
                <c:pt idx="18789">
                  <c:v>0</c:v>
                </c:pt>
                <c:pt idx="18790">
                  <c:v>0</c:v>
                </c:pt>
                <c:pt idx="18791">
                  <c:v>0</c:v>
                </c:pt>
                <c:pt idx="18792">
                  <c:v>0</c:v>
                </c:pt>
                <c:pt idx="18793">
                  <c:v>0</c:v>
                </c:pt>
                <c:pt idx="18794">
                  <c:v>0</c:v>
                </c:pt>
                <c:pt idx="18795">
                  <c:v>0</c:v>
                </c:pt>
                <c:pt idx="18796">
                  <c:v>0</c:v>
                </c:pt>
                <c:pt idx="18797">
                  <c:v>0</c:v>
                </c:pt>
                <c:pt idx="18798">
                  <c:v>0</c:v>
                </c:pt>
                <c:pt idx="18799">
                  <c:v>0</c:v>
                </c:pt>
                <c:pt idx="18800">
                  <c:v>1</c:v>
                </c:pt>
                <c:pt idx="18801">
                  <c:v>0</c:v>
                </c:pt>
                <c:pt idx="18802">
                  <c:v>3</c:v>
                </c:pt>
                <c:pt idx="18803">
                  <c:v>0</c:v>
                </c:pt>
                <c:pt idx="18804">
                  <c:v>0</c:v>
                </c:pt>
                <c:pt idx="18805">
                  <c:v>0</c:v>
                </c:pt>
                <c:pt idx="18806">
                  <c:v>0</c:v>
                </c:pt>
                <c:pt idx="18807">
                  <c:v>0</c:v>
                </c:pt>
                <c:pt idx="18808">
                  <c:v>0</c:v>
                </c:pt>
                <c:pt idx="18809">
                  <c:v>0</c:v>
                </c:pt>
                <c:pt idx="18810">
                  <c:v>1</c:v>
                </c:pt>
                <c:pt idx="18811">
                  <c:v>0</c:v>
                </c:pt>
                <c:pt idx="18812">
                  <c:v>0</c:v>
                </c:pt>
                <c:pt idx="18813">
                  <c:v>0</c:v>
                </c:pt>
                <c:pt idx="18814">
                  <c:v>0</c:v>
                </c:pt>
                <c:pt idx="18815">
                  <c:v>0</c:v>
                </c:pt>
                <c:pt idx="18816">
                  <c:v>0</c:v>
                </c:pt>
                <c:pt idx="18817">
                  <c:v>0</c:v>
                </c:pt>
                <c:pt idx="18818">
                  <c:v>0</c:v>
                </c:pt>
                <c:pt idx="18819">
                  <c:v>0</c:v>
                </c:pt>
                <c:pt idx="18820">
                  <c:v>0</c:v>
                </c:pt>
                <c:pt idx="18821">
                  <c:v>0</c:v>
                </c:pt>
                <c:pt idx="18822">
                  <c:v>0</c:v>
                </c:pt>
                <c:pt idx="18823">
                  <c:v>3</c:v>
                </c:pt>
                <c:pt idx="18824">
                  <c:v>0</c:v>
                </c:pt>
                <c:pt idx="18825">
                  <c:v>0</c:v>
                </c:pt>
                <c:pt idx="18826">
                  <c:v>0</c:v>
                </c:pt>
                <c:pt idx="18827">
                  <c:v>0</c:v>
                </c:pt>
                <c:pt idx="18828">
                  <c:v>0</c:v>
                </c:pt>
                <c:pt idx="18829">
                  <c:v>0</c:v>
                </c:pt>
                <c:pt idx="18830">
                  <c:v>0</c:v>
                </c:pt>
                <c:pt idx="18831">
                  <c:v>0</c:v>
                </c:pt>
                <c:pt idx="18832">
                  <c:v>0</c:v>
                </c:pt>
                <c:pt idx="18833">
                  <c:v>0</c:v>
                </c:pt>
                <c:pt idx="18834">
                  <c:v>0</c:v>
                </c:pt>
                <c:pt idx="18835">
                  <c:v>0</c:v>
                </c:pt>
                <c:pt idx="18836">
                  <c:v>0</c:v>
                </c:pt>
                <c:pt idx="18837">
                  <c:v>0</c:v>
                </c:pt>
                <c:pt idx="18838">
                  <c:v>0</c:v>
                </c:pt>
                <c:pt idx="18839">
                  <c:v>0</c:v>
                </c:pt>
                <c:pt idx="18840">
                  <c:v>0</c:v>
                </c:pt>
                <c:pt idx="18841">
                  <c:v>0</c:v>
                </c:pt>
                <c:pt idx="18842">
                  <c:v>0</c:v>
                </c:pt>
                <c:pt idx="18843">
                  <c:v>0</c:v>
                </c:pt>
                <c:pt idx="18844">
                  <c:v>0</c:v>
                </c:pt>
                <c:pt idx="18845">
                  <c:v>0</c:v>
                </c:pt>
                <c:pt idx="18846">
                  <c:v>0</c:v>
                </c:pt>
                <c:pt idx="18847">
                  <c:v>0</c:v>
                </c:pt>
                <c:pt idx="18848">
                  <c:v>0</c:v>
                </c:pt>
                <c:pt idx="18849">
                  <c:v>0</c:v>
                </c:pt>
                <c:pt idx="18850">
                  <c:v>0</c:v>
                </c:pt>
                <c:pt idx="18851">
                  <c:v>0</c:v>
                </c:pt>
                <c:pt idx="18852">
                  <c:v>0</c:v>
                </c:pt>
                <c:pt idx="18853">
                  <c:v>0</c:v>
                </c:pt>
                <c:pt idx="18854">
                  <c:v>0</c:v>
                </c:pt>
                <c:pt idx="18855">
                  <c:v>0</c:v>
                </c:pt>
                <c:pt idx="18856">
                  <c:v>0</c:v>
                </c:pt>
                <c:pt idx="18857">
                  <c:v>0</c:v>
                </c:pt>
                <c:pt idx="18858">
                  <c:v>0</c:v>
                </c:pt>
                <c:pt idx="18859">
                  <c:v>0</c:v>
                </c:pt>
                <c:pt idx="18860">
                  <c:v>0</c:v>
                </c:pt>
                <c:pt idx="18861">
                  <c:v>0</c:v>
                </c:pt>
                <c:pt idx="18862">
                  <c:v>2</c:v>
                </c:pt>
                <c:pt idx="18863">
                  <c:v>0</c:v>
                </c:pt>
                <c:pt idx="18864">
                  <c:v>0</c:v>
                </c:pt>
                <c:pt idx="18865">
                  <c:v>0</c:v>
                </c:pt>
                <c:pt idx="18866">
                  <c:v>0</c:v>
                </c:pt>
                <c:pt idx="18867">
                  <c:v>0</c:v>
                </c:pt>
                <c:pt idx="18868">
                  <c:v>0</c:v>
                </c:pt>
                <c:pt idx="18869">
                  <c:v>0</c:v>
                </c:pt>
                <c:pt idx="18870">
                  <c:v>0</c:v>
                </c:pt>
                <c:pt idx="18871">
                  <c:v>0</c:v>
                </c:pt>
                <c:pt idx="18872">
                  <c:v>0</c:v>
                </c:pt>
                <c:pt idx="18873">
                  <c:v>0</c:v>
                </c:pt>
                <c:pt idx="18874">
                  <c:v>0</c:v>
                </c:pt>
                <c:pt idx="18875">
                  <c:v>0</c:v>
                </c:pt>
                <c:pt idx="18876">
                  <c:v>0</c:v>
                </c:pt>
                <c:pt idx="18877">
                  <c:v>0</c:v>
                </c:pt>
                <c:pt idx="18878">
                  <c:v>0</c:v>
                </c:pt>
                <c:pt idx="18879">
                  <c:v>0</c:v>
                </c:pt>
                <c:pt idx="18880">
                  <c:v>0</c:v>
                </c:pt>
                <c:pt idx="18881">
                  <c:v>0</c:v>
                </c:pt>
                <c:pt idx="18882">
                  <c:v>0</c:v>
                </c:pt>
                <c:pt idx="18883">
                  <c:v>0</c:v>
                </c:pt>
                <c:pt idx="18884">
                  <c:v>0</c:v>
                </c:pt>
                <c:pt idx="18885">
                  <c:v>0</c:v>
                </c:pt>
                <c:pt idx="18886">
                  <c:v>0</c:v>
                </c:pt>
                <c:pt idx="18887">
                  <c:v>0</c:v>
                </c:pt>
                <c:pt idx="18888">
                  <c:v>0</c:v>
                </c:pt>
                <c:pt idx="18889">
                  <c:v>0</c:v>
                </c:pt>
                <c:pt idx="18890">
                  <c:v>0</c:v>
                </c:pt>
                <c:pt idx="18891">
                  <c:v>0</c:v>
                </c:pt>
                <c:pt idx="18892">
                  <c:v>1</c:v>
                </c:pt>
                <c:pt idx="18893">
                  <c:v>0</c:v>
                </c:pt>
                <c:pt idx="18894">
                  <c:v>0</c:v>
                </c:pt>
                <c:pt idx="18895">
                  <c:v>0</c:v>
                </c:pt>
                <c:pt idx="18896">
                  <c:v>0</c:v>
                </c:pt>
                <c:pt idx="18897">
                  <c:v>1</c:v>
                </c:pt>
                <c:pt idx="18898">
                  <c:v>0</c:v>
                </c:pt>
                <c:pt idx="18899">
                  <c:v>0</c:v>
                </c:pt>
                <c:pt idx="18900">
                  <c:v>0</c:v>
                </c:pt>
                <c:pt idx="18901">
                  <c:v>0</c:v>
                </c:pt>
                <c:pt idx="18902">
                  <c:v>0</c:v>
                </c:pt>
                <c:pt idx="18903">
                  <c:v>0</c:v>
                </c:pt>
                <c:pt idx="18904">
                  <c:v>0</c:v>
                </c:pt>
                <c:pt idx="18905">
                  <c:v>0</c:v>
                </c:pt>
                <c:pt idx="18906">
                  <c:v>0</c:v>
                </c:pt>
                <c:pt idx="18907">
                  <c:v>0</c:v>
                </c:pt>
                <c:pt idx="18908">
                  <c:v>0</c:v>
                </c:pt>
                <c:pt idx="18909">
                  <c:v>0</c:v>
                </c:pt>
                <c:pt idx="18910">
                  <c:v>0</c:v>
                </c:pt>
                <c:pt idx="18911">
                  <c:v>0</c:v>
                </c:pt>
                <c:pt idx="18912">
                  <c:v>0</c:v>
                </c:pt>
                <c:pt idx="18913">
                  <c:v>0</c:v>
                </c:pt>
                <c:pt idx="18914">
                  <c:v>0</c:v>
                </c:pt>
                <c:pt idx="18915">
                  <c:v>0</c:v>
                </c:pt>
                <c:pt idx="18916">
                  <c:v>0</c:v>
                </c:pt>
                <c:pt idx="18917">
                  <c:v>1</c:v>
                </c:pt>
                <c:pt idx="18918">
                  <c:v>0</c:v>
                </c:pt>
                <c:pt idx="18919">
                  <c:v>0</c:v>
                </c:pt>
                <c:pt idx="18920">
                  <c:v>1</c:v>
                </c:pt>
                <c:pt idx="18921">
                  <c:v>0</c:v>
                </c:pt>
                <c:pt idx="18922">
                  <c:v>0</c:v>
                </c:pt>
                <c:pt idx="18923">
                  <c:v>0</c:v>
                </c:pt>
                <c:pt idx="18924">
                  <c:v>0</c:v>
                </c:pt>
                <c:pt idx="18925">
                  <c:v>0</c:v>
                </c:pt>
                <c:pt idx="18926">
                  <c:v>0</c:v>
                </c:pt>
                <c:pt idx="18927">
                  <c:v>0</c:v>
                </c:pt>
                <c:pt idx="18928">
                  <c:v>0</c:v>
                </c:pt>
                <c:pt idx="18929">
                  <c:v>0</c:v>
                </c:pt>
                <c:pt idx="18930">
                  <c:v>0</c:v>
                </c:pt>
                <c:pt idx="18931">
                  <c:v>0</c:v>
                </c:pt>
                <c:pt idx="18932">
                  <c:v>0</c:v>
                </c:pt>
                <c:pt idx="18933">
                  <c:v>0</c:v>
                </c:pt>
                <c:pt idx="18934">
                  <c:v>1</c:v>
                </c:pt>
                <c:pt idx="18935">
                  <c:v>1</c:v>
                </c:pt>
                <c:pt idx="18936">
                  <c:v>0</c:v>
                </c:pt>
                <c:pt idx="18937">
                  <c:v>1</c:v>
                </c:pt>
                <c:pt idx="18938">
                  <c:v>0</c:v>
                </c:pt>
                <c:pt idx="18939">
                  <c:v>0</c:v>
                </c:pt>
                <c:pt idx="18940">
                  <c:v>2</c:v>
                </c:pt>
                <c:pt idx="18941">
                  <c:v>3</c:v>
                </c:pt>
                <c:pt idx="18942">
                  <c:v>5</c:v>
                </c:pt>
                <c:pt idx="18943">
                  <c:v>0</c:v>
                </c:pt>
                <c:pt idx="18944">
                  <c:v>1</c:v>
                </c:pt>
                <c:pt idx="18945">
                  <c:v>8</c:v>
                </c:pt>
                <c:pt idx="18946">
                  <c:v>17</c:v>
                </c:pt>
                <c:pt idx="18947">
                  <c:v>0</c:v>
                </c:pt>
                <c:pt idx="18948">
                  <c:v>0</c:v>
                </c:pt>
                <c:pt idx="18949">
                  <c:v>0</c:v>
                </c:pt>
                <c:pt idx="18950">
                  <c:v>0</c:v>
                </c:pt>
                <c:pt idx="18951">
                  <c:v>0</c:v>
                </c:pt>
                <c:pt idx="18952">
                  <c:v>0</c:v>
                </c:pt>
                <c:pt idx="18953">
                  <c:v>0</c:v>
                </c:pt>
                <c:pt idx="18954">
                  <c:v>0</c:v>
                </c:pt>
                <c:pt idx="18955">
                  <c:v>0</c:v>
                </c:pt>
                <c:pt idx="18956">
                  <c:v>0</c:v>
                </c:pt>
                <c:pt idx="18957">
                  <c:v>0</c:v>
                </c:pt>
                <c:pt idx="18958">
                  <c:v>0</c:v>
                </c:pt>
                <c:pt idx="18959">
                  <c:v>0</c:v>
                </c:pt>
                <c:pt idx="18960">
                  <c:v>0</c:v>
                </c:pt>
                <c:pt idx="18961">
                  <c:v>0</c:v>
                </c:pt>
                <c:pt idx="18962">
                  <c:v>0</c:v>
                </c:pt>
                <c:pt idx="18963">
                  <c:v>0</c:v>
                </c:pt>
                <c:pt idx="18964">
                  <c:v>0</c:v>
                </c:pt>
                <c:pt idx="18965">
                  <c:v>0</c:v>
                </c:pt>
                <c:pt idx="18966">
                  <c:v>0</c:v>
                </c:pt>
                <c:pt idx="18967">
                  <c:v>0</c:v>
                </c:pt>
                <c:pt idx="18968">
                  <c:v>0</c:v>
                </c:pt>
                <c:pt idx="18969">
                  <c:v>0</c:v>
                </c:pt>
                <c:pt idx="18970">
                  <c:v>0</c:v>
                </c:pt>
                <c:pt idx="18971">
                  <c:v>0</c:v>
                </c:pt>
                <c:pt idx="18972">
                  <c:v>0</c:v>
                </c:pt>
                <c:pt idx="18973">
                  <c:v>0</c:v>
                </c:pt>
                <c:pt idx="18974">
                  <c:v>0</c:v>
                </c:pt>
                <c:pt idx="18975">
                  <c:v>0</c:v>
                </c:pt>
                <c:pt idx="18976">
                  <c:v>0</c:v>
                </c:pt>
                <c:pt idx="18977">
                  <c:v>0</c:v>
                </c:pt>
                <c:pt idx="18978">
                  <c:v>0</c:v>
                </c:pt>
                <c:pt idx="18979">
                  <c:v>0</c:v>
                </c:pt>
                <c:pt idx="18980">
                  <c:v>0</c:v>
                </c:pt>
                <c:pt idx="18981">
                  <c:v>0</c:v>
                </c:pt>
                <c:pt idx="18982">
                  <c:v>0</c:v>
                </c:pt>
                <c:pt idx="18983">
                  <c:v>15</c:v>
                </c:pt>
                <c:pt idx="18984">
                  <c:v>0</c:v>
                </c:pt>
                <c:pt idx="18985">
                  <c:v>0</c:v>
                </c:pt>
                <c:pt idx="18986">
                  <c:v>0</c:v>
                </c:pt>
                <c:pt idx="18987">
                  <c:v>0</c:v>
                </c:pt>
                <c:pt idx="18988">
                  <c:v>0</c:v>
                </c:pt>
                <c:pt idx="18989">
                  <c:v>0</c:v>
                </c:pt>
                <c:pt idx="18990">
                  <c:v>0</c:v>
                </c:pt>
                <c:pt idx="18991">
                  <c:v>0</c:v>
                </c:pt>
                <c:pt idx="18992">
                  <c:v>0</c:v>
                </c:pt>
                <c:pt idx="18993">
                  <c:v>0</c:v>
                </c:pt>
                <c:pt idx="18994">
                  <c:v>0</c:v>
                </c:pt>
                <c:pt idx="18995">
                  <c:v>8</c:v>
                </c:pt>
                <c:pt idx="18996">
                  <c:v>8</c:v>
                </c:pt>
                <c:pt idx="18997">
                  <c:v>0</c:v>
                </c:pt>
                <c:pt idx="18998">
                  <c:v>0</c:v>
                </c:pt>
                <c:pt idx="18999">
                  <c:v>0</c:v>
                </c:pt>
                <c:pt idx="19000">
                  <c:v>0</c:v>
                </c:pt>
                <c:pt idx="19001">
                  <c:v>0</c:v>
                </c:pt>
                <c:pt idx="19002">
                  <c:v>0</c:v>
                </c:pt>
                <c:pt idx="19003">
                  <c:v>0</c:v>
                </c:pt>
                <c:pt idx="19004">
                  <c:v>0</c:v>
                </c:pt>
                <c:pt idx="19005">
                  <c:v>0</c:v>
                </c:pt>
                <c:pt idx="19006">
                  <c:v>7</c:v>
                </c:pt>
                <c:pt idx="19007">
                  <c:v>2</c:v>
                </c:pt>
                <c:pt idx="19008">
                  <c:v>13</c:v>
                </c:pt>
                <c:pt idx="19009">
                  <c:v>0</c:v>
                </c:pt>
                <c:pt idx="19010">
                  <c:v>0</c:v>
                </c:pt>
                <c:pt idx="19011">
                  <c:v>0</c:v>
                </c:pt>
                <c:pt idx="19012">
                  <c:v>0</c:v>
                </c:pt>
                <c:pt idx="19013">
                  <c:v>1</c:v>
                </c:pt>
                <c:pt idx="19014">
                  <c:v>0</c:v>
                </c:pt>
                <c:pt idx="19015">
                  <c:v>0</c:v>
                </c:pt>
                <c:pt idx="19016">
                  <c:v>0</c:v>
                </c:pt>
                <c:pt idx="19017">
                  <c:v>0</c:v>
                </c:pt>
                <c:pt idx="19018">
                  <c:v>0</c:v>
                </c:pt>
                <c:pt idx="19019">
                  <c:v>0</c:v>
                </c:pt>
                <c:pt idx="19020">
                  <c:v>0</c:v>
                </c:pt>
                <c:pt idx="19021">
                  <c:v>0</c:v>
                </c:pt>
                <c:pt idx="19022">
                  <c:v>0</c:v>
                </c:pt>
                <c:pt idx="19023">
                  <c:v>0</c:v>
                </c:pt>
                <c:pt idx="19024">
                  <c:v>0</c:v>
                </c:pt>
                <c:pt idx="19025">
                  <c:v>0</c:v>
                </c:pt>
                <c:pt idx="19026">
                  <c:v>0</c:v>
                </c:pt>
                <c:pt idx="19027">
                  <c:v>0</c:v>
                </c:pt>
                <c:pt idx="19028">
                  <c:v>0</c:v>
                </c:pt>
                <c:pt idx="19029">
                  <c:v>0</c:v>
                </c:pt>
                <c:pt idx="19030">
                  <c:v>0</c:v>
                </c:pt>
                <c:pt idx="19031">
                  <c:v>0</c:v>
                </c:pt>
                <c:pt idx="19032">
                  <c:v>0</c:v>
                </c:pt>
                <c:pt idx="19033">
                  <c:v>0</c:v>
                </c:pt>
                <c:pt idx="19034">
                  <c:v>0</c:v>
                </c:pt>
                <c:pt idx="19035">
                  <c:v>0</c:v>
                </c:pt>
                <c:pt idx="19036">
                  <c:v>0</c:v>
                </c:pt>
                <c:pt idx="19037">
                  <c:v>0</c:v>
                </c:pt>
                <c:pt idx="19038">
                  <c:v>0</c:v>
                </c:pt>
                <c:pt idx="19039">
                  <c:v>0</c:v>
                </c:pt>
                <c:pt idx="19040">
                  <c:v>0</c:v>
                </c:pt>
                <c:pt idx="19041">
                  <c:v>0</c:v>
                </c:pt>
                <c:pt idx="19042">
                  <c:v>0</c:v>
                </c:pt>
                <c:pt idx="19043">
                  <c:v>0</c:v>
                </c:pt>
                <c:pt idx="19044">
                  <c:v>0</c:v>
                </c:pt>
                <c:pt idx="19045">
                  <c:v>0</c:v>
                </c:pt>
                <c:pt idx="19046">
                  <c:v>0</c:v>
                </c:pt>
                <c:pt idx="19047">
                  <c:v>0</c:v>
                </c:pt>
                <c:pt idx="19048">
                  <c:v>0</c:v>
                </c:pt>
                <c:pt idx="19049">
                  <c:v>0</c:v>
                </c:pt>
                <c:pt idx="19050">
                  <c:v>0</c:v>
                </c:pt>
                <c:pt idx="19051">
                  <c:v>0</c:v>
                </c:pt>
                <c:pt idx="19052">
                  <c:v>0</c:v>
                </c:pt>
                <c:pt idx="19053">
                  <c:v>0</c:v>
                </c:pt>
                <c:pt idx="19054">
                  <c:v>0</c:v>
                </c:pt>
                <c:pt idx="19055">
                  <c:v>0</c:v>
                </c:pt>
                <c:pt idx="19056">
                  <c:v>0</c:v>
                </c:pt>
                <c:pt idx="19057">
                  <c:v>0</c:v>
                </c:pt>
                <c:pt idx="19058">
                  <c:v>0</c:v>
                </c:pt>
                <c:pt idx="19059">
                  <c:v>0</c:v>
                </c:pt>
                <c:pt idx="19060">
                  <c:v>1</c:v>
                </c:pt>
                <c:pt idx="19061">
                  <c:v>0</c:v>
                </c:pt>
                <c:pt idx="19062">
                  <c:v>0</c:v>
                </c:pt>
                <c:pt idx="19063">
                  <c:v>0</c:v>
                </c:pt>
                <c:pt idx="19064">
                  <c:v>0</c:v>
                </c:pt>
                <c:pt idx="19065">
                  <c:v>0</c:v>
                </c:pt>
                <c:pt idx="19066">
                  <c:v>0</c:v>
                </c:pt>
                <c:pt idx="19067">
                  <c:v>0</c:v>
                </c:pt>
                <c:pt idx="19068">
                  <c:v>0</c:v>
                </c:pt>
                <c:pt idx="19069">
                  <c:v>0</c:v>
                </c:pt>
                <c:pt idx="19070">
                  <c:v>0</c:v>
                </c:pt>
                <c:pt idx="19071">
                  <c:v>1</c:v>
                </c:pt>
                <c:pt idx="19072">
                  <c:v>0</c:v>
                </c:pt>
                <c:pt idx="19073">
                  <c:v>0</c:v>
                </c:pt>
                <c:pt idx="19074">
                  <c:v>0</c:v>
                </c:pt>
                <c:pt idx="19075">
                  <c:v>0</c:v>
                </c:pt>
                <c:pt idx="19076">
                  <c:v>0</c:v>
                </c:pt>
                <c:pt idx="19077">
                  <c:v>0</c:v>
                </c:pt>
                <c:pt idx="19078">
                  <c:v>0</c:v>
                </c:pt>
                <c:pt idx="19079">
                  <c:v>0</c:v>
                </c:pt>
                <c:pt idx="19080">
                  <c:v>0</c:v>
                </c:pt>
                <c:pt idx="19081">
                  <c:v>0</c:v>
                </c:pt>
                <c:pt idx="19082">
                  <c:v>0</c:v>
                </c:pt>
                <c:pt idx="19083">
                  <c:v>0</c:v>
                </c:pt>
                <c:pt idx="19084">
                  <c:v>0</c:v>
                </c:pt>
                <c:pt idx="19085">
                  <c:v>0</c:v>
                </c:pt>
                <c:pt idx="19086">
                  <c:v>0</c:v>
                </c:pt>
                <c:pt idx="19087">
                  <c:v>0</c:v>
                </c:pt>
                <c:pt idx="19088">
                  <c:v>0</c:v>
                </c:pt>
                <c:pt idx="19089">
                  <c:v>0</c:v>
                </c:pt>
                <c:pt idx="19090">
                  <c:v>0</c:v>
                </c:pt>
                <c:pt idx="19091">
                  <c:v>0</c:v>
                </c:pt>
                <c:pt idx="19092">
                  <c:v>0</c:v>
                </c:pt>
                <c:pt idx="19093">
                  <c:v>0</c:v>
                </c:pt>
                <c:pt idx="19094">
                  <c:v>0</c:v>
                </c:pt>
                <c:pt idx="19095">
                  <c:v>0</c:v>
                </c:pt>
                <c:pt idx="19096">
                  <c:v>0</c:v>
                </c:pt>
                <c:pt idx="19097">
                  <c:v>0</c:v>
                </c:pt>
                <c:pt idx="19098">
                  <c:v>0</c:v>
                </c:pt>
                <c:pt idx="19099">
                  <c:v>5</c:v>
                </c:pt>
                <c:pt idx="19100">
                  <c:v>0</c:v>
                </c:pt>
                <c:pt idx="19101">
                  <c:v>0</c:v>
                </c:pt>
                <c:pt idx="19102">
                  <c:v>0</c:v>
                </c:pt>
                <c:pt idx="19103">
                  <c:v>0</c:v>
                </c:pt>
                <c:pt idx="19104">
                  <c:v>0</c:v>
                </c:pt>
                <c:pt idx="19105">
                  <c:v>0</c:v>
                </c:pt>
                <c:pt idx="19106">
                  <c:v>0</c:v>
                </c:pt>
                <c:pt idx="19107">
                  <c:v>0</c:v>
                </c:pt>
                <c:pt idx="19108">
                  <c:v>0</c:v>
                </c:pt>
                <c:pt idx="19109">
                  <c:v>0</c:v>
                </c:pt>
                <c:pt idx="19110">
                  <c:v>0</c:v>
                </c:pt>
                <c:pt idx="19111">
                  <c:v>0</c:v>
                </c:pt>
                <c:pt idx="19112">
                  <c:v>0</c:v>
                </c:pt>
                <c:pt idx="19113">
                  <c:v>0</c:v>
                </c:pt>
                <c:pt idx="19114">
                  <c:v>0</c:v>
                </c:pt>
                <c:pt idx="19115">
                  <c:v>0</c:v>
                </c:pt>
                <c:pt idx="19116">
                  <c:v>0</c:v>
                </c:pt>
                <c:pt idx="19117">
                  <c:v>0</c:v>
                </c:pt>
                <c:pt idx="19118">
                  <c:v>0</c:v>
                </c:pt>
                <c:pt idx="19119">
                  <c:v>0</c:v>
                </c:pt>
                <c:pt idx="19120">
                  <c:v>0</c:v>
                </c:pt>
                <c:pt idx="19121">
                  <c:v>0</c:v>
                </c:pt>
                <c:pt idx="19122">
                  <c:v>0</c:v>
                </c:pt>
                <c:pt idx="19123">
                  <c:v>0</c:v>
                </c:pt>
                <c:pt idx="19124">
                  <c:v>0</c:v>
                </c:pt>
                <c:pt idx="19125">
                  <c:v>0</c:v>
                </c:pt>
                <c:pt idx="19126">
                  <c:v>0</c:v>
                </c:pt>
                <c:pt idx="19127">
                  <c:v>0</c:v>
                </c:pt>
                <c:pt idx="19128">
                  <c:v>0</c:v>
                </c:pt>
                <c:pt idx="19129">
                  <c:v>0</c:v>
                </c:pt>
                <c:pt idx="19130">
                  <c:v>0</c:v>
                </c:pt>
                <c:pt idx="19131">
                  <c:v>0</c:v>
                </c:pt>
                <c:pt idx="19132">
                  <c:v>0</c:v>
                </c:pt>
                <c:pt idx="19133">
                  <c:v>0</c:v>
                </c:pt>
                <c:pt idx="19134">
                  <c:v>0</c:v>
                </c:pt>
                <c:pt idx="19135">
                  <c:v>0</c:v>
                </c:pt>
                <c:pt idx="19136">
                  <c:v>0</c:v>
                </c:pt>
                <c:pt idx="19137">
                  <c:v>0</c:v>
                </c:pt>
                <c:pt idx="19138">
                  <c:v>0</c:v>
                </c:pt>
                <c:pt idx="19139">
                  <c:v>0</c:v>
                </c:pt>
                <c:pt idx="19140">
                  <c:v>0</c:v>
                </c:pt>
                <c:pt idx="19141">
                  <c:v>0</c:v>
                </c:pt>
                <c:pt idx="19142">
                  <c:v>0</c:v>
                </c:pt>
                <c:pt idx="19143">
                  <c:v>0</c:v>
                </c:pt>
                <c:pt idx="19144">
                  <c:v>0</c:v>
                </c:pt>
                <c:pt idx="19145">
                  <c:v>0</c:v>
                </c:pt>
                <c:pt idx="19146">
                  <c:v>0</c:v>
                </c:pt>
                <c:pt idx="19147">
                  <c:v>0</c:v>
                </c:pt>
                <c:pt idx="19148">
                  <c:v>0</c:v>
                </c:pt>
                <c:pt idx="19149">
                  <c:v>0</c:v>
                </c:pt>
                <c:pt idx="19150">
                  <c:v>0</c:v>
                </c:pt>
                <c:pt idx="19151">
                  <c:v>0</c:v>
                </c:pt>
                <c:pt idx="19152">
                  <c:v>0</c:v>
                </c:pt>
                <c:pt idx="19153">
                  <c:v>0</c:v>
                </c:pt>
                <c:pt idx="19154">
                  <c:v>0</c:v>
                </c:pt>
                <c:pt idx="19155">
                  <c:v>0</c:v>
                </c:pt>
                <c:pt idx="19156">
                  <c:v>0</c:v>
                </c:pt>
                <c:pt idx="19157">
                  <c:v>0</c:v>
                </c:pt>
                <c:pt idx="19158">
                  <c:v>3</c:v>
                </c:pt>
                <c:pt idx="19159">
                  <c:v>0</c:v>
                </c:pt>
                <c:pt idx="19160">
                  <c:v>0</c:v>
                </c:pt>
                <c:pt idx="19161">
                  <c:v>0</c:v>
                </c:pt>
                <c:pt idx="19162">
                  <c:v>0</c:v>
                </c:pt>
                <c:pt idx="19163">
                  <c:v>0</c:v>
                </c:pt>
                <c:pt idx="19164">
                  <c:v>0</c:v>
                </c:pt>
                <c:pt idx="19165">
                  <c:v>0</c:v>
                </c:pt>
                <c:pt idx="19166">
                  <c:v>3</c:v>
                </c:pt>
                <c:pt idx="19167">
                  <c:v>1</c:v>
                </c:pt>
                <c:pt idx="19168">
                  <c:v>1</c:v>
                </c:pt>
                <c:pt idx="19169">
                  <c:v>0</c:v>
                </c:pt>
                <c:pt idx="19170">
                  <c:v>0</c:v>
                </c:pt>
                <c:pt idx="19171">
                  <c:v>0</c:v>
                </c:pt>
                <c:pt idx="19172">
                  <c:v>0</c:v>
                </c:pt>
                <c:pt idx="19173">
                  <c:v>1</c:v>
                </c:pt>
                <c:pt idx="19174">
                  <c:v>0</c:v>
                </c:pt>
                <c:pt idx="19175">
                  <c:v>0</c:v>
                </c:pt>
                <c:pt idx="19176">
                  <c:v>0</c:v>
                </c:pt>
                <c:pt idx="19177">
                  <c:v>0</c:v>
                </c:pt>
                <c:pt idx="19178">
                  <c:v>0</c:v>
                </c:pt>
                <c:pt idx="19179">
                  <c:v>0</c:v>
                </c:pt>
                <c:pt idx="19180">
                  <c:v>0</c:v>
                </c:pt>
                <c:pt idx="19181">
                  <c:v>0</c:v>
                </c:pt>
                <c:pt idx="19182">
                  <c:v>0</c:v>
                </c:pt>
                <c:pt idx="19183">
                  <c:v>0</c:v>
                </c:pt>
                <c:pt idx="19184">
                  <c:v>0</c:v>
                </c:pt>
                <c:pt idx="19185">
                  <c:v>0</c:v>
                </c:pt>
                <c:pt idx="19186">
                  <c:v>0</c:v>
                </c:pt>
                <c:pt idx="19187">
                  <c:v>0</c:v>
                </c:pt>
                <c:pt idx="19188">
                  <c:v>0</c:v>
                </c:pt>
                <c:pt idx="19189">
                  <c:v>0</c:v>
                </c:pt>
                <c:pt idx="19190">
                  <c:v>0</c:v>
                </c:pt>
                <c:pt idx="19191">
                  <c:v>0</c:v>
                </c:pt>
                <c:pt idx="19192">
                  <c:v>0</c:v>
                </c:pt>
                <c:pt idx="19193">
                  <c:v>0</c:v>
                </c:pt>
                <c:pt idx="19194">
                  <c:v>0</c:v>
                </c:pt>
                <c:pt idx="19195">
                  <c:v>0</c:v>
                </c:pt>
                <c:pt idx="19196">
                  <c:v>0</c:v>
                </c:pt>
                <c:pt idx="19197">
                  <c:v>0</c:v>
                </c:pt>
                <c:pt idx="19198">
                  <c:v>0</c:v>
                </c:pt>
                <c:pt idx="19199">
                  <c:v>0</c:v>
                </c:pt>
                <c:pt idx="19200">
                  <c:v>3</c:v>
                </c:pt>
                <c:pt idx="19201">
                  <c:v>0</c:v>
                </c:pt>
                <c:pt idx="19202">
                  <c:v>0</c:v>
                </c:pt>
                <c:pt idx="19203">
                  <c:v>0</c:v>
                </c:pt>
                <c:pt idx="19204">
                  <c:v>0</c:v>
                </c:pt>
                <c:pt idx="19205">
                  <c:v>0</c:v>
                </c:pt>
                <c:pt idx="19206">
                  <c:v>0</c:v>
                </c:pt>
                <c:pt idx="19207">
                  <c:v>0</c:v>
                </c:pt>
                <c:pt idx="19208">
                  <c:v>0</c:v>
                </c:pt>
                <c:pt idx="19209">
                  <c:v>0</c:v>
                </c:pt>
                <c:pt idx="19210">
                  <c:v>0</c:v>
                </c:pt>
                <c:pt idx="19211">
                  <c:v>0</c:v>
                </c:pt>
                <c:pt idx="19212">
                  <c:v>0</c:v>
                </c:pt>
                <c:pt idx="19213">
                  <c:v>0</c:v>
                </c:pt>
                <c:pt idx="19214">
                  <c:v>0</c:v>
                </c:pt>
                <c:pt idx="19215">
                  <c:v>0</c:v>
                </c:pt>
                <c:pt idx="19216">
                  <c:v>0</c:v>
                </c:pt>
                <c:pt idx="19217">
                  <c:v>0</c:v>
                </c:pt>
                <c:pt idx="19218">
                  <c:v>0</c:v>
                </c:pt>
                <c:pt idx="19219">
                  <c:v>0</c:v>
                </c:pt>
                <c:pt idx="19220">
                  <c:v>0</c:v>
                </c:pt>
                <c:pt idx="19221">
                  <c:v>3</c:v>
                </c:pt>
                <c:pt idx="19222">
                  <c:v>3</c:v>
                </c:pt>
                <c:pt idx="19223">
                  <c:v>0</c:v>
                </c:pt>
                <c:pt idx="19224">
                  <c:v>0</c:v>
                </c:pt>
                <c:pt idx="19225">
                  <c:v>0</c:v>
                </c:pt>
                <c:pt idx="19226">
                  <c:v>0</c:v>
                </c:pt>
                <c:pt idx="19227">
                  <c:v>0</c:v>
                </c:pt>
                <c:pt idx="19228">
                  <c:v>0</c:v>
                </c:pt>
                <c:pt idx="19229">
                  <c:v>0</c:v>
                </c:pt>
                <c:pt idx="19230">
                  <c:v>0</c:v>
                </c:pt>
                <c:pt idx="19231">
                  <c:v>0</c:v>
                </c:pt>
                <c:pt idx="19232">
                  <c:v>0</c:v>
                </c:pt>
                <c:pt idx="19233">
                  <c:v>0</c:v>
                </c:pt>
                <c:pt idx="19234">
                  <c:v>0</c:v>
                </c:pt>
                <c:pt idx="19235">
                  <c:v>0</c:v>
                </c:pt>
                <c:pt idx="19236">
                  <c:v>0</c:v>
                </c:pt>
                <c:pt idx="19237">
                  <c:v>0</c:v>
                </c:pt>
                <c:pt idx="19238">
                  <c:v>0</c:v>
                </c:pt>
                <c:pt idx="19239">
                  <c:v>0</c:v>
                </c:pt>
                <c:pt idx="19240">
                  <c:v>0</c:v>
                </c:pt>
                <c:pt idx="19241">
                  <c:v>0</c:v>
                </c:pt>
                <c:pt idx="19242">
                  <c:v>0</c:v>
                </c:pt>
                <c:pt idx="19243">
                  <c:v>0</c:v>
                </c:pt>
                <c:pt idx="19244">
                  <c:v>0</c:v>
                </c:pt>
                <c:pt idx="19245">
                  <c:v>0</c:v>
                </c:pt>
                <c:pt idx="19246">
                  <c:v>0</c:v>
                </c:pt>
                <c:pt idx="19247">
                  <c:v>0</c:v>
                </c:pt>
                <c:pt idx="19248">
                  <c:v>0</c:v>
                </c:pt>
                <c:pt idx="19249">
                  <c:v>0</c:v>
                </c:pt>
                <c:pt idx="19250">
                  <c:v>0</c:v>
                </c:pt>
                <c:pt idx="19251">
                  <c:v>0</c:v>
                </c:pt>
                <c:pt idx="19252">
                  <c:v>0</c:v>
                </c:pt>
                <c:pt idx="19253">
                  <c:v>0</c:v>
                </c:pt>
                <c:pt idx="19254">
                  <c:v>0</c:v>
                </c:pt>
                <c:pt idx="19255">
                  <c:v>0</c:v>
                </c:pt>
                <c:pt idx="19256">
                  <c:v>0</c:v>
                </c:pt>
                <c:pt idx="19257">
                  <c:v>0</c:v>
                </c:pt>
                <c:pt idx="19258">
                  <c:v>0</c:v>
                </c:pt>
                <c:pt idx="19259">
                  <c:v>0</c:v>
                </c:pt>
                <c:pt idx="19260">
                  <c:v>0</c:v>
                </c:pt>
                <c:pt idx="19261">
                  <c:v>0</c:v>
                </c:pt>
                <c:pt idx="19262">
                  <c:v>0</c:v>
                </c:pt>
                <c:pt idx="19263">
                  <c:v>0</c:v>
                </c:pt>
                <c:pt idx="19264">
                  <c:v>0</c:v>
                </c:pt>
                <c:pt idx="19265">
                  <c:v>0</c:v>
                </c:pt>
                <c:pt idx="19266">
                  <c:v>0</c:v>
                </c:pt>
                <c:pt idx="19267">
                  <c:v>0</c:v>
                </c:pt>
                <c:pt idx="19268">
                  <c:v>0</c:v>
                </c:pt>
                <c:pt idx="19269">
                  <c:v>0</c:v>
                </c:pt>
                <c:pt idx="19270">
                  <c:v>0</c:v>
                </c:pt>
                <c:pt idx="19271">
                  <c:v>0</c:v>
                </c:pt>
                <c:pt idx="19272">
                  <c:v>1</c:v>
                </c:pt>
                <c:pt idx="19273">
                  <c:v>0</c:v>
                </c:pt>
                <c:pt idx="19274">
                  <c:v>0</c:v>
                </c:pt>
                <c:pt idx="19275">
                  <c:v>0</c:v>
                </c:pt>
                <c:pt idx="19276">
                  <c:v>0</c:v>
                </c:pt>
                <c:pt idx="19277">
                  <c:v>0</c:v>
                </c:pt>
                <c:pt idx="19278">
                  <c:v>0</c:v>
                </c:pt>
                <c:pt idx="19279">
                  <c:v>0</c:v>
                </c:pt>
                <c:pt idx="19280">
                  <c:v>0</c:v>
                </c:pt>
                <c:pt idx="19281">
                  <c:v>0</c:v>
                </c:pt>
                <c:pt idx="19282">
                  <c:v>0</c:v>
                </c:pt>
                <c:pt idx="19283">
                  <c:v>0</c:v>
                </c:pt>
                <c:pt idx="19284">
                  <c:v>0</c:v>
                </c:pt>
                <c:pt idx="19285">
                  <c:v>0</c:v>
                </c:pt>
                <c:pt idx="19286">
                  <c:v>0</c:v>
                </c:pt>
                <c:pt idx="19287">
                  <c:v>0</c:v>
                </c:pt>
                <c:pt idx="19288">
                  <c:v>0</c:v>
                </c:pt>
                <c:pt idx="19289">
                  <c:v>0</c:v>
                </c:pt>
                <c:pt idx="19290">
                  <c:v>0</c:v>
                </c:pt>
                <c:pt idx="19291">
                  <c:v>0</c:v>
                </c:pt>
                <c:pt idx="19292">
                  <c:v>0</c:v>
                </c:pt>
                <c:pt idx="19293">
                  <c:v>0</c:v>
                </c:pt>
                <c:pt idx="19294">
                  <c:v>0</c:v>
                </c:pt>
                <c:pt idx="19295">
                  <c:v>0</c:v>
                </c:pt>
                <c:pt idx="19296">
                  <c:v>0</c:v>
                </c:pt>
                <c:pt idx="19297">
                  <c:v>0</c:v>
                </c:pt>
                <c:pt idx="19298">
                  <c:v>0</c:v>
                </c:pt>
                <c:pt idx="19299">
                  <c:v>0</c:v>
                </c:pt>
                <c:pt idx="19300">
                  <c:v>0</c:v>
                </c:pt>
                <c:pt idx="19301">
                  <c:v>0</c:v>
                </c:pt>
                <c:pt idx="19302">
                  <c:v>0</c:v>
                </c:pt>
                <c:pt idx="19303">
                  <c:v>0</c:v>
                </c:pt>
                <c:pt idx="19304">
                  <c:v>0</c:v>
                </c:pt>
                <c:pt idx="19305">
                  <c:v>0</c:v>
                </c:pt>
                <c:pt idx="19306">
                  <c:v>0</c:v>
                </c:pt>
                <c:pt idx="19307">
                  <c:v>0</c:v>
                </c:pt>
                <c:pt idx="19308">
                  <c:v>0</c:v>
                </c:pt>
                <c:pt idx="19309">
                  <c:v>0</c:v>
                </c:pt>
                <c:pt idx="19310">
                  <c:v>0</c:v>
                </c:pt>
                <c:pt idx="19311">
                  <c:v>0</c:v>
                </c:pt>
                <c:pt idx="19312">
                  <c:v>0</c:v>
                </c:pt>
                <c:pt idx="19313">
                  <c:v>0</c:v>
                </c:pt>
                <c:pt idx="19314">
                  <c:v>0</c:v>
                </c:pt>
                <c:pt idx="19315">
                  <c:v>0</c:v>
                </c:pt>
                <c:pt idx="19316">
                  <c:v>0</c:v>
                </c:pt>
                <c:pt idx="19317">
                  <c:v>0</c:v>
                </c:pt>
                <c:pt idx="19318">
                  <c:v>0</c:v>
                </c:pt>
                <c:pt idx="19319">
                  <c:v>0</c:v>
                </c:pt>
                <c:pt idx="19320">
                  <c:v>0</c:v>
                </c:pt>
                <c:pt idx="19321">
                  <c:v>0</c:v>
                </c:pt>
                <c:pt idx="19322">
                  <c:v>0</c:v>
                </c:pt>
                <c:pt idx="19323">
                  <c:v>0</c:v>
                </c:pt>
                <c:pt idx="19324">
                  <c:v>0</c:v>
                </c:pt>
                <c:pt idx="19325">
                  <c:v>0</c:v>
                </c:pt>
                <c:pt idx="19326">
                  <c:v>0</c:v>
                </c:pt>
                <c:pt idx="19327">
                  <c:v>0</c:v>
                </c:pt>
                <c:pt idx="19328">
                  <c:v>0</c:v>
                </c:pt>
                <c:pt idx="19329">
                  <c:v>0</c:v>
                </c:pt>
                <c:pt idx="19330">
                  <c:v>0</c:v>
                </c:pt>
                <c:pt idx="19331">
                  <c:v>0</c:v>
                </c:pt>
                <c:pt idx="19332">
                  <c:v>0</c:v>
                </c:pt>
                <c:pt idx="19333">
                  <c:v>0</c:v>
                </c:pt>
                <c:pt idx="19334">
                  <c:v>0</c:v>
                </c:pt>
                <c:pt idx="19335">
                  <c:v>1</c:v>
                </c:pt>
                <c:pt idx="19336">
                  <c:v>0</c:v>
                </c:pt>
                <c:pt idx="19337">
                  <c:v>2</c:v>
                </c:pt>
                <c:pt idx="19338">
                  <c:v>0</c:v>
                </c:pt>
                <c:pt idx="19339">
                  <c:v>0</c:v>
                </c:pt>
                <c:pt idx="19340">
                  <c:v>0</c:v>
                </c:pt>
                <c:pt idx="19341">
                  <c:v>0</c:v>
                </c:pt>
                <c:pt idx="19342">
                  <c:v>0</c:v>
                </c:pt>
                <c:pt idx="19343">
                  <c:v>0</c:v>
                </c:pt>
                <c:pt idx="19344">
                  <c:v>0</c:v>
                </c:pt>
                <c:pt idx="19345">
                  <c:v>0</c:v>
                </c:pt>
                <c:pt idx="19346">
                  <c:v>0</c:v>
                </c:pt>
                <c:pt idx="19347">
                  <c:v>0</c:v>
                </c:pt>
                <c:pt idx="19348">
                  <c:v>0</c:v>
                </c:pt>
                <c:pt idx="19349">
                  <c:v>0</c:v>
                </c:pt>
                <c:pt idx="19350">
                  <c:v>0</c:v>
                </c:pt>
                <c:pt idx="19351">
                  <c:v>0</c:v>
                </c:pt>
                <c:pt idx="19352">
                  <c:v>0</c:v>
                </c:pt>
                <c:pt idx="19353">
                  <c:v>0</c:v>
                </c:pt>
                <c:pt idx="19354">
                  <c:v>0</c:v>
                </c:pt>
                <c:pt idx="19355">
                  <c:v>0</c:v>
                </c:pt>
                <c:pt idx="19356">
                  <c:v>0</c:v>
                </c:pt>
                <c:pt idx="19357">
                  <c:v>0</c:v>
                </c:pt>
                <c:pt idx="19358">
                  <c:v>0</c:v>
                </c:pt>
                <c:pt idx="19359">
                  <c:v>0</c:v>
                </c:pt>
                <c:pt idx="19360">
                  <c:v>0</c:v>
                </c:pt>
                <c:pt idx="19361">
                  <c:v>0</c:v>
                </c:pt>
                <c:pt idx="19362">
                  <c:v>0</c:v>
                </c:pt>
                <c:pt idx="19363">
                  <c:v>0</c:v>
                </c:pt>
                <c:pt idx="19364">
                  <c:v>0</c:v>
                </c:pt>
                <c:pt idx="19365">
                  <c:v>0</c:v>
                </c:pt>
                <c:pt idx="19366">
                  <c:v>0</c:v>
                </c:pt>
                <c:pt idx="19367">
                  <c:v>0</c:v>
                </c:pt>
                <c:pt idx="19368">
                  <c:v>0</c:v>
                </c:pt>
                <c:pt idx="19369">
                  <c:v>1</c:v>
                </c:pt>
                <c:pt idx="19370">
                  <c:v>0</c:v>
                </c:pt>
                <c:pt idx="19371">
                  <c:v>0</c:v>
                </c:pt>
                <c:pt idx="19372">
                  <c:v>0</c:v>
                </c:pt>
                <c:pt idx="19373">
                  <c:v>0</c:v>
                </c:pt>
                <c:pt idx="19374">
                  <c:v>0</c:v>
                </c:pt>
                <c:pt idx="19375">
                  <c:v>0</c:v>
                </c:pt>
                <c:pt idx="19376">
                  <c:v>0</c:v>
                </c:pt>
                <c:pt idx="19377">
                  <c:v>0</c:v>
                </c:pt>
                <c:pt idx="19378">
                  <c:v>0</c:v>
                </c:pt>
                <c:pt idx="19379">
                  <c:v>0</c:v>
                </c:pt>
                <c:pt idx="19380">
                  <c:v>0</c:v>
                </c:pt>
                <c:pt idx="19381">
                  <c:v>0</c:v>
                </c:pt>
                <c:pt idx="19382">
                  <c:v>0</c:v>
                </c:pt>
                <c:pt idx="19383">
                  <c:v>0</c:v>
                </c:pt>
                <c:pt idx="19384">
                  <c:v>0</c:v>
                </c:pt>
                <c:pt idx="19385">
                  <c:v>0</c:v>
                </c:pt>
                <c:pt idx="19386">
                  <c:v>0</c:v>
                </c:pt>
                <c:pt idx="19387">
                  <c:v>0</c:v>
                </c:pt>
                <c:pt idx="19388">
                  <c:v>0</c:v>
                </c:pt>
                <c:pt idx="19389">
                  <c:v>0</c:v>
                </c:pt>
                <c:pt idx="19390">
                  <c:v>0</c:v>
                </c:pt>
                <c:pt idx="19391">
                  <c:v>0</c:v>
                </c:pt>
                <c:pt idx="19392">
                  <c:v>0</c:v>
                </c:pt>
                <c:pt idx="19393">
                  <c:v>0</c:v>
                </c:pt>
                <c:pt idx="19394">
                  <c:v>0</c:v>
                </c:pt>
                <c:pt idx="19395">
                  <c:v>0</c:v>
                </c:pt>
                <c:pt idx="19396">
                  <c:v>0</c:v>
                </c:pt>
                <c:pt idx="19397">
                  <c:v>0</c:v>
                </c:pt>
                <c:pt idx="19398">
                  <c:v>0</c:v>
                </c:pt>
                <c:pt idx="19399">
                  <c:v>0</c:v>
                </c:pt>
                <c:pt idx="19400">
                  <c:v>0</c:v>
                </c:pt>
                <c:pt idx="19401">
                  <c:v>0</c:v>
                </c:pt>
                <c:pt idx="19402">
                  <c:v>0</c:v>
                </c:pt>
                <c:pt idx="19403">
                  <c:v>0</c:v>
                </c:pt>
                <c:pt idx="19404">
                  <c:v>0</c:v>
                </c:pt>
                <c:pt idx="19405">
                  <c:v>0</c:v>
                </c:pt>
                <c:pt idx="19406">
                  <c:v>0</c:v>
                </c:pt>
                <c:pt idx="19407">
                  <c:v>0</c:v>
                </c:pt>
                <c:pt idx="19408">
                  <c:v>0</c:v>
                </c:pt>
                <c:pt idx="19409">
                  <c:v>0</c:v>
                </c:pt>
                <c:pt idx="19410">
                  <c:v>0</c:v>
                </c:pt>
                <c:pt idx="19411">
                  <c:v>0</c:v>
                </c:pt>
                <c:pt idx="19412">
                  <c:v>0</c:v>
                </c:pt>
                <c:pt idx="19413">
                  <c:v>0</c:v>
                </c:pt>
                <c:pt idx="19414">
                  <c:v>0</c:v>
                </c:pt>
                <c:pt idx="19415">
                  <c:v>0</c:v>
                </c:pt>
                <c:pt idx="19416">
                  <c:v>0</c:v>
                </c:pt>
                <c:pt idx="19417">
                  <c:v>0</c:v>
                </c:pt>
                <c:pt idx="19418">
                  <c:v>0</c:v>
                </c:pt>
                <c:pt idx="19419">
                  <c:v>0</c:v>
                </c:pt>
                <c:pt idx="19420">
                  <c:v>0</c:v>
                </c:pt>
                <c:pt idx="19421">
                  <c:v>0</c:v>
                </c:pt>
                <c:pt idx="19422">
                  <c:v>0</c:v>
                </c:pt>
                <c:pt idx="19423">
                  <c:v>0</c:v>
                </c:pt>
                <c:pt idx="19424">
                  <c:v>0</c:v>
                </c:pt>
                <c:pt idx="19425">
                  <c:v>0</c:v>
                </c:pt>
                <c:pt idx="19426">
                  <c:v>0</c:v>
                </c:pt>
                <c:pt idx="19427">
                  <c:v>0</c:v>
                </c:pt>
                <c:pt idx="19428">
                  <c:v>0</c:v>
                </c:pt>
                <c:pt idx="19429">
                  <c:v>1</c:v>
                </c:pt>
                <c:pt idx="19430">
                  <c:v>2</c:v>
                </c:pt>
                <c:pt idx="19431">
                  <c:v>2</c:v>
                </c:pt>
                <c:pt idx="19432">
                  <c:v>0</c:v>
                </c:pt>
                <c:pt idx="19433">
                  <c:v>1</c:v>
                </c:pt>
                <c:pt idx="19434">
                  <c:v>2</c:v>
                </c:pt>
                <c:pt idx="19435">
                  <c:v>2</c:v>
                </c:pt>
                <c:pt idx="19436">
                  <c:v>0</c:v>
                </c:pt>
                <c:pt idx="19437">
                  <c:v>0</c:v>
                </c:pt>
                <c:pt idx="19438">
                  <c:v>0</c:v>
                </c:pt>
                <c:pt idx="19439">
                  <c:v>0</c:v>
                </c:pt>
                <c:pt idx="19440">
                  <c:v>0</c:v>
                </c:pt>
                <c:pt idx="19441">
                  <c:v>0</c:v>
                </c:pt>
                <c:pt idx="19442">
                  <c:v>0</c:v>
                </c:pt>
                <c:pt idx="19443">
                  <c:v>0</c:v>
                </c:pt>
                <c:pt idx="19444">
                  <c:v>0</c:v>
                </c:pt>
                <c:pt idx="19445">
                  <c:v>0</c:v>
                </c:pt>
                <c:pt idx="19446">
                  <c:v>0</c:v>
                </c:pt>
                <c:pt idx="19447">
                  <c:v>0</c:v>
                </c:pt>
                <c:pt idx="19448">
                  <c:v>0</c:v>
                </c:pt>
                <c:pt idx="19449">
                  <c:v>0</c:v>
                </c:pt>
                <c:pt idx="19450">
                  <c:v>0</c:v>
                </c:pt>
                <c:pt idx="19451">
                  <c:v>0</c:v>
                </c:pt>
                <c:pt idx="19452">
                  <c:v>0</c:v>
                </c:pt>
                <c:pt idx="19453">
                  <c:v>0</c:v>
                </c:pt>
                <c:pt idx="19454">
                  <c:v>0</c:v>
                </c:pt>
                <c:pt idx="19455">
                  <c:v>0</c:v>
                </c:pt>
                <c:pt idx="19456">
                  <c:v>0</c:v>
                </c:pt>
                <c:pt idx="19457">
                  <c:v>0</c:v>
                </c:pt>
                <c:pt idx="19458">
                  <c:v>0</c:v>
                </c:pt>
                <c:pt idx="19459">
                  <c:v>0</c:v>
                </c:pt>
                <c:pt idx="19460">
                  <c:v>0</c:v>
                </c:pt>
                <c:pt idx="19461">
                  <c:v>0</c:v>
                </c:pt>
                <c:pt idx="19462">
                  <c:v>0</c:v>
                </c:pt>
                <c:pt idx="19463">
                  <c:v>0</c:v>
                </c:pt>
                <c:pt idx="19464">
                  <c:v>0</c:v>
                </c:pt>
                <c:pt idx="19465">
                  <c:v>0</c:v>
                </c:pt>
                <c:pt idx="19466">
                  <c:v>0</c:v>
                </c:pt>
                <c:pt idx="19467">
                  <c:v>0</c:v>
                </c:pt>
                <c:pt idx="19468">
                  <c:v>0</c:v>
                </c:pt>
                <c:pt idx="19469">
                  <c:v>0</c:v>
                </c:pt>
                <c:pt idx="19470">
                  <c:v>0</c:v>
                </c:pt>
                <c:pt idx="19471">
                  <c:v>0</c:v>
                </c:pt>
                <c:pt idx="19472">
                  <c:v>0</c:v>
                </c:pt>
                <c:pt idx="19473">
                  <c:v>0</c:v>
                </c:pt>
                <c:pt idx="19474">
                  <c:v>0</c:v>
                </c:pt>
                <c:pt idx="19475">
                  <c:v>0</c:v>
                </c:pt>
                <c:pt idx="19476">
                  <c:v>0</c:v>
                </c:pt>
                <c:pt idx="19477">
                  <c:v>0</c:v>
                </c:pt>
                <c:pt idx="19478">
                  <c:v>0</c:v>
                </c:pt>
                <c:pt idx="19479">
                  <c:v>0</c:v>
                </c:pt>
                <c:pt idx="19480">
                  <c:v>0</c:v>
                </c:pt>
                <c:pt idx="19481">
                  <c:v>0</c:v>
                </c:pt>
                <c:pt idx="19482">
                  <c:v>0</c:v>
                </c:pt>
                <c:pt idx="19483">
                  <c:v>0</c:v>
                </c:pt>
                <c:pt idx="19484">
                  <c:v>2</c:v>
                </c:pt>
                <c:pt idx="19485">
                  <c:v>0</c:v>
                </c:pt>
                <c:pt idx="19486">
                  <c:v>0</c:v>
                </c:pt>
                <c:pt idx="19487">
                  <c:v>0</c:v>
                </c:pt>
                <c:pt idx="19488">
                  <c:v>0</c:v>
                </c:pt>
                <c:pt idx="19489">
                  <c:v>0</c:v>
                </c:pt>
                <c:pt idx="19490">
                  <c:v>0</c:v>
                </c:pt>
                <c:pt idx="19491">
                  <c:v>0</c:v>
                </c:pt>
                <c:pt idx="19492">
                  <c:v>0</c:v>
                </c:pt>
                <c:pt idx="19493">
                  <c:v>0</c:v>
                </c:pt>
                <c:pt idx="19494">
                  <c:v>0</c:v>
                </c:pt>
                <c:pt idx="19495">
                  <c:v>0</c:v>
                </c:pt>
                <c:pt idx="19496">
                  <c:v>0</c:v>
                </c:pt>
                <c:pt idx="19497">
                  <c:v>0</c:v>
                </c:pt>
                <c:pt idx="19498">
                  <c:v>0</c:v>
                </c:pt>
                <c:pt idx="19499">
                  <c:v>0</c:v>
                </c:pt>
                <c:pt idx="19500">
                  <c:v>0</c:v>
                </c:pt>
                <c:pt idx="19501">
                  <c:v>0</c:v>
                </c:pt>
                <c:pt idx="19502">
                  <c:v>0</c:v>
                </c:pt>
                <c:pt idx="19503">
                  <c:v>0</c:v>
                </c:pt>
                <c:pt idx="19504">
                  <c:v>0</c:v>
                </c:pt>
                <c:pt idx="19505">
                  <c:v>0</c:v>
                </c:pt>
                <c:pt idx="19506">
                  <c:v>0</c:v>
                </c:pt>
                <c:pt idx="19507">
                  <c:v>0</c:v>
                </c:pt>
                <c:pt idx="19508">
                  <c:v>0</c:v>
                </c:pt>
                <c:pt idx="19509">
                  <c:v>0</c:v>
                </c:pt>
                <c:pt idx="19510">
                  <c:v>0</c:v>
                </c:pt>
                <c:pt idx="19511">
                  <c:v>0</c:v>
                </c:pt>
                <c:pt idx="19512">
                  <c:v>0</c:v>
                </c:pt>
                <c:pt idx="19513">
                  <c:v>0</c:v>
                </c:pt>
                <c:pt idx="19514">
                  <c:v>0</c:v>
                </c:pt>
                <c:pt idx="19515">
                  <c:v>0</c:v>
                </c:pt>
                <c:pt idx="19516">
                  <c:v>0</c:v>
                </c:pt>
                <c:pt idx="19517">
                  <c:v>4</c:v>
                </c:pt>
                <c:pt idx="19518">
                  <c:v>0</c:v>
                </c:pt>
                <c:pt idx="19519">
                  <c:v>0</c:v>
                </c:pt>
                <c:pt idx="19520">
                  <c:v>0</c:v>
                </c:pt>
                <c:pt idx="19521">
                  <c:v>0</c:v>
                </c:pt>
                <c:pt idx="19522">
                  <c:v>0</c:v>
                </c:pt>
                <c:pt idx="19523">
                  <c:v>0</c:v>
                </c:pt>
                <c:pt idx="19524">
                  <c:v>0</c:v>
                </c:pt>
                <c:pt idx="19525">
                  <c:v>0</c:v>
                </c:pt>
                <c:pt idx="19526">
                  <c:v>0</c:v>
                </c:pt>
                <c:pt idx="19527">
                  <c:v>0</c:v>
                </c:pt>
                <c:pt idx="19528">
                  <c:v>0</c:v>
                </c:pt>
                <c:pt idx="19529">
                  <c:v>0</c:v>
                </c:pt>
                <c:pt idx="19530">
                  <c:v>0</c:v>
                </c:pt>
                <c:pt idx="19531">
                  <c:v>0</c:v>
                </c:pt>
                <c:pt idx="19532">
                  <c:v>0</c:v>
                </c:pt>
                <c:pt idx="19533">
                  <c:v>0</c:v>
                </c:pt>
                <c:pt idx="19534">
                  <c:v>0</c:v>
                </c:pt>
                <c:pt idx="19535">
                  <c:v>0</c:v>
                </c:pt>
                <c:pt idx="19536">
                  <c:v>0</c:v>
                </c:pt>
                <c:pt idx="19537">
                  <c:v>0</c:v>
                </c:pt>
                <c:pt idx="19538">
                  <c:v>0</c:v>
                </c:pt>
                <c:pt idx="19539">
                  <c:v>0</c:v>
                </c:pt>
                <c:pt idx="19540">
                  <c:v>0</c:v>
                </c:pt>
                <c:pt idx="19541">
                  <c:v>0</c:v>
                </c:pt>
                <c:pt idx="19542">
                  <c:v>0</c:v>
                </c:pt>
                <c:pt idx="19543">
                  <c:v>0</c:v>
                </c:pt>
                <c:pt idx="19544">
                  <c:v>0</c:v>
                </c:pt>
                <c:pt idx="19545">
                  <c:v>0</c:v>
                </c:pt>
                <c:pt idx="19546">
                  <c:v>0</c:v>
                </c:pt>
                <c:pt idx="19547">
                  <c:v>0</c:v>
                </c:pt>
                <c:pt idx="19548">
                  <c:v>0</c:v>
                </c:pt>
                <c:pt idx="19549">
                  <c:v>0</c:v>
                </c:pt>
                <c:pt idx="19550">
                  <c:v>0</c:v>
                </c:pt>
                <c:pt idx="19551">
                  <c:v>0</c:v>
                </c:pt>
                <c:pt idx="19552">
                  <c:v>0</c:v>
                </c:pt>
                <c:pt idx="19553">
                  <c:v>0</c:v>
                </c:pt>
                <c:pt idx="19554">
                  <c:v>0</c:v>
                </c:pt>
                <c:pt idx="19555">
                  <c:v>0</c:v>
                </c:pt>
                <c:pt idx="19556">
                  <c:v>0</c:v>
                </c:pt>
                <c:pt idx="19557">
                  <c:v>0</c:v>
                </c:pt>
                <c:pt idx="19558">
                  <c:v>0</c:v>
                </c:pt>
                <c:pt idx="19559">
                  <c:v>0</c:v>
                </c:pt>
                <c:pt idx="19560">
                  <c:v>0</c:v>
                </c:pt>
                <c:pt idx="19561">
                  <c:v>0</c:v>
                </c:pt>
                <c:pt idx="19562">
                  <c:v>3</c:v>
                </c:pt>
                <c:pt idx="19563">
                  <c:v>0</c:v>
                </c:pt>
                <c:pt idx="19564">
                  <c:v>0</c:v>
                </c:pt>
                <c:pt idx="19565">
                  <c:v>0</c:v>
                </c:pt>
                <c:pt idx="19566">
                  <c:v>0</c:v>
                </c:pt>
                <c:pt idx="19567">
                  <c:v>0</c:v>
                </c:pt>
                <c:pt idx="19568">
                  <c:v>0</c:v>
                </c:pt>
                <c:pt idx="19569">
                  <c:v>0</c:v>
                </c:pt>
                <c:pt idx="19570">
                  <c:v>0</c:v>
                </c:pt>
                <c:pt idx="19571">
                  <c:v>0</c:v>
                </c:pt>
                <c:pt idx="19572">
                  <c:v>0</c:v>
                </c:pt>
                <c:pt idx="19573">
                  <c:v>0</c:v>
                </c:pt>
                <c:pt idx="19574">
                  <c:v>0</c:v>
                </c:pt>
                <c:pt idx="19575">
                  <c:v>0</c:v>
                </c:pt>
                <c:pt idx="19576">
                  <c:v>0</c:v>
                </c:pt>
                <c:pt idx="19577">
                  <c:v>0</c:v>
                </c:pt>
                <c:pt idx="19578">
                  <c:v>0</c:v>
                </c:pt>
                <c:pt idx="19579">
                  <c:v>0</c:v>
                </c:pt>
                <c:pt idx="19580">
                  <c:v>0</c:v>
                </c:pt>
                <c:pt idx="19581">
                  <c:v>0</c:v>
                </c:pt>
                <c:pt idx="19582">
                  <c:v>0</c:v>
                </c:pt>
                <c:pt idx="19583">
                  <c:v>0</c:v>
                </c:pt>
                <c:pt idx="19584">
                  <c:v>0</c:v>
                </c:pt>
                <c:pt idx="19585">
                  <c:v>0</c:v>
                </c:pt>
                <c:pt idx="19586">
                  <c:v>0</c:v>
                </c:pt>
                <c:pt idx="19587">
                  <c:v>2</c:v>
                </c:pt>
                <c:pt idx="19588">
                  <c:v>2</c:v>
                </c:pt>
                <c:pt idx="19589">
                  <c:v>4</c:v>
                </c:pt>
                <c:pt idx="19590">
                  <c:v>0</c:v>
                </c:pt>
                <c:pt idx="19591">
                  <c:v>0</c:v>
                </c:pt>
                <c:pt idx="19592">
                  <c:v>0</c:v>
                </c:pt>
                <c:pt idx="19593">
                  <c:v>0</c:v>
                </c:pt>
                <c:pt idx="19594">
                  <c:v>0</c:v>
                </c:pt>
                <c:pt idx="19595">
                  <c:v>6</c:v>
                </c:pt>
                <c:pt idx="19596">
                  <c:v>0</c:v>
                </c:pt>
                <c:pt idx="19597">
                  <c:v>0</c:v>
                </c:pt>
                <c:pt idx="19598">
                  <c:v>4</c:v>
                </c:pt>
                <c:pt idx="19599">
                  <c:v>0</c:v>
                </c:pt>
                <c:pt idx="19600">
                  <c:v>0</c:v>
                </c:pt>
                <c:pt idx="19601">
                  <c:v>3</c:v>
                </c:pt>
                <c:pt idx="19602">
                  <c:v>1</c:v>
                </c:pt>
                <c:pt idx="19603">
                  <c:v>0</c:v>
                </c:pt>
                <c:pt idx="19604">
                  <c:v>1</c:v>
                </c:pt>
                <c:pt idx="19605">
                  <c:v>2</c:v>
                </c:pt>
                <c:pt idx="19606">
                  <c:v>0</c:v>
                </c:pt>
                <c:pt idx="19607">
                  <c:v>0</c:v>
                </c:pt>
                <c:pt idx="19608">
                  <c:v>0</c:v>
                </c:pt>
                <c:pt idx="19609">
                  <c:v>1</c:v>
                </c:pt>
                <c:pt idx="19610">
                  <c:v>0</c:v>
                </c:pt>
                <c:pt idx="19611">
                  <c:v>1</c:v>
                </c:pt>
                <c:pt idx="19612">
                  <c:v>1</c:v>
                </c:pt>
                <c:pt idx="19613">
                  <c:v>0</c:v>
                </c:pt>
                <c:pt idx="19614">
                  <c:v>2</c:v>
                </c:pt>
                <c:pt idx="19615">
                  <c:v>0</c:v>
                </c:pt>
                <c:pt idx="19616">
                  <c:v>0</c:v>
                </c:pt>
                <c:pt idx="19617">
                  <c:v>0</c:v>
                </c:pt>
                <c:pt idx="19618">
                  <c:v>0</c:v>
                </c:pt>
                <c:pt idx="19619">
                  <c:v>1</c:v>
                </c:pt>
                <c:pt idx="19620">
                  <c:v>0</c:v>
                </c:pt>
                <c:pt idx="19621">
                  <c:v>0</c:v>
                </c:pt>
                <c:pt idx="19622">
                  <c:v>0</c:v>
                </c:pt>
                <c:pt idx="19623">
                  <c:v>0</c:v>
                </c:pt>
                <c:pt idx="19624">
                  <c:v>0</c:v>
                </c:pt>
                <c:pt idx="19625">
                  <c:v>0</c:v>
                </c:pt>
                <c:pt idx="19626">
                  <c:v>0</c:v>
                </c:pt>
                <c:pt idx="19627">
                  <c:v>0</c:v>
                </c:pt>
                <c:pt idx="19628">
                  <c:v>0</c:v>
                </c:pt>
                <c:pt idx="19629">
                  <c:v>0</c:v>
                </c:pt>
                <c:pt idx="19630">
                  <c:v>1</c:v>
                </c:pt>
                <c:pt idx="19631">
                  <c:v>0</c:v>
                </c:pt>
                <c:pt idx="19632">
                  <c:v>0</c:v>
                </c:pt>
                <c:pt idx="19633">
                  <c:v>1</c:v>
                </c:pt>
                <c:pt idx="19634">
                  <c:v>0</c:v>
                </c:pt>
                <c:pt idx="19635">
                  <c:v>0</c:v>
                </c:pt>
                <c:pt idx="19636">
                  <c:v>1</c:v>
                </c:pt>
                <c:pt idx="19637">
                  <c:v>0</c:v>
                </c:pt>
                <c:pt idx="19638">
                  <c:v>1</c:v>
                </c:pt>
                <c:pt idx="19639">
                  <c:v>0</c:v>
                </c:pt>
                <c:pt idx="19640">
                  <c:v>4</c:v>
                </c:pt>
                <c:pt idx="19641">
                  <c:v>6</c:v>
                </c:pt>
                <c:pt idx="19642">
                  <c:v>1</c:v>
                </c:pt>
                <c:pt idx="19643">
                  <c:v>0</c:v>
                </c:pt>
                <c:pt idx="19644">
                  <c:v>2</c:v>
                </c:pt>
                <c:pt idx="19645">
                  <c:v>0</c:v>
                </c:pt>
                <c:pt idx="19646">
                  <c:v>0</c:v>
                </c:pt>
                <c:pt idx="19647">
                  <c:v>3</c:v>
                </c:pt>
                <c:pt idx="19648">
                  <c:v>3</c:v>
                </c:pt>
                <c:pt idx="19649">
                  <c:v>6</c:v>
                </c:pt>
                <c:pt idx="19650">
                  <c:v>2</c:v>
                </c:pt>
                <c:pt idx="19651">
                  <c:v>0</c:v>
                </c:pt>
                <c:pt idx="19652">
                  <c:v>0</c:v>
                </c:pt>
                <c:pt idx="19653">
                  <c:v>0</c:v>
                </c:pt>
                <c:pt idx="19654">
                  <c:v>0</c:v>
                </c:pt>
                <c:pt idx="19655">
                  <c:v>1</c:v>
                </c:pt>
                <c:pt idx="19656">
                  <c:v>4</c:v>
                </c:pt>
                <c:pt idx="19657">
                  <c:v>0</c:v>
                </c:pt>
                <c:pt idx="19658">
                  <c:v>2</c:v>
                </c:pt>
                <c:pt idx="19659">
                  <c:v>0</c:v>
                </c:pt>
                <c:pt idx="19660">
                  <c:v>0</c:v>
                </c:pt>
                <c:pt idx="19661">
                  <c:v>5</c:v>
                </c:pt>
                <c:pt idx="19662">
                  <c:v>1</c:v>
                </c:pt>
                <c:pt idx="19663">
                  <c:v>1</c:v>
                </c:pt>
                <c:pt idx="19664">
                  <c:v>0</c:v>
                </c:pt>
                <c:pt idx="19665">
                  <c:v>1</c:v>
                </c:pt>
                <c:pt idx="19666">
                  <c:v>0</c:v>
                </c:pt>
                <c:pt idx="19667">
                  <c:v>1</c:v>
                </c:pt>
                <c:pt idx="19668">
                  <c:v>0</c:v>
                </c:pt>
                <c:pt idx="19669">
                  <c:v>3</c:v>
                </c:pt>
                <c:pt idx="19670">
                  <c:v>2</c:v>
                </c:pt>
                <c:pt idx="19671">
                  <c:v>1</c:v>
                </c:pt>
                <c:pt idx="19672">
                  <c:v>0</c:v>
                </c:pt>
                <c:pt idx="19673">
                  <c:v>13</c:v>
                </c:pt>
                <c:pt idx="19674">
                  <c:v>0</c:v>
                </c:pt>
                <c:pt idx="19675">
                  <c:v>0</c:v>
                </c:pt>
                <c:pt idx="19676">
                  <c:v>0</c:v>
                </c:pt>
                <c:pt idx="19677">
                  <c:v>0</c:v>
                </c:pt>
                <c:pt idx="19678">
                  <c:v>0</c:v>
                </c:pt>
                <c:pt idx="19679">
                  <c:v>2</c:v>
                </c:pt>
                <c:pt idx="19680">
                  <c:v>0</c:v>
                </c:pt>
                <c:pt idx="19681">
                  <c:v>4</c:v>
                </c:pt>
                <c:pt idx="19682">
                  <c:v>3</c:v>
                </c:pt>
                <c:pt idx="19683">
                  <c:v>0</c:v>
                </c:pt>
                <c:pt idx="19684">
                  <c:v>0</c:v>
                </c:pt>
                <c:pt idx="19685">
                  <c:v>0</c:v>
                </c:pt>
                <c:pt idx="19686">
                  <c:v>4</c:v>
                </c:pt>
                <c:pt idx="19687">
                  <c:v>0</c:v>
                </c:pt>
                <c:pt idx="19688">
                  <c:v>0</c:v>
                </c:pt>
                <c:pt idx="19689">
                  <c:v>0</c:v>
                </c:pt>
                <c:pt idx="19690">
                  <c:v>0</c:v>
                </c:pt>
                <c:pt idx="19691">
                  <c:v>0</c:v>
                </c:pt>
                <c:pt idx="19692">
                  <c:v>0</c:v>
                </c:pt>
                <c:pt idx="19693">
                  <c:v>0</c:v>
                </c:pt>
                <c:pt idx="19694">
                  <c:v>0</c:v>
                </c:pt>
                <c:pt idx="19695">
                  <c:v>0</c:v>
                </c:pt>
                <c:pt idx="19696">
                  <c:v>0</c:v>
                </c:pt>
                <c:pt idx="19697">
                  <c:v>0</c:v>
                </c:pt>
                <c:pt idx="19698">
                  <c:v>2</c:v>
                </c:pt>
                <c:pt idx="19699">
                  <c:v>0</c:v>
                </c:pt>
                <c:pt idx="19700">
                  <c:v>0</c:v>
                </c:pt>
                <c:pt idx="19701">
                  <c:v>0</c:v>
                </c:pt>
                <c:pt idx="19702">
                  <c:v>0</c:v>
                </c:pt>
                <c:pt idx="19703">
                  <c:v>0</c:v>
                </c:pt>
                <c:pt idx="19704">
                  <c:v>0</c:v>
                </c:pt>
                <c:pt idx="19705">
                  <c:v>0</c:v>
                </c:pt>
                <c:pt idx="19706">
                  <c:v>0</c:v>
                </c:pt>
                <c:pt idx="19707">
                  <c:v>0</c:v>
                </c:pt>
                <c:pt idx="19708">
                  <c:v>0</c:v>
                </c:pt>
                <c:pt idx="19709">
                  <c:v>0</c:v>
                </c:pt>
                <c:pt idx="19710">
                  <c:v>3</c:v>
                </c:pt>
                <c:pt idx="19711">
                  <c:v>0</c:v>
                </c:pt>
                <c:pt idx="19712">
                  <c:v>0</c:v>
                </c:pt>
                <c:pt idx="19713">
                  <c:v>0</c:v>
                </c:pt>
                <c:pt idx="19714">
                  <c:v>1</c:v>
                </c:pt>
                <c:pt idx="19715">
                  <c:v>0</c:v>
                </c:pt>
                <c:pt idx="19716">
                  <c:v>0</c:v>
                </c:pt>
                <c:pt idx="19717">
                  <c:v>0</c:v>
                </c:pt>
                <c:pt idx="19718">
                  <c:v>0</c:v>
                </c:pt>
                <c:pt idx="19719">
                  <c:v>0</c:v>
                </c:pt>
                <c:pt idx="19720">
                  <c:v>0</c:v>
                </c:pt>
                <c:pt idx="19721">
                  <c:v>0</c:v>
                </c:pt>
                <c:pt idx="19722">
                  <c:v>3</c:v>
                </c:pt>
                <c:pt idx="19723">
                  <c:v>0</c:v>
                </c:pt>
                <c:pt idx="19724">
                  <c:v>0</c:v>
                </c:pt>
                <c:pt idx="19725">
                  <c:v>0</c:v>
                </c:pt>
                <c:pt idx="19726">
                  <c:v>0</c:v>
                </c:pt>
                <c:pt idx="19727">
                  <c:v>0</c:v>
                </c:pt>
                <c:pt idx="19728">
                  <c:v>0</c:v>
                </c:pt>
                <c:pt idx="19729">
                  <c:v>0</c:v>
                </c:pt>
                <c:pt idx="19730">
                  <c:v>0</c:v>
                </c:pt>
                <c:pt idx="19731">
                  <c:v>0</c:v>
                </c:pt>
                <c:pt idx="19732">
                  <c:v>0</c:v>
                </c:pt>
                <c:pt idx="19733">
                  <c:v>0</c:v>
                </c:pt>
                <c:pt idx="19734">
                  <c:v>0</c:v>
                </c:pt>
                <c:pt idx="19735">
                  <c:v>0</c:v>
                </c:pt>
                <c:pt idx="19736">
                  <c:v>0</c:v>
                </c:pt>
                <c:pt idx="19737">
                  <c:v>0</c:v>
                </c:pt>
                <c:pt idx="19738">
                  <c:v>0</c:v>
                </c:pt>
                <c:pt idx="19739">
                  <c:v>0</c:v>
                </c:pt>
                <c:pt idx="19740">
                  <c:v>0</c:v>
                </c:pt>
                <c:pt idx="19741">
                  <c:v>0</c:v>
                </c:pt>
                <c:pt idx="19742">
                  <c:v>0</c:v>
                </c:pt>
                <c:pt idx="19743">
                  <c:v>0</c:v>
                </c:pt>
                <c:pt idx="19744">
                  <c:v>0</c:v>
                </c:pt>
                <c:pt idx="19745">
                  <c:v>0</c:v>
                </c:pt>
                <c:pt idx="19746">
                  <c:v>0</c:v>
                </c:pt>
                <c:pt idx="19747">
                  <c:v>0</c:v>
                </c:pt>
                <c:pt idx="19748">
                  <c:v>0</c:v>
                </c:pt>
                <c:pt idx="19749">
                  <c:v>0</c:v>
                </c:pt>
                <c:pt idx="19750">
                  <c:v>0</c:v>
                </c:pt>
                <c:pt idx="19751">
                  <c:v>0</c:v>
                </c:pt>
                <c:pt idx="19752">
                  <c:v>0</c:v>
                </c:pt>
                <c:pt idx="19753">
                  <c:v>0</c:v>
                </c:pt>
                <c:pt idx="19754">
                  <c:v>0</c:v>
                </c:pt>
                <c:pt idx="19755">
                  <c:v>0</c:v>
                </c:pt>
                <c:pt idx="19756">
                  <c:v>0</c:v>
                </c:pt>
                <c:pt idx="19757">
                  <c:v>0</c:v>
                </c:pt>
                <c:pt idx="19758">
                  <c:v>0</c:v>
                </c:pt>
                <c:pt idx="19759">
                  <c:v>0</c:v>
                </c:pt>
                <c:pt idx="19760">
                  <c:v>1</c:v>
                </c:pt>
                <c:pt idx="19761">
                  <c:v>0</c:v>
                </c:pt>
                <c:pt idx="19762">
                  <c:v>0</c:v>
                </c:pt>
                <c:pt idx="19763">
                  <c:v>0</c:v>
                </c:pt>
                <c:pt idx="19764">
                  <c:v>0</c:v>
                </c:pt>
                <c:pt idx="19765">
                  <c:v>0</c:v>
                </c:pt>
                <c:pt idx="19766">
                  <c:v>0</c:v>
                </c:pt>
                <c:pt idx="19767">
                  <c:v>0</c:v>
                </c:pt>
                <c:pt idx="19768">
                  <c:v>0</c:v>
                </c:pt>
                <c:pt idx="19769">
                  <c:v>0</c:v>
                </c:pt>
                <c:pt idx="19770">
                  <c:v>0</c:v>
                </c:pt>
                <c:pt idx="19771">
                  <c:v>0</c:v>
                </c:pt>
                <c:pt idx="19772">
                  <c:v>0</c:v>
                </c:pt>
                <c:pt idx="19773">
                  <c:v>0</c:v>
                </c:pt>
                <c:pt idx="19774">
                  <c:v>0</c:v>
                </c:pt>
                <c:pt idx="19775">
                  <c:v>0</c:v>
                </c:pt>
                <c:pt idx="19776">
                  <c:v>0</c:v>
                </c:pt>
                <c:pt idx="19777">
                  <c:v>0</c:v>
                </c:pt>
                <c:pt idx="19778">
                  <c:v>0</c:v>
                </c:pt>
                <c:pt idx="19779">
                  <c:v>0</c:v>
                </c:pt>
                <c:pt idx="19780">
                  <c:v>0</c:v>
                </c:pt>
                <c:pt idx="19781">
                  <c:v>0</c:v>
                </c:pt>
                <c:pt idx="19782">
                  <c:v>0</c:v>
                </c:pt>
                <c:pt idx="19783">
                  <c:v>0</c:v>
                </c:pt>
                <c:pt idx="19784">
                  <c:v>0</c:v>
                </c:pt>
                <c:pt idx="19785">
                  <c:v>0</c:v>
                </c:pt>
                <c:pt idx="19786">
                  <c:v>0</c:v>
                </c:pt>
                <c:pt idx="19787">
                  <c:v>0</c:v>
                </c:pt>
                <c:pt idx="19788">
                  <c:v>0</c:v>
                </c:pt>
                <c:pt idx="19789">
                  <c:v>0</c:v>
                </c:pt>
                <c:pt idx="19790">
                  <c:v>0</c:v>
                </c:pt>
                <c:pt idx="19791">
                  <c:v>0</c:v>
                </c:pt>
                <c:pt idx="19792">
                  <c:v>0</c:v>
                </c:pt>
                <c:pt idx="19793">
                  <c:v>0</c:v>
                </c:pt>
                <c:pt idx="19794">
                  <c:v>0</c:v>
                </c:pt>
                <c:pt idx="19795">
                  <c:v>0</c:v>
                </c:pt>
                <c:pt idx="19796">
                  <c:v>0</c:v>
                </c:pt>
                <c:pt idx="19797">
                  <c:v>0</c:v>
                </c:pt>
                <c:pt idx="19798">
                  <c:v>0</c:v>
                </c:pt>
                <c:pt idx="19799">
                  <c:v>0</c:v>
                </c:pt>
                <c:pt idx="19800">
                  <c:v>0</c:v>
                </c:pt>
                <c:pt idx="19801">
                  <c:v>0</c:v>
                </c:pt>
                <c:pt idx="19802">
                  <c:v>0</c:v>
                </c:pt>
                <c:pt idx="19803">
                  <c:v>0</c:v>
                </c:pt>
                <c:pt idx="19804">
                  <c:v>1</c:v>
                </c:pt>
                <c:pt idx="19805">
                  <c:v>0</c:v>
                </c:pt>
                <c:pt idx="19806">
                  <c:v>0</c:v>
                </c:pt>
                <c:pt idx="19807">
                  <c:v>0</c:v>
                </c:pt>
                <c:pt idx="19808">
                  <c:v>0</c:v>
                </c:pt>
                <c:pt idx="19809">
                  <c:v>0</c:v>
                </c:pt>
                <c:pt idx="19810">
                  <c:v>0</c:v>
                </c:pt>
                <c:pt idx="19811">
                  <c:v>0</c:v>
                </c:pt>
                <c:pt idx="19812">
                  <c:v>0</c:v>
                </c:pt>
                <c:pt idx="19813">
                  <c:v>0</c:v>
                </c:pt>
                <c:pt idx="19814">
                  <c:v>0</c:v>
                </c:pt>
                <c:pt idx="19815">
                  <c:v>0</c:v>
                </c:pt>
                <c:pt idx="19816">
                  <c:v>0</c:v>
                </c:pt>
                <c:pt idx="19817">
                  <c:v>0</c:v>
                </c:pt>
                <c:pt idx="19818">
                  <c:v>0</c:v>
                </c:pt>
                <c:pt idx="19819">
                  <c:v>4</c:v>
                </c:pt>
                <c:pt idx="19820">
                  <c:v>0</c:v>
                </c:pt>
                <c:pt idx="19821">
                  <c:v>0</c:v>
                </c:pt>
                <c:pt idx="19822">
                  <c:v>0</c:v>
                </c:pt>
                <c:pt idx="19823">
                  <c:v>0</c:v>
                </c:pt>
                <c:pt idx="19824">
                  <c:v>0</c:v>
                </c:pt>
                <c:pt idx="19825">
                  <c:v>0</c:v>
                </c:pt>
                <c:pt idx="19826">
                  <c:v>0</c:v>
                </c:pt>
                <c:pt idx="19827">
                  <c:v>0</c:v>
                </c:pt>
                <c:pt idx="19828">
                  <c:v>0</c:v>
                </c:pt>
                <c:pt idx="19829">
                  <c:v>0</c:v>
                </c:pt>
                <c:pt idx="19830">
                  <c:v>0</c:v>
                </c:pt>
                <c:pt idx="19831">
                  <c:v>0</c:v>
                </c:pt>
                <c:pt idx="19832">
                  <c:v>0</c:v>
                </c:pt>
                <c:pt idx="19833">
                  <c:v>0</c:v>
                </c:pt>
                <c:pt idx="19834">
                  <c:v>0</c:v>
                </c:pt>
                <c:pt idx="19835">
                  <c:v>0</c:v>
                </c:pt>
                <c:pt idx="19836">
                  <c:v>0</c:v>
                </c:pt>
                <c:pt idx="19837">
                  <c:v>0</c:v>
                </c:pt>
                <c:pt idx="19838">
                  <c:v>0</c:v>
                </c:pt>
                <c:pt idx="19839">
                  <c:v>0</c:v>
                </c:pt>
                <c:pt idx="19840">
                  <c:v>0</c:v>
                </c:pt>
                <c:pt idx="19841">
                  <c:v>0</c:v>
                </c:pt>
                <c:pt idx="19842">
                  <c:v>0</c:v>
                </c:pt>
                <c:pt idx="19843">
                  <c:v>0</c:v>
                </c:pt>
                <c:pt idx="19844">
                  <c:v>0</c:v>
                </c:pt>
                <c:pt idx="19845">
                  <c:v>0</c:v>
                </c:pt>
                <c:pt idx="19846">
                  <c:v>0</c:v>
                </c:pt>
                <c:pt idx="19847">
                  <c:v>0</c:v>
                </c:pt>
                <c:pt idx="19848">
                  <c:v>0</c:v>
                </c:pt>
                <c:pt idx="19849">
                  <c:v>0</c:v>
                </c:pt>
                <c:pt idx="19850">
                  <c:v>0</c:v>
                </c:pt>
                <c:pt idx="19851">
                  <c:v>0</c:v>
                </c:pt>
                <c:pt idx="19852">
                  <c:v>0</c:v>
                </c:pt>
                <c:pt idx="19853">
                  <c:v>0</c:v>
                </c:pt>
                <c:pt idx="19854">
                  <c:v>0</c:v>
                </c:pt>
                <c:pt idx="19855">
                  <c:v>0</c:v>
                </c:pt>
                <c:pt idx="19856">
                  <c:v>0</c:v>
                </c:pt>
                <c:pt idx="19857">
                  <c:v>0</c:v>
                </c:pt>
                <c:pt idx="19858">
                  <c:v>0</c:v>
                </c:pt>
                <c:pt idx="19859">
                  <c:v>0</c:v>
                </c:pt>
                <c:pt idx="19860">
                  <c:v>0</c:v>
                </c:pt>
                <c:pt idx="19861">
                  <c:v>0</c:v>
                </c:pt>
                <c:pt idx="19862">
                  <c:v>0</c:v>
                </c:pt>
                <c:pt idx="19863">
                  <c:v>0</c:v>
                </c:pt>
                <c:pt idx="19864">
                  <c:v>0</c:v>
                </c:pt>
                <c:pt idx="19865">
                  <c:v>0</c:v>
                </c:pt>
                <c:pt idx="19866">
                  <c:v>0</c:v>
                </c:pt>
                <c:pt idx="19867">
                  <c:v>0</c:v>
                </c:pt>
                <c:pt idx="19868">
                  <c:v>1</c:v>
                </c:pt>
                <c:pt idx="19869">
                  <c:v>0</c:v>
                </c:pt>
                <c:pt idx="19870">
                  <c:v>0</c:v>
                </c:pt>
                <c:pt idx="19871">
                  <c:v>0</c:v>
                </c:pt>
                <c:pt idx="19872">
                  <c:v>0</c:v>
                </c:pt>
                <c:pt idx="19873">
                  <c:v>0</c:v>
                </c:pt>
                <c:pt idx="19874">
                  <c:v>0</c:v>
                </c:pt>
                <c:pt idx="19875">
                  <c:v>0</c:v>
                </c:pt>
                <c:pt idx="19876">
                  <c:v>0</c:v>
                </c:pt>
                <c:pt idx="19877">
                  <c:v>0</c:v>
                </c:pt>
                <c:pt idx="19878">
                  <c:v>0</c:v>
                </c:pt>
                <c:pt idx="19879">
                  <c:v>0</c:v>
                </c:pt>
                <c:pt idx="19880">
                  <c:v>0</c:v>
                </c:pt>
                <c:pt idx="19881">
                  <c:v>0</c:v>
                </c:pt>
                <c:pt idx="19882">
                  <c:v>0</c:v>
                </c:pt>
                <c:pt idx="19883">
                  <c:v>0</c:v>
                </c:pt>
                <c:pt idx="19884">
                  <c:v>0</c:v>
                </c:pt>
                <c:pt idx="19885">
                  <c:v>0</c:v>
                </c:pt>
                <c:pt idx="19886">
                  <c:v>0</c:v>
                </c:pt>
                <c:pt idx="19887">
                  <c:v>0</c:v>
                </c:pt>
                <c:pt idx="19888">
                  <c:v>0</c:v>
                </c:pt>
                <c:pt idx="19889">
                  <c:v>0</c:v>
                </c:pt>
                <c:pt idx="19890">
                  <c:v>0</c:v>
                </c:pt>
                <c:pt idx="19891">
                  <c:v>0</c:v>
                </c:pt>
                <c:pt idx="19892">
                  <c:v>3</c:v>
                </c:pt>
                <c:pt idx="19893">
                  <c:v>3</c:v>
                </c:pt>
                <c:pt idx="19894">
                  <c:v>2</c:v>
                </c:pt>
                <c:pt idx="19895">
                  <c:v>0</c:v>
                </c:pt>
                <c:pt idx="19896">
                  <c:v>0</c:v>
                </c:pt>
                <c:pt idx="19897">
                  <c:v>0</c:v>
                </c:pt>
                <c:pt idx="19898">
                  <c:v>0</c:v>
                </c:pt>
                <c:pt idx="19899">
                  <c:v>0</c:v>
                </c:pt>
                <c:pt idx="19900">
                  <c:v>0</c:v>
                </c:pt>
                <c:pt idx="19901">
                  <c:v>0</c:v>
                </c:pt>
                <c:pt idx="19902">
                  <c:v>0</c:v>
                </c:pt>
                <c:pt idx="19903">
                  <c:v>0</c:v>
                </c:pt>
                <c:pt idx="19904">
                  <c:v>2</c:v>
                </c:pt>
                <c:pt idx="19905">
                  <c:v>1</c:v>
                </c:pt>
                <c:pt idx="19906">
                  <c:v>0</c:v>
                </c:pt>
                <c:pt idx="19907">
                  <c:v>0</c:v>
                </c:pt>
                <c:pt idx="19908">
                  <c:v>0</c:v>
                </c:pt>
                <c:pt idx="19909">
                  <c:v>0</c:v>
                </c:pt>
                <c:pt idx="19910">
                  <c:v>0</c:v>
                </c:pt>
                <c:pt idx="19911">
                  <c:v>0</c:v>
                </c:pt>
                <c:pt idx="19912">
                  <c:v>0</c:v>
                </c:pt>
                <c:pt idx="19913">
                  <c:v>0</c:v>
                </c:pt>
                <c:pt idx="19914">
                  <c:v>0</c:v>
                </c:pt>
                <c:pt idx="19915">
                  <c:v>3</c:v>
                </c:pt>
                <c:pt idx="19916">
                  <c:v>0</c:v>
                </c:pt>
                <c:pt idx="19917">
                  <c:v>0</c:v>
                </c:pt>
                <c:pt idx="19918">
                  <c:v>0</c:v>
                </c:pt>
                <c:pt idx="19919">
                  <c:v>0</c:v>
                </c:pt>
                <c:pt idx="19920">
                  <c:v>0</c:v>
                </c:pt>
                <c:pt idx="19921">
                  <c:v>0</c:v>
                </c:pt>
                <c:pt idx="19922">
                  <c:v>4</c:v>
                </c:pt>
                <c:pt idx="19923">
                  <c:v>0</c:v>
                </c:pt>
                <c:pt idx="19924">
                  <c:v>0</c:v>
                </c:pt>
                <c:pt idx="19925">
                  <c:v>5</c:v>
                </c:pt>
                <c:pt idx="19926">
                  <c:v>0</c:v>
                </c:pt>
                <c:pt idx="19927">
                  <c:v>0</c:v>
                </c:pt>
                <c:pt idx="19928">
                  <c:v>0</c:v>
                </c:pt>
                <c:pt idx="19929">
                  <c:v>0</c:v>
                </c:pt>
                <c:pt idx="19930">
                  <c:v>1</c:v>
                </c:pt>
                <c:pt idx="19931">
                  <c:v>0</c:v>
                </c:pt>
                <c:pt idx="19932">
                  <c:v>0</c:v>
                </c:pt>
                <c:pt idx="19933">
                  <c:v>0</c:v>
                </c:pt>
                <c:pt idx="19934">
                  <c:v>1</c:v>
                </c:pt>
                <c:pt idx="19935">
                  <c:v>0</c:v>
                </c:pt>
                <c:pt idx="19936">
                  <c:v>4</c:v>
                </c:pt>
                <c:pt idx="19937">
                  <c:v>2</c:v>
                </c:pt>
                <c:pt idx="19938">
                  <c:v>1</c:v>
                </c:pt>
                <c:pt idx="19939">
                  <c:v>0</c:v>
                </c:pt>
                <c:pt idx="19940">
                  <c:v>0</c:v>
                </c:pt>
                <c:pt idx="19941">
                  <c:v>1</c:v>
                </c:pt>
                <c:pt idx="19942">
                  <c:v>0</c:v>
                </c:pt>
                <c:pt idx="19943">
                  <c:v>0</c:v>
                </c:pt>
                <c:pt idx="19944">
                  <c:v>0</c:v>
                </c:pt>
                <c:pt idx="19945">
                  <c:v>3</c:v>
                </c:pt>
                <c:pt idx="19946">
                  <c:v>0</c:v>
                </c:pt>
                <c:pt idx="19947">
                  <c:v>0</c:v>
                </c:pt>
                <c:pt idx="19948">
                  <c:v>0</c:v>
                </c:pt>
                <c:pt idx="19949">
                  <c:v>0</c:v>
                </c:pt>
                <c:pt idx="19950">
                  <c:v>0</c:v>
                </c:pt>
                <c:pt idx="19951">
                  <c:v>3</c:v>
                </c:pt>
                <c:pt idx="19952">
                  <c:v>0</c:v>
                </c:pt>
                <c:pt idx="19953">
                  <c:v>0</c:v>
                </c:pt>
                <c:pt idx="19954">
                  <c:v>2</c:v>
                </c:pt>
                <c:pt idx="19955">
                  <c:v>0</c:v>
                </c:pt>
                <c:pt idx="19956">
                  <c:v>1</c:v>
                </c:pt>
                <c:pt idx="19957">
                  <c:v>2</c:v>
                </c:pt>
                <c:pt idx="19958">
                  <c:v>1</c:v>
                </c:pt>
                <c:pt idx="19959">
                  <c:v>0</c:v>
                </c:pt>
                <c:pt idx="19960">
                  <c:v>2</c:v>
                </c:pt>
                <c:pt idx="19961">
                  <c:v>2</c:v>
                </c:pt>
                <c:pt idx="19962">
                  <c:v>0</c:v>
                </c:pt>
                <c:pt idx="19963">
                  <c:v>0</c:v>
                </c:pt>
                <c:pt idx="19964">
                  <c:v>0</c:v>
                </c:pt>
                <c:pt idx="19965">
                  <c:v>0</c:v>
                </c:pt>
                <c:pt idx="19966">
                  <c:v>0</c:v>
                </c:pt>
                <c:pt idx="19967">
                  <c:v>0</c:v>
                </c:pt>
                <c:pt idx="19968">
                  <c:v>0</c:v>
                </c:pt>
                <c:pt idx="19969">
                  <c:v>0</c:v>
                </c:pt>
                <c:pt idx="19970">
                  <c:v>0</c:v>
                </c:pt>
                <c:pt idx="19971">
                  <c:v>0</c:v>
                </c:pt>
                <c:pt idx="19972">
                  <c:v>1</c:v>
                </c:pt>
                <c:pt idx="19973">
                  <c:v>0</c:v>
                </c:pt>
                <c:pt idx="19974">
                  <c:v>0</c:v>
                </c:pt>
                <c:pt idx="19975">
                  <c:v>0</c:v>
                </c:pt>
                <c:pt idx="19976">
                  <c:v>0</c:v>
                </c:pt>
                <c:pt idx="19977">
                  <c:v>0</c:v>
                </c:pt>
                <c:pt idx="19978">
                  <c:v>0</c:v>
                </c:pt>
                <c:pt idx="19979">
                  <c:v>4</c:v>
                </c:pt>
                <c:pt idx="19980">
                  <c:v>0</c:v>
                </c:pt>
                <c:pt idx="19981">
                  <c:v>0</c:v>
                </c:pt>
                <c:pt idx="19982">
                  <c:v>0</c:v>
                </c:pt>
                <c:pt idx="19983">
                  <c:v>1</c:v>
                </c:pt>
                <c:pt idx="19984">
                  <c:v>0</c:v>
                </c:pt>
                <c:pt idx="19985">
                  <c:v>23</c:v>
                </c:pt>
                <c:pt idx="19986">
                  <c:v>1</c:v>
                </c:pt>
                <c:pt idx="19987">
                  <c:v>1</c:v>
                </c:pt>
                <c:pt idx="19988">
                  <c:v>0</c:v>
                </c:pt>
                <c:pt idx="19989">
                  <c:v>1</c:v>
                </c:pt>
                <c:pt idx="19990">
                  <c:v>0</c:v>
                </c:pt>
                <c:pt idx="19991">
                  <c:v>0</c:v>
                </c:pt>
                <c:pt idx="19992">
                  <c:v>0</c:v>
                </c:pt>
                <c:pt idx="19993">
                  <c:v>0</c:v>
                </c:pt>
                <c:pt idx="19994">
                  <c:v>0</c:v>
                </c:pt>
                <c:pt idx="19995">
                  <c:v>0</c:v>
                </c:pt>
                <c:pt idx="19996">
                  <c:v>0</c:v>
                </c:pt>
                <c:pt idx="19997">
                  <c:v>0</c:v>
                </c:pt>
                <c:pt idx="19998">
                  <c:v>0</c:v>
                </c:pt>
                <c:pt idx="19999">
                  <c:v>0</c:v>
                </c:pt>
                <c:pt idx="20000">
                  <c:v>0</c:v>
                </c:pt>
                <c:pt idx="20001">
                  <c:v>0</c:v>
                </c:pt>
                <c:pt idx="20002">
                  <c:v>0</c:v>
                </c:pt>
                <c:pt idx="20003">
                  <c:v>0</c:v>
                </c:pt>
                <c:pt idx="20004">
                  <c:v>0</c:v>
                </c:pt>
                <c:pt idx="20005">
                  <c:v>0</c:v>
                </c:pt>
                <c:pt idx="20006">
                  <c:v>0</c:v>
                </c:pt>
                <c:pt idx="20007">
                  <c:v>0</c:v>
                </c:pt>
                <c:pt idx="20008">
                  <c:v>0</c:v>
                </c:pt>
                <c:pt idx="20009">
                  <c:v>0</c:v>
                </c:pt>
                <c:pt idx="20010">
                  <c:v>0</c:v>
                </c:pt>
                <c:pt idx="20011">
                  <c:v>0</c:v>
                </c:pt>
                <c:pt idx="20012">
                  <c:v>0</c:v>
                </c:pt>
                <c:pt idx="20013">
                  <c:v>0</c:v>
                </c:pt>
                <c:pt idx="20014">
                  <c:v>0</c:v>
                </c:pt>
                <c:pt idx="20015">
                  <c:v>0</c:v>
                </c:pt>
                <c:pt idx="20016">
                  <c:v>0</c:v>
                </c:pt>
                <c:pt idx="20017">
                  <c:v>0</c:v>
                </c:pt>
                <c:pt idx="20018">
                  <c:v>0</c:v>
                </c:pt>
                <c:pt idx="20019">
                  <c:v>0</c:v>
                </c:pt>
                <c:pt idx="20020">
                  <c:v>0</c:v>
                </c:pt>
                <c:pt idx="20021">
                  <c:v>0</c:v>
                </c:pt>
                <c:pt idx="20022">
                  <c:v>0</c:v>
                </c:pt>
                <c:pt idx="20023">
                  <c:v>0</c:v>
                </c:pt>
                <c:pt idx="20024">
                  <c:v>0</c:v>
                </c:pt>
                <c:pt idx="20025">
                  <c:v>0</c:v>
                </c:pt>
                <c:pt idx="20026">
                  <c:v>0</c:v>
                </c:pt>
                <c:pt idx="20027">
                  <c:v>0</c:v>
                </c:pt>
                <c:pt idx="20028">
                  <c:v>0</c:v>
                </c:pt>
                <c:pt idx="20029">
                  <c:v>0</c:v>
                </c:pt>
                <c:pt idx="20030">
                  <c:v>0</c:v>
                </c:pt>
                <c:pt idx="20031">
                  <c:v>0</c:v>
                </c:pt>
                <c:pt idx="20032">
                  <c:v>0</c:v>
                </c:pt>
                <c:pt idx="20033">
                  <c:v>3</c:v>
                </c:pt>
                <c:pt idx="20034">
                  <c:v>0</c:v>
                </c:pt>
                <c:pt idx="20035">
                  <c:v>0</c:v>
                </c:pt>
                <c:pt idx="20036">
                  <c:v>0</c:v>
                </c:pt>
                <c:pt idx="20037">
                  <c:v>0</c:v>
                </c:pt>
                <c:pt idx="20038">
                  <c:v>0</c:v>
                </c:pt>
                <c:pt idx="20039">
                  <c:v>0</c:v>
                </c:pt>
                <c:pt idx="20040">
                  <c:v>0</c:v>
                </c:pt>
                <c:pt idx="20041">
                  <c:v>0</c:v>
                </c:pt>
                <c:pt idx="20042">
                  <c:v>0</c:v>
                </c:pt>
                <c:pt idx="20043">
                  <c:v>0</c:v>
                </c:pt>
                <c:pt idx="20044">
                  <c:v>0</c:v>
                </c:pt>
                <c:pt idx="20045">
                  <c:v>0</c:v>
                </c:pt>
                <c:pt idx="20046">
                  <c:v>0</c:v>
                </c:pt>
                <c:pt idx="20047">
                  <c:v>0</c:v>
                </c:pt>
                <c:pt idx="20048">
                  <c:v>0</c:v>
                </c:pt>
                <c:pt idx="20049">
                  <c:v>0</c:v>
                </c:pt>
                <c:pt idx="20050">
                  <c:v>0</c:v>
                </c:pt>
                <c:pt idx="20051">
                  <c:v>0</c:v>
                </c:pt>
                <c:pt idx="20052">
                  <c:v>0</c:v>
                </c:pt>
                <c:pt idx="20053">
                  <c:v>0</c:v>
                </c:pt>
                <c:pt idx="20054">
                  <c:v>0</c:v>
                </c:pt>
                <c:pt idx="20055">
                  <c:v>0</c:v>
                </c:pt>
                <c:pt idx="20056">
                  <c:v>0</c:v>
                </c:pt>
                <c:pt idx="20057">
                  <c:v>0</c:v>
                </c:pt>
                <c:pt idx="20058">
                  <c:v>0</c:v>
                </c:pt>
                <c:pt idx="20059">
                  <c:v>0</c:v>
                </c:pt>
                <c:pt idx="20060">
                  <c:v>0</c:v>
                </c:pt>
                <c:pt idx="20061">
                  <c:v>0</c:v>
                </c:pt>
                <c:pt idx="20062">
                  <c:v>0</c:v>
                </c:pt>
                <c:pt idx="20063">
                  <c:v>2</c:v>
                </c:pt>
                <c:pt idx="20064">
                  <c:v>3</c:v>
                </c:pt>
                <c:pt idx="20065">
                  <c:v>4</c:v>
                </c:pt>
                <c:pt idx="20066">
                  <c:v>0</c:v>
                </c:pt>
                <c:pt idx="20067">
                  <c:v>0</c:v>
                </c:pt>
                <c:pt idx="20068">
                  <c:v>0</c:v>
                </c:pt>
                <c:pt idx="20069">
                  <c:v>0</c:v>
                </c:pt>
                <c:pt idx="20070">
                  <c:v>0</c:v>
                </c:pt>
                <c:pt idx="20071">
                  <c:v>0</c:v>
                </c:pt>
                <c:pt idx="20072">
                  <c:v>0</c:v>
                </c:pt>
                <c:pt idx="20073">
                  <c:v>0</c:v>
                </c:pt>
                <c:pt idx="20074">
                  <c:v>0</c:v>
                </c:pt>
                <c:pt idx="20075">
                  <c:v>0</c:v>
                </c:pt>
                <c:pt idx="20076">
                  <c:v>0</c:v>
                </c:pt>
                <c:pt idx="20077">
                  <c:v>0</c:v>
                </c:pt>
                <c:pt idx="20078">
                  <c:v>0</c:v>
                </c:pt>
                <c:pt idx="20079">
                  <c:v>0</c:v>
                </c:pt>
                <c:pt idx="20080">
                  <c:v>0</c:v>
                </c:pt>
                <c:pt idx="20081">
                  <c:v>0</c:v>
                </c:pt>
                <c:pt idx="20082">
                  <c:v>0</c:v>
                </c:pt>
                <c:pt idx="20083">
                  <c:v>0</c:v>
                </c:pt>
                <c:pt idx="20084">
                  <c:v>0</c:v>
                </c:pt>
                <c:pt idx="20085">
                  <c:v>0</c:v>
                </c:pt>
                <c:pt idx="20086">
                  <c:v>0</c:v>
                </c:pt>
                <c:pt idx="20087">
                  <c:v>0</c:v>
                </c:pt>
                <c:pt idx="20088">
                  <c:v>0</c:v>
                </c:pt>
                <c:pt idx="20089">
                  <c:v>0</c:v>
                </c:pt>
                <c:pt idx="20090">
                  <c:v>0</c:v>
                </c:pt>
                <c:pt idx="20091">
                  <c:v>0</c:v>
                </c:pt>
                <c:pt idx="20092">
                  <c:v>0</c:v>
                </c:pt>
                <c:pt idx="20093">
                  <c:v>0</c:v>
                </c:pt>
                <c:pt idx="20094">
                  <c:v>0</c:v>
                </c:pt>
                <c:pt idx="20095">
                  <c:v>0</c:v>
                </c:pt>
                <c:pt idx="20096">
                  <c:v>0</c:v>
                </c:pt>
                <c:pt idx="20097">
                  <c:v>0</c:v>
                </c:pt>
                <c:pt idx="20098">
                  <c:v>0</c:v>
                </c:pt>
                <c:pt idx="20099">
                  <c:v>0</c:v>
                </c:pt>
                <c:pt idx="20100">
                  <c:v>0</c:v>
                </c:pt>
                <c:pt idx="20101">
                  <c:v>0</c:v>
                </c:pt>
                <c:pt idx="20102">
                  <c:v>0</c:v>
                </c:pt>
                <c:pt idx="20103">
                  <c:v>0</c:v>
                </c:pt>
                <c:pt idx="20104">
                  <c:v>0</c:v>
                </c:pt>
                <c:pt idx="20105">
                  <c:v>0</c:v>
                </c:pt>
                <c:pt idx="20106">
                  <c:v>0</c:v>
                </c:pt>
                <c:pt idx="20107">
                  <c:v>0</c:v>
                </c:pt>
                <c:pt idx="20108">
                  <c:v>0</c:v>
                </c:pt>
                <c:pt idx="20109">
                  <c:v>0</c:v>
                </c:pt>
                <c:pt idx="20110">
                  <c:v>0</c:v>
                </c:pt>
                <c:pt idx="20111">
                  <c:v>0</c:v>
                </c:pt>
                <c:pt idx="20112">
                  <c:v>0</c:v>
                </c:pt>
                <c:pt idx="20113">
                  <c:v>0</c:v>
                </c:pt>
                <c:pt idx="20114">
                  <c:v>0</c:v>
                </c:pt>
                <c:pt idx="20115">
                  <c:v>1</c:v>
                </c:pt>
                <c:pt idx="20116">
                  <c:v>0</c:v>
                </c:pt>
                <c:pt idx="20117">
                  <c:v>0</c:v>
                </c:pt>
                <c:pt idx="20118">
                  <c:v>0</c:v>
                </c:pt>
                <c:pt idx="20119">
                  <c:v>0</c:v>
                </c:pt>
                <c:pt idx="20120">
                  <c:v>0</c:v>
                </c:pt>
                <c:pt idx="20121">
                  <c:v>0</c:v>
                </c:pt>
                <c:pt idx="20122">
                  <c:v>0</c:v>
                </c:pt>
                <c:pt idx="20123">
                  <c:v>0</c:v>
                </c:pt>
                <c:pt idx="20124">
                  <c:v>0</c:v>
                </c:pt>
                <c:pt idx="20125">
                  <c:v>0</c:v>
                </c:pt>
                <c:pt idx="20126">
                  <c:v>1</c:v>
                </c:pt>
                <c:pt idx="20127">
                  <c:v>0</c:v>
                </c:pt>
                <c:pt idx="20128">
                  <c:v>0</c:v>
                </c:pt>
                <c:pt idx="20129">
                  <c:v>0</c:v>
                </c:pt>
                <c:pt idx="20130">
                  <c:v>0</c:v>
                </c:pt>
                <c:pt idx="20131">
                  <c:v>0</c:v>
                </c:pt>
                <c:pt idx="20132">
                  <c:v>0</c:v>
                </c:pt>
                <c:pt idx="20133">
                  <c:v>0</c:v>
                </c:pt>
                <c:pt idx="20134">
                  <c:v>0</c:v>
                </c:pt>
                <c:pt idx="20135">
                  <c:v>0</c:v>
                </c:pt>
                <c:pt idx="20136">
                  <c:v>0</c:v>
                </c:pt>
                <c:pt idx="20137">
                  <c:v>0</c:v>
                </c:pt>
                <c:pt idx="20138">
                  <c:v>0</c:v>
                </c:pt>
                <c:pt idx="20139">
                  <c:v>0</c:v>
                </c:pt>
                <c:pt idx="20140">
                  <c:v>0</c:v>
                </c:pt>
                <c:pt idx="20141">
                  <c:v>0</c:v>
                </c:pt>
                <c:pt idx="20142">
                  <c:v>0</c:v>
                </c:pt>
                <c:pt idx="20143">
                  <c:v>0</c:v>
                </c:pt>
                <c:pt idx="20144">
                  <c:v>0</c:v>
                </c:pt>
                <c:pt idx="20145">
                  <c:v>0</c:v>
                </c:pt>
                <c:pt idx="20146">
                  <c:v>0</c:v>
                </c:pt>
                <c:pt idx="20147">
                  <c:v>0</c:v>
                </c:pt>
                <c:pt idx="20148">
                  <c:v>0</c:v>
                </c:pt>
                <c:pt idx="20149">
                  <c:v>0</c:v>
                </c:pt>
                <c:pt idx="20150">
                  <c:v>0</c:v>
                </c:pt>
                <c:pt idx="20151">
                  <c:v>0</c:v>
                </c:pt>
                <c:pt idx="20152">
                  <c:v>0</c:v>
                </c:pt>
                <c:pt idx="20153">
                  <c:v>0</c:v>
                </c:pt>
                <c:pt idx="20154">
                  <c:v>0</c:v>
                </c:pt>
                <c:pt idx="20155">
                  <c:v>0</c:v>
                </c:pt>
                <c:pt idx="20156">
                  <c:v>0</c:v>
                </c:pt>
                <c:pt idx="20157">
                  <c:v>0</c:v>
                </c:pt>
                <c:pt idx="20158">
                  <c:v>0</c:v>
                </c:pt>
                <c:pt idx="20159">
                  <c:v>0</c:v>
                </c:pt>
                <c:pt idx="20160">
                  <c:v>4</c:v>
                </c:pt>
                <c:pt idx="20161">
                  <c:v>4</c:v>
                </c:pt>
                <c:pt idx="20162">
                  <c:v>0</c:v>
                </c:pt>
                <c:pt idx="20163">
                  <c:v>0</c:v>
                </c:pt>
                <c:pt idx="20164">
                  <c:v>0</c:v>
                </c:pt>
                <c:pt idx="20165">
                  <c:v>0</c:v>
                </c:pt>
                <c:pt idx="20166">
                  <c:v>0</c:v>
                </c:pt>
                <c:pt idx="20167">
                  <c:v>0</c:v>
                </c:pt>
                <c:pt idx="20168">
                  <c:v>0</c:v>
                </c:pt>
                <c:pt idx="20169">
                  <c:v>0</c:v>
                </c:pt>
                <c:pt idx="20170">
                  <c:v>0</c:v>
                </c:pt>
                <c:pt idx="20171">
                  <c:v>0</c:v>
                </c:pt>
                <c:pt idx="20172">
                  <c:v>0</c:v>
                </c:pt>
                <c:pt idx="20173">
                  <c:v>0</c:v>
                </c:pt>
                <c:pt idx="20174">
                  <c:v>0</c:v>
                </c:pt>
                <c:pt idx="20175">
                  <c:v>0</c:v>
                </c:pt>
                <c:pt idx="20176">
                  <c:v>0</c:v>
                </c:pt>
                <c:pt idx="20177">
                  <c:v>0</c:v>
                </c:pt>
                <c:pt idx="20178">
                  <c:v>0</c:v>
                </c:pt>
                <c:pt idx="20179">
                  <c:v>0</c:v>
                </c:pt>
                <c:pt idx="20180">
                  <c:v>0</c:v>
                </c:pt>
                <c:pt idx="20181">
                  <c:v>0</c:v>
                </c:pt>
                <c:pt idx="20182">
                  <c:v>0</c:v>
                </c:pt>
                <c:pt idx="20183">
                  <c:v>0</c:v>
                </c:pt>
                <c:pt idx="20184">
                  <c:v>0</c:v>
                </c:pt>
                <c:pt idx="20185">
                  <c:v>0</c:v>
                </c:pt>
                <c:pt idx="20186">
                  <c:v>0</c:v>
                </c:pt>
                <c:pt idx="20187">
                  <c:v>0</c:v>
                </c:pt>
                <c:pt idx="20188">
                  <c:v>0</c:v>
                </c:pt>
                <c:pt idx="20189">
                  <c:v>0</c:v>
                </c:pt>
                <c:pt idx="20190">
                  <c:v>0</c:v>
                </c:pt>
                <c:pt idx="20191">
                  <c:v>0</c:v>
                </c:pt>
                <c:pt idx="20192">
                  <c:v>0</c:v>
                </c:pt>
                <c:pt idx="20193">
                  <c:v>0</c:v>
                </c:pt>
                <c:pt idx="20194">
                  <c:v>0</c:v>
                </c:pt>
                <c:pt idx="20195">
                  <c:v>0</c:v>
                </c:pt>
                <c:pt idx="20196">
                  <c:v>0</c:v>
                </c:pt>
                <c:pt idx="20197">
                  <c:v>0</c:v>
                </c:pt>
                <c:pt idx="20198">
                  <c:v>0</c:v>
                </c:pt>
                <c:pt idx="20199">
                  <c:v>0</c:v>
                </c:pt>
                <c:pt idx="20200">
                  <c:v>0</c:v>
                </c:pt>
                <c:pt idx="20201">
                  <c:v>0</c:v>
                </c:pt>
                <c:pt idx="20202">
                  <c:v>0</c:v>
                </c:pt>
                <c:pt idx="20203">
                  <c:v>0</c:v>
                </c:pt>
                <c:pt idx="20204">
                  <c:v>0</c:v>
                </c:pt>
                <c:pt idx="20205">
                  <c:v>0</c:v>
                </c:pt>
                <c:pt idx="20206">
                  <c:v>0</c:v>
                </c:pt>
                <c:pt idx="20207">
                  <c:v>0</c:v>
                </c:pt>
                <c:pt idx="20208">
                  <c:v>0</c:v>
                </c:pt>
                <c:pt idx="20209">
                  <c:v>0</c:v>
                </c:pt>
                <c:pt idx="20210">
                  <c:v>0</c:v>
                </c:pt>
                <c:pt idx="20211">
                  <c:v>0</c:v>
                </c:pt>
                <c:pt idx="20212">
                  <c:v>0</c:v>
                </c:pt>
                <c:pt idx="20213">
                  <c:v>0</c:v>
                </c:pt>
                <c:pt idx="20214">
                  <c:v>3</c:v>
                </c:pt>
                <c:pt idx="20215">
                  <c:v>0</c:v>
                </c:pt>
                <c:pt idx="20216">
                  <c:v>0</c:v>
                </c:pt>
                <c:pt idx="20217">
                  <c:v>0</c:v>
                </c:pt>
                <c:pt idx="20218">
                  <c:v>0</c:v>
                </c:pt>
                <c:pt idx="20219">
                  <c:v>0</c:v>
                </c:pt>
                <c:pt idx="20220">
                  <c:v>0</c:v>
                </c:pt>
                <c:pt idx="20221">
                  <c:v>0</c:v>
                </c:pt>
                <c:pt idx="20222">
                  <c:v>0</c:v>
                </c:pt>
                <c:pt idx="20223">
                  <c:v>0</c:v>
                </c:pt>
                <c:pt idx="20224">
                  <c:v>0</c:v>
                </c:pt>
                <c:pt idx="20225">
                  <c:v>0</c:v>
                </c:pt>
                <c:pt idx="20226">
                  <c:v>0</c:v>
                </c:pt>
                <c:pt idx="20227">
                  <c:v>0</c:v>
                </c:pt>
                <c:pt idx="20228">
                  <c:v>0</c:v>
                </c:pt>
                <c:pt idx="20229">
                  <c:v>0</c:v>
                </c:pt>
                <c:pt idx="20230">
                  <c:v>0</c:v>
                </c:pt>
                <c:pt idx="20231">
                  <c:v>0</c:v>
                </c:pt>
                <c:pt idx="20232">
                  <c:v>0</c:v>
                </c:pt>
                <c:pt idx="20233">
                  <c:v>0</c:v>
                </c:pt>
                <c:pt idx="20234">
                  <c:v>0</c:v>
                </c:pt>
                <c:pt idx="20235">
                  <c:v>0</c:v>
                </c:pt>
                <c:pt idx="20236">
                  <c:v>0</c:v>
                </c:pt>
                <c:pt idx="20237">
                  <c:v>0</c:v>
                </c:pt>
                <c:pt idx="20238">
                  <c:v>0</c:v>
                </c:pt>
                <c:pt idx="20239">
                  <c:v>0</c:v>
                </c:pt>
                <c:pt idx="20240">
                  <c:v>0</c:v>
                </c:pt>
                <c:pt idx="20241">
                  <c:v>0</c:v>
                </c:pt>
                <c:pt idx="20242">
                  <c:v>1</c:v>
                </c:pt>
                <c:pt idx="20243">
                  <c:v>2</c:v>
                </c:pt>
                <c:pt idx="20244">
                  <c:v>2</c:v>
                </c:pt>
                <c:pt idx="20245">
                  <c:v>10</c:v>
                </c:pt>
                <c:pt idx="20246">
                  <c:v>6</c:v>
                </c:pt>
                <c:pt idx="20247">
                  <c:v>0</c:v>
                </c:pt>
                <c:pt idx="20248">
                  <c:v>0</c:v>
                </c:pt>
                <c:pt idx="20249">
                  <c:v>0</c:v>
                </c:pt>
                <c:pt idx="20250">
                  <c:v>0</c:v>
                </c:pt>
                <c:pt idx="20251">
                  <c:v>0</c:v>
                </c:pt>
                <c:pt idx="20252">
                  <c:v>0</c:v>
                </c:pt>
                <c:pt idx="20253">
                  <c:v>0</c:v>
                </c:pt>
                <c:pt idx="20254">
                  <c:v>0</c:v>
                </c:pt>
                <c:pt idx="20255">
                  <c:v>0</c:v>
                </c:pt>
                <c:pt idx="20256">
                  <c:v>0</c:v>
                </c:pt>
                <c:pt idx="20257">
                  <c:v>0</c:v>
                </c:pt>
                <c:pt idx="20258">
                  <c:v>0</c:v>
                </c:pt>
                <c:pt idx="20259">
                  <c:v>0</c:v>
                </c:pt>
                <c:pt idx="20260">
                  <c:v>0</c:v>
                </c:pt>
                <c:pt idx="20261">
                  <c:v>0</c:v>
                </c:pt>
                <c:pt idx="20262">
                  <c:v>0</c:v>
                </c:pt>
                <c:pt idx="20263">
                  <c:v>0</c:v>
                </c:pt>
                <c:pt idx="20264">
                  <c:v>0</c:v>
                </c:pt>
                <c:pt idx="20265">
                  <c:v>0</c:v>
                </c:pt>
                <c:pt idx="20266">
                  <c:v>0</c:v>
                </c:pt>
                <c:pt idx="20267">
                  <c:v>0</c:v>
                </c:pt>
                <c:pt idx="20268">
                  <c:v>0</c:v>
                </c:pt>
                <c:pt idx="20269">
                  <c:v>0</c:v>
                </c:pt>
                <c:pt idx="20270">
                  <c:v>0</c:v>
                </c:pt>
                <c:pt idx="20271">
                  <c:v>0</c:v>
                </c:pt>
                <c:pt idx="20272">
                  <c:v>0</c:v>
                </c:pt>
                <c:pt idx="20273">
                  <c:v>0</c:v>
                </c:pt>
                <c:pt idx="20274">
                  <c:v>0</c:v>
                </c:pt>
                <c:pt idx="20275">
                  <c:v>0</c:v>
                </c:pt>
                <c:pt idx="20276">
                  <c:v>0</c:v>
                </c:pt>
                <c:pt idx="20277">
                  <c:v>0</c:v>
                </c:pt>
                <c:pt idx="20278">
                  <c:v>0</c:v>
                </c:pt>
                <c:pt idx="20279">
                  <c:v>0</c:v>
                </c:pt>
                <c:pt idx="20280">
                  <c:v>0</c:v>
                </c:pt>
                <c:pt idx="20281">
                  <c:v>0</c:v>
                </c:pt>
                <c:pt idx="20282">
                  <c:v>0</c:v>
                </c:pt>
                <c:pt idx="20283">
                  <c:v>0</c:v>
                </c:pt>
                <c:pt idx="20284">
                  <c:v>1</c:v>
                </c:pt>
                <c:pt idx="20285">
                  <c:v>0</c:v>
                </c:pt>
                <c:pt idx="20286">
                  <c:v>0</c:v>
                </c:pt>
                <c:pt idx="20287">
                  <c:v>0</c:v>
                </c:pt>
                <c:pt idx="20288">
                  <c:v>0</c:v>
                </c:pt>
                <c:pt idx="20289">
                  <c:v>0</c:v>
                </c:pt>
                <c:pt idx="20290">
                  <c:v>0</c:v>
                </c:pt>
                <c:pt idx="20291">
                  <c:v>0</c:v>
                </c:pt>
                <c:pt idx="20292">
                  <c:v>0</c:v>
                </c:pt>
                <c:pt idx="20293">
                  <c:v>0</c:v>
                </c:pt>
                <c:pt idx="20294">
                  <c:v>0</c:v>
                </c:pt>
                <c:pt idx="20295">
                  <c:v>0</c:v>
                </c:pt>
                <c:pt idx="20296">
                  <c:v>0</c:v>
                </c:pt>
                <c:pt idx="20297">
                  <c:v>1</c:v>
                </c:pt>
                <c:pt idx="20298">
                  <c:v>0</c:v>
                </c:pt>
                <c:pt idx="20299">
                  <c:v>0</c:v>
                </c:pt>
                <c:pt idx="20300">
                  <c:v>0</c:v>
                </c:pt>
                <c:pt idx="20301">
                  <c:v>0</c:v>
                </c:pt>
                <c:pt idx="20302">
                  <c:v>0</c:v>
                </c:pt>
                <c:pt idx="20303">
                  <c:v>0</c:v>
                </c:pt>
                <c:pt idx="20304">
                  <c:v>0</c:v>
                </c:pt>
                <c:pt idx="20305">
                  <c:v>0</c:v>
                </c:pt>
                <c:pt idx="20306">
                  <c:v>0</c:v>
                </c:pt>
                <c:pt idx="20307">
                  <c:v>0</c:v>
                </c:pt>
                <c:pt idx="20308">
                  <c:v>0</c:v>
                </c:pt>
                <c:pt idx="20309">
                  <c:v>0</c:v>
                </c:pt>
                <c:pt idx="20310">
                  <c:v>0</c:v>
                </c:pt>
                <c:pt idx="20311">
                  <c:v>0</c:v>
                </c:pt>
                <c:pt idx="20312">
                  <c:v>2</c:v>
                </c:pt>
                <c:pt idx="20313">
                  <c:v>0</c:v>
                </c:pt>
                <c:pt idx="20314">
                  <c:v>0</c:v>
                </c:pt>
                <c:pt idx="20315">
                  <c:v>0</c:v>
                </c:pt>
                <c:pt idx="20316">
                  <c:v>0</c:v>
                </c:pt>
                <c:pt idx="20317">
                  <c:v>0</c:v>
                </c:pt>
                <c:pt idx="20318">
                  <c:v>0</c:v>
                </c:pt>
                <c:pt idx="20319">
                  <c:v>0</c:v>
                </c:pt>
                <c:pt idx="20320">
                  <c:v>0</c:v>
                </c:pt>
                <c:pt idx="20321">
                  <c:v>0</c:v>
                </c:pt>
                <c:pt idx="20322">
                  <c:v>0</c:v>
                </c:pt>
                <c:pt idx="20323">
                  <c:v>0</c:v>
                </c:pt>
                <c:pt idx="20324">
                  <c:v>0</c:v>
                </c:pt>
                <c:pt idx="20325">
                  <c:v>0</c:v>
                </c:pt>
                <c:pt idx="20326">
                  <c:v>0</c:v>
                </c:pt>
                <c:pt idx="20327">
                  <c:v>0</c:v>
                </c:pt>
                <c:pt idx="20328">
                  <c:v>1</c:v>
                </c:pt>
                <c:pt idx="20329">
                  <c:v>0</c:v>
                </c:pt>
                <c:pt idx="20330">
                  <c:v>0</c:v>
                </c:pt>
                <c:pt idx="20331">
                  <c:v>0</c:v>
                </c:pt>
                <c:pt idx="20332">
                  <c:v>0</c:v>
                </c:pt>
                <c:pt idx="20333">
                  <c:v>0</c:v>
                </c:pt>
                <c:pt idx="20334">
                  <c:v>0</c:v>
                </c:pt>
                <c:pt idx="20335">
                  <c:v>0</c:v>
                </c:pt>
                <c:pt idx="20336">
                  <c:v>0</c:v>
                </c:pt>
                <c:pt idx="20337">
                  <c:v>0</c:v>
                </c:pt>
                <c:pt idx="20338">
                  <c:v>0</c:v>
                </c:pt>
                <c:pt idx="20339">
                  <c:v>0</c:v>
                </c:pt>
                <c:pt idx="20340">
                  <c:v>0</c:v>
                </c:pt>
                <c:pt idx="20341">
                  <c:v>0</c:v>
                </c:pt>
                <c:pt idx="20342">
                  <c:v>0</c:v>
                </c:pt>
                <c:pt idx="20343">
                  <c:v>0</c:v>
                </c:pt>
                <c:pt idx="20344">
                  <c:v>0</c:v>
                </c:pt>
                <c:pt idx="20345">
                  <c:v>1</c:v>
                </c:pt>
                <c:pt idx="20346">
                  <c:v>1</c:v>
                </c:pt>
                <c:pt idx="20347">
                  <c:v>0</c:v>
                </c:pt>
                <c:pt idx="20348">
                  <c:v>0</c:v>
                </c:pt>
                <c:pt idx="20349">
                  <c:v>0</c:v>
                </c:pt>
                <c:pt idx="20350">
                  <c:v>0</c:v>
                </c:pt>
                <c:pt idx="20351">
                  <c:v>0</c:v>
                </c:pt>
                <c:pt idx="20352">
                  <c:v>1</c:v>
                </c:pt>
                <c:pt idx="20353">
                  <c:v>0</c:v>
                </c:pt>
                <c:pt idx="20354">
                  <c:v>0</c:v>
                </c:pt>
                <c:pt idx="20355">
                  <c:v>0</c:v>
                </c:pt>
                <c:pt idx="20356">
                  <c:v>0</c:v>
                </c:pt>
                <c:pt idx="20357">
                  <c:v>0</c:v>
                </c:pt>
                <c:pt idx="20358">
                  <c:v>0</c:v>
                </c:pt>
                <c:pt idx="20359">
                  <c:v>0</c:v>
                </c:pt>
                <c:pt idx="20360">
                  <c:v>0</c:v>
                </c:pt>
                <c:pt idx="20361">
                  <c:v>4</c:v>
                </c:pt>
                <c:pt idx="20362">
                  <c:v>0</c:v>
                </c:pt>
                <c:pt idx="20363">
                  <c:v>0</c:v>
                </c:pt>
                <c:pt idx="20364">
                  <c:v>0</c:v>
                </c:pt>
                <c:pt idx="20365">
                  <c:v>0</c:v>
                </c:pt>
                <c:pt idx="20366">
                  <c:v>0</c:v>
                </c:pt>
                <c:pt idx="20367">
                  <c:v>0</c:v>
                </c:pt>
                <c:pt idx="20368">
                  <c:v>0</c:v>
                </c:pt>
                <c:pt idx="20369">
                  <c:v>0</c:v>
                </c:pt>
                <c:pt idx="20370">
                  <c:v>0</c:v>
                </c:pt>
                <c:pt idx="20371">
                  <c:v>0</c:v>
                </c:pt>
                <c:pt idx="20372">
                  <c:v>0</c:v>
                </c:pt>
                <c:pt idx="20373">
                  <c:v>0</c:v>
                </c:pt>
                <c:pt idx="20374">
                  <c:v>0</c:v>
                </c:pt>
                <c:pt idx="20375">
                  <c:v>0</c:v>
                </c:pt>
                <c:pt idx="20376">
                  <c:v>0</c:v>
                </c:pt>
                <c:pt idx="20377">
                  <c:v>0</c:v>
                </c:pt>
                <c:pt idx="20378">
                  <c:v>0</c:v>
                </c:pt>
                <c:pt idx="20379">
                  <c:v>0</c:v>
                </c:pt>
                <c:pt idx="20380">
                  <c:v>0</c:v>
                </c:pt>
                <c:pt idx="20381">
                  <c:v>0</c:v>
                </c:pt>
                <c:pt idx="20382">
                  <c:v>0</c:v>
                </c:pt>
                <c:pt idx="20383">
                  <c:v>0</c:v>
                </c:pt>
                <c:pt idx="20384">
                  <c:v>0</c:v>
                </c:pt>
                <c:pt idx="20385">
                  <c:v>0</c:v>
                </c:pt>
                <c:pt idx="20386">
                  <c:v>0</c:v>
                </c:pt>
                <c:pt idx="20387">
                  <c:v>0</c:v>
                </c:pt>
                <c:pt idx="20388">
                  <c:v>0</c:v>
                </c:pt>
                <c:pt idx="20389">
                  <c:v>0</c:v>
                </c:pt>
                <c:pt idx="20390">
                  <c:v>0</c:v>
                </c:pt>
                <c:pt idx="20391">
                  <c:v>0</c:v>
                </c:pt>
                <c:pt idx="20392">
                  <c:v>0</c:v>
                </c:pt>
                <c:pt idx="20393">
                  <c:v>0</c:v>
                </c:pt>
                <c:pt idx="20394">
                  <c:v>0</c:v>
                </c:pt>
                <c:pt idx="20395">
                  <c:v>0</c:v>
                </c:pt>
                <c:pt idx="20396">
                  <c:v>0</c:v>
                </c:pt>
                <c:pt idx="20397">
                  <c:v>0</c:v>
                </c:pt>
                <c:pt idx="20398">
                  <c:v>1</c:v>
                </c:pt>
                <c:pt idx="20399">
                  <c:v>0</c:v>
                </c:pt>
                <c:pt idx="20400">
                  <c:v>0</c:v>
                </c:pt>
                <c:pt idx="20401">
                  <c:v>0</c:v>
                </c:pt>
                <c:pt idx="20402">
                  <c:v>0</c:v>
                </c:pt>
                <c:pt idx="20403">
                  <c:v>0</c:v>
                </c:pt>
                <c:pt idx="20404">
                  <c:v>0</c:v>
                </c:pt>
                <c:pt idx="20405">
                  <c:v>0</c:v>
                </c:pt>
                <c:pt idx="20406">
                  <c:v>0</c:v>
                </c:pt>
                <c:pt idx="20407">
                  <c:v>0</c:v>
                </c:pt>
                <c:pt idx="20408">
                  <c:v>0</c:v>
                </c:pt>
                <c:pt idx="20409">
                  <c:v>0</c:v>
                </c:pt>
                <c:pt idx="20410">
                  <c:v>0</c:v>
                </c:pt>
                <c:pt idx="20411">
                  <c:v>0</c:v>
                </c:pt>
                <c:pt idx="20412">
                  <c:v>0</c:v>
                </c:pt>
                <c:pt idx="20413">
                  <c:v>1</c:v>
                </c:pt>
                <c:pt idx="20414">
                  <c:v>0</c:v>
                </c:pt>
                <c:pt idx="20415">
                  <c:v>0</c:v>
                </c:pt>
                <c:pt idx="20416">
                  <c:v>0</c:v>
                </c:pt>
                <c:pt idx="20417">
                  <c:v>0</c:v>
                </c:pt>
                <c:pt idx="20418">
                  <c:v>1</c:v>
                </c:pt>
                <c:pt idx="20419">
                  <c:v>0</c:v>
                </c:pt>
                <c:pt idx="20420">
                  <c:v>0</c:v>
                </c:pt>
                <c:pt idx="20421">
                  <c:v>0</c:v>
                </c:pt>
                <c:pt idx="20422">
                  <c:v>0</c:v>
                </c:pt>
                <c:pt idx="20423">
                  <c:v>0</c:v>
                </c:pt>
                <c:pt idx="20424">
                  <c:v>0</c:v>
                </c:pt>
                <c:pt idx="20425">
                  <c:v>0</c:v>
                </c:pt>
                <c:pt idx="20426">
                  <c:v>0</c:v>
                </c:pt>
                <c:pt idx="20427">
                  <c:v>0</c:v>
                </c:pt>
                <c:pt idx="20428">
                  <c:v>0</c:v>
                </c:pt>
                <c:pt idx="20429">
                  <c:v>0</c:v>
                </c:pt>
                <c:pt idx="20430">
                  <c:v>0</c:v>
                </c:pt>
                <c:pt idx="20431">
                  <c:v>1</c:v>
                </c:pt>
                <c:pt idx="20432">
                  <c:v>0</c:v>
                </c:pt>
                <c:pt idx="20433">
                  <c:v>0</c:v>
                </c:pt>
                <c:pt idx="20434">
                  <c:v>0</c:v>
                </c:pt>
                <c:pt idx="20435">
                  <c:v>0</c:v>
                </c:pt>
                <c:pt idx="20436">
                  <c:v>0</c:v>
                </c:pt>
                <c:pt idx="20437">
                  <c:v>0</c:v>
                </c:pt>
                <c:pt idx="20438">
                  <c:v>0</c:v>
                </c:pt>
                <c:pt idx="20439">
                  <c:v>0</c:v>
                </c:pt>
                <c:pt idx="20440">
                  <c:v>0</c:v>
                </c:pt>
                <c:pt idx="20441">
                  <c:v>0</c:v>
                </c:pt>
                <c:pt idx="20442">
                  <c:v>0</c:v>
                </c:pt>
                <c:pt idx="20443">
                  <c:v>0</c:v>
                </c:pt>
                <c:pt idx="20444">
                  <c:v>0</c:v>
                </c:pt>
                <c:pt idx="20445">
                  <c:v>0</c:v>
                </c:pt>
                <c:pt idx="20446">
                  <c:v>0</c:v>
                </c:pt>
                <c:pt idx="20447">
                  <c:v>0</c:v>
                </c:pt>
                <c:pt idx="20448">
                  <c:v>0</c:v>
                </c:pt>
                <c:pt idx="20449">
                  <c:v>0</c:v>
                </c:pt>
                <c:pt idx="20450">
                  <c:v>0</c:v>
                </c:pt>
                <c:pt idx="20451">
                  <c:v>0</c:v>
                </c:pt>
                <c:pt idx="20452">
                  <c:v>0</c:v>
                </c:pt>
                <c:pt idx="20453">
                  <c:v>0</c:v>
                </c:pt>
                <c:pt idx="20454">
                  <c:v>0</c:v>
                </c:pt>
                <c:pt idx="20455">
                  <c:v>0</c:v>
                </c:pt>
                <c:pt idx="20456">
                  <c:v>0</c:v>
                </c:pt>
                <c:pt idx="20457">
                  <c:v>0</c:v>
                </c:pt>
                <c:pt idx="20458">
                  <c:v>0</c:v>
                </c:pt>
                <c:pt idx="20459">
                  <c:v>0</c:v>
                </c:pt>
                <c:pt idx="20460">
                  <c:v>0</c:v>
                </c:pt>
                <c:pt idx="20461">
                  <c:v>0</c:v>
                </c:pt>
                <c:pt idx="20462">
                  <c:v>0</c:v>
                </c:pt>
                <c:pt idx="20463">
                  <c:v>0</c:v>
                </c:pt>
                <c:pt idx="20464">
                  <c:v>0</c:v>
                </c:pt>
                <c:pt idx="20465">
                  <c:v>0</c:v>
                </c:pt>
                <c:pt idx="20466">
                  <c:v>0</c:v>
                </c:pt>
                <c:pt idx="20467">
                  <c:v>9</c:v>
                </c:pt>
                <c:pt idx="20468">
                  <c:v>4</c:v>
                </c:pt>
                <c:pt idx="20469">
                  <c:v>7</c:v>
                </c:pt>
                <c:pt idx="20470">
                  <c:v>1</c:v>
                </c:pt>
                <c:pt idx="20471">
                  <c:v>6</c:v>
                </c:pt>
                <c:pt idx="20472">
                  <c:v>2</c:v>
                </c:pt>
                <c:pt idx="20473">
                  <c:v>0</c:v>
                </c:pt>
                <c:pt idx="20474">
                  <c:v>2</c:v>
                </c:pt>
                <c:pt idx="20475">
                  <c:v>0</c:v>
                </c:pt>
                <c:pt idx="20476">
                  <c:v>0</c:v>
                </c:pt>
                <c:pt idx="20477">
                  <c:v>0</c:v>
                </c:pt>
                <c:pt idx="20478">
                  <c:v>0</c:v>
                </c:pt>
                <c:pt idx="20479">
                  <c:v>0</c:v>
                </c:pt>
                <c:pt idx="20480">
                  <c:v>0</c:v>
                </c:pt>
                <c:pt idx="20481">
                  <c:v>0</c:v>
                </c:pt>
                <c:pt idx="20482">
                  <c:v>0</c:v>
                </c:pt>
                <c:pt idx="20483">
                  <c:v>0</c:v>
                </c:pt>
                <c:pt idx="20484">
                  <c:v>0</c:v>
                </c:pt>
                <c:pt idx="20485">
                  <c:v>0</c:v>
                </c:pt>
                <c:pt idx="20486">
                  <c:v>0</c:v>
                </c:pt>
                <c:pt idx="20487">
                  <c:v>0</c:v>
                </c:pt>
                <c:pt idx="20488">
                  <c:v>0</c:v>
                </c:pt>
                <c:pt idx="20489">
                  <c:v>0</c:v>
                </c:pt>
                <c:pt idx="20490">
                  <c:v>0</c:v>
                </c:pt>
                <c:pt idx="20491">
                  <c:v>0</c:v>
                </c:pt>
                <c:pt idx="20492">
                  <c:v>1</c:v>
                </c:pt>
                <c:pt idx="20493">
                  <c:v>0</c:v>
                </c:pt>
                <c:pt idx="20494">
                  <c:v>0</c:v>
                </c:pt>
                <c:pt idx="20495">
                  <c:v>0</c:v>
                </c:pt>
                <c:pt idx="20496">
                  <c:v>0</c:v>
                </c:pt>
                <c:pt idx="20497">
                  <c:v>0</c:v>
                </c:pt>
                <c:pt idx="20498">
                  <c:v>0</c:v>
                </c:pt>
                <c:pt idx="20499">
                  <c:v>0</c:v>
                </c:pt>
                <c:pt idx="20500">
                  <c:v>1</c:v>
                </c:pt>
                <c:pt idx="20501">
                  <c:v>1</c:v>
                </c:pt>
                <c:pt idx="20502">
                  <c:v>5</c:v>
                </c:pt>
                <c:pt idx="20503">
                  <c:v>0</c:v>
                </c:pt>
                <c:pt idx="20504">
                  <c:v>3</c:v>
                </c:pt>
                <c:pt idx="20505">
                  <c:v>3</c:v>
                </c:pt>
                <c:pt idx="20506">
                  <c:v>0</c:v>
                </c:pt>
                <c:pt idx="20507">
                  <c:v>0</c:v>
                </c:pt>
                <c:pt idx="20508">
                  <c:v>0</c:v>
                </c:pt>
                <c:pt idx="20509">
                  <c:v>0</c:v>
                </c:pt>
                <c:pt idx="20510">
                  <c:v>0</c:v>
                </c:pt>
                <c:pt idx="20511">
                  <c:v>0</c:v>
                </c:pt>
                <c:pt idx="20512">
                  <c:v>0</c:v>
                </c:pt>
                <c:pt idx="20513">
                  <c:v>1</c:v>
                </c:pt>
                <c:pt idx="20514">
                  <c:v>4</c:v>
                </c:pt>
                <c:pt idx="20515">
                  <c:v>0</c:v>
                </c:pt>
                <c:pt idx="20516">
                  <c:v>0</c:v>
                </c:pt>
                <c:pt idx="20517">
                  <c:v>1</c:v>
                </c:pt>
                <c:pt idx="20518">
                  <c:v>0</c:v>
                </c:pt>
                <c:pt idx="20519">
                  <c:v>0</c:v>
                </c:pt>
                <c:pt idx="20520">
                  <c:v>0</c:v>
                </c:pt>
                <c:pt idx="20521">
                  <c:v>0</c:v>
                </c:pt>
                <c:pt idx="20522">
                  <c:v>0</c:v>
                </c:pt>
                <c:pt idx="20523">
                  <c:v>0</c:v>
                </c:pt>
                <c:pt idx="20524">
                  <c:v>0</c:v>
                </c:pt>
                <c:pt idx="20525">
                  <c:v>0</c:v>
                </c:pt>
                <c:pt idx="20526">
                  <c:v>0</c:v>
                </c:pt>
                <c:pt idx="20527">
                  <c:v>0</c:v>
                </c:pt>
                <c:pt idx="20528">
                  <c:v>0</c:v>
                </c:pt>
                <c:pt idx="20529">
                  <c:v>0</c:v>
                </c:pt>
                <c:pt idx="20530">
                  <c:v>0</c:v>
                </c:pt>
                <c:pt idx="20531">
                  <c:v>0</c:v>
                </c:pt>
                <c:pt idx="20532">
                  <c:v>0</c:v>
                </c:pt>
                <c:pt idx="20533">
                  <c:v>0</c:v>
                </c:pt>
                <c:pt idx="20534">
                  <c:v>0</c:v>
                </c:pt>
                <c:pt idx="20535">
                  <c:v>0</c:v>
                </c:pt>
                <c:pt idx="20536">
                  <c:v>0</c:v>
                </c:pt>
                <c:pt idx="20537">
                  <c:v>0</c:v>
                </c:pt>
                <c:pt idx="20538">
                  <c:v>0</c:v>
                </c:pt>
                <c:pt idx="20539">
                  <c:v>0</c:v>
                </c:pt>
                <c:pt idx="20540">
                  <c:v>0</c:v>
                </c:pt>
                <c:pt idx="20541">
                  <c:v>0</c:v>
                </c:pt>
                <c:pt idx="20542">
                  <c:v>0</c:v>
                </c:pt>
                <c:pt idx="20543">
                  <c:v>0</c:v>
                </c:pt>
                <c:pt idx="20544">
                  <c:v>0</c:v>
                </c:pt>
                <c:pt idx="20545">
                  <c:v>2</c:v>
                </c:pt>
                <c:pt idx="20546">
                  <c:v>0</c:v>
                </c:pt>
                <c:pt idx="20547">
                  <c:v>1</c:v>
                </c:pt>
                <c:pt idx="20548">
                  <c:v>2</c:v>
                </c:pt>
                <c:pt idx="20549">
                  <c:v>1</c:v>
                </c:pt>
                <c:pt idx="20550">
                  <c:v>0</c:v>
                </c:pt>
                <c:pt idx="20551">
                  <c:v>1</c:v>
                </c:pt>
                <c:pt idx="20552">
                  <c:v>3</c:v>
                </c:pt>
                <c:pt idx="20553">
                  <c:v>3</c:v>
                </c:pt>
                <c:pt idx="20554">
                  <c:v>3</c:v>
                </c:pt>
                <c:pt idx="20555">
                  <c:v>2</c:v>
                </c:pt>
                <c:pt idx="20556">
                  <c:v>3</c:v>
                </c:pt>
                <c:pt idx="20557">
                  <c:v>1</c:v>
                </c:pt>
                <c:pt idx="20558">
                  <c:v>3</c:v>
                </c:pt>
                <c:pt idx="20559">
                  <c:v>4</c:v>
                </c:pt>
                <c:pt idx="20560">
                  <c:v>2</c:v>
                </c:pt>
                <c:pt idx="20561">
                  <c:v>6</c:v>
                </c:pt>
                <c:pt idx="20562">
                  <c:v>3</c:v>
                </c:pt>
                <c:pt idx="20563">
                  <c:v>1</c:v>
                </c:pt>
                <c:pt idx="20564">
                  <c:v>1</c:v>
                </c:pt>
                <c:pt idx="20565">
                  <c:v>2</c:v>
                </c:pt>
                <c:pt idx="20566">
                  <c:v>0</c:v>
                </c:pt>
                <c:pt idx="20567">
                  <c:v>3</c:v>
                </c:pt>
                <c:pt idx="20568">
                  <c:v>3</c:v>
                </c:pt>
                <c:pt idx="20569">
                  <c:v>0</c:v>
                </c:pt>
                <c:pt idx="20570">
                  <c:v>1</c:v>
                </c:pt>
                <c:pt idx="20571">
                  <c:v>0</c:v>
                </c:pt>
                <c:pt idx="20572">
                  <c:v>0</c:v>
                </c:pt>
                <c:pt idx="20573">
                  <c:v>0</c:v>
                </c:pt>
                <c:pt idx="20574">
                  <c:v>0</c:v>
                </c:pt>
                <c:pt idx="20575">
                  <c:v>0</c:v>
                </c:pt>
                <c:pt idx="20576">
                  <c:v>0</c:v>
                </c:pt>
                <c:pt idx="20577">
                  <c:v>0</c:v>
                </c:pt>
                <c:pt idx="20578">
                  <c:v>0</c:v>
                </c:pt>
                <c:pt idx="20579">
                  <c:v>0</c:v>
                </c:pt>
                <c:pt idx="20580">
                  <c:v>0</c:v>
                </c:pt>
                <c:pt idx="20581">
                  <c:v>0</c:v>
                </c:pt>
                <c:pt idx="20582">
                  <c:v>0</c:v>
                </c:pt>
                <c:pt idx="20583">
                  <c:v>0</c:v>
                </c:pt>
                <c:pt idx="20584">
                  <c:v>0</c:v>
                </c:pt>
                <c:pt idx="20585">
                  <c:v>0</c:v>
                </c:pt>
                <c:pt idx="20586">
                  <c:v>0</c:v>
                </c:pt>
                <c:pt idx="20587">
                  <c:v>0</c:v>
                </c:pt>
                <c:pt idx="20588">
                  <c:v>0</c:v>
                </c:pt>
                <c:pt idx="20589">
                  <c:v>0</c:v>
                </c:pt>
                <c:pt idx="20590">
                  <c:v>0</c:v>
                </c:pt>
                <c:pt idx="20591">
                  <c:v>0</c:v>
                </c:pt>
                <c:pt idx="20592">
                  <c:v>0</c:v>
                </c:pt>
                <c:pt idx="20593">
                  <c:v>0</c:v>
                </c:pt>
                <c:pt idx="20594">
                  <c:v>0</c:v>
                </c:pt>
                <c:pt idx="20595">
                  <c:v>0</c:v>
                </c:pt>
                <c:pt idx="20596">
                  <c:v>0</c:v>
                </c:pt>
                <c:pt idx="20597">
                  <c:v>0</c:v>
                </c:pt>
                <c:pt idx="20598">
                  <c:v>0</c:v>
                </c:pt>
                <c:pt idx="20599">
                  <c:v>0</c:v>
                </c:pt>
                <c:pt idx="20600">
                  <c:v>0</c:v>
                </c:pt>
                <c:pt idx="20601">
                  <c:v>2</c:v>
                </c:pt>
                <c:pt idx="20602">
                  <c:v>0</c:v>
                </c:pt>
                <c:pt idx="20603">
                  <c:v>0</c:v>
                </c:pt>
                <c:pt idx="20604">
                  <c:v>0</c:v>
                </c:pt>
                <c:pt idx="20605">
                  <c:v>5</c:v>
                </c:pt>
                <c:pt idx="20606">
                  <c:v>0</c:v>
                </c:pt>
                <c:pt idx="20607">
                  <c:v>0</c:v>
                </c:pt>
                <c:pt idx="20608">
                  <c:v>0</c:v>
                </c:pt>
                <c:pt idx="20609">
                  <c:v>0</c:v>
                </c:pt>
                <c:pt idx="20610">
                  <c:v>0</c:v>
                </c:pt>
                <c:pt idx="20611">
                  <c:v>0</c:v>
                </c:pt>
                <c:pt idx="20612">
                  <c:v>0</c:v>
                </c:pt>
                <c:pt idx="20613">
                  <c:v>0</c:v>
                </c:pt>
                <c:pt idx="20614">
                  <c:v>0</c:v>
                </c:pt>
                <c:pt idx="20615">
                  <c:v>0</c:v>
                </c:pt>
                <c:pt idx="20616">
                  <c:v>0</c:v>
                </c:pt>
                <c:pt idx="20617">
                  <c:v>0</c:v>
                </c:pt>
                <c:pt idx="20618">
                  <c:v>0</c:v>
                </c:pt>
                <c:pt idx="20619">
                  <c:v>0</c:v>
                </c:pt>
                <c:pt idx="20620">
                  <c:v>0</c:v>
                </c:pt>
                <c:pt idx="20621">
                  <c:v>0</c:v>
                </c:pt>
                <c:pt idx="20622">
                  <c:v>0</c:v>
                </c:pt>
                <c:pt idx="20623">
                  <c:v>0</c:v>
                </c:pt>
                <c:pt idx="20624">
                  <c:v>0</c:v>
                </c:pt>
                <c:pt idx="20625">
                  <c:v>0</c:v>
                </c:pt>
                <c:pt idx="20626">
                  <c:v>0</c:v>
                </c:pt>
                <c:pt idx="20627">
                  <c:v>0</c:v>
                </c:pt>
                <c:pt idx="20628">
                  <c:v>0</c:v>
                </c:pt>
                <c:pt idx="20629">
                  <c:v>0</c:v>
                </c:pt>
                <c:pt idx="20630">
                  <c:v>0</c:v>
                </c:pt>
                <c:pt idx="20631">
                  <c:v>0</c:v>
                </c:pt>
                <c:pt idx="20632">
                  <c:v>0</c:v>
                </c:pt>
                <c:pt idx="20633">
                  <c:v>0</c:v>
                </c:pt>
                <c:pt idx="20634">
                  <c:v>0</c:v>
                </c:pt>
                <c:pt idx="20635">
                  <c:v>0</c:v>
                </c:pt>
                <c:pt idx="20636">
                  <c:v>0</c:v>
                </c:pt>
                <c:pt idx="20637">
                  <c:v>0</c:v>
                </c:pt>
                <c:pt idx="20638">
                  <c:v>0</c:v>
                </c:pt>
                <c:pt idx="20639">
                  <c:v>0</c:v>
                </c:pt>
                <c:pt idx="20640">
                  <c:v>0</c:v>
                </c:pt>
                <c:pt idx="20641">
                  <c:v>0</c:v>
                </c:pt>
                <c:pt idx="20642">
                  <c:v>0</c:v>
                </c:pt>
                <c:pt idx="20643">
                  <c:v>0</c:v>
                </c:pt>
                <c:pt idx="20644">
                  <c:v>0</c:v>
                </c:pt>
                <c:pt idx="20645">
                  <c:v>2</c:v>
                </c:pt>
                <c:pt idx="20646">
                  <c:v>0</c:v>
                </c:pt>
                <c:pt idx="20647">
                  <c:v>1</c:v>
                </c:pt>
                <c:pt idx="20648">
                  <c:v>0</c:v>
                </c:pt>
                <c:pt idx="20649">
                  <c:v>1</c:v>
                </c:pt>
                <c:pt idx="20650">
                  <c:v>0</c:v>
                </c:pt>
                <c:pt idx="20651">
                  <c:v>0</c:v>
                </c:pt>
                <c:pt idx="20652">
                  <c:v>0</c:v>
                </c:pt>
                <c:pt idx="20653">
                  <c:v>0</c:v>
                </c:pt>
                <c:pt idx="20654">
                  <c:v>0</c:v>
                </c:pt>
                <c:pt idx="20655">
                  <c:v>0</c:v>
                </c:pt>
                <c:pt idx="20656">
                  <c:v>0</c:v>
                </c:pt>
                <c:pt idx="20657">
                  <c:v>0</c:v>
                </c:pt>
                <c:pt idx="20658">
                  <c:v>0</c:v>
                </c:pt>
                <c:pt idx="20659">
                  <c:v>0</c:v>
                </c:pt>
                <c:pt idx="20660">
                  <c:v>0</c:v>
                </c:pt>
                <c:pt idx="20661">
                  <c:v>0</c:v>
                </c:pt>
                <c:pt idx="20662">
                  <c:v>0</c:v>
                </c:pt>
                <c:pt idx="20663">
                  <c:v>0</c:v>
                </c:pt>
                <c:pt idx="20664">
                  <c:v>0</c:v>
                </c:pt>
                <c:pt idx="20665">
                  <c:v>0</c:v>
                </c:pt>
                <c:pt idx="20666">
                  <c:v>0</c:v>
                </c:pt>
                <c:pt idx="20667">
                  <c:v>0</c:v>
                </c:pt>
                <c:pt idx="20668">
                  <c:v>0</c:v>
                </c:pt>
                <c:pt idx="20669">
                  <c:v>0</c:v>
                </c:pt>
                <c:pt idx="20670">
                  <c:v>0</c:v>
                </c:pt>
                <c:pt idx="20671">
                  <c:v>0</c:v>
                </c:pt>
                <c:pt idx="20672">
                  <c:v>0</c:v>
                </c:pt>
                <c:pt idx="20673">
                  <c:v>0</c:v>
                </c:pt>
                <c:pt idx="20674">
                  <c:v>0</c:v>
                </c:pt>
                <c:pt idx="20675">
                  <c:v>0</c:v>
                </c:pt>
                <c:pt idx="20676">
                  <c:v>0</c:v>
                </c:pt>
                <c:pt idx="20677">
                  <c:v>0</c:v>
                </c:pt>
                <c:pt idx="20678">
                  <c:v>0</c:v>
                </c:pt>
                <c:pt idx="20679">
                  <c:v>0</c:v>
                </c:pt>
                <c:pt idx="20680">
                  <c:v>0</c:v>
                </c:pt>
                <c:pt idx="20681">
                  <c:v>0</c:v>
                </c:pt>
                <c:pt idx="20682">
                  <c:v>0</c:v>
                </c:pt>
                <c:pt idx="20683">
                  <c:v>0</c:v>
                </c:pt>
                <c:pt idx="20684">
                  <c:v>0</c:v>
                </c:pt>
                <c:pt idx="20685">
                  <c:v>0</c:v>
                </c:pt>
                <c:pt idx="20686">
                  <c:v>0</c:v>
                </c:pt>
                <c:pt idx="20687">
                  <c:v>0</c:v>
                </c:pt>
                <c:pt idx="20688">
                  <c:v>1</c:v>
                </c:pt>
                <c:pt idx="20689">
                  <c:v>0</c:v>
                </c:pt>
                <c:pt idx="20690">
                  <c:v>0</c:v>
                </c:pt>
                <c:pt idx="20691">
                  <c:v>0</c:v>
                </c:pt>
                <c:pt idx="20692">
                  <c:v>0</c:v>
                </c:pt>
                <c:pt idx="20693">
                  <c:v>0</c:v>
                </c:pt>
                <c:pt idx="20694">
                  <c:v>0</c:v>
                </c:pt>
                <c:pt idx="20695">
                  <c:v>0</c:v>
                </c:pt>
                <c:pt idx="20696">
                  <c:v>0</c:v>
                </c:pt>
                <c:pt idx="20697">
                  <c:v>0</c:v>
                </c:pt>
                <c:pt idx="20698">
                  <c:v>0</c:v>
                </c:pt>
                <c:pt idx="20699">
                  <c:v>0</c:v>
                </c:pt>
                <c:pt idx="20700">
                  <c:v>0</c:v>
                </c:pt>
                <c:pt idx="20701">
                  <c:v>0</c:v>
                </c:pt>
                <c:pt idx="20702">
                  <c:v>3</c:v>
                </c:pt>
                <c:pt idx="20703">
                  <c:v>0</c:v>
                </c:pt>
                <c:pt idx="20704">
                  <c:v>0</c:v>
                </c:pt>
                <c:pt idx="20705">
                  <c:v>0</c:v>
                </c:pt>
                <c:pt idx="20706">
                  <c:v>0</c:v>
                </c:pt>
                <c:pt idx="20707">
                  <c:v>0</c:v>
                </c:pt>
                <c:pt idx="20708">
                  <c:v>0</c:v>
                </c:pt>
                <c:pt idx="20709">
                  <c:v>0</c:v>
                </c:pt>
                <c:pt idx="20710">
                  <c:v>0</c:v>
                </c:pt>
                <c:pt idx="20711">
                  <c:v>0</c:v>
                </c:pt>
                <c:pt idx="20712">
                  <c:v>0</c:v>
                </c:pt>
                <c:pt idx="20713">
                  <c:v>0</c:v>
                </c:pt>
                <c:pt idx="20714">
                  <c:v>0</c:v>
                </c:pt>
                <c:pt idx="20715">
                  <c:v>0</c:v>
                </c:pt>
                <c:pt idx="20716">
                  <c:v>0</c:v>
                </c:pt>
                <c:pt idx="20717">
                  <c:v>0</c:v>
                </c:pt>
                <c:pt idx="20718">
                  <c:v>0</c:v>
                </c:pt>
                <c:pt idx="20719">
                  <c:v>0</c:v>
                </c:pt>
                <c:pt idx="20720">
                  <c:v>0</c:v>
                </c:pt>
                <c:pt idx="20721">
                  <c:v>0</c:v>
                </c:pt>
                <c:pt idx="20722">
                  <c:v>0</c:v>
                </c:pt>
                <c:pt idx="20723">
                  <c:v>0</c:v>
                </c:pt>
                <c:pt idx="20724">
                  <c:v>0</c:v>
                </c:pt>
                <c:pt idx="20725">
                  <c:v>0</c:v>
                </c:pt>
                <c:pt idx="20726">
                  <c:v>0</c:v>
                </c:pt>
                <c:pt idx="20727">
                  <c:v>0</c:v>
                </c:pt>
                <c:pt idx="20728">
                  <c:v>0</c:v>
                </c:pt>
                <c:pt idx="20729">
                  <c:v>0</c:v>
                </c:pt>
                <c:pt idx="20730">
                  <c:v>0</c:v>
                </c:pt>
                <c:pt idx="20731">
                  <c:v>0</c:v>
                </c:pt>
                <c:pt idx="20732">
                  <c:v>0</c:v>
                </c:pt>
                <c:pt idx="20733">
                  <c:v>0</c:v>
                </c:pt>
                <c:pt idx="20734">
                  <c:v>0</c:v>
                </c:pt>
                <c:pt idx="20735">
                  <c:v>0</c:v>
                </c:pt>
                <c:pt idx="20736">
                  <c:v>0</c:v>
                </c:pt>
                <c:pt idx="20737">
                  <c:v>0</c:v>
                </c:pt>
                <c:pt idx="20738">
                  <c:v>0</c:v>
                </c:pt>
                <c:pt idx="20739">
                  <c:v>0</c:v>
                </c:pt>
                <c:pt idx="20740">
                  <c:v>0</c:v>
                </c:pt>
                <c:pt idx="20741">
                  <c:v>0</c:v>
                </c:pt>
                <c:pt idx="20742">
                  <c:v>0</c:v>
                </c:pt>
                <c:pt idx="20743">
                  <c:v>0</c:v>
                </c:pt>
                <c:pt idx="20744">
                  <c:v>0</c:v>
                </c:pt>
                <c:pt idx="20745">
                  <c:v>0</c:v>
                </c:pt>
                <c:pt idx="20746">
                  <c:v>0</c:v>
                </c:pt>
                <c:pt idx="20747">
                  <c:v>0</c:v>
                </c:pt>
                <c:pt idx="20748">
                  <c:v>0</c:v>
                </c:pt>
                <c:pt idx="20749">
                  <c:v>0</c:v>
                </c:pt>
                <c:pt idx="20750">
                  <c:v>0</c:v>
                </c:pt>
                <c:pt idx="20751">
                  <c:v>0</c:v>
                </c:pt>
                <c:pt idx="20752">
                  <c:v>0</c:v>
                </c:pt>
                <c:pt idx="20753">
                  <c:v>0</c:v>
                </c:pt>
                <c:pt idx="20754">
                  <c:v>0</c:v>
                </c:pt>
                <c:pt idx="20755">
                  <c:v>0</c:v>
                </c:pt>
                <c:pt idx="20756">
                  <c:v>0</c:v>
                </c:pt>
                <c:pt idx="20757">
                  <c:v>0</c:v>
                </c:pt>
                <c:pt idx="20758">
                  <c:v>0</c:v>
                </c:pt>
                <c:pt idx="20759">
                  <c:v>0</c:v>
                </c:pt>
                <c:pt idx="20760">
                  <c:v>0</c:v>
                </c:pt>
                <c:pt idx="20761">
                  <c:v>0</c:v>
                </c:pt>
                <c:pt idx="20762">
                  <c:v>0</c:v>
                </c:pt>
                <c:pt idx="20763">
                  <c:v>0</c:v>
                </c:pt>
                <c:pt idx="20764">
                  <c:v>0</c:v>
                </c:pt>
                <c:pt idx="20765">
                  <c:v>0</c:v>
                </c:pt>
                <c:pt idx="20766">
                  <c:v>1</c:v>
                </c:pt>
                <c:pt idx="20767">
                  <c:v>0</c:v>
                </c:pt>
                <c:pt idx="20768">
                  <c:v>0</c:v>
                </c:pt>
                <c:pt idx="20769">
                  <c:v>0</c:v>
                </c:pt>
                <c:pt idx="20770">
                  <c:v>0</c:v>
                </c:pt>
                <c:pt idx="20771">
                  <c:v>0</c:v>
                </c:pt>
                <c:pt idx="20772">
                  <c:v>0</c:v>
                </c:pt>
                <c:pt idx="20773">
                  <c:v>0</c:v>
                </c:pt>
                <c:pt idx="20774">
                  <c:v>0</c:v>
                </c:pt>
                <c:pt idx="20775">
                  <c:v>0</c:v>
                </c:pt>
                <c:pt idx="20776">
                  <c:v>0</c:v>
                </c:pt>
                <c:pt idx="20777">
                  <c:v>0</c:v>
                </c:pt>
                <c:pt idx="20778">
                  <c:v>0</c:v>
                </c:pt>
                <c:pt idx="20779">
                  <c:v>0</c:v>
                </c:pt>
                <c:pt idx="20780">
                  <c:v>0</c:v>
                </c:pt>
                <c:pt idx="20781">
                  <c:v>0</c:v>
                </c:pt>
                <c:pt idx="20782">
                  <c:v>0</c:v>
                </c:pt>
                <c:pt idx="20783">
                  <c:v>0</c:v>
                </c:pt>
                <c:pt idx="20784">
                  <c:v>0</c:v>
                </c:pt>
                <c:pt idx="20785">
                  <c:v>0</c:v>
                </c:pt>
                <c:pt idx="20786">
                  <c:v>0</c:v>
                </c:pt>
                <c:pt idx="20787">
                  <c:v>0</c:v>
                </c:pt>
                <c:pt idx="20788">
                  <c:v>0</c:v>
                </c:pt>
                <c:pt idx="20789">
                  <c:v>2</c:v>
                </c:pt>
                <c:pt idx="20790">
                  <c:v>0</c:v>
                </c:pt>
                <c:pt idx="20791">
                  <c:v>0</c:v>
                </c:pt>
                <c:pt idx="20792">
                  <c:v>0</c:v>
                </c:pt>
                <c:pt idx="20793">
                  <c:v>0</c:v>
                </c:pt>
                <c:pt idx="20794">
                  <c:v>0</c:v>
                </c:pt>
                <c:pt idx="20795">
                  <c:v>0</c:v>
                </c:pt>
                <c:pt idx="20796">
                  <c:v>0</c:v>
                </c:pt>
                <c:pt idx="20797">
                  <c:v>0</c:v>
                </c:pt>
                <c:pt idx="20798">
                  <c:v>0</c:v>
                </c:pt>
                <c:pt idx="20799">
                  <c:v>0</c:v>
                </c:pt>
                <c:pt idx="20800">
                  <c:v>0</c:v>
                </c:pt>
                <c:pt idx="20801">
                  <c:v>0</c:v>
                </c:pt>
                <c:pt idx="20802">
                  <c:v>0</c:v>
                </c:pt>
                <c:pt idx="20803">
                  <c:v>0</c:v>
                </c:pt>
                <c:pt idx="20804">
                  <c:v>0</c:v>
                </c:pt>
                <c:pt idx="20805">
                  <c:v>0</c:v>
                </c:pt>
                <c:pt idx="20806">
                  <c:v>0</c:v>
                </c:pt>
                <c:pt idx="20807">
                  <c:v>0</c:v>
                </c:pt>
                <c:pt idx="20808">
                  <c:v>0</c:v>
                </c:pt>
                <c:pt idx="20809">
                  <c:v>0</c:v>
                </c:pt>
                <c:pt idx="20810">
                  <c:v>0</c:v>
                </c:pt>
                <c:pt idx="20811">
                  <c:v>0</c:v>
                </c:pt>
                <c:pt idx="20812">
                  <c:v>0</c:v>
                </c:pt>
                <c:pt idx="20813">
                  <c:v>0</c:v>
                </c:pt>
                <c:pt idx="20814">
                  <c:v>0</c:v>
                </c:pt>
                <c:pt idx="20815">
                  <c:v>0</c:v>
                </c:pt>
                <c:pt idx="20816">
                  <c:v>0</c:v>
                </c:pt>
                <c:pt idx="20817">
                  <c:v>0</c:v>
                </c:pt>
                <c:pt idx="20818">
                  <c:v>0</c:v>
                </c:pt>
                <c:pt idx="20819">
                  <c:v>0</c:v>
                </c:pt>
                <c:pt idx="20820">
                  <c:v>0</c:v>
                </c:pt>
                <c:pt idx="20821">
                  <c:v>0</c:v>
                </c:pt>
                <c:pt idx="20822">
                  <c:v>0</c:v>
                </c:pt>
                <c:pt idx="20823">
                  <c:v>0</c:v>
                </c:pt>
                <c:pt idx="20824">
                  <c:v>0</c:v>
                </c:pt>
                <c:pt idx="20825">
                  <c:v>0</c:v>
                </c:pt>
                <c:pt idx="20826">
                  <c:v>0</c:v>
                </c:pt>
                <c:pt idx="20827">
                  <c:v>0</c:v>
                </c:pt>
                <c:pt idx="20828">
                  <c:v>0</c:v>
                </c:pt>
                <c:pt idx="20829">
                  <c:v>0</c:v>
                </c:pt>
                <c:pt idx="20830">
                  <c:v>0</c:v>
                </c:pt>
                <c:pt idx="20831">
                  <c:v>0</c:v>
                </c:pt>
                <c:pt idx="20832">
                  <c:v>0</c:v>
                </c:pt>
                <c:pt idx="20833">
                  <c:v>0</c:v>
                </c:pt>
                <c:pt idx="20834">
                  <c:v>0</c:v>
                </c:pt>
                <c:pt idx="20835">
                  <c:v>0</c:v>
                </c:pt>
                <c:pt idx="20836">
                  <c:v>0</c:v>
                </c:pt>
                <c:pt idx="20837">
                  <c:v>0</c:v>
                </c:pt>
                <c:pt idx="20838">
                  <c:v>0</c:v>
                </c:pt>
                <c:pt idx="20839">
                  <c:v>0</c:v>
                </c:pt>
                <c:pt idx="20840">
                  <c:v>0</c:v>
                </c:pt>
                <c:pt idx="20841">
                  <c:v>0</c:v>
                </c:pt>
                <c:pt idx="20842">
                  <c:v>0</c:v>
                </c:pt>
                <c:pt idx="20843">
                  <c:v>0</c:v>
                </c:pt>
                <c:pt idx="20844">
                  <c:v>0</c:v>
                </c:pt>
                <c:pt idx="20845">
                  <c:v>0</c:v>
                </c:pt>
                <c:pt idx="20846">
                  <c:v>0</c:v>
                </c:pt>
                <c:pt idx="20847">
                  <c:v>0</c:v>
                </c:pt>
                <c:pt idx="20848">
                  <c:v>0</c:v>
                </c:pt>
                <c:pt idx="20849">
                  <c:v>0</c:v>
                </c:pt>
                <c:pt idx="20850">
                  <c:v>0</c:v>
                </c:pt>
                <c:pt idx="20851">
                  <c:v>1</c:v>
                </c:pt>
                <c:pt idx="20852">
                  <c:v>0</c:v>
                </c:pt>
                <c:pt idx="20853">
                  <c:v>0</c:v>
                </c:pt>
                <c:pt idx="20854">
                  <c:v>5</c:v>
                </c:pt>
                <c:pt idx="20855">
                  <c:v>3</c:v>
                </c:pt>
                <c:pt idx="20856">
                  <c:v>2</c:v>
                </c:pt>
                <c:pt idx="20857">
                  <c:v>1</c:v>
                </c:pt>
                <c:pt idx="20858">
                  <c:v>1</c:v>
                </c:pt>
                <c:pt idx="20859">
                  <c:v>0</c:v>
                </c:pt>
                <c:pt idx="20860">
                  <c:v>3</c:v>
                </c:pt>
                <c:pt idx="20861">
                  <c:v>2</c:v>
                </c:pt>
                <c:pt idx="20862">
                  <c:v>0</c:v>
                </c:pt>
                <c:pt idx="20863">
                  <c:v>0</c:v>
                </c:pt>
                <c:pt idx="20864">
                  <c:v>1</c:v>
                </c:pt>
                <c:pt idx="20865">
                  <c:v>1</c:v>
                </c:pt>
                <c:pt idx="20866">
                  <c:v>0</c:v>
                </c:pt>
                <c:pt idx="20867">
                  <c:v>0</c:v>
                </c:pt>
                <c:pt idx="20868">
                  <c:v>1</c:v>
                </c:pt>
                <c:pt idx="20869">
                  <c:v>0</c:v>
                </c:pt>
                <c:pt idx="20870">
                  <c:v>2</c:v>
                </c:pt>
                <c:pt idx="20871">
                  <c:v>0</c:v>
                </c:pt>
                <c:pt idx="20872">
                  <c:v>0</c:v>
                </c:pt>
                <c:pt idx="20873">
                  <c:v>1</c:v>
                </c:pt>
                <c:pt idx="20874">
                  <c:v>0</c:v>
                </c:pt>
                <c:pt idx="20875">
                  <c:v>0</c:v>
                </c:pt>
                <c:pt idx="20876">
                  <c:v>0</c:v>
                </c:pt>
                <c:pt idx="20877">
                  <c:v>0</c:v>
                </c:pt>
                <c:pt idx="20878">
                  <c:v>0</c:v>
                </c:pt>
                <c:pt idx="20879">
                  <c:v>0</c:v>
                </c:pt>
                <c:pt idx="20880">
                  <c:v>0</c:v>
                </c:pt>
                <c:pt idx="20881">
                  <c:v>0</c:v>
                </c:pt>
                <c:pt idx="20882">
                  <c:v>0</c:v>
                </c:pt>
                <c:pt idx="20883">
                  <c:v>0</c:v>
                </c:pt>
                <c:pt idx="20884">
                  <c:v>0</c:v>
                </c:pt>
                <c:pt idx="20885">
                  <c:v>0</c:v>
                </c:pt>
                <c:pt idx="20886">
                  <c:v>0</c:v>
                </c:pt>
                <c:pt idx="20887">
                  <c:v>0</c:v>
                </c:pt>
                <c:pt idx="20888">
                  <c:v>0</c:v>
                </c:pt>
                <c:pt idx="20889">
                  <c:v>0</c:v>
                </c:pt>
                <c:pt idx="20890">
                  <c:v>0</c:v>
                </c:pt>
                <c:pt idx="20891">
                  <c:v>0</c:v>
                </c:pt>
                <c:pt idx="20892">
                  <c:v>0</c:v>
                </c:pt>
                <c:pt idx="20893">
                  <c:v>0</c:v>
                </c:pt>
                <c:pt idx="20894">
                  <c:v>0</c:v>
                </c:pt>
                <c:pt idx="20895">
                  <c:v>0</c:v>
                </c:pt>
                <c:pt idx="20896">
                  <c:v>0</c:v>
                </c:pt>
                <c:pt idx="20897">
                  <c:v>0</c:v>
                </c:pt>
                <c:pt idx="20898">
                  <c:v>0</c:v>
                </c:pt>
                <c:pt idx="20899">
                  <c:v>0</c:v>
                </c:pt>
                <c:pt idx="20900">
                  <c:v>5</c:v>
                </c:pt>
                <c:pt idx="20901">
                  <c:v>0</c:v>
                </c:pt>
                <c:pt idx="20902">
                  <c:v>0</c:v>
                </c:pt>
                <c:pt idx="20903">
                  <c:v>0</c:v>
                </c:pt>
                <c:pt idx="20904">
                  <c:v>0</c:v>
                </c:pt>
                <c:pt idx="20905">
                  <c:v>0</c:v>
                </c:pt>
                <c:pt idx="20906">
                  <c:v>0</c:v>
                </c:pt>
                <c:pt idx="20907">
                  <c:v>0</c:v>
                </c:pt>
                <c:pt idx="20908">
                  <c:v>0</c:v>
                </c:pt>
                <c:pt idx="20909">
                  <c:v>0</c:v>
                </c:pt>
                <c:pt idx="20910">
                  <c:v>0</c:v>
                </c:pt>
                <c:pt idx="20911">
                  <c:v>0</c:v>
                </c:pt>
                <c:pt idx="20912">
                  <c:v>0</c:v>
                </c:pt>
                <c:pt idx="20913">
                  <c:v>0</c:v>
                </c:pt>
                <c:pt idx="20914">
                  <c:v>0</c:v>
                </c:pt>
                <c:pt idx="20915">
                  <c:v>0</c:v>
                </c:pt>
                <c:pt idx="20916">
                  <c:v>0</c:v>
                </c:pt>
                <c:pt idx="20917">
                  <c:v>0</c:v>
                </c:pt>
                <c:pt idx="20918">
                  <c:v>0</c:v>
                </c:pt>
                <c:pt idx="20919">
                  <c:v>0</c:v>
                </c:pt>
                <c:pt idx="20920">
                  <c:v>0</c:v>
                </c:pt>
                <c:pt idx="20921">
                  <c:v>0</c:v>
                </c:pt>
                <c:pt idx="20922">
                  <c:v>0</c:v>
                </c:pt>
                <c:pt idx="20923">
                  <c:v>0</c:v>
                </c:pt>
                <c:pt idx="20924">
                  <c:v>0</c:v>
                </c:pt>
                <c:pt idx="20925">
                  <c:v>0</c:v>
                </c:pt>
                <c:pt idx="20926">
                  <c:v>0</c:v>
                </c:pt>
                <c:pt idx="20927">
                  <c:v>0</c:v>
                </c:pt>
                <c:pt idx="20928">
                  <c:v>0</c:v>
                </c:pt>
                <c:pt idx="20929">
                  <c:v>0</c:v>
                </c:pt>
                <c:pt idx="20930">
                  <c:v>0</c:v>
                </c:pt>
                <c:pt idx="20931">
                  <c:v>0</c:v>
                </c:pt>
                <c:pt idx="20932">
                  <c:v>0</c:v>
                </c:pt>
                <c:pt idx="20933">
                  <c:v>0</c:v>
                </c:pt>
                <c:pt idx="20934">
                  <c:v>0</c:v>
                </c:pt>
                <c:pt idx="20935">
                  <c:v>0</c:v>
                </c:pt>
                <c:pt idx="20936">
                  <c:v>0</c:v>
                </c:pt>
                <c:pt idx="20937">
                  <c:v>0</c:v>
                </c:pt>
                <c:pt idx="20938">
                  <c:v>0</c:v>
                </c:pt>
                <c:pt idx="20939">
                  <c:v>0</c:v>
                </c:pt>
                <c:pt idx="20940">
                  <c:v>0</c:v>
                </c:pt>
                <c:pt idx="20941">
                  <c:v>0</c:v>
                </c:pt>
                <c:pt idx="20942">
                  <c:v>0</c:v>
                </c:pt>
                <c:pt idx="20943">
                  <c:v>0</c:v>
                </c:pt>
                <c:pt idx="20944">
                  <c:v>0</c:v>
                </c:pt>
                <c:pt idx="20945">
                  <c:v>0</c:v>
                </c:pt>
                <c:pt idx="20946">
                  <c:v>0</c:v>
                </c:pt>
                <c:pt idx="20947">
                  <c:v>0</c:v>
                </c:pt>
                <c:pt idx="20948">
                  <c:v>0</c:v>
                </c:pt>
                <c:pt idx="20949">
                  <c:v>0</c:v>
                </c:pt>
                <c:pt idx="20950">
                  <c:v>0</c:v>
                </c:pt>
                <c:pt idx="20951">
                  <c:v>0</c:v>
                </c:pt>
                <c:pt idx="20952">
                  <c:v>0</c:v>
                </c:pt>
                <c:pt idx="20953">
                  <c:v>1</c:v>
                </c:pt>
                <c:pt idx="20954">
                  <c:v>2</c:v>
                </c:pt>
                <c:pt idx="20955">
                  <c:v>0</c:v>
                </c:pt>
                <c:pt idx="20956">
                  <c:v>0</c:v>
                </c:pt>
                <c:pt idx="20957">
                  <c:v>0</c:v>
                </c:pt>
                <c:pt idx="20958">
                  <c:v>0</c:v>
                </c:pt>
                <c:pt idx="20959">
                  <c:v>0</c:v>
                </c:pt>
                <c:pt idx="20960">
                  <c:v>0</c:v>
                </c:pt>
                <c:pt idx="20961">
                  <c:v>0</c:v>
                </c:pt>
                <c:pt idx="20962">
                  <c:v>0</c:v>
                </c:pt>
                <c:pt idx="20963">
                  <c:v>0</c:v>
                </c:pt>
                <c:pt idx="20964">
                  <c:v>0</c:v>
                </c:pt>
                <c:pt idx="20965">
                  <c:v>0</c:v>
                </c:pt>
                <c:pt idx="20966">
                  <c:v>0</c:v>
                </c:pt>
                <c:pt idx="20967">
                  <c:v>0</c:v>
                </c:pt>
                <c:pt idx="20968">
                  <c:v>0</c:v>
                </c:pt>
                <c:pt idx="20969">
                  <c:v>0</c:v>
                </c:pt>
                <c:pt idx="20970">
                  <c:v>1</c:v>
                </c:pt>
                <c:pt idx="20971">
                  <c:v>0</c:v>
                </c:pt>
                <c:pt idx="20972">
                  <c:v>0</c:v>
                </c:pt>
                <c:pt idx="20973">
                  <c:v>0</c:v>
                </c:pt>
                <c:pt idx="20974">
                  <c:v>0</c:v>
                </c:pt>
                <c:pt idx="20975">
                  <c:v>0</c:v>
                </c:pt>
                <c:pt idx="20976">
                  <c:v>0</c:v>
                </c:pt>
                <c:pt idx="20977">
                  <c:v>0</c:v>
                </c:pt>
                <c:pt idx="20978">
                  <c:v>0</c:v>
                </c:pt>
                <c:pt idx="20979">
                  <c:v>0</c:v>
                </c:pt>
                <c:pt idx="20980">
                  <c:v>0</c:v>
                </c:pt>
                <c:pt idx="20981">
                  <c:v>0</c:v>
                </c:pt>
                <c:pt idx="20982">
                  <c:v>0</c:v>
                </c:pt>
                <c:pt idx="20983">
                  <c:v>0</c:v>
                </c:pt>
                <c:pt idx="20984">
                  <c:v>0</c:v>
                </c:pt>
                <c:pt idx="20985">
                  <c:v>0</c:v>
                </c:pt>
                <c:pt idx="20986">
                  <c:v>0</c:v>
                </c:pt>
                <c:pt idx="20987">
                  <c:v>0</c:v>
                </c:pt>
                <c:pt idx="20988">
                  <c:v>0</c:v>
                </c:pt>
                <c:pt idx="20989">
                  <c:v>0</c:v>
                </c:pt>
                <c:pt idx="20990">
                  <c:v>0</c:v>
                </c:pt>
                <c:pt idx="20991">
                  <c:v>0</c:v>
                </c:pt>
                <c:pt idx="20992">
                  <c:v>0</c:v>
                </c:pt>
                <c:pt idx="20993">
                  <c:v>0</c:v>
                </c:pt>
                <c:pt idx="20994">
                  <c:v>0</c:v>
                </c:pt>
                <c:pt idx="20995">
                  <c:v>0</c:v>
                </c:pt>
                <c:pt idx="20996">
                  <c:v>0</c:v>
                </c:pt>
                <c:pt idx="20997">
                  <c:v>0</c:v>
                </c:pt>
                <c:pt idx="20998">
                  <c:v>0</c:v>
                </c:pt>
                <c:pt idx="20999">
                  <c:v>0</c:v>
                </c:pt>
                <c:pt idx="21000">
                  <c:v>4</c:v>
                </c:pt>
                <c:pt idx="21001">
                  <c:v>0</c:v>
                </c:pt>
                <c:pt idx="21002">
                  <c:v>0</c:v>
                </c:pt>
                <c:pt idx="21003">
                  <c:v>0</c:v>
                </c:pt>
                <c:pt idx="21004">
                  <c:v>0</c:v>
                </c:pt>
                <c:pt idx="21005">
                  <c:v>0</c:v>
                </c:pt>
                <c:pt idx="21006">
                  <c:v>0</c:v>
                </c:pt>
                <c:pt idx="21007">
                  <c:v>0</c:v>
                </c:pt>
                <c:pt idx="21008">
                  <c:v>0</c:v>
                </c:pt>
                <c:pt idx="21009">
                  <c:v>0</c:v>
                </c:pt>
                <c:pt idx="21010">
                  <c:v>0</c:v>
                </c:pt>
                <c:pt idx="21011">
                  <c:v>0</c:v>
                </c:pt>
                <c:pt idx="21012">
                  <c:v>0</c:v>
                </c:pt>
                <c:pt idx="21013">
                  <c:v>0</c:v>
                </c:pt>
                <c:pt idx="21014">
                  <c:v>0</c:v>
                </c:pt>
                <c:pt idx="21015">
                  <c:v>0</c:v>
                </c:pt>
                <c:pt idx="21016">
                  <c:v>0</c:v>
                </c:pt>
                <c:pt idx="21017">
                  <c:v>0</c:v>
                </c:pt>
                <c:pt idx="21018">
                  <c:v>0</c:v>
                </c:pt>
                <c:pt idx="21019">
                  <c:v>0</c:v>
                </c:pt>
                <c:pt idx="21020">
                  <c:v>0</c:v>
                </c:pt>
                <c:pt idx="21021">
                  <c:v>0</c:v>
                </c:pt>
                <c:pt idx="21022">
                  <c:v>0</c:v>
                </c:pt>
                <c:pt idx="21023">
                  <c:v>0</c:v>
                </c:pt>
                <c:pt idx="21024">
                  <c:v>0</c:v>
                </c:pt>
                <c:pt idx="21025">
                  <c:v>0</c:v>
                </c:pt>
                <c:pt idx="21026">
                  <c:v>0</c:v>
                </c:pt>
                <c:pt idx="21027">
                  <c:v>0</c:v>
                </c:pt>
                <c:pt idx="21028">
                  <c:v>0</c:v>
                </c:pt>
                <c:pt idx="21029">
                  <c:v>0</c:v>
                </c:pt>
                <c:pt idx="21030">
                  <c:v>0</c:v>
                </c:pt>
                <c:pt idx="21031">
                  <c:v>0</c:v>
                </c:pt>
                <c:pt idx="21032">
                  <c:v>0</c:v>
                </c:pt>
                <c:pt idx="21033">
                  <c:v>2</c:v>
                </c:pt>
                <c:pt idx="21034">
                  <c:v>0</c:v>
                </c:pt>
                <c:pt idx="21035">
                  <c:v>0</c:v>
                </c:pt>
                <c:pt idx="21036">
                  <c:v>0</c:v>
                </c:pt>
                <c:pt idx="21037">
                  <c:v>0</c:v>
                </c:pt>
                <c:pt idx="21038">
                  <c:v>0</c:v>
                </c:pt>
                <c:pt idx="21039">
                  <c:v>0</c:v>
                </c:pt>
                <c:pt idx="21040">
                  <c:v>0</c:v>
                </c:pt>
                <c:pt idx="21041">
                  <c:v>0</c:v>
                </c:pt>
                <c:pt idx="21042">
                  <c:v>0</c:v>
                </c:pt>
                <c:pt idx="21043">
                  <c:v>0</c:v>
                </c:pt>
                <c:pt idx="21044">
                  <c:v>0</c:v>
                </c:pt>
                <c:pt idx="21045">
                  <c:v>0</c:v>
                </c:pt>
                <c:pt idx="21046">
                  <c:v>0</c:v>
                </c:pt>
                <c:pt idx="21047">
                  <c:v>0</c:v>
                </c:pt>
                <c:pt idx="21048">
                  <c:v>0</c:v>
                </c:pt>
                <c:pt idx="21049">
                  <c:v>0</c:v>
                </c:pt>
                <c:pt idx="21050">
                  <c:v>0</c:v>
                </c:pt>
                <c:pt idx="21051">
                  <c:v>0</c:v>
                </c:pt>
                <c:pt idx="21052">
                  <c:v>0</c:v>
                </c:pt>
                <c:pt idx="21053">
                  <c:v>0</c:v>
                </c:pt>
                <c:pt idx="21054">
                  <c:v>0</c:v>
                </c:pt>
                <c:pt idx="21055">
                  <c:v>0</c:v>
                </c:pt>
                <c:pt idx="21056">
                  <c:v>0</c:v>
                </c:pt>
                <c:pt idx="21057">
                  <c:v>0</c:v>
                </c:pt>
                <c:pt idx="21058">
                  <c:v>0</c:v>
                </c:pt>
                <c:pt idx="21059">
                  <c:v>0</c:v>
                </c:pt>
                <c:pt idx="21060">
                  <c:v>0</c:v>
                </c:pt>
                <c:pt idx="21061">
                  <c:v>0</c:v>
                </c:pt>
                <c:pt idx="21062">
                  <c:v>0</c:v>
                </c:pt>
                <c:pt idx="21063">
                  <c:v>0</c:v>
                </c:pt>
                <c:pt idx="21064">
                  <c:v>0</c:v>
                </c:pt>
                <c:pt idx="21065">
                  <c:v>0</c:v>
                </c:pt>
                <c:pt idx="21066">
                  <c:v>0</c:v>
                </c:pt>
                <c:pt idx="21067">
                  <c:v>0</c:v>
                </c:pt>
                <c:pt idx="21068">
                  <c:v>1</c:v>
                </c:pt>
                <c:pt idx="21069">
                  <c:v>0</c:v>
                </c:pt>
                <c:pt idx="21070">
                  <c:v>0</c:v>
                </c:pt>
                <c:pt idx="21071">
                  <c:v>0</c:v>
                </c:pt>
                <c:pt idx="21072">
                  <c:v>0</c:v>
                </c:pt>
                <c:pt idx="21073">
                  <c:v>0</c:v>
                </c:pt>
                <c:pt idx="21074">
                  <c:v>0</c:v>
                </c:pt>
                <c:pt idx="21075">
                  <c:v>0</c:v>
                </c:pt>
                <c:pt idx="21076">
                  <c:v>0</c:v>
                </c:pt>
                <c:pt idx="21077">
                  <c:v>0</c:v>
                </c:pt>
                <c:pt idx="21078">
                  <c:v>0</c:v>
                </c:pt>
                <c:pt idx="21079">
                  <c:v>0</c:v>
                </c:pt>
                <c:pt idx="21080">
                  <c:v>0</c:v>
                </c:pt>
                <c:pt idx="21081">
                  <c:v>0</c:v>
                </c:pt>
                <c:pt idx="21082">
                  <c:v>0</c:v>
                </c:pt>
                <c:pt idx="21083">
                  <c:v>0</c:v>
                </c:pt>
                <c:pt idx="21084">
                  <c:v>0</c:v>
                </c:pt>
                <c:pt idx="21085">
                  <c:v>0</c:v>
                </c:pt>
                <c:pt idx="21086">
                  <c:v>0</c:v>
                </c:pt>
                <c:pt idx="21087">
                  <c:v>0</c:v>
                </c:pt>
                <c:pt idx="21088">
                  <c:v>0</c:v>
                </c:pt>
                <c:pt idx="21089">
                  <c:v>0</c:v>
                </c:pt>
                <c:pt idx="21090">
                  <c:v>0</c:v>
                </c:pt>
                <c:pt idx="21091">
                  <c:v>0</c:v>
                </c:pt>
                <c:pt idx="21092">
                  <c:v>0</c:v>
                </c:pt>
                <c:pt idx="21093">
                  <c:v>0</c:v>
                </c:pt>
                <c:pt idx="21094">
                  <c:v>0</c:v>
                </c:pt>
                <c:pt idx="21095">
                  <c:v>0</c:v>
                </c:pt>
                <c:pt idx="21096">
                  <c:v>0</c:v>
                </c:pt>
                <c:pt idx="21097">
                  <c:v>0</c:v>
                </c:pt>
                <c:pt idx="21098">
                  <c:v>0</c:v>
                </c:pt>
                <c:pt idx="21099">
                  <c:v>0</c:v>
                </c:pt>
                <c:pt idx="21100">
                  <c:v>0</c:v>
                </c:pt>
                <c:pt idx="21101">
                  <c:v>0</c:v>
                </c:pt>
                <c:pt idx="21102">
                  <c:v>0</c:v>
                </c:pt>
                <c:pt idx="21103">
                  <c:v>3</c:v>
                </c:pt>
                <c:pt idx="21104">
                  <c:v>0</c:v>
                </c:pt>
                <c:pt idx="21105">
                  <c:v>1</c:v>
                </c:pt>
                <c:pt idx="21106">
                  <c:v>0</c:v>
                </c:pt>
                <c:pt idx="21107">
                  <c:v>0</c:v>
                </c:pt>
                <c:pt idx="21108">
                  <c:v>0</c:v>
                </c:pt>
                <c:pt idx="21109">
                  <c:v>0</c:v>
                </c:pt>
                <c:pt idx="21110">
                  <c:v>0</c:v>
                </c:pt>
                <c:pt idx="21111">
                  <c:v>0</c:v>
                </c:pt>
                <c:pt idx="21112">
                  <c:v>0</c:v>
                </c:pt>
                <c:pt idx="21113">
                  <c:v>2</c:v>
                </c:pt>
                <c:pt idx="21114">
                  <c:v>0</c:v>
                </c:pt>
                <c:pt idx="21115">
                  <c:v>2</c:v>
                </c:pt>
                <c:pt idx="21116">
                  <c:v>0</c:v>
                </c:pt>
                <c:pt idx="21117">
                  <c:v>0</c:v>
                </c:pt>
                <c:pt idx="21118">
                  <c:v>0</c:v>
                </c:pt>
                <c:pt idx="21119">
                  <c:v>0</c:v>
                </c:pt>
                <c:pt idx="21120">
                  <c:v>0</c:v>
                </c:pt>
                <c:pt idx="21121">
                  <c:v>0</c:v>
                </c:pt>
                <c:pt idx="21122">
                  <c:v>0</c:v>
                </c:pt>
                <c:pt idx="21123">
                  <c:v>0</c:v>
                </c:pt>
                <c:pt idx="21124">
                  <c:v>0</c:v>
                </c:pt>
                <c:pt idx="21125">
                  <c:v>0</c:v>
                </c:pt>
                <c:pt idx="21126">
                  <c:v>0</c:v>
                </c:pt>
                <c:pt idx="21127">
                  <c:v>0</c:v>
                </c:pt>
                <c:pt idx="21128">
                  <c:v>0</c:v>
                </c:pt>
                <c:pt idx="21129">
                  <c:v>0</c:v>
                </c:pt>
                <c:pt idx="21130">
                  <c:v>0</c:v>
                </c:pt>
                <c:pt idx="21131">
                  <c:v>2</c:v>
                </c:pt>
                <c:pt idx="21132">
                  <c:v>0</c:v>
                </c:pt>
                <c:pt idx="21133">
                  <c:v>1</c:v>
                </c:pt>
                <c:pt idx="21134">
                  <c:v>0</c:v>
                </c:pt>
                <c:pt idx="21135">
                  <c:v>0</c:v>
                </c:pt>
                <c:pt idx="21136">
                  <c:v>0</c:v>
                </c:pt>
                <c:pt idx="21137">
                  <c:v>0</c:v>
                </c:pt>
                <c:pt idx="21138">
                  <c:v>0</c:v>
                </c:pt>
                <c:pt idx="21139">
                  <c:v>0</c:v>
                </c:pt>
                <c:pt idx="21140">
                  <c:v>0</c:v>
                </c:pt>
                <c:pt idx="21141">
                  <c:v>0</c:v>
                </c:pt>
                <c:pt idx="21142">
                  <c:v>0</c:v>
                </c:pt>
                <c:pt idx="21143">
                  <c:v>0</c:v>
                </c:pt>
                <c:pt idx="21144">
                  <c:v>0</c:v>
                </c:pt>
                <c:pt idx="21145">
                  <c:v>0</c:v>
                </c:pt>
                <c:pt idx="21146">
                  <c:v>0</c:v>
                </c:pt>
                <c:pt idx="21147">
                  <c:v>0</c:v>
                </c:pt>
                <c:pt idx="21148">
                  <c:v>0</c:v>
                </c:pt>
                <c:pt idx="21149">
                  <c:v>0</c:v>
                </c:pt>
                <c:pt idx="21150">
                  <c:v>0</c:v>
                </c:pt>
                <c:pt idx="21151">
                  <c:v>0</c:v>
                </c:pt>
                <c:pt idx="21152">
                  <c:v>4</c:v>
                </c:pt>
                <c:pt idx="21153">
                  <c:v>1</c:v>
                </c:pt>
                <c:pt idx="21154">
                  <c:v>0</c:v>
                </c:pt>
                <c:pt idx="21155">
                  <c:v>3</c:v>
                </c:pt>
                <c:pt idx="21156">
                  <c:v>0</c:v>
                </c:pt>
                <c:pt idx="21157">
                  <c:v>0</c:v>
                </c:pt>
                <c:pt idx="21158">
                  <c:v>0</c:v>
                </c:pt>
                <c:pt idx="21159">
                  <c:v>0</c:v>
                </c:pt>
                <c:pt idx="21160">
                  <c:v>0</c:v>
                </c:pt>
                <c:pt idx="21161">
                  <c:v>2</c:v>
                </c:pt>
                <c:pt idx="21162">
                  <c:v>3</c:v>
                </c:pt>
                <c:pt idx="21163">
                  <c:v>0</c:v>
                </c:pt>
                <c:pt idx="21164">
                  <c:v>1</c:v>
                </c:pt>
                <c:pt idx="21165">
                  <c:v>0</c:v>
                </c:pt>
                <c:pt idx="21166">
                  <c:v>2</c:v>
                </c:pt>
                <c:pt idx="21167">
                  <c:v>3</c:v>
                </c:pt>
                <c:pt idx="21168">
                  <c:v>1</c:v>
                </c:pt>
                <c:pt idx="21169">
                  <c:v>1</c:v>
                </c:pt>
                <c:pt idx="21170">
                  <c:v>2</c:v>
                </c:pt>
                <c:pt idx="21171">
                  <c:v>4</c:v>
                </c:pt>
                <c:pt idx="21172">
                  <c:v>0</c:v>
                </c:pt>
                <c:pt idx="21173">
                  <c:v>2</c:v>
                </c:pt>
                <c:pt idx="21174">
                  <c:v>1</c:v>
                </c:pt>
                <c:pt idx="21175">
                  <c:v>1</c:v>
                </c:pt>
                <c:pt idx="21176">
                  <c:v>0</c:v>
                </c:pt>
                <c:pt idx="21177">
                  <c:v>4</c:v>
                </c:pt>
                <c:pt idx="21178">
                  <c:v>0</c:v>
                </c:pt>
                <c:pt idx="21179">
                  <c:v>0</c:v>
                </c:pt>
                <c:pt idx="21180">
                  <c:v>5</c:v>
                </c:pt>
                <c:pt idx="21181">
                  <c:v>0</c:v>
                </c:pt>
                <c:pt idx="21182">
                  <c:v>0</c:v>
                </c:pt>
                <c:pt idx="21183">
                  <c:v>2</c:v>
                </c:pt>
                <c:pt idx="21184">
                  <c:v>0</c:v>
                </c:pt>
                <c:pt idx="21185">
                  <c:v>2</c:v>
                </c:pt>
                <c:pt idx="21186">
                  <c:v>0</c:v>
                </c:pt>
                <c:pt idx="21187">
                  <c:v>0</c:v>
                </c:pt>
                <c:pt idx="21188">
                  <c:v>0</c:v>
                </c:pt>
                <c:pt idx="21189">
                  <c:v>0</c:v>
                </c:pt>
                <c:pt idx="21190">
                  <c:v>0</c:v>
                </c:pt>
                <c:pt idx="21191">
                  <c:v>0</c:v>
                </c:pt>
                <c:pt idx="21192">
                  <c:v>0</c:v>
                </c:pt>
                <c:pt idx="21193">
                  <c:v>0</c:v>
                </c:pt>
                <c:pt idx="21194">
                  <c:v>0</c:v>
                </c:pt>
                <c:pt idx="21195">
                  <c:v>0</c:v>
                </c:pt>
                <c:pt idx="21196">
                  <c:v>0</c:v>
                </c:pt>
                <c:pt idx="21197">
                  <c:v>0</c:v>
                </c:pt>
                <c:pt idx="21198">
                  <c:v>0</c:v>
                </c:pt>
                <c:pt idx="21199">
                  <c:v>0</c:v>
                </c:pt>
                <c:pt idx="21200">
                  <c:v>0</c:v>
                </c:pt>
                <c:pt idx="21201">
                  <c:v>0</c:v>
                </c:pt>
                <c:pt idx="21202">
                  <c:v>0</c:v>
                </c:pt>
                <c:pt idx="21203">
                  <c:v>0</c:v>
                </c:pt>
                <c:pt idx="21204">
                  <c:v>0</c:v>
                </c:pt>
                <c:pt idx="21205">
                  <c:v>0</c:v>
                </c:pt>
                <c:pt idx="21206">
                  <c:v>0</c:v>
                </c:pt>
                <c:pt idx="21207">
                  <c:v>0</c:v>
                </c:pt>
                <c:pt idx="21208">
                  <c:v>0</c:v>
                </c:pt>
                <c:pt idx="21209">
                  <c:v>0</c:v>
                </c:pt>
                <c:pt idx="21210">
                  <c:v>0</c:v>
                </c:pt>
                <c:pt idx="21211">
                  <c:v>0</c:v>
                </c:pt>
                <c:pt idx="21212">
                  <c:v>0</c:v>
                </c:pt>
                <c:pt idx="21213">
                  <c:v>0</c:v>
                </c:pt>
                <c:pt idx="21214">
                  <c:v>0</c:v>
                </c:pt>
                <c:pt idx="21215">
                  <c:v>0</c:v>
                </c:pt>
                <c:pt idx="21216">
                  <c:v>0</c:v>
                </c:pt>
                <c:pt idx="21217">
                  <c:v>0</c:v>
                </c:pt>
                <c:pt idx="21218">
                  <c:v>0</c:v>
                </c:pt>
                <c:pt idx="21219">
                  <c:v>0</c:v>
                </c:pt>
                <c:pt idx="21220">
                  <c:v>0</c:v>
                </c:pt>
                <c:pt idx="21221">
                  <c:v>0</c:v>
                </c:pt>
                <c:pt idx="21222">
                  <c:v>0</c:v>
                </c:pt>
                <c:pt idx="21223">
                  <c:v>0</c:v>
                </c:pt>
                <c:pt idx="21224">
                  <c:v>0</c:v>
                </c:pt>
                <c:pt idx="21225">
                  <c:v>0</c:v>
                </c:pt>
                <c:pt idx="21226">
                  <c:v>0</c:v>
                </c:pt>
                <c:pt idx="21227">
                  <c:v>0</c:v>
                </c:pt>
                <c:pt idx="21228">
                  <c:v>0</c:v>
                </c:pt>
                <c:pt idx="21229">
                  <c:v>0</c:v>
                </c:pt>
                <c:pt idx="21230">
                  <c:v>0</c:v>
                </c:pt>
                <c:pt idx="21231">
                  <c:v>0</c:v>
                </c:pt>
                <c:pt idx="21232">
                  <c:v>0</c:v>
                </c:pt>
                <c:pt idx="21233">
                  <c:v>0</c:v>
                </c:pt>
                <c:pt idx="21234">
                  <c:v>0</c:v>
                </c:pt>
                <c:pt idx="21235">
                  <c:v>0</c:v>
                </c:pt>
                <c:pt idx="21236">
                  <c:v>0</c:v>
                </c:pt>
                <c:pt idx="21237">
                  <c:v>0</c:v>
                </c:pt>
                <c:pt idx="21238">
                  <c:v>0</c:v>
                </c:pt>
                <c:pt idx="21239">
                  <c:v>0</c:v>
                </c:pt>
                <c:pt idx="21240">
                  <c:v>0</c:v>
                </c:pt>
                <c:pt idx="21241">
                  <c:v>0</c:v>
                </c:pt>
                <c:pt idx="21242">
                  <c:v>0</c:v>
                </c:pt>
                <c:pt idx="21243">
                  <c:v>0</c:v>
                </c:pt>
                <c:pt idx="21244">
                  <c:v>0</c:v>
                </c:pt>
                <c:pt idx="21245">
                  <c:v>0</c:v>
                </c:pt>
                <c:pt idx="21246">
                  <c:v>0</c:v>
                </c:pt>
                <c:pt idx="21247">
                  <c:v>0</c:v>
                </c:pt>
                <c:pt idx="21248">
                  <c:v>0</c:v>
                </c:pt>
                <c:pt idx="21249">
                  <c:v>0</c:v>
                </c:pt>
                <c:pt idx="21250">
                  <c:v>0</c:v>
                </c:pt>
                <c:pt idx="21251">
                  <c:v>0</c:v>
                </c:pt>
                <c:pt idx="21252">
                  <c:v>0</c:v>
                </c:pt>
                <c:pt idx="21253">
                  <c:v>0</c:v>
                </c:pt>
                <c:pt idx="21254">
                  <c:v>0</c:v>
                </c:pt>
                <c:pt idx="21255">
                  <c:v>0</c:v>
                </c:pt>
                <c:pt idx="21256">
                  <c:v>0</c:v>
                </c:pt>
                <c:pt idx="21257">
                  <c:v>0</c:v>
                </c:pt>
                <c:pt idx="21258">
                  <c:v>0</c:v>
                </c:pt>
                <c:pt idx="21259">
                  <c:v>0</c:v>
                </c:pt>
                <c:pt idx="21260">
                  <c:v>0</c:v>
                </c:pt>
                <c:pt idx="21261">
                  <c:v>0</c:v>
                </c:pt>
                <c:pt idx="21262">
                  <c:v>0</c:v>
                </c:pt>
                <c:pt idx="21263">
                  <c:v>0</c:v>
                </c:pt>
                <c:pt idx="21264">
                  <c:v>0</c:v>
                </c:pt>
                <c:pt idx="21265">
                  <c:v>0</c:v>
                </c:pt>
                <c:pt idx="21266">
                  <c:v>0</c:v>
                </c:pt>
                <c:pt idx="21267">
                  <c:v>0</c:v>
                </c:pt>
                <c:pt idx="21268">
                  <c:v>0</c:v>
                </c:pt>
                <c:pt idx="21269">
                  <c:v>0</c:v>
                </c:pt>
                <c:pt idx="21270">
                  <c:v>0</c:v>
                </c:pt>
                <c:pt idx="21271">
                  <c:v>0</c:v>
                </c:pt>
                <c:pt idx="21272">
                  <c:v>0</c:v>
                </c:pt>
                <c:pt idx="21273">
                  <c:v>0</c:v>
                </c:pt>
                <c:pt idx="21274">
                  <c:v>0</c:v>
                </c:pt>
                <c:pt idx="21275">
                  <c:v>0</c:v>
                </c:pt>
                <c:pt idx="21276">
                  <c:v>0</c:v>
                </c:pt>
                <c:pt idx="21277">
                  <c:v>0</c:v>
                </c:pt>
                <c:pt idx="21278">
                  <c:v>0</c:v>
                </c:pt>
                <c:pt idx="21279">
                  <c:v>0</c:v>
                </c:pt>
                <c:pt idx="21280">
                  <c:v>0</c:v>
                </c:pt>
                <c:pt idx="21281">
                  <c:v>0</c:v>
                </c:pt>
                <c:pt idx="21282">
                  <c:v>0</c:v>
                </c:pt>
                <c:pt idx="21283">
                  <c:v>0</c:v>
                </c:pt>
                <c:pt idx="21284">
                  <c:v>0</c:v>
                </c:pt>
                <c:pt idx="21285">
                  <c:v>0</c:v>
                </c:pt>
                <c:pt idx="21286">
                  <c:v>0</c:v>
                </c:pt>
                <c:pt idx="21287">
                  <c:v>0</c:v>
                </c:pt>
                <c:pt idx="21288">
                  <c:v>0</c:v>
                </c:pt>
                <c:pt idx="21289">
                  <c:v>0</c:v>
                </c:pt>
                <c:pt idx="21290">
                  <c:v>0</c:v>
                </c:pt>
                <c:pt idx="21291">
                  <c:v>0</c:v>
                </c:pt>
                <c:pt idx="21292">
                  <c:v>0</c:v>
                </c:pt>
                <c:pt idx="21293">
                  <c:v>0</c:v>
                </c:pt>
                <c:pt idx="21294">
                  <c:v>0</c:v>
                </c:pt>
                <c:pt idx="21295">
                  <c:v>0</c:v>
                </c:pt>
                <c:pt idx="21296">
                  <c:v>0</c:v>
                </c:pt>
                <c:pt idx="21297">
                  <c:v>0</c:v>
                </c:pt>
                <c:pt idx="21298">
                  <c:v>0</c:v>
                </c:pt>
                <c:pt idx="21299">
                  <c:v>0</c:v>
                </c:pt>
                <c:pt idx="21300">
                  <c:v>1</c:v>
                </c:pt>
                <c:pt idx="21301">
                  <c:v>0</c:v>
                </c:pt>
                <c:pt idx="21302">
                  <c:v>2</c:v>
                </c:pt>
                <c:pt idx="21303">
                  <c:v>2</c:v>
                </c:pt>
                <c:pt idx="21304">
                  <c:v>1</c:v>
                </c:pt>
                <c:pt idx="21305">
                  <c:v>0</c:v>
                </c:pt>
                <c:pt idx="21306">
                  <c:v>0</c:v>
                </c:pt>
                <c:pt idx="21307">
                  <c:v>3</c:v>
                </c:pt>
                <c:pt idx="21308">
                  <c:v>1</c:v>
                </c:pt>
                <c:pt idx="21309">
                  <c:v>1</c:v>
                </c:pt>
                <c:pt idx="21310">
                  <c:v>0</c:v>
                </c:pt>
                <c:pt idx="21311">
                  <c:v>3</c:v>
                </c:pt>
                <c:pt idx="21312">
                  <c:v>0</c:v>
                </c:pt>
                <c:pt idx="21313">
                  <c:v>0</c:v>
                </c:pt>
                <c:pt idx="21314">
                  <c:v>2</c:v>
                </c:pt>
                <c:pt idx="21315">
                  <c:v>0</c:v>
                </c:pt>
                <c:pt idx="21316">
                  <c:v>0</c:v>
                </c:pt>
                <c:pt idx="21317">
                  <c:v>0</c:v>
                </c:pt>
                <c:pt idx="21318">
                  <c:v>0</c:v>
                </c:pt>
                <c:pt idx="21319">
                  <c:v>0</c:v>
                </c:pt>
                <c:pt idx="21320">
                  <c:v>0</c:v>
                </c:pt>
                <c:pt idx="21321">
                  <c:v>0</c:v>
                </c:pt>
                <c:pt idx="21322">
                  <c:v>0</c:v>
                </c:pt>
                <c:pt idx="21323">
                  <c:v>2</c:v>
                </c:pt>
                <c:pt idx="21324">
                  <c:v>0</c:v>
                </c:pt>
                <c:pt idx="21325">
                  <c:v>0</c:v>
                </c:pt>
                <c:pt idx="21326">
                  <c:v>0</c:v>
                </c:pt>
                <c:pt idx="21327">
                  <c:v>0</c:v>
                </c:pt>
                <c:pt idx="21328">
                  <c:v>0</c:v>
                </c:pt>
                <c:pt idx="21329">
                  <c:v>0</c:v>
                </c:pt>
                <c:pt idx="21330">
                  <c:v>0</c:v>
                </c:pt>
                <c:pt idx="21331">
                  <c:v>0</c:v>
                </c:pt>
                <c:pt idx="21332">
                  <c:v>0</c:v>
                </c:pt>
                <c:pt idx="21333">
                  <c:v>0</c:v>
                </c:pt>
                <c:pt idx="21334">
                  <c:v>0</c:v>
                </c:pt>
                <c:pt idx="21335">
                  <c:v>0</c:v>
                </c:pt>
                <c:pt idx="21336">
                  <c:v>0</c:v>
                </c:pt>
                <c:pt idx="21337">
                  <c:v>0</c:v>
                </c:pt>
                <c:pt idx="21338">
                  <c:v>0</c:v>
                </c:pt>
                <c:pt idx="21339">
                  <c:v>0</c:v>
                </c:pt>
                <c:pt idx="21340">
                  <c:v>0</c:v>
                </c:pt>
                <c:pt idx="21341">
                  <c:v>0</c:v>
                </c:pt>
                <c:pt idx="21342">
                  <c:v>0</c:v>
                </c:pt>
                <c:pt idx="21343">
                  <c:v>0</c:v>
                </c:pt>
                <c:pt idx="21344">
                  <c:v>0</c:v>
                </c:pt>
                <c:pt idx="21345">
                  <c:v>0</c:v>
                </c:pt>
                <c:pt idx="21346">
                  <c:v>0</c:v>
                </c:pt>
                <c:pt idx="21347">
                  <c:v>0</c:v>
                </c:pt>
                <c:pt idx="21348">
                  <c:v>0</c:v>
                </c:pt>
                <c:pt idx="21349">
                  <c:v>0</c:v>
                </c:pt>
                <c:pt idx="21350">
                  <c:v>0</c:v>
                </c:pt>
                <c:pt idx="21351">
                  <c:v>0</c:v>
                </c:pt>
                <c:pt idx="21352">
                  <c:v>0</c:v>
                </c:pt>
                <c:pt idx="21353">
                  <c:v>0</c:v>
                </c:pt>
                <c:pt idx="21354">
                  <c:v>0</c:v>
                </c:pt>
                <c:pt idx="21355">
                  <c:v>0</c:v>
                </c:pt>
                <c:pt idx="21356">
                  <c:v>0</c:v>
                </c:pt>
                <c:pt idx="21357">
                  <c:v>0</c:v>
                </c:pt>
                <c:pt idx="21358">
                  <c:v>0</c:v>
                </c:pt>
                <c:pt idx="21359">
                  <c:v>0</c:v>
                </c:pt>
                <c:pt idx="21360">
                  <c:v>0</c:v>
                </c:pt>
                <c:pt idx="21361">
                  <c:v>0</c:v>
                </c:pt>
                <c:pt idx="21362">
                  <c:v>0</c:v>
                </c:pt>
                <c:pt idx="21363">
                  <c:v>0</c:v>
                </c:pt>
                <c:pt idx="21364">
                  <c:v>0</c:v>
                </c:pt>
                <c:pt idx="21365">
                  <c:v>1</c:v>
                </c:pt>
                <c:pt idx="21366">
                  <c:v>0</c:v>
                </c:pt>
                <c:pt idx="21367">
                  <c:v>0</c:v>
                </c:pt>
                <c:pt idx="21368">
                  <c:v>0</c:v>
                </c:pt>
                <c:pt idx="21369">
                  <c:v>0</c:v>
                </c:pt>
                <c:pt idx="21370">
                  <c:v>0</c:v>
                </c:pt>
                <c:pt idx="21371">
                  <c:v>0</c:v>
                </c:pt>
                <c:pt idx="21372">
                  <c:v>0</c:v>
                </c:pt>
                <c:pt idx="21373">
                  <c:v>0</c:v>
                </c:pt>
                <c:pt idx="21374">
                  <c:v>0</c:v>
                </c:pt>
                <c:pt idx="21375">
                  <c:v>0</c:v>
                </c:pt>
                <c:pt idx="21376">
                  <c:v>0</c:v>
                </c:pt>
                <c:pt idx="21377">
                  <c:v>0</c:v>
                </c:pt>
                <c:pt idx="21378">
                  <c:v>0</c:v>
                </c:pt>
                <c:pt idx="21379">
                  <c:v>0</c:v>
                </c:pt>
                <c:pt idx="21380">
                  <c:v>0</c:v>
                </c:pt>
                <c:pt idx="21381">
                  <c:v>0</c:v>
                </c:pt>
                <c:pt idx="21382">
                  <c:v>0</c:v>
                </c:pt>
                <c:pt idx="21383">
                  <c:v>0</c:v>
                </c:pt>
                <c:pt idx="21384">
                  <c:v>0</c:v>
                </c:pt>
                <c:pt idx="21385">
                  <c:v>0</c:v>
                </c:pt>
                <c:pt idx="21386">
                  <c:v>0</c:v>
                </c:pt>
                <c:pt idx="21387">
                  <c:v>0</c:v>
                </c:pt>
                <c:pt idx="21388">
                  <c:v>0</c:v>
                </c:pt>
                <c:pt idx="21389">
                  <c:v>0</c:v>
                </c:pt>
                <c:pt idx="21390">
                  <c:v>0</c:v>
                </c:pt>
                <c:pt idx="21391">
                  <c:v>0</c:v>
                </c:pt>
                <c:pt idx="21392">
                  <c:v>0</c:v>
                </c:pt>
                <c:pt idx="21393">
                  <c:v>0</c:v>
                </c:pt>
                <c:pt idx="21394">
                  <c:v>0</c:v>
                </c:pt>
                <c:pt idx="21395">
                  <c:v>0</c:v>
                </c:pt>
                <c:pt idx="21396">
                  <c:v>0</c:v>
                </c:pt>
                <c:pt idx="21397">
                  <c:v>0</c:v>
                </c:pt>
                <c:pt idx="21398">
                  <c:v>0</c:v>
                </c:pt>
                <c:pt idx="21399">
                  <c:v>0</c:v>
                </c:pt>
                <c:pt idx="21400">
                  <c:v>0</c:v>
                </c:pt>
                <c:pt idx="21401">
                  <c:v>0</c:v>
                </c:pt>
                <c:pt idx="21402">
                  <c:v>0</c:v>
                </c:pt>
                <c:pt idx="21403">
                  <c:v>0</c:v>
                </c:pt>
                <c:pt idx="21404">
                  <c:v>0</c:v>
                </c:pt>
                <c:pt idx="21405">
                  <c:v>0</c:v>
                </c:pt>
                <c:pt idx="21406">
                  <c:v>0</c:v>
                </c:pt>
                <c:pt idx="21407">
                  <c:v>0</c:v>
                </c:pt>
                <c:pt idx="21408">
                  <c:v>0</c:v>
                </c:pt>
                <c:pt idx="21409">
                  <c:v>0</c:v>
                </c:pt>
                <c:pt idx="21410">
                  <c:v>0</c:v>
                </c:pt>
                <c:pt idx="21411">
                  <c:v>0</c:v>
                </c:pt>
                <c:pt idx="21412">
                  <c:v>0</c:v>
                </c:pt>
                <c:pt idx="21413">
                  <c:v>0</c:v>
                </c:pt>
                <c:pt idx="21414">
                  <c:v>0</c:v>
                </c:pt>
                <c:pt idx="21415">
                  <c:v>0</c:v>
                </c:pt>
                <c:pt idx="21416">
                  <c:v>1</c:v>
                </c:pt>
                <c:pt idx="21417">
                  <c:v>0</c:v>
                </c:pt>
                <c:pt idx="21418">
                  <c:v>0</c:v>
                </c:pt>
                <c:pt idx="21419">
                  <c:v>0</c:v>
                </c:pt>
                <c:pt idx="21420">
                  <c:v>0</c:v>
                </c:pt>
                <c:pt idx="21421">
                  <c:v>0</c:v>
                </c:pt>
                <c:pt idx="21422">
                  <c:v>0</c:v>
                </c:pt>
                <c:pt idx="21423">
                  <c:v>0</c:v>
                </c:pt>
                <c:pt idx="21424">
                  <c:v>0</c:v>
                </c:pt>
                <c:pt idx="21425">
                  <c:v>0</c:v>
                </c:pt>
                <c:pt idx="21426">
                  <c:v>0</c:v>
                </c:pt>
                <c:pt idx="21427">
                  <c:v>0</c:v>
                </c:pt>
                <c:pt idx="21428">
                  <c:v>0</c:v>
                </c:pt>
                <c:pt idx="21429">
                  <c:v>0</c:v>
                </c:pt>
                <c:pt idx="21430">
                  <c:v>1</c:v>
                </c:pt>
                <c:pt idx="21431">
                  <c:v>1</c:v>
                </c:pt>
                <c:pt idx="21432">
                  <c:v>0</c:v>
                </c:pt>
                <c:pt idx="21433">
                  <c:v>0</c:v>
                </c:pt>
                <c:pt idx="21434">
                  <c:v>0</c:v>
                </c:pt>
                <c:pt idx="21435">
                  <c:v>0</c:v>
                </c:pt>
                <c:pt idx="21436">
                  <c:v>0</c:v>
                </c:pt>
                <c:pt idx="21437">
                  <c:v>0</c:v>
                </c:pt>
                <c:pt idx="21438">
                  <c:v>0</c:v>
                </c:pt>
                <c:pt idx="21439">
                  <c:v>0</c:v>
                </c:pt>
                <c:pt idx="21440">
                  <c:v>0</c:v>
                </c:pt>
                <c:pt idx="21441">
                  <c:v>0</c:v>
                </c:pt>
                <c:pt idx="21442">
                  <c:v>0</c:v>
                </c:pt>
                <c:pt idx="21443">
                  <c:v>0</c:v>
                </c:pt>
                <c:pt idx="21444">
                  <c:v>0</c:v>
                </c:pt>
                <c:pt idx="21445">
                  <c:v>0</c:v>
                </c:pt>
                <c:pt idx="21446">
                  <c:v>0</c:v>
                </c:pt>
                <c:pt idx="21447">
                  <c:v>0</c:v>
                </c:pt>
                <c:pt idx="21448">
                  <c:v>0</c:v>
                </c:pt>
                <c:pt idx="21449">
                  <c:v>0</c:v>
                </c:pt>
                <c:pt idx="21450">
                  <c:v>0</c:v>
                </c:pt>
                <c:pt idx="21451">
                  <c:v>0</c:v>
                </c:pt>
                <c:pt idx="21452">
                  <c:v>0</c:v>
                </c:pt>
                <c:pt idx="21453">
                  <c:v>0</c:v>
                </c:pt>
                <c:pt idx="21454">
                  <c:v>0</c:v>
                </c:pt>
                <c:pt idx="21455">
                  <c:v>0</c:v>
                </c:pt>
                <c:pt idx="21456">
                  <c:v>0</c:v>
                </c:pt>
                <c:pt idx="21457">
                  <c:v>0</c:v>
                </c:pt>
                <c:pt idx="21458">
                  <c:v>0</c:v>
                </c:pt>
                <c:pt idx="21459">
                  <c:v>0</c:v>
                </c:pt>
                <c:pt idx="21460">
                  <c:v>0</c:v>
                </c:pt>
                <c:pt idx="21461">
                  <c:v>4</c:v>
                </c:pt>
                <c:pt idx="21462">
                  <c:v>0</c:v>
                </c:pt>
                <c:pt idx="21463">
                  <c:v>4</c:v>
                </c:pt>
                <c:pt idx="21464">
                  <c:v>0</c:v>
                </c:pt>
                <c:pt idx="21465">
                  <c:v>0</c:v>
                </c:pt>
                <c:pt idx="21466">
                  <c:v>0</c:v>
                </c:pt>
                <c:pt idx="21467">
                  <c:v>0</c:v>
                </c:pt>
                <c:pt idx="21468">
                  <c:v>0</c:v>
                </c:pt>
                <c:pt idx="21469">
                  <c:v>0</c:v>
                </c:pt>
                <c:pt idx="21470">
                  <c:v>0</c:v>
                </c:pt>
                <c:pt idx="21471">
                  <c:v>0</c:v>
                </c:pt>
                <c:pt idx="21472">
                  <c:v>0</c:v>
                </c:pt>
                <c:pt idx="21473">
                  <c:v>0</c:v>
                </c:pt>
                <c:pt idx="21474">
                  <c:v>0</c:v>
                </c:pt>
                <c:pt idx="21475">
                  <c:v>0</c:v>
                </c:pt>
                <c:pt idx="21476">
                  <c:v>0</c:v>
                </c:pt>
                <c:pt idx="21477">
                  <c:v>0</c:v>
                </c:pt>
                <c:pt idx="21478">
                  <c:v>0</c:v>
                </c:pt>
                <c:pt idx="21479">
                  <c:v>0</c:v>
                </c:pt>
                <c:pt idx="21480">
                  <c:v>0</c:v>
                </c:pt>
                <c:pt idx="21481">
                  <c:v>0</c:v>
                </c:pt>
                <c:pt idx="21482">
                  <c:v>0</c:v>
                </c:pt>
                <c:pt idx="21483">
                  <c:v>0</c:v>
                </c:pt>
                <c:pt idx="21484">
                  <c:v>0</c:v>
                </c:pt>
                <c:pt idx="21485">
                  <c:v>0</c:v>
                </c:pt>
                <c:pt idx="21486">
                  <c:v>0</c:v>
                </c:pt>
                <c:pt idx="21487">
                  <c:v>0</c:v>
                </c:pt>
                <c:pt idx="21488">
                  <c:v>0</c:v>
                </c:pt>
                <c:pt idx="21489">
                  <c:v>0</c:v>
                </c:pt>
                <c:pt idx="21490">
                  <c:v>0</c:v>
                </c:pt>
                <c:pt idx="21491">
                  <c:v>0</c:v>
                </c:pt>
                <c:pt idx="21492">
                  <c:v>0</c:v>
                </c:pt>
                <c:pt idx="21493">
                  <c:v>0</c:v>
                </c:pt>
                <c:pt idx="21494">
                  <c:v>0</c:v>
                </c:pt>
                <c:pt idx="21495">
                  <c:v>0</c:v>
                </c:pt>
                <c:pt idx="21496">
                  <c:v>0</c:v>
                </c:pt>
                <c:pt idx="21497">
                  <c:v>0</c:v>
                </c:pt>
                <c:pt idx="21498">
                  <c:v>0</c:v>
                </c:pt>
                <c:pt idx="21499">
                  <c:v>0</c:v>
                </c:pt>
                <c:pt idx="21500">
                  <c:v>0</c:v>
                </c:pt>
                <c:pt idx="21501">
                  <c:v>0</c:v>
                </c:pt>
                <c:pt idx="21502">
                  <c:v>0</c:v>
                </c:pt>
                <c:pt idx="21503">
                  <c:v>0</c:v>
                </c:pt>
                <c:pt idx="21504">
                  <c:v>0</c:v>
                </c:pt>
                <c:pt idx="21505">
                  <c:v>0</c:v>
                </c:pt>
                <c:pt idx="21506">
                  <c:v>0</c:v>
                </c:pt>
                <c:pt idx="21507">
                  <c:v>0</c:v>
                </c:pt>
                <c:pt idx="21508">
                  <c:v>0</c:v>
                </c:pt>
                <c:pt idx="21509">
                  <c:v>0</c:v>
                </c:pt>
                <c:pt idx="21510">
                  <c:v>0</c:v>
                </c:pt>
                <c:pt idx="21511">
                  <c:v>0</c:v>
                </c:pt>
                <c:pt idx="21512">
                  <c:v>0</c:v>
                </c:pt>
                <c:pt idx="21513">
                  <c:v>0</c:v>
                </c:pt>
                <c:pt idx="21514">
                  <c:v>0</c:v>
                </c:pt>
                <c:pt idx="21515">
                  <c:v>0</c:v>
                </c:pt>
                <c:pt idx="21516">
                  <c:v>0</c:v>
                </c:pt>
                <c:pt idx="21517">
                  <c:v>0</c:v>
                </c:pt>
                <c:pt idx="21518">
                  <c:v>0</c:v>
                </c:pt>
                <c:pt idx="21519">
                  <c:v>0</c:v>
                </c:pt>
                <c:pt idx="21520">
                  <c:v>0</c:v>
                </c:pt>
                <c:pt idx="21521">
                  <c:v>0</c:v>
                </c:pt>
                <c:pt idx="21522">
                  <c:v>0</c:v>
                </c:pt>
                <c:pt idx="21523">
                  <c:v>0</c:v>
                </c:pt>
                <c:pt idx="21524">
                  <c:v>0</c:v>
                </c:pt>
                <c:pt idx="21525">
                  <c:v>0</c:v>
                </c:pt>
                <c:pt idx="21526">
                  <c:v>0</c:v>
                </c:pt>
                <c:pt idx="21527">
                  <c:v>0</c:v>
                </c:pt>
                <c:pt idx="21528">
                  <c:v>0</c:v>
                </c:pt>
                <c:pt idx="21529">
                  <c:v>0</c:v>
                </c:pt>
                <c:pt idx="21530">
                  <c:v>0</c:v>
                </c:pt>
                <c:pt idx="21531">
                  <c:v>0</c:v>
                </c:pt>
                <c:pt idx="21532">
                  <c:v>0</c:v>
                </c:pt>
                <c:pt idx="21533">
                  <c:v>0</c:v>
                </c:pt>
                <c:pt idx="21534">
                  <c:v>0</c:v>
                </c:pt>
                <c:pt idx="21535">
                  <c:v>0</c:v>
                </c:pt>
                <c:pt idx="21536">
                  <c:v>0</c:v>
                </c:pt>
                <c:pt idx="21537">
                  <c:v>0</c:v>
                </c:pt>
                <c:pt idx="21538">
                  <c:v>0</c:v>
                </c:pt>
                <c:pt idx="21539">
                  <c:v>0</c:v>
                </c:pt>
                <c:pt idx="21540">
                  <c:v>0</c:v>
                </c:pt>
                <c:pt idx="21541">
                  <c:v>0</c:v>
                </c:pt>
                <c:pt idx="21542">
                  <c:v>0</c:v>
                </c:pt>
                <c:pt idx="21543">
                  <c:v>0</c:v>
                </c:pt>
                <c:pt idx="21544">
                  <c:v>0</c:v>
                </c:pt>
                <c:pt idx="21545">
                  <c:v>0</c:v>
                </c:pt>
                <c:pt idx="21546">
                  <c:v>0</c:v>
                </c:pt>
                <c:pt idx="21547">
                  <c:v>0</c:v>
                </c:pt>
                <c:pt idx="21548">
                  <c:v>0</c:v>
                </c:pt>
                <c:pt idx="21549">
                  <c:v>0</c:v>
                </c:pt>
                <c:pt idx="21550">
                  <c:v>0</c:v>
                </c:pt>
                <c:pt idx="21551">
                  <c:v>0</c:v>
                </c:pt>
                <c:pt idx="21552">
                  <c:v>0</c:v>
                </c:pt>
                <c:pt idx="21553">
                  <c:v>0</c:v>
                </c:pt>
                <c:pt idx="21554">
                  <c:v>0</c:v>
                </c:pt>
                <c:pt idx="21555">
                  <c:v>0</c:v>
                </c:pt>
                <c:pt idx="21556">
                  <c:v>0</c:v>
                </c:pt>
                <c:pt idx="21557">
                  <c:v>0</c:v>
                </c:pt>
                <c:pt idx="21558">
                  <c:v>0</c:v>
                </c:pt>
                <c:pt idx="21559">
                  <c:v>0</c:v>
                </c:pt>
                <c:pt idx="21560">
                  <c:v>0</c:v>
                </c:pt>
                <c:pt idx="21561">
                  <c:v>1</c:v>
                </c:pt>
                <c:pt idx="21562">
                  <c:v>0</c:v>
                </c:pt>
                <c:pt idx="21563">
                  <c:v>0</c:v>
                </c:pt>
                <c:pt idx="21564">
                  <c:v>0</c:v>
                </c:pt>
                <c:pt idx="21565">
                  <c:v>0</c:v>
                </c:pt>
                <c:pt idx="21566">
                  <c:v>0</c:v>
                </c:pt>
                <c:pt idx="21567">
                  <c:v>0</c:v>
                </c:pt>
                <c:pt idx="21568">
                  <c:v>0</c:v>
                </c:pt>
                <c:pt idx="21569">
                  <c:v>0</c:v>
                </c:pt>
                <c:pt idx="21570">
                  <c:v>0</c:v>
                </c:pt>
                <c:pt idx="21571">
                  <c:v>0</c:v>
                </c:pt>
                <c:pt idx="21572">
                  <c:v>0</c:v>
                </c:pt>
                <c:pt idx="21573">
                  <c:v>0</c:v>
                </c:pt>
                <c:pt idx="21574">
                  <c:v>0</c:v>
                </c:pt>
                <c:pt idx="21575">
                  <c:v>0</c:v>
                </c:pt>
                <c:pt idx="21576">
                  <c:v>0</c:v>
                </c:pt>
                <c:pt idx="21577">
                  <c:v>0</c:v>
                </c:pt>
                <c:pt idx="21578">
                  <c:v>0</c:v>
                </c:pt>
                <c:pt idx="21579">
                  <c:v>0</c:v>
                </c:pt>
                <c:pt idx="21580">
                  <c:v>0</c:v>
                </c:pt>
                <c:pt idx="21581">
                  <c:v>0</c:v>
                </c:pt>
                <c:pt idx="21582">
                  <c:v>0</c:v>
                </c:pt>
                <c:pt idx="21583">
                  <c:v>0</c:v>
                </c:pt>
                <c:pt idx="21584">
                  <c:v>0</c:v>
                </c:pt>
                <c:pt idx="21585">
                  <c:v>0</c:v>
                </c:pt>
                <c:pt idx="21586">
                  <c:v>0</c:v>
                </c:pt>
                <c:pt idx="21587">
                  <c:v>0</c:v>
                </c:pt>
                <c:pt idx="21588">
                  <c:v>0</c:v>
                </c:pt>
                <c:pt idx="21589">
                  <c:v>0</c:v>
                </c:pt>
                <c:pt idx="21590">
                  <c:v>0</c:v>
                </c:pt>
                <c:pt idx="21591">
                  <c:v>0</c:v>
                </c:pt>
                <c:pt idx="21592">
                  <c:v>0</c:v>
                </c:pt>
                <c:pt idx="21593">
                  <c:v>1</c:v>
                </c:pt>
                <c:pt idx="21594">
                  <c:v>0</c:v>
                </c:pt>
                <c:pt idx="21595">
                  <c:v>0</c:v>
                </c:pt>
                <c:pt idx="21596">
                  <c:v>0</c:v>
                </c:pt>
                <c:pt idx="21597">
                  <c:v>0</c:v>
                </c:pt>
                <c:pt idx="21598">
                  <c:v>0</c:v>
                </c:pt>
                <c:pt idx="21599">
                  <c:v>0</c:v>
                </c:pt>
                <c:pt idx="21600">
                  <c:v>0</c:v>
                </c:pt>
                <c:pt idx="21601">
                  <c:v>0</c:v>
                </c:pt>
                <c:pt idx="21602">
                  <c:v>0</c:v>
                </c:pt>
                <c:pt idx="21603">
                  <c:v>0</c:v>
                </c:pt>
                <c:pt idx="21604">
                  <c:v>0</c:v>
                </c:pt>
                <c:pt idx="21605">
                  <c:v>0</c:v>
                </c:pt>
                <c:pt idx="21606">
                  <c:v>0</c:v>
                </c:pt>
                <c:pt idx="21607">
                  <c:v>0</c:v>
                </c:pt>
                <c:pt idx="21608">
                  <c:v>0</c:v>
                </c:pt>
                <c:pt idx="21609">
                  <c:v>1</c:v>
                </c:pt>
                <c:pt idx="21610">
                  <c:v>0</c:v>
                </c:pt>
                <c:pt idx="21611">
                  <c:v>0</c:v>
                </c:pt>
                <c:pt idx="21612">
                  <c:v>0</c:v>
                </c:pt>
                <c:pt idx="21613">
                  <c:v>0</c:v>
                </c:pt>
                <c:pt idx="21614">
                  <c:v>1</c:v>
                </c:pt>
                <c:pt idx="21615">
                  <c:v>0</c:v>
                </c:pt>
                <c:pt idx="21616">
                  <c:v>0</c:v>
                </c:pt>
                <c:pt idx="21617">
                  <c:v>0</c:v>
                </c:pt>
                <c:pt idx="21618">
                  <c:v>0</c:v>
                </c:pt>
                <c:pt idx="21619">
                  <c:v>0</c:v>
                </c:pt>
                <c:pt idx="21620">
                  <c:v>0</c:v>
                </c:pt>
                <c:pt idx="21621">
                  <c:v>0</c:v>
                </c:pt>
                <c:pt idx="21622">
                  <c:v>0</c:v>
                </c:pt>
                <c:pt idx="21623">
                  <c:v>0</c:v>
                </c:pt>
                <c:pt idx="21624">
                  <c:v>0</c:v>
                </c:pt>
                <c:pt idx="21625">
                  <c:v>0</c:v>
                </c:pt>
                <c:pt idx="21626">
                  <c:v>0</c:v>
                </c:pt>
                <c:pt idx="21627">
                  <c:v>0</c:v>
                </c:pt>
                <c:pt idx="21628">
                  <c:v>0</c:v>
                </c:pt>
                <c:pt idx="21629">
                  <c:v>0</c:v>
                </c:pt>
                <c:pt idx="21630">
                  <c:v>0</c:v>
                </c:pt>
                <c:pt idx="21631">
                  <c:v>0</c:v>
                </c:pt>
                <c:pt idx="21632">
                  <c:v>3</c:v>
                </c:pt>
                <c:pt idx="21633">
                  <c:v>3</c:v>
                </c:pt>
                <c:pt idx="21634">
                  <c:v>1</c:v>
                </c:pt>
                <c:pt idx="21635">
                  <c:v>3</c:v>
                </c:pt>
                <c:pt idx="21636">
                  <c:v>0</c:v>
                </c:pt>
                <c:pt idx="21637">
                  <c:v>0</c:v>
                </c:pt>
                <c:pt idx="21638">
                  <c:v>0</c:v>
                </c:pt>
                <c:pt idx="21639">
                  <c:v>0</c:v>
                </c:pt>
                <c:pt idx="21640">
                  <c:v>0</c:v>
                </c:pt>
                <c:pt idx="21641">
                  <c:v>0</c:v>
                </c:pt>
                <c:pt idx="21642">
                  <c:v>0</c:v>
                </c:pt>
                <c:pt idx="21643">
                  <c:v>0</c:v>
                </c:pt>
                <c:pt idx="21644">
                  <c:v>0</c:v>
                </c:pt>
                <c:pt idx="21645">
                  <c:v>0</c:v>
                </c:pt>
                <c:pt idx="21646">
                  <c:v>0</c:v>
                </c:pt>
                <c:pt idx="21647">
                  <c:v>0</c:v>
                </c:pt>
                <c:pt idx="21648">
                  <c:v>0</c:v>
                </c:pt>
                <c:pt idx="21649">
                  <c:v>0</c:v>
                </c:pt>
                <c:pt idx="21650">
                  <c:v>2</c:v>
                </c:pt>
                <c:pt idx="21651">
                  <c:v>0</c:v>
                </c:pt>
                <c:pt idx="21652">
                  <c:v>4</c:v>
                </c:pt>
                <c:pt idx="21653">
                  <c:v>8</c:v>
                </c:pt>
                <c:pt idx="21654">
                  <c:v>2</c:v>
                </c:pt>
                <c:pt idx="21655">
                  <c:v>0</c:v>
                </c:pt>
                <c:pt idx="21656">
                  <c:v>0</c:v>
                </c:pt>
                <c:pt idx="21657">
                  <c:v>0</c:v>
                </c:pt>
                <c:pt idx="21658">
                  <c:v>0</c:v>
                </c:pt>
                <c:pt idx="21659">
                  <c:v>1</c:v>
                </c:pt>
                <c:pt idx="21660">
                  <c:v>0</c:v>
                </c:pt>
                <c:pt idx="21661">
                  <c:v>0</c:v>
                </c:pt>
                <c:pt idx="21662">
                  <c:v>0</c:v>
                </c:pt>
                <c:pt idx="21663">
                  <c:v>0</c:v>
                </c:pt>
                <c:pt idx="21664">
                  <c:v>0</c:v>
                </c:pt>
                <c:pt idx="21665">
                  <c:v>0</c:v>
                </c:pt>
                <c:pt idx="21666">
                  <c:v>0</c:v>
                </c:pt>
                <c:pt idx="21667">
                  <c:v>0</c:v>
                </c:pt>
                <c:pt idx="21668">
                  <c:v>0</c:v>
                </c:pt>
                <c:pt idx="21669">
                  <c:v>0</c:v>
                </c:pt>
                <c:pt idx="21670">
                  <c:v>1</c:v>
                </c:pt>
                <c:pt idx="21671">
                  <c:v>5</c:v>
                </c:pt>
                <c:pt idx="21672">
                  <c:v>0</c:v>
                </c:pt>
                <c:pt idx="21673">
                  <c:v>0</c:v>
                </c:pt>
                <c:pt idx="21674">
                  <c:v>1</c:v>
                </c:pt>
                <c:pt idx="21675">
                  <c:v>1</c:v>
                </c:pt>
                <c:pt idx="21676">
                  <c:v>0</c:v>
                </c:pt>
                <c:pt idx="21677">
                  <c:v>4</c:v>
                </c:pt>
                <c:pt idx="21678">
                  <c:v>0</c:v>
                </c:pt>
                <c:pt idx="21679">
                  <c:v>0</c:v>
                </c:pt>
                <c:pt idx="21680">
                  <c:v>0</c:v>
                </c:pt>
                <c:pt idx="21681">
                  <c:v>2</c:v>
                </c:pt>
                <c:pt idx="21682">
                  <c:v>1</c:v>
                </c:pt>
                <c:pt idx="21683">
                  <c:v>1</c:v>
                </c:pt>
                <c:pt idx="21684">
                  <c:v>0</c:v>
                </c:pt>
                <c:pt idx="21685">
                  <c:v>0</c:v>
                </c:pt>
                <c:pt idx="21686">
                  <c:v>0</c:v>
                </c:pt>
                <c:pt idx="21687">
                  <c:v>0</c:v>
                </c:pt>
                <c:pt idx="21688">
                  <c:v>5</c:v>
                </c:pt>
                <c:pt idx="21689">
                  <c:v>0</c:v>
                </c:pt>
                <c:pt idx="21690">
                  <c:v>1</c:v>
                </c:pt>
                <c:pt idx="21691">
                  <c:v>0</c:v>
                </c:pt>
                <c:pt idx="21692">
                  <c:v>0</c:v>
                </c:pt>
                <c:pt idx="21693">
                  <c:v>0</c:v>
                </c:pt>
                <c:pt idx="21694">
                  <c:v>0</c:v>
                </c:pt>
                <c:pt idx="21695">
                  <c:v>0</c:v>
                </c:pt>
                <c:pt idx="21696">
                  <c:v>0</c:v>
                </c:pt>
                <c:pt idx="21697">
                  <c:v>0</c:v>
                </c:pt>
                <c:pt idx="21698">
                  <c:v>0</c:v>
                </c:pt>
                <c:pt idx="21699">
                  <c:v>0</c:v>
                </c:pt>
                <c:pt idx="21700">
                  <c:v>0</c:v>
                </c:pt>
                <c:pt idx="21701">
                  <c:v>0</c:v>
                </c:pt>
                <c:pt idx="21702">
                  <c:v>0</c:v>
                </c:pt>
                <c:pt idx="21703">
                  <c:v>0</c:v>
                </c:pt>
                <c:pt idx="21704">
                  <c:v>2</c:v>
                </c:pt>
                <c:pt idx="21705">
                  <c:v>0</c:v>
                </c:pt>
                <c:pt idx="21706">
                  <c:v>0</c:v>
                </c:pt>
                <c:pt idx="21707">
                  <c:v>0</c:v>
                </c:pt>
                <c:pt idx="21708">
                  <c:v>0</c:v>
                </c:pt>
                <c:pt idx="21709">
                  <c:v>0</c:v>
                </c:pt>
                <c:pt idx="21710">
                  <c:v>0</c:v>
                </c:pt>
                <c:pt idx="21711">
                  <c:v>0</c:v>
                </c:pt>
                <c:pt idx="21712">
                  <c:v>0</c:v>
                </c:pt>
                <c:pt idx="21713">
                  <c:v>0</c:v>
                </c:pt>
                <c:pt idx="21714">
                  <c:v>0</c:v>
                </c:pt>
                <c:pt idx="21715">
                  <c:v>0</c:v>
                </c:pt>
                <c:pt idx="21716">
                  <c:v>0</c:v>
                </c:pt>
                <c:pt idx="21717">
                  <c:v>0</c:v>
                </c:pt>
                <c:pt idx="21718">
                  <c:v>0</c:v>
                </c:pt>
                <c:pt idx="21719">
                  <c:v>4</c:v>
                </c:pt>
                <c:pt idx="21720">
                  <c:v>4</c:v>
                </c:pt>
                <c:pt idx="21721">
                  <c:v>0</c:v>
                </c:pt>
                <c:pt idx="21722">
                  <c:v>0</c:v>
                </c:pt>
                <c:pt idx="21723">
                  <c:v>0</c:v>
                </c:pt>
                <c:pt idx="21724">
                  <c:v>0</c:v>
                </c:pt>
                <c:pt idx="21725">
                  <c:v>0</c:v>
                </c:pt>
                <c:pt idx="21726">
                  <c:v>3</c:v>
                </c:pt>
                <c:pt idx="21727">
                  <c:v>0</c:v>
                </c:pt>
                <c:pt idx="21728">
                  <c:v>0</c:v>
                </c:pt>
                <c:pt idx="21729">
                  <c:v>0</c:v>
                </c:pt>
                <c:pt idx="21730">
                  <c:v>0</c:v>
                </c:pt>
                <c:pt idx="21731">
                  <c:v>0</c:v>
                </c:pt>
                <c:pt idx="21732">
                  <c:v>0</c:v>
                </c:pt>
                <c:pt idx="21733">
                  <c:v>0</c:v>
                </c:pt>
                <c:pt idx="21734">
                  <c:v>0</c:v>
                </c:pt>
                <c:pt idx="21735">
                  <c:v>0</c:v>
                </c:pt>
                <c:pt idx="21736">
                  <c:v>0</c:v>
                </c:pt>
                <c:pt idx="21737">
                  <c:v>0</c:v>
                </c:pt>
                <c:pt idx="21738">
                  <c:v>0</c:v>
                </c:pt>
                <c:pt idx="21739">
                  <c:v>0</c:v>
                </c:pt>
                <c:pt idx="21740">
                  <c:v>0</c:v>
                </c:pt>
                <c:pt idx="21741">
                  <c:v>0</c:v>
                </c:pt>
                <c:pt idx="21742">
                  <c:v>0</c:v>
                </c:pt>
                <c:pt idx="21743">
                  <c:v>2</c:v>
                </c:pt>
                <c:pt idx="21744">
                  <c:v>2</c:v>
                </c:pt>
                <c:pt idx="21745">
                  <c:v>1</c:v>
                </c:pt>
                <c:pt idx="21746">
                  <c:v>0</c:v>
                </c:pt>
                <c:pt idx="21747">
                  <c:v>0</c:v>
                </c:pt>
                <c:pt idx="21748">
                  <c:v>0</c:v>
                </c:pt>
                <c:pt idx="21749">
                  <c:v>3</c:v>
                </c:pt>
                <c:pt idx="21750">
                  <c:v>1</c:v>
                </c:pt>
                <c:pt idx="21751">
                  <c:v>4</c:v>
                </c:pt>
                <c:pt idx="21752">
                  <c:v>2</c:v>
                </c:pt>
                <c:pt idx="21753">
                  <c:v>1</c:v>
                </c:pt>
                <c:pt idx="21754">
                  <c:v>3</c:v>
                </c:pt>
                <c:pt idx="21755">
                  <c:v>0</c:v>
                </c:pt>
                <c:pt idx="21756">
                  <c:v>0</c:v>
                </c:pt>
                <c:pt idx="21757">
                  <c:v>0</c:v>
                </c:pt>
                <c:pt idx="21758">
                  <c:v>0</c:v>
                </c:pt>
                <c:pt idx="21759">
                  <c:v>0</c:v>
                </c:pt>
                <c:pt idx="21760">
                  <c:v>0</c:v>
                </c:pt>
                <c:pt idx="21761">
                  <c:v>1</c:v>
                </c:pt>
                <c:pt idx="21762">
                  <c:v>0</c:v>
                </c:pt>
                <c:pt idx="21763">
                  <c:v>0</c:v>
                </c:pt>
                <c:pt idx="21764">
                  <c:v>0</c:v>
                </c:pt>
                <c:pt idx="21765">
                  <c:v>0</c:v>
                </c:pt>
                <c:pt idx="21766">
                  <c:v>0</c:v>
                </c:pt>
                <c:pt idx="21767">
                  <c:v>0</c:v>
                </c:pt>
                <c:pt idx="21768">
                  <c:v>0</c:v>
                </c:pt>
                <c:pt idx="21769">
                  <c:v>0</c:v>
                </c:pt>
                <c:pt idx="21770">
                  <c:v>0</c:v>
                </c:pt>
                <c:pt idx="21771">
                  <c:v>0</c:v>
                </c:pt>
                <c:pt idx="21772">
                  <c:v>0</c:v>
                </c:pt>
                <c:pt idx="21773">
                  <c:v>0</c:v>
                </c:pt>
                <c:pt idx="21774">
                  <c:v>0</c:v>
                </c:pt>
                <c:pt idx="21775">
                  <c:v>0</c:v>
                </c:pt>
                <c:pt idx="21776">
                  <c:v>0</c:v>
                </c:pt>
                <c:pt idx="21777">
                  <c:v>0</c:v>
                </c:pt>
                <c:pt idx="21778">
                  <c:v>0</c:v>
                </c:pt>
                <c:pt idx="21779">
                  <c:v>0</c:v>
                </c:pt>
                <c:pt idx="21780">
                  <c:v>0</c:v>
                </c:pt>
                <c:pt idx="21781">
                  <c:v>0</c:v>
                </c:pt>
                <c:pt idx="21782">
                  <c:v>0</c:v>
                </c:pt>
                <c:pt idx="21783">
                  <c:v>0</c:v>
                </c:pt>
                <c:pt idx="21784">
                  <c:v>0</c:v>
                </c:pt>
                <c:pt idx="21785">
                  <c:v>0</c:v>
                </c:pt>
                <c:pt idx="21786">
                  <c:v>0</c:v>
                </c:pt>
                <c:pt idx="21787">
                  <c:v>1</c:v>
                </c:pt>
                <c:pt idx="21788">
                  <c:v>0</c:v>
                </c:pt>
                <c:pt idx="21789">
                  <c:v>0</c:v>
                </c:pt>
                <c:pt idx="21790">
                  <c:v>0</c:v>
                </c:pt>
                <c:pt idx="21791">
                  <c:v>0</c:v>
                </c:pt>
                <c:pt idx="21792">
                  <c:v>0</c:v>
                </c:pt>
                <c:pt idx="21793">
                  <c:v>0</c:v>
                </c:pt>
                <c:pt idx="21794">
                  <c:v>0</c:v>
                </c:pt>
                <c:pt idx="21795">
                  <c:v>0</c:v>
                </c:pt>
                <c:pt idx="21796">
                  <c:v>0</c:v>
                </c:pt>
                <c:pt idx="21797">
                  <c:v>0</c:v>
                </c:pt>
                <c:pt idx="21798">
                  <c:v>0</c:v>
                </c:pt>
                <c:pt idx="21799">
                  <c:v>0</c:v>
                </c:pt>
                <c:pt idx="21800">
                  <c:v>0</c:v>
                </c:pt>
                <c:pt idx="21801">
                  <c:v>0</c:v>
                </c:pt>
                <c:pt idx="21802">
                  <c:v>2</c:v>
                </c:pt>
                <c:pt idx="21803">
                  <c:v>2</c:v>
                </c:pt>
                <c:pt idx="21804">
                  <c:v>0</c:v>
                </c:pt>
                <c:pt idx="21805">
                  <c:v>0</c:v>
                </c:pt>
                <c:pt idx="21806">
                  <c:v>0</c:v>
                </c:pt>
                <c:pt idx="21807">
                  <c:v>0</c:v>
                </c:pt>
                <c:pt idx="21808">
                  <c:v>0</c:v>
                </c:pt>
                <c:pt idx="21809">
                  <c:v>0</c:v>
                </c:pt>
                <c:pt idx="21810">
                  <c:v>0</c:v>
                </c:pt>
                <c:pt idx="21811">
                  <c:v>0</c:v>
                </c:pt>
                <c:pt idx="21812">
                  <c:v>0</c:v>
                </c:pt>
                <c:pt idx="21813">
                  <c:v>0</c:v>
                </c:pt>
                <c:pt idx="21814">
                  <c:v>0</c:v>
                </c:pt>
                <c:pt idx="21815">
                  <c:v>0</c:v>
                </c:pt>
                <c:pt idx="21816">
                  <c:v>2</c:v>
                </c:pt>
                <c:pt idx="21817">
                  <c:v>0</c:v>
                </c:pt>
                <c:pt idx="21818">
                  <c:v>0</c:v>
                </c:pt>
                <c:pt idx="21819">
                  <c:v>0</c:v>
                </c:pt>
                <c:pt idx="21820">
                  <c:v>0</c:v>
                </c:pt>
                <c:pt idx="21821">
                  <c:v>0</c:v>
                </c:pt>
                <c:pt idx="21822">
                  <c:v>0</c:v>
                </c:pt>
                <c:pt idx="21823">
                  <c:v>0</c:v>
                </c:pt>
                <c:pt idx="21824">
                  <c:v>0</c:v>
                </c:pt>
                <c:pt idx="21825">
                  <c:v>1</c:v>
                </c:pt>
                <c:pt idx="21826">
                  <c:v>0</c:v>
                </c:pt>
                <c:pt idx="21827">
                  <c:v>0</c:v>
                </c:pt>
                <c:pt idx="21828">
                  <c:v>1</c:v>
                </c:pt>
                <c:pt idx="21829">
                  <c:v>0</c:v>
                </c:pt>
                <c:pt idx="21830">
                  <c:v>0</c:v>
                </c:pt>
                <c:pt idx="21831">
                  <c:v>0</c:v>
                </c:pt>
                <c:pt idx="21832">
                  <c:v>0</c:v>
                </c:pt>
                <c:pt idx="21833">
                  <c:v>0</c:v>
                </c:pt>
                <c:pt idx="21834">
                  <c:v>0</c:v>
                </c:pt>
                <c:pt idx="21835">
                  <c:v>0</c:v>
                </c:pt>
                <c:pt idx="21836">
                  <c:v>0</c:v>
                </c:pt>
                <c:pt idx="21837">
                  <c:v>0</c:v>
                </c:pt>
                <c:pt idx="21838">
                  <c:v>3</c:v>
                </c:pt>
                <c:pt idx="21839">
                  <c:v>0</c:v>
                </c:pt>
                <c:pt idx="21840">
                  <c:v>0</c:v>
                </c:pt>
                <c:pt idx="21841">
                  <c:v>0</c:v>
                </c:pt>
                <c:pt idx="21842">
                  <c:v>0</c:v>
                </c:pt>
                <c:pt idx="21843">
                  <c:v>0</c:v>
                </c:pt>
                <c:pt idx="21844">
                  <c:v>0</c:v>
                </c:pt>
                <c:pt idx="21845">
                  <c:v>0</c:v>
                </c:pt>
                <c:pt idx="21846">
                  <c:v>1</c:v>
                </c:pt>
                <c:pt idx="21847">
                  <c:v>0</c:v>
                </c:pt>
                <c:pt idx="21848">
                  <c:v>0</c:v>
                </c:pt>
                <c:pt idx="21849">
                  <c:v>0</c:v>
                </c:pt>
                <c:pt idx="21850">
                  <c:v>0</c:v>
                </c:pt>
                <c:pt idx="21851">
                  <c:v>0</c:v>
                </c:pt>
                <c:pt idx="21852">
                  <c:v>0</c:v>
                </c:pt>
                <c:pt idx="21853">
                  <c:v>0</c:v>
                </c:pt>
                <c:pt idx="21854">
                  <c:v>0</c:v>
                </c:pt>
                <c:pt idx="21855">
                  <c:v>0</c:v>
                </c:pt>
                <c:pt idx="21856">
                  <c:v>0</c:v>
                </c:pt>
                <c:pt idx="21857">
                  <c:v>0</c:v>
                </c:pt>
                <c:pt idx="21858">
                  <c:v>0</c:v>
                </c:pt>
                <c:pt idx="21859">
                  <c:v>0</c:v>
                </c:pt>
                <c:pt idx="21860">
                  <c:v>0</c:v>
                </c:pt>
                <c:pt idx="21861">
                  <c:v>0</c:v>
                </c:pt>
                <c:pt idx="21862">
                  <c:v>0</c:v>
                </c:pt>
                <c:pt idx="21863">
                  <c:v>0</c:v>
                </c:pt>
                <c:pt idx="21864">
                  <c:v>0</c:v>
                </c:pt>
                <c:pt idx="21865">
                  <c:v>0</c:v>
                </c:pt>
                <c:pt idx="21866">
                  <c:v>1</c:v>
                </c:pt>
                <c:pt idx="21867">
                  <c:v>0</c:v>
                </c:pt>
                <c:pt idx="21868">
                  <c:v>0</c:v>
                </c:pt>
                <c:pt idx="21869">
                  <c:v>0</c:v>
                </c:pt>
                <c:pt idx="21870">
                  <c:v>0</c:v>
                </c:pt>
                <c:pt idx="21871">
                  <c:v>0</c:v>
                </c:pt>
                <c:pt idx="21872">
                  <c:v>0</c:v>
                </c:pt>
                <c:pt idx="21873">
                  <c:v>0</c:v>
                </c:pt>
                <c:pt idx="21874">
                  <c:v>0</c:v>
                </c:pt>
                <c:pt idx="21875">
                  <c:v>0</c:v>
                </c:pt>
                <c:pt idx="21876">
                  <c:v>0</c:v>
                </c:pt>
                <c:pt idx="21877">
                  <c:v>0</c:v>
                </c:pt>
                <c:pt idx="21878">
                  <c:v>0</c:v>
                </c:pt>
                <c:pt idx="21879">
                  <c:v>0</c:v>
                </c:pt>
                <c:pt idx="21880">
                  <c:v>1</c:v>
                </c:pt>
                <c:pt idx="21881">
                  <c:v>0</c:v>
                </c:pt>
                <c:pt idx="21882">
                  <c:v>2</c:v>
                </c:pt>
                <c:pt idx="21883">
                  <c:v>0</c:v>
                </c:pt>
                <c:pt idx="21884">
                  <c:v>1</c:v>
                </c:pt>
                <c:pt idx="21885">
                  <c:v>6</c:v>
                </c:pt>
                <c:pt idx="21886">
                  <c:v>4</c:v>
                </c:pt>
                <c:pt idx="21887">
                  <c:v>0</c:v>
                </c:pt>
                <c:pt idx="21888">
                  <c:v>0</c:v>
                </c:pt>
                <c:pt idx="21889">
                  <c:v>0</c:v>
                </c:pt>
                <c:pt idx="21890">
                  <c:v>0</c:v>
                </c:pt>
                <c:pt idx="21891">
                  <c:v>3</c:v>
                </c:pt>
                <c:pt idx="21892">
                  <c:v>1</c:v>
                </c:pt>
                <c:pt idx="21893">
                  <c:v>0</c:v>
                </c:pt>
                <c:pt idx="21894">
                  <c:v>0</c:v>
                </c:pt>
                <c:pt idx="21895">
                  <c:v>0</c:v>
                </c:pt>
                <c:pt idx="21896">
                  <c:v>0</c:v>
                </c:pt>
                <c:pt idx="21897">
                  <c:v>0</c:v>
                </c:pt>
                <c:pt idx="21898">
                  <c:v>0</c:v>
                </c:pt>
                <c:pt idx="21899">
                  <c:v>0</c:v>
                </c:pt>
                <c:pt idx="21900">
                  <c:v>0</c:v>
                </c:pt>
                <c:pt idx="21901">
                  <c:v>0</c:v>
                </c:pt>
                <c:pt idx="21902">
                  <c:v>0</c:v>
                </c:pt>
                <c:pt idx="21903">
                  <c:v>0</c:v>
                </c:pt>
                <c:pt idx="21904">
                  <c:v>0</c:v>
                </c:pt>
                <c:pt idx="21905">
                  <c:v>0</c:v>
                </c:pt>
                <c:pt idx="21906">
                  <c:v>0</c:v>
                </c:pt>
                <c:pt idx="21907">
                  <c:v>0</c:v>
                </c:pt>
                <c:pt idx="21908">
                  <c:v>0</c:v>
                </c:pt>
                <c:pt idx="21909">
                  <c:v>0</c:v>
                </c:pt>
                <c:pt idx="21910">
                  <c:v>0</c:v>
                </c:pt>
                <c:pt idx="21911">
                  <c:v>0</c:v>
                </c:pt>
                <c:pt idx="21912">
                  <c:v>0</c:v>
                </c:pt>
                <c:pt idx="21913">
                  <c:v>0</c:v>
                </c:pt>
                <c:pt idx="21914">
                  <c:v>0</c:v>
                </c:pt>
                <c:pt idx="21915">
                  <c:v>0</c:v>
                </c:pt>
                <c:pt idx="21916">
                  <c:v>0</c:v>
                </c:pt>
                <c:pt idx="21917">
                  <c:v>0</c:v>
                </c:pt>
                <c:pt idx="21918">
                  <c:v>0</c:v>
                </c:pt>
                <c:pt idx="21919">
                  <c:v>0</c:v>
                </c:pt>
                <c:pt idx="21920">
                  <c:v>0</c:v>
                </c:pt>
                <c:pt idx="21921">
                  <c:v>0</c:v>
                </c:pt>
                <c:pt idx="21922">
                  <c:v>0</c:v>
                </c:pt>
                <c:pt idx="21923">
                  <c:v>0</c:v>
                </c:pt>
                <c:pt idx="21924">
                  <c:v>0</c:v>
                </c:pt>
                <c:pt idx="21925">
                  <c:v>0</c:v>
                </c:pt>
                <c:pt idx="21926">
                  <c:v>0</c:v>
                </c:pt>
                <c:pt idx="21927">
                  <c:v>0</c:v>
                </c:pt>
                <c:pt idx="21928">
                  <c:v>0</c:v>
                </c:pt>
                <c:pt idx="21929">
                  <c:v>0</c:v>
                </c:pt>
                <c:pt idx="21930">
                  <c:v>0</c:v>
                </c:pt>
                <c:pt idx="21931">
                  <c:v>0</c:v>
                </c:pt>
                <c:pt idx="21932">
                  <c:v>0</c:v>
                </c:pt>
                <c:pt idx="21933">
                  <c:v>0</c:v>
                </c:pt>
                <c:pt idx="21934">
                  <c:v>0</c:v>
                </c:pt>
                <c:pt idx="21935">
                  <c:v>0</c:v>
                </c:pt>
                <c:pt idx="21936">
                  <c:v>0</c:v>
                </c:pt>
                <c:pt idx="21937">
                  <c:v>0</c:v>
                </c:pt>
                <c:pt idx="21938">
                  <c:v>0</c:v>
                </c:pt>
                <c:pt idx="21939">
                  <c:v>0</c:v>
                </c:pt>
                <c:pt idx="21940">
                  <c:v>0</c:v>
                </c:pt>
                <c:pt idx="21941">
                  <c:v>0</c:v>
                </c:pt>
                <c:pt idx="21942">
                  <c:v>0</c:v>
                </c:pt>
                <c:pt idx="21943">
                  <c:v>0</c:v>
                </c:pt>
                <c:pt idx="21944">
                  <c:v>0</c:v>
                </c:pt>
                <c:pt idx="21945">
                  <c:v>3</c:v>
                </c:pt>
                <c:pt idx="21946">
                  <c:v>2</c:v>
                </c:pt>
                <c:pt idx="21947">
                  <c:v>0</c:v>
                </c:pt>
                <c:pt idx="21948">
                  <c:v>0</c:v>
                </c:pt>
                <c:pt idx="21949">
                  <c:v>0</c:v>
                </c:pt>
                <c:pt idx="21950">
                  <c:v>4</c:v>
                </c:pt>
                <c:pt idx="21951">
                  <c:v>0</c:v>
                </c:pt>
                <c:pt idx="21952">
                  <c:v>0</c:v>
                </c:pt>
                <c:pt idx="21953">
                  <c:v>0</c:v>
                </c:pt>
                <c:pt idx="21954">
                  <c:v>0</c:v>
                </c:pt>
                <c:pt idx="21955">
                  <c:v>0</c:v>
                </c:pt>
                <c:pt idx="21956">
                  <c:v>3</c:v>
                </c:pt>
                <c:pt idx="21957">
                  <c:v>0</c:v>
                </c:pt>
                <c:pt idx="21958">
                  <c:v>2</c:v>
                </c:pt>
                <c:pt idx="21959">
                  <c:v>0</c:v>
                </c:pt>
                <c:pt idx="21960">
                  <c:v>0</c:v>
                </c:pt>
                <c:pt idx="21961">
                  <c:v>0</c:v>
                </c:pt>
                <c:pt idx="21962">
                  <c:v>0</c:v>
                </c:pt>
                <c:pt idx="21963">
                  <c:v>0</c:v>
                </c:pt>
                <c:pt idx="21964">
                  <c:v>0</c:v>
                </c:pt>
                <c:pt idx="21965">
                  <c:v>0</c:v>
                </c:pt>
                <c:pt idx="21966">
                  <c:v>0</c:v>
                </c:pt>
                <c:pt idx="21967">
                  <c:v>0</c:v>
                </c:pt>
                <c:pt idx="21968">
                  <c:v>0</c:v>
                </c:pt>
                <c:pt idx="21969">
                  <c:v>0</c:v>
                </c:pt>
                <c:pt idx="21970">
                  <c:v>0</c:v>
                </c:pt>
                <c:pt idx="21971">
                  <c:v>0</c:v>
                </c:pt>
                <c:pt idx="21972">
                  <c:v>0</c:v>
                </c:pt>
                <c:pt idx="21973">
                  <c:v>0</c:v>
                </c:pt>
                <c:pt idx="21974">
                  <c:v>0</c:v>
                </c:pt>
                <c:pt idx="21975">
                  <c:v>0</c:v>
                </c:pt>
                <c:pt idx="21976">
                  <c:v>0</c:v>
                </c:pt>
                <c:pt idx="21977">
                  <c:v>0</c:v>
                </c:pt>
                <c:pt idx="21978">
                  <c:v>0</c:v>
                </c:pt>
                <c:pt idx="21979">
                  <c:v>0</c:v>
                </c:pt>
                <c:pt idx="21980">
                  <c:v>0</c:v>
                </c:pt>
                <c:pt idx="21981">
                  <c:v>0</c:v>
                </c:pt>
                <c:pt idx="21982">
                  <c:v>0</c:v>
                </c:pt>
                <c:pt idx="21983">
                  <c:v>0</c:v>
                </c:pt>
                <c:pt idx="21984">
                  <c:v>0</c:v>
                </c:pt>
                <c:pt idx="21985">
                  <c:v>0</c:v>
                </c:pt>
                <c:pt idx="21986">
                  <c:v>0</c:v>
                </c:pt>
                <c:pt idx="21987">
                  <c:v>1</c:v>
                </c:pt>
                <c:pt idx="21988">
                  <c:v>0</c:v>
                </c:pt>
                <c:pt idx="21989">
                  <c:v>0</c:v>
                </c:pt>
                <c:pt idx="21990">
                  <c:v>0</c:v>
                </c:pt>
                <c:pt idx="21991">
                  <c:v>0</c:v>
                </c:pt>
                <c:pt idx="21992">
                  <c:v>0</c:v>
                </c:pt>
                <c:pt idx="21993">
                  <c:v>0</c:v>
                </c:pt>
                <c:pt idx="21994">
                  <c:v>0</c:v>
                </c:pt>
                <c:pt idx="21995">
                  <c:v>0</c:v>
                </c:pt>
                <c:pt idx="21996">
                  <c:v>4</c:v>
                </c:pt>
                <c:pt idx="21997">
                  <c:v>0</c:v>
                </c:pt>
                <c:pt idx="21998">
                  <c:v>2</c:v>
                </c:pt>
                <c:pt idx="21999">
                  <c:v>0</c:v>
                </c:pt>
                <c:pt idx="22000">
                  <c:v>0</c:v>
                </c:pt>
                <c:pt idx="22001">
                  <c:v>0</c:v>
                </c:pt>
                <c:pt idx="22002">
                  <c:v>0</c:v>
                </c:pt>
                <c:pt idx="22003">
                  <c:v>0</c:v>
                </c:pt>
                <c:pt idx="22004">
                  <c:v>0</c:v>
                </c:pt>
                <c:pt idx="22005">
                  <c:v>0</c:v>
                </c:pt>
                <c:pt idx="22006">
                  <c:v>0</c:v>
                </c:pt>
                <c:pt idx="22007">
                  <c:v>0</c:v>
                </c:pt>
                <c:pt idx="22008">
                  <c:v>0</c:v>
                </c:pt>
                <c:pt idx="22009">
                  <c:v>0</c:v>
                </c:pt>
                <c:pt idx="22010">
                  <c:v>0</c:v>
                </c:pt>
                <c:pt idx="22011">
                  <c:v>0</c:v>
                </c:pt>
                <c:pt idx="22012">
                  <c:v>0</c:v>
                </c:pt>
                <c:pt idx="22013">
                  <c:v>0</c:v>
                </c:pt>
                <c:pt idx="22014">
                  <c:v>0</c:v>
                </c:pt>
                <c:pt idx="22015">
                  <c:v>0</c:v>
                </c:pt>
                <c:pt idx="22016">
                  <c:v>0</c:v>
                </c:pt>
                <c:pt idx="22017">
                  <c:v>0</c:v>
                </c:pt>
                <c:pt idx="22018">
                  <c:v>0</c:v>
                </c:pt>
                <c:pt idx="22019">
                  <c:v>0</c:v>
                </c:pt>
                <c:pt idx="22020">
                  <c:v>0</c:v>
                </c:pt>
                <c:pt idx="22021">
                  <c:v>2</c:v>
                </c:pt>
                <c:pt idx="22022">
                  <c:v>0</c:v>
                </c:pt>
                <c:pt idx="22023">
                  <c:v>0</c:v>
                </c:pt>
                <c:pt idx="22024">
                  <c:v>0</c:v>
                </c:pt>
                <c:pt idx="22025">
                  <c:v>0</c:v>
                </c:pt>
                <c:pt idx="22026">
                  <c:v>0</c:v>
                </c:pt>
                <c:pt idx="22027">
                  <c:v>0</c:v>
                </c:pt>
                <c:pt idx="22028">
                  <c:v>0</c:v>
                </c:pt>
                <c:pt idx="22029">
                  <c:v>0</c:v>
                </c:pt>
                <c:pt idx="22030">
                  <c:v>0</c:v>
                </c:pt>
                <c:pt idx="22031">
                  <c:v>0</c:v>
                </c:pt>
                <c:pt idx="22032">
                  <c:v>0</c:v>
                </c:pt>
                <c:pt idx="22033">
                  <c:v>0</c:v>
                </c:pt>
                <c:pt idx="22034">
                  <c:v>0</c:v>
                </c:pt>
                <c:pt idx="22035">
                  <c:v>0</c:v>
                </c:pt>
                <c:pt idx="22036">
                  <c:v>0</c:v>
                </c:pt>
                <c:pt idx="22037">
                  <c:v>0</c:v>
                </c:pt>
                <c:pt idx="22038">
                  <c:v>0</c:v>
                </c:pt>
                <c:pt idx="22039">
                  <c:v>0</c:v>
                </c:pt>
                <c:pt idx="22040">
                  <c:v>0</c:v>
                </c:pt>
                <c:pt idx="22041">
                  <c:v>0</c:v>
                </c:pt>
                <c:pt idx="22042">
                  <c:v>0</c:v>
                </c:pt>
                <c:pt idx="22043">
                  <c:v>0</c:v>
                </c:pt>
                <c:pt idx="22044">
                  <c:v>0</c:v>
                </c:pt>
                <c:pt idx="22045">
                  <c:v>0</c:v>
                </c:pt>
                <c:pt idx="22046">
                  <c:v>0</c:v>
                </c:pt>
                <c:pt idx="22047">
                  <c:v>0</c:v>
                </c:pt>
                <c:pt idx="22048">
                  <c:v>0</c:v>
                </c:pt>
                <c:pt idx="22049">
                  <c:v>0</c:v>
                </c:pt>
                <c:pt idx="22050">
                  <c:v>0</c:v>
                </c:pt>
                <c:pt idx="22051">
                  <c:v>0</c:v>
                </c:pt>
                <c:pt idx="22052">
                  <c:v>1</c:v>
                </c:pt>
                <c:pt idx="22053">
                  <c:v>0</c:v>
                </c:pt>
                <c:pt idx="22054">
                  <c:v>0</c:v>
                </c:pt>
                <c:pt idx="22055">
                  <c:v>0</c:v>
                </c:pt>
                <c:pt idx="22056">
                  <c:v>0</c:v>
                </c:pt>
                <c:pt idx="22057">
                  <c:v>0</c:v>
                </c:pt>
                <c:pt idx="22058">
                  <c:v>0</c:v>
                </c:pt>
                <c:pt idx="22059">
                  <c:v>0</c:v>
                </c:pt>
                <c:pt idx="22060">
                  <c:v>0</c:v>
                </c:pt>
                <c:pt idx="22061">
                  <c:v>0</c:v>
                </c:pt>
                <c:pt idx="22062">
                  <c:v>0</c:v>
                </c:pt>
                <c:pt idx="22063">
                  <c:v>0</c:v>
                </c:pt>
                <c:pt idx="22064">
                  <c:v>0</c:v>
                </c:pt>
                <c:pt idx="22065">
                  <c:v>0</c:v>
                </c:pt>
                <c:pt idx="22066">
                  <c:v>0</c:v>
                </c:pt>
                <c:pt idx="22067">
                  <c:v>0</c:v>
                </c:pt>
                <c:pt idx="22068">
                  <c:v>0</c:v>
                </c:pt>
                <c:pt idx="22069">
                  <c:v>0</c:v>
                </c:pt>
                <c:pt idx="22070">
                  <c:v>0</c:v>
                </c:pt>
                <c:pt idx="22071">
                  <c:v>0</c:v>
                </c:pt>
                <c:pt idx="22072">
                  <c:v>0</c:v>
                </c:pt>
                <c:pt idx="22073">
                  <c:v>0</c:v>
                </c:pt>
                <c:pt idx="22074">
                  <c:v>0</c:v>
                </c:pt>
                <c:pt idx="22075">
                  <c:v>0</c:v>
                </c:pt>
                <c:pt idx="22076">
                  <c:v>0</c:v>
                </c:pt>
                <c:pt idx="22077">
                  <c:v>0</c:v>
                </c:pt>
                <c:pt idx="22078">
                  <c:v>0</c:v>
                </c:pt>
                <c:pt idx="22079">
                  <c:v>0</c:v>
                </c:pt>
                <c:pt idx="22080">
                  <c:v>0</c:v>
                </c:pt>
                <c:pt idx="22081">
                  <c:v>0</c:v>
                </c:pt>
                <c:pt idx="22082">
                  <c:v>0</c:v>
                </c:pt>
                <c:pt idx="22083">
                  <c:v>0</c:v>
                </c:pt>
                <c:pt idx="22084">
                  <c:v>0</c:v>
                </c:pt>
                <c:pt idx="22085">
                  <c:v>0</c:v>
                </c:pt>
                <c:pt idx="22086">
                  <c:v>0</c:v>
                </c:pt>
                <c:pt idx="22087">
                  <c:v>0</c:v>
                </c:pt>
                <c:pt idx="22088">
                  <c:v>0</c:v>
                </c:pt>
                <c:pt idx="22089">
                  <c:v>0</c:v>
                </c:pt>
                <c:pt idx="22090">
                  <c:v>0</c:v>
                </c:pt>
                <c:pt idx="22091">
                  <c:v>0</c:v>
                </c:pt>
                <c:pt idx="22092">
                  <c:v>0</c:v>
                </c:pt>
                <c:pt idx="22093">
                  <c:v>0</c:v>
                </c:pt>
                <c:pt idx="22094">
                  <c:v>0</c:v>
                </c:pt>
                <c:pt idx="22095">
                  <c:v>0</c:v>
                </c:pt>
                <c:pt idx="22096">
                  <c:v>0</c:v>
                </c:pt>
                <c:pt idx="22097">
                  <c:v>0</c:v>
                </c:pt>
                <c:pt idx="22098">
                  <c:v>0</c:v>
                </c:pt>
                <c:pt idx="22099">
                  <c:v>0</c:v>
                </c:pt>
                <c:pt idx="22100">
                  <c:v>0</c:v>
                </c:pt>
                <c:pt idx="22101">
                  <c:v>0</c:v>
                </c:pt>
                <c:pt idx="22102">
                  <c:v>0</c:v>
                </c:pt>
                <c:pt idx="22103">
                  <c:v>0</c:v>
                </c:pt>
                <c:pt idx="22104">
                  <c:v>0</c:v>
                </c:pt>
                <c:pt idx="22105">
                  <c:v>0</c:v>
                </c:pt>
                <c:pt idx="22106">
                  <c:v>0</c:v>
                </c:pt>
                <c:pt idx="22107">
                  <c:v>0</c:v>
                </c:pt>
                <c:pt idx="22108">
                  <c:v>0</c:v>
                </c:pt>
                <c:pt idx="22109">
                  <c:v>0</c:v>
                </c:pt>
                <c:pt idx="22110">
                  <c:v>0</c:v>
                </c:pt>
                <c:pt idx="22111">
                  <c:v>0</c:v>
                </c:pt>
                <c:pt idx="22112">
                  <c:v>0</c:v>
                </c:pt>
                <c:pt idx="22113">
                  <c:v>0</c:v>
                </c:pt>
                <c:pt idx="22114">
                  <c:v>0</c:v>
                </c:pt>
                <c:pt idx="22115">
                  <c:v>0</c:v>
                </c:pt>
                <c:pt idx="22116">
                  <c:v>0</c:v>
                </c:pt>
                <c:pt idx="22117">
                  <c:v>0</c:v>
                </c:pt>
                <c:pt idx="22118">
                  <c:v>0</c:v>
                </c:pt>
                <c:pt idx="22119">
                  <c:v>0</c:v>
                </c:pt>
                <c:pt idx="22120">
                  <c:v>0</c:v>
                </c:pt>
                <c:pt idx="22121">
                  <c:v>0</c:v>
                </c:pt>
                <c:pt idx="22122">
                  <c:v>0</c:v>
                </c:pt>
                <c:pt idx="22123">
                  <c:v>0</c:v>
                </c:pt>
                <c:pt idx="22124">
                  <c:v>0</c:v>
                </c:pt>
                <c:pt idx="22125">
                  <c:v>0</c:v>
                </c:pt>
                <c:pt idx="22126">
                  <c:v>0</c:v>
                </c:pt>
                <c:pt idx="22127">
                  <c:v>0</c:v>
                </c:pt>
                <c:pt idx="22128">
                  <c:v>0</c:v>
                </c:pt>
                <c:pt idx="22129">
                  <c:v>0</c:v>
                </c:pt>
                <c:pt idx="22130">
                  <c:v>0</c:v>
                </c:pt>
                <c:pt idx="22131">
                  <c:v>0</c:v>
                </c:pt>
                <c:pt idx="22132">
                  <c:v>0</c:v>
                </c:pt>
                <c:pt idx="22133">
                  <c:v>0</c:v>
                </c:pt>
                <c:pt idx="22134">
                  <c:v>0</c:v>
                </c:pt>
                <c:pt idx="22135">
                  <c:v>0</c:v>
                </c:pt>
                <c:pt idx="22136">
                  <c:v>0</c:v>
                </c:pt>
                <c:pt idx="22137">
                  <c:v>0</c:v>
                </c:pt>
                <c:pt idx="22138">
                  <c:v>0</c:v>
                </c:pt>
                <c:pt idx="22139">
                  <c:v>0</c:v>
                </c:pt>
                <c:pt idx="22140">
                  <c:v>0</c:v>
                </c:pt>
                <c:pt idx="22141">
                  <c:v>0</c:v>
                </c:pt>
                <c:pt idx="22142">
                  <c:v>0</c:v>
                </c:pt>
                <c:pt idx="22143">
                  <c:v>0</c:v>
                </c:pt>
                <c:pt idx="22144">
                  <c:v>0</c:v>
                </c:pt>
                <c:pt idx="22145">
                  <c:v>0</c:v>
                </c:pt>
                <c:pt idx="22146">
                  <c:v>1</c:v>
                </c:pt>
                <c:pt idx="22147">
                  <c:v>0</c:v>
                </c:pt>
                <c:pt idx="22148">
                  <c:v>0</c:v>
                </c:pt>
                <c:pt idx="22149">
                  <c:v>0</c:v>
                </c:pt>
                <c:pt idx="22150">
                  <c:v>0</c:v>
                </c:pt>
                <c:pt idx="22151">
                  <c:v>0</c:v>
                </c:pt>
                <c:pt idx="22152">
                  <c:v>0</c:v>
                </c:pt>
                <c:pt idx="22153">
                  <c:v>0</c:v>
                </c:pt>
                <c:pt idx="22154">
                  <c:v>0</c:v>
                </c:pt>
                <c:pt idx="22155">
                  <c:v>0</c:v>
                </c:pt>
                <c:pt idx="22156">
                  <c:v>0</c:v>
                </c:pt>
                <c:pt idx="22157">
                  <c:v>2</c:v>
                </c:pt>
                <c:pt idx="22158">
                  <c:v>0</c:v>
                </c:pt>
                <c:pt idx="22159">
                  <c:v>0</c:v>
                </c:pt>
                <c:pt idx="22160">
                  <c:v>2</c:v>
                </c:pt>
                <c:pt idx="22161">
                  <c:v>0</c:v>
                </c:pt>
                <c:pt idx="22162">
                  <c:v>0</c:v>
                </c:pt>
                <c:pt idx="22163">
                  <c:v>0</c:v>
                </c:pt>
                <c:pt idx="22164">
                  <c:v>0</c:v>
                </c:pt>
                <c:pt idx="22165">
                  <c:v>0</c:v>
                </c:pt>
                <c:pt idx="22166">
                  <c:v>0</c:v>
                </c:pt>
                <c:pt idx="22167">
                  <c:v>0</c:v>
                </c:pt>
                <c:pt idx="22168">
                  <c:v>0</c:v>
                </c:pt>
                <c:pt idx="22169">
                  <c:v>0</c:v>
                </c:pt>
                <c:pt idx="22170">
                  <c:v>0</c:v>
                </c:pt>
                <c:pt idx="22171">
                  <c:v>0</c:v>
                </c:pt>
                <c:pt idx="22172">
                  <c:v>0</c:v>
                </c:pt>
                <c:pt idx="22173">
                  <c:v>0</c:v>
                </c:pt>
                <c:pt idx="22174">
                  <c:v>0</c:v>
                </c:pt>
                <c:pt idx="22175">
                  <c:v>0</c:v>
                </c:pt>
                <c:pt idx="22176">
                  <c:v>0</c:v>
                </c:pt>
                <c:pt idx="22177">
                  <c:v>0</c:v>
                </c:pt>
                <c:pt idx="22178">
                  <c:v>0</c:v>
                </c:pt>
                <c:pt idx="22179">
                  <c:v>0</c:v>
                </c:pt>
                <c:pt idx="22180">
                  <c:v>0</c:v>
                </c:pt>
                <c:pt idx="22181">
                  <c:v>0</c:v>
                </c:pt>
                <c:pt idx="22182">
                  <c:v>0</c:v>
                </c:pt>
                <c:pt idx="22183">
                  <c:v>0</c:v>
                </c:pt>
                <c:pt idx="22184">
                  <c:v>0</c:v>
                </c:pt>
                <c:pt idx="22185">
                  <c:v>0</c:v>
                </c:pt>
                <c:pt idx="22186">
                  <c:v>0</c:v>
                </c:pt>
                <c:pt idx="22187">
                  <c:v>0</c:v>
                </c:pt>
                <c:pt idx="22188">
                  <c:v>0</c:v>
                </c:pt>
                <c:pt idx="22189">
                  <c:v>0</c:v>
                </c:pt>
                <c:pt idx="22190">
                  <c:v>3</c:v>
                </c:pt>
                <c:pt idx="22191">
                  <c:v>0</c:v>
                </c:pt>
                <c:pt idx="22192">
                  <c:v>0</c:v>
                </c:pt>
                <c:pt idx="22193">
                  <c:v>0</c:v>
                </c:pt>
                <c:pt idx="22194">
                  <c:v>0</c:v>
                </c:pt>
                <c:pt idx="22195">
                  <c:v>2</c:v>
                </c:pt>
                <c:pt idx="22196">
                  <c:v>0</c:v>
                </c:pt>
                <c:pt idx="22197">
                  <c:v>0</c:v>
                </c:pt>
                <c:pt idx="22198">
                  <c:v>0</c:v>
                </c:pt>
                <c:pt idx="22199">
                  <c:v>0</c:v>
                </c:pt>
                <c:pt idx="22200">
                  <c:v>0</c:v>
                </c:pt>
                <c:pt idx="22201">
                  <c:v>0</c:v>
                </c:pt>
                <c:pt idx="22202">
                  <c:v>0</c:v>
                </c:pt>
                <c:pt idx="22203">
                  <c:v>0</c:v>
                </c:pt>
                <c:pt idx="22204">
                  <c:v>0</c:v>
                </c:pt>
                <c:pt idx="22205">
                  <c:v>0</c:v>
                </c:pt>
                <c:pt idx="22206">
                  <c:v>0</c:v>
                </c:pt>
                <c:pt idx="22207">
                  <c:v>2</c:v>
                </c:pt>
                <c:pt idx="22208">
                  <c:v>0</c:v>
                </c:pt>
                <c:pt idx="22209">
                  <c:v>0</c:v>
                </c:pt>
                <c:pt idx="22210">
                  <c:v>0</c:v>
                </c:pt>
                <c:pt idx="22211">
                  <c:v>0</c:v>
                </c:pt>
                <c:pt idx="22212">
                  <c:v>0</c:v>
                </c:pt>
                <c:pt idx="22213">
                  <c:v>6</c:v>
                </c:pt>
                <c:pt idx="22214">
                  <c:v>4</c:v>
                </c:pt>
                <c:pt idx="22215">
                  <c:v>0</c:v>
                </c:pt>
                <c:pt idx="22216">
                  <c:v>0</c:v>
                </c:pt>
                <c:pt idx="22217">
                  <c:v>0</c:v>
                </c:pt>
                <c:pt idx="22218">
                  <c:v>0</c:v>
                </c:pt>
                <c:pt idx="22219">
                  <c:v>0</c:v>
                </c:pt>
                <c:pt idx="22220">
                  <c:v>0</c:v>
                </c:pt>
                <c:pt idx="22221">
                  <c:v>0</c:v>
                </c:pt>
                <c:pt idx="22222">
                  <c:v>0</c:v>
                </c:pt>
                <c:pt idx="22223">
                  <c:v>0</c:v>
                </c:pt>
                <c:pt idx="22224">
                  <c:v>0</c:v>
                </c:pt>
                <c:pt idx="22225">
                  <c:v>0</c:v>
                </c:pt>
                <c:pt idx="22226">
                  <c:v>0</c:v>
                </c:pt>
                <c:pt idx="22227">
                  <c:v>0</c:v>
                </c:pt>
                <c:pt idx="22228">
                  <c:v>0</c:v>
                </c:pt>
                <c:pt idx="22229">
                  <c:v>0</c:v>
                </c:pt>
                <c:pt idx="22230">
                  <c:v>0</c:v>
                </c:pt>
                <c:pt idx="22231">
                  <c:v>0</c:v>
                </c:pt>
                <c:pt idx="22232">
                  <c:v>0</c:v>
                </c:pt>
                <c:pt idx="22233">
                  <c:v>0</c:v>
                </c:pt>
                <c:pt idx="22234">
                  <c:v>0</c:v>
                </c:pt>
                <c:pt idx="22235">
                  <c:v>0</c:v>
                </c:pt>
                <c:pt idx="22236">
                  <c:v>0</c:v>
                </c:pt>
                <c:pt idx="22237">
                  <c:v>0</c:v>
                </c:pt>
                <c:pt idx="22238">
                  <c:v>0</c:v>
                </c:pt>
                <c:pt idx="22239">
                  <c:v>0</c:v>
                </c:pt>
                <c:pt idx="22240">
                  <c:v>2</c:v>
                </c:pt>
                <c:pt idx="22241">
                  <c:v>0</c:v>
                </c:pt>
                <c:pt idx="22242">
                  <c:v>0</c:v>
                </c:pt>
                <c:pt idx="22243">
                  <c:v>0</c:v>
                </c:pt>
                <c:pt idx="22244">
                  <c:v>0</c:v>
                </c:pt>
                <c:pt idx="22245">
                  <c:v>0</c:v>
                </c:pt>
                <c:pt idx="22246">
                  <c:v>0</c:v>
                </c:pt>
                <c:pt idx="22247">
                  <c:v>0</c:v>
                </c:pt>
                <c:pt idx="22248">
                  <c:v>0</c:v>
                </c:pt>
                <c:pt idx="22249">
                  <c:v>0</c:v>
                </c:pt>
                <c:pt idx="22250">
                  <c:v>0</c:v>
                </c:pt>
                <c:pt idx="22251">
                  <c:v>0</c:v>
                </c:pt>
                <c:pt idx="22252">
                  <c:v>0</c:v>
                </c:pt>
                <c:pt idx="22253">
                  <c:v>0</c:v>
                </c:pt>
                <c:pt idx="22254">
                  <c:v>0</c:v>
                </c:pt>
                <c:pt idx="22255">
                  <c:v>0</c:v>
                </c:pt>
                <c:pt idx="22256">
                  <c:v>0</c:v>
                </c:pt>
                <c:pt idx="22257">
                  <c:v>0</c:v>
                </c:pt>
                <c:pt idx="22258">
                  <c:v>0</c:v>
                </c:pt>
                <c:pt idx="22259">
                  <c:v>1</c:v>
                </c:pt>
                <c:pt idx="22260">
                  <c:v>4</c:v>
                </c:pt>
                <c:pt idx="22261">
                  <c:v>1</c:v>
                </c:pt>
                <c:pt idx="22262">
                  <c:v>0</c:v>
                </c:pt>
                <c:pt idx="22263">
                  <c:v>0</c:v>
                </c:pt>
                <c:pt idx="22264">
                  <c:v>0</c:v>
                </c:pt>
                <c:pt idx="22265">
                  <c:v>0</c:v>
                </c:pt>
                <c:pt idx="22266">
                  <c:v>0</c:v>
                </c:pt>
                <c:pt idx="22267">
                  <c:v>0</c:v>
                </c:pt>
                <c:pt idx="22268">
                  <c:v>0</c:v>
                </c:pt>
                <c:pt idx="22269">
                  <c:v>0</c:v>
                </c:pt>
                <c:pt idx="22270">
                  <c:v>0</c:v>
                </c:pt>
                <c:pt idx="22271">
                  <c:v>0</c:v>
                </c:pt>
                <c:pt idx="22272">
                  <c:v>0</c:v>
                </c:pt>
                <c:pt idx="22273">
                  <c:v>0</c:v>
                </c:pt>
                <c:pt idx="22274">
                  <c:v>0</c:v>
                </c:pt>
                <c:pt idx="22275">
                  <c:v>0</c:v>
                </c:pt>
                <c:pt idx="22276">
                  <c:v>0</c:v>
                </c:pt>
                <c:pt idx="22277">
                  <c:v>0</c:v>
                </c:pt>
                <c:pt idx="22278">
                  <c:v>0</c:v>
                </c:pt>
                <c:pt idx="22279">
                  <c:v>0</c:v>
                </c:pt>
                <c:pt idx="22280">
                  <c:v>0</c:v>
                </c:pt>
                <c:pt idx="22281">
                  <c:v>0</c:v>
                </c:pt>
                <c:pt idx="22282">
                  <c:v>0</c:v>
                </c:pt>
                <c:pt idx="22283">
                  <c:v>0</c:v>
                </c:pt>
                <c:pt idx="22284">
                  <c:v>3</c:v>
                </c:pt>
                <c:pt idx="22285">
                  <c:v>0</c:v>
                </c:pt>
                <c:pt idx="22286">
                  <c:v>0</c:v>
                </c:pt>
                <c:pt idx="22287">
                  <c:v>0</c:v>
                </c:pt>
                <c:pt idx="22288">
                  <c:v>0</c:v>
                </c:pt>
                <c:pt idx="22289">
                  <c:v>0</c:v>
                </c:pt>
                <c:pt idx="22290">
                  <c:v>0</c:v>
                </c:pt>
                <c:pt idx="22291">
                  <c:v>0</c:v>
                </c:pt>
                <c:pt idx="22292">
                  <c:v>0</c:v>
                </c:pt>
                <c:pt idx="22293">
                  <c:v>0</c:v>
                </c:pt>
                <c:pt idx="22294">
                  <c:v>0</c:v>
                </c:pt>
                <c:pt idx="22295">
                  <c:v>0</c:v>
                </c:pt>
                <c:pt idx="22296">
                  <c:v>0</c:v>
                </c:pt>
                <c:pt idx="22297">
                  <c:v>0</c:v>
                </c:pt>
                <c:pt idx="22298">
                  <c:v>4</c:v>
                </c:pt>
                <c:pt idx="22299">
                  <c:v>5</c:v>
                </c:pt>
                <c:pt idx="22300">
                  <c:v>1</c:v>
                </c:pt>
                <c:pt idx="22301">
                  <c:v>3</c:v>
                </c:pt>
                <c:pt idx="22302">
                  <c:v>0</c:v>
                </c:pt>
                <c:pt idx="22303">
                  <c:v>1</c:v>
                </c:pt>
                <c:pt idx="22304">
                  <c:v>0</c:v>
                </c:pt>
                <c:pt idx="22305">
                  <c:v>0</c:v>
                </c:pt>
                <c:pt idx="22306">
                  <c:v>3</c:v>
                </c:pt>
                <c:pt idx="22307">
                  <c:v>2</c:v>
                </c:pt>
                <c:pt idx="22308">
                  <c:v>4</c:v>
                </c:pt>
                <c:pt idx="22309">
                  <c:v>1</c:v>
                </c:pt>
                <c:pt idx="22310">
                  <c:v>0</c:v>
                </c:pt>
                <c:pt idx="22311">
                  <c:v>0</c:v>
                </c:pt>
                <c:pt idx="22312">
                  <c:v>0</c:v>
                </c:pt>
                <c:pt idx="22313">
                  <c:v>0</c:v>
                </c:pt>
                <c:pt idx="22314">
                  <c:v>0</c:v>
                </c:pt>
                <c:pt idx="22315">
                  <c:v>0</c:v>
                </c:pt>
                <c:pt idx="22316">
                  <c:v>0</c:v>
                </c:pt>
                <c:pt idx="22317">
                  <c:v>0</c:v>
                </c:pt>
                <c:pt idx="22318">
                  <c:v>0</c:v>
                </c:pt>
                <c:pt idx="22319">
                  <c:v>0</c:v>
                </c:pt>
                <c:pt idx="22320">
                  <c:v>0</c:v>
                </c:pt>
                <c:pt idx="22321">
                  <c:v>0</c:v>
                </c:pt>
                <c:pt idx="22322">
                  <c:v>0</c:v>
                </c:pt>
                <c:pt idx="22323">
                  <c:v>0</c:v>
                </c:pt>
                <c:pt idx="22324">
                  <c:v>0</c:v>
                </c:pt>
                <c:pt idx="22325">
                  <c:v>0</c:v>
                </c:pt>
                <c:pt idx="22326">
                  <c:v>0</c:v>
                </c:pt>
                <c:pt idx="22327">
                  <c:v>0</c:v>
                </c:pt>
                <c:pt idx="22328">
                  <c:v>0</c:v>
                </c:pt>
                <c:pt idx="22329">
                  <c:v>0</c:v>
                </c:pt>
                <c:pt idx="22330">
                  <c:v>0</c:v>
                </c:pt>
                <c:pt idx="22331">
                  <c:v>0</c:v>
                </c:pt>
                <c:pt idx="22332">
                  <c:v>0</c:v>
                </c:pt>
                <c:pt idx="22333">
                  <c:v>0</c:v>
                </c:pt>
                <c:pt idx="22334">
                  <c:v>0</c:v>
                </c:pt>
                <c:pt idx="22335">
                  <c:v>0</c:v>
                </c:pt>
                <c:pt idx="22336">
                  <c:v>0</c:v>
                </c:pt>
                <c:pt idx="22337">
                  <c:v>0</c:v>
                </c:pt>
                <c:pt idx="22338">
                  <c:v>0</c:v>
                </c:pt>
                <c:pt idx="22339">
                  <c:v>0</c:v>
                </c:pt>
                <c:pt idx="22340">
                  <c:v>0</c:v>
                </c:pt>
                <c:pt idx="22341">
                  <c:v>0</c:v>
                </c:pt>
                <c:pt idx="22342">
                  <c:v>0</c:v>
                </c:pt>
                <c:pt idx="22343">
                  <c:v>0</c:v>
                </c:pt>
                <c:pt idx="22344">
                  <c:v>0</c:v>
                </c:pt>
                <c:pt idx="22345">
                  <c:v>0</c:v>
                </c:pt>
                <c:pt idx="22346">
                  <c:v>0</c:v>
                </c:pt>
                <c:pt idx="22347">
                  <c:v>0</c:v>
                </c:pt>
                <c:pt idx="22348">
                  <c:v>5</c:v>
                </c:pt>
                <c:pt idx="22349">
                  <c:v>1</c:v>
                </c:pt>
                <c:pt idx="22350">
                  <c:v>0</c:v>
                </c:pt>
                <c:pt idx="22351">
                  <c:v>0</c:v>
                </c:pt>
                <c:pt idx="22352">
                  <c:v>0</c:v>
                </c:pt>
                <c:pt idx="22353">
                  <c:v>0</c:v>
                </c:pt>
                <c:pt idx="22354">
                  <c:v>0</c:v>
                </c:pt>
                <c:pt idx="22355">
                  <c:v>0</c:v>
                </c:pt>
                <c:pt idx="22356">
                  <c:v>0</c:v>
                </c:pt>
                <c:pt idx="22357">
                  <c:v>0</c:v>
                </c:pt>
                <c:pt idx="22358">
                  <c:v>0</c:v>
                </c:pt>
                <c:pt idx="22359">
                  <c:v>0</c:v>
                </c:pt>
                <c:pt idx="22360">
                  <c:v>0</c:v>
                </c:pt>
                <c:pt idx="22361">
                  <c:v>0</c:v>
                </c:pt>
                <c:pt idx="22362">
                  <c:v>0</c:v>
                </c:pt>
                <c:pt idx="22363">
                  <c:v>0</c:v>
                </c:pt>
                <c:pt idx="22364">
                  <c:v>0</c:v>
                </c:pt>
                <c:pt idx="22365">
                  <c:v>0</c:v>
                </c:pt>
                <c:pt idx="22366">
                  <c:v>0</c:v>
                </c:pt>
                <c:pt idx="22367">
                  <c:v>0</c:v>
                </c:pt>
                <c:pt idx="22368">
                  <c:v>0</c:v>
                </c:pt>
                <c:pt idx="22369">
                  <c:v>0</c:v>
                </c:pt>
                <c:pt idx="22370">
                  <c:v>0</c:v>
                </c:pt>
                <c:pt idx="22371">
                  <c:v>0</c:v>
                </c:pt>
                <c:pt idx="22372">
                  <c:v>0</c:v>
                </c:pt>
                <c:pt idx="22373">
                  <c:v>0</c:v>
                </c:pt>
                <c:pt idx="22374">
                  <c:v>0</c:v>
                </c:pt>
                <c:pt idx="22375">
                  <c:v>0</c:v>
                </c:pt>
                <c:pt idx="22376">
                  <c:v>0</c:v>
                </c:pt>
                <c:pt idx="22377">
                  <c:v>0</c:v>
                </c:pt>
                <c:pt idx="22378">
                  <c:v>0</c:v>
                </c:pt>
                <c:pt idx="22379">
                  <c:v>0</c:v>
                </c:pt>
                <c:pt idx="22380">
                  <c:v>0</c:v>
                </c:pt>
                <c:pt idx="22381">
                  <c:v>0</c:v>
                </c:pt>
                <c:pt idx="22382">
                  <c:v>0</c:v>
                </c:pt>
                <c:pt idx="22383">
                  <c:v>0</c:v>
                </c:pt>
                <c:pt idx="22384">
                  <c:v>0</c:v>
                </c:pt>
                <c:pt idx="22385">
                  <c:v>0</c:v>
                </c:pt>
                <c:pt idx="22386">
                  <c:v>0</c:v>
                </c:pt>
                <c:pt idx="22387">
                  <c:v>0</c:v>
                </c:pt>
                <c:pt idx="22388">
                  <c:v>0</c:v>
                </c:pt>
                <c:pt idx="22389">
                  <c:v>0</c:v>
                </c:pt>
                <c:pt idx="22390">
                  <c:v>0</c:v>
                </c:pt>
                <c:pt idx="22391">
                  <c:v>0</c:v>
                </c:pt>
                <c:pt idx="22392">
                  <c:v>0</c:v>
                </c:pt>
                <c:pt idx="22393">
                  <c:v>0</c:v>
                </c:pt>
                <c:pt idx="22394">
                  <c:v>0</c:v>
                </c:pt>
                <c:pt idx="22395">
                  <c:v>0</c:v>
                </c:pt>
                <c:pt idx="22396">
                  <c:v>0</c:v>
                </c:pt>
                <c:pt idx="22397">
                  <c:v>0</c:v>
                </c:pt>
                <c:pt idx="22398">
                  <c:v>0</c:v>
                </c:pt>
                <c:pt idx="22399">
                  <c:v>0</c:v>
                </c:pt>
                <c:pt idx="22400">
                  <c:v>0</c:v>
                </c:pt>
                <c:pt idx="22401">
                  <c:v>0</c:v>
                </c:pt>
                <c:pt idx="22402">
                  <c:v>0</c:v>
                </c:pt>
                <c:pt idx="22403">
                  <c:v>0</c:v>
                </c:pt>
                <c:pt idx="22404">
                  <c:v>0</c:v>
                </c:pt>
                <c:pt idx="22405">
                  <c:v>0</c:v>
                </c:pt>
                <c:pt idx="22406">
                  <c:v>0</c:v>
                </c:pt>
                <c:pt idx="22407">
                  <c:v>0</c:v>
                </c:pt>
                <c:pt idx="22408">
                  <c:v>0</c:v>
                </c:pt>
                <c:pt idx="22409">
                  <c:v>0</c:v>
                </c:pt>
                <c:pt idx="22410">
                  <c:v>0</c:v>
                </c:pt>
                <c:pt idx="22411">
                  <c:v>0</c:v>
                </c:pt>
                <c:pt idx="22412">
                  <c:v>0</c:v>
                </c:pt>
                <c:pt idx="22413">
                  <c:v>0</c:v>
                </c:pt>
                <c:pt idx="22414">
                  <c:v>0</c:v>
                </c:pt>
                <c:pt idx="22415">
                  <c:v>0</c:v>
                </c:pt>
                <c:pt idx="22416">
                  <c:v>0</c:v>
                </c:pt>
                <c:pt idx="22417">
                  <c:v>0</c:v>
                </c:pt>
                <c:pt idx="22418">
                  <c:v>0</c:v>
                </c:pt>
                <c:pt idx="22419">
                  <c:v>0</c:v>
                </c:pt>
                <c:pt idx="22420">
                  <c:v>0</c:v>
                </c:pt>
                <c:pt idx="22421">
                  <c:v>0</c:v>
                </c:pt>
                <c:pt idx="22422">
                  <c:v>0</c:v>
                </c:pt>
                <c:pt idx="22423">
                  <c:v>0</c:v>
                </c:pt>
                <c:pt idx="22424">
                  <c:v>0</c:v>
                </c:pt>
                <c:pt idx="22425">
                  <c:v>0</c:v>
                </c:pt>
                <c:pt idx="22426">
                  <c:v>0</c:v>
                </c:pt>
                <c:pt idx="22427">
                  <c:v>0</c:v>
                </c:pt>
                <c:pt idx="22428">
                  <c:v>0</c:v>
                </c:pt>
                <c:pt idx="22429">
                  <c:v>0</c:v>
                </c:pt>
                <c:pt idx="22430">
                  <c:v>0</c:v>
                </c:pt>
                <c:pt idx="22431">
                  <c:v>0</c:v>
                </c:pt>
                <c:pt idx="22432">
                  <c:v>0</c:v>
                </c:pt>
                <c:pt idx="22433">
                  <c:v>0</c:v>
                </c:pt>
                <c:pt idx="22434">
                  <c:v>0</c:v>
                </c:pt>
                <c:pt idx="22435">
                  <c:v>0</c:v>
                </c:pt>
                <c:pt idx="22436">
                  <c:v>0</c:v>
                </c:pt>
                <c:pt idx="22437">
                  <c:v>0</c:v>
                </c:pt>
                <c:pt idx="22438">
                  <c:v>0</c:v>
                </c:pt>
                <c:pt idx="22439">
                  <c:v>0</c:v>
                </c:pt>
                <c:pt idx="22440">
                  <c:v>0</c:v>
                </c:pt>
                <c:pt idx="22441">
                  <c:v>0</c:v>
                </c:pt>
                <c:pt idx="22442">
                  <c:v>0</c:v>
                </c:pt>
                <c:pt idx="22443">
                  <c:v>0</c:v>
                </c:pt>
                <c:pt idx="22444">
                  <c:v>0</c:v>
                </c:pt>
                <c:pt idx="22445">
                  <c:v>0</c:v>
                </c:pt>
                <c:pt idx="22446">
                  <c:v>0</c:v>
                </c:pt>
                <c:pt idx="22447">
                  <c:v>0</c:v>
                </c:pt>
                <c:pt idx="22448">
                  <c:v>0</c:v>
                </c:pt>
                <c:pt idx="22449">
                  <c:v>0</c:v>
                </c:pt>
                <c:pt idx="22450">
                  <c:v>0</c:v>
                </c:pt>
                <c:pt idx="22451">
                  <c:v>0</c:v>
                </c:pt>
                <c:pt idx="22452">
                  <c:v>0</c:v>
                </c:pt>
                <c:pt idx="22453">
                  <c:v>0</c:v>
                </c:pt>
                <c:pt idx="22454">
                  <c:v>0</c:v>
                </c:pt>
                <c:pt idx="22455">
                  <c:v>0</c:v>
                </c:pt>
                <c:pt idx="22456">
                  <c:v>0</c:v>
                </c:pt>
                <c:pt idx="22457">
                  <c:v>0</c:v>
                </c:pt>
                <c:pt idx="22458">
                  <c:v>1</c:v>
                </c:pt>
                <c:pt idx="22459">
                  <c:v>0</c:v>
                </c:pt>
                <c:pt idx="22460">
                  <c:v>0</c:v>
                </c:pt>
                <c:pt idx="22461">
                  <c:v>0</c:v>
                </c:pt>
                <c:pt idx="22462">
                  <c:v>0</c:v>
                </c:pt>
                <c:pt idx="22463">
                  <c:v>0</c:v>
                </c:pt>
                <c:pt idx="22464">
                  <c:v>0</c:v>
                </c:pt>
                <c:pt idx="22465">
                  <c:v>0</c:v>
                </c:pt>
                <c:pt idx="22466">
                  <c:v>0</c:v>
                </c:pt>
                <c:pt idx="22467">
                  <c:v>0</c:v>
                </c:pt>
                <c:pt idx="22468">
                  <c:v>0</c:v>
                </c:pt>
                <c:pt idx="22469">
                  <c:v>0</c:v>
                </c:pt>
                <c:pt idx="22470">
                  <c:v>0</c:v>
                </c:pt>
                <c:pt idx="22471">
                  <c:v>0</c:v>
                </c:pt>
                <c:pt idx="22472">
                  <c:v>0</c:v>
                </c:pt>
                <c:pt idx="22473">
                  <c:v>3</c:v>
                </c:pt>
                <c:pt idx="22474">
                  <c:v>0</c:v>
                </c:pt>
                <c:pt idx="22475">
                  <c:v>0</c:v>
                </c:pt>
                <c:pt idx="22476">
                  <c:v>0</c:v>
                </c:pt>
                <c:pt idx="22477">
                  <c:v>0</c:v>
                </c:pt>
                <c:pt idx="22478">
                  <c:v>0</c:v>
                </c:pt>
                <c:pt idx="22479">
                  <c:v>0</c:v>
                </c:pt>
                <c:pt idx="22480">
                  <c:v>0</c:v>
                </c:pt>
                <c:pt idx="22481">
                  <c:v>0</c:v>
                </c:pt>
                <c:pt idx="22482">
                  <c:v>0</c:v>
                </c:pt>
                <c:pt idx="22483">
                  <c:v>1</c:v>
                </c:pt>
                <c:pt idx="22484">
                  <c:v>0</c:v>
                </c:pt>
                <c:pt idx="22485">
                  <c:v>0</c:v>
                </c:pt>
                <c:pt idx="22486">
                  <c:v>0</c:v>
                </c:pt>
                <c:pt idx="22487">
                  <c:v>0</c:v>
                </c:pt>
                <c:pt idx="22488">
                  <c:v>0</c:v>
                </c:pt>
                <c:pt idx="22489">
                  <c:v>0</c:v>
                </c:pt>
                <c:pt idx="22490">
                  <c:v>0</c:v>
                </c:pt>
                <c:pt idx="22491">
                  <c:v>0</c:v>
                </c:pt>
                <c:pt idx="22492">
                  <c:v>0</c:v>
                </c:pt>
                <c:pt idx="22493">
                  <c:v>0</c:v>
                </c:pt>
                <c:pt idx="22494">
                  <c:v>3</c:v>
                </c:pt>
                <c:pt idx="22495">
                  <c:v>0</c:v>
                </c:pt>
                <c:pt idx="22496">
                  <c:v>2</c:v>
                </c:pt>
                <c:pt idx="22497">
                  <c:v>1</c:v>
                </c:pt>
                <c:pt idx="22498">
                  <c:v>0</c:v>
                </c:pt>
                <c:pt idx="22499">
                  <c:v>0</c:v>
                </c:pt>
                <c:pt idx="22500">
                  <c:v>0</c:v>
                </c:pt>
                <c:pt idx="22501">
                  <c:v>0</c:v>
                </c:pt>
                <c:pt idx="22502">
                  <c:v>0</c:v>
                </c:pt>
                <c:pt idx="22503">
                  <c:v>0</c:v>
                </c:pt>
                <c:pt idx="22504">
                  <c:v>1</c:v>
                </c:pt>
                <c:pt idx="22505">
                  <c:v>0</c:v>
                </c:pt>
                <c:pt idx="22506">
                  <c:v>0</c:v>
                </c:pt>
                <c:pt idx="22507">
                  <c:v>0</c:v>
                </c:pt>
                <c:pt idx="22508">
                  <c:v>0</c:v>
                </c:pt>
                <c:pt idx="22509">
                  <c:v>0</c:v>
                </c:pt>
                <c:pt idx="22510">
                  <c:v>0</c:v>
                </c:pt>
                <c:pt idx="22511">
                  <c:v>0</c:v>
                </c:pt>
                <c:pt idx="22512">
                  <c:v>0</c:v>
                </c:pt>
                <c:pt idx="22513">
                  <c:v>0</c:v>
                </c:pt>
                <c:pt idx="22514">
                  <c:v>0</c:v>
                </c:pt>
                <c:pt idx="22515">
                  <c:v>0</c:v>
                </c:pt>
                <c:pt idx="22516">
                  <c:v>0</c:v>
                </c:pt>
                <c:pt idx="22517">
                  <c:v>0</c:v>
                </c:pt>
                <c:pt idx="22518">
                  <c:v>0</c:v>
                </c:pt>
                <c:pt idx="22519">
                  <c:v>0</c:v>
                </c:pt>
                <c:pt idx="22520">
                  <c:v>0</c:v>
                </c:pt>
                <c:pt idx="22521">
                  <c:v>0</c:v>
                </c:pt>
                <c:pt idx="22522">
                  <c:v>0</c:v>
                </c:pt>
                <c:pt idx="22523">
                  <c:v>0</c:v>
                </c:pt>
                <c:pt idx="22524">
                  <c:v>0</c:v>
                </c:pt>
                <c:pt idx="22525">
                  <c:v>0</c:v>
                </c:pt>
                <c:pt idx="22526">
                  <c:v>0</c:v>
                </c:pt>
                <c:pt idx="22527">
                  <c:v>0</c:v>
                </c:pt>
                <c:pt idx="22528">
                  <c:v>0</c:v>
                </c:pt>
                <c:pt idx="22529">
                  <c:v>0</c:v>
                </c:pt>
                <c:pt idx="22530">
                  <c:v>3</c:v>
                </c:pt>
                <c:pt idx="22531">
                  <c:v>0</c:v>
                </c:pt>
                <c:pt idx="22532">
                  <c:v>0</c:v>
                </c:pt>
                <c:pt idx="22533">
                  <c:v>0</c:v>
                </c:pt>
                <c:pt idx="22534">
                  <c:v>0</c:v>
                </c:pt>
                <c:pt idx="22535">
                  <c:v>0</c:v>
                </c:pt>
                <c:pt idx="22536">
                  <c:v>0</c:v>
                </c:pt>
                <c:pt idx="22537">
                  <c:v>0</c:v>
                </c:pt>
                <c:pt idx="22538">
                  <c:v>0</c:v>
                </c:pt>
                <c:pt idx="22539">
                  <c:v>0</c:v>
                </c:pt>
                <c:pt idx="22540">
                  <c:v>0</c:v>
                </c:pt>
                <c:pt idx="22541">
                  <c:v>0</c:v>
                </c:pt>
                <c:pt idx="22542">
                  <c:v>0</c:v>
                </c:pt>
                <c:pt idx="22543">
                  <c:v>0</c:v>
                </c:pt>
                <c:pt idx="22544">
                  <c:v>0</c:v>
                </c:pt>
                <c:pt idx="22545">
                  <c:v>0</c:v>
                </c:pt>
                <c:pt idx="22546">
                  <c:v>0</c:v>
                </c:pt>
                <c:pt idx="22547">
                  <c:v>0</c:v>
                </c:pt>
                <c:pt idx="22548">
                  <c:v>0</c:v>
                </c:pt>
                <c:pt idx="22549">
                  <c:v>0</c:v>
                </c:pt>
                <c:pt idx="22550">
                  <c:v>0</c:v>
                </c:pt>
                <c:pt idx="22551">
                  <c:v>0</c:v>
                </c:pt>
                <c:pt idx="22552">
                  <c:v>0</c:v>
                </c:pt>
                <c:pt idx="22553">
                  <c:v>0</c:v>
                </c:pt>
                <c:pt idx="22554">
                  <c:v>0</c:v>
                </c:pt>
                <c:pt idx="22555">
                  <c:v>0</c:v>
                </c:pt>
                <c:pt idx="22556">
                  <c:v>1</c:v>
                </c:pt>
                <c:pt idx="22557">
                  <c:v>0</c:v>
                </c:pt>
                <c:pt idx="22558">
                  <c:v>0</c:v>
                </c:pt>
                <c:pt idx="22559">
                  <c:v>0</c:v>
                </c:pt>
                <c:pt idx="22560">
                  <c:v>1</c:v>
                </c:pt>
                <c:pt idx="22561">
                  <c:v>0</c:v>
                </c:pt>
                <c:pt idx="22562">
                  <c:v>0</c:v>
                </c:pt>
                <c:pt idx="22563">
                  <c:v>0</c:v>
                </c:pt>
                <c:pt idx="22564">
                  <c:v>0</c:v>
                </c:pt>
                <c:pt idx="22565">
                  <c:v>0</c:v>
                </c:pt>
                <c:pt idx="22566">
                  <c:v>0</c:v>
                </c:pt>
                <c:pt idx="22567">
                  <c:v>0</c:v>
                </c:pt>
                <c:pt idx="22568">
                  <c:v>0</c:v>
                </c:pt>
                <c:pt idx="22569">
                  <c:v>0</c:v>
                </c:pt>
                <c:pt idx="22570">
                  <c:v>10</c:v>
                </c:pt>
                <c:pt idx="22571">
                  <c:v>0</c:v>
                </c:pt>
                <c:pt idx="22572">
                  <c:v>0</c:v>
                </c:pt>
                <c:pt idx="22573">
                  <c:v>0</c:v>
                </c:pt>
                <c:pt idx="22574">
                  <c:v>0</c:v>
                </c:pt>
                <c:pt idx="22575">
                  <c:v>0</c:v>
                </c:pt>
                <c:pt idx="22576">
                  <c:v>1</c:v>
                </c:pt>
                <c:pt idx="22577">
                  <c:v>0</c:v>
                </c:pt>
                <c:pt idx="22578">
                  <c:v>0</c:v>
                </c:pt>
                <c:pt idx="22579">
                  <c:v>0</c:v>
                </c:pt>
                <c:pt idx="22580">
                  <c:v>0</c:v>
                </c:pt>
                <c:pt idx="22581">
                  <c:v>0</c:v>
                </c:pt>
                <c:pt idx="22582">
                  <c:v>0</c:v>
                </c:pt>
                <c:pt idx="22583">
                  <c:v>0</c:v>
                </c:pt>
                <c:pt idx="22584">
                  <c:v>0</c:v>
                </c:pt>
                <c:pt idx="22585">
                  <c:v>0</c:v>
                </c:pt>
                <c:pt idx="22586">
                  <c:v>5</c:v>
                </c:pt>
                <c:pt idx="22587">
                  <c:v>0</c:v>
                </c:pt>
                <c:pt idx="22588">
                  <c:v>0</c:v>
                </c:pt>
                <c:pt idx="22589">
                  <c:v>0</c:v>
                </c:pt>
                <c:pt idx="22590">
                  <c:v>0</c:v>
                </c:pt>
                <c:pt idx="22591">
                  <c:v>0</c:v>
                </c:pt>
                <c:pt idx="22592">
                  <c:v>0</c:v>
                </c:pt>
                <c:pt idx="22593">
                  <c:v>0</c:v>
                </c:pt>
                <c:pt idx="22594">
                  <c:v>0</c:v>
                </c:pt>
                <c:pt idx="22595">
                  <c:v>0</c:v>
                </c:pt>
                <c:pt idx="22596">
                  <c:v>0</c:v>
                </c:pt>
                <c:pt idx="22597">
                  <c:v>0</c:v>
                </c:pt>
                <c:pt idx="22598">
                  <c:v>0</c:v>
                </c:pt>
                <c:pt idx="22599">
                  <c:v>0</c:v>
                </c:pt>
                <c:pt idx="22600">
                  <c:v>0</c:v>
                </c:pt>
                <c:pt idx="22601">
                  <c:v>0</c:v>
                </c:pt>
                <c:pt idx="22602">
                  <c:v>0</c:v>
                </c:pt>
                <c:pt idx="22603">
                  <c:v>0</c:v>
                </c:pt>
                <c:pt idx="22604">
                  <c:v>0</c:v>
                </c:pt>
                <c:pt idx="22605">
                  <c:v>0</c:v>
                </c:pt>
                <c:pt idx="22606">
                  <c:v>0</c:v>
                </c:pt>
                <c:pt idx="22607">
                  <c:v>0</c:v>
                </c:pt>
                <c:pt idx="22608">
                  <c:v>0</c:v>
                </c:pt>
                <c:pt idx="22609">
                  <c:v>0</c:v>
                </c:pt>
                <c:pt idx="22610">
                  <c:v>1</c:v>
                </c:pt>
                <c:pt idx="22611">
                  <c:v>0</c:v>
                </c:pt>
                <c:pt idx="22612">
                  <c:v>0</c:v>
                </c:pt>
                <c:pt idx="22613">
                  <c:v>0</c:v>
                </c:pt>
                <c:pt idx="22614">
                  <c:v>0</c:v>
                </c:pt>
                <c:pt idx="22615">
                  <c:v>2</c:v>
                </c:pt>
                <c:pt idx="22616">
                  <c:v>3</c:v>
                </c:pt>
                <c:pt idx="22617">
                  <c:v>8</c:v>
                </c:pt>
                <c:pt idx="22618">
                  <c:v>0</c:v>
                </c:pt>
                <c:pt idx="22619">
                  <c:v>0</c:v>
                </c:pt>
                <c:pt idx="22620">
                  <c:v>0</c:v>
                </c:pt>
                <c:pt idx="22621">
                  <c:v>0</c:v>
                </c:pt>
                <c:pt idx="22622">
                  <c:v>0</c:v>
                </c:pt>
                <c:pt idx="22623">
                  <c:v>0</c:v>
                </c:pt>
                <c:pt idx="22624">
                  <c:v>0</c:v>
                </c:pt>
                <c:pt idx="22625">
                  <c:v>0</c:v>
                </c:pt>
                <c:pt idx="22626">
                  <c:v>0</c:v>
                </c:pt>
                <c:pt idx="22627">
                  <c:v>0</c:v>
                </c:pt>
                <c:pt idx="22628">
                  <c:v>0</c:v>
                </c:pt>
                <c:pt idx="22629">
                  <c:v>0</c:v>
                </c:pt>
                <c:pt idx="22630">
                  <c:v>0</c:v>
                </c:pt>
                <c:pt idx="22631">
                  <c:v>0</c:v>
                </c:pt>
                <c:pt idx="22632">
                  <c:v>0</c:v>
                </c:pt>
                <c:pt idx="22633">
                  <c:v>1</c:v>
                </c:pt>
                <c:pt idx="22634">
                  <c:v>0</c:v>
                </c:pt>
                <c:pt idx="22635">
                  <c:v>2</c:v>
                </c:pt>
                <c:pt idx="22636">
                  <c:v>0</c:v>
                </c:pt>
                <c:pt idx="22637">
                  <c:v>1</c:v>
                </c:pt>
                <c:pt idx="22638">
                  <c:v>0</c:v>
                </c:pt>
                <c:pt idx="22639">
                  <c:v>0</c:v>
                </c:pt>
                <c:pt idx="22640">
                  <c:v>1</c:v>
                </c:pt>
                <c:pt idx="22641">
                  <c:v>0</c:v>
                </c:pt>
                <c:pt idx="22642">
                  <c:v>0</c:v>
                </c:pt>
                <c:pt idx="22643">
                  <c:v>0</c:v>
                </c:pt>
                <c:pt idx="22644">
                  <c:v>3</c:v>
                </c:pt>
                <c:pt idx="22645">
                  <c:v>0</c:v>
                </c:pt>
                <c:pt idx="22646">
                  <c:v>3</c:v>
                </c:pt>
                <c:pt idx="22647">
                  <c:v>0</c:v>
                </c:pt>
                <c:pt idx="22648">
                  <c:v>1</c:v>
                </c:pt>
                <c:pt idx="22649">
                  <c:v>2</c:v>
                </c:pt>
                <c:pt idx="22650">
                  <c:v>0</c:v>
                </c:pt>
                <c:pt idx="22651">
                  <c:v>1</c:v>
                </c:pt>
                <c:pt idx="22652">
                  <c:v>0</c:v>
                </c:pt>
                <c:pt idx="22653">
                  <c:v>0</c:v>
                </c:pt>
                <c:pt idx="22654">
                  <c:v>0</c:v>
                </c:pt>
                <c:pt idx="22655">
                  <c:v>0</c:v>
                </c:pt>
                <c:pt idx="22656">
                  <c:v>0</c:v>
                </c:pt>
                <c:pt idx="22657">
                  <c:v>0</c:v>
                </c:pt>
                <c:pt idx="22658">
                  <c:v>0</c:v>
                </c:pt>
                <c:pt idx="22659">
                  <c:v>0</c:v>
                </c:pt>
                <c:pt idx="22660">
                  <c:v>0</c:v>
                </c:pt>
                <c:pt idx="22661">
                  <c:v>3</c:v>
                </c:pt>
                <c:pt idx="22662">
                  <c:v>0</c:v>
                </c:pt>
                <c:pt idx="22663">
                  <c:v>0</c:v>
                </c:pt>
                <c:pt idx="22664">
                  <c:v>0</c:v>
                </c:pt>
                <c:pt idx="22665">
                  <c:v>0</c:v>
                </c:pt>
                <c:pt idx="22666">
                  <c:v>1</c:v>
                </c:pt>
                <c:pt idx="22667">
                  <c:v>0</c:v>
                </c:pt>
                <c:pt idx="22668">
                  <c:v>0</c:v>
                </c:pt>
                <c:pt idx="22669">
                  <c:v>0</c:v>
                </c:pt>
                <c:pt idx="22670">
                  <c:v>2</c:v>
                </c:pt>
                <c:pt idx="22671">
                  <c:v>3</c:v>
                </c:pt>
                <c:pt idx="22672">
                  <c:v>0</c:v>
                </c:pt>
                <c:pt idx="22673">
                  <c:v>0</c:v>
                </c:pt>
                <c:pt idx="22674">
                  <c:v>0</c:v>
                </c:pt>
                <c:pt idx="22675">
                  <c:v>1</c:v>
                </c:pt>
                <c:pt idx="22676">
                  <c:v>0</c:v>
                </c:pt>
                <c:pt idx="22677">
                  <c:v>0</c:v>
                </c:pt>
                <c:pt idx="22678">
                  <c:v>1</c:v>
                </c:pt>
                <c:pt idx="22679">
                  <c:v>0</c:v>
                </c:pt>
                <c:pt idx="22680">
                  <c:v>0</c:v>
                </c:pt>
                <c:pt idx="22681">
                  <c:v>0</c:v>
                </c:pt>
                <c:pt idx="22682">
                  <c:v>0</c:v>
                </c:pt>
                <c:pt idx="22683">
                  <c:v>0</c:v>
                </c:pt>
                <c:pt idx="22684">
                  <c:v>0</c:v>
                </c:pt>
                <c:pt idx="22685">
                  <c:v>0</c:v>
                </c:pt>
                <c:pt idx="22686">
                  <c:v>0</c:v>
                </c:pt>
                <c:pt idx="22687">
                  <c:v>0</c:v>
                </c:pt>
                <c:pt idx="22688">
                  <c:v>0</c:v>
                </c:pt>
                <c:pt idx="22689">
                  <c:v>0</c:v>
                </c:pt>
                <c:pt idx="22690">
                  <c:v>0</c:v>
                </c:pt>
                <c:pt idx="22691">
                  <c:v>0</c:v>
                </c:pt>
                <c:pt idx="22692">
                  <c:v>0</c:v>
                </c:pt>
                <c:pt idx="22693">
                  <c:v>0</c:v>
                </c:pt>
                <c:pt idx="22694">
                  <c:v>0</c:v>
                </c:pt>
                <c:pt idx="22695">
                  <c:v>0</c:v>
                </c:pt>
                <c:pt idx="22696">
                  <c:v>0</c:v>
                </c:pt>
                <c:pt idx="22697">
                  <c:v>0</c:v>
                </c:pt>
                <c:pt idx="22698">
                  <c:v>0</c:v>
                </c:pt>
                <c:pt idx="22699">
                  <c:v>0</c:v>
                </c:pt>
                <c:pt idx="22700">
                  <c:v>0</c:v>
                </c:pt>
                <c:pt idx="22701">
                  <c:v>0</c:v>
                </c:pt>
                <c:pt idx="22702">
                  <c:v>0</c:v>
                </c:pt>
                <c:pt idx="22703">
                  <c:v>0</c:v>
                </c:pt>
                <c:pt idx="22704">
                  <c:v>0</c:v>
                </c:pt>
                <c:pt idx="22705">
                  <c:v>0</c:v>
                </c:pt>
                <c:pt idx="22706">
                  <c:v>0</c:v>
                </c:pt>
                <c:pt idx="22707">
                  <c:v>0</c:v>
                </c:pt>
                <c:pt idx="22708">
                  <c:v>3</c:v>
                </c:pt>
                <c:pt idx="22709">
                  <c:v>3</c:v>
                </c:pt>
                <c:pt idx="22710">
                  <c:v>0</c:v>
                </c:pt>
                <c:pt idx="22711">
                  <c:v>0</c:v>
                </c:pt>
                <c:pt idx="22712">
                  <c:v>0</c:v>
                </c:pt>
                <c:pt idx="22713">
                  <c:v>0</c:v>
                </c:pt>
                <c:pt idx="22714">
                  <c:v>0</c:v>
                </c:pt>
                <c:pt idx="22715">
                  <c:v>0</c:v>
                </c:pt>
                <c:pt idx="22716">
                  <c:v>0</c:v>
                </c:pt>
                <c:pt idx="22717">
                  <c:v>0</c:v>
                </c:pt>
                <c:pt idx="22718">
                  <c:v>0</c:v>
                </c:pt>
                <c:pt idx="22719">
                  <c:v>0</c:v>
                </c:pt>
                <c:pt idx="22720">
                  <c:v>0</c:v>
                </c:pt>
                <c:pt idx="22721">
                  <c:v>0</c:v>
                </c:pt>
                <c:pt idx="22722">
                  <c:v>0</c:v>
                </c:pt>
                <c:pt idx="22723">
                  <c:v>0</c:v>
                </c:pt>
                <c:pt idx="22724">
                  <c:v>0</c:v>
                </c:pt>
                <c:pt idx="22725">
                  <c:v>0</c:v>
                </c:pt>
                <c:pt idx="22726">
                  <c:v>0</c:v>
                </c:pt>
                <c:pt idx="22727">
                  <c:v>0</c:v>
                </c:pt>
                <c:pt idx="22728">
                  <c:v>0</c:v>
                </c:pt>
                <c:pt idx="22729">
                  <c:v>0</c:v>
                </c:pt>
                <c:pt idx="22730">
                  <c:v>0</c:v>
                </c:pt>
                <c:pt idx="22731">
                  <c:v>0</c:v>
                </c:pt>
                <c:pt idx="22732">
                  <c:v>0</c:v>
                </c:pt>
                <c:pt idx="22733">
                  <c:v>0</c:v>
                </c:pt>
                <c:pt idx="22734">
                  <c:v>0</c:v>
                </c:pt>
                <c:pt idx="22735">
                  <c:v>0</c:v>
                </c:pt>
                <c:pt idx="22736">
                  <c:v>0</c:v>
                </c:pt>
                <c:pt idx="22737">
                  <c:v>0</c:v>
                </c:pt>
                <c:pt idx="22738">
                  <c:v>0</c:v>
                </c:pt>
                <c:pt idx="22739">
                  <c:v>0</c:v>
                </c:pt>
                <c:pt idx="22740">
                  <c:v>0</c:v>
                </c:pt>
                <c:pt idx="22741">
                  <c:v>0</c:v>
                </c:pt>
                <c:pt idx="22742">
                  <c:v>0</c:v>
                </c:pt>
                <c:pt idx="22743">
                  <c:v>0</c:v>
                </c:pt>
                <c:pt idx="22744">
                  <c:v>0</c:v>
                </c:pt>
                <c:pt idx="22745">
                  <c:v>0</c:v>
                </c:pt>
                <c:pt idx="22746">
                  <c:v>0</c:v>
                </c:pt>
                <c:pt idx="22747">
                  <c:v>0</c:v>
                </c:pt>
                <c:pt idx="22748">
                  <c:v>0</c:v>
                </c:pt>
                <c:pt idx="22749">
                  <c:v>0</c:v>
                </c:pt>
                <c:pt idx="22750">
                  <c:v>0</c:v>
                </c:pt>
                <c:pt idx="22751">
                  <c:v>0</c:v>
                </c:pt>
                <c:pt idx="22752">
                  <c:v>0</c:v>
                </c:pt>
                <c:pt idx="22753">
                  <c:v>0</c:v>
                </c:pt>
                <c:pt idx="22754">
                  <c:v>0</c:v>
                </c:pt>
                <c:pt idx="22755">
                  <c:v>0</c:v>
                </c:pt>
                <c:pt idx="22756">
                  <c:v>0</c:v>
                </c:pt>
                <c:pt idx="22757">
                  <c:v>0</c:v>
                </c:pt>
                <c:pt idx="22758">
                  <c:v>0</c:v>
                </c:pt>
                <c:pt idx="22759">
                  <c:v>0</c:v>
                </c:pt>
                <c:pt idx="22760">
                  <c:v>0</c:v>
                </c:pt>
                <c:pt idx="22761">
                  <c:v>0</c:v>
                </c:pt>
                <c:pt idx="22762">
                  <c:v>0</c:v>
                </c:pt>
                <c:pt idx="22763">
                  <c:v>0</c:v>
                </c:pt>
                <c:pt idx="22764">
                  <c:v>0</c:v>
                </c:pt>
                <c:pt idx="22765">
                  <c:v>0</c:v>
                </c:pt>
                <c:pt idx="22766">
                  <c:v>0</c:v>
                </c:pt>
                <c:pt idx="22767">
                  <c:v>0</c:v>
                </c:pt>
                <c:pt idx="22768">
                  <c:v>0</c:v>
                </c:pt>
                <c:pt idx="22769">
                  <c:v>0</c:v>
                </c:pt>
                <c:pt idx="22770">
                  <c:v>0</c:v>
                </c:pt>
                <c:pt idx="22771">
                  <c:v>0</c:v>
                </c:pt>
                <c:pt idx="22772">
                  <c:v>0</c:v>
                </c:pt>
                <c:pt idx="22773">
                  <c:v>0</c:v>
                </c:pt>
                <c:pt idx="22774">
                  <c:v>0</c:v>
                </c:pt>
                <c:pt idx="22775">
                  <c:v>0</c:v>
                </c:pt>
                <c:pt idx="22776">
                  <c:v>0</c:v>
                </c:pt>
                <c:pt idx="22777">
                  <c:v>0</c:v>
                </c:pt>
                <c:pt idx="22778">
                  <c:v>1</c:v>
                </c:pt>
                <c:pt idx="22779">
                  <c:v>0</c:v>
                </c:pt>
                <c:pt idx="22780">
                  <c:v>0</c:v>
                </c:pt>
                <c:pt idx="22781">
                  <c:v>0</c:v>
                </c:pt>
                <c:pt idx="22782">
                  <c:v>0</c:v>
                </c:pt>
                <c:pt idx="22783">
                  <c:v>0</c:v>
                </c:pt>
                <c:pt idx="22784">
                  <c:v>0</c:v>
                </c:pt>
                <c:pt idx="22785">
                  <c:v>0</c:v>
                </c:pt>
                <c:pt idx="22786">
                  <c:v>0</c:v>
                </c:pt>
                <c:pt idx="22787">
                  <c:v>0</c:v>
                </c:pt>
                <c:pt idx="22788">
                  <c:v>0</c:v>
                </c:pt>
                <c:pt idx="22789">
                  <c:v>0</c:v>
                </c:pt>
                <c:pt idx="22790">
                  <c:v>0</c:v>
                </c:pt>
                <c:pt idx="22791">
                  <c:v>0</c:v>
                </c:pt>
                <c:pt idx="22792">
                  <c:v>0</c:v>
                </c:pt>
                <c:pt idx="22793">
                  <c:v>0</c:v>
                </c:pt>
                <c:pt idx="22794">
                  <c:v>0</c:v>
                </c:pt>
                <c:pt idx="22795">
                  <c:v>0</c:v>
                </c:pt>
                <c:pt idx="22796">
                  <c:v>0</c:v>
                </c:pt>
                <c:pt idx="22797">
                  <c:v>0</c:v>
                </c:pt>
                <c:pt idx="22798">
                  <c:v>0</c:v>
                </c:pt>
                <c:pt idx="22799">
                  <c:v>0</c:v>
                </c:pt>
                <c:pt idx="22800">
                  <c:v>0</c:v>
                </c:pt>
                <c:pt idx="22801">
                  <c:v>0</c:v>
                </c:pt>
                <c:pt idx="22802">
                  <c:v>0</c:v>
                </c:pt>
                <c:pt idx="22803">
                  <c:v>0</c:v>
                </c:pt>
                <c:pt idx="22804">
                  <c:v>0</c:v>
                </c:pt>
                <c:pt idx="22805">
                  <c:v>0</c:v>
                </c:pt>
                <c:pt idx="22806">
                  <c:v>0</c:v>
                </c:pt>
                <c:pt idx="22807">
                  <c:v>0</c:v>
                </c:pt>
                <c:pt idx="22808">
                  <c:v>0</c:v>
                </c:pt>
                <c:pt idx="22809">
                  <c:v>0</c:v>
                </c:pt>
                <c:pt idx="22810">
                  <c:v>0</c:v>
                </c:pt>
                <c:pt idx="22811">
                  <c:v>0</c:v>
                </c:pt>
                <c:pt idx="22812">
                  <c:v>0</c:v>
                </c:pt>
                <c:pt idx="22813">
                  <c:v>0</c:v>
                </c:pt>
                <c:pt idx="22814">
                  <c:v>0</c:v>
                </c:pt>
                <c:pt idx="22815">
                  <c:v>0</c:v>
                </c:pt>
                <c:pt idx="22816">
                  <c:v>0</c:v>
                </c:pt>
                <c:pt idx="22817">
                  <c:v>0</c:v>
                </c:pt>
                <c:pt idx="22818">
                  <c:v>0</c:v>
                </c:pt>
                <c:pt idx="22819">
                  <c:v>0</c:v>
                </c:pt>
                <c:pt idx="22820">
                  <c:v>0</c:v>
                </c:pt>
                <c:pt idx="22821">
                  <c:v>0</c:v>
                </c:pt>
                <c:pt idx="22822">
                  <c:v>0</c:v>
                </c:pt>
                <c:pt idx="22823">
                  <c:v>0</c:v>
                </c:pt>
                <c:pt idx="22824">
                  <c:v>0</c:v>
                </c:pt>
                <c:pt idx="22825">
                  <c:v>0</c:v>
                </c:pt>
                <c:pt idx="22826">
                  <c:v>0</c:v>
                </c:pt>
                <c:pt idx="22827">
                  <c:v>0</c:v>
                </c:pt>
                <c:pt idx="22828">
                  <c:v>0</c:v>
                </c:pt>
                <c:pt idx="22829">
                  <c:v>0</c:v>
                </c:pt>
                <c:pt idx="22830">
                  <c:v>0</c:v>
                </c:pt>
                <c:pt idx="22831">
                  <c:v>0</c:v>
                </c:pt>
                <c:pt idx="22832">
                  <c:v>0</c:v>
                </c:pt>
                <c:pt idx="22833">
                  <c:v>0</c:v>
                </c:pt>
                <c:pt idx="22834">
                  <c:v>0</c:v>
                </c:pt>
                <c:pt idx="22835">
                  <c:v>0</c:v>
                </c:pt>
                <c:pt idx="22836">
                  <c:v>0</c:v>
                </c:pt>
                <c:pt idx="22837">
                  <c:v>0</c:v>
                </c:pt>
                <c:pt idx="22838">
                  <c:v>0</c:v>
                </c:pt>
                <c:pt idx="22839">
                  <c:v>0</c:v>
                </c:pt>
                <c:pt idx="22840">
                  <c:v>0</c:v>
                </c:pt>
                <c:pt idx="22841">
                  <c:v>0</c:v>
                </c:pt>
                <c:pt idx="22842">
                  <c:v>0</c:v>
                </c:pt>
                <c:pt idx="22843">
                  <c:v>0</c:v>
                </c:pt>
                <c:pt idx="22844">
                  <c:v>0</c:v>
                </c:pt>
                <c:pt idx="22845">
                  <c:v>0</c:v>
                </c:pt>
                <c:pt idx="22846">
                  <c:v>0</c:v>
                </c:pt>
                <c:pt idx="22847">
                  <c:v>0</c:v>
                </c:pt>
                <c:pt idx="22848">
                  <c:v>0</c:v>
                </c:pt>
                <c:pt idx="22849">
                  <c:v>0</c:v>
                </c:pt>
                <c:pt idx="22850">
                  <c:v>0</c:v>
                </c:pt>
                <c:pt idx="22851">
                  <c:v>0</c:v>
                </c:pt>
                <c:pt idx="22852">
                  <c:v>0</c:v>
                </c:pt>
                <c:pt idx="22853">
                  <c:v>0</c:v>
                </c:pt>
                <c:pt idx="22854">
                  <c:v>0</c:v>
                </c:pt>
                <c:pt idx="22855">
                  <c:v>1</c:v>
                </c:pt>
                <c:pt idx="22856">
                  <c:v>0</c:v>
                </c:pt>
                <c:pt idx="22857">
                  <c:v>0</c:v>
                </c:pt>
                <c:pt idx="22858">
                  <c:v>1</c:v>
                </c:pt>
                <c:pt idx="22859">
                  <c:v>2</c:v>
                </c:pt>
                <c:pt idx="22860">
                  <c:v>0</c:v>
                </c:pt>
                <c:pt idx="22861">
                  <c:v>0</c:v>
                </c:pt>
                <c:pt idx="22862">
                  <c:v>0</c:v>
                </c:pt>
                <c:pt idx="22863">
                  <c:v>0</c:v>
                </c:pt>
                <c:pt idx="22864">
                  <c:v>1</c:v>
                </c:pt>
                <c:pt idx="22865">
                  <c:v>0</c:v>
                </c:pt>
                <c:pt idx="22866">
                  <c:v>1</c:v>
                </c:pt>
                <c:pt idx="22867">
                  <c:v>0</c:v>
                </c:pt>
                <c:pt idx="22868">
                  <c:v>0</c:v>
                </c:pt>
                <c:pt idx="22869">
                  <c:v>0</c:v>
                </c:pt>
                <c:pt idx="22870">
                  <c:v>0</c:v>
                </c:pt>
                <c:pt idx="22871">
                  <c:v>0</c:v>
                </c:pt>
                <c:pt idx="22872">
                  <c:v>0</c:v>
                </c:pt>
                <c:pt idx="22873">
                  <c:v>0</c:v>
                </c:pt>
                <c:pt idx="22874">
                  <c:v>0</c:v>
                </c:pt>
                <c:pt idx="22875">
                  <c:v>0</c:v>
                </c:pt>
                <c:pt idx="22876">
                  <c:v>0</c:v>
                </c:pt>
                <c:pt idx="22877">
                  <c:v>0</c:v>
                </c:pt>
                <c:pt idx="22878">
                  <c:v>0</c:v>
                </c:pt>
                <c:pt idx="22879">
                  <c:v>2</c:v>
                </c:pt>
                <c:pt idx="22880">
                  <c:v>0</c:v>
                </c:pt>
                <c:pt idx="22881">
                  <c:v>0</c:v>
                </c:pt>
                <c:pt idx="22882">
                  <c:v>0</c:v>
                </c:pt>
                <c:pt idx="22883">
                  <c:v>0</c:v>
                </c:pt>
                <c:pt idx="22884">
                  <c:v>0</c:v>
                </c:pt>
                <c:pt idx="22885">
                  <c:v>0</c:v>
                </c:pt>
                <c:pt idx="22886">
                  <c:v>0</c:v>
                </c:pt>
                <c:pt idx="22887">
                  <c:v>0</c:v>
                </c:pt>
                <c:pt idx="22888">
                  <c:v>0</c:v>
                </c:pt>
                <c:pt idx="22889">
                  <c:v>0</c:v>
                </c:pt>
                <c:pt idx="22890">
                  <c:v>0</c:v>
                </c:pt>
                <c:pt idx="22891">
                  <c:v>0</c:v>
                </c:pt>
                <c:pt idx="22892">
                  <c:v>0</c:v>
                </c:pt>
                <c:pt idx="22893">
                  <c:v>3</c:v>
                </c:pt>
                <c:pt idx="22894">
                  <c:v>0</c:v>
                </c:pt>
                <c:pt idx="22895">
                  <c:v>0</c:v>
                </c:pt>
                <c:pt idx="22896">
                  <c:v>0</c:v>
                </c:pt>
                <c:pt idx="22897">
                  <c:v>0</c:v>
                </c:pt>
                <c:pt idx="22898">
                  <c:v>0</c:v>
                </c:pt>
                <c:pt idx="22899">
                  <c:v>0</c:v>
                </c:pt>
                <c:pt idx="22900">
                  <c:v>1</c:v>
                </c:pt>
                <c:pt idx="22901">
                  <c:v>0</c:v>
                </c:pt>
                <c:pt idx="22902">
                  <c:v>0</c:v>
                </c:pt>
                <c:pt idx="22903">
                  <c:v>0</c:v>
                </c:pt>
                <c:pt idx="22904">
                  <c:v>0</c:v>
                </c:pt>
                <c:pt idx="22905">
                  <c:v>0</c:v>
                </c:pt>
                <c:pt idx="22906">
                  <c:v>1</c:v>
                </c:pt>
                <c:pt idx="22907">
                  <c:v>1</c:v>
                </c:pt>
                <c:pt idx="22908">
                  <c:v>0</c:v>
                </c:pt>
                <c:pt idx="22909">
                  <c:v>0</c:v>
                </c:pt>
                <c:pt idx="22910">
                  <c:v>0</c:v>
                </c:pt>
                <c:pt idx="22911">
                  <c:v>0</c:v>
                </c:pt>
                <c:pt idx="22912">
                  <c:v>0</c:v>
                </c:pt>
                <c:pt idx="22913">
                  <c:v>0</c:v>
                </c:pt>
                <c:pt idx="22914">
                  <c:v>0</c:v>
                </c:pt>
                <c:pt idx="22915">
                  <c:v>0</c:v>
                </c:pt>
                <c:pt idx="22916">
                  <c:v>2</c:v>
                </c:pt>
                <c:pt idx="22917">
                  <c:v>0</c:v>
                </c:pt>
                <c:pt idx="22918">
                  <c:v>0</c:v>
                </c:pt>
                <c:pt idx="22919">
                  <c:v>0</c:v>
                </c:pt>
                <c:pt idx="22920">
                  <c:v>0</c:v>
                </c:pt>
                <c:pt idx="22921">
                  <c:v>2</c:v>
                </c:pt>
                <c:pt idx="22922">
                  <c:v>1</c:v>
                </c:pt>
                <c:pt idx="22923">
                  <c:v>0</c:v>
                </c:pt>
                <c:pt idx="22924">
                  <c:v>0</c:v>
                </c:pt>
                <c:pt idx="22925">
                  <c:v>0</c:v>
                </c:pt>
                <c:pt idx="22926">
                  <c:v>0</c:v>
                </c:pt>
                <c:pt idx="22927">
                  <c:v>0</c:v>
                </c:pt>
                <c:pt idx="22928">
                  <c:v>0</c:v>
                </c:pt>
                <c:pt idx="22929">
                  <c:v>0</c:v>
                </c:pt>
                <c:pt idx="22930">
                  <c:v>1</c:v>
                </c:pt>
                <c:pt idx="22931">
                  <c:v>0</c:v>
                </c:pt>
                <c:pt idx="22932">
                  <c:v>0</c:v>
                </c:pt>
                <c:pt idx="22933">
                  <c:v>2</c:v>
                </c:pt>
                <c:pt idx="22934">
                  <c:v>5</c:v>
                </c:pt>
                <c:pt idx="22935">
                  <c:v>0</c:v>
                </c:pt>
                <c:pt idx="22936">
                  <c:v>3</c:v>
                </c:pt>
                <c:pt idx="22937">
                  <c:v>1</c:v>
                </c:pt>
                <c:pt idx="22938">
                  <c:v>2</c:v>
                </c:pt>
                <c:pt idx="22939">
                  <c:v>0</c:v>
                </c:pt>
                <c:pt idx="22940">
                  <c:v>0</c:v>
                </c:pt>
                <c:pt idx="22941">
                  <c:v>0</c:v>
                </c:pt>
                <c:pt idx="22942">
                  <c:v>0</c:v>
                </c:pt>
                <c:pt idx="22943">
                  <c:v>0</c:v>
                </c:pt>
                <c:pt idx="22944">
                  <c:v>0</c:v>
                </c:pt>
                <c:pt idx="22945">
                  <c:v>0</c:v>
                </c:pt>
                <c:pt idx="22946">
                  <c:v>0</c:v>
                </c:pt>
                <c:pt idx="22947">
                  <c:v>0</c:v>
                </c:pt>
                <c:pt idx="22948">
                  <c:v>0</c:v>
                </c:pt>
                <c:pt idx="22949">
                  <c:v>0</c:v>
                </c:pt>
                <c:pt idx="22950">
                  <c:v>0</c:v>
                </c:pt>
                <c:pt idx="22951">
                  <c:v>0</c:v>
                </c:pt>
                <c:pt idx="22952">
                  <c:v>0</c:v>
                </c:pt>
                <c:pt idx="22953">
                  <c:v>0</c:v>
                </c:pt>
                <c:pt idx="22954">
                  <c:v>0</c:v>
                </c:pt>
                <c:pt idx="22955">
                  <c:v>0</c:v>
                </c:pt>
                <c:pt idx="22956">
                  <c:v>0</c:v>
                </c:pt>
                <c:pt idx="22957">
                  <c:v>0</c:v>
                </c:pt>
                <c:pt idx="22958">
                  <c:v>0</c:v>
                </c:pt>
                <c:pt idx="22959">
                  <c:v>0</c:v>
                </c:pt>
                <c:pt idx="22960">
                  <c:v>0</c:v>
                </c:pt>
                <c:pt idx="22961">
                  <c:v>0</c:v>
                </c:pt>
                <c:pt idx="22962">
                  <c:v>0</c:v>
                </c:pt>
                <c:pt idx="22963">
                  <c:v>0</c:v>
                </c:pt>
                <c:pt idx="22964">
                  <c:v>0</c:v>
                </c:pt>
                <c:pt idx="22965">
                  <c:v>0</c:v>
                </c:pt>
                <c:pt idx="22966">
                  <c:v>0</c:v>
                </c:pt>
                <c:pt idx="22967">
                  <c:v>0</c:v>
                </c:pt>
                <c:pt idx="22968">
                  <c:v>0</c:v>
                </c:pt>
                <c:pt idx="22969">
                  <c:v>0</c:v>
                </c:pt>
                <c:pt idx="22970">
                  <c:v>1</c:v>
                </c:pt>
                <c:pt idx="22971">
                  <c:v>0</c:v>
                </c:pt>
                <c:pt idx="22972">
                  <c:v>0</c:v>
                </c:pt>
                <c:pt idx="22973">
                  <c:v>0</c:v>
                </c:pt>
                <c:pt idx="22974">
                  <c:v>0</c:v>
                </c:pt>
                <c:pt idx="22975">
                  <c:v>0</c:v>
                </c:pt>
                <c:pt idx="22976">
                  <c:v>0</c:v>
                </c:pt>
                <c:pt idx="22977">
                  <c:v>0</c:v>
                </c:pt>
                <c:pt idx="22978">
                  <c:v>0</c:v>
                </c:pt>
                <c:pt idx="22979">
                  <c:v>0</c:v>
                </c:pt>
                <c:pt idx="22980">
                  <c:v>0</c:v>
                </c:pt>
                <c:pt idx="22981">
                  <c:v>0</c:v>
                </c:pt>
                <c:pt idx="22982">
                  <c:v>0</c:v>
                </c:pt>
                <c:pt idx="22983">
                  <c:v>0</c:v>
                </c:pt>
                <c:pt idx="22984">
                  <c:v>0</c:v>
                </c:pt>
                <c:pt idx="22985">
                  <c:v>0</c:v>
                </c:pt>
                <c:pt idx="22986">
                  <c:v>0</c:v>
                </c:pt>
                <c:pt idx="22987">
                  <c:v>0</c:v>
                </c:pt>
                <c:pt idx="22988">
                  <c:v>0</c:v>
                </c:pt>
                <c:pt idx="22989">
                  <c:v>0</c:v>
                </c:pt>
                <c:pt idx="22990">
                  <c:v>0</c:v>
                </c:pt>
                <c:pt idx="22991">
                  <c:v>0</c:v>
                </c:pt>
                <c:pt idx="22992">
                  <c:v>0</c:v>
                </c:pt>
                <c:pt idx="22993">
                  <c:v>0</c:v>
                </c:pt>
                <c:pt idx="22994">
                  <c:v>0</c:v>
                </c:pt>
                <c:pt idx="22995">
                  <c:v>0</c:v>
                </c:pt>
                <c:pt idx="22996">
                  <c:v>0</c:v>
                </c:pt>
                <c:pt idx="22997">
                  <c:v>0</c:v>
                </c:pt>
                <c:pt idx="22998">
                  <c:v>0</c:v>
                </c:pt>
                <c:pt idx="22999">
                  <c:v>0</c:v>
                </c:pt>
                <c:pt idx="23000">
                  <c:v>0</c:v>
                </c:pt>
                <c:pt idx="23001">
                  <c:v>0</c:v>
                </c:pt>
                <c:pt idx="23002">
                  <c:v>0</c:v>
                </c:pt>
                <c:pt idx="23003">
                  <c:v>0</c:v>
                </c:pt>
                <c:pt idx="23004">
                  <c:v>1</c:v>
                </c:pt>
                <c:pt idx="23005">
                  <c:v>0</c:v>
                </c:pt>
                <c:pt idx="23006">
                  <c:v>0</c:v>
                </c:pt>
                <c:pt idx="23007">
                  <c:v>0</c:v>
                </c:pt>
                <c:pt idx="23008">
                  <c:v>0</c:v>
                </c:pt>
                <c:pt idx="23009">
                  <c:v>0</c:v>
                </c:pt>
                <c:pt idx="23010">
                  <c:v>0</c:v>
                </c:pt>
                <c:pt idx="23011">
                  <c:v>0</c:v>
                </c:pt>
                <c:pt idx="23012">
                  <c:v>0</c:v>
                </c:pt>
                <c:pt idx="23013">
                  <c:v>0</c:v>
                </c:pt>
                <c:pt idx="23014">
                  <c:v>0</c:v>
                </c:pt>
                <c:pt idx="23015">
                  <c:v>0</c:v>
                </c:pt>
                <c:pt idx="23016">
                  <c:v>0</c:v>
                </c:pt>
                <c:pt idx="23017">
                  <c:v>0</c:v>
                </c:pt>
                <c:pt idx="23018">
                  <c:v>0</c:v>
                </c:pt>
                <c:pt idx="23019">
                  <c:v>0</c:v>
                </c:pt>
                <c:pt idx="23020">
                  <c:v>0</c:v>
                </c:pt>
                <c:pt idx="23021">
                  <c:v>0</c:v>
                </c:pt>
                <c:pt idx="23022">
                  <c:v>0</c:v>
                </c:pt>
                <c:pt idx="23023">
                  <c:v>0</c:v>
                </c:pt>
                <c:pt idx="23024">
                  <c:v>0</c:v>
                </c:pt>
                <c:pt idx="23025">
                  <c:v>0</c:v>
                </c:pt>
                <c:pt idx="23026">
                  <c:v>0</c:v>
                </c:pt>
                <c:pt idx="23027">
                  <c:v>0</c:v>
                </c:pt>
                <c:pt idx="23028">
                  <c:v>0</c:v>
                </c:pt>
                <c:pt idx="23029">
                  <c:v>0</c:v>
                </c:pt>
                <c:pt idx="23030">
                  <c:v>0</c:v>
                </c:pt>
                <c:pt idx="23031">
                  <c:v>0</c:v>
                </c:pt>
                <c:pt idx="23032">
                  <c:v>0</c:v>
                </c:pt>
                <c:pt idx="23033">
                  <c:v>0</c:v>
                </c:pt>
                <c:pt idx="23034">
                  <c:v>0</c:v>
                </c:pt>
                <c:pt idx="23035">
                  <c:v>0</c:v>
                </c:pt>
                <c:pt idx="23036">
                  <c:v>0</c:v>
                </c:pt>
                <c:pt idx="23037">
                  <c:v>0</c:v>
                </c:pt>
                <c:pt idx="23038">
                  <c:v>0</c:v>
                </c:pt>
                <c:pt idx="23039">
                  <c:v>0</c:v>
                </c:pt>
                <c:pt idx="23040">
                  <c:v>0</c:v>
                </c:pt>
                <c:pt idx="23041">
                  <c:v>0</c:v>
                </c:pt>
                <c:pt idx="23042">
                  <c:v>0</c:v>
                </c:pt>
                <c:pt idx="23043">
                  <c:v>0</c:v>
                </c:pt>
                <c:pt idx="23044">
                  <c:v>0</c:v>
                </c:pt>
                <c:pt idx="23045">
                  <c:v>0</c:v>
                </c:pt>
                <c:pt idx="23046">
                  <c:v>0</c:v>
                </c:pt>
                <c:pt idx="23047">
                  <c:v>0</c:v>
                </c:pt>
                <c:pt idx="23048">
                  <c:v>0</c:v>
                </c:pt>
                <c:pt idx="23049">
                  <c:v>1</c:v>
                </c:pt>
                <c:pt idx="23050">
                  <c:v>1</c:v>
                </c:pt>
                <c:pt idx="23051">
                  <c:v>0</c:v>
                </c:pt>
                <c:pt idx="23052">
                  <c:v>0</c:v>
                </c:pt>
                <c:pt idx="23053">
                  <c:v>0</c:v>
                </c:pt>
                <c:pt idx="23054">
                  <c:v>0</c:v>
                </c:pt>
                <c:pt idx="23055">
                  <c:v>0</c:v>
                </c:pt>
                <c:pt idx="23056">
                  <c:v>0</c:v>
                </c:pt>
                <c:pt idx="23057">
                  <c:v>0</c:v>
                </c:pt>
                <c:pt idx="23058">
                  <c:v>0</c:v>
                </c:pt>
                <c:pt idx="23059">
                  <c:v>0</c:v>
                </c:pt>
                <c:pt idx="23060">
                  <c:v>0</c:v>
                </c:pt>
                <c:pt idx="23061">
                  <c:v>0</c:v>
                </c:pt>
                <c:pt idx="23062">
                  <c:v>0</c:v>
                </c:pt>
                <c:pt idx="23063">
                  <c:v>0</c:v>
                </c:pt>
                <c:pt idx="23064">
                  <c:v>0</c:v>
                </c:pt>
                <c:pt idx="23065">
                  <c:v>0</c:v>
                </c:pt>
                <c:pt idx="23066">
                  <c:v>0</c:v>
                </c:pt>
                <c:pt idx="23067">
                  <c:v>0</c:v>
                </c:pt>
                <c:pt idx="23068">
                  <c:v>0</c:v>
                </c:pt>
                <c:pt idx="23069">
                  <c:v>0</c:v>
                </c:pt>
                <c:pt idx="23070">
                  <c:v>0</c:v>
                </c:pt>
                <c:pt idx="23071">
                  <c:v>0</c:v>
                </c:pt>
                <c:pt idx="23072">
                  <c:v>0</c:v>
                </c:pt>
                <c:pt idx="23073">
                  <c:v>0</c:v>
                </c:pt>
                <c:pt idx="23074">
                  <c:v>0</c:v>
                </c:pt>
                <c:pt idx="23075">
                  <c:v>0</c:v>
                </c:pt>
                <c:pt idx="23076">
                  <c:v>0</c:v>
                </c:pt>
                <c:pt idx="23077">
                  <c:v>0</c:v>
                </c:pt>
                <c:pt idx="23078">
                  <c:v>0</c:v>
                </c:pt>
                <c:pt idx="23079">
                  <c:v>0</c:v>
                </c:pt>
                <c:pt idx="23080">
                  <c:v>0</c:v>
                </c:pt>
                <c:pt idx="23081">
                  <c:v>0</c:v>
                </c:pt>
                <c:pt idx="23082">
                  <c:v>0</c:v>
                </c:pt>
                <c:pt idx="23083">
                  <c:v>0</c:v>
                </c:pt>
                <c:pt idx="23084">
                  <c:v>0</c:v>
                </c:pt>
                <c:pt idx="23085">
                  <c:v>0</c:v>
                </c:pt>
                <c:pt idx="23086">
                  <c:v>0</c:v>
                </c:pt>
                <c:pt idx="23087">
                  <c:v>0</c:v>
                </c:pt>
                <c:pt idx="23088">
                  <c:v>0</c:v>
                </c:pt>
                <c:pt idx="23089">
                  <c:v>0</c:v>
                </c:pt>
                <c:pt idx="23090">
                  <c:v>0</c:v>
                </c:pt>
                <c:pt idx="23091">
                  <c:v>0</c:v>
                </c:pt>
                <c:pt idx="23092">
                  <c:v>0</c:v>
                </c:pt>
                <c:pt idx="23093">
                  <c:v>0</c:v>
                </c:pt>
                <c:pt idx="23094">
                  <c:v>1</c:v>
                </c:pt>
                <c:pt idx="23095">
                  <c:v>1</c:v>
                </c:pt>
                <c:pt idx="23096">
                  <c:v>0</c:v>
                </c:pt>
                <c:pt idx="23097">
                  <c:v>0</c:v>
                </c:pt>
                <c:pt idx="23098">
                  <c:v>0</c:v>
                </c:pt>
                <c:pt idx="23099">
                  <c:v>0</c:v>
                </c:pt>
                <c:pt idx="23100">
                  <c:v>0</c:v>
                </c:pt>
                <c:pt idx="23101">
                  <c:v>0</c:v>
                </c:pt>
                <c:pt idx="23102">
                  <c:v>0</c:v>
                </c:pt>
                <c:pt idx="23103">
                  <c:v>0</c:v>
                </c:pt>
                <c:pt idx="23104">
                  <c:v>0</c:v>
                </c:pt>
                <c:pt idx="23105">
                  <c:v>0</c:v>
                </c:pt>
                <c:pt idx="23106">
                  <c:v>0</c:v>
                </c:pt>
                <c:pt idx="23107">
                  <c:v>0</c:v>
                </c:pt>
                <c:pt idx="23108">
                  <c:v>0</c:v>
                </c:pt>
                <c:pt idx="23109">
                  <c:v>0</c:v>
                </c:pt>
                <c:pt idx="23110">
                  <c:v>0</c:v>
                </c:pt>
                <c:pt idx="23111">
                  <c:v>0</c:v>
                </c:pt>
                <c:pt idx="23112">
                  <c:v>0</c:v>
                </c:pt>
                <c:pt idx="23113">
                  <c:v>0</c:v>
                </c:pt>
                <c:pt idx="23114">
                  <c:v>0</c:v>
                </c:pt>
                <c:pt idx="23115">
                  <c:v>0</c:v>
                </c:pt>
                <c:pt idx="23116">
                  <c:v>0</c:v>
                </c:pt>
                <c:pt idx="23117">
                  <c:v>0</c:v>
                </c:pt>
                <c:pt idx="23118">
                  <c:v>0</c:v>
                </c:pt>
                <c:pt idx="23119">
                  <c:v>0</c:v>
                </c:pt>
                <c:pt idx="23120">
                  <c:v>0</c:v>
                </c:pt>
                <c:pt idx="23121">
                  <c:v>0</c:v>
                </c:pt>
                <c:pt idx="23122">
                  <c:v>0</c:v>
                </c:pt>
                <c:pt idx="23123">
                  <c:v>0</c:v>
                </c:pt>
                <c:pt idx="23124">
                  <c:v>0</c:v>
                </c:pt>
                <c:pt idx="23125">
                  <c:v>0</c:v>
                </c:pt>
                <c:pt idx="23126">
                  <c:v>0</c:v>
                </c:pt>
                <c:pt idx="23127">
                  <c:v>0</c:v>
                </c:pt>
                <c:pt idx="23128">
                  <c:v>0</c:v>
                </c:pt>
                <c:pt idx="23129">
                  <c:v>0</c:v>
                </c:pt>
                <c:pt idx="23130">
                  <c:v>0</c:v>
                </c:pt>
                <c:pt idx="23131">
                  <c:v>0</c:v>
                </c:pt>
                <c:pt idx="23132">
                  <c:v>0</c:v>
                </c:pt>
                <c:pt idx="23133">
                  <c:v>0</c:v>
                </c:pt>
                <c:pt idx="23134">
                  <c:v>0</c:v>
                </c:pt>
                <c:pt idx="23135">
                  <c:v>0</c:v>
                </c:pt>
                <c:pt idx="23136">
                  <c:v>0</c:v>
                </c:pt>
                <c:pt idx="23137">
                  <c:v>0</c:v>
                </c:pt>
                <c:pt idx="23138">
                  <c:v>0</c:v>
                </c:pt>
                <c:pt idx="23139">
                  <c:v>0</c:v>
                </c:pt>
                <c:pt idx="23140">
                  <c:v>0</c:v>
                </c:pt>
                <c:pt idx="23141">
                  <c:v>0</c:v>
                </c:pt>
                <c:pt idx="23142">
                  <c:v>0</c:v>
                </c:pt>
                <c:pt idx="23143">
                  <c:v>0</c:v>
                </c:pt>
                <c:pt idx="23144">
                  <c:v>0</c:v>
                </c:pt>
                <c:pt idx="23145">
                  <c:v>0</c:v>
                </c:pt>
                <c:pt idx="23146">
                  <c:v>0</c:v>
                </c:pt>
                <c:pt idx="23147">
                  <c:v>0</c:v>
                </c:pt>
                <c:pt idx="23148">
                  <c:v>0</c:v>
                </c:pt>
                <c:pt idx="23149">
                  <c:v>0</c:v>
                </c:pt>
                <c:pt idx="23150">
                  <c:v>0</c:v>
                </c:pt>
                <c:pt idx="23151">
                  <c:v>0</c:v>
                </c:pt>
                <c:pt idx="23152">
                  <c:v>0</c:v>
                </c:pt>
                <c:pt idx="23153">
                  <c:v>0</c:v>
                </c:pt>
                <c:pt idx="23154">
                  <c:v>0</c:v>
                </c:pt>
                <c:pt idx="23155">
                  <c:v>0</c:v>
                </c:pt>
                <c:pt idx="23156">
                  <c:v>0</c:v>
                </c:pt>
                <c:pt idx="23157">
                  <c:v>0</c:v>
                </c:pt>
                <c:pt idx="23158">
                  <c:v>0</c:v>
                </c:pt>
                <c:pt idx="23159">
                  <c:v>0</c:v>
                </c:pt>
                <c:pt idx="23160">
                  <c:v>0</c:v>
                </c:pt>
                <c:pt idx="23161">
                  <c:v>0</c:v>
                </c:pt>
                <c:pt idx="23162">
                  <c:v>0</c:v>
                </c:pt>
                <c:pt idx="23163">
                  <c:v>0</c:v>
                </c:pt>
                <c:pt idx="23164">
                  <c:v>0</c:v>
                </c:pt>
                <c:pt idx="23165">
                  <c:v>0</c:v>
                </c:pt>
                <c:pt idx="23166">
                  <c:v>0</c:v>
                </c:pt>
                <c:pt idx="23167">
                  <c:v>0</c:v>
                </c:pt>
                <c:pt idx="23168">
                  <c:v>0</c:v>
                </c:pt>
                <c:pt idx="23169">
                  <c:v>0</c:v>
                </c:pt>
                <c:pt idx="23170">
                  <c:v>2</c:v>
                </c:pt>
                <c:pt idx="23171">
                  <c:v>5</c:v>
                </c:pt>
                <c:pt idx="23172">
                  <c:v>1</c:v>
                </c:pt>
                <c:pt idx="23173">
                  <c:v>4</c:v>
                </c:pt>
                <c:pt idx="23174">
                  <c:v>0</c:v>
                </c:pt>
                <c:pt idx="23175">
                  <c:v>3</c:v>
                </c:pt>
                <c:pt idx="23176">
                  <c:v>7</c:v>
                </c:pt>
                <c:pt idx="23177">
                  <c:v>3</c:v>
                </c:pt>
                <c:pt idx="23178">
                  <c:v>1</c:v>
                </c:pt>
                <c:pt idx="23179">
                  <c:v>1</c:v>
                </c:pt>
                <c:pt idx="23180">
                  <c:v>1</c:v>
                </c:pt>
                <c:pt idx="23181">
                  <c:v>5</c:v>
                </c:pt>
                <c:pt idx="23182">
                  <c:v>14</c:v>
                </c:pt>
                <c:pt idx="23183">
                  <c:v>0</c:v>
                </c:pt>
                <c:pt idx="23184">
                  <c:v>7</c:v>
                </c:pt>
                <c:pt idx="23185">
                  <c:v>8</c:v>
                </c:pt>
                <c:pt idx="23186">
                  <c:v>5</c:v>
                </c:pt>
                <c:pt idx="23187">
                  <c:v>8</c:v>
                </c:pt>
                <c:pt idx="23188">
                  <c:v>3</c:v>
                </c:pt>
                <c:pt idx="23189">
                  <c:v>1</c:v>
                </c:pt>
                <c:pt idx="23190">
                  <c:v>3</c:v>
                </c:pt>
                <c:pt idx="23191">
                  <c:v>1</c:v>
                </c:pt>
                <c:pt idx="23192">
                  <c:v>2</c:v>
                </c:pt>
                <c:pt idx="23193">
                  <c:v>1</c:v>
                </c:pt>
                <c:pt idx="23194">
                  <c:v>1</c:v>
                </c:pt>
                <c:pt idx="23195">
                  <c:v>1</c:v>
                </c:pt>
                <c:pt idx="23196">
                  <c:v>4</c:v>
                </c:pt>
                <c:pt idx="23197">
                  <c:v>1</c:v>
                </c:pt>
                <c:pt idx="23198">
                  <c:v>1</c:v>
                </c:pt>
                <c:pt idx="23199">
                  <c:v>0</c:v>
                </c:pt>
                <c:pt idx="23200">
                  <c:v>10</c:v>
                </c:pt>
                <c:pt idx="23201">
                  <c:v>0</c:v>
                </c:pt>
                <c:pt idx="23202">
                  <c:v>4</c:v>
                </c:pt>
                <c:pt idx="23203">
                  <c:v>1</c:v>
                </c:pt>
                <c:pt idx="23204">
                  <c:v>0</c:v>
                </c:pt>
                <c:pt idx="23205">
                  <c:v>0</c:v>
                </c:pt>
                <c:pt idx="23206">
                  <c:v>2</c:v>
                </c:pt>
                <c:pt idx="23207">
                  <c:v>2</c:v>
                </c:pt>
                <c:pt idx="23208">
                  <c:v>18</c:v>
                </c:pt>
                <c:pt idx="23209">
                  <c:v>0</c:v>
                </c:pt>
                <c:pt idx="23210">
                  <c:v>5</c:v>
                </c:pt>
                <c:pt idx="23211">
                  <c:v>0</c:v>
                </c:pt>
                <c:pt idx="23212">
                  <c:v>1</c:v>
                </c:pt>
                <c:pt idx="23213">
                  <c:v>3</c:v>
                </c:pt>
                <c:pt idx="23214">
                  <c:v>4</c:v>
                </c:pt>
                <c:pt idx="23215">
                  <c:v>4</c:v>
                </c:pt>
                <c:pt idx="23216">
                  <c:v>5</c:v>
                </c:pt>
                <c:pt idx="23217">
                  <c:v>8</c:v>
                </c:pt>
                <c:pt idx="23218">
                  <c:v>0</c:v>
                </c:pt>
                <c:pt idx="23219">
                  <c:v>4</c:v>
                </c:pt>
                <c:pt idx="23220">
                  <c:v>2</c:v>
                </c:pt>
                <c:pt idx="23221">
                  <c:v>9</c:v>
                </c:pt>
                <c:pt idx="23222">
                  <c:v>3</c:v>
                </c:pt>
                <c:pt idx="23223">
                  <c:v>1</c:v>
                </c:pt>
                <c:pt idx="23224">
                  <c:v>4</c:v>
                </c:pt>
                <c:pt idx="23225">
                  <c:v>1</c:v>
                </c:pt>
                <c:pt idx="23226">
                  <c:v>3</c:v>
                </c:pt>
                <c:pt idx="23227">
                  <c:v>0</c:v>
                </c:pt>
                <c:pt idx="23228">
                  <c:v>3</c:v>
                </c:pt>
                <c:pt idx="23229">
                  <c:v>10</c:v>
                </c:pt>
                <c:pt idx="23230">
                  <c:v>2</c:v>
                </c:pt>
                <c:pt idx="23231">
                  <c:v>4</c:v>
                </c:pt>
                <c:pt idx="23232">
                  <c:v>0</c:v>
                </c:pt>
                <c:pt idx="23233">
                  <c:v>0</c:v>
                </c:pt>
                <c:pt idx="23234">
                  <c:v>0</c:v>
                </c:pt>
                <c:pt idx="23235">
                  <c:v>2</c:v>
                </c:pt>
                <c:pt idx="23236">
                  <c:v>0</c:v>
                </c:pt>
                <c:pt idx="23237">
                  <c:v>1</c:v>
                </c:pt>
                <c:pt idx="23238">
                  <c:v>1</c:v>
                </c:pt>
                <c:pt idx="23239">
                  <c:v>0</c:v>
                </c:pt>
                <c:pt idx="23240">
                  <c:v>2</c:v>
                </c:pt>
                <c:pt idx="23241">
                  <c:v>1</c:v>
                </c:pt>
                <c:pt idx="23242">
                  <c:v>0</c:v>
                </c:pt>
                <c:pt idx="23243">
                  <c:v>1</c:v>
                </c:pt>
                <c:pt idx="23244">
                  <c:v>0</c:v>
                </c:pt>
                <c:pt idx="23245">
                  <c:v>0</c:v>
                </c:pt>
                <c:pt idx="23246">
                  <c:v>2</c:v>
                </c:pt>
                <c:pt idx="23247">
                  <c:v>0</c:v>
                </c:pt>
                <c:pt idx="23248">
                  <c:v>0</c:v>
                </c:pt>
                <c:pt idx="23249">
                  <c:v>0</c:v>
                </c:pt>
                <c:pt idx="23250">
                  <c:v>2</c:v>
                </c:pt>
                <c:pt idx="23251">
                  <c:v>0</c:v>
                </c:pt>
                <c:pt idx="23252">
                  <c:v>0</c:v>
                </c:pt>
                <c:pt idx="23253">
                  <c:v>1</c:v>
                </c:pt>
                <c:pt idx="23254">
                  <c:v>1</c:v>
                </c:pt>
                <c:pt idx="23255">
                  <c:v>0</c:v>
                </c:pt>
                <c:pt idx="23256">
                  <c:v>0</c:v>
                </c:pt>
                <c:pt idx="23257">
                  <c:v>0</c:v>
                </c:pt>
                <c:pt idx="23258">
                  <c:v>0</c:v>
                </c:pt>
                <c:pt idx="23259">
                  <c:v>2</c:v>
                </c:pt>
                <c:pt idx="23260">
                  <c:v>2</c:v>
                </c:pt>
                <c:pt idx="23261">
                  <c:v>0</c:v>
                </c:pt>
                <c:pt idx="23262">
                  <c:v>0</c:v>
                </c:pt>
                <c:pt idx="23263">
                  <c:v>1</c:v>
                </c:pt>
                <c:pt idx="23264">
                  <c:v>0</c:v>
                </c:pt>
                <c:pt idx="23265">
                  <c:v>0</c:v>
                </c:pt>
                <c:pt idx="23266">
                  <c:v>0</c:v>
                </c:pt>
                <c:pt idx="23267">
                  <c:v>0</c:v>
                </c:pt>
                <c:pt idx="23268">
                  <c:v>1</c:v>
                </c:pt>
                <c:pt idx="23269">
                  <c:v>2</c:v>
                </c:pt>
                <c:pt idx="23270">
                  <c:v>0</c:v>
                </c:pt>
                <c:pt idx="23271">
                  <c:v>0</c:v>
                </c:pt>
                <c:pt idx="23272">
                  <c:v>2</c:v>
                </c:pt>
                <c:pt idx="23273">
                  <c:v>0</c:v>
                </c:pt>
                <c:pt idx="23274">
                  <c:v>0</c:v>
                </c:pt>
                <c:pt idx="23275">
                  <c:v>0</c:v>
                </c:pt>
                <c:pt idx="23276">
                  <c:v>0</c:v>
                </c:pt>
                <c:pt idx="23277">
                  <c:v>0</c:v>
                </c:pt>
                <c:pt idx="23278">
                  <c:v>0</c:v>
                </c:pt>
                <c:pt idx="23279">
                  <c:v>1</c:v>
                </c:pt>
                <c:pt idx="23280">
                  <c:v>0</c:v>
                </c:pt>
                <c:pt idx="23281">
                  <c:v>1</c:v>
                </c:pt>
                <c:pt idx="23282">
                  <c:v>16</c:v>
                </c:pt>
                <c:pt idx="23283">
                  <c:v>7</c:v>
                </c:pt>
                <c:pt idx="23284">
                  <c:v>0</c:v>
                </c:pt>
                <c:pt idx="23285">
                  <c:v>7</c:v>
                </c:pt>
                <c:pt idx="23286">
                  <c:v>9</c:v>
                </c:pt>
                <c:pt idx="23287">
                  <c:v>9</c:v>
                </c:pt>
                <c:pt idx="23288">
                  <c:v>1</c:v>
                </c:pt>
                <c:pt idx="23289">
                  <c:v>2</c:v>
                </c:pt>
                <c:pt idx="23290">
                  <c:v>0</c:v>
                </c:pt>
                <c:pt idx="23291">
                  <c:v>1</c:v>
                </c:pt>
                <c:pt idx="23292">
                  <c:v>1</c:v>
                </c:pt>
                <c:pt idx="23293">
                  <c:v>3</c:v>
                </c:pt>
                <c:pt idx="23294">
                  <c:v>0</c:v>
                </c:pt>
                <c:pt idx="23295">
                  <c:v>0</c:v>
                </c:pt>
                <c:pt idx="23296">
                  <c:v>0</c:v>
                </c:pt>
                <c:pt idx="23297">
                  <c:v>1</c:v>
                </c:pt>
                <c:pt idx="23298">
                  <c:v>7</c:v>
                </c:pt>
                <c:pt idx="23299">
                  <c:v>3</c:v>
                </c:pt>
                <c:pt idx="23300">
                  <c:v>1</c:v>
                </c:pt>
                <c:pt idx="23301">
                  <c:v>0</c:v>
                </c:pt>
                <c:pt idx="23302">
                  <c:v>7</c:v>
                </c:pt>
                <c:pt idx="23303">
                  <c:v>0</c:v>
                </c:pt>
                <c:pt idx="23304">
                  <c:v>0</c:v>
                </c:pt>
                <c:pt idx="23305">
                  <c:v>1</c:v>
                </c:pt>
                <c:pt idx="23306">
                  <c:v>3</c:v>
                </c:pt>
                <c:pt idx="23307">
                  <c:v>3</c:v>
                </c:pt>
                <c:pt idx="23308">
                  <c:v>5</c:v>
                </c:pt>
                <c:pt idx="23309">
                  <c:v>1</c:v>
                </c:pt>
                <c:pt idx="23310">
                  <c:v>0</c:v>
                </c:pt>
                <c:pt idx="23311">
                  <c:v>4</c:v>
                </c:pt>
                <c:pt idx="23312">
                  <c:v>6</c:v>
                </c:pt>
                <c:pt idx="23313">
                  <c:v>0</c:v>
                </c:pt>
                <c:pt idx="23314">
                  <c:v>2</c:v>
                </c:pt>
                <c:pt idx="23315">
                  <c:v>2</c:v>
                </c:pt>
                <c:pt idx="23316">
                  <c:v>1</c:v>
                </c:pt>
                <c:pt idx="23317">
                  <c:v>2</c:v>
                </c:pt>
                <c:pt idx="23318">
                  <c:v>3</c:v>
                </c:pt>
                <c:pt idx="23319">
                  <c:v>3</c:v>
                </c:pt>
                <c:pt idx="23320">
                  <c:v>1</c:v>
                </c:pt>
                <c:pt idx="23321">
                  <c:v>2</c:v>
                </c:pt>
                <c:pt idx="23322">
                  <c:v>0</c:v>
                </c:pt>
                <c:pt idx="23323">
                  <c:v>1</c:v>
                </c:pt>
                <c:pt idx="23324">
                  <c:v>0</c:v>
                </c:pt>
                <c:pt idx="23325">
                  <c:v>2</c:v>
                </c:pt>
                <c:pt idx="23326">
                  <c:v>2</c:v>
                </c:pt>
                <c:pt idx="23327">
                  <c:v>0</c:v>
                </c:pt>
                <c:pt idx="23328">
                  <c:v>1</c:v>
                </c:pt>
                <c:pt idx="23329">
                  <c:v>1</c:v>
                </c:pt>
                <c:pt idx="23330">
                  <c:v>1</c:v>
                </c:pt>
                <c:pt idx="23331">
                  <c:v>0</c:v>
                </c:pt>
                <c:pt idx="23332">
                  <c:v>0</c:v>
                </c:pt>
                <c:pt idx="23333">
                  <c:v>0</c:v>
                </c:pt>
                <c:pt idx="23334">
                  <c:v>0</c:v>
                </c:pt>
                <c:pt idx="23335">
                  <c:v>0</c:v>
                </c:pt>
                <c:pt idx="23336">
                  <c:v>0</c:v>
                </c:pt>
                <c:pt idx="23337">
                  <c:v>0</c:v>
                </c:pt>
                <c:pt idx="23338">
                  <c:v>0</c:v>
                </c:pt>
                <c:pt idx="23339">
                  <c:v>0</c:v>
                </c:pt>
                <c:pt idx="23340">
                  <c:v>0</c:v>
                </c:pt>
                <c:pt idx="23341">
                  <c:v>0</c:v>
                </c:pt>
                <c:pt idx="23342">
                  <c:v>0</c:v>
                </c:pt>
                <c:pt idx="23343">
                  <c:v>0</c:v>
                </c:pt>
                <c:pt idx="23344">
                  <c:v>0</c:v>
                </c:pt>
                <c:pt idx="23345">
                  <c:v>0</c:v>
                </c:pt>
                <c:pt idx="23346">
                  <c:v>0</c:v>
                </c:pt>
                <c:pt idx="23347">
                  <c:v>0</c:v>
                </c:pt>
                <c:pt idx="23348">
                  <c:v>0</c:v>
                </c:pt>
                <c:pt idx="23349">
                  <c:v>0</c:v>
                </c:pt>
                <c:pt idx="23350">
                  <c:v>0</c:v>
                </c:pt>
                <c:pt idx="23351">
                  <c:v>0</c:v>
                </c:pt>
                <c:pt idx="23352">
                  <c:v>0</c:v>
                </c:pt>
                <c:pt idx="23353">
                  <c:v>0</c:v>
                </c:pt>
                <c:pt idx="23354">
                  <c:v>0</c:v>
                </c:pt>
                <c:pt idx="23355">
                  <c:v>0</c:v>
                </c:pt>
                <c:pt idx="23356">
                  <c:v>0</c:v>
                </c:pt>
                <c:pt idx="23357">
                  <c:v>0</c:v>
                </c:pt>
                <c:pt idx="23358">
                  <c:v>0</c:v>
                </c:pt>
                <c:pt idx="23359">
                  <c:v>0</c:v>
                </c:pt>
                <c:pt idx="23360">
                  <c:v>0</c:v>
                </c:pt>
                <c:pt idx="23361">
                  <c:v>0</c:v>
                </c:pt>
                <c:pt idx="23362">
                  <c:v>0</c:v>
                </c:pt>
                <c:pt idx="23363">
                  <c:v>0</c:v>
                </c:pt>
                <c:pt idx="23364">
                  <c:v>1</c:v>
                </c:pt>
                <c:pt idx="23365">
                  <c:v>0</c:v>
                </c:pt>
                <c:pt idx="23366">
                  <c:v>0</c:v>
                </c:pt>
                <c:pt idx="23367">
                  <c:v>1</c:v>
                </c:pt>
                <c:pt idx="23368">
                  <c:v>1</c:v>
                </c:pt>
                <c:pt idx="23369">
                  <c:v>0</c:v>
                </c:pt>
                <c:pt idx="23370">
                  <c:v>0</c:v>
                </c:pt>
                <c:pt idx="23371">
                  <c:v>0</c:v>
                </c:pt>
                <c:pt idx="23372">
                  <c:v>0</c:v>
                </c:pt>
                <c:pt idx="23373">
                  <c:v>0</c:v>
                </c:pt>
                <c:pt idx="23374">
                  <c:v>0</c:v>
                </c:pt>
                <c:pt idx="23375">
                  <c:v>0</c:v>
                </c:pt>
                <c:pt idx="23376">
                  <c:v>0</c:v>
                </c:pt>
                <c:pt idx="23377">
                  <c:v>0</c:v>
                </c:pt>
                <c:pt idx="23378">
                  <c:v>0</c:v>
                </c:pt>
                <c:pt idx="23379">
                  <c:v>0</c:v>
                </c:pt>
                <c:pt idx="23380">
                  <c:v>0</c:v>
                </c:pt>
                <c:pt idx="23381">
                  <c:v>1</c:v>
                </c:pt>
                <c:pt idx="23382">
                  <c:v>0</c:v>
                </c:pt>
                <c:pt idx="23383">
                  <c:v>0</c:v>
                </c:pt>
                <c:pt idx="23384">
                  <c:v>0</c:v>
                </c:pt>
                <c:pt idx="23385">
                  <c:v>0</c:v>
                </c:pt>
                <c:pt idx="23386">
                  <c:v>0</c:v>
                </c:pt>
                <c:pt idx="23387">
                  <c:v>0</c:v>
                </c:pt>
                <c:pt idx="23388">
                  <c:v>0</c:v>
                </c:pt>
                <c:pt idx="23389">
                  <c:v>0</c:v>
                </c:pt>
                <c:pt idx="23390">
                  <c:v>0</c:v>
                </c:pt>
                <c:pt idx="23391">
                  <c:v>0</c:v>
                </c:pt>
                <c:pt idx="23392">
                  <c:v>0</c:v>
                </c:pt>
                <c:pt idx="23393">
                  <c:v>0</c:v>
                </c:pt>
                <c:pt idx="23394">
                  <c:v>0</c:v>
                </c:pt>
                <c:pt idx="23395">
                  <c:v>1</c:v>
                </c:pt>
                <c:pt idx="23396">
                  <c:v>0</c:v>
                </c:pt>
                <c:pt idx="23397">
                  <c:v>0</c:v>
                </c:pt>
                <c:pt idx="23398">
                  <c:v>0</c:v>
                </c:pt>
                <c:pt idx="23399">
                  <c:v>0</c:v>
                </c:pt>
                <c:pt idx="23400">
                  <c:v>0</c:v>
                </c:pt>
                <c:pt idx="23401">
                  <c:v>0</c:v>
                </c:pt>
                <c:pt idx="23402">
                  <c:v>0</c:v>
                </c:pt>
                <c:pt idx="23403">
                  <c:v>0</c:v>
                </c:pt>
                <c:pt idx="23404">
                  <c:v>0</c:v>
                </c:pt>
                <c:pt idx="23405">
                  <c:v>0</c:v>
                </c:pt>
                <c:pt idx="23406">
                  <c:v>0</c:v>
                </c:pt>
                <c:pt idx="23407">
                  <c:v>0</c:v>
                </c:pt>
                <c:pt idx="23408">
                  <c:v>0</c:v>
                </c:pt>
                <c:pt idx="23409">
                  <c:v>0</c:v>
                </c:pt>
                <c:pt idx="23410">
                  <c:v>0</c:v>
                </c:pt>
                <c:pt idx="23411">
                  <c:v>0</c:v>
                </c:pt>
                <c:pt idx="23412">
                  <c:v>0</c:v>
                </c:pt>
                <c:pt idx="23413">
                  <c:v>0</c:v>
                </c:pt>
                <c:pt idx="23414">
                  <c:v>1</c:v>
                </c:pt>
                <c:pt idx="23415">
                  <c:v>0</c:v>
                </c:pt>
                <c:pt idx="23416">
                  <c:v>0</c:v>
                </c:pt>
                <c:pt idx="23417">
                  <c:v>0</c:v>
                </c:pt>
                <c:pt idx="23418">
                  <c:v>3</c:v>
                </c:pt>
                <c:pt idx="23419">
                  <c:v>0</c:v>
                </c:pt>
                <c:pt idx="23420">
                  <c:v>0</c:v>
                </c:pt>
                <c:pt idx="23421">
                  <c:v>0</c:v>
                </c:pt>
                <c:pt idx="23422">
                  <c:v>0</c:v>
                </c:pt>
                <c:pt idx="23423">
                  <c:v>0</c:v>
                </c:pt>
                <c:pt idx="23424">
                  <c:v>0</c:v>
                </c:pt>
                <c:pt idx="23425">
                  <c:v>0</c:v>
                </c:pt>
                <c:pt idx="23426">
                  <c:v>0</c:v>
                </c:pt>
                <c:pt idx="23427">
                  <c:v>0</c:v>
                </c:pt>
                <c:pt idx="23428">
                  <c:v>0</c:v>
                </c:pt>
                <c:pt idx="23429">
                  <c:v>0</c:v>
                </c:pt>
                <c:pt idx="23430">
                  <c:v>0</c:v>
                </c:pt>
                <c:pt idx="23431">
                  <c:v>0</c:v>
                </c:pt>
                <c:pt idx="23432">
                  <c:v>0</c:v>
                </c:pt>
                <c:pt idx="23433">
                  <c:v>0</c:v>
                </c:pt>
                <c:pt idx="23434">
                  <c:v>0</c:v>
                </c:pt>
                <c:pt idx="23435">
                  <c:v>0</c:v>
                </c:pt>
                <c:pt idx="23436">
                  <c:v>0</c:v>
                </c:pt>
                <c:pt idx="23437">
                  <c:v>0</c:v>
                </c:pt>
                <c:pt idx="23438">
                  <c:v>0</c:v>
                </c:pt>
                <c:pt idx="23439">
                  <c:v>0</c:v>
                </c:pt>
                <c:pt idx="23440">
                  <c:v>0</c:v>
                </c:pt>
                <c:pt idx="23441">
                  <c:v>1</c:v>
                </c:pt>
                <c:pt idx="23442">
                  <c:v>1</c:v>
                </c:pt>
                <c:pt idx="23443">
                  <c:v>0</c:v>
                </c:pt>
                <c:pt idx="23444">
                  <c:v>0</c:v>
                </c:pt>
                <c:pt idx="23445">
                  <c:v>0</c:v>
                </c:pt>
                <c:pt idx="23446">
                  <c:v>0</c:v>
                </c:pt>
                <c:pt idx="23447">
                  <c:v>0</c:v>
                </c:pt>
                <c:pt idx="23448">
                  <c:v>0</c:v>
                </c:pt>
                <c:pt idx="23449">
                  <c:v>0</c:v>
                </c:pt>
                <c:pt idx="23450">
                  <c:v>0</c:v>
                </c:pt>
                <c:pt idx="23451">
                  <c:v>5</c:v>
                </c:pt>
                <c:pt idx="23452">
                  <c:v>1</c:v>
                </c:pt>
                <c:pt idx="23453">
                  <c:v>3</c:v>
                </c:pt>
                <c:pt idx="23454">
                  <c:v>0</c:v>
                </c:pt>
                <c:pt idx="23455">
                  <c:v>1</c:v>
                </c:pt>
                <c:pt idx="23456">
                  <c:v>0</c:v>
                </c:pt>
                <c:pt idx="23457">
                  <c:v>0</c:v>
                </c:pt>
                <c:pt idx="23458">
                  <c:v>0</c:v>
                </c:pt>
                <c:pt idx="23459">
                  <c:v>0</c:v>
                </c:pt>
                <c:pt idx="23460">
                  <c:v>0</c:v>
                </c:pt>
                <c:pt idx="23461">
                  <c:v>0</c:v>
                </c:pt>
                <c:pt idx="23462">
                  <c:v>0</c:v>
                </c:pt>
                <c:pt idx="23463">
                  <c:v>0</c:v>
                </c:pt>
                <c:pt idx="23464">
                  <c:v>0</c:v>
                </c:pt>
                <c:pt idx="23465">
                  <c:v>0</c:v>
                </c:pt>
                <c:pt idx="23466">
                  <c:v>0</c:v>
                </c:pt>
                <c:pt idx="23467">
                  <c:v>0</c:v>
                </c:pt>
                <c:pt idx="23468">
                  <c:v>0</c:v>
                </c:pt>
                <c:pt idx="23469">
                  <c:v>0</c:v>
                </c:pt>
                <c:pt idx="23470">
                  <c:v>0</c:v>
                </c:pt>
                <c:pt idx="23471">
                  <c:v>0</c:v>
                </c:pt>
                <c:pt idx="23472">
                  <c:v>0</c:v>
                </c:pt>
                <c:pt idx="23473">
                  <c:v>0</c:v>
                </c:pt>
                <c:pt idx="23474">
                  <c:v>1</c:v>
                </c:pt>
                <c:pt idx="23475">
                  <c:v>0</c:v>
                </c:pt>
                <c:pt idx="23476">
                  <c:v>0</c:v>
                </c:pt>
                <c:pt idx="23477">
                  <c:v>0</c:v>
                </c:pt>
                <c:pt idx="23478">
                  <c:v>0</c:v>
                </c:pt>
                <c:pt idx="23479">
                  <c:v>0</c:v>
                </c:pt>
                <c:pt idx="23480">
                  <c:v>0</c:v>
                </c:pt>
                <c:pt idx="23481">
                  <c:v>0</c:v>
                </c:pt>
                <c:pt idx="23482">
                  <c:v>0</c:v>
                </c:pt>
                <c:pt idx="23483">
                  <c:v>0</c:v>
                </c:pt>
                <c:pt idx="23484">
                  <c:v>0</c:v>
                </c:pt>
                <c:pt idx="23485">
                  <c:v>0</c:v>
                </c:pt>
                <c:pt idx="23486">
                  <c:v>0</c:v>
                </c:pt>
                <c:pt idx="23487">
                  <c:v>0</c:v>
                </c:pt>
                <c:pt idx="23488">
                  <c:v>0</c:v>
                </c:pt>
                <c:pt idx="23489">
                  <c:v>0</c:v>
                </c:pt>
                <c:pt idx="23490">
                  <c:v>0</c:v>
                </c:pt>
                <c:pt idx="23491">
                  <c:v>0</c:v>
                </c:pt>
                <c:pt idx="23492">
                  <c:v>0</c:v>
                </c:pt>
                <c:pt idx="23493">
                  <c:v>0</c:v>
                </c:pt>
                <c:pt idx="23494">
                  <c:v>0</c:v>
                </c:pt>
                <c:pt idx="23495">
                  <c:v>0</c:v>
                </c:pt>
                <c:pt idx="23496">
                  <c:v>0</c:v>
                </c:pt>
                <c:pt idx="23497">
                  <c:v>0</c:v>
                </c:pt>
                <c:pt idx="23498">
                  <c:v>0</c:v>
                </c:pt>
                <c:pt idx="23499">
                  <c:v>0</c:v>
                </c:pt>
                <c:pt idx="23500">
                  <c:v>0</c:v>
                </c:pt>
                <c:pt idx="23501">
                  <c:v>0</c:v>
                </c:pt>
                <c:pt idx="23502">
                  <c:v>0</c:v>
                </c:pt>
                <c:pt idx="23503">
                  <c:v>0</c:v>
                </c:pt>
                <c:pt idx="23504">
                  <c:v>0</c:v>
                </c:pt>
                <c:pt idx="23505">
                  <c:v>0</c:v>
                </c:pt>
                <c:pt idx="23506">
                  <c:v>2</c:v>
                </c:pt>
                <c:pt idx="23507">
                  <c:v>2</c:v>
                </c:pt>
                <c:pt idx="23508">
                  <c:v>0</c:v>
                </c:pt>
                <c:pt idx="23509">
                  <c:v>0</c:v>
                </c:pt>
                <c:pt idx="23510">
                  <c:v>0</c:v>
                </c:pt>
                <c:pt idx="23511">
                  <c:v>0</c:v>
                </c:pt>
                <c:pt idx="23512">
                  <c:v>0</c:v>
                </c:pt>
                <c:pt idx="23513">
                  <c:v>0</c:v>
                </c:pt>
                <c:pt idx="23514">
                  <c:v>0</c:v>
                </c:pt>
                <c:pt idx="23515">
                  <c:v>0</c:v>
                </c:pt>
                <c:pt idx="23516">
                  <c:v>0</c:v>
                </c:pt>
                <c:pt idx="23517">
                  <c:v>0</c:v>
                </c:pt>
                <c:pt idx="23518">
                  <c:v>0</c:v>
                </c:pt>
                <c:pt idx="23519">
                  <c:v>0</c:v>
                </c:pt>
                <c:pt idx="23520">
                  <c:v>0</c:v>
                </c:pt>
                <c:pt idx="23521">
                  <c:v>0</c:v>
                </c:pt>
                <c:pt idx="23522">
                  <c:v>0</c:v>
                </c:pt>
                <c:pt idx="23523">
                  <c:v>0</c:v>
                </c:pt>
                <c:pt idx="23524">
                  <c:v>0</c:v>
                </c:pt>
                <c:pt idx="23525">
                  <c:v>0</c:v>
                </c:pt>
                <c:pt idx="23526">
                  <c:v>0</c:v>
                </c:pt>
                <c:pt idx="23527">
                  <c:v>0</c:v>
                </c:pt>
                <c:pt idx="23528">
                  <c:v>0</c:v>
                </c:pt>
                <c:pt idx="23529">
                  <c:v>0</c:v>
                </c:pt>
                <c:pt idx="23530">
                  <c:v>0</c:v>
                </c:pt>
                <c:pt idx="23531">
                  <c:v>0</c:v>
                </c:pt>
                <c:pt idx="23532">
                  <c:v>0</c:v>
                </c:pt>
                <c:pt idx="23533">
                  <c:v>3</c:v>
                </c:pt>
                <c:pt idx="23534">
                  <c:v>0</c:v>
                </c:pt>
                <c:pt idx="23535">
                  <c:v>0</c:v>
                </c:pt>
                <c:pt idx="23536">
                  <c:v>0</c:v>
                </c:pt>
                <c:pt idx="23537">
                  <c:v>0</c:v>
                </c:pt>
                <c:pt idx="23538">
                  <c:v>0</c:v>
                </c:pt>
                <c:pt idx="23539">
                  <c:v>0</c:v>
                </c:pt>
                <c:pt idx="23540">
                  <c:v>0</c:v>
                </c:pt>
                <c:pt idx="23541">
                  <c:v>0</c:v>
                </c:pt>
                <c:pt idx="23542">
                  <c:v>0</c:v>
                </c:pt>
                <c:pt idx="23543">
                  <c:v>0</c:v>
                </c:pt>
                <c:pt idx="23544">
                  <c:v>0</c:v>
                </c:pt>
                <c:pt idx="23545">
                  <c:v>0</c:v>
                </c:pt>
                <c:pt idx="23546">
                  <c:v>0</c:v>
                </c:pt>
                <c:pt idx="23547">
                  <c:v>0</c:v>
                </c:pt>
                <c:pt idx="23548">
                  <c:v>0</c:v>
                </c:pt>
                <c:pt idx="23549">
                  <c:v>2</c:v>
                </c:pt>
                <c:pt idx="23550">
                  <c:v>1</c:v>
                </c:pt>
                <c:pt idx="23551">
                  <c:v>1</c:v>
                </c:pt>
                <c:pt idx="23552">
                  <c:v>0</c:v>
                </c:pt>
                <c:pt idx="23553">
                  <c:v>1</c:v>
                </c:pt>
                <c:pt idx="23554">
                  <c:v>1</c:v>
                </c:pt>
                <c:pt idx="23555">
                  <c:v>2</c:v>
                </c:pt>
                <c:pt idx="23556">
                  <c:v>1</c:v>
                </c:pt>
                <c:pt idx="23557">
                  <c:v>2</c:v>
                </c:pt>
                <c:pt idx="23558">
                  <c:v>2</c:v>
                </c:pt>
                <c:pt idx="23559">
                  <c:v>2</c:v>
                </c:pt>
                <c:pt idx="23560">
                  <c:v>1</c:v>
                </c:pt>
                <c:pt idx="23561">
                  <c:v>2</c:v>
                </c:pt>
                <c:pt idx="23562">
                  <c:v>1</c:v>
                </c:pt>
                <c:pt idx="23563">
                  <c:v>1</c:v>
                </c:pt>
                <c:pt idx="23564">
                  <c:v>0</c:v>
                </c:pt>
                <c:pt idx="23565">
                  <c:v>6</c:v>
                </c:pt>
                <c:pt idx="23566">
                  <c:v>1</c:v>
                </c:pt>
                <c:pt idx="23567">
                  <c:v>0</c:v>
                </c:pt>
                <c:pt idx="23568">
                  <c:v>3</c:v>
                </c:pt>
                <c:pt idx="23569">
                  <c:v>0</c:v>
                </c:pt>
                <c:pt idx="23570">
                  <c:v>0</c:v>
                </c:pt>
                <c:pt idx="23571">
                  <c:v>3</c:v>
                </c:pt>
                <c:pt idx="23572">
                  <c:v>1</c:v>
                </c:pt>
                <c:pt idx="23573">
                  <c:v>0</c:v>
                </c:pt>
                <c:pt idx="23574">
                  <c:v>0</c:v>
                </c:pt>
                <c:pt idx="23575">
                  <c:v>0</c:v>
                </c:pt>
                <c:pt idx="23576">
                  <c:v>3</c:v>
                </c:pt>
                <c:pt idx="23577">
                  <c:v>3</c:v>
                </c:pt>
                <c:pt idx="23578">
                  <c:v>0</c:v>
                </c:pt>
                <c:pt idx="23579">
                  <c:v>8</c:v>
                </c:pt>
                <c:pt idx="23580">
                  <c:v>1</c:v>
                </c:pt>
                <c:pt idx="23581">
                  <c:v>4</c:v>
                </c:pt>
                <c:pt idx="23582">
                  <c:v>2</c:v>
                </c:pt>
                <c:pt idx="23583">
                  <c:v>0</c:v>
                </c:pt>
                <c:pt idx="23584">
                  <c:v>0</c:v>
                </c:pt>
                <c:pt idx="23585">
                  <c:v>0</c:v>
                </c:pt>
                <c:pt idx="23586">
                  <c:v>0</c:v>
                </c:pt>
                <c:pt idx="23587">
                  <c:v>10</c:v>
                </c:pt>
                <c:pt idx="23588">
                  <c:v>0</c:v>
                </c:pt>
                <c:pt idx="23589">
                  <c:v>1</c:v>
                </c:pt>
                <c:pt idx="23590">
                  <c:v>0</c:v>
                </c:pt>
                <c:pt idx="23591">
                  <c:v>1</c:v>
                </c:pt>
                <c:pt idx="23592">
                  <c:v>0</c:v>
                </c:pt>
                <c:pt idx="23593">
                  <c:v>0</c:v>
                </c:pt>
                <c:pt idx="23594">
                  <c:v>0</c:v>
                </c:pt>
                <c:pt idx="23595">
                  <c:v>0</c:v>
                </c:pt>
                <c:pt idx="23596">
                  <c:v>0</c:v>
                </c:pt>
                <c:pt idx="23597">
                  <c:v>0</c:v>
                </c:pt>
                <c:pt idx="23598">
                  <c:v>3</c:v>
                </c:pt>
                <c:pt idx="23599">
                  <c:v>4</c:v>
                </c:pt>
                <c:pt idx="23600">
                  <c:v>0</c:v>
                </c:pt>
                <c:pt idx="23601">
                  <c:v>5</c:v>
                </c:pt>
                <c:pt idx="23602">
                  <c:v>0</c:v>
                </c:pt>
                <c:pt idx="23603">
                  <c:v>4</c:v>
                </c:pt>
                <c:pt idx="23604">
                  <c:v>0</c:v>
                </c:pt>
                <c:pt idx="23605">
                  <c:v>0</c:v>
                </c:pt>
                <c:pt idx="23606">
                  <c:v>0</c:v>
                </c:pt>
                <c:pt idx="23607">
                  <c:v>0</c:v>
                </c:pt>
                <c:pt idx="23608">
                  <c:v>6</c:v>
                </c:pt>
                <c:pt idx="23609">
                  <c:v>2</c:v>
                </c:pt>
                <c:pt idx="23610">
                  <c:v>4</c:v>
                </c:pt>
                <c:pt idx="23611">
                  <c:v>2</c:v>
                </c:pt>
                <c:pt idx="23612">
                  <c:v>1</c:v>
                </c:pt>
                <c:pt idx="23613">
                  <c:v>1</c:v>
                </c:pt>
                <c:pt idx="23614">
                  <c:v>0</c:v>
                </c:pt>
                <c:pt idx="23615">
                  <c:v>0</c:v>
                </c:pt>
                <c:pt idx="23616">
                  <c:v>1</c:v>
                </c:pt>
                <c:pt idx="23617">
                  <c:v>1</c:v>
                </c:pt>
                <c:pt idx="23618">
                  <c:v>0</c:v>
                </c:pt>
                <c:pt idx="23619">
                  <c:v>1</c:v>
                </c:pt>
                <c:pt idx="23620">
                  <c:v>1</c:v>
                </c:pt>
                <c:pt idx="23621">
                  <c:v>1</c:v>
                </c:pt>
                <c:pt idx="23622">
                  <c:v>1</c:v>
                </c:pt>
                <c:pt idx="23623">
                  <c:v>6</c:v>
                </c:pt>
                <c:pt idx="23624">
                  <c:v>5</c:v>
                </c:pt>
                <c:pt idx="23625">
                  <c:v>3</c:v>
                </c:pt>
                <c:pt idx="23626">
                  <c:v>1</c:v>
                </c:pt>
                <c:pt idx="23627">
                  <c:v>2</c:v>
                </c:pt>
                <c:pt idx="23628">
                  <c:v>3</c:v>
                </c:pt>
                <c:pt idx="23629">
                  <c:v>1</c:v>
                </c:pt>
                <c:pt idx="23630">
                  <c:v>1</c:v>
                </c:pt>
                <c:pt idx="23631">
                  <c:v>0</c:v>
                </c:pt>
                <c:pt idx="23632">
                  <c:v>2</c:v>
                </c:pt>
                <c:pt idx="23633">
                  <c:v>5</c:v>
                </c:pt>
                <c:pt idx="23634">
                  <c:v>2</c:v>
                </c:pt>
                <c:pt idx="23635">
                  <c:v>0</c:v>
                </c:pt>
                <c:pt idx="23636">
                  <c:v>9</c:v>
                </c:pt>
                <c:pt idx="23637">
                  <c:v>1</c:v>
                </c:pt>
                <c:pt idx="23638">
                  <c:v>9</c:v>
                </c:pt>
                <c:pt idx="23639">
                  <c:v>2</c:v>
                </c:pt>
                <c:pt idx="23640">
                  <c:v>1</c:v>
                </c:pt>
                <c:pt idx="23641">
                  <c:v>2</c:v>
                </c:pt>
                <c:pt idx="23642">
                  <c:v>0</c:v>
                </c:pt>
                <c:pt idx="23643">
                  <c:v>2</c:v>
                </c:pt>
                <c:pt idx="23644">
                  <c:v>1</c:v>
                </c:pt>
                <c:pt idx="23645">
                  <c:v>0</c:v>
                </c:pt>
                <c:pt idx="23646">
                  <c:v>0</c:v>
                </c:pt>
                <c:pt idx="23647">
                  <c:v>0</c:v>
                </c:pt>
                <c:pt idx="23648">
                  <c:v>1</c:v>
                </c:pt>
                <c:pt idx="23649">
                  <c:v>0</c:v>
                </c:pt>
                <c:pt idx="23650">
                  <c:v>0</c:v>
                </c:pt>
                <c:pt idx="23651">
                  <c:v>2</c:v>
                </c:pt>
                <c:pt idx="23652">
                  <c:v>5</c:v>
                </c:pt>
                <c:pt idx="23653">
                  <c:v>0</c:v>
                </c:pt>
                <c:pt idx="23654">
                  <c:v>0</c:v>
                </c:pt>
                <c:pt idx="23655">
                  <c:v>3</c:v>
                </c:pt>
                <c:pt idx="23656">
                  <c:v>0</c:v>
                </c:pt>
                <c:pt idx="23657">
                  <c:v>0</c:v>
                </c:pt>
                <c:pt idx="23658">
                  <c:v>0</c:v>
                </c:pt>
                <c:pt idx="23659">
                  <c:v>0</c:v>
                </c:pt>
                <c:pt idx="23660">
                  <c:v>0</c:v>
                </c:pt>
                <c:pt idx="23661">
                  <c:v>0</c:v>
                </c:pt>
                <c:pt idx="23662">
                  <c:v>0</c:v>
                </c:pt>
                <c:pt idx="23663">
                  <c:v>0</c:v>
                </c:pt>
                <c:pt idx="23664">
                  <c:v>4</c:v>
                </c:pt>
                <c:pt idx="23665">
                  <c:v>0</c:v>
                </c:pt>
                <c:pt idx="23666">
                  <c:v>0</c:v>
                </c:pt>
                <c:pt idx="23667">
                  <c:v>0</c:v>
                </c:pt>
                <c:pt idx="23668">
                  <c:v>0</c:v>
                </c:pt>
                <c:pt idx="23669">
                  <c:v>0</c:v>
                </c:pt>
                <c:pt idx="23670">
                  <c:v>0</c:v>
                </c:pt>
                <c:pt idx="23671">
                  <c:v>0</c:v>
                </c:pt>
                <c:pt idx="23672">
                  <c:v>0</c:v>
                </c:pt>
                <c:pt idx="23673">
                  <c:v>1</c:v>
                </c:pt>
                <c:pt idx="23674">
                  <c:v>1</c:v>
                </c:pt>
                <c:pt idx="23675">
                  <c:v>1</c:v>
                </c:pt>
                <c:pt idx="23676">
                  <c:v>1</c:v>
                </c:pt>
                <c:pt idx="23677">
                  <c:v>1</c:v>
                </c:pt>
                <c:pt idx="23678">
                  <c:v>4</c:v>
                </c:pt>
                <c:pt idx="23679">
                  <c:v>0</c:v>
                </c:pt>
                <c:pt idx="23680">
                  <c:v>0</c:v>
                </c:pt>
                <c:pt idx="23681">
                  <c:v>0</c:v>
                </c:pt>
                <c:pt idx="23682">
                  <c:v>0</c:v>
                </c:pt>
                <c:pt idx="23683">
                  <c:v>0</c:v>
                </c:pt>
                <c:pt idx="23684">
                  <c:v>0</c:v>
                </c:pt>
                <c:pt idx="23685">
                  <c:v>0</c:v>
                </c:pt>
                <c:pt idx="23686">
                  <c:v>0</c:v>
                </c:pt>
                <c:pt idx="23687">
                  <c:v>0</c:v>
                </c:pt>
                <c:pt idx="23688">
                  <c:v>0</c:v>
                </c:pt>
                <c:pt idx="23689">
                  <c:v>0</c:v>
                </c:pt>
                <c:pt idx="23690">
                  <c:v>0</c:v>
                </c:pt>
                <c:pt idx="23691">
                  <c:v>0</c:v>
                </c:pt>
                <c:pt idx="23692">
                  <c:v>0</c:v>
                </c:pt>
                <c:pt idx="23693">
                  <c:v>0</c:v>
                </c:pt>
                <c:pt idx="23694">
                  <c:v>0</c:v>
                </c:pt>
                <c:pt idx="23695">
                  <c:v>0</c:v>
                </c:pt>
                <c:pt idx="23696">
                  <c:v>0</c:v>
                </c:pt>
                <c:pt idx="23697">
                  <c:v>1</c:v>
                </c:pt>
                <c:pt idx="23698">
                  <c:v>0</c:v>
                </c:pt>
                <c:pt idx="23699">
                  <c:v>0</c:v>
                </c:pt>
                <c:pt idx="23700">
                  <c:v>0</c:v>
                </c:pt>
                <c:pt idx="23701">
                  <c:v>0</c:v>
                </c:pt>
                <c:pt idx="23702">
                  <c:v>0</c:v>
                </c:pt>
                <c:pt idx="23703">
                  <c:v>0</c:v>
                </c:pt>
                <c:pt idx="23704">
                  <c:v>0</c:v>
                </c:pt>
                <c:pt idx="23705">
                  <c:v>0</c:v>
                </c:pt>
                <c:pt idx="23706">
                  <c:v>0</c:v>
                </c:pt>
                <c:pt idx="23707">
                  <c:v>0</c:v>
                </c:pt>
                <c:pt idx="23708">
                  <c:v>0</c:v>
                </c:pt>
                <c:pt idx="23709">
                  <c:v>0</c:v>
                </c:pt>
                <c:pt idx="23710">
                  <c:v>1</c:v>
                </c:pt>
                <c:pt idx="23711">
                  <c:v>0</c:v>
                </c:pt>
                <c:pt idx="23712">
                  <c:v>0</c:v>
                </c:pt>
                <c:pt idx="23713">
                  <c:v>1</c:v>
                </c:pt>
                <c:pt idx="23714">
                  <c:v>0</c:v>
                </c:pt>
                <c:pt idx="23715">
                  <c:v>0</c:v>
                </c:pt>
                <c:pt idx="23716">
                  <c:v>0</c:v>
                </c:pt>
                <c:pt idx="23717">
                  <c:v>0</c:v>
                </c:pt>
                <c:pt idx="23718">
                  <c:v>0</c:v>
                </c:pt>
                <c:pt idx="23719">
                  <c:v>0</c:v>
                </c:pt>
                <c:pt idx="23720">
                  <c:v>0</c:v>
                </c:pt>
                <c:pt idx="23721">
                  <c:v>0</c:v>
                </c:pt>
                <c:pt idx="23722">
                  <c:v>0</c:v>
                </c:pt>
                <c:pt idx="23723">
                  <c:v>0</c:v>
                </c:pt>
                <c:pt idx="23724">
                  <c:v>0</c:v>
                </c:pt>
                <c:pt idx="23725">
                  <c:v>0</c:v>
                </c:pt>
                <c:pt idx="23726">
                  <c:v>0</c:v>
                </c:pt>
                <c:pt idx="23727">
                  <c:v>0</c:v>
                </c:pt>
                <c:pt idx="23728">
                  <c:v>0</c:v>
                </c:pt>
                <c:pt idx="23729">
                  <c:v>0</c:v>
                </c:pt>
                <c:pt idx="23730">
                  <c:v>0</c:v>
                </c:pt>
                <c:pt idx="23731">
                  <c:v>0</c:v>
                </c:pt>
                <c:pt idx="23732">
                  <c:v>0</c:v>
                </c:pt>
                <c:pt idx="23733">
                  <c:v>0</c:v>
                </c:pt>
                <c:pt idx="23734">
                  <c:v>0</c:v>
                </c:pt>
                <c:pt idx="23735">
                  <c:v>0</c:v>
                </c:pt>
                <c:pt idx="23736">
                  <c:v>5</c:v>
                </c:pt>
                <c:pt idx="23737">
                  <c:v>3</c:v>
                </c:pt>
                <c:pt idx="23738">
                  <c:v>0</c:v>
                </c:pt>
                <c:pt idx="23739">
                  <c:v>1</c:v>
                </c:pt>
                <c:pt idx="23740">
                  <c:v>0</c:v>
                </c:pt>
                <c:pt idx="23741">
                  <c:v>0</c:v>
                </c:pt>
                <c:pt idx="23742">
                  <c:v>0</c:v>
                </c:pt>
                <c:pt idx="23743">
                  <c:v>0</c:v>
                </c:pt>
                <c:pt idx="23744">
                  <c:v>0</c:v>
                </c:pt>
                <c:pt idx="23745">
                  <c:v>0</c:v>
                </c:pt>
                <c:pt idx="23746">
                  <c:v>0</c:v>
                </c:pt>
                <c:pt idx="23747">
                  <c:v>0</c:v>
                </c:pt>
                <c:pt idx="23748">
                  <c:v>0</c:v>
                </c:pt>
                <c:pt idx="23749">
                  <c:v>0</c:v>
                </c:pt>
                <c:pt idx="23750">
                  <c:v>0</c:v>
                </c:pt>
                <c:pt idx="23751">
                  <c:v>0</c:v>
                </c:pt>
                <c:pt idx="23752">
                  <c:v>0</c:v>
                </c:pt>
                <c:pt idx="23753">
                  <c:v>1</c:v>
                </c:pt>
                <c:pt idx="23754">
                  <c:v>0</c:v>
                </c:pt>
                <c:pt idx="23755">
                  <c:v>0</c:v>
                </c:pt>
                <c:pt idx="23756">
                  <c:v>2</c:v>
                </c:pt>
                <c:pt idx="23757">
                  <c:v>0</c:v>
                </c:pt>
                <c:pt idx="23758">
                  <c:v>0</c:v>
                </c:pt>
                <c:pt idx="23759">
                  <c:v>0</c:v>
                </c:pt>
                <c:pt idx="23760">
                  <c:v>0</c:v>
                </c:pt>
                <c:pt idx="23761">
                  <c:v>0</c:v>
                </c:pt>
                <c:pt idx="23762">
                  <c:v>0</c:v>
                </c:pt>
                <c:pt idx="23763">
                  <c:v>0</c:v>
                </c:pt>
                <c:pt idx="23764">
                  <c:v>0</c:v>
                </c:pt>
                <c:pt idx="23765">
                  <c:v>0</c:v>
                </c:pt>
                <c:pt idx="23766">
                  <c:v>0</c:v>
                </c:pt>
                <c:pt idx="23767">
                  <c:v>0</c:v>
                </c:pt>
                <c:pt idx="23768">
                  <c:v>0</c:v>
                </c:pt>
                <c:pt idx="23769">
                  <c:v>0</c:v>
                </c:pt>
                <c:pt idx="23770">
                  <c:v>0</c:v>
                </c:pt>
                <c:pt idx="23771">
                  <c:v>0</c:v>
                </c:pt>
                <c:pt idx="23772">
                  <c:v>0</c:v>
                </c:pt>
                <c:pt idx="23773">
                  <c:v>0</c:v>
                </c:pt>
                <c:pt idx="23774">
                  <c:v>0</c:v>
                </c:pt>
                <c:pt idx="23775">
                  <c:v>0</c:v>
                </c:pt>
                <c:pt idx="23776">
                  <c:v>0</c:v>
                </c:pt>
                <c:pt idx="23777">
                  <c:v>0</c:v>
                </c:pt>
                <c:pt idx="23778">
                  <c:v>0</c:v>
                </c:pt>
                <c:pt idx="23779">
                  <c:v>0</c:v>
                </c:pt>
                <c:pt idx="23780">
                  <c:v>0</c:v>
                </c:pt>
                <c:pt idx="23781">
                  <c:v>0</c:v>
                </c:pt>
                <c:pt idx="23782">
                  <c:v>0</c:v>
                </c:pt>
                <c:pt idx="23783">
                  <c:v>0</c:v>
                </c:pt>
                <c:pt idx="23784">
                  <c:v>0</c:v>
                </c:pt>
                <c:pt idx="23785">
                  <c:v>0</c:v>
                </c:pt>
                <c:pt idx="23786">
                  <c:v>0</c:v>
                </c:pt>
                <c:pt idx="23787">
                  <c:v>0</c:v>
                </c:pt>
                <c:pt idx="23788">
                  <c:v>0</c:v>
                </c:pt>
                <c:pt idx="23789">
                  <c:v>0</c:v>
                </c:pt>
                <c:pt idx="23790">
                  <c:v>0</c:v>
                </c:pt>
                <c:pt idx="23791">
                  <c:v>0</c:v>
                </c:pt>
                <c:pt idx="23792">
                  <c:v>0</c:v>
                </c:pt>
                <c:pt idx="23793">
                  <c:v>1</c:v>
                </c:pt>
                <c:pt idx="23794">
                  <c:v>0</c:v>
                </c:pt>
                <c:pt idx="23795">
                  <c:v>0</c:v>
                </c:pt>
                <c:pt idx="23796">
                  <c:v>0</c:v>
                </c:pt>
                <c:pt idx="23797">
                  <c:v>0</c:v>
                </c:pt>
                <c:pt idx="23798">
                  <c:v>0</c:v>
                </c:pt>
                <c:pt idx="23799">
                  <c:v>0</c:v>
                </c:pt>
                <c:pt idx="23800">
                  <c:v>0</c:v>
                </c:pt>
                <c:pt idx="23801">
                  <c:v>0</c:v>
                </c:pt>
                <c:pt idx="23802">
                  <c:v>0</c:v>
                </c:pt>
                <c:pt idx="23803">
                  <c:v>0</c:v>
                </c:pt>
                <c:pt idx="23804">
                  <c:v>0</c:v>
                </c:pt>
                <c:pt idx="23805">
                  <c:v>0</c:v>
                </c:pt>
                <c:pt idx="23806">
                  <c:v>0</c:v>
                </c:pt>
                <c:pt idx="23807">
                  <c:v>0</c:v>
                </c:pt>
                <c:pt idx="23808">
                  <c:v>0</c:v>
                </c:pt>
                <c:pt idx="23809">
                  <c:v>0</c:v>
                </c:pt>
                <c:pt idx="23810">
                  <c:v>0</c:v>
                </c:pt>
                <c:pt idx="23811">
                  <c:v>0</c:v>
                </c:pt>
                <c:pt idx="23812">
                  <c:v>0</c:v>
                </c:pt>
                <c:pt idx="23813">
                  <c:v>0</c:v>
                </c:pt>
                <c:pt idx="23814">
                  <c:v>0</c:v>
                </c:pt>
                <c:pt idx="23815">
                  <c:v>0</c:v>
                </c:pt>
                <c:pt idx="23816">
                  <c:v>0</c:v>
                </c:pt>
                <c:pt idx="23817">
                  <c:v>0</c:v>
                </c:pt>
                <c:pt idx="23818">
                  <c:v>0</c:v>
                </c:pt>
                <c:pt idx="23819">
                  <c:v>0</c:v>
                </c:pt>
                <c:pt idx="23820">
                  <c:v>0</c:v>
                </c:pt>
                <c:pt idx="23821">
                  <c:v>0</c:v>
                </c:pt>
                <c:pt idx="23822">
                  <c:v>0</c:v>
                </c:pt>
                <c:pt idx="23823">
                  <c:v>0</c:v>
                </c:pt>
                <c:pt idx="23824">
                  <c:v>0</c:v>
                </c:pt>
                <c:pt idx="23825">
                  <c:v>0</c:v>
                </c:pt>
                <c:pt idx="23826">
                  <c:v>5</c:v>
                </c:pt>
                <c:pt idx="23827">
                  <c:v>2</c:v>
                </c:pt>
                <c:pt idx="23828">
                  <c:v>0</c:v>
                </c:pt>
                <c:pt idx="23829">
                  <c:v>0</c:v>
                </c:pt>
                <c:pt idx="23830">
                  <c:v>2</c:v>
                </c:pt>
                <c:pt idx="23831">
                  <c:v>0</c:v>
                </c:pt>
                <c:pt idx="23832">
                  <c:v>3</c:v>
                </c:pt>
                <c:pt idx="23833">
                  <c:v>2</c:v>
                </c:pt>
                <c:pt idx="23834">
                  <c:v>2</c:v>
                </c:pt>
                <c:pt idx="23835">
                  <c:v>0</c:v>
                </c:pt>
                <c:pt idx="23836">
                  <c:v>0</c:v>
                </c:pt>
                <c:pt idx="23837">
                  <c:v>0</c:v>
                </c:pt>
                <c:pt idx="23838">
                  <c:v>0</c:v>
                </c:pt>
                <c:pt idx="23839">
                  <c:v>0</c:v>
                </c:pt>
                <c:pt idx="23840">
                  <c:v>0</c:v>
                </c:pt>
                <c:pt idx="23841">
                  <c:v>0</c:v>
                </c:pt>
                <c:pt idx="23842">
                  <c:v>0</c:v>
                </c:pt>
                <c:pt idx="23843">
                  <c:v>0</c:v>
                </c:pt>
                <c:pt idx="23844">
                  <c:v>0</c:v>
                </c:pt>
                <c:pt idx="23845">
                  <c:v>0</c:v>
                </c:pt>
                <c:pt idx="23846">
                  <c:v>0</c:v>
                </c:pt>
                <c:pt idx="23847">
                  <c:v>0</c:v>
                </c:pt>
                <c:pt idx="23848">
                  <c:v>0</c:v>
                </c:pt>
                <c:pt idx="23849">
                  <c:v>0</c:v>
                </c:pt>
                <c:pt idx="23850">
                  <c:v>0</c:v>
                </c:pt>
                <c:pt idx="23851">
                  <c:v>0</c:v>
                </c:pt>
                <c:pt idx="23852">
                  <c:v>0</c:v>
                </c:pt>
                <c:pt idx="23853">
                  <c:v>0</c:v>
                </c:pt>
                <c:pt idx="23854">
                  <c:v>0</c:v>
                </c:pt>
                <c:pt idx="23855">
                  <c:v>0</c:v>
                </c:pt>
                <c:pt idx="23856">
                  <c:v>0</c:v>
                </c:pt>
                <c:pt idx="23857">
                  <c:v>0</c:v>
                </c:pt>
                <c:pt idx="23858">
                  <c:v>0</c:v>
                </c:pt>
                <c:pt idx="23859">
                  <c:v>0</c:v>
                </c:pt>
                <c:pt idx="23860">
                  <c:v>0</c:v>
                </c:pt>
                <c:pt idx="23861">
                  <c:v>0</c:v>
                </c:pt>
                <c:pt idx="23862">
                  <c:v>1</c:v>
                </c:pt>
                <c:pt idx="23863">
                  <c:v>1</c:v>
                </c:pt>
                <c:pt idx="23864">
                  <c:v>4</c:v>
                </c:pt>
                <c:pt idx="23865">
                  <c:v>0</c:v>
                </c:pt>
                <c:pt idx="23866">
                  <c:v>0</c:v>
                </c:pt>
                <c:pt idx="23867">
                  <c:v>0</c:v>
                </c:pt>
                <c:pt idx="23868">
                  <c:v>0</c:v>
                </c:pt>
                <c:pt idx="23869">
                  <c:v>0</c:v>
                </c:pt>
                <c:pt idx="23870">
                  <c:v>0</c:v>
                </c:pt>
                <c:pt idx="23871">
                  <c:v>2</c:v>
                </c:pt>
                <c:pt idx="23872">
                  <c:v>0</c:v>
                </c:pt>
                <c:pt idx="23873">
                  <c:v>0</c:v>
                </c:pt>
                <c:pt idx="23874">
                  <c:v>0</c:v>
                </c:pt>
                <c:pt idx="23875">
                  <c:v>0</c:v>
                </c:pt>
                <c:pt idx="23876">
                  <c:v>0</c:v>
                </c:pt>
                <c:pt idx="23877">
                  <c:v>0</c:v>
                </c:pt>
                <c:pt idx="23878">
                  <c:v>0</c:v>
                </c:pt>
                <c:pt idx="23879">
                  <c:v>18</c:v>
                </c:pt>
                <c:pt idx="23880">
                  <c:v>4</c:v>
                </c:pt>
                <c:pt idx="23881">
                  <c:v>2</c:v>
                </c:pt>
                <c:pt idx="23882">
                  <c:v>7</c:v>
                </c:pt>
                <c:pt idx="23883">
                  <c:v>1</c:v>
                </c:pt>
                <c:pt idx="23884">
                  <c:v>10</c:v>
                </c:pt>
                <c:pt idx="23885">
                  <c:v>3</c:v>
                </c:pt>
                <c:pt idx="23886">
                  <c:v>0</c:v>
                </c:pt>
                <c:pt idx="23887">
                  <c:v>0</c:v>
                </c:pt>
                <c:pt idx="23888">
                  <c:v>0</c:v>
                </c:pt>
                <c:pt idx="23889">
                  <c:v>0</c:v>
                </c:pt>
                <c:pt idx="23890">
                  <c:v>0</c:v>
                </c:pt>
                <c:pt idx="23891">
                  <c:v>0</c:v>
                </c:pt>
                <c:pt idx="23892">
                  <c:v>0</c:v>
                </c:pt>
                <c:pt idx="23893">
                  <c:v>1</c:v>
                </c:pt>
                <c:pt idx="23894">
                  <c:v>2</c:v>
                </c:pt>
                <c:pt idx="23895">
                  <c:v>7</c:v>
                </c:pt>
                <c:pt idx="23896">
                  <c:v>0</c:v>
                </c:pt>
                <c:pt idx="23897">
                  <c:v>0</c:v>
                </c:pt>
                <c:pt idx="23898">
                  <c:v>0</c:v>
                </c:pt>
                <c:pt idx="23899">
                  <c:v>1</c:v>
                </c:pt>
                <c:pt idx="23900">
                  <c:v>9</c:v>
                </c:pt>
                <c:pt idx="23901">
                  <c:v>2</c:v>
                </c:pt>
                <c:pt idx="23902">
                  <c:v>0</c:v>
                </c:pt>
                <c:pt idx="23903">
                  <c:v>4</c:v>
                </c:pt>
                <c:pt idx="23904">
                  <c:v>0</c:v>
                </c:pt>
                <c:pt idx="23905">
                  <c:v>0</c:v>
                </c:pt>
                <c:pt idx="23906">
                  <c:v>3</c:v>
                </c:pt>
                <c:pt idx="23907">
                  <c:v>0</c:v>
                </c:pt>
                <c:pt idx="23908">
                  <c:v>22</c:v>
                </c:pt>
                <c:pt idx="23909">
                  <c:v>0</c:v>
                </c:pt>
                <c:pt idx="23910">
                  <c:v>1</c:v>
                </c:pt>
                <c:pt idx="23911">
                  <c:v>0</c:v>
                </c:pt>
                <c:pt idx="23912">
                  <c:v>0</c:v>
                </c:pt>
                <c:pt idx="23913">
                  <c:v>0</c:v>
                </c:pt>
                <c:pt idx="23914">
                  <c:v>1</c:v>
                </c:pt>
                <c:pt idx="23915">
                  <c:v>0</c:v>
                </c:pt>
                <c:pt idx="23916">
                  <c:v>0</c:v>
                </c:pt>
                <c:pt idx="23917">
                  <c:v>1</c:v>
                </c:pt>
                <c:pt idx="23918">
                  <c:v>4</c:v>
                </c:pt>
                <c:pt idx="23919">
                  <c:v>1</c:v>
                </c:pt>
                <c:pt idx="23920">
                  <c:v>2</c:v>
                </c:pt>
                <c:pt idx="23921">
                  <c:v>0</c:v>
                </c:pt>
                <c:pt idx="23922">
                  <c:v>1</c:v>
                </c:pt>
                <c:pt idx="23923">
                  <c:v>0</c:v>
                </c:pt>
                <c:pt idx="23924">
                  <c:v>1</c:v>
                </c:pt>
                <c:pt idx="23925">
                  <c:v>0</c:v>
                </c:pt>
                <c:pt idx="23926">
                  <c:v>0</c:v>
                </c:pt>
                <c:pt idx="23927">
                  <c:v>0</c:v>
                </c:pt>
                <c:pt idx="23928">
                  <c:v>4</c:v>
                </c:pt>
                <c:pt idx="23929">
                  <c:v>3</c:v>
                </c:pt>
                <c:pt idx="23930">
                  <c:v>7</c:v>
                </c:pt>
                <c:pt idx="23931">
                  <c:v>3</c:v>
                </c:pt>
                <c:pt idx="23932">
                  <c:v>1</c:v>
                </c:pt>
                <c:pt idx="23933">
                  <c:v>1</c:v>
                </c:pt>
                <c:pt idx="23934">
                  <c:v>3</c:v>
                </c:pt>
                <c:pt idx="23935">
                  <c:v>1</c:v>
                </c:pt>
                <c:pt idx="23936">
                  <c:v>2</c:v>
                </c:pt>
                <c:pt idx="23937">
                  <c:v>4</c:v>
                </c:pt>
                <c:pt idx="23938">
                  <c:v>3</c:v>
                </c:pt>
                <c:pt idx="23939">
                  <c:v>4</c:v>
                </c:pt>
                <c:pt idx="23940">
                  <c:v>0</c:v>
                </c:pt>
                <c:pt idx="23941">
                  <c:v>0</c:v>
                </c:pt>
                <c:pt idx="23942">
                  <c:v>0</c:v>
                </c:pt>
                <c:pt idx="23943">
                  <c:v>2</c:v>
                </c:pt>
                <c:pt idx="23944">
                  <c:v>4</c:v>
                </c:pt>
                <c:pt idx="23945">
                  <c:v>0</c:v>
                </c:pt>
                <c:pt idx="23946">
                  <c:v>0</c:v>
                </c:pt>
                <c:pt idx="23947">
                  <c:v>0</c:v>
                </c:pt>
                <c:pt idx="23948">
                  <c:v>2</c:v>
                </c:pt>
                <c:pt idx="23949">
                  <c:v>0</c:v>
                </c:pt>
                <c:pt idx="23950">
                  <c:v>5</c:v>
                </c:pt>
                <c:pt idx="23951">
                  <c:v>0</c:v>
                </c:pt>
                <c:pt idx="23952">
                  <c:v>3</c:v>
                </c:pt>
                <c:pt idx="23953">
                  <c:v>1</c:v>
                </c:pt>
                <c:pt idx="23954">
                  <c:v>1</c:v>
                </c:pt>
                <c:pt idx="23955">
                  <c:v>2</c:v>
                </c:pt>
                <c:pt idx="23956">
                  <c:v>1</c:v>
                </c:pt>
                <c:pt idx="23957">
                  <c:v>3</c:v>
                </c:pt>
                <c:pt idx="23958">
                  <c:v>0</c:v>
                </c:pt>
                <c:pt idx="23959">
                  <c:v>0</c:v>
                </c:pt>
                <c:pt idx="23960">
                  <c:v>1</c:v>
                </c:pt>
                <c:pt idx="23961">
                  <c:v>0</c:v>
                </c:pt>
                <c:pt idx="23962">
                  <c:v>1</c:v>
                </c:pt>
                <c:pt idx="23963">
                  <c:v>1</c:v>
                </c:pt>
                <c:pt idx="23964">
                  <c:v>0</c:v>
                </c:pt>
                <c:pt idx="23965">
                  <c:v>2</c:v>
                </c:pt>
                <c:pt idx="23966">
                  <c:v>0</c:v>
                </c:pt>
                <c:pt idx="23967">
                  <c:v>1</c:v>
                </c:pt>
                <c:pt idx="23968">
                  <c:v>2</c:v>
                </c:pt>
                <c:pt idx="23969">
                  <c:v>2</c:v>
                </c:pt>
                <c:pt idx="23970">
                  <c:v>4</c:v>
                </c:pt>
                <c:pt idx="23971">
                  <c:v>0</c:v>
                </c:pt>
                <c:pt idx="23972">
                  <c:v>1</c:v>
                </c:pt>
                <c:pt idx="23973">
                  <c:v>0</c:v>
                </c:pt>
                <c:pt idx="23974">
                  <c:v>0</c:v>
                </c:pt>
                <c:pt idx="23975">
                  <c:v>3</c:v>
                </c:pt>
                <c:pt idx="23976">
                  <c:v>0</c:v>
                </c:pt>
                <c:pt idx="23977">
                  <c:v>3</c:v>
                </c:pt>
                <c:pt idx="23978">
                  <c:v>1</c:v>
                </c:pt>
                <c:pt idx="23979">
                  <c:v>8</c:v>
                </c:pt>
                <c:pt idx="23980">
                  <c:v>0</c:v>
                </c:pt>
                <c:pt idx="23981">
                  <c:v>0</c:v>
                </c:pt>
                <c:pt idx="23982">
                  <c:v>0</c:v>
                </c:pt>
                <c:pt idx="23983">
                  <c:v>0</c:v>
                </c:pt>
                <c:pt idx="23984">
                  <c:v>0</c:v>
                </c:pt>
                <c:pt idx="23985">
                  <c:v>5</c:v>
                </c:pt>
                <c:pt idx="23986">
                  <c:v>5</c:v>
                </c:pt>
                <c:pt idx="23987">
                  <c:v>8</c:v>
                </c:pt>
                <c:pt idx="23988">
                  <c:v>2</c:v>
                </c:pt>
                <c:pt idx="23989">
                  <c:v>4</c:v>
                </c:pt>
                <c:pt idx="23990">
                  <c:v>0</c:v>
                </c:pt>
                <c:pt idx="23991">
                  <c:v>1</c:v>
                </c:pt>
                <c:pt idx="23992">
                  <c:v>0</c:v>
                </c:pt>
                <c:pt idx="23993">
                  <c:v>2</c:v>
                </c:pt>
                <c:pt idx="23994">
                  <c:v>2</c:v>
                </c:pt>
                <c:pt idx="23995">
                  <c:v>0</c:v>
                </c:pt>
                <c:pt idx="23996">
                  <c:v>0</c:v>
                </c:pt>
                <c:pt idx="23997">
                  <c:v>0</c:v>
                </c:pt>
                <c:pt idx="23998">
                  <c:v>0</c:v>
                </c:pt>
                <c:pt idx="23999">
                  <c:v>0</c:v>
                </c:pt>
                <c:pt idx="24000">
                  <c:v>3</c:v>
                </c:pt>
                <c:pt idx="24001">
                  <c:v>0</c:v>
                </c:pt>
                <c:pt idx="24002">
                  <c:v>0</c:v>
                </c:pt>
                <c:pt idx="24003">
                  <c:v>0</c:v>
                </c:pt>
                <c:pt idx="24004">
                  <c:v>0</c:v>
                </c:pt>
                <c:pt idx="24005">
                  <c:v>6</c:v>
                </c:pt>
                <c:pt idx="24006">
                  <c:v>3</c:v>
                </c:pt>
                <c:pt idx="24007">
                  <c:v>0</c:v>
                </c:pt>
                <c:pt idx="24008">
                  <c:v>7</c:v>
                </c:pt>
                <c:pt idx="24009">
                  <c:v>5</c:v>
                </c:pt>
                <c:pt idx="24010">
                  <c:v>6</c:v>
                </c:pt>
                <c:pt idx="24011">
                  <c:v>5</c:v>
                </c:pt>
                <c:pt idx="24012">
                  <c:v>0</c:v>
                </c:pt>
                <c:pt idx="24013">
                  <c:v>4</c:v>
                </c:pt>
                <c:pt idx="24014">
                  <c:v>3</c:v>
                </c:pt>
                <c:pt idx="24015">
                  <c:v>4</c:v>
                </c:pt>
                <c:pt idx="24016">
                  <c:v>3</c:v>
                </c:pt>
                <c:pt idx="24017">
                  <c:v>1</c:v>
                </c:pt>
                <c:pt idx="24018">
                  <c:v>2</c:v>
                </c:pt>
                <c:pt idx="24019">
                  <c:v>7</c:v>
                </c:pt>
                <c:pt idx="24020">
                  <c:v>5</c:v>
                </c:pt>
                <c:pt idx="24021">
                  <c:v>1</c:v>
                </c:pt>
                <c:pt idx="24022">
                  <c:v>0</c:v>
                </c:pt>
                <c:pt idx="24023">
                  <c:v>0</c:v>
                </c:pt>
                <c:pt idx="24024">
                  <c:v>0</c:v>
                </c:pt>
                <c:pt idx="24025">
                  <c:v>0</c:v>
                </c:pt>
                <c:pt idx="24026">
                  <c:v>0</c:v>
                </c:pt>
                <c:pt idx="24027">
                  <c:v>0</c:v>
                </c:pt>
                <c:pt idx="24028">
                  <c:v>0</c:v>
                </c:pt>
                <c:pt idx="24029">
                  <c:v>7</c:v>
                </c:pt>
                <c:pt idx="24030">
                  <c:v>0</c:v>
                </c:pt>
                <c:pt idx="24031">
                  <c:v>10</c:v>
                </c:pt>
                <c:pt idx="24032">
                  <c:v>0</c:v>
                </c:pt>
                <c:pt idx="24033">
                  <c:v>0</c:v>
                </c:pt>
                <c:pt idx="24034">
                  <c:v>0</c:v>
                </c:pt>
                <c:pt idx="24035">
                  <c:v>0</c:v>
                </c:pt>
                <c:pt idx="24036">
                  <c:v>0</c:v>
                </c:pt>
                <c:pt idx="24037">
                  <c:v>0</c:v>
                </c:pt>
                <c:pt idx="24038">
                  <c:v>0</c:v>
                </c:pt>
                <c:pt idx="24039">
                  <c:v>2</c:v>
                </c:pt>
                <c:pt idx="24040">
                  <c:v>4</c:v>
                </c:pt>
                <c:pt idx="24041">
                  <c:v>7</c:v>
                </c:pt>
                <c:pt idx="24042">
                  <c:v>0</c:v>
                </c:pt>
                <c:pt idx="24043">
                  <c:v>0</c:v>
                </c:pt>
                <c:pt idx="24044">
                  <c:v>0</c:v>
                </c:pt>
                <c:pt idx="24045">
                  <c:v>1</c:v>
                </c:pt>
                <c:pt idx="24046">
                  <c:v>0</c:v>
                </c:pt>
                <c:pt idx="24047">
                  <c:v>0</c:v>
                </c:pt>
                <c:pt idx="24048">
                  <c:v>0</c:v>
                </c:pt>
                <c:pt idx="24049">
                  <c:v>0</c:v>
                </c:pt>
                <c:pt idx="24050">
                  <c:v>4</c:v>
                </c:pt>
                <c:pt idx="24051">
                  <c:v>0</c:v>
                </c:pt>
                <c:pt idx="24052">
                  <c:v>1</c:v>
                </c:pt>
                <c:pt idx="24053">
                  <c:v>0</c:v>
                </c:pt>
                <c:pt idx="24054">
                  <c:v>0</c:v>
                </c:pt>
                <c:pt idx="24055">
                  <c:v>2</c:v>
                </c:pt>
                <c:pt idx="24056">
                  <c:v>0</c:v>
                </c:pt>
                <c:pt idx="24057">
                  <c:v>10</c:v>
                </c:pt>
                <c:pt idx="24058">
                  <c:v>0</c:v>
                </c:pt>
                <c:pt idx="24059">
                  <c:v>0</c:v>
                </c:pt>
                <c:pt idx="24060">
                  <c:v>0</c:v>
                </c:pt>
                <c:pt idx="24061">
                  <c:v>0</c:v>
                </c:pt>
                <c:pt idx="24062">
                  <c:v>0</c:v>
                </c:pt>
                <c:pt idx="24063">
                  <c:v>0</c:v>
                </c:pt>
                <c:pt idx="24064">
                  <c:v>0</c:v>
                </c:pt>
                <c:pt idx="24065">
                  <c:v>0</c:v>
                </c:pt>
                <c:pt idx="24066">
                  <c:v>1</c:v>
                </c:pt>
                <c:pt idx="24067">
                  <c:v>13</c:v>
                </c:pt>
                <c:pt idx="24068">
                  <c:v>1</c:v>
                </c:pt>
                <c:pt idx="24069">
                  <c:v>0</c:v>
                </c:pt>
                <c:pt idx="24070">
                  <c:v>0</c:v>
                </c:pt>
                <c:pt idx="24071">
                  <c:v>0</c:v>
                </c:pt>
                <c:pt idx="24072">
                  <c:v>4</c:v>
                </c:pt>
                <c:pt idx="24073">
                  <c:v>0</c:v>
                </c:pt>
                <c:pt idx="24074">
                  <c:v>0</c:v>
                </c:pt>
                <c:pt idx="24075">
                  <c:v>2</c:v>
                </c:pt>
                <c:pt idx="24076">
                  <c:v>0</c:v>
                </c:pt>
                <c:pt idx="24077">
                  <c:v>0</c:v>
                </c:pt>
                <c:pt idx="24078">
                  <c:v>0</c:v>
                </c:pt>
                <c:pt idx="24079">
                  <c:v>0</c:v>
                </c:pt>
                <c:pt idx="24080">
                  <c:v>0</c:v>
                </c:pt>
                <c:pt idx="24081">
                  <c:v>2</c:v>
                </c:pt>
                <c:pt idx="24082">
                  <c:v>4</c:v>
                </c:pt>
                <c:pt idx="24083">
                  <c:v>0</c:v>
                </c:pt>
                <c:pt idx="24084">
                  <c:v>0</c:v>
                </c:pt>
                <c:pt idx="24085">
                  <c:v>1</c:v>
                </c:pt>
                <c:pt idx="24086">
                  <c:v>1</c:v>
                </c:pt>
                <c:pt idx="24087">
                  <c:v>0</c:v>
                </c:pt>
                <c:pt idx="24088">
                  <c:v>0</c:v>
                </c:pt>
                <c:pt idx="24089">
                  <c:v>0</c:v>
                </c:pt>
                <c:pt idx="24090">
                  <c:v>1</c:v>
                </c:pt>
                <c:pt idx="24091">
                  <c:v>0</c:v>
                </c:pt>
                <c:pt idx="24092">
                  <c:v>8</c:v>
                </c:pt>
                <c:pt idx="24093">
                  <c:v>1</c:v>
                </c:pt>
                <c:pt idx="24094">
                  <c:v>0</c:v>
                </c:pt>
                <c:pt idx="24095">
                  <c:v>2</c:v>
                </c:pt>
                <c:pt idx="24096">
                  <c:v>0</c:v>
                </c:pt>
                <c:pt idx="24097">
                  <c:v>1</c:v>
                </c:pt>
                <c:pt idx="24098">
                  <c:v>3</c:v>
                </c:pt>
                <c:pt idx="24099">
                  <c:v>0</c:v>
                </c:pt>
                <c:pt idx="24100">
                  <c:v>0</c:v>
                </c:pt>
                <c:pt idx="24101">
                  <c:v>0</c:v>
                </c:pt>
                <c:pt idx="24102">
                  <c:v>0</c:v>
                </c:pt>
                <c:pt idx="24103">
                  <c:v>4</c:v>
                </c:pt>
                <c:pt idx="24104">
                  <c:v>1</c:v>
                </c:pt>
                <c:pt idx="24105">
                  <c:v>0</c:v>
                </c:pt>
                <c:pt idx="24106">
                  <c:v>1</c:v>
                </c:pt>
                <c:pt idx="24107">
                  <c:v>11</c:v>
                </c:pt>
                <c:pt idx="24108">
                  <c:v>0</c:v>
                </c:pt>
                <c:pt idx="24109">
                  <c:v>0</c:v>
                </c:pt>
                <c:pt idx="24110">
                  <c:v>0</c:v>
                </c:pt>
                <c:pt idx="24111">
                  <c:v>2</c:v>
                </c:pt>
                <c:pt idx="24112">
                  <c:v>0</c:v>
                </c:pt>
                <c:pt idx="24113">
                  <c:v>4</c:v>
                </c:pt>
                <c:pt idx="24114">
                  <c:v>0</c:v>
                </c:pt>
                <c:pt idx="24115">
                  <c:v>0</c:v>
                </c:pt>
                <c:pt idx="24116">
                  <c:v>1</c:v>
                </c:pt>
                <c:pt idx="24117">
                  <c:v>0</c:v>
                </c:pt>
                <c:pt idx="24118">
                  <c:v>8</c:v>
                </c:pt>
                <c:pt idx="24119">
                  <c:v>0</c:v>
                </c:pt>
                <c:pt idx="24120">
                  <c:v>0</c:v>
                </c:pt>
                <c:pt idx="24121">
                  <c:v>0</c:v>
                </c:pt>
                <c:pt idx="24122">
                  <c:v>0</c:v>
                </c:pt>
                <c:pt idx="24123">
                  <c:v>0</c:v>
                </c:pt>
                <c:pt idx="24124">
                  <c:v>0</c:v>
                </c:pt>
                <c:pt idx="24125">
                  <c:v>0</c:v>
                </c:pt>
                <c:pt idx="24126">
                  <c:v>0</c:v>
                </c:pt>
                <c:pt idx="24127">
                  <c:v>0</c:v>
                </c:pt>
                <c:pt idx="24128">
                  <c:v>0</c:v>
                </c:pt>
                <c:pt idx="24129">
                  <c:v>0</c:v>
                </c:pt>
                <c:pt idx="24130">
                  <c:v>0</c:v>
                </c:pt>
                <c:pt idx="24131">
                  <c:v>0</c:v>
                </c:pt>
                <c:pt idx="24132">
                  <c:v>0</c:v>
                </c:pt>
                <c:pt idx="24133">
                  <c:v>0</c:v>
                </c:pt>
                <c:pt idx="24134">
                  <c:v>0</c:v>
                </c:pt>
                <c:pt idx="24135">
                  <c:v>0</c:v>
                </c:pt>
                <c:pt idx="24136">
                  <c:v>0</c:v>
                </c:pt>
                <c:pt idx="24137">
                  <c:v>0</c:v>
                </c:pt>
                <c:pt idx="24138">
                  <c:v>0</c:v>
                </c:pt>
                <c:pt idx="24139">
                  <c:v>0</c:v>
                </c:pt>
                <c:pt idx="24140">
                  <c:v>0</c:v>
                </c:pt>
                <c:pt idx="24141">
                  <c:v>0</c:v>
                </c:pt>
                <c:pt idx="24142">
                  <c:v>0</c:v>
                </c:pt>
                <c:pt idx="24143">
                  <c:v>0</c:v>
                </c:pt>
                <c:pt idx="24144">
                  <c:v>0</c:v>
                </c:pt>
                <c:pt idx="24145">
                  <c:v>0</c:v>
                </c:pt>
                <c:pt idx="24146">
                  <c:v>0</c:v>
                </c:pt>
                <c:pt idx="24147">
                  <c:v>0</c:v>
                </c:pt>
                <c:pt idx="24148">
                  <c:v>0</c:v>
                </c:pt>
                <c:pt idx="24149">
                  <c:v>2</c:v>
                </c:pt>
                <c:pt idx="24150">
                  <c:v>0</c:v>
                </c:pt>
                <c:pt idx="24151">
                  <c:v>1</c:v>
                </c:pt>
                <c:pt idx="24152">
                  <c:v>0</c:v>
                </c:pt>
                <c:pt idx="24153">
                  <c:v>1</c:v>
                </c:pt>
                <c:pt idx="24154">
                  <c:v>5</c:v>
                </c:pt>
                <c:pt idx="24155">
                  <c:v>0</c:v>
                </c:pt>
                <c:pt idx="24156">
                  <c:v>0</c:v>
                </c:pt>
                <c:pt idx="24157">
                  <c:v>2</c:v>
                </c:pt>
                <c:pt idx="24158">
                  <c:v>0</c:v>
                </c:pt>
                <c:pt idx="24159">
                  <c:v>0</c:v>
                </c:pt>
                <c:pt idx="24160">
                  <c:v>1</c:v>
                </c:pt>
                <c:pt idx="24161">
                  <c:v>0</c:v>
                </c:pt>
                <c:pt idx="24162">
                  <c:v>0</c:v>
                </c:pt>
                <c:pt idx="24163">
                  <c:v>0</c:v>
                </c:pt>
                <c:pt idx="24164">
                  <c:v>9</c:v>
                </c:pt>
                <c:pt idx="24165">
                  <c:v>14</c:v>
                </c:pt>
                <c:pt idx="24166">
                  <c:v>0</c:v>
                </c:pt>
                <c:pt idx="24167">
                  <c:v>0</c:v>
                </c:pt>
                <c:pt idx="24168">
                  <c:v>0</c:v>
                </c:pt>
                <c:pt idx="24169">
                  <c:v>0</c:v>
                </c:pt>
                <c:pt idx="24170">
                  <c:v>0</c:v>
                </c:pt>
                <c:pt idx="24171">
                  <c:v>0</c:v>
                </c:pt>
                <c:pt idx="24172">
                  <c:v>0</c:v>
                </c:pt>
                <c:pt idx="24173">
                  <c:v>0</c:v>
                </c:pt>
                <c:pt idx="24174">
                  <c:v>0</c:v>
                </c:pt>
                <c:pt idx="24175">
                  <c:v>0</c:v>
                </c:pt>
                <c:pt idx="24176">
                  <c:v>0</c:v>
                </c:pt>
                <c:pt idx="24177">
                  <c:v>0</c:v>
                </c:pt>
                <c:pt idx="24178">
                  <c:v>0</c:v>
                </c:pt>
                <c:pt idx="24179">
                  <c:v>0</c:v>
                </c:pt>
                <c:pt idx="24180">
                  <c:v>2</c:v>
                </c:pt>
                <c:pt idx="24181">
                  <c:v>2</c:v>
                </c:pt>
                <c:pt idx="24182">
                  <c:v>0</c:v>
                </c:pt>
                <c:pt idx="24183">
                  <c:v>0</c:v>
                </c:pt>
                <c:pt idx="24184">
                  <c:v>0</c:v>
                </c:pt>
                <c:pt idx="24185">
                  <c:v>0</c:v>
                </c:pt>
                <c:pt idx="24186">
                  <c:v>0</c:v>
                </c:pt>
                <c:pt idx="24187">
                  <c:v>0</c:v>
                </c:pt>
                <c:pt idx="24188">
                  <c:v>0</c:v>
                </c:pt>
                <c:pt idx="24189">
                  <c:v>0</c:v>
                </c:pt>
                <c:pt idx="24190">
                  <c:v>0</c:v>
                </c:pt>
                <c:pt idx="24191">
                  <c:v>0</c:v>
                </c:pt>
                <c:pt idx="24192">
                  <c:v>0</c:v>
                </c:pt>
                <c:pt idx="24193">
                  <c:v>0</c:v>
                </c:pt>
                <c:pt idx="24194">
                  <c:v>0</c:v>
                </c:pt>
                <c:pt idx="24195">
                  <c:v>0</c:v>
                </c:pt>
                <c:pt idx="24196">
                  <c:v>0</c:v>
                </c:pt>
                <c:pt idx="24197">
                  <c:v>0</c:v>
                </c:pt>
                <c:pt idx="24198">
                  <c:v>0</c:v>
                </c:pt>
                <c:pt idx="24199">
                  <c:v>0</c:v>
                </c:pt>
                <c:pt idx="24200">
                  <c:v>0</c:v>
                </c:pt>
                <c:pt idx="24201">
                  <c:v>0</c:v>
                </c:pt>
                <c:pt idx="24202">
                  <c:v>0</c:v>
                </c:pt>
                <c:pt idx="24203">
                  <c:v>0</c:v>
                </c:pt>
                <c:pt idx="24204">
                  <c:v>0</c:v>
                </c:pt>
                <c:pt idx="24205">
                  <c:v>0</c:v>
                </c:pt>
                <c:pt idx="24206">
                  <c:v>1</c:v>
                </c:pt>
                <c:pt idx="24207">
                  <c:v>0</c:v>
                </c:pt>
                <c:pt idx="24208">
                  <c:v>0</c:v>
                </c:pt>
                <c:pt idx="24209">
                  <c:v>0</c:v>
                </c:pt>
                <c:pt idx="24210">
                  <c:v>0</c:v>
                </c:pt>
                <c:pt idx="24211">
                  <c:v>0</c:v>
                </c:pt>
                <c:pt idx="24212">
                  <c:v>0</c:v>
                </c:pt>
                <c:pt idx="24213">
                  <c:v>0</c:v>
                </c:pt>
                <c:pt idx="24214">
                  <c:v>0</c:v>
                </c:pt>
                <c:pt idx="24215">
                  <c:v>0</c:v>
                </c:pt>
                <c:pt idx="24216">
                  <c:v>0</c:v>
                </c:pt>
                <c:pt idx="24217">
                  <c:v>0</c:v>
                </c:pt>
                <c:pt idx="24218">
                  <c:v>0</c:v>
                </c:pt>
                <c:pt idx="24219">
                  <c:v>0</c:v>
                </c:pt>
                <c:pt idx="24220">
                  <c:v>0</c:v>
                </c:pt>
                <c:pt idx="24221">
                  <c:v>0</c:v>
                </c:pt>
                <c:pt idx="24222">
                  <c:v>2</c:v>
                </c:pt>
                <c:pt idx="24223">
                  <c:v>0</c:v>
                </c:pt>
                <c:pt idx="24224">
                  <c:v>0</c:v>
                </c:pt>
                <c:pt idx="24225">
                  <c:v>3</c:v>
                </c:pt>
                <c:pt idx="24226">
                  <c:v>0</c:v>
                </c:pt>
                <c:pt idx="24227">
                  <c:v>0</c:v>
                </c:pt>
                <c:pt idx="24228">
                  <c:v>0</c:v>
                </c:pt>
                <c:pt idx="24229">
                  <c:v>0</c:v>
                </c:pt>
                <c:pt idx="24230">
                  <c:v>0</c:v>
                </c:pt>
                <c:pt idx="24231">
                  <c:v>0</c:v>
                </c:pt>
                <c:pt idx="24232">
                  <c:v>0</c:v>
                </c:pt>
                <c:pt idx="24233">
                  <c:v>0</c:v>
                </c:pt>
                <c:pt idx="24234">
                  <c:v>0</c:v>
                </c:pt>
                <c:pt idx="24235">
                  <c:v>0</c:v>
                </c:pt>
                <c:pt idx="24236">
                  <c:v>0</c:v>
                </c:pt>
                <c:pt idx="24237">
                  <c:v>0</c:v>
                </c:pt>
                <c:pt idx="24238">
                  <c:v>0</c:v>
                </c:pt>
                <c:pt idx="24239">
                  <c:v>0</c:v>
                </c:pt>
                <c:pt idx="24240">
                  <c:v>0</c:v>
                </c:pt>
                <c:pt idx="24241">
                  <c:v>0</c:v>
                </c:pt>
                <c:pt idx="24242">
                  <c:v>0</c:v>
                </c:pt>
                <c:pt idx="24243">
                  <c:v>0</c:v>
                </c:pt>
                <c:pt idx="24244">
                  <c:v>0</c:v>
                </c:pt>
                <c:pt idx="24245">
                  <c:v>0</c:v>
                </c:pt>
                <c:pt idx="24246">
                  <c:v>0</c:v>
                </c:pt>
                <c:pt idx="24247">
                  <c:v>0</c:v>
                </c:pt>
                <c:pt idx="24248">
                  <c:v>0</c:v>
                </c:pt>
                <c:pt idx="24249">
                  <c:v>1</c:v>
                </c:pt>
                <c:pt idx="24250">
                  <c:v>1</c:v>
                </c:pt>
                <c:pt idx="24251">
                  <c:v>0</c:v>
                </c:pt>
                <c:pt idx="24252">
                  <c:v>0</c:v>
                </c:pt>
                <c:pt idx="24253">
                  <c:v>1</c:v>
                </c:pt>
                <c:pt idx="24254">
                  <c:v>0</c:v>
                </c:pt>
                <c:pt idx="24255">
                  <c:v>0</c:v>
                </c:pt>
                <c:pt idx="24256">
                  <c:v>0</c:v>
                </c:pt>
                <c:pt idx="24257">
                  <c:v>0</c:v>
                </c:pt>
                <c:pt idx="24258">
                  <c:v>0</c:v>
                </c:pt>
                <c:pt idx="24259">
                  <c:v>0</c:v>
                </c:pt>
                <c:pt idx="24260">
                  <c:v>0</c:v>
                </c:pt>
                <c:pt idx="24261">
                  <c:v>2</c:v>
                </c:pt>
                <c:pt idx="24262">
                  <c:v>2</c:v>
                </c:pt>
                <c:pt idx="24263">
                  <c:v>0</c:v>
                </c:pt>
                <c:pt idx="24264">
                  <c:v>0</c:v>
                </c:pt>
                <c:pt idx="24265">
                  <c:v>0</c:v>
                </c:pt>
                <c:pt idx="24266">
                  <c:v>0</c:v>
                </c:pt>
                <c:pt idx="24267">
                  <c:v>0</c:v>
                </c:pt>
                <c:pt idx="24268">
                  <c:v>1</c:v>
                </c:pt>
                <c:pt idx="24269">
                  <c:v>0</c:v>
                </c:pt>
                <c:pt idx="24270">
                  <c:v>0</c:v>
                </c:pt>
                <c:pt idx="24271">
                  <c:v>2</c:v>
                </c:pt>
                <c:pt idx="24272">
                  <c:v>1</c:v>
                </c:pt>
                <c:pt idx="24273">
                  <c:v>0</c:v>
                </c:pt>
                <c:pt idx="24274">
                  <c:v>0</c:v>
                </c:pt>
                <c:pt idx="24275">
                  <c:v>0</c:v>
                </c:pt>
                <c:pt idx="24276">
                  <c:v>1</c:v>
                </c:pt>
                <c:pt idx="24277">
                  <c:v>0</c:v>
                </c:pt>
                <c:pt idx="24278">
                  <c:v>2</c:v>
                </c:pt>
                <c:pt idx="24279">
                  <c:v>0</c:v>
                </c:pt>
                <c:pt idx="24280">
                  <c:v>0</c:v>
                </c:pt>
                <c:pt idx="24281">
                  <c:v>0</c:v>
                </c:pt>
                <c:pt idx="24282">
                  <c:v>4</c:v>
                </c:pt>
                <c:pt idx="24283">
                  <c:v>2</c:v>
                </c:pt>
                <c:pt idx="24284">
                  <c:v>0</c:v>
                </c:pt>
                <c:pt idx="24285">
                  <c:v>5</c:v>
                </c:pt>
                <c:pt idx="24286">
                  <c:v>0</c:v>
                </c:pt>
                <c:pt idx="24287">
                  <c:v>1</c:v>
                </c:pt>
                <c:pt idx="24288">
                  <c:v>4</c:v>
                </c:pt>
                <c:pt idx="24289">
                  <c:v>5</c:v>
                </c:pt>
                <c:pt idx="24290">
                  <c:v>0</c:v>
                </c:pt>
                <c:pt idx="24291">
                  <c:v>9</c:v>
                </c:pt>
                <c:pt idx="24292">
                  <c:v>2</c:v>
                </c:pt>
                <c:pt idx="24293">
                  <c:v>1</c:v>
                </c:pt>
                <c:pt idx="24294">
                  <c:v>0</c:v>
                </c:pt>
                <c:pt idx="24295">
                  <c:v>1</c:v>
                </c:pt>
                <c:pt idx="24296">
                  <c:v>0</c:v>
                </c:pt>
                <c:pt idx="24297">
                  <c:v>0</c:v>
                </c:pt>
                <c:pt idx="24298">
                  <c:v>0</c:v>
                </c:pt>
                <c:pt idx="24299">
                  <c:v>0</c:v>
                </c:pt>
                <c:pt idx="24300">
                  <c:v>0</c:v>
                </c:pt>
                <c:pt idx="24301">
                  <c:v>0</c:v>
                </c:pt>
                <c:pt idx="24302">
                  <c:v>4</c:v>
                </c:pt>
                <c:pt idx="24303">
                  <c:v>1</c:v>
                </c:pt>
                <c:pt idx="24304">
                  <c:v>6</c:v>
                </c:pt>
                <c:pt idx="24305">
                  <c:v>10</c:v>
                </c:pt>
                <c:pt idx="24306">
                  <c:v>0</c:v>
                </c:pt>
                <c:pt idx="24307">
                  <c:v>5</c:v>
                </c:pt>
                <c:pt idx="24308">
                  <c:v>0</c:v>
                </c:pt>
                <c:pt idx="24309">
                  <c:v>0</c:v>
                </c:pt>
                <c:pt idx="24310">
                  <c:v>2</c:v>
                </c:pt>
                <c:pt idx="24311">
                  <c:v>0</c:v>
                </c:pt>
                <c:pt idx="24312">
                  <c:v>2</c:v>
                </c:pt>
                <c:pt idx="24313">
                  <c:v>0</c:v>
                </c:pt>
                <c:pt idx="24314">
                  <c:v>0</c:v>
                </c:pt>
                <c:pt idx="24315">
                  <c:v>1</c:v>
                </c:pt>
                <c:pt idx="24316">
                  <c:v>1</c:v>
                </c:pt>
                <c:pt idx="24317">
                  <c:v>0</c:v>
                </c:pt>
                <c:pt idx="24318">
                  <c:v>8</c:v>
                </c:pt>
                <c:pt idx="24319">
                  <c:v>0</c:v>
                </c:pt>
                <c:pt idx="24320">
                  <c:v>1</c:v>
                </c:pt>
                <c:pt idx="24321">
                  <c:v>0</c:v>
                </c:pt>
                <c:pt idx="24322">
                  <c:v>1</c:v>
                </c:pt>
                <c:pt idx="24323">
                  <c:v>1</c:v>
                </c:pt>
                <c:pt idx="24324">
                  <c:v>0</c:v>
                </c:pt>
                <c:pt idx="24325">
                  <c:v>1</c:v>
                </c:pt>
                <c:pt idx="24326">
                  <c:v>2</c:v>
                </c:pt>
                <c:pt idx="24327">
                  <c:v>3</c:v>
                </c:pt>
                <c:pt idx="24328">
                  <c:v>1</c:v>
                </c:pt>
                <c:pt idx="24329">
                  <c:v>0</c:v>
                </c:pt>
                <c:pt idx="24330">
                  <c:v>1</c:v>
                </c:pt>
                <c:pt idx="24331">
                  <c:v>0</c:v>
                </c:pt>
                <c:pt idx="24332">
                  <c:v>0</c:v>
                </c:pt>
                <c:pt idx="24333">
                  <c:v>0</c:v>
                </c:pt>
                <c:pt idx="24334">
                  <c:v>0</c:v>
                </c:pt>
                <c:pt idx="24335">
                  <c:v>0</c:v>
                </c:pt>
                <c:pt idx="24336">
                  <c:v>0</c:v>
                </c:pt>
                <c:pt idx="24337">
                  <c:v>0</c:v>
                </c:pt>
                <c:pt idx="24338">
                  <c:v>0</c:v>
                </c:pt>
                <c:pt idx="24339">
                  <c:v>0</c:v>
                </c:pt>
                <c:pt idx="24340">
                  <c:v>0</c:v>
                </c:pt>
                <c:pt idx="24341">
                  <c:v>0</c:v>
                </c:pt>
                <c:pt idx="24342">
                  <c:v>0</c:v>
                </c:pt>
                <c:pt idx="24343">
                  <c:v>0</c:v>
                </c:pt>
                <c:pt idx="24344">
                  <c:v>0</c:v>
                </c:pt>
                <c:pt idx="24345">
                  <c:v>0</c:v>
                </c:pt>
                <c:pt idx="24346">
                  <c:v>0</c:v>
                </c:pt>
                <c:pt idx="24347">
                  <c:v>0</c:v>
                </c:pt>
                <c:pt idx="24348">
                  <c:v>1</c:v>
                </c:pt>
                <c:pt idx="24349">
                  <c:v>0</c:v>
                </c:pt>
                <c:pt idx="24350">
                  <c:v>0</c:v>
                </c:pt>
                <c:pt idx="24351">
                  <c:v>0</c:v>
                </c:pt>
                <c:pt idx="24352">
                  <c:v>0</c:v>
                </c:pt>
                <c:pt idx="24353">
                  <c:v>1</c:v>
                </c:pt>
                <c:pt idx="24354">
                  <c:v>0</c:v>
                </c:pt>
                <c:pt idx="24355">
                  <c:v>0</c:v>
                </c:pt>
                <c:pt idx="24356">
                  <c:v>0</c:v>
                </c:pt>
                <c:pt idx="24357">
                  <c:v>0</c:v>
                </c:pt>
                <c:pt idx="24358">
                  <c:v>1</c:v>
                </c:pt>
                <c:pt idx="24359">
                  <c:v>0</c:v>
                </c:pt>
                <c:pt idx="24360">
                  <c:v>0</c:v>
                </c:pt>
                <c:pt idx="24361">
                  <c:v>0</c:v>
                </c:pt>
                <c:pt idx="24362">
                  <c:v>0</c:v>
                </c:pt>
                <c:pt idx="24363">
                  <c:v>0</c:v>
                </c:pt>
                <c:pt idx="24364">
                  <c:v>0</c:v>
                </c:pt>
                <c:pt idx="24365">
                  <c:v>0</c:v>
                </c:pt>
                <c:pt idx="24366">
                  <c:v>0</c:v>
                </c:pt>
                <c:pt idx="24367">
                  <c:v>0</c:v>
                </c:pt>
                <c:pt idx="24368">
                  <c:v>0</c:v>
                </c:pt>
                <c:pt idx="24369">
                  <c:v>0</c:v>
                </c:pt>
                <c:pt idx="24370">
                  <c:v>0</c:v>
                </c:pt>
                <c:pt idx="24371">
                  <c:v>0</c:v>
                </c:pt>
                <c:pt idx="24372">
                  <c:v>0</c:v>
                </c:pt>
                <c:pt idx="24373">
                  <c:v>1</c:v>
                </c:pt>
                <c:pt idx="24374">
                  <c:v>1</c:v>
                </c:pt>
                <c:pt idx="24375">
                  <c:v>2</c:v>
                </c:pt>
                <c:pt idx="24376">
                  <c:v>1</c:v>
                </c:pt>
                <c:pt idx="24377">
                  <c:v>1</c:v>
                </c:pt>
                <c:pt idx="24378">
                  <c:v>0</c:v>
                </c:pt>
                <c:pt idx="24379">
                  <c:v>0</c:v>
                </c:pt>
                <c:pt idx="24380">
                  <c:v>0</c:v>
                </c:pt>
                <c:pt idx="24381">
                  <c:v>4</c:v>
                </c:pt>
                <c:pt idx="24382">
                  <c:v>2</c:v>
                </c:pt>
                <c:pt idx="24383">
                  <c:v>1</c:v>
                </c:pt>
                <c:pt idx="24384">
                  <c:v>0</c:v>
                </c:pt>
                <c:pt idx="24385">
                  <c:v>3</c:v>
                </c:pt>
                <c:pt idx="24386">
                  <c:v>0</c:v>
                </c:pt>
                <c:pt idx="24387">
                  <c:v>0</c:v>
                </c:pt>
                <c:pt idx="24388">
                  <c:v>0</c:v>
                </c:pt>
                <c:pt idx="24389">
                  <c:v>0</c:v>
                </c:pt>
                <c:pt idx="24390">
                  <c:v>1</c:v>
                </c:pt>
                <c:pt idx="24391">
                  <c:v>0</c:v>
                </c:pt>
                <c:pt idx="24392">
                  <c:v>2</c:v>
                </c:pt>
                <c:pt idx="24393">
                  <c:v>0</c:v>
                </c:pt>
                <c:pt idx="24394">
                  <c:v>0</c:v>
                </c:pt>
                <c:pt idx="24395">
                  <c:v>0</c:v>
                </c:pt>
                <c:pt idx="24396">
                  <c:v>0</c:v>
                </c:pt>
                <c:pt idx="24397">
                  <c:v>0</c:v>
                </c:pt>
                <c:pt idx="24398">
                  <c:v>0</c:v>
                </c:pt>
                <c:pt idx="24399">
                  <c:v>2</c:v>
                </c:pt>
                <c:pt idx="24400">
                  <c:v>0</c:v>
                </c:pt>
                <c:pt idx="24401">
                  <c:v>0</c:v>
                </c:pt>
                <c:pt idx="24402">
                  <c:v>0</c:v>
                </c:pt>
                <c:pt idx="24403">
                  <c:v>0</c:v>
                </c:pt>
                <c:pt idx="24404">
                  <c:v>0</c:v>
                </c:pt>
                <c:pt idx="24405">
                  <c:v>0</c:v>
                </c:pt>
                <c:pt idx="24406">
                  <c:v>0</c:v>
                </c:pt>
                <c:pt idx="24407">
                  <c:v>0</c:v>
                </c:pt>
                <c:pt idx="24408">
                  <c:v>2</c:v>
                </c:pt>
                <c:pt idx="24409">
                  <c:v>0</c:v>
                </c:pt>
                <c:pt idx="24410">
                  <c:v>0</c:v>
                </c:pt>
                <c:pt idx="24411">
                  <c:v>0</c:v>
                </c:pt>
                <c:pt idx="24412">
                  <c:v>0</c:v>
                </c:pt>
                <c:pt idx="24413">
                  <c:v>0</c:v>
                </c:pt>
                <c:pt idx="24414">
                  <c:v>3</c:v>
                </c:pt>
                <c:pt idx="24415">
                  <c:v>0</c:v>
                </c:pt>
                <c:pt idx="24416">
                  <c:v>0</c:v>
                </c:pt>
                <c:pt idx="24417">
                  <c:v>0</c:v>
                </c:pt>
                <c:pt idx="24418">
                  <c:v>0</c:v>
                </c:pt>
                <c:pt idx="24419">
                  <c:v>0</c:v>
                </c:pt>
                <c:pt idx="24420">
                  <c:v>1</c:v>
                </c:pt>
                <c:pt idx="24421">
                  <c:v>1</c:v>
                </c:pt>
                <c:pt idx="24422">
                  <c:v>0</c:v>
                </c:pt>
                <c:pt idx="24423">
                  <c:v>0</c:v>
                </c:pt>
                <c:pt idx="24424">
                  <c:v>0</c:v>
                </c:pt>
                <c:pt idx="24425">
                  <c:v>0</c:v>
                </c:pt>
                <c:pt idx="24426">
                  <c:v>0</c:v>
                </c:pt>
                <c:pt idx="24427">
                  <c:v>0</c:v>
                </c:pt>
                <c:pt idx="24428">
                  <c:v>0</c:v>
                </c:pt>
                <c:pt idx="24429">
                  <c:v>0</c:v>
                </c:pt>
                <c:pt idx="24430">
                  <c:v>1</c:v>
                </c:pt>
                <c:pt idx="24431">
                  <c:v>0</c:v>
                </c:pt>
                <c:pt idx="24432">
                  <c:v>0</c:v>
                </c:pt>
                <c:pt idx="24433">
                  <c:v>0</c:v>
                </c:pt>
                <c:pt idx="24434">
                  <c:v>4</c:v>
                </c:pt>
                <c:pt idx="24435">
                  <c:v>1</c:v>
                </c:pt>
                <c:pt idx="24436">
                  <c:v>0</c:v>
                </c:pt>
                <c:pt idx="24437">
                  <c:v>10</c:v>
                </c:pt>
                <c:pt idx="24438">
                  <c:v>0</c:v>
                </c:pt>
                <c:pt idx="24439">
                  <c:v>0</c:v>
                </c:pt>
                <c:pt idx="24440">
                  <c:v>0</c:v>
                </c:pt>
                <c:pt idx="24441">
                  <c:v>0</c:v>
                </c:pt>
                <c:pt idx="24442">
                  <c:v>0</c:v>
                </c:pt>
                <c:pt idx="24443">
                  <c:v>0</c:v>
                </c:pt>
                <c:pt idx="24444">
                  <c:v>1</c:v>
                </c:pt>
                <c:pt idx="24445">
                  <c:v>1</c:v>
                </c:pt>
                <c:pt idx="24446">
                  <c:v>0</c:v>
                </c:pt>
                <c:pt idx="24447">
                  <c:v>0</c:v>
                </c:pt>
                <c:pt idx="24448">
                  <c:v>1</c:v>
                </c:pt>
                <c:pt idx="24449">
                  <c:v>2</c:v>
                </c:pt>
                <c:pt idx="24450">
                  <c:v>6</c:v>
                </c:pt>
                <c:pt idx="24451">
                  <c:v>0</c:v>
                </c:pt>
                <c:pt idx="24452">
                  <c:v>0</c:v>
                </c:pt>
                <c:pt idx="24453">
                  <c:v>0</c:v>
                </c:pt>
                <c:pt idx="24454">
                  <c:v>2</c:v>
                </c:pt>
                <c:pt idx="24455">
                  <c:v>1</c:v>
                </c:pt>
                <c:pt idx="24456">
                  <c:v>0</c:v>
                </c:pt>
                <c:pt idx="24457">
                  <c:v>0</c:v>
                </c:pt>
                <c:pt idx="24458">
                  <c:v>0</c:v>
                </c:pt>
                <c:pt idx="24459">
                  <c:v>2</c:v>
                </c:pt>
                <c:pt idx="24460">
                  <c:v>5</c:v>
                </c:pt>
                <c:pt idx="24461">
                  <c:v>0</c:v>
                </c:pt>
                <c:pt idx="24462">
                  <c:v>0</c:v>
                </c:pt>
                <c:pt idx="24463">
                  <c:v>0</c:v>
                </c:pt>
                <c:pt idx="24464">
                  <c:v>1</c:v>
                </c:pt>
                <c:pt idx="24465">
                  <c:v>0</c:v>
                </c:pt>
                <c:pt idx="24466">
                  <c:v>0</c:v>
                </c:pt>
                <c:pt idx="24467">
                  <c:v>0</c:v>
                </c:pt>
                <c:pt idx="24468">
                  <c:v>1</c:v>
                </c:pt>
                <c:pt idx="24469">
                  <c:v>1</c:v>
                </c:pt>
                <c:pt idx="24470">
                  <c:v>0</c:v>
                </c:pt>
                <c:pt idx="24471">
                  <c:v>0</c:v>
                </c:pt>
                <c:pt idx="24472">
                  <c:v>0</c:v>
                </c:pt>
                <c:pt idx="24473">
                  <c:v>0</c:v>
                </c:pt>
                <c:pt idx="24474">
                  <c:v>3</c:v>
                </c:pt>
                <c:pt idx="24475">
                  <c:v>0</c:v>
                </c:pt>
                <c:pt idx="24476">
                  <c:v>0</c:v>
                </c:pt>
                <c:pt idx="24477">
                  <c:v>0</c:v>
                </c:pt>
                <c:pt idx="24478">
                  <c:v>3</c:v>
                </c:pt>
                <c:pt idx="24479">
                  <c:v>2</c:v>
                </c:pt>
                <c:pt idx="24480">
                  <c:v>6</c:v>
                </c:pt>
                <c:pt idx="24481">
                  <c:v>0</c:v>
                </c:pt>
                <c:pt idx="24482">
                  <c:v>0</c:v>
                </c:pt>
                <c:pt idx="24483">
                  <c:v>0</c:v>
                </c:pt>
                <c:pt idx="24484">
                  <c:v>0</c:v>
                </c:pt>
                <c:pt idx="24485">
                  <c:v>0</c:v>
                </c:pt>
                <c:pt idx="24486">
                  <c:v>0</c:v>
                </c:pt>
                <c:pt idx="24487">
                  <c:v>3</c:v>
                </c:pt>
                <c:pt idx="24488">
                  <c:v>9</c:v>
                </c:pt>
                <c:pt idx="24489">
                  <c:v>0</c:v>
                </c:pt>
                <c:pt idx="24490">
                  <c:v>3</c:v>
                </c:pt>
                <c:pt idx="24491">
                  <c:v>7</c:v>
                </c:pt>
                <c:pt idx="24492">
                  <c:v>7</c:v>
                </c:pt>
                <c:pt idx="24493">
                  <c:v>1</c:v>
                </c:pt>
                <c:pt idx="24494">
                  <c:v>0</c:v>
                </c:pt>
                <c:pt idx="24495">
                  <c:v>0</c:v>
                </c:pt>
                <c:pt idx="24496">
                  <c:v>0</c:v>
                </c:pt>
                <c:pt idx="24497">
                  <c:v>2</c:v>
                </c:pt>
                <c:pt idx="24498">
                  <c:v>0</c:v>
                </c:pt>
                <c:pt idx="24499">
                  <c:v>0</c:v>
                </c:pt>
                <c:pt idx="24500">
                  <c:v>4</c:v>
                </c:pt>
                <c:pt idx="24501">
                  <c:v>1</c:v>
                </c:pt>
                <c:pt idx="24502">
                  <c:v>0</c:v>
                </c:pt>
                <c:pt idx="24503">
                  <c:v>1</c:v>
                </c:pt>
                <c:pt idx="24504">
                  <c:v>0</c:v>
                </c:pt>
                <c:pt idx="24505">
                  <c:v>2</c:v>
                </c:pt>
                <c:pt idx="24506">
                  <c:v>1</c:v>
                </c:pt>
                <c:pt idx="24507">
                  <c:v>0</c:v>
                </c:pt>
                <c:pt idx="24508">
                  <c:v>0</c:v>
                </c:pt>
                <c:pt idx="24509">
                  <c:v>1</c:v>
                </c:pt>
                <c:pt idx="24510">
                  <c:v>0</c:v>
                </c:pt>
                <c:pt idx="24511">
                  <c:v>0</c:v>
                </c:pt>
                <c:pt idx="24512">
                  <c:v>4</c:v>
                </c:pt>
                <c:pt idx="24513">
                  <c:v>0</c:v>
                </c:pt>
                <c:pt idx="24514">
                  <c:v>3</c:v>
                </c:pt>
                <c:pt idx="24515">
                  <c:v>0</c:v>
                </c:pt>
                <c:pt idx="24516">
                  <c:v>3</c:v>
                </c:pt>
                <c:pt idx="24517">
                  <c:v>4</c:v>
                </c:pt>
                <c:pt idx="24518">
                  <c:v>0</c:v>
                </c:pt>
                <c:pt idx="24519">
                  <c:v>3</c:v>
                </c:pt>
                <c:pt idx="24520">
                  <c:v>3</c:v>
                </c:pt>
                <c:pt idx="24521">
                  <c:v>0</c:v>
                </c:pt>
                <c:pt idx="24522">
                  <c:v>0</c:v>
                </c:pt>
                <c:pt idx="24523">
                  <c:v>0</c:v>
                </c:pt>
                <c:pt idx="24524">
                  <c:v>1</c:v>
                </c:pt>
                <c:pt idx="24525">
                  <c:v>0</c:v>
                </c:pt>
                <c:pt idx="24526">
                  <c:v>1</c:v>
                </c:pt>
                <c:pt idx="24527">
                  <c:v>1</c:v>
                </c:pt>
                <c:pt idx="24528">
                  <c:v>3</c:v>
                </c:pt>
                <c:pt idx="24529">
                  <c:v>4</c:v>
                </c:pt>
                <c:pt idx="24530">
                  <c:v>1</c:v>
                </c:pt>
                <c:pt idx="24531">
                  <c:v>0</c:v>
                </c:pt>
                <c:pt idx="24532">
                  <c:v>0</c:v>
                </c:pt>
                <c:pt idx="24533">
                  <c:v>0</c:v>
                </c:pt>
                <c:pt idx="24534">
                  <c:v>0</c:v>
                </c:pt>
                <c:pt idx="24535">
                  <c:v>0</c:v>
                </c:pt>
                <c:pt idx="24536">
                  <c:v>0</c:v>
                </c:pt>
                <c:pt idx="24537">
                  <c:v>0</c:v>
                </c:pt>
                <c:pt idx="24538">
                  <c:v>0</c:v>
                </c:pt>
                <c:pt idx="24539">
                  <c:v>0</c:v>
                </c:pt>
                <c:pt idx="24540">
                  <c:v>0</c:v>
                </c:pt>
                <c:pt idx="24541">
                  <c:v>0</c:v>
                </c:pt>
                <c:pt idx="24542">
                  <c:v>0</c:v>
                </c:pt>
                <c:pt idx="24543">
                  <c:v>0</c:v>
                </c:pt>
                <c:pt idx="24544">
                  <c:v>0</c:v>
                </c:pt>
                <c:pt idx="24545">
                  <c:v>0</c:v>
                </c:pt>
                <c:pt idx="24546">
                  <c:v>0</c:v>
                </c:pt>
                <c:pt idx="24547">
                  <c:v>0</c:v>
                </c:pt>
                <c:pt idx="24548">
                  <c:v>0</c:v>
                </c:pt>
                <c:pt idx="24549">
                  <c:v>0</c:v>
                </c:pt>
                <c:pt idx="24550">
                  <c:v>0</c:v>
                </c:pt>
                <c:pt idx="24551">
                  <c:v>0</c:v>
                </c:pt>
                <c:pt idx="24552">
                  <c:v>0</c:v>
                </c:pt>
                <c:pt idx="24553">
                  <c:v>0</c:v>
                </c:pt>
                <c:pt idx="24554">
                  <c:v>0</c:v>
                </c:pt>
                <c:pt idx="24555">
                  <c:v>0</c:v>
                </c:pt>
                <c:pt idx="24556">
                  <c:v>1</c:v>
                </c:pt>
                <c:pt idx="24557">
                  <c:v>0</c:v>
                </c:pt>
                <c:pt idx="24558">
                  <c:v>0</c:v>
                </c:pt>
                <c:pt idx="24559">
                  <c:v>0</c:v>
                </c:pt>
                <c:pt idx="24560">
                  <c:v>0</c:v>
                </c:pt>
                <c:pt idx="24561">
                  <c:v>0</c:v>
                </c:pt>
                <c:pt idx="24562">
                  <c:v>0</c:v>
                </c:pt>
                <c:pt idx="24563">
                  <c:v>0</c:v>
                </c:pt>
                <c:pt idx="24564">
                  <c:v>0</c:v>
                </c:pt>
                <c:pt idx="24565">
                  <c:v>0</c:v>
                </c:pt>
                <c:pt idx="24566">
                  <c:v>0</c:v>
                </c:pt>
                <c:pt idx="24567">
                  <c:v>0</c:v>
                </c:pt>
                <c:pt idx="24568">
                  <c:v>0</c:v>
                </c:pt>
                <c:pt idx="24569">
                  <c:v>0</c:v>
                </c:pt>
                <c:pt idx="24570">
                  <c:v>0</c:v>
                </c:pt>
                <c:pt idx="24571">
                  <c:v>0</c:v>
                </c:pt>
                <c:pt idx="24572">
                  <c:v>0</c:v>
                </c:pt>
                <c:pt idx="24573">
                  <c:v>0</c:v>
                </c:pt>
                <c:pt idx="24574">
                  <c:v>0</c:v>
                </c:pt>
                <c:pt idx="24575">
                  <c:v>0</c:v>
                </c:pt>
                <c:pt idx="24576">
                  <c:v>0</c:v>
                </c:pt>
                <c:pt idx="24577">
                  <c:v>2</c:v>
                </c:pt>
                <c:pt idx="24578">
                  <c:v>0</c:v>
                </c:pt>
                <c:pt idx="24579">
                  <c:v>0</c:v>
                </c:pt>
                <c:pt idx="24580">
                  <c:v>0</c:v>
                </c:pt>
                <c:pt idx="24581">
                  <c:v>0</c:v>
                </c:pt>
                <c:pt idx="24582">
                  <c:v>0</c:v>
                </c:pt>
                <c:pt idx="24583">
                  <c:v>0</c:v>
                </c:pt>
                <c:pt idx="24584">
                  <c:v>1</c:v>
                </c:pt>
                <c:pt idx="24585">
                  <c:v>0</c:v>
                </c:pt>
                <c:pt idx="24586">
                  <c:v>0</c:v>
                </c:pt>
                <c:pt idx="24587">
                  <c:v>0</c:v>
                </c:pt>
                <c:pt idx="24588">
                  <c:v>0</c:v>
                </c:pt>
                <c:pt idx="24589">
                  <c:v>0</c:v>
                </c:pt>
                <c:pt idx="24590">
                  <c:v>0</c:v>
                </c:pt>
                <c:pt idx="24591">
                  <c:v>0</c:v>
                </c:pt>
                <c:pt idx="24592">
                  <c:v>0</c:v>
                </c:pt>
                <c:pt idx="24593">
                  <c:v>0</c:v>
                </c:pt>
                <c:pt idx="24594">
                  <c:v>0</c:v>
                </c:pt>
                <c:pt idx="24595">
                  <c:v>0</c:v>
                </c:pt>
                <c:pt idx="24596">
                  <c:v>0</c:v>
                </c:pt>
                <c:pt idx="24597">
                  <c:v>0</c:v>
                </c:pt>
                <c:pt idx="24598">
                  <c:v>0</c:v>
                </c:pt>
                <c:pt idx="24599">
                  <c:v>0</c:v>
                </c:pt>
                <c:pt idx="24600">
                  <c:v>0</c:v>
                </c:pt>
                <c:pt idx="24601">
                  <c:v>0</c:v>
                </c:pt>
                <c:pt idx="24602">
                  <c:v>0</c:v>
                </c:pt>
                <c:pt idx="24603">
                  <c:v>0</c:v>
                </c:pt>
                <c:pt idx="24604">
                  <c:v>0</c:v>
                </c:pt>
                <c:pt idx="24605">
                  <c:v>0</c:v>
                </c:pt>
                <c:pt idx="24606">
                  <c:v>1</c:v>
                </c:pt>
                <c:pt idx="24607">
                  <c:v>0</c:v>
                </c:pt>
                <c:pt idx="24608">
                  <c:v>0</c:v>
                </c:pt>
                <c:pt idx="24609">
                  <c:v>1</c:v>
                </c:pt>
                <c:pt idx="24610">
                  <c:v>0</c:v>
                </c:pt>
                <c:pt idx="24611">
                  <c:v>0</c:v>
                </c:pt>
                <c:pt idx="24612">
                  <c:v>0</c:v>
                </c:pt>
                <c:pt idx="24613">
                  <c:v>0</c:v>
                </c:pt>
                <c:pt idx="24614">
                  <c:v>0</c:v>
                </c:pt>
                <c:pt idx="24615">
                  <c:v>0</c:v>
                </c:pt>
                <c:pt idx="24616">
                  <c:v>0</c:v>
                </c:pt>
                <c:pt idx="24617">
                  <c:v>0</c:v>
                </c:pt>
                <c:pt idx="24618">
                  <c:v>0</c:v>
                </c:pt>
                <c:pt idx="24619">
                  <c:v>0</c:v>
                </c:pt>
                <c:pt idx="24620">
                  <c:v>0</c:v>
                </c:pt>
                <c:pt idx="24621">
                  <c:v>0</c:v>
                </c:pt>
                <c:pt idx="24622">
                  <c:v>0</c:v>
                </c:pt>
                <c:pt idx="24623">
                  <c:v>0</c:v>
                </c:pt>
                <c:pt idx="24624">
                  <c:v>0</c:v>
                </c:pt>
                <c:pt idx="24625">
                  <c:v>0</c:v>
                </c:pt>
                <c:pt idx="24626">
                  <c:v>1</c:v>
                </c:pt>
                <c:pt idx="24627">
                  <c:v>1</c:v>
                </c:pt>
                <c:pt idx="24628">
                  <c:v>1</c:v>
                </c:pt>
                <c:pt idx="24629">
                  <c:v>0</c:v>
                </c:pt>
                <c:pt idx="24630">
                  <c:v>0</c:v>
                </c:pt>
                <c:pt idx="24631">
                  <c:v>1</c:v>
                </c:pt>
                <c:pt idx="24632">
                  <c:v>0</c:v>
                </c:pt>
                <c:pt idx="24633">
                  <c:v>1</c:v>
                </c:pt>
                <c:pt idx="24634">
                  <c:v>0</c:v>
                </c:pt>
                <c:pt idx="24635">
                  <c:v>1</c:v>
                </c:pt>
                <c:pt idx="24636">
                  <c:v>0</c:v>
                </c:pt>
                <c:pt idx="24637">
                  <c:v>0</c:v>
                </c:pt>
                <c:pt idx="24638">
                  <c:v>0</c:v>
                </c:pt>
                <c:pt idx="24639">
                  <c:v>0</c:v>
                </c:pt>
                <c:pt idx="24640">
                  <c:v>0</c:v>
                </c:pt>
                <c:pt idx="24641">
                  <c:v>0</c:v>
                </c:pt>
                <c:pt idx="24642">
                  <c:v>0</c:v>
                </c:pt>
                <c:pt idx="24643">
                  <c:v>0</c:v>
                </c:pt>
                <c:pt idx="24644">
                  <c:v>0</c:v>
                </c:pt>
                <c:pt idx="24645">
                  <c:v>0</c:v>
                </c:pt>
                <c:pt idx="24646">
                  <c:v>0</c:v>
                </c:pt>
                <c:pt idx="24647">
                  <c:v>0</c:v>
                </c:pt>
                <c:pt idx="24648">
                  <c:v>0</c:v>
                </c:pt>
                <c:pt idx="24649">
                  <c:v>0</c:v>
                </c:pt>
                <c:pt idx="24650">
                  <c:v>0</c:v>
                </c:pt>
                <c:pt idx="24651">
                  <c:v>0</c:v>
                </c:pt>
                <c:pt idx="24652">
                  <c:v>0</c:v>
                </c:pt>
                <c:pt idx="24653">
                  <c:v>0</c:v>
                </c:pt>
                <c:pt idx="24654">
                  <c:v>0</c:v>
                </c:pt>
                <c:pt idx="24655">
                  <c:v>0</c:v>
                </c:pt>
                <c:pt idx="24656">
                  <c:v>0</c:v>
                </c:pt>
                <c:pt idx="24657">
                  <c:v>0</c:v>
                </c:pt>
                <c:pt idx="24658">
                  <c:v>0</c:v>
                </c:pt>
                <c:pt idx="24659">
                  <c:v>0</c:v>
                </c:pt>
                <c:pt idx="24660">
                  <c:v>0</c:v>
                </c:pt>
                <c:pt idx="24661">
                  <c:v>0</c:v>
                </c:pt>
                <c:pt idx="24662">
                  <c:v>0</c:v>
                </c:pt>
                <c:pt idx="24663">
                  <c:v>0</c:v>
                </c:pt>
                <c:pt idx="24664">
                  <c:v>0</c:v>
                </c:pt>
                <c:pt idx="24665">
                  <c:v>0</c:v>
                </c:pt>
                <c:pt idx="24666">
                  <c:v>0</c:v>
                </c:pt>
                <c:pt idx="24667">
                  <c:v>0</c:v>
                </c:pt>
                <c:pt idx="24668">
                  <c:v>1</c:v>
                </c:pt>
                <c:pt idx="24669">
                  <c:v>0</c:v>
                </c:pt>
                <c:pt idx="24670">
                  <c:v>0</c:v>
                </c:pt>
                <c:pt idx="24671">
                  <c:v>0</c:v>
                </c:pt>
                <c:pt idx="24672">
                  <c:v>0</c:v>
                </c:pt>
                <c:pt idx="24673">
                  <c:v>0</c:v>
                </c:pt>
                <c:pt idx="24674">
                  <c:v>0</c:v>
                </c:pt>
                <c:pt idx="24675">
                  <c:v>0</c:v>
                </c:pt>
                <c:pt idx="24676">
                  <c:v>0</c:v>
                </c:pt>
                <c:pt idx="24677">
                  <c:v>0</c:v>
                </c:pt>
                <c:pt idx="24678">
                  <c:v>0</c:v>
                </c:pt>
                <c:pt idx="24679">
                  <c:v>0</c:v>
                </c:pt>
                <c:pt idx="24680">
                  <c:v>0</c:v>
                </c:pt>
                <c:pt idx="24681">
                  <c:v>0</c:v>
                </c:pt>
                <c:pt idx="24682">
                  <c:v>0</c:v>
                </c:pt>
                <c:pt idx="24683">
                  <c:v>0</c:v>
                </c:pt>
                <c:pt idx="24684">
                  <c:v>0</c:v>
                </c:pt>
                <c:pt idx="24685">
                  <c:v>0</c:v>
                </c:pt>
                <c:pt idx="24686">
                  <c:v>0</c:v>
                </c:pt>
                <c:pt idx="24687">
                  <c:v>0</c:v>
                </c:pt>
                <c:pt idx="24688">
                  <c:v>0</c:v>
                </c:pt>
                <c:pt idx="24689">
                  <c:v>0</c:v>
                </c:pt>
                <c:pt idx="24690">
                  <c:v>0</c:v>
                </c:pt>
                <c:pt idx="24691">
                  <c:v>0</c:v>
                </c:pt>
                <c:pt idx="24692">
                  <c:v>0</c:v>
                </c:pt>
                <c:pt idx="24693">
                  <c:v>0</c:v>
                </c:pt>
                <c:pt idx="24694">
                  <c:v>0</c:v>
                </c:pt>
                <c:pt idx="24695">
                  <c:v>0</c:v>
                </c:pt>
                <c:pt idx="24696">
                  <c:v>0</c:v>
                </c:pt>
                <c:pt idx="24697">
                  <c:v>0</c:v>
                </c:pt>
                <c:pt idx="24698">
                  <c:v>2</c:v>
                </c:pt>
                <c:pt idx="24699">
                  <c:v>0</c:v>
                </c:pt>
                <c:pt idx="24700">
                  <c:v>0</c:v>
                </c:pt>
                <c:pt idx="24701">
                  <c:v>0</c:v>
                </c:pt>
                <c:pt idx="24702">
                  <c:v>0</c:v>
                </c:pt>
                <c:pt idx="24703">
                  <c:v>0</c:v>
                </c:pt>
                <c:pt idx="24704">
                  <c:v>3</c:v>
                </c:pt>
                <c:pt idx="24705">
                  <c:v>0</c:v>
                </c:pt>
                <c:pt idx="24706">
                  <c:v>0</c:v>
                </c:pt>
                <c:pt idx="24707">
                  <c:v>5</c:v>
                </c:pt>
                <c:pt idx="24708">
                  <c:v>1</c:v>
                </c:pt>
                <c:pt idx="24709">
                  <c:v>7</c:v>
                </c:pt>
                <c:pt idx="24710">
                  <c:v>0</c:v>
                </c:pt>
                <c:pt idx="24711">
                  <c:v>0</c:v>
                </c:pt>
                <c:pt idx="24712">
                  <c:v>0</c:v>
                </c:pt>
                <c:pt idx="24713">
                  <c:v>0</c:v>
                </c:pt>
                <c:pt idx="24714">
                  <c:v>0</c:v>
                </c:pt>
                <c:pt idx="24715">
                  <c:v>0</c:v>
                </c:pt>
                <c:pt idx="24716">
                  <c:v>0</c:v>
                </c:pt>
                <c:pt idx="24717">
                  <c:v>0</c:v>
                </c:pt>
                <c:pt idx="24718">
                  <c:v>0</c:v>
                </c:pt>
                <c:pt idx="24719">
                  <c:v>0</c:v>
                </c:pt>
                <c:pt idx="24720">
                  <c:v>0</c:v>
                </c:pt>
                <c:pt idx="24721">
                  <c:v>0</c:v>
                </c:pt>
                <c:pt idx="24722">
                  <c:v>0</c:v>
                </c:pt>
                <c:pt idx="24723">
                  <c:v>0</c:v>
                </c:pt>
                <c:pt idx="24724">
                  <c:v>0</c:v>
                </c:pt>
                <c:pt idx="24725">
                  <c:v>0</c:v>
                </c:pt>
                <c:pt idx="24726">
                  <c:v>0</c:v>
                </c:pt>
                <c:pt idx="24727">
                  <c:v>0</c:v>
                </c:pt>
                <c:pt idx="24728">
                  <c:v>0</c:v>
                </c:pt>
                <c:pt idx="24729">
                  <c:v>0</c:v>
                </c:pt>
                <c:pt idx="24730">
                  <c:v>0</c:v>
                </c:pt>
                <c:pt idx="24731">
                  <c:v>0</c:v>
                </c:pt>
                <c:pt idx="24732">
                  <c:v>0</c:v>
                </c:pt>
                <c:pt idx="24733">
                  <c:v>0</c:v>
                </c:pt>
                <c:pt idx="24734">
                  <c:v>0</c:v>
                </c:pt>
                <c:pt idx="24735">
                  <c:v>0</c:v>
                </c:pt>
                <c:pt idx="24736">
                  <c:v>0</c:v>
                </c:pt>
                <c:pt idx="24737">
                  <c:v>0</c:v>
                </c:pt>
                <c:pt idx="24738">
                  <c:v>0</c:v>
                </c:pt>
                <c:pt idx="24739">
                  <c:v>0</c:v>
                </c:pt>
                <c:pt idx="24740">
                  <c:v>0</c:v>
                </c:pt>
                <c:pt idx="24741">
                  <c:v>0</c:v>
                </c:pt>
                <c:pt idx="24742">
                  <c:v>0</c:v>
                </c:pt>
                <c:pt idx="24743">
                  <c:v>0</c:v>
                </c:pt>
                <c:pt idx="24744">
                  <c:v>0</c:v>
                </c:pt>
                <c:pt idx="24745">
                  <c:v>0</c:v>
                </c:pt>
                <c:pt idx="24746">
                  <c:v>0</c:v>
                </c:pt>
                <c:pt idx="24747">
                  <c:v>0</c:v>
                </c:pt>
                <c:pt idx="24748">
                  <c:v>0</c:v>
                </c:pt>
                <c:pt idx="24749">
                  <c:v>0</c:v>
                </c:pt>
                <c:pt idx="24750">
                  <c:v>0</c:v>
                </c:pt>
                <c:pt idx="24751">
                  <c:v>4</c:v>
                </c:pt>
                <c:pt idx="24752">
                  <c:v>0</c:v>
                </c:pt>
                <c:pt idx="24753">
                  <c:v>0</c:v>
                </c:pt>
                <c:pt idx="24754">
                  <c:v>1</c:v>
                </c:pt>
                <c:pt idx="24755">
                  <c:v>0</c:v>
                </c:pt>
                <c:pt idx="24756">
                  <c:v>0</c:v>
                </c:pt>
                <c:pt idx="24757">
                  <c:v>1</c:v>
                </c:pt>
                <c:pt idx="24758">
                  <c:v>0</c:v>
                </c:pt>
                <c:pt idx="24759">
                  <c:v>1</c:v>
                </c:pt>
                <c:pt idx="24760">
                  <c:v>1</c:v>
                </c:pt>
                <c:pt idx="24761">
                  <c:v>3</c:v>
                </c:pt>
                <c:pt idx="24762">
                  <c:v>0</c:v>
                </c:pt>
                <c:pt idx="24763">
                  <c:v>0</c:v>
                </c:pt>
                <c:pt idx="24764">
                  <c:v>1</c:v>
                </c:pt>
                <c:pt idx="24765">
                  <c:v>0</c:v>
                </c:pt>
                <c:pt idx="24766">
                  <c:v>0</c:v>
                </c:pt>
                <c:pt idx="24767">
                  <c:v>0</c:v>
                </c:pt>
                <c:pt idx="24768">
                  <c:v>0</c:v>
                </c:pt>
                <c:pt idx="24769">
                  <c:v>0</c:v>
                </c:pt>
                <c:pt idx="24770">
                  <c:v>0</c:v>
                </c:pt>
                <c:pt idx="24771">
                  <c:v>0</c:v>
                </c:pt>
                <c:pt idx="24772">
                  <c:v>0</c:v>
                </c:pt>
                <c:pt idx="24773">
                  <c:v>0</c:v>
                </c:pt>
                <c:pt idx="24774">
                  <c:v>0</c:v>
                </c:pt>
                <c:pt idx="24775">
                  <c:v>0</c:v>
                </c:pt>
                <c:pt idx="24776">
                  <c:v>0</c:v>
                </c:pt>
                <c:pt idx="24777">
                  <c:v>0</c:v>
                </c:pt>
                <c:pt idx="24778">
                  <c:v>2</c:v>
                </c:pt>
                <c:pt idx="24779">
                  <c:v>4</c:v>
                </c:pt>
                <c:pt idx="24780">
                  <c:v>0</c:v>
                </c:pt>
                <c:pt idx="24781">
                  <c:v>0</c:v>
                </c:pt>
                <c:pt idx="24782">
                  <c:v>0</c:v>
                </c:pt>
                <c:pt idx="24783">
                  <c:v>2</c:v>
                </c:pt>
                <c:pt idx="24784">
                  <c:v>0</c:v>
                </c:pt>
                <c:pt idx="24785">
                  <c:v>0</c:v>
                </c:pt>
                <c:pt idx="24786">
                  <c:v>0</c:v>
                </c:pt>
                <c:pt idx="24787">
                  <c:v>0</c:v>
                </c:pt>
                <c:pt idx="24788">
                  <c:v>0</c:v>
                </c:pt>
                <c:pt idx="24789">
                  <c:v>0</c:v>
                </c:pt>
                <c:pt idx="24790">
                  <c:v>0</c:v>
                </c:pt>
                <c:pt idx="24791">
                  <c:v>0</c:v>
                </c:pt>
                <c:pt idx="24792">
                  <c:v>0</c:v>
                </c:pt>
                <c:pt idx="24793">
                  <c:v>0</c:v>
                </c:pt>
                <c:pt idx="24794">
                  <c:v>0</c:v>
                </c:pt>
                <c:pt idx="24795">
                  <c:v>0</c:v>
                </c:pt>
                <c:pt idx="24796">
                  <c:v>0</c:v>
                </c:pt>
                <c:pt idx="24797">
                  <c:v>0</c:v>
                </c:pt>
                <c:pt idx="24798">
                  <c:v>0</c:v>
                </c:pt>
                <c:pt idx="24799">
                  <c:v>0</c:v>
                </c:pt>
                <c:pt idx="24800">
                  <c:v>0</c:v>
                </c:pt>
                <c:pt idx="24801">
                  <c:v>0</c:v>
                </c:pt>
                <c:pt idx="24802">
                  <c:v>0</c:v>
                </c:pt>
                <c:pt idx="24803">
                  <c:v>0</c:v>
                </c:pt>
                <c:pt idx="24804">
                  <c:v>0</c:v>
                </c:pt>
                <c:pt idx="24805">
                  <c:v>0</c:v>
                </c:pt>
                <c:pt idx="24806">
                  <c:v>1</c:v>
                </c:pt>
                <c:pt idx="24807">
                  <c:v>4</c:v>
                </c:pt>
                <c:pt idx="24808">
                  <c:v>0</c:v>
                </c:pt>
                <c:pt idx="24809">
                  <c:v>0</c:v>
                </c:pt>
                <c:pt idx="24810">
                  <c:v>1</c:v>
                </c:pt>
                <c:pt idx="24811">
                  <c:v>1</c:v>
                </c:pt>
                <c:pt idx="24812">
                  <c:v>0</c:v>
                </c:pt>
                <c:pt idx="24813">
                  <c:v>3</c:v>
                </c:pt>
                <c:pt idx="24814">
                  <c:v>0</c:v>
                </c:pt>
                <c:pt idx="24815">
                  <c:v>0</c:v>
                </c:pt>
                <c:pt idx="24816">
                  <c:v>4</c:v>
                </c:pt>
                <c:pt idx="24817">
                  <c:v>11</c:v>
                </c:pt>
                <c:pt idx="24818">
                  <c:v>0</c:v>
                </c:pt>
                <c:pt idx="24819">
                  <c:v>0</c:v>
                </c:pt>
                <c:pt idx="24820">
                  <c:v>0</c:v>
                </c:pt>
                <c:pt idx="24821">
                  <c:v>3</c:v>
                </c:pt>
                <c:pt idx="24822">
                  <c:v>3</c:v>
                </c:pt>
                <c:pt idx="24823">
                  <c:v>1</c:v>
                </c:pt>
                <c:pt idx="24824">
                  <c:v>5</c:v>
                </c:pt>
                <c:pt idx="24825">
                  <c:v>0</c:v>
                </c:pt>
                <c:pt idx="24826">
                  <c:v>3</c:v>
                </c:pt>
                <c:pt idx="24827">
                  <c:v>6</c:v>
                </c:pt>
                <c:pt idx="24828">
                  <c:v>2</c:v>
                </c:pt>
                <c:pt idx="24829">
                  <c:v>1</c:v>
                </c:pt>
                <c:pt idx="24830">
                  <c:v>2</c:v>
                </c:pt>
                <c:pt idx="24831">
                  <c:v>1</c:v>
                </c:pt>
                <c:pt idx="24832">
                  <c:v>3</c:v>
                </c:pt>
                <c:pt idx="24833">
                  <c:v>6</c:v>
                </c:pt>
                <c:pt idx="24834">
                  <c:v>4</c:v>
                </c:pt>
                <c:pt idx="24835">
                  <c:v>2</c:v>
                </c:pt>
                <c:pt idx="24836">
                  <c:v>10</c:v>
                </c:pt>
                <c:pt idx="24837">
                  <c:v>7</c:v>
                </c:pt>
                <c:pt idx="24838">
                  <c:v>1</c:v>
                </c:pt>
                <c:pt idx="24839">
                  <c:v>0</c:v>
                </c:pt>
                <c:pt idx="24840">
                  <c:v>0</c:v>
                </c:pt>
                <c:pt idx="24841">
                  <c:v>5</c:v>
                </c:pt>
                <c:pt idx="24842">
                  <c:v>5</c:v>
                </c:pt>
                <c:pt idx="24843">
                  <c:v>7</c:v>
                </c:pt>
                <c:pt idx="24844">
                  <c:v>9</c:v>
                </c:pt>
                <c:pt idx="24845">
                  <c:v>6</c:v>
                </c:pt>
                <c:pt idx="24846">
                  <c:v>7</c:v>
                </c:pt>
                <c:pt idx="24847">
                  <c:v>2</c:v>
                </c:pt>
                <c:pt idx="24848">
                  <c:v>5</c:v>
                </c:pt>
                <c:pt idx="24849">
                  <c:v>4</c:v>
                </c:pt>
                <c:pt idx="24850">
                  <c:v>0</c:v>
                </c:pt>
                <c:pt idx="24851">
                  <c:v>2</c:v>
                </c:pt>
                <c:pt idx="24852">
                  <c:v>0</c:v>
                </c:pt>
                <c:pt idx="24853">
                  <c:v>1</c:v>
                </c:pt>
                <c:pt idx="24854">
                  <c:v>0</c:v>
                </c:pt>
                <c:pt idx="24855">
                  <c:v>0</c:v>
                </c:pt>
                <c:pt idx="24856">
                  <c:v>1</c:v>
                </c:pt>
                <c:pt idx="24857">
                  <c:v>7</c:v>
                </c:pt>
                <c:pt idx="24858">
                  <c:v>2</c:v>
                </c:pt>
                <c:pt idx="24859">
                  <c:v>6</c:v>
                </c:pt>
                <c:pt idx="24860">
                  <c:v>11</c:v>
                </c:pt>
                <c:pt idx="24861">
                  <c:v>7</c:v>
                </c:pt>
                <c:pt idx="24862">
                  <c:v>3</c:v>
                </c:pt>
                <c:pt idx="24863">
                  <c:v>0</c:v>
                </c:pt>
                <c:pt idx="24864">
                  <c:v>0</c:v>
                </c:pt>
                <c:pt idx="24865">
                  <c:v>0</c:v>
                </c:pt>
                <c:pt idx="24866">
                  <c:v>6</c:v>
                </c:pt>
                <c:pt idx="24867">
                  <c:v>1</c:v>
                </c:pt>
                <c:pt idx="24868">
                  <c:v>3</c:v>
                </c:pt>
                <c:pt idx="24869">
                  <c:v>3</c:v>
                </c:pt>
                <c:pt idx="24870">
                  <c:v>7</c:v>
                </c:pt>
                <c:pt idx="24871">
                  <c:v>1</c:v>
                </c:pt>
                <c:pt idx="24872">
                  <c:v>7</c:v>
                </c:pt>
                <c:pt idx="24873">
                  <c:v>4</c:v>
                </c:pt>
                <c:pt idx="24874">
                  <c:v>3</c:v>
                </c:pt>
                <c:pt idx="24875">
                  <c:v>7</c:v>
                </c:pt>
                <c:pt idx="24876">
                  <c:v>5</c:v>
                </c:pt>
                <c:pt idx="24877">
                  <c:v>0</c:v>
                </c:pt>
                <c:pt idx="24878">
                  <c:v>5</c:v>
                </c:pt>
                <c:pt idx="24879">
                  <c:v>0</c:v>
                </c:pt>
                <c:pt idx="24880">
                  <c:v>9</c:v>
                </c:pt>
                <c:pt idx="24881">
                  <c:v>0</c:v>
                </c:pt>
                <c:pt idx="24882">
                  <c:v>0</c:v>
                </c:pt>
                <c:pt idx="24883">
                  <c:v>0</c:v>
                </c:pt>
                <c:pt idx="24884">
                  <c:v>0</c:v>
                </c:pt>
                <c:pt idx="24885">
                  <c:v>16</c:v>
                </c:pt>
                <c:pt idx="24886">
                  <c:v>3</c:v>
                </c:pt>
                <c:pt idx="24887">
                  <c:v>6</c:v>
                </c:pt>
                <c:pt idx="24888">
                  <c:v>2</c:v>
                </c:pt>
                <c:pt idx="24889">
                  <c:v>4</c:v>
                </c:pt>
                <c:pt idx="24890">
                  <c:v>2</c:v>
                </c:pt>
                <c:pt idx="24891">
                  <c:v>4</c:v>
                </c:pt>
                <c:pt idx="24892">
                  <c:v>6</c:v>
                </c:pt>
                <c:pt idx="24893">
                  <c:v>5</c:v>
                </c:pt>
                <c:pt idx="24894">
                  <c:v>3</c:v>
                </c:pt>
                <c:pt idx="24895">
                  <c:v>4</c:v>
                </c:pt>
                <c:pt idx="24896">
                  <c:v>2</c:v>
                </c:pt>
                <c:pt idx="24897">
                  <c:v>1</c:v>
                </c:pt>
                <c:pt idx="24898">
                  <c:v>2</c:v>
                </c:pt>
                <c:pt idx="24899">
                  <c:v>1</c:v>
                </c:pt>
                <c:pt idx="24900">
                  <c:v>6</c:v>
                </c:pt>
                <c:pt idx="24901">
                  <c:v>1</c:v>
                </c:pt>
                <c:pt idx="24902">
                  <c:v>4</c:v>
                </c:pt>
                <c:pt idx="24903">
                  <c:v>3</c:v>
                </c:pt>
                <c:pt idx="24904">
                  <c:v>1</c:v>
                </c:pt>
                <c:pt idx="24905">
                  <c:v>4</c:v>
                </c:pt>
                <c:pt idx="24906">
                  <c:v>3</c:v>
                </c:pt>
                <c:pt idx="24907">
                  <c:v>3</c:v>
                </c:pt>
                <c:pt idx="24908">
                  <c:v>4</c:v>
                </c:pt>
                <c:pt idx="24909">
                  <c:v>2</c:v>
                </c:pt>
                <c:pt idx="24910">
                  <c:v>1</c:v>
                </c:pt>
                <c:pt idx="24911">
                  <c:v>1</c:v>
                </c:pt>
                <c:pt idx="24912">
                  <c:v>4</c:v>
                </c:pt>
                <c:pt idx="24913">
                  <c:v>3</c:v>
                </c:pt>
                <c:pt idx="24914">
                  <c:v>0</c:v>
                </c:pt>
                <c:pt idx="24915">
                  <c:v>2</c:v>
                </c:pt>
                <c:pt idx="24916">
                  <c:v>2</c:v>
                </c:pt>
                <c:pt idx="24917">
                  <c:v>4</c:v>
                </c:pt>
                <c:pt idx="24918">
                  <c:v>2</c:v>
                </c:pt>
                <c:pt idx="24919">
                  <c:v>6</c:v>
                </c:pt>
                <c:pt idx="24920">
                  <c:v>7</c:v>
                </c:pt>
                <c:pt idx="24921">
                  <c:v>1</c:v>
                </c:pt>
                <c:pt idx="24922">
                  <c:v>7</c:v>
                </c:pt>
                <c:pt idx="24923">
                  <c:v>0</c:v>
                </c:pt>
                <c:pt idx="24924">
                  <c:v>1</c:v>
                </c:pt>
                <c:pt idx="24925">
                  <c:v>11</c:v>
                </c:pt>
                <c:pt idx="24926">
                  <c:v>4</c:v>
                </c:pt>
                <c:pt idx="24927">
                  <c:v>0</c:v>
                </c:pt>
                <c:pt idx="24928">
                  <c:v>1</c:v>
                </c:pt>
                <c:pt idx="24929">
                  <c:v>7</c:v>
                </c:pt>
                <c:pt idx="24930">
                  <c:v>1</c:v>
                </c:pt>
                <c:pt idx="24931">
                  <c:v>0</c:v>
                </c:pt>
                <c:pt idx="24932">
                  <c:v>0</c:v>
                </c:pt>
                <c:pt idx="24933">
                  <c:v>4</c:v>
                </c:pt>
                <c:pt idx="24934">
                  <c:v>1</c:v>
                </c:pt>
                <c:pt idx="24935">
                  <c:v>1</c:v>
                </c:pt>
                <c:pt idx="24936">
                  <c:v>0</c:v>
                </c:pt>
                <c:pt idx="24937">
                  <c:v>3</c:v>
                </c:pt>
                <c:pt idx="24938">
                  <c:v>3</c:v>
                </c:pt>
                <c:pt idx="24939">
                  <c:v>3</c:v>
                </c:pt>
                <c:pt idx="24940">
                  <c:v>0</c:v>
                </c:pt>
                <c:pt idx="24941">
                  <c:v>4</c:v>
                </c:pt>
                <c:pt idx="24942">
                  <c:v>0</c:v>
                </c:pt>
                <c:pt idx="24943">
                  <c:v>0</c:v>
                </c:pt>
                <c:pt idx="24944">
                  <c:v>2</c:v>
                </c:pt>
                <c:pt idx="24945">
                  <c:v>0</c:v>
                </c:pt>
                <c:pt idx="24946">
                  <c:v>1</c:v>
                </c:pt>
                <c:pt idx="24947">
                  <c:v>0</c:v>
                </c:pt>
                <c:pt idx="24948">
                  <c:v>0</c:v>
                </c:pt>
                <c:pt idx="24949">
                  <c:v>0</c:v>
                </c:pt>
                <c:pt idx="24950">
                  <c:v>4</c:v>
                </c:pt>
                <c:pt idx="24951">
                  <c:v>0</c:v>
                </c:pt>
                <c:pt idx="24952">
                  <c:v>0</c:v>
                </c:pt>
                <c:pt idx="24953">
                  <c:v>0</c:v>
                </c:pt>
                <c:pt idx="24954">
                  <c:v>0</c:v>
                </c:pt>
                <c:pt idx="24955">
                  <c:v>0</c:v>
                </c:pt>
                <c:pt idx="24956">
                  <c:v>0</c:v>
                </c:pt>
                <c:pt idx="24957">
                  <c:v>0</c:v>
                </c:pt>
                <c:pt idx="24958">
                  <c:v>0</c:v>
                </c:pt>
                <c:pt idx="24959">
                  <c:v>0</c:v>
                </c:pt>
                <c:pt idx="24960">
                  <c:v>0</c:v>
                </c:pt>
                <c:pt idx="24961">
                  <c:v>0</c:v>
                </c:pt>
                <c:pt idx="24962">
                  <c:v>0</c:v>
                </c:pt>
                <c:pt idx="24963">
                  <c:v>0</c:v>
                </c:pt>
                <c:pt idx="24964">
                  <c:v>0</c:v>
                </c:pt>
                <c:pt idx="24965">
                  <c:v>0</c:v>
                </c:pt>
                <c:pt idx="24966">
                  <c:v>3</c:v>
                </c:pt>
                <c:pt idx="24967">
                  <c:v>0</c:v>
                </c:pt>
                <c:pt idx="24968">
                  <c:v>3</c:v>
                </c:pt>
                <c:pt idx="24969">
                  <c:v>0</c:v>
                </c:pt>
                <c:pt idx="24970">
                  <c:v>6</c:v>
                </c:pt>
                <c:pt idx="24971">
                  <c:v>6</c:v>
                </c:pt>
                <c:pt idx="24972">
                  <c:v>9</c:v>
                </c:pt>
                <c:pt idx="24973">
                  <c:v>0</c:v>
                </c:pt>
                <c:pt idx="24974">
                  <c:v>0</c:v>
                </c:pt>
                <c:pt idx="24975">
                  <c:v>0</c:v>
                </c:pt>
                <c:pt idx="24976">
                  <c:v>0</c:v>
                </c:pt>
                <c:pt idx="24977">
                  <c:v>0</c:v>
                </c:pt>
                <c:pt idx="24978">
                  <c:v>2</c:v>
                </c:pt>
                <c:pt idx="24979">
                  <c:v>2</c:v>
                </c:pt>
                <c:pt idx="24980">
                  <c:v>0</c:v>
                </c:pt>
                <c:pt idx="24981">
                  <c:v>1</c:v>
                </c:pt>
                <c:pt idx="24982">
                  <c:v>4</c:v>
                </c:pt>
                <c:pt idx="24983">
                  <c:v>8</c:v>
                </c:pt>
                <c:pt idx="24984">
                  <c:v>4</c:v>
                </c:pt>
                <c:pt idx="24985">
                  <c:v>1</c:v>
                </c:pt>
                <c:pt idx="24986">
                  <c:v>0</c:v>
                </c:pt>
                <c:pt idx="24987">
                  <c:v>0</c:v>
                </c:pt>
                <c:pt idx="24988">
                  <c:v>0</c:v>
                </c:pt>
                <c:pt idx="24989">
                  <c:v>0</c:v>
                </c:pt>
                <c:pt idx="24990">
                  <c:v>4</c:v>
                </c:pt>
                <c:pt idx="24991">
                  <c:v>0</c:v>
                </c:pt>
                <c:pt idx="24992">
                  <c:v>0</c:v>
                </c:pt>
                <c:pt idx="24993">
                  <c:v>0</c:v>
                </c:pt>
                <c:pt idx="24994">
                  <c:v>0</c:v>
                </c:pt>
                <c:pt idx="24995">
                  <c:v>0</c:v>
                </c:pt>
                <c:pt idx="24996">
                  <c:v>0</c:v>
                </c:pt>
                <c:pt idx="24997">
                  <c:v>0</c:v>
                </c:pt>
                <c:pt idx="24998">
                  <c:v>0</c:v>
                </c:pt>
                <c:pt idx="24999">
                  <c:v>3</c:v>
                </c:pt>
                <c:pt idx="25000">
                  <c:v>4</c:v>
                </c:pt>
                <c:pt idx="25001">
                  <c:v>3</c:v>
                </c:pt>
                <c:pt idx="25002">
                  <c:v>6</c:v>
                </c:pt>
                <c:pt idx="25003">
                  <c:v>0</c:v>
                </c:pt>
                <c:pt idx="25004">
                  <c:v>0</c:v>
                </c:pt>
                <c:pt idx="25005">
                  <c:v>0</c:v>
                </c:pt>
                <c:pt idx="25006">
                  <c:v>0</c:v>
                </c:pt>
                <c:pt idx="25007">
                  <c:v>0</c:v>
                </c:pt>
                <c:pt idx="25008">
                  <c:v>1</c:v>
                </c:pt>
                <c:pt idx="25009">
                  <c:v>0</c:v>
                </c:pt>
                <c:pt idx="25010">
                  <c:v>0</c:v>
                </c:pt>
                <c:pt idx="25011">
                  <c:v>7</c:v>
                </c:pt>
                <c:pt idx="25012">
                  <c:v>7</c:v>
                </c:pt>
                <c:pt idx="25013">
                  <c:v>2</c:v>
                </c:pt>
                <c:pt idx="25014">
                  <c:v>0</c:v>
                </c:pt>
                <c:pt idx="25015">
                  <c:v>0</c:v>
                </c:pt>
                <c:pt idx="25016">
                  <c:v>0</c:v>
                </c:pt>
                <c:pt idx="25017">
                  <c:v>0</c:v>
                </c:pt>
                <c:pt idx="25018">
                  <c:v>0</c:v>
                </c:pt>
                <c:pt idx="25019">
                  <c:v>0</c:v>
                </c:pt>
                <c:pt idx="25020">
                  <c:v>0</c:v>
                </c:pt>
                <c:pt idx="25021">
                  <c:v>0</c:v>
                </c:pt>
                <c:pt idx="25022">
                  <c:v>0</c:v>
                </c:pt>
                <c:pt idx="25023">
                  <c:v>0</c:v>
                </c:pt>
                <c:pt idx="25024">
                  <c:v>1</c:v>
                </c:pt>
                <c:pt idx="25025">
                  <c:v>0</c:v>
                </c:pt>
                <c:pt idx="25026">
                  <c:v>0</c:v>
                </c:pt>
                <c:pt idx="25027">
                  <c:v>0</c:v>
                </c:pt>
                <c:pt idx="25028">
                  <c:v>0</c:v>
                </c:pt>
                <c:pt idx="25029">
                  <c:v>0</c:v>
                </c:pt>
                <c:pt idx="25030">
                  <c:v>0</c:v>
                </c:pt>
                <c:pt idx="25031">
                  <c:v>0</c:v>
                </c:pt>
                <c:pt idx="25032">
                  <c:v>0</c:v>
                </c:pt>
                <c:pt idx="25033">
                  <c:v>0</c:v>
                </c:pt>
                <c:pt idx="25034">
                  <c:v>0</c:v>
                </c:pt>
                <c:pt idx="25035">
                  <c:v>0</c:v>
                </c:pt>
                <c:pt idx="25036">
                  <c:v>0</c:v>
                </c:pt>
                <c:pt idx="25037">
                  <c:v>0</c:v>
                </c:pt>
                <c:pt idx="25038">
                  <c:v>0</c:v>
                </c:pt>
                <c:pt idx="25039">
                  <c:v>0</c:v>
                </c:pt>
                <c:pt idx="25040">
                  <c:v>0</c:v>
                </c:pt>
                <c:pt idx="25041">
                  <c:v>0</c:v>
                </c:pt>
                <c:pt idx="25042">
                  <c:v>0</c:v>
                </c:pt>
                <c:pt idx="25043">
                  <c:v>0</c:v>
                </c:pt>
                <c:pt idx="25044">
                  <c:v>0</c:v>
                </c:pt>
                <c:pt idx="25045">
                  <c:v>0</c:v>
                </c:pt>
                <c:pt idx="25046">
                  <c:v>0</c:v>
                </c:pt>
                <c:pt idx="25047">
                  <c:v>0</c:v>
                </c:pt>
                <c:pt idx="25048">
                  <c:v>0</c:v>
                </c:pt>
                <c:pt idx="25049">
                  <c:v>0</c:v>
                </c:pt>
                <c:pt idx="25050">
                  <c:v>0</c:v>
                </c:pt>
                <c:pt idx="25051">
                  <c:v>0</c:v>
                </c:pt>
                <c:pt idx="25052">
                  <c:v>0</c:v>
                </c:pt>
                <c:pt idx="25053">
                  <c:v>0</c:v>
                </c:pt>
                <c:pt idx="25054">
                  <c:v>0</c:v>
                </c:pt>
                <c:pt idx="25055">
                  <c:v>0</c:v>
                </c:pt>
                <c:pt idx="25056">
                  <c:v>0</c:v>
                </c:pt>
                <c:pt idx="25057">
                  <c:v>0</c:v>
                </c:pt>
                <c:pt idx="25058">
                  <c:v>0</c:v>
                </c:pt>
                <c:pt idx="25059">
                  <c:v>0</c:v>
                </c:pt>
                <c:pt idx="25060">
                  <c:v>0</c:v>
                </c:pt>
                <c:pt idx="25061">
                  <c:v>0</c:v>
                </c:pt>
                <c:pt idx="25062">
                  <c:v>0</c:v>
                </c:pt>
                <c:pt idx="25063">
                  <c:v>0</c:v>
                </c:pt>
                <c:pt idx="25064">
                  <c:v>0</c:v>
                </c:pt>
                <c:pt idx="25065">
                  <c:v>0</c:v>
                </c:pt>
                <c:pt idx="25066">
                  <c:v>0</c:v>
                </c:pt>
                <c:pt idx="25067">
                  <c:v>0</c:v>
                </c:pt>
                <c:pt idx="25068">
                  <c:v>0</c:v>
                </c:pt>
                <c:pt idx="25069">
                  <c:v>0</c:v>
                </c:pt>
                <c:pt idx="25070">
                  <c:v>0</c:v>
                </c:pt>
                <c:pt idx="25071">
                  <c:v>0</c:v>
                </c:pt>
                <c:pt idx="25072">
                  <c:v>0</c:v>
                </c:pt>
                <c:pt idx="25073">
                  <c:v>0</c:v>
                </c:pt>
                <c:pt idx="25074">
                  <c:v>0</c:v>
                </c:pt>
                <c:pt idx="25075">
                  <c:v>0</c:v>
                </c:pt>
                <c:pt idx="25076">
                  <c:v>0</c:v>
                </c:pt>
                <c:pt idx="25077">
                  <c:v>0</c:v>
                </c:pt>
                <c:pt idx="25078">
                  <c:v>1</c:v>
                </c:pt>
                <c:pt idx="25079">
                  <c:v>0</c:v>
                </c:pt>
                <c:pt idx="25080">
                  <c:v>0</c:v>
                </c:pt>
                <c:pt idx="25081">
                  <c:v>0</c:v>
                </c:pt>
                <c:pt idx="25082">
                  <c:v>0</c:v>
                </c:pt>
                <c:pt idx="25083">
                  <c:v>0</c:v>
                </c:pt>
                <c:pt idx="25084">
                  <c:v>0</c:v>
                </c:pt>
                <c:pt idx="25085">
                  <c:v>0</c:v>
                </c:pt>
                <c:pt idx="25086">
                  <c:v>2</c:v>
                </c:pt>
                <c:pt idx="25087">
                  <c:v>0</c:v>
                </c:pt>
                <c:pt idx="25088">
                  <c:v>4</c:v>
                </c:pt>
                <c:pt idx="25089">
                  <c:v>4</c:v>
                </c:pt>
                <c:pt idx="25090">
                  <c:v>4</c:v>
                </c:pt>
                <c:pt idx="25091">
                  <c:v>4</c:v>
                </c:pt>
                <c:pt idx="25092">
                  <c:v>4</c:v>
                </c:pt>
                <c:pt idx="25093">
                  <c:v>0</c:v>
                </c:pt>
                <c:pt idx="25094">
                  <c:v>3</c:v>
                </c:pt>
                <c:pt idx="25095">
                  <c:v>0</c:v>
                </c:pt>
                <c:pt idx="25096">
                  <c:v>0</c:v>
                </c:pt>
                <c:pt idx="25097">
                  <c:v>4</c:v>
                </c:pt>
                <c:pt idx="25098">
                  <c:v>3</c:v>
                </c:pt>
                <c:pt idx="25099">
                  <c:v>4</c:v>
                </c:pt>
                <c:pt idx="25100">
                  <c:v>3</c:v>
                </c:pt>
                <c:pt idx="25101">
                  <c:v>2</c:v>
                </c:pt>
                <c:pt idx="25102">
                  <c:v>10</c:v>
                </c:pt>
                <c:pt idx="25103">
                  <c:v>4</c:v>
                </c:pt>
                <c:pt idx="25104">
                  <c:v>2</c:v>
                </c:pt>
                <c:pt idx="25105">
                  <c:v>3</c:v>
                </c:pt>
                <c:pt idx="25106">
                  <c:v>0</c:v>
                </c:pt>
                <c:pt idx="25107">
                  <c:v>0</c:v>
                </c:pt>
                <c:pt idx="25108">
                  <c:v>0</c:v>
                </c:pt>
                <c:pt idx="25109">
                  <c:v>0</c:v>
                </c:pt>
                <c:pt idx="25110">
                  <c:v>0</c:v>
                </c:pt>
                <c:pt idx="25111">
                  <c:v>0</c:v>
                </c:pt>
                <c:pt idx="25112">
                  <c:v>0</c:v>
                </c:pt>
                <c:pt idx="25113">
                  <c:v>0</c:v>
                </c:pt>
                <c:pt idx="25114">
                  <c:v>1</c:v>
                </c:pt>
                <c:pt idx="25115">
                  <c:v>0</c:v>
                </c:pt>
                <c:pt idx="25116">
                  <c:v>0</c:v>
                </c:pt>
                <c:pt idx="25117">
                  <c:v>0</c:v>
                </c:pt>
                <c:pt idx="25118">
                  <c:v>1</c:v>
                </c:pt>
                <c:pt idx="25119">
                  <c:v>0</c:v>
                </c:pt>
                <c:pt idx="25120">
                  <c:v>0</c:v>
                </c:pt>
                <c:pt idx="25121">
                  <c:v>0</c:v>
                </c:pt>
                <c:pt idx="25122">
                  <c:v>0</c:v>
                </c:pt>
                <c:pt idx="25123">
                  <c:v>0</c:v>
                </c:pt>
                <c:pt idx="25124">
                  <c:v>0</c:v>
                </c:pt>
                <c:pt idx="25125">
                  <c:v>0</c:v>
                </c:pt>
                <c:pt idx="25126">
                  <c:v>0</c:v>
                </c:pt>
                <c:pt idx="25127">
                  <c:v>0</c:v>
                </c:pt>
                <c:pt idx="25128">
                  <c:v>0</c:v>
                </c:pt>
                <c:pt idx="25129">
                  <c:v>0</c:v>
                </c:pt>
                <c:pt idx="25130">
                  <c:v>0</c:v>
                </c:pt>
                <c:pt idx="25131">
                  <c:v>0</c:v>
                </c:pt>
                <c:pt idx="25132">
                  <c:v>0</c:v>
                </c:pt>
                <c:pt idx="25133">
                  <c:v>0</c:v>
                </c:pt>
                <c:pt idx="25134">
                  <c:v>0</c:v>
                </c:pt>
                <c:pt idx="25135">
                  <c:v>0</c:v>
                </c:pt>
                <c:pt idx="25136">
                  <c:v>0</c:v>
                </c:pt>
                <c:pt idx="25137">
                  <c:v>0</c:v>
                </c:pt>
                <c:pt idx="25138">
                  <c:v>0</c:v>
                </c:pt>
                <c:pt idx="25139">
                  <c:v>0</c:v>
                </c:pt>
                <c:pt idx="25140">
                  <c:v>0</c:v>
                </c:pt>
                <c:pt idx="25141">
                  <c:v>0</c:v>
                </c:pt>
                <c:pt idx="25142">
                  <c:v>0</c:v>
                </c:pt>
                <c:pt idx="25143">
                  <c:v>0</c:v>
                </c:pt>
                <c:pt idx="25144">
                  <c:v>0</c:v>
                </c:pt>
                <c:pt idx="25145">
                  <c:v>0</c:v>
                </c:pt>
                <c:pt idx="25146">
                  <c:v>0</c:v>
                </c:pt>
                <c:pt idx="25147">
                  <c:v>0</c:v>
                </c:pt>
                <c:pt idx="25148">
                  <c:v>0</c:v>
                </c:pt>
                <c:pt idx="25149">
                  <c:v>0</c:v>
                </c:pt>
                <c:pt idx="25150">
                  <c:v>0</c:v>
                </c:pt>
                <c:pt idx="25151">
                  <c:v>0</c:v>
                </c:pt>
                <c:pt idx="25152">
                  <c:v>0</c:v>
                </c:pt>
                <c:pt idx="25153">
                  <c:v>1</c:v>
                </c:pt>
                <c:pt idx="25154">
                  <c:v>0</c:v>
                </c:pt>
                <c:pt idx="25155">
                  <c:v>0</c:v>
                </c:pt>
                <c:pt idx="25156">
                  <c:v>0</c:v>
                </c:pt>
                <c:pt idx="25157">
                  <c:v>0</c:v>
                </c:pt>
                <c:pt idx="25158">
                  <c:v>0</c:v>
                </c:pt>
                <c:pt idx="25159">
                  <c:v>0</c:v>
                </c:pt>
                <c:pt idx="25160">
                  <c:v>2</c:v>
                </c:pt>
                <c:pt idx="25161">
                  <c:v>0</c:v>
                </c:pt>
                <c:pt idx="25162">
                  <c:v>0</c:v>
                </c:pt>
                <c:pt idx="25163">
                  <c:v>0</c:v>
                </c:pt>
                <c:pt idx="25164">
                  <c:v>0</c:v>
                </c:pt>
                <c:pt idx="25165">
                  <c:v>0</c:v>
                </c:pt>
                <c:pt idx="25166">
                  <c:v>0</c:v>
                </c:pt>
                <c:pt idx="25167">
                  <c:v>0</c:v>
                </c:pt>
                <c:pt idx="25168">
                  <c:v>0</c:v>
                </c:pt>
                <c:pt idx="25169">
                  <c:v>0</c:v>
                </c:pt>
                <c:pt idx="25170">
                  <c:v>0</c:v>
                </c:pt>
                <c:pt idx="25171">
                  <c:v>0</c:v>
                </c:pt>
                <c:pt idx="25172">
                  <c:v>0</c:v>
                </c:pt>
                <c:pt idx="25173">
                  <c:v>0</c:v>
                </c:pt>
                <c:pt idx="25174">
                  <c:v>0</c:v>
                </c:pt>
                <c:pt idx="25175">
                  <c:v>0</c:v>
                </c:pt>
                <c:pt idx="25176">
                  <c:v>0</c:v>
                </c:pt>
                <c:pt idx="25177">
                  <c:v>0</c:v>
                </c:pt>
                <c:pt idx="25178">
                  <c:v>1</c:v>
                </c:pt>
                <c:pt idx="25179">
                  <c:v>0</c:v>
                </c:pt>
                <c:pt idx="25180">
                  <c:v>0</c:v>
                </c:pt>
                <c:pt idx="25181">
                  <c:v>0</c:v>
                </c:pt>
                <c:pt idx="25182">
                  <c:v>0</c:v>
                </c:pt>
                <c:pt idx="25183">
                  <c:v>0</c:v>
                </c:pt>
                <c:pt idx="25184">
                  <c:v>1</c:v>
                </c:pt>
                <c:pt idx="25185">
                  <c:v>0</c:v>
                </c:pt>
                <c:pt idx="25186">
                  <c:v>2</c:v>
                </c:pt>
                <c:pt idx="25187">
                  <c:v>0</c:v>
                </c:pt>
                <c:pt idx="25188">
                  <c:v>0</c:v>
                </c:pt>
                <c:pt idx="25189">
                  <c:v>0</c:v>
                </c:pt>
                <c:pt idx="25190">
                  <c:v>0</c:v>
                </c:pt>
                <c:pt idx="25191">
                  <c:v>0</c:v>
                </c:pt>
                <c:pt idx="25192">
                  <c:v>1</c:v>
                </c:pt>
                <c:pt idx="25193">
                  <c:v>0</c:v>
                </c:pt>
                <c:pt idx="25194">
                  <c:v>0</c:v>
                </c:pt>
                <c:pt idx="25195">
                  <c:v>0</c:v>
                </c:pt>
                <c:pt idx="25196">
                  <c:v>0</c:v>
                </c:pt>
                <c:pt idx="25197">
                  <c:v>0</c:v>
                </c:pt>
                <c:pt idx="25198">
                  <c:v>0</c:v>
                </c:pt>
                <c:pt idx="25199">
                  <c:v>0</c:v>
                </c:pt>
                <c:pt idx="25200">
                  <c:v>0</c:v>
                </c:pt>
                <c:pt idx="25201">
                  <c:v>2</c:v>
                </c:pt>
                <c:pt idx="25202">
                  <c:v>0</c:v>
                </c:pt>
                <c:pt idx="25203">
                  <c:v>0</c:v>
                </c:pt>
                <c:pt idx="25204">
                  <c:v>1</c:v>
                </c:pt>
                <c:pt idx="25205">
                  <c:v>0</c:v>
                </c:pt>
                <c:pt idx="25206">
                  <c:v>0</c:v>
                </c:pt>
                <c:pt idx="25207">
                  <c:v>0</c:v>
                </c:pt>
                <c:pt idx="25208">
                  <c:v>0</c:v>
                </c:pt>
                <c:pt idx="25209">
                  <c:v>0</c:v>
                </c:pt>
                <c:pt idx="25210">
                  <c:v>0</c:v>
                </c:pt>
                <c:pt idx="25211">
                  <c:v>0</c:v>
                </c:pt>
                <c:pt idx="25212">
                  <c:v>3</c:v>
                </c:pt>
                <c:pt idx="25213">
                  <c:v>3</c:v>
                </c:pt>
                <c:pt idx="25214">
                  <c:v>0</c:v>
                </c:pt>
                <c:pt idx="25215">
                  <c:v>0</c:v>
                </c:pt>
                <c:pt idx="25216">
                  <c:v>0</c:v>
                </c:pt>
                <c:pt idx="25217">
                  <c:v>0</c:v>
                </c:pt>
                <c:pt idx="25218">
                  <c:v>0</c:v>
                </c:pt>
                <c:pt idx="25219">
                  <c:v>0</c:v>
                </c:pt>
                <c:pt idx="25220">
                  <c:v>0</c:v>
                </c:pt>
                <c:pt idx="25221">
                  <c:v>0</c:v>
                </c:pt>
                <c:pt idx="25222">
                  <c:v>0</c:v>
                </c:pt>
                <c:pt idx="25223">
                  <c:v>0</c:v>
                </c:pt>
                <c:pt idx="25224">
                  <c:v>0</c:v>
                </c:pt>
                <c:pt idx="25225">
                  <c:v>0</c:v>
                </c:pt>
                <c:pt idx="25226">
                  <c:v>0</c:v>
                </c:pt>
                <c:pt idx="25227">
                  <c:v>0</c:v>
                </c:pt>
                <c:pt idx="25228">
                  <c:v>0</c:v>
                </c:pt>
                <c:pt idx="25229">
                  <c:v>0</c:v>
                </c:pt>
                <c:pt idx="25230">
                  <c:v>0</c:v>
                </c:pt>
                <c:pt idx="25231">
                  <c:v>2</c:v>
                </c:pt>
                <c:pt idx="25232">
                  <c:v>4</c:v>
                </c:pt>
                <c:pt idx="25233">
                  <c:v>0</c:v>
                </c:pt>
                <c:pt idx="25234">
                  <c:v>2</c:v>
                </c:pt>
                <c:pt idx="25235">
                  <c:v>0</c:v>
                </c:pt>
                <c:pt idx="25236">
                  <c:v>0</c:v>
                </c:pt>
                <c:pt idx="25237">
                  <c:v>0</c:v>
                </c:pt>
                <c:pt idx="25238">
                  <c:v>6</c:v>
                </c:pt>
                <c:pt idx="25239">
                  <c:v>2</c:v>
                </c:pt>
                <c:pt idx="25240">
                  <c:v>1</c:v>
                </c:pt>
                <c:pt idx="25241">
                  <c:v>0</c:v>
                </c:pt>
                <c:pt idx="25242">
                  <c:v>0</c:v>
                </c:pt>
                <c:pt idx="25243">
                  <c:v>0</c:v>
                </c:pt>
                <c:pt idx="25244">
                  <c:v>0</c:v>
                </c:pt>
                <c:pt idx="25245">
                  <c:v>0</c:v>
                </c:pt>
                <c:pt idx="25246">
                  <c:v>4</c:v>
                </c:pt>
                <c:pt idx="25247">
                  <c:v>0</c:v>
                </c:pt>
                <c:pt idx="25248">
                  <c:v>1</c:v>
                </c:pt>
                <c:pt idx="25249">
                  <c:v>4</c:v>
                </c:pt>
                <c:pt idx="25250">
                  <c:v>0</c:v>
                </c:pt>
                <c:pt idx="25251">
                  <c:v>1</c:v>
                </c:pt>
                <c:pt idx="25252">
                  <c:v>0</c:v>
                </c:pt>
                <c:pt idx="25253">
                  <c:v>1</c:v>
                </c:pt>
                <c:pt idx="25254">
                  <c:v>0</c:v>
                </c:pt>
                <c:pt idx="25255">
                  <c:v>0</c:v>
                </c:pt>
                <c:pt idx="25256">
                  <c:v>1</c:v>
                </c:pt>
                <c:pt idx="25257">
                  <c:v>5</c:v>
                </c:pt>
                <c:pt idx="25258">
                  <c:v>0</c:v>
                </c:pt>
                <c:pt idx="25259">
                  <c:v>0</c:v>
                </c:pt>
                <c:pt idx="25260">
                  <c:v>0</c:v>
                </c:pt>
                <c:pt idx="25261">
                  <c:v>0</c:v>
                </c:pt>
                <c:pt idx="25262">
                  <c:v>0</c:v>
                </c:pt>
                <c:pt idx="25263">
                  <c:v>0</c:v>
                </c:pt>
                <c:pt idx="25264">
                  <c:v>0</c:v>
                </c:pt>
                <c:pt idx="25265">
                  <c:v>0</c:v>
                </c:pt>
                <c:pt idx="25266">
                  <c:v>0</c:v>
                </c:pt>
                <c:pt idx="25267">
                  <c:v>0</c:v>
                </c:pt>
                <c:pt idx="25268">
                  <c:v>0</c:v>
                </c:pt>
                <c:pt idx="25269">
                  <c:v>2</c:v>
                </c:pt>
                <c:pt idx="25270">
                  <c:v>7</c:v>
                </c:pt>
                <c:pt idx="25271">
                  <c:v>0</c:v>
                </c:pt>
                <c:pt idx="25272">
                  <c:v>6</c:v>
                </c:pt>
                <c:pt idx="25273">
                  <c:v>8</c:v>
                </c:pt>
                <c:pt idx="25274">
                  <c:v>0</c:v>
                </c:pt>
                <c:pt idx="25275">
                  <c:v>0</c:v>
                </c:pt>
                <c:pt idx="25276">
                  <c:v>0</c:v>
                </c:pt>
                <c:pt idx="25277">
                  <c:v>0</c:v>
                </c:pt>
                <c:pt idx="25278">
                  <c:v>0</c:v>
                </c:pt>
                <c:pt idx="25279">
                  <c:v>2</c:v>
                </c:pt>
                <c:pt idx="25280">
                  <c:v>1</c:v>
                </c:pt>
                <c:pt idx="25281">
                  <c:v>0</c:v>
                </c:pt>
                <c:pt idx="25282">
                  <c:v>0</c:v>
                </c:pt>
                <c:pt idx="25283">
                  <c:v>0</c:v>
                </c:pt>
                <c:pt idx="25284">
                  <c:v>0</c:v>
                </c:pt>
                <c:pt idx="25285">
                  <c:v>0</c:v>
                </c:pt>
                <c:pt idx="25286">
                  <c:v>0</c:v>
                </c:pt>
                <c:pt idx="25287">
                  <c:v>0</c:v>
                </c:pt>
                <c:pt idx="25288">
                  <c:v>0</c:v>
                </c:pt>
                <c:pt idx="25289">
                  <c:v>0</c:v>
                </c:pt>
                <c:pt idx="25290">
                  <c:v>0</c:v>
                </c:pt>
                <c:pt idx="25291">
                  <c:v>0</c:v>
                </c:pt>
                <c:pt idx="25292">
                  <c:v>0</c:v>
                </c:pt>
                <c:pt idx="25293">
                  <c:v>0</c:v>
                </c:pt>
                <c:pt idx="25294">
                  <c:v>0</c:v>
                </c:pt>
                <c:pt idx="25295">
                  <c:v>0</c:v>
                </c:pt>
                <c:pt idx="25296">
                  <c:v>0</c:v>
                </c:pt>
                <c:pt idx="25297">
                  <c:v>0</c:v>
                </c:pt>
                <c:pt idx="25298">
                  <c:v>0</c:v>
                </c:pt>
                <c:pt idx="25299">
                  <c:v>0</c:v>
                </c:pt>
                <c:pt idx="25300">
                  <c:v>0</c:v>
                </c:pt>
                <c:pt idx="25301">
                  <c:v>0</c:v>
                </c:pt>
                <c:pt idx="25302">
                  <c:v>0</c:v>
                </c:pt>
                <c:pt idx="25303">
                  <c:v>0</c:v>
                </c:pt>
                <c:pt idx="25304">
                  <c:v>0</c:v>
                </c:pt>
                <c:pt idx="25305">
                  <c:v>0</c:v>
                </c:pt>
                <c:pt idx="25306">
                  <c:v>1</c:v>
                </c:pt>
                <c:pt idx="25307">
                  <c:v>0</c:v>
                </c:pt>
                <c:pt idx="25308">
                  <c:v>0</c:v>
                </c:pt>
                <c:pt idx="25309">
                  <c:v>0</c:v>
                </c:pt>
                <c:pt idx="25310">
                  <c:v>0</c:v>
                </c:pt>
                <c:pt idx="25311">
                  <c:v>0</c:v>
                </c:pt>
                <c:pt idx="25312">
                  <c:v>0</c:v>
                </c:pt>
                <c:pt idx="25313">
                  <c:v>0</c:v>
                </c:pt>
                <c:pt idx="25314">
                  <c:v>0</c:v>
                </c:pt>
                <c:pt idx="25315">
                  <c:v>0</c:v>
                </c:pt>
                <c:pt idx="25316">
                  <c:v>0</c:v>
                </c:pt>
                <c:pt idx="25317">
                  <c:v>0</c:v>
                </c:pt>
                <c:pt idx="25318">
                  <c:v>0</c:v>
                </c:pt>
                <c:pt idx="25319">
                  <c:v>0</c:v>
                </c:pt>
                <c:pt idx="25320">
                  <c:v>0</c:v>
                </c:pt>
                <c:pt idx="25321">
                  <c:v>0</c:v>
                </c:pt>
                <c:pt idx="25322">
                  <c:v>0</c:v>
                </c:pt>
                <c:pt idx="25323">
                  <c:v>0</c:v>
                </c:pt>
                <c:pt idx="25324">
                  <c:v>0</c:v>
                </c:pt>
                <c:pt idx="25325">
                  <c:v>1</c:v>
                </c:pt>
                <c:pt idx="25326">
                  <c:v>0</c:v>
                </c:pt>
                <c:pt idx="25327">
                  <c:v>0</c:v>
                </c:pt>
                <c:pt idx="25328">
                  <c:v>0</c:v>
                </c:pt>
                <c:pt idx="25329">
                  <c:v>0</c:v>
                </c:pt>
                <c:pt idx="25330">
                  <c:v>0</c:v>
                </c:pt>
                <c:pt idx="25331">
                  <c:v>1</c:v>
                </c:pt>
                <c:pt idx="25332">
                  <c:v>2</c:v>
                </c:pt>
                <c:pt idx="25333">
                  <c:v>0</c:v>
                </c:pt>
                <c:pt idx="25334">
                  <c:v>0</c:v>
                </c:pt>
                <c:pt idx="25335">
                  <c:v>0</c:v>
                </c:pt>
                <c:pt idx="25336">
                  <c:v>0</c:v>
                </c:pt>
                <c:pt idx="25337">
                  <c:v>0</c:v>
                </c:pt>
                <c:pt idx="25338">
                  <c:v>0</c:v>
                </c:pt>
                <c:pt idx="25339">
                  <c:v>0</c:v>
                </c:pt>
                <c:pt idx="25340">
                  <c:v>1</c:v>
                </c:pt>
                <c:pt idx="25341">
                  <c:v>0</c:v>
                </c:pt>
                <c:pt idx="25342">
                  <c:v>0</c:v>
                </c:pt>
                <c:pt idx="25343">
                  <c:v>0</c:v>
                </c:pt>
                <c:pt idx="25344">
                  <c:v>0</c:v>
                </c:pt>
                <c:pt idx="25345">
                  <c:v>0</c:v>
                </c:pt>
                <c:pt idx="25346">
                  <c:v>0</c:v>
                </c:pt>
                <c:pt idx="25347">
                  <c:v>0</c:v>
                </c:pt>
                <c:pt idx="25348">
                  <c:v>1</c:v>
                </c:pt>
                <c:pt idx="25349">
                  <c:v>0</c:v>
                </c:pt>
                <c:pt idx="25350">
                  <c:v>0</c:v>
                </c:pt>
                <c:pt idx="25351">
                  <c:v>0</c:v>
                </c:pt>
                <c:pt idx="25352">
                  <c:v>0</c:v>
                </c:pt>
                <c:pt idx="25353">
                  <c:v>0</c:v>
                </c:pt>
                <c:pt idx="25354">
                  <c:v>0</c:v>
                </c:pt>
                <c:pt idx="25355">
                  <c:v>1</c:v>
                </c:pt>
                <c:pt idx="25356">
                  <c:v>0</c:v>
                </c:pt>
                <c:pt idx="25357">
                  <c:v>0</c:v>
                </c:pt>
                <c:pt idx="25358">
                  <c:v>0</c:v>
                </c:pt>
                <c:pt idx="25359">
                  <c:v>0</c:v>
                </c:pt>
                <c:pt idx="25360">
                  <c:v>0</c:v>
                </c:pt>
                <c:pt idx="25361">
                  <c:v>0</c:v>
                </c:pt>
                <c:pt idx="25362">
                  <c:v>0</c:v>
                </c:pt>
                <c:pt idx="25363">
                  <c:v>0</c:v>
                </c:pt>
                <c:pt idx="25364">
                  <c:v>3</c:v>
                </c:pt>
                <c:pt idx="25365">
                  <c:v>2</c:v>
                </c:pt>
                <c:pt idx="25366">
                  <c:v>0</c:v>
                </c:pt>
                <c:pt idx="25367">
                  <c:v>0</c:v>
                </c:pt>
                <c:pt idx="25368">
                  <c:v>0</c:v>
                </c:pt>
                <c:pt idx="25369">
                  <c:v>0</c:v>
                </c:pt>
                <c:pt idx="25370">
                  <c:v>0</c:v>
                </c:pt>
                <c:pt idx="25371">
                  <c:v>0</c:v>
                </c:pt>
                <c:pt idx="25372">
                  <c:v>0</c:v>
                </c:pt>
                <c:pt idx="25373">
                  <c:v>0</c:v>
                </c:pt>
                <c:pt idx="25374">
                  <c:v>0</c:v>
                </c:pt>
                <c:pt idx="25375">
                  <c:v>0</c:v>
                </c:pt>
                <c:pt idx="25376">
                  <c:v>0</c:v>
                </c:pt>
                <c:pt idx="25377">
                  <c:v>0</c:v>
                </c:pt>
                <c:pt idx="25378">
                  <c:v>0</c:v>
                </c:pt>
                <c:pt idx="25379">
                  <c:v>1</c:v>
                </c:pt>
                <c:pt idx="25380">
                  <c:v>4</c:v>
                </c:pt>
                <c:pt idx="25381">
                  <c:v>0</c:v>
                </c:pt>
                <c:pt idx="25382">
                  <c:v>0</c:v>
                </c:pt>
                <c:pt idx="25383">
                  <c:v>0</c:v>
                </c:pt>
                <c:pt idx="25384">
                  <c:v>0</c:v>
                </c:pt>
                <c:pt idx="25385">
                  <c:v>0</c:v>
                </c:pt>
                <c:pt idx="25386">
                  <c:v>0</c:v>
                </c:pt>
                <c:pt idx="25387">
                  <c:v>0</c:v>
                </c:pt>
                <c:pt idx="25388">
                  <c:v>0</c:v>
                </c:pt>
                <c:pt idx="25389">
                  <c:v>0</c:v>
                </c:pt>
                <c:pt idx="25390">
                  <c:v>0</c:v>
                </c:pt>
                <c:pt idx="25391">
                  <c:v>0</c:v>
                </c:pt>
                <c:pt idx="25392">
                  <c:v>0</c:v>
                </c:pt>
                <c:pt idx="25393">
                  <c:v>0</c:v>
                </c:pt>
                <c:pt idx="25394">
                  <c:v>0</c:v>
                </c:pt>
                <c:pt idx="25395">
                  <c:v>0</c:v>
                </c:pt>
                <c:pt idx="25396">
                  <c:v>0</c:v>
                </c:pt>
                <c:pt idx="25397">
                  <c:v>0</c:v>
                </c:pt>
                <c:pt idx="25398">
                  <c:v>0</c:v>
                </c:pt>
                <c:pt idx="25399">
                  <c:v>0</c:v>
                </c:pt>
                <c:pt idx="25400">
                  <c:v>0</c:v>
                </c:pt>
                <c:pt idx="25401">
                  <c:v>0</c:v>
                </c:pt>
                <c:pt idx="25402">
                  <c:v>0</c:v>
                </c:pt>
                <c:pt idx="25403">
                  <c:v>0</c:v>
                </c:pt>
                <c:pt idx="25404">
                  <c:v>0</c:v>
                </c:pt>
                <c:pt idx="25405">
                  <c:v>0</c:v>
                </c:pt>
                <c:pt idx="25406">
                  <c:v>0</c:v>
                </c:pt>
                <c:pt idx="25407">
                  <c:v>0</c:v>
                </c:pt>
                <c:pt idx="25408">
                  <c:v>0</c:v>
                </c:pt>
                <c:pt idx="25409">
                  <c:v>0</c:v>
                </c:pt>
                <c:pt idx="25410">
                  <c:v>0</c:v>
                </c:pt>
                <c:pt idx="25411">
                  <c:v>0</c:v>
                </c:pt>
                <c:pt idx="25412">
                  <c:v>0</c:v>
                </c:pt>
                <c:pt idx="25413">
                  <c:v>0</c:v>
                </c:pt>
                <c:pt idx="25414">
                  <c:v>0</c:v>
                </c:pt>
                <c:pt idx="25415">
                  <c:v>0</c:v>
                </c:pt>
                <c:pt idx="25416">
                  <c:v>0</c:v>
                </c:pt>
                <c:pt idx="25417">
                  <c:v>0</c:v>
                </c:pt>
                <c:pt idx="25418">
                  <c:v>0</c:v>
                </c:pt>
                <c:pt idx="25419">
                  <c:v>0</c:v>
                </c:pt>
                <c:pt idx="25420">
                  <c:v>0</c:v>
                </c:pt>
                <c:pt idx="25421">
                  <c:v>0</c:v>
                </c:pt>
                <c:pt idx="25422">
                  <c:v>0</c:v>
                </c:pt>
                <c:pt idx="25423">
                  <c:v>0</c:v>
                </c:pt>
                <c:pt idx="25424">
                  <c:v>0</c:v>
                </c:pt>
                <c:pt idx="25425">
                  <c:v>0</c:v>
                </c:pt>
                <c:pt idx="25426">
                  <c:v>0</c:v>
                </c:pt>
                <c:pt idx="25427">
                  <c:v>0</c:v>
                </c:pt>
                <c:pt idx="25428">
                  <c:v>0</c:v>
                </c:pt>
                <c:pt idx="25429">
                  <c:v>0</c:v>
                </c:pt>
                <c:pt idx="25430">
                  <c:v>0</c:v>
                </c:pt>
                <c:pt idx="25431">
                  <c:v>2</c:v>
                </c:pt>
                <c:pt idx="25432">
                  <c:v>0</c:v>
                </c:pt>
                <c:pt idx="25433">
                  <c:v>0</c:v>
                </c:pt>
                <c:pt idx="25434">
                  <c:v>0</c:v>
                </c:pt>
                <c:pt idx="25435">
                  <c:v>1</c:v>
                </c:pt>
                <c:pt idx="25436">
                  <c:v>1</c:v>
                </c:pt>
                <c:pt idx="25437">
                  <c:v>0</c:v>
                </c:pt>
                <c:pt idx="25438">
                  <c:v>0</c:v>
                </c:pt>
                <c:pt idx="25439">
                  <c:v>0</c:v>
                </c:pt>
                <c:pt idx="25440">
                  <c:v>0</c:v>
                </c:pt>
                <c:pt idx="25441">
                  <c:v>0</c:v>
                </c:pt>
                <c:pt idx="25442">
                  <c:v>0</c:v>
                </c:pt>
                <c:pt idx="25443">
                  <c:v>0</c:v>
                </c:pt>
                <c:pt idx="25444">
                  <c:v>0</c:v>
                </c:pt>
                <c:pt idx="25445">
                  <c:v>1</c:v>
                </c:pt>
                <c:pt idx="25446">
                  <c:v>0</c:v>
                </c:pt>
                <c:pt idx="25447">
                  <c:v>2</c:v>
                </c:pt>
                <c:pt idx="25448">
                  <c:v>1</c:v>
                </c:pt>
                <c:pt idx="25449">
                  <c:v>0</c:v>
                </c:pt>
                <c:pt idx="25450">
                  <c:v>1</c:v>
                </c:pt>
                <c:pt idx="25451">
                  <c:v>0</c:v>
                </c:pt>
                <c:pt idx="25452">
                  <c:v>0</c:v>
                </c:pt>
                <c:pt idx="25453">
                  <c:v>0</c:v>
                </c:pt>
                <c:pt idx="25454">
                  <c:v>0</c:v>
                </c:pt>
                <c:pt idx="25455">
                  <c:v>0</c:v>
                </c:pt>
                <c:pt idx="25456">
                  <c:v>0</c:v>
                </c:pt>
                <c:pt idx="25457">
                  <c:v>0</c:v>
                </c:pt>
                <c:pt idx="25458">
                  <c:v>0</c:v>
                </c:pt>
                <c:pt idx="25459">
                  <c:v>0</c:v>
                </c:pt>
                <c:pt idx="25460">
                  <c:v>0</c:v>
                </c:pt>
                <c:pt idx="25461">
                  <c:v>0</c:v>
                </c:pt>
                <c:pt idx="25462">
                  <c:v>0</c:v>
                </c:pt>
                <c:pt idx="25463">
                  <c:v>0</c:v>
                </c:pt>
                <c:pt idx="25464">
                  <c:v>0</c:v>
                </c:pt>
                <c:pt idx="25465">
                  <c:v>0</c:v>
                </c:pt>
                <c:pt idx="25466">
                  <c:v>0</c:v>
                </c:pt>
                <c:pt idx="25467">
                  <c:v>0</c:v>
                </c:pt>
                <c:pt idx="25468">
                  <c:v>0</c:v>
                </c:pt>
                <c:pt idx="25469">
                  <c:v>0</c:v>
                </c:pt>
                <c:pt idx="25470">
                  <c:v>0</c:v>
                </c:pt>
                <c:pt idx="25471">
                  <c:v>0</c:v>
                </c:pt>
                <c:pt idx="25472">
                  <c:v>0</c:v>
                </c:pt>
                <c:pt idx="25473">
                  <c:v>0</c:v>
                </c:pt>
                <c:pt idx="25474">
                  <c:v>0</c:v>
                </c:pt>
                <c:pt idx="25475">
                  <c:v>0</c:v>
                </c:pt>
                <c:pt idx="25476">
                  <c:v>0</c:v>
                </c:pt>
                <c:pt idx="25477">
                  <c:v>0</c:v>
                </c:pt>
                <c:pt idx="25478">
                  <c:v>0</c:v>
                </c:pt>
                <c:pt idx="25479">
                  <c:v>0</c:v>
                </c:pt>
                <c:pt idx="25480">
                  <c:v>0</c:v>
                </c:pt>
                <c:pt idx="25481">
                  <c:v>0</c:v>
                </c:pt>
                <c:pt idx="25482">
                  <c:v>0</c:v>
                </c:pt>
                <c:pt idx="25483">
                  <c:v>0</c:v>
                </c:pt>
                <c:pt idx="25484">
                  <c:v>0</c:v>
                </c:pt>
                <c:pt idx="25485">
                  <c:v>0</c:v>
                </c:pt>
                <c:pt idx="25486">
                  <c:v>0</c:v>
                </c:pt>
                <c:pt idx="25487">
                  <c:v>0</c:v>
                </c:pt>
                <c:pt idx="25488">
                  <c:v>0</c:v>
                </c:pt>
                <c:pt idx="25489">
                  <c:v>0</c:v>
                </c:pt>
                <c:pt idx="25490">
                  <c:v>0</c:v>
                </c:pt>
                <c:pt idx="25491">
                  <c:v>0</c:v>
                </c:pt>
                <c:pt idx="25492">
                  <c:v>0</c:v>
                </c:pt>
                <c:pt idx="25493">
                  <c:v>0</c:v>
                </c:pt>
                <c:pt idx="25494">
                  <c:v>0</c:v>
                </c:pt>
                <c:pt idx="25495">
                  <c:v>0</c:v>
                </c:pt>
                <c:pt idx="25496">
                  <c:v>0</c:v>
                </c:pt>
                <c:pt idx="25497">
                  <c:v>0</c:v>
                </c:pt>
                <c:pt idx="25498">
                  <c:v>0</c:v>
                </c:pt>
                <c:pt idx="25499">
                  <c:v>0</c:v>
                </c:pt>
                <c:pt idx="25500">
                  <c:v>0</c:v>
                </c:pt>
                <c:pt idx="25501">
                  <c:v>0</c:v>
                </c:pt>
                <c:pt idx="25502">
                  <c:v>0</c:v>
                </c:pt>
                <c:pt idx="25503">
                  <c:v>1</c:v>
                </c:pt>
                <c:pt idx="25504">
                  <c:v>1</c:v>
                </c:pt>
                <c:pt idx="25505">
                  <c:v>0</c:v>
                </c:pt>
                <c:pt idx="25506">
                  <c:v>0</c:v>
                </c:pt>
                <c:pt idx="25507">
                  <c:v>0</c:v>
                </c:pt>
                <c:pt idx="25508">
                  <c:v>0</c:v>
                </c:pt>
                <c:pt idx="25509">
                  <c:v>0</c:v>
                </c:pt>
                <c:pt idx="25510">
                  <c:v>1</c:v>
                </c:pt>
                <c:pt idx="25511">
                  <c:v>0</c:v>
                </c:pt>
                <c:pt idx="25512">
                  <c:v>0</c:v>
                </c:pt>
                <c:pt idx="25513">
                  <c:v>0</c:v>
                </c:pt>
                <c:pt idx="25514">
                  <c:v>0</c:v>
                </c:pt>
                <c:pt idx="25515">
                  <c:v>0</c:v>
                </c:pt>
                <c:pt idx="25516">
                  <c:v>0</c:v>
                </c:pt>
                <c:pt idx="25517">
                  <c:v>0</c:v>
                </c:pt>
                <c:pt idx="25518">
                  <c:v>0</c:v>
                </c:pt>
                <c:pt idx="25519">
                  <c:v>0</c:v>
                </c:pt>
                <c:pt idx="25520">
                  <c:v>0</c:v>
                </c:pt>
                <c:pt idx="25521">
                  <c:v>2</c:v>
                </c:pt>
                <c:pt idx="25522">
                  <c:v>0</c:v>
                </c:pt>
                <c:pt idx="25523">
                  <c:v>0</c:v>
                </c:pt>
                <c:pt idx="25524">
                  <c:v>0</c:v>
                </c:pt>
                <c:pt idx="25525">
                  <c:v>0</c:v>
                </c:pt>
                <c:pt idx="25526">
                  <c:v>5</c:v>
                </c:pt>
                <c:pt idx="25527">
                  <c:v>0</c:v>
                </c:pt>
                <c:pt idx="25528">
                  <c:v>0</c:v>
                </c:pt>
                <c:pt idx="25529">
                  <c:v>0</c:v>
                </c:pt>
                <c:pt idx="25530">
                  <c:v>5</c:v>
                </c:pt>
                <c:pt idx="25531">
                  <c:v>2</c:v>
                </c:pt>
                <c:pt idx="25532">
                  <c:v>0</c:v>
                </c:pt>
                <c:pt idx="25533">
                  <c:v>1</c:v>
                </c:pt>
                <c:pt idx="25534">
                  <c:v>0</c:v>
                </c:pt>
                <c:pt idx="25535">
                  <c:v>0</c:v>
                </c:pt>
                <c:pt idx="25536">
                  <c:v>0</c:v>
                </c:pt>
                <c:pt idx="25537">
                  <c:v>0</c:v>
                </c:pt>
                <c:pt idx="25538">
                  <c:v>0</c:v>
                </c:pt>
                <c:pt idx="25539">
                  <c:v>0</c:v>
                </c:pt>
                <c:pt idx="25540">
                  <c:v>0</c:v>
                </c:pt>
                <c:pt idx="25541">
                  <c:v>0</c:v>
                </c:pt>
                <c:pt idx="25542">
                  <c:v>0</c:v>
                </c:pt>
                <c:pt idx="25543">
                  <c:v>0</c:v>
                </c:pt>
                <c:pt idx="25544">
                  <c:v>1</c:v>
                </c:pt>
                <c:pt idx="25545">
                  <c:v>3</c:v>
                </c:pt>
                <c:pt idx="25546">
                  <c:v>0</c:v>
                </c:pt>
                <c:pt idx="25547">
                  <c:v>1</c:v>
                </c:pt>
                <c:pt idx="25548">
                  <c:v>5</c:v>
                </c:pt>
                <c:pt idx="25549">
                  <c:v>1</c:v>
                </c:pt>
                <c:pt idx="25550">
                  <c:v>9</c:v>
                </c:pt>
                <c:pt idx="25551">
                  <c:v>3</c:v>
                </c:pt>
                <c:pt idx="25552">
                  <c:v>0</c:v>
                </c:pt>
                <c:pt idx="25553">
                  <c:v>2</c:v>
                </c:pt>
                <c:pt idx="25554">
                  <c:v>1</c:v>
                </c:pt>
                <c:pt idx="25555">
                  <c:v>0</c:v>
                </c:pt>
                <c:pt idx="25556">
                  <c:v>0</c:v>
                </c:pt>
                <c:pt idx="25557">
                  <c:v>0</c:v>
                </c:pt>
                <c:pt idx="25558">
                  <c:v>1</c:v>
                </c:pt>
                <c:pt idx="25559">
                  <c:v>0</c:v>
                </c:pt>
                <c:pt idx="25560">
                  <c:v>0</c:v>
                </c:pt>
                <c:pt idx="25561">
                  <c:v>0</c:v>
                </c:pt>
                <c:pt idx="25562">
                  <c:v>0</c:v>
                </c:pt>
                <c:pt idx="25563">
                  <c:v>0</c:v>
                </c:pt>
                <c:pt idx="25564">
                  <c:v>7</c:v>
                </c:pt>
                <c:pt idx="25565">
                  <c:v>6</c:v>
                </c:pt>
                <c:pt idx="25566">
                  <c:v>0</c:v>
                </c:pt>
                <c:pt idx="25567">
                  <c:v>0</c:v>
                </c:pt>
                <c:pt idx="25568">
                  <c:v>0</c:v>
                </c:pt>
                <c:pt idx="25569">
                  <c:v>0</c:v>
                </c:pt>
                <c:pt idx="25570">
                  <c:v>0</c:v>
                </c:pt>
                <c:pt idx="25571">
                  <c:v>0</c:v>
                </c:pt>
                <c:pt idx="25572">
                  <c:v>0</c:v>
                </c:pt>
                <c:pt idx="25573">
                  <c:v>0</c:v>
                </c:pt>
                <c:pt idx="25574">
                  <c:v>0</c:v>
                </c:pt>
                <c:pt idx="25575">
                  <c:v>0</c:v>
                </c:pt>
                <c:pt idx="25576">
                  <c:v>0</c:v>
                </c:pt>
                <c:pt idx="25577">
                  <c:v>0</c:v>
                </c:pt>
                <c:pt idx="25578">
                  <c:v>0</c:v>
                </c:pt>
                <c:pt idx="25579">
                  <c:v>0</c:v>
                </c:pt>
                <c:pt idx="25580">
                  <c:v>0</c:v>
                </c:pt>
                <c:pt idx="25581">
                  <c:v>4</c:v>
                </c:pt>
                <c:pt idx="25582">
                  <c:v>0</c:v>
                </c:pt>
                <c:pt idx="25583">
                  <c:v>0</c:v>
                </c:pt>
                <c:pt idx="25584">
                  <c:v>0</c:v>
                </c:pt>
                <c:pt idx="25585">
                  <c:v>0</c:v>
                </c:pt>
                <c:pt idx="25586">
                  <c:v>0</c:v>
                </c:pt>
                <c:pt idx="25587">
                  <c:v>0</c:v>
                </c:pt>
                <c:pt idx="25588">
                  <c:v>1</c:v>
                </c:pt>
                <c:pt idx="25589">
                  <c:v>1</c:v>
                </c:pt>
                <c:pt idx="25590">
                  <c:v>0</c:v>
                </c:pt>
                <c:pt idx="25591">
                  <c:v>0</c:v>
                </c:pt>
                <c:pt idx="25592">
                  <c:v>0</c:v>
                </c:pt>
                <c:pt idx="25593">
                  <c:v>1</c:v>
                </c:pt>
                <c:pt idx="25594">
                  <c:v>0</c:v>
                </c:pt>
                <c:pt idx="25595">
                  <c:v>3</c:v>
                </c:pt>
                <c:pt idx="25596">
                  <c:v>0</c:v>
                </c:pt>
                <c:pt idx="25597">
                  <c:v>0</c:v>
                </c:pt>
                <c:pt idx="25598">
                  <c:v>0</c:v>
                </c:pt>
                <c:pt idx="25599">
                  <c:v>0</c:v>
                </c:pt>
                <c:pt idx="25600">
                  <c:v>0</c:v>
                </c:pt>
                <c:pt idx="25601">
                  <c:v>0</c:v>
                </c:pt>
                <c:pt idx="25602">
                  <c:v>0</c:v>
                </c:pt>
                <c:pt idx="25603">
                  <c:v>0</c:v>
                </c:pt>
                <c:pt idx="25604">
                  <c:v>0</c:v>
                </c:pt>
                <c:pt idx="25605">
                  <c:v>0</c:v>
                </c:pt>
                <c:pt idx="25606">
                  <c:v>0</c:v>
                </c:pt>
                <c:pt idx="25607">
                  <c:v>0</c:v>
                </c:pt>
                <c:pt idx="25608">
                  <c:v>1</c:v>
                </c:pt>
                <c:pt idx="25609">
                  <c:v>0</c:v>
                </c:pt>
                <c:pt idx="25610">
                  <c:v>0</c:v>
                </c:pt>
                <c:pt idx="25611">
                  <c:v>0</c:v>
                </c:pt>
                <c:pt idx="25612">
                  <c:v>2</c:v>
                </c:pt>
                <c:pt idx="25613">
                  <c:v>0</c:v>
                </c:pt>
                <c:pt idx="25614">
                  <c:v>1</c:v>
                </c:pt>
                <c:pt idx="25615">
                  <c:v>3</c:v>
                </c:pt>
                <c:pt idx="25616">
                  <c:v>0</c:v>
                </c:pt>
                <c:pt idx="25617">
                  <c:v>2</c:v>
                </c:pt>
                <c:pt idx="25618">
                  <c:v>0</c:v>
                </c:pt>
                <c:pt idx="25619">
                  <c:v>0</c:v>
                </c:pt>
                <c:pt idx="25620">
                  <c:v>1</c:v>
                </c:pt>
                <c:pt idx="25621">
                  <c:v>0</c:v>
                </c:pt>
                <c:pt idx="25622">
                  <c:v>0</c:v>
                </c:pt>
                <c:pt idx="25623">
                  <c:v>0</c:v>
                </c:pt>
                <c:pt idx="25624">
                  <c:v>0</c:v>
                </c:pt>
                <c:pt idx="25625">
                  <c:v>0</c:v>
                </c:pt>
                <c:pt idx="25626">
                  <c:v>0</c:v>
                </c:pt>
                <c:pt idx="25627">
                  <c:v>0</c:v>
                </c:pt>
                <c:pt idx="25628">
                  <c:v>0</c:v>
                </c:pt>
                <c:pt idx="25629">
                  <c:v>0</c:v>
                </c:pt>
                <c:pt idx="25630">
                  <c:v>1</c:v>
                </c:pt>
                <c:pt idx="25631">
                  <c:v>0</c:v>
                </c:pt>
                <c:pt idx="25632">
                  <c:v>0</c:v>
                </c:pt>
                <c:pt idx="25633">
                  <c:v>0</c:v>
                </c:pt>
                <c:pt idx="25634">
                  <c:v>2</c:v>
                </c:pt>
                <c:pt idx="25635">
                  <c:v>0</c:v>
                </c:pt>
                <c:pt idx="25636">
                  <c:v>3</c:v>
                </c:pt>
                <c:pt idx="25637">
                  <c:v>0</c:v>
                </c:pt>
                <c:pt idx="25638">
                  <c:v>0</c:v>
                </c:pt>
                <c:pt idx="25639">
                  <c:v>0</c:v>
                </c:pt>
                <c:pt idx="25640">
                  <c:v>0</c:v>
                </c:pt>
                <c:pt idx="25641">
                  <c:v>0</c:v>
                </c:pt>
                <c:pt idx="25642">
                  <c:v>0</c:v>
                </c:pt>
                <c:pt idx="25643">
                  <c:v>0</c:v>
                </c:pt>
                <c:pt idx="25644">
                  <c:v>0</c:v>
                </c:pt>
                <c:pt idx="25645">
                  <c:v>0</c:v>
                </c:pt>
                <c:pt idx="25646">
                  <c:v>0</c:v>
                </c:pt>
                <c:pt idx="25647">
                  <c:v>0</c:v>
                </c:pt>
                <c:pt idx="25648">
                  <c:v>1</c:v>
                </c:pt>
                <c:pt idx="25649">
                  <c:v>0</c:v>
                </c:pt>
                <c:pt idx="25650">
                  <c:v>2</c:v>
                </c:pt>
                <c:pt idx="25651">
                  <c:v>2</c:v>
                </c:pt>
                <c:pt idx="25652">
                  <c:v>0</c:v>
                </c:pt>
                <c:pt idx="25653">
                  <c:v>0</c:v>
                </c:pt>
                <c:pt idx="25654">
                  <c:v>0</c:v>
                </c:pt>
                <c:pt idx="25655">
                  <c:v>0</c:v>
                </c:pt>
                <c:pt idx="25656">
                  <c:v>1</c:v>
                </c:pt>
                <c:pt idx="25657">
                  <c:v>0</c:v>
                </c:pt>
                <c:pt idx="25658">
                  <c:v>0</c:v>
                </c:pt>
                <c:pt idx="25659">
                  <c:v>0</c:v>
                </c:pt>
                <c:pt idx="25660">
                  <c:v>5</c:v>
                </c:pt>
                <c:pt idx="25661">
                  <c:v>0</c:v>
                </c:pt>
                <c:pt idx="25662">
                  <c:v>0</c:v>
                </c:pt>
                <c:pt idx="25663">
                  <c:v>0</c:v>
                </c:pt>
                <c:pt idx="25664">
                  <c:v>1</c:v>
                </c:pt>
                <c:pt idx="25665">
                  <c:v>0</c:v>
                </c:pt>
                <c:pt idx="25666">
                  <c:v>0</c:v>
                </c:pt>
                <c:pt idx="25667">
                  <c:v>0</c:v>
                </c:pt>
                <c:pt idx="25668">
                  <c:v>2</c:v>
                </c:pt>
                <c:pt idx="25669">
                  <c:v>0</c:v>
                </c:pt>
                <c:pt idx="25670">
                  <c:v>0</c:v>
                </c:pt>
                <c:pt idx="25671">
                  <c:v>2</c:v>
                </c:pt>
                <c:pt idx="25672">
                  <c:v>0</c:v>
                </c:pt>
                <c:pt idx="25673">
                  <c:v>1</c:v>
                </c:pt>
                <c:pt idx="25674">
                  <c:v>4</c:v>
                </c:pt>
                <c:pt idx="25675">
                  <c:v>0</c:v>
                </c:pt>
                <c:pt idx="25676">
                  <c:v>1</c:v>
                </c:pt>
                <c:pt idx="25677">
                  <c:v>1</c:v>
                </c:pt>
                <c:pt idx="25678">
                  <c:v>1</c:v>
                </c:pt>
                <c:pt idx="25679">
                  <c:v>2</c:v>
                </c:pt>
                <c:pt idx="25680">
                  <c:v>0</c:v>
                </c:pt>
                <c:pt idx="25681">
                  <c:v>3</c:v>
                </c:pt>
                <c:pt idx="25682">
                  <c:v>3</c:v>
                </c:pt>
                <c:pt idx="25683">
                  <c:v>3</c:v>
                </c:pt>
                <c:pt idx="25684">
                  <c:v>2</c:v>
                </c:pt>
                <c:pt idx="25685">
                  <c:v>2</c:v>
                </c:pt>
                <c:pt idx="25686">
                  <c:v>1</c:v>
                </c:pt>
                <c:pt idx="25687">
                  <c:v>2</c:v>
                </c:pt>
                <c:pt idx="25688">
                  <c:v>3</c:v>
                </c:pt>
                <c:pt idx="25689">
                  <c:v>0</c:v>
                </c:pt>
                <c:pt idx="25690">
                  <c:v>0</c:v>
                </c:pt>
                <c:pt idx="25691">
                  <c:v>5</c:v>
                </c:pt>
                <c:pt idx="25692">
                  <c:v>3</c:v>
                </c:pt>
                <c:pt idx="25693">
                  <c:v>6</c:v>
                </c:pt>
                <c:pt idx="25694">
                  <c:v>2</c:v>
                </c:pt>
                <c:pt idx="25695">
                  <c:v>1</c:v>
                </c:pt>
                <c:pt idx="25696">
                  <c:v>2</c:v>
                </c:pt>
                <c:pt idx="25697">
                  <c:v>3</c:v>
                </c:pt>
                <c:pt idx="25698">
                  <c:v>0</c:v>
                </c:pt>
                <c:pt idx="25699">
                  <c:v>2</c:v>
                </c:pt>
                <c:pt idx="25700">
                  <c:v>0</c:v>
                </c:pt>
                <c:pt idx="25701">
                  <c:v>2</c:v>
                </c:pt>
                <c:pt idx="25702">
                  <c:v>3</c:v>
                </c:pt>
                <c:pt idx="25703">
                  <c:v>0</c:v>
                </c:pt>
                <c:pt idx="25704">
                  <c:v>0</c:v>
                </c:pt>
                <c:pt idx="25705">
                  <c:v>0</c:v>
                </c:pt>
                <c:pt idx="25706">
                  <c:v>0</c:v>
                </c:pt>
                <c:pt idx="25707">
                  <c:v>0</c:v>
                </c:pt>
                <c:pt idx="25708">
                  <c:v>0</c:v>
                </c:pt>
                <c:pt idx="25709">
                  <c:v>0</c:v>
                </c:pt>
                <c:pt idx="25710">
                  <c:v>0</c:v>
                </c:pt>
                <c:pt idx="25711">
                  <c:v>0</c:v>
                </c:pt>
                <c:pt idx="25712">
                  <c:v>0</c:v>
                </c:pt>
                <c:pt idx="25713">
                  <c:v>0</c:v>
                </c:pt>
                <c:pt idx="25714">
                  <c:v>0</c:v>
                </c:pt>
                <c:pt idx="25715">
                  <c:v>0</c:v>
                </c:pt>
                <c:pt idx="25716">
                  <c:v>0</c:v>
                </c:pt>
                <c:pt idx="25717">
                  <c:v>0</c:v>
                </c:pt>
                <c:pt idx="25718">
                  <c:v>0</c:v>
                </c:pt>
                <c:pt idx="25719">
                  <c:v>0</c:v>
                </c:pt>
                <c:pt idx="25720">
                  <c:v>2</c:v>
                </c:pt>
                <c:pt idx="25721">
                  <c:v>0</c:v>
                </c:pt>
                <c:pt idx="25722">
                  <c:v>0</c:v>
                </c:pt>
                <c:pt idx="25723">
                  <c:v>0</c:v>
                </c:pt>
                <c:pt idx="25724">
                  <c:v>0</c:v>
                </c:pt>
                <c:pt idx="25725">
                  <c:v>0</c:v>
                </c:pt>
                <c:pt idx="25726">
                  <c:v>0</c:v>
                </c:pt>
                <c:pt idx="25727">
                  <c:v>0</c:v>
                </c:pt>
                <c:pt idx="25728">
                  <c:v>0</c:v>
                </c:pt>
                <c:pt idx="25729">
                  <c:v>0</c:v>
                </c:pt>
                <c:pt idx="25730">
                  <c:v>0</c:v>
                </c:pt>
                <c:pt idx="25731">
                  <c:v>0</c:v>
                </c:pt>
                <c:pt idx="25732">
                  <c:v>0</c:v>
                </c:pt>
                <c:pt idx="25733">
                  <c:v>0</c:v>
                </c:pt>
                <c:pt idx="25734">
                  <c:v>0</c:v>
                </c:pt>
                <c:pt idx="25735">
                  <c:v>0</c:v>
                </c:pt>
                <c:pt idx="25736">
                  <c:v>0</c:v>
                </c:pt>
                <c:pt idx="25737">
                  <c:v>1</c:v>
                </c:pt>
                <c:pt idx="25738">
                  <c:v>0</c:v>
                </c:pt>
                <c:pt idx="25739">
                  <c:v>4</c:v>
                </c:pt>
                <c:pt idx="25740">
                  <c:v>0</c:v>
                </c:pt>
                <c:pt idx="25741">
                  <c:v>3</c:v>
                </c:pt>
                <c:pt idx="25742">
                  <c:v>2</c:v>
                </c:pt>
                <c:pt idx="25743">
                  <c:v>1</c:v>
                </c:pt>
                <c:pt idx="25744">
                  <c:v>0</c:v>
                </c:pt>
                <c:pt idx="25745">
                  <c:v>0</c:v>
                </c:pt>
                <c:pt idx="25746">
                  <c:v>0</c:v>
                </c:pt>
                <c:pt idx="25747">
                  <c:v>0</c:v>
                </c:pt>
                <c:pt idx="25748">
                  <c:v>0</c:v>
                </c:pt>
                <c:pt idx="25749">
                  <c:v>0</c:v>
                </c:pt>
                <c:pt idx="25750">
                  <c:v>0</c:v>
                </c:pt>
                <c:pt idx="25751">
                  <c:v>0</c:v>
                </c:pt>
                <c:pt idx="25752">
                  <c:v>0</c:v>
                </c:pt>
                <c:pt idx="25753">
                  <c:v>0</c:v>
                </c:pt>
                <c:pt idx="25754">
                  <c:v>0</c:v>
                </c:pt>
                <c:pt idx="25755">
                  <c:v>0</c:v>
                </c:pt>
                <c:pt idx="25756">
                  <c:v>0</c:v>
                </c:pt>
                <c:pt idx="25757">
                  <c:v>1</c:v>
                </c:pt>
                <c:pt idx="25758">
                  <c:v>0</c:v>
                </c:pt>
                <c:pt idx="25759">
                  <c:v>0</c:v>
                </c:pt>
                <c:pt idx="25760">
                  <c:v>0</c:v>
                </c:pt>
                <c:pt idx="25761">
                  <c:v>0</c:v>
                </c:pt>
                <c:pt idx="25762">
                  <c:v>0</c:v>
                </c:pt>
                <c:pt idx="25763">
                  <c:v>0</c:v>
                </c:pt>
                <c:pt idx="25764">
                  <c:v>1</c:v>
                </c:pt>
                <c:pt idx="25765">
                  <c:v>0</c:v>
                </c:pt>
                <c:pt idx="25766">
                  <c:v>1</c:v>
                </c:pt>
                <c:pt idx="25767">
                  <c:v>0</c:v>
                </c:pt>
                <c:pt idx="25768">
                  <c:v>0</c:v>
                </c:pt>
                <c:pt idx="25769">
                  <c:v>0</c:v>
                </c:pt>
                <c:pt idx="25770">
                  <c:v>0</c:v>
                </c:pt>
                <c:pt idx="25771">
                  <c:v>0</c:v>
                </c:pt>
                <c:pt idx="25772">
                  <c:v>0</c:v>
                </c:pt>
                <c:pt idx="25773">
                  <c:v>0</c:v>
                </c:pt>
                <c:pt idx="25774">
                  <c:v>0</c:v>
                </c:pt>
                <c:pt idx="25775">
                  <c:v>0</c:v>
                </c:pt>
                <c:pt idx="25776">
                  <c:v>0</c:v>
                </c:pt>
                <c:pt idx="25777">
                  <c:v>0</c:v>
                </c:pt>
                <c:pt idx="25778">
                  <c:v>0</c:v>
                </c:pt>
                <c:pt idx="25779">
                  <c:v>0</c:v>
                </c:pt>
                <c:pt idx="25780">
                  <c:v>0</c:v>
                </c:pt>
                <c:pt idx="25781">
                  <c:v>0</c:v>
                </c:pt>
                <c:pt idx="25782">
                  <c:v>0</c:v>
                </c:pt>
                <c:pt idx="25783">
                  <c:v>0</c:v>
                </c:pt>
                <c:pt idx="25784">
                  <c:v>0</c:v>
                </c:pt>
                <c:pt idx="25785">
                  <c:v>0</c:v>
                </c:pt>
                <c:pt idx="25786">
                  <c:v>0</c:v>
                </c:pt>
                <c:pt idx="25787">
                  <c:v>0</c:v>
                </c:pt>
                <c:pt idx="25788">
                  <c:v>0</c:v>
                </c:pt>
                <c:pt idx="25789">
                  <c:v>0</c:v>
                </c:pt>
                <c:pt idx="25790">
                  <c:v>0</c:v>
                </c:pt>
                <c:pt idx="25791">
                  <c:v>0</c:v>
                </c:pt>
                <c:pt idx="25792">
                  <c:v>0</c:v>
                </c:pt>
                <c:pt idx="25793">
                  <c:v>0</c:v>
                </c:pt>
                <c:pt idx="25794">
                  <c:v>0</c:v>
                </c:pt>
                <c:pt idx="25795">
                  <c:v>0</c:v>
                </c:pt>
                <c:pt idx="25796">
                  <c:v>0</c:v>
                </c:pt>
                <c:pt idx="25797">
                  <c:v>0</c:v>
                </c:pt>
                <c:pt idx="25798">
                  <c:v>0</c:v>
                </c:pt>
                <c:pt idx="25799">
                  <c:v>0</c:v>
                </c:pt>
                <c:pt idx="25800">
                  <c:v>0</c:v>
                </c:pt>
                <c:pt idx="25801">
                  <c:v>0</c:v>
                </c:pt>
                <c:pt idx="25802">
                  <c:v>0</c:v>
                </c:pt>
                <c:pt idx="25803">
                  <c:v>0</c:v>
                </c:pt>
                <c:pt idx="25804">
                  <c:v>0</c:v>
                </c:pt>
                <c:pt idx="25805">
                  <c:v>0</c:v>
                </c:pt>
                <c:pt idx="25806">
                  <c:v>0</c:v>
                </c:pt>
                <c:pt idx="25807">
                  <c:v>0</c:v>
                </c:pt>
                <c:pt idx="25808">
                  <c:v>0</c:v>
                </c:pt>
                <c:pt idx="25809">
                  <c:v>0</c:v>
                </c:pt>
                <c:pt idx="25810">
                  <c:v>0</c:v>
                </c:pt>
                <c:pt idx="25811">
                  <c:v>0</c:v>
                </c:pt>
                <c:pt idx="25812">
                  <c:v>0</c:v>
                </c:pt>
                <c:pt idx="25813">
                  <c:v>0</c:v>
                </c:pt>
                <c:pt idx="25814">
                  <c:v>0</c:v>
                </c:pt>
                <c:pt idx="25815">
                  <c:v>1</c:v>
                </c:pt>
                <c:pt idx="25816">
                  <c:v>0</c:v>
                </c:pt>
                <c:pt idx="25817">
                  <c:v>0</c:v>
                </c:pt>
                <c:pt idx="25818">
                  <c:v>0</c:v>
                </c:pt>
                <c:pt idx="25819">
                  <c:v>0</c:v>
                </c:pt>
                <c:pt idx="25820">
                  <c:v>0</c:v>
                </c:pt>
                <c:pt idx="25821">
                  <c:v>0</c:v>
                </c:pt>
                <c:pt idx="25822">
                  <c:v>0</c:v>
                </c:pt>
                <c:pt idx="25823">
                  <c:v>0</c:v>
                </c:pt>
                <c:pt idx="25824">
                  <c:v>0</c:v>
                </c:pt>
                <c:pt idx="25825">
                  <c:v>0</c:v>
                </c:pt>
                <c:pt idx="25826">
                  <c:v>0</c:v>
                </c:pt>
                <c:pt idx="25827">
                  <c:v>0</c:v>
                </c:pt>
                <c:pt idx="25828">
                  <c:v>0</c:v>
                </c:pt>
                <c:pt idx="25829">
                  <c:v>0</c:v>
                </c:pt>
                <c:pt idx="25830">
                  <c:v>0</c:v>
                </c:pt>
                <c:pt idx="25831">
                  <c:v>0</c:v>
                </c:pt>
                <c:pt idx="25832">
                  <c:v>0</c:v>
                </c:pt>
                <c:pt idx="25833">
                  <c:v>0</c:v>
                </c:pt>
                <c:pt idx="25834">
                  <c:v>0</c:v>
                </c:pt>
                <c:pt idx="25835">
                  <c:v>0</c:v>
                </c:pt>
                <c:pt idx="25836">
                  <c:v>0</c:v>
                </c:pt>
                <c:pt idx="25837">
                  <c:v>0</c:v>
                </c:pt>
                <c:pt idx="25838">
                  <c:v>0</c:v>
                </c:pt>
                <c:pt idx="25839">
                  <c:v>0</c:v>
                </c:pt>
                <c:pt idx="25840">
                  <c:v>0</c:v>
                </c:pt>
                <c:pt idx="25841">
                  <c:v>0</c:v>
                </c:pt>
                <c:pt idx="25842">
                  <c:v>0</c:v>
                </c:pt>
                <c:pt idx="25843">
                  <c:v>0</c:v>
                </c:pt>
                <c:pt idx="25844">
                  <c:v>0</c:v>
                </c:pt>
                <c:pt idx="25845">
                  <c:v>0</c:v>
                </c:pt>
                <c:pt idx="25846">
                  <c:v>0</c:v>
                </c:pt>
                <c:pt idx="25847">
                  <c:v>0</c:v>
                </c:pt>
                <c:pt idx="25848">
                  <c:v>0</c:v>
                </c:pt>
                <c:pt idx="25849">
                  <c:v>4</c:v>
                </c:pt>
                <c:pt idx="25850">
                  <c:v>0</c:v>
                </c:pt>
                <c:pt idx="25851">
                  <c:v>0</c:v>
                </c:pt>
                <c:pt idx="25852">
                  <c:v>0</c:v>
                </c:pt>
                <c:pt idx="25853">
                  <c:v>0</c:v>
                </c:pt>
                <c:pt idx="25854">
                  <c:v>5</c:v>
                </c:pt>
                <c:pt idx="25855">
                  <c:v>0</c:v>
                </c:pt>
                <c:pt idx="25856">
                  <c:v>0</c:v>
                </c:pt>
                <c:pt idx="25857">
                  <c:v>0</c:v>
                </c:pt>
                <c:pt idx="25858">
                  <c:v>2</c:v>
                </c:pt>
                <c:pt idx="25859">
                  <c:v>11</c:v>
                </c:pt>
                <c:pt idx="25860">
                  <c:v>10</c:v>
                </c:pt>
                <c:pt idx="25861">
                  <c:v>1</c:v>
                </c:pt>
                <c:pt idx="25862">
                  <c:v>10</c:v>
                </c:pt>
                <c:pt idx="25863">
                  <c:v>3</c:v>
                </c:pt>
                <c:pt idx="25864">
                  <c:v>0</c:v>
                </c:pt>
                <c:pt idx="25865">
                  <c:v>3</c:v>
                </c:pt>
                <c:pt idx="25866">
                  <c:v>3</c:v>
                </c:pt>
                <c:pt idx="25867">
                  <c:v>6</c:v>
                </c:pt>
                <c:pt idx="25868">
                  <c:v>4</c:v>
                </c:pt>
                <c:pt idx="25869">
                  <c:v>9</c:v>
                </c:pt>
                <c:pt idx="25870">
                  <c:v>1</c:v>
                </c:pt>
                <c:pt idx="25871">
                  <c:v>6</c:v>
                </c:pt>
                <c:pt idx="25872">
                  <c:v>0</c:v>
                </c:pt>
                <c:pt idx="25873">
                  <c:v>1</c:v>
                </c:pt>
                <c:pt idx="25874">
                  <c:v>2</c:v>
                </c:pt>
                <c:pt idx="25875">
                  <c:v>8</c:v>
                </c:pt>
                <c:pt idx="25876">
                  <c:v>3</c:v>
                </c:pt>
                <c:pt idx="25877">
                  <c:v>0</c:v>
                </c:pt>
                <c:pt idx="25878">
                  <c:v>2</c:v>
                </c:pt>
                <c:pt idx="25879">
                  <c:v>0</c:v>
                </c:pt>
                <c:pt idx="25880">
                  <c:v>2</c:v>
                </c:pt>
                <c:pt idx="25881">
                  <c:v>0</c:v>
                </c:pt>
                <c:pt idx="25882">
                  <c:v>10</c:v>
                </c:pt>
                <c:pt idx="25883">
                  <c:v>1</c:v>
                </c:pt>
                <c:pt idx="25884">
                  <c:v>15</c:v>
                </c:pt>
                <c:pt idx="25885">
                  <c:v>0</c:v>
                </c:pt>
                <c:pt idx="25886">
                  <c:v>3</c:v>
                </c:pt>
                <c:pt idx="25887">
                  <c:v>1</c:v>
                </c:pt>
                <c:pt idx="25888">
                  <c:v>2</c:v>
                </c:pt>
                <c:pt idx="25889">
                  <c:v>3</c:v>
                </c:pt>
                <c:pt idx="25890">
                  <c:v>0</c:v>
                </c:pt>
                <c:pt idx="25891">
                  <c:v>6</c:v>
                </c:pt>
                <c:pt idx="25892">
                  <c:v>0</c:v>
                </c:pt>
                <c:pt idx="25893">
                  <c:v>2</c:v>
                </c:pt>
                <c:pt idx="25894">
                  <c:v>6</c:v>
                </c:pt>
                <c:pt idx="25895">
                  <c:v>2</c:v>
                </c:pt>
                <c:pt idx="25896">
                  <c:v>3</c:v>
                </c:pt>
                <c:pt idx="25897">
                  <c:v>4</c:v>
                </c:pt>
                <c:pt idx="25898">
                  <c:v>2</c:v>
                </c:pt>
                <c:pt idx="25899">
                  <c:v>3</c:v>
                </c:pt>
                <c:pt idx="25900">
                  <c:v>10</c:v>
                </c:pt>
                <c:pt idx="25901">
                  <c:v>2</c:v>
                </c:pt>
                <c:pt idx="25902">
                  <c:v>1</c:v>
                </c:pt>
                <c:pt idx="25903">
                  <c:v>2</c:v>
                </c:pt>
                <c:pt idx="25904">
                  <c:v>3</c:v>
                </c:pt>
                <c:pt idx="25905">
                  <c:v>0</c:v>
                </c:pt>
                <c:pt idx="25906">
                  <c:v>3</c:v>
                </c:pt>
                <c:pt idx="25907">
                  <c:v>0</c:v>
                </c:pt>
                <c:pt idx="25908">
                  <c:v>2</c:v>
                </c:pt>
                <c:pt idx="25909">
                  <c:v>0</c:v>
                </c:pt>
                <c:pt idx="25910">
                  <c:v>0</c:v>
                </c:pt>
                <c:pt idx="25911">
                  <c:v>0</c:v>
                </c:pt>
                <c:pt idx="25912">
                  <c:v>0</c:v>
                </c:pt>
                <c:pt idx="25913">
                  <c:v>3</c:v>
                </c:pt>
                <c:pt idx="25914">
                  <c:v>0</c:v>
                </c:pt>
                <c:pt idx="25915">
                  <c:v>4</c:v>
                </c:pt>
                <c:pt idx="25916">
                  <c:v>10</c:v>
                </c:pt>
                <c:pt idx="25917">
                  <c:v>1</c:v>
                </c:pt>
                <c:pt idx="25918">
                  <c:v>0</c:v>
                </c:pt>
                <c:pt idx="25919">
                  <c:v>0</c:v>
                </c:pt>
                <c:pt idx="25920">
                  <c:v>0</c:v>
                </c:pt>
                <c:pt idx="25921">
                  <c:v>0</c:v>
                </c:pt>
                <c:pt idx="25922">
                  <c:v>0</c:v>
                </c:pt>
                <c:pt idx="25923">
                  <c:v>0</c:v>
                </c:pt>
                <c:pt idx="25924">
                  <c:v>0</c:v>
                </c:pt>
                <c:pt idx="25925">
                  <c:v>1</c:v>
                </c:pt>
                <c:pt idx="25926">
                  <c:v>4</c:v>
                </c:pt>
                <c:pt idx="25927">
                  <c:v>2</c:v>
                </c:pt>
                <c:pt idx="25928">
                  <c:v>5</c:v>
                </c:pt>
                <c:pt idx="25929">
                  <c:v>5</c:v>
                </c:pt>
                <c:pt idx="25930">
                  <c:v>4</c:v>
                </c:pt>
                <c:pt idx="25931">
                  <c:v>4</c:v>
                </c:pt>
                <c:pt idx="25932">
                  <c:v>2</c:v>
                </c:pt>
                <c:pt idx="25933">
                  <c:v>6</c:v>
                </c:pt>
                <c:pt idx="25934">
                  <c:v>5</c:v>
                </c:pt>
                <c:pt idx="25935">
                  <c:v>10</c:v>
                </c:pt>
                <c:pt idx="25936">
                  <c:v>2</c:v>
                </c:pt>
                <c:pt idx="25937">
                  <c:v>0</c:v>
                </c:pt>
                <c:pt idx="25938">
                  <c:v>4</c:v>
                </c:pt>
                <c:pt idx="25939">
                  <c:v>4</c:v>
                </c:pt>
                <c:pt idx="25940">
                  <c:v>6</c:v>
                </c:pt>
                <c:pt idx="25941">
                  <c:v>2</c:v>
                </c:pt>
                <c:pt idx="25942">
                  <c:v>7</c:v>
                </c:pt>
                <c:pt idx="25943">
                  <c:v>4</c:v>
                </c:pt>
                <c:pt idx="25944">
                  <c:v>6</c:v>
                </c:pt>
                <c:pt idx="25945">
                  <c:v>4</c:v>
                </c:pt>
                <c:pt idx="25946">
                  <c:v>9</c:v>
                </c:pt>
                <c:pt idx="25947">
                  <c:v>3</c:v>
                </c:pt>
                <c:pt idx="25948">
                  <c:v>8</c:v>
                </c:pt>
                <c:pt idx="25949">
                  <c:v>5</c:v>
                </c:pt>
                <c:pt idx="25950">
                  <c:v>0</c:v>
                </c:pt>
                <c:pt idx="25951">
                  <c:v>3</c:v>
                </c:pt>
                <c:pt idx="25952">
                  <c:v>11</c:v>
                </c:pt>
                <c:pt idx="25953">
                  <c:v>2</c:v>
                </c:pt>
                <c:pt idx="25954">
                  <c:v>11</c:v>
                </c:pt>
                <c:pt idx="25955">
                  <c:v>0</c:v>
                </c:pt>
                <c:pt idx="25956">
                  <c:v>0</c:v>
                </c:pt>
                <c:pt idx="25957">
                  <c:v>0</c:v>
                </c:pt>
                <c:pt idx="25958">
                  <c:v>3</c:v>
                </c:pt>
                <c:pt idx="25959">
                  <c:v>2</c:v>
                </c:pt>
                <c:pt idx="25960">
                  <c:v>24</c:v>
                </c:pt>
                <c:pt idx="25961">
                  <c:v>22</c:v>
                </c:pt>
                <c:pt idx="25962">
                  <c:v>9</c:v>
                </c:pt>
                <c:pt idx="25963">
                  <c:v>4</c:v>
                </c:pt>
                <c:pt idx="25964">
                  <c:v>5</c:v>
                </c:pt>
                <c:pt idx="25965">
                  <c:v>4</c:v>
                </c:pt>
                <c:pt idx="25966">
                  <c:v>8</c:v>
                </c:pt>
                <c:pt idx="25967">
                  <c:v>4</c:v>
                </c:pt>
                <c:pt idx="25968">
                  <c:v>3</c:v>
                </c:pt>
                <c:pt idx="25969">
                  <c:v>0</c:v>
                </c:pt>
                <c:pt idx="25970">
                  <c:v>2</c:v>
                </c:pt>
                <c:pt idx="25971">
                  <c:v>0</c:v>
                </c:pt>
                <c:pt idx="25972">
                  <c:v>2</c:v>
                </c:pt>
                <c:pt idx="25973">
                  <c:v>1</c:v>
                </c:pt>
                <c:pt idx="25974">
                  <c:v>1</c:v>
                </c:pt>
                <c:pt idx="25975">
                  <c:v>0</c:v>
                </c:pt>
                <c:pt idx="25976">
                  <c:v>6</c:v>
                </c:pt>
                <c:pt idx="25977">
                  <c:v>0</c:v>
                </c:pt>
                <c:pt idx="25978">
                  <c:v>0</c:v>
                </c:pt>
                <c:pt idx="25979">
                  <c:v>0</c:v>
                </c:pt>
                <c:pt idx="25980">
                  <c:v>0</c:v>
                </c:pt>
                <c:pt idx="25981">
                  <c:v>1</c:v>
                </c:pt>
                <c:pt idx="25982">
                  <c:v>0</c:v>
                </c:pt>
                <c:pt idx="25983">
                  <c:v>0</c:v>
                </c:pt>
                <c:pt idx="25984">
                  <c:v>1</c:v>
                </c:pt>
                <c:pt idx="25985">
                  <c:v>0</c:v>
                </c:pt>
                <c:pt idx="25986">
                  <c:v>3</c:v>
                </c:pt>
                <c:pt idx="25987">
                  <c:v>0</c:v>
                </c:pt>
                <c:pt idx="25988">
                  <c:v>0</c:v>
                </c:pt>
                <c:pt idx="25989">
                  <c:v>0</c:v>
                </c:pt>
                <c:pt idx="25990">
                  <c:v>0</c:v>
                </c:pt>
                <c:pt idx="25991">
                  <c:v>0</c:v>
                </c:pt>
                <c:pt idx="25992">
                  <c:v>3</c:v>
                </c:pt>
                <c:pt idx="25993">
                  <c:v>1</c:v>
                </c:pt>
                <c:pt idx="25994">
                  <c:v>0</c:v>
                </c:pt>
                <c:pt idx="25995">
                  <c:v>0</c:v>
                </c:pt>
                <c:pt idx="25996">
                  <c:v>1</c:v>
                </c:pt>
                <c:pt idx="25997">
                  <c:v>0</c:v>
                </c:pt>
                <c:pt idx="25998">
                  <c:v>0</c:v>
                </c:pt>
                <c:pt idx="25999">
                  <c:v>0</c:v>
                </c:pt>
                <c:pt idx="26000">
                  <c:v>0</c:v>
                </c:pt>
                <c:pt idx="26001">
                  <c:v>0</c:v>
                </c:pt>
                <c:pt idx="26002">
                  <c:v>0</c:v>
                </c:pt>
                <c:pt idx="26003">
                  <c:v>2</c:v>
                </c:pt>
                <c:pt idx="26004">
                  <c:v>3</c:v>
                </c:pt>
                <c:pt idx="26005">
                  <c:v>0</c:v>
                </c:pt>
                <c:pt idx="26006">
                  <c:v>0</c:v>
                </c:pt>
                <c:pt idx="26007">
                  <c:v>0</c:v>
                </c:pt>
                <c:pt idx="26008">
                  <c:v>0</c:v>
                </c:pt>
                <c:pt idx="26009">
                  <c:v>0</c:v>
                </c:pt>
                <c:pt idx="26010">
                  <c:v>0</c:v>
                </c:pt>
                <c:pt idx="26011">
                  <c:v>0</c:v>
                </c:pt>
                <c:pt idx="26012">
                  <c:v>7</c:v>
                </c:pt>
                <c:pt idx="26013">
                  <c:v>0</c:v>
                </c:pt>
                <c:pt idx="26014">
                  <c:v>2</c:v>
                </c:pt>
                <c:pt idx="26015">
                  <c:v>2</c:v>
                </c:pt>
                <c:pt idx="26016">
                  <c:v>6</c:v>
                </c:pt>
                <c:pt idx="26017">
                  <c:v>4</c:v>
                </c:pt>
                <c:pt idx="26018">
                  <c:v>1</c:v>
                </c:pt>
                <c:pt idx="26019">
                  <c:v>0</c:v>
                </c:pt>
                <c:pt idx="26020">
                  <c:v>3</c:v>
                </c:pt>
                <c:pt idx="26021">
                  <c:v>1</c:v>
                </c:pt>
                <c:pt idx="26022">
                  <c:v>6</c:v>
                </c:pt>
                <c:pt idx="26023">
                  <c:v>3</c:v>
                </c:pt>
                <c:pt idx="26024">
                  <c:v>0</c:v>
                </c:pt>
                <c:pt idx="26025">
                  <c:v>1</c:v>
                </c:pt>
                <c:pt idx="26026">
                  <c:v>1</c:v>
                </c:pt>
                <c:pt idx="26027">
                  <c:v>1</c:v>
                </c:pt>
                <c:pt idx="26028">
                  <c:v>3</c:v>
                </c:pt>
                <c:pt idx="26029">
                  <c:v>0</c:v>
                </c:pt>
                <c:pt idx="26030">
                  <c:v>1</c:v>
                </c:pt>
                <c:pt idx="26031">
                  <c:v>0</c:v>
                </c:pt>
                <c:pt idx="26032">
                  <c:v>0</c:v>
                </c:pt>
                <c:pt idx="26033">
                  <c:v>1</c:v>
                </c:pt>
                <c:pt idx="26034">
                  <c:v>0</c:v>
                </c:pt>
                <c:pt idx="26035">
                  <c:v>0</c:v>
                </c:pt>
                <c:pt idx="26036">
                  <c:v>0</c:v>
                </c:pt>
                <c:pt idx="26037">
                  <c:v>3</c:v>
                </c:pt>
                <c:pt idx="26038">
                  <c:v>0</c:v>
                </c:pt>
                <c:pt idx="26039">
                  <c:v>0</c:v>
                </c:pt>
                <c:pt idx="26040">
                  <c:v>0</c:v>
                </c:pt>
                <c:pt idx="26041">
                  <c:v>1</c:v>
                </c:pt>
                <c:pt idx="26042">
                  <c:v>0</c:v>
                </c:pt>
                <c:pt idx="26043">
                  <c:v>0</c:v>
                </c:pt>
                <c:pt idx="26044">
                  <c:v>0</c:v>
                </c:pt>
                <c:pt idx="26045">
                  <c:v>0</c:v>
                </c:pt>
                <c:pt idx="26046">
                  <c:v>0</c:v>
                </c:pt>
                <c:pt idx="26047">
                  <c:v>0</c:v>
                </c:pt>
                <c:pt idx="26048">
                  <c:v>1</c:v>
                </c:pt>
                <c:pt idx="26049">
                  <c:v>1</c:v>
                </c:pt>
                <c:pt idx="26050">
                  <c:v>0</c:v>
                </c:pt>
                <c:pt idx="26051">
                  <c:v>0</c:v>
                </c:pt>
                <c:pt idx="26052">
                  <c:v>0</c:v>
                </c:pt>
                <c:pt idx="26053">
                  <c:v>0</c:v>
                </c:pt>
                <c:pt idx="26054">
                  <c:v>1</c:v>
                </c:pt>
                <c:pt idx="26055">
                  <c:v>1</c:v>
                </c:pt>
                <c:pt idx="26056">
                  <c:v>0</c:v>
                </c:pt>
                <c:pt idx="26057">
                  <c:v>0</c:v>
                </c:pt>
                <c:pt idx="26058">
                  <c:v>0</c:v>
                </c:pt>
                <c:pt idx="26059">
                  <c:v>0</c:v>
                </c:pt>
                <c:pt idx="26060">
                  <c:v>0</c:v>
                </c:pt>
                <c:pt idx="26061">
                  <c:v>2</c:v>
                </c:pt>
                <c:pt idx="26062">
                  <c:v>0</c:v>
                </c:pt>
                <c:pt idx="26063">
                  <c:v>0</c:v>
                </c:pt>
                <c:pt idx="26064">
                  <c:v>0</c:v>
                </c:pt>
                <c:pt idx="26065">
                  <c:v>0</c:v>
                </c:pt>
                <c:pt idx="26066">
                  <c:v>0</c:v>
                </c:pt>
                <c:pt idx="26067">
                  <c:v>0</c:v>
                </c:pt>
                <c:pt idx="26068">
                  <c:v>4</c:v>
                </c:pt>
                <c:pt idx="26069">
                  <c:v>0</c:v>
                </c:pt>
                <c:pt idx="26070">
                  <c:v>0</c:v>
                </c:pt>
                <c:pt idx="26071">
                  <c:v>0</c:v>
                </c:pt>
                <c:pt idx="26072">
                  <c:v>0</c:v>
                </c:pt>
                <c:pt idx="26073">
                  <c:v>0</c:v>
                </c:pt>
                <c:pt idx="26074">
                  <c:v>0</c:v>
                </c:pt>
                <c:pt idx="26075">
                  <c:v>0</c:v>
                </c:pt>
                <c:pt idx="26076">
                  <c:v>2</c:v>
                </c:pt>
                <c:pt idx="26077">
                  <c:v>1</c:v>
                </c:pt>
                <c:pt idx="26078">
                  <c:v>0</c:v>
                </c:pt>
                <c:pt idx="26079">
                  <c:v>0</c:v>
                </c:pt>
                <c:pt idx="26080">
                  <c:v>0</c:v>
                </c:pt>
                <c:pt idx="26081">
                  <c:v>0</c:v>
                </c:pt>
                <c:pt idx="26082">
                  <c:v>1</c:v>
                </c:pt>
                <c:pt idx="26083">
                  <c:v>0</c:v>
                </c:pt>
                <c:pt idx="26084">
                  <c:v>0</c:v>
                </c:pt>
                <c:pt idx="26085">
                  <c:v>5</c:v>
                </c:pt>
                <c:pt idx="26086">
                  <c:v>8</c:v>
                </c:pt>
                <c:pt idx="26087">
                  <c:v>0</c:v>
                </c:pt>
                <c:pt idx="26088">
                  <c:v>4</c:v>
                </c:pt>
                <c:pt idx="26089">
                  <c:v>1</c:v>
                </c:pt>
                <c:pt idx="26090">
                  <c:v>4</c:v>
                </c:pt>
                <c:pt idx="26091">
                  <c:v>3</c:v>
                </c:pt>
                <c:pt idx="26092">
                  <c:v>1</c:v>
                </c:pt>
                <c:pt idx="26093">
                  <c:v>5</c:v>
                </c:pt>
                <c:pt idx="26094">
                  <c:v>3</c:v>
                </c:pt>
                <c:pt idx="26095">
                  <c:v>4</c:v>
                </c:pt>
                <c:pt idx="26096">
                  <c:v>9</c:v>
                </c:pt>
                <c:pt idx="26097">
                  <c:v>2</c:v>
                </c:pt>
                <c:pt idx="26098">
                  <c:v>0</c:v>
                </c:pt>
                <c:pt idx="26099">
                  <c:v>0</c:v>
                </c:pt>
                <c:pt idx="26100">
                  <c:v>3</c:v>
                </c:pt>
                <c:pt idx="26101">
                  <c:v>0</c:v>
                </c:pt>
                <c:pt idx="26102">
                  <c:v>7</c:v>
                </c:pt>
                <c:pt idx="26103">
                  <c:v>2</c:v>
                </c:pt>
                <c:pt idx="26104">
                  <c:v>1</c:v>
                </c:pt>
                <c:pt idx="26105">
                  <c:v>3</c:v>
                </c:pt>
                <c:pt idx="26106">
                  <c:v>2</c:v>
                </c:pt>
                <c:pt idx="26107">
                  <c:v>2</c:v>
                </c:pt>
                <c:pt idx="26108">
                  <c:v>2</c:v>
                </c:pt>
                <c:pt idx="26109">
                  <c:v>0</c:v>
                </c:pt>
                <c:pt idx="26110">
                  <c:v>1</c:v>
                </c:pt>
                <c:pt idx="26111">
                  <c:v>1</c:v>
                </c:pt>
                <c:pt idx="26112">
                  <c:v>0</c:v>
                </c:pt>
                <c:pt idx="26113">
                  <c:v>1</c:v>
                </c:pt>
                <c:pt idx="26114">
                  <c:v>2</c:v>
                </c:pt>
                <c:pt idx="26115">
                  <c:v>0</c:v>
                </c:pt>
                <c:pt idx="26116">
                  <c:v>0</c:v>
                </c:pt>
                <c:pt idx="26117">
                  <c:v>0</c:v>
                </c:pt>
                <c:pt idx="26118">
                  <c:v>0</c:v>
                </c:pt>
                <c:pt idx="26119">
                  <c:v>0</c:v>
                </c:pt>
                <c:pt idx="26120">
                  <c:v>0</c:v>
                </c:pt>
                <c:pt idx="26121">
                  <c:v>0</c:v>
                </c:pt>
                <c:pt idx="26122">
                  <c:v>2</c:v>
                </c:pt>
                <c:pt idx="26123">
                  <c:v>0</c:v>
                </c:pt>
                <c:pt idx="26124">
                  <c:v>0</c:v>
                </c:pt>
                <c:pt idx="26125">
                  <c:v>0</c:v>
                </c:pt>
                <c:pt idx="26126">
                  <c:v>0</c:v>
                </c:pt>
                <c:pt idx="26127">
                  <c:v>2</c:v>
                </c:pt>
                <c:pt idx="26128">
                  <c:v>0</c:v>
                </c:pt>
                <c:pt idx="26129">
                  <c:v>0</c:v>
                </c:pt>
                <c:pt idx="26130">
                  <c:v>0</c:v>
                </c:pt>
                <c:pt idx="26131">
                  <c:v>0</c:v>
                </c:pt>
                <c:pt idx="26132">
                  <c:v>0</c:v>
                </c:pt>
                <c:pt idx="26133">
                  <c:v>0</c:v>
                </c:pt>
                <c:pt idx="26134">
                  <c:v>0</c:v>
                </c:pt>
                <c:pt idx="26135">
                  <c:v>0</c:v>
                </c:pt>
                <c:pt idx="26136">
                  <c:v>3</c:v>
                </c:pt>
                <c:pt idx="26137">
                  <c:v>1</c:v>
                </c:pt>
                <c:pt idx="26138">
                  <c:v>0</c:v>
                </c:pt>
                <c:pt idx="26139">
                  <c:v>0</c:v>
                </c:pt>
                <c:pt idx="26140">
                  <c:v>0</c:v>
                </c:pt>
                <c:pt idx="26141">
                  <c:v>0</c:v>
                </c:pt>
                <c:pt idx="26142">
                  <c:v>0</c:v>
                </c:pt>
                <c:pt idx="26143">
                  <c:v>0</c:v>
                </c:pt>
                <c:pt idx="26144">
                  <c:v>1</c:v>
                </c:pt>
                <c:pt idx="26145">
                  <c:v>0</c:v>
                </c:pt>
                <c:pt idx="26146">
                  <c:v>0</c:v>
                </c:pt>
                <c:pt idx="26147">
                  <c:v>0</c:v>
                </c:pt>
                <c:pt idx="26148">
                  <c:v>0</c:v>
                </c:pt>
                <c:pt idx="26149">
                  <c:v>0</c:v>
                </c:pt>
                <c:pt idx="26150">
                  <c:v>0</c:v>
                </c:pt>
                <c:pt idx="26151">
                  <c:v>0</c:v>
                </c:pt>
                <c:pt idx="26152">
                  <c:v>0</c:v>
                </c:pt>
                <c:pt idx="26153">
                  <c:v>0</c:v>
                </c:pt>
                <c:pt idx="26154">
                  <c:v>0</c:v>
                </c:pt>
                <c:pt idx="26155">
                  <c:v>0</c:v>
                </c:pt>
                <c:pt idx="26156">
                  <c:v>0</c:v>
                </c:pt>
                <c:pt idx="26157">
                  <c:v>0</c:v>
                </c:pt>
                <c:pt idx="26158">
                  <c:v>0</c:v>
                </c:pt>
                <c:pt idx="26159">
                  <c:v>0</c:v>
                </c:pt>
                <c:pt idx="26160">
                  <c:v>1</c:v>
                </c:pt>
                <c:pt idx="26161">
                  <c:v>0</c:v>
                </c:pt>
                <c:pt idx="26162">
                  <c:v>0</c:v>
                </c:pt>
                <c:pt idx="26163">
                  <c:v>0</c:v>
                </c:pt>
                <c:pt idx="26164">
                  <c:v>2</c:v>
                </c:pt>
                <c:pt idx="26165">
                  <c:v>5</c:v>
                </c:pt>
                <c:pt idx="26166">
                  <c:v>0</c:v>
                </c:pt>
                <c:pt idx="26167">
                  <c:v>3</c:v>
                </c:pt>
                <c:pt idx="26168">
                  <c:v>0</c:v>
                </c:pt>
                <c:pt idx="26169">
                  <c:v>0</c:v>
                </c:pt>
                <c:pt idx="26170">
                  <c:v>0</c:v>
                </c:pt>
                <c:pt idx="26171">
                  <c:v>2</c:v>
                </c:pt>
                <c:pt idx="26172">
                  <c:v>1</c:v>
                </c:pt>
                <c:pt idx="26173">
                  <c:v>0</c:v>
                </c:pt>
                <c:pt idx="26174">
                  <c:v>0</c:v>
                </c:pt>
                <c:pt idx="26175">
                  <c:v>3</c:v>
                </c:pt>
                <c:pt idx="26176">
                  <c:v>0</c:v>
                </c:pt>
                <c:pt idx="26177">
                  <c:v>0</c:v>
                </c:pt>
                <c:pt idx="26178">
                  <c:v>0</c:v>
                </c:pt>
                <c:pt idx="26179">
                  <c:v>0</c:v>
                </c:pt>
                <c:pt idx="26180">
                  <c:v>0</c:v>
                </c:pt>
                <c:pt idx="26181">
                  <c:v>0</c:v>
                </c:pt>
                <c:pt idx="26182">
                  <c:v>0</c:v>
                </c:pt>
                <c:pt idx="26183">
                  <c:v>4</c:v>
                </c:pt>
                <c:pt idx="26184">
                  <c:v>0</c:v>
                </c:pt>
                <c:pt idx="26185">
                  <c:v>0</c:v>
                </c:pt>
                <c:pt idx="26186">
                  <c:v>0</c:v>
                </c:pt>
                <c:pt idx="26187">
                  <c:v>0</c:v>
                </c:pt>
                <c:pt idx="26188">
                  <c:v>5</c:v>
                </c:pt>
                <c:pt idx="26189">
                  <c:v>0</c:v>
                </c:pt>
                <c:pt idx="26190">
                  <c:v>0</c:v>
                </c:pt>
                <c:pt idx="26191">
                  <c:v>0</c:v>
                </c:pt>
                <c:pt idx="26192">
                  <c:v>0</c:v>
                </c:pt>
                <c:pt idx="26193">
                  <c:v>0</c:v>
                </c:pt>
                <c:pt idx="26194">
                  <c:v>3</c:v>
                </c:pt>
                <c:pt idx="26195">
                  <c:v>0</c:v>
                </c:pt>
                <c:pt idx="26196">
                  <c:v>0</c:v>
                </c:pt>
                <c:pt idx="26197">
                  <c:v>0</c:v>
                </c:pt>
                <c:pt idx="26198">
                  <c:v>0</c:v>
                </c:pt>
                <c:pt idx="26199">
                  <c:v>0</c:v>
                </c:pt>
                <c:pt idx="26200">
                  <c:v>0</c:v>
                </c:pt>
                <c:pt idx="26201">
                  <c:v>0</c:v>
                </c:pt>
                <c:pt idx="26202">
                  <c:v>3</c:v>
                </c:pt>
                <c:pt idx="26203">
                  <c:v>0</c:v>
                </c:pt>
                <c:pt idx="26204">
                  <c:v>0</c:v>
                </c:pt>
                <c:pt idx="26205">
                  <c:v>0</c:v>
                </c:pt>
                <c:pt idx="26206">
                  <c:v>0</c:v>
                </c:pt>
                <c:pt idx="26207">
                  <c:v>0</c:v>
                </c:pt>
                <c:pt idx="26208">
                  <c:v>0</c:v>
                </c:pt>
                <c:pt idx="26209">
                  <c:v>0</c:v>
                </c:pt>
                <c:pt idx="26210">
                  <c:v>0</c:v>
                </c:pt>
                <c:pt idx="26211">
                  <c:v>0</c:v>
                </c:pt>
                <c:pt idx="26212">
                  <c:v>0</c:v>
                </c:pt>
                <c:pt idx="26213">
                  <c:v>0</c:v>
                </c:pt>
                <c:pt idx="26214">
                  <c:v>1</c:v>
                </c:pt>
                <c:pt idx="26215">
                  <c:v>0</c:v>
                </c:pt>
                <c:pt idx="26216">
                  <c:v>0</c:v>
                </c:pt>
                <c:pt idx="26217">
                  <c:v>0</c:v>
                </c:pt>
                <c:pt idx="26218">
                  <c:v>0</c:v>
                </c:pt>
                <c:pt idx="26219">
                  <c:v>0</c:v>
                </c:pt>
                <c:pt idx="26220">
                  <c:v>0</c:v>
                </c:pt>
                <c:pt idx="26221">
                  <c:v>0</c:v>
                </c:pt>
                <c:pt idx="26222">
                  <c:v>0</c:v>
                </c:pt>
                <c:pt idx="26223">
                  <c:v>0</c:v>
                </c:pt>
                <c:pt idx="26224">
                  <c:v>2</c:v>
                </c:pt>
                <c:pt idx="26225">
                  <c:v>2</c:v>
                </c:pt>
                <c:pt idx="26226">
                  <c:v>0</c:v>
                </c:pt>
                <c:pt idx="26227">
                  <c:v>0</c:v>
                </c:pt>
                <c:pt idx="26228">
                  <c:v>0</c:v>
                </c:pt>
                <c:pt idx="26229">
                  <c:v>0</c:v>
                </c:pt>
                <c:pt idx="26230">
                  <c:v>0</c:v>
                </c:pt>
                <c:pt idx="26231">
                  <c:v>1</c:v>
                </c:pt>
                <c:pt idx="26232">
                  <c:v>0</c:v>
                </c:pt>
                <c:pt idx="26233">
                  <c:v>0</c:v>
                </c:pt>
                <c:pt idx="26234">
                  <c:v>0</c:v>
                </c:pt>
                <c:pt idx="26235">
                  <c:v>0</c:v>
                </c:pt>
                <c:pt idx="26236">
                  <c:v>0</c:v>
                </c:pt>
                <c:pt idx="26237">
                  <c:v>0</c:v>
                </c:pt>
                <c:pt idx="26238">
                  <c:v>0</c:v>
                </c:pt>
                <c:pt idx="26239">
                  <c:v>0</c:v>
                </c:pt>
                <c:pt idx="26240">
                  <c:v>0</c:v>
                </c:pt>
                <c:pt idx="26241">
                  <c:v>0</c:v>
                </c:pt>
                <c:pt idx="26242">
                  <c:v>2</c:v>
                </c:pt>
                <c:pt idx="26243">
                  <c:v>0</c:v>
                </c:pt>
                <c:pt idx="26244">
                  <c:v>0</c:v>
                </c:pt>
                <c:pt idx="26245">
                  <c:v>0</c:v>
                </c:pt>
                <c:pt idx="26246">
                  <c:v>0</c:v>
                </c:pt>
                <c:pt idx="26247">
                  <c:v>0</c:v>
                </c:pt>
                <c:pt idx="26248">
                  <c:v>0</c:v>
                </c:pt>
                <c:pt idx="26249">
                  <c:v>0</c:v>
                </c:pt>
                <c:pt idx="26250">
                  <c:v>0</c:v>
                </c:pt>
                <c:pt idx="26251">
                  <c:v>0</c:v>
                </c:pt>
                <c:pt idx="26252">
                  <c:v>0</c:v>
                </c:pt>
                <c:pt idx="26253">
                  <c:v>0</c:v>
                </c:pt>
                <c:pt idx="26254">
                  <c:v>0</c:v>
                </c:pt>
                <c:pt idx="26255">
                  <c:v>0</c:v>
                </c:pt>
                <c:pt idx="26256">
                  <c:v>0</c:v>
                </c:pt>
                <c:pt idx="26257">
                  <c:v>0</c:v>
                </c:pt>
                <c:pt idx="26258">
                  <c:v>0</c:v>
                </c:pt>
                <c:pt idx="26259">
                  <c:v>0</c:v>
                </c:pt>
                <c:pt idx="26260">
                  <c:v>0</c:v>
                </c:pt>
                <c:pt idx="26261">
                  <c:v>0</c:v>
                </c:pt>
                <c:pt idx="26262">
                  <c:v>2</c:v>
                </c:pt>
                <c:pt idx="26263">
                  <c:v>2</c:v>
                </c:pt>
                <c:pt idx="26264">
                  <c:v>1</c:v>
                </c:pt>
                <c:pt idx="26265">
                  <c:v>0</c:v>
                </c:pt>
                <c:pt idx="26266">
                  <c:v>2</c:v>
                </c:pt>
                <c:pt idx="26267">
                  <c:v>1</c:v>
                </c:pt>
                <c:pt idx="26268">
                  <c:v>6</c:v>
                </c:pt>
                <c:pt idx="26269">
                  <c:v>8</c:v>
                </c:pt>
                <c:pt idx="26270">
                  <c:v>6</c:v>
                </c:pt>
                <c:pt idx="26271">
                  <c:v>5</c:v>
                </c:pt>
                <c:pt idx="26272">
                  <c:v>3</c:v>
                </c:pt>
                <c:pt idx="26273">
                  <c:v>7</c:v>
                </c:pt>
                <c:pt idx="26274">
                  <c:v>0</c:v>
                </c:pt>
                <c:pt idx="26275">
                  <c:v>3</c:v>
                </c:pt>
                <c:pt idx="26276">
                  <c:v>2</c:v>
                </c:pt>
                <c:pt idx="26277">
                  <c:v>1</c:v>
                </c:pt>
                <c:pt idx="26278">
                  <c:v>1</c:v>
                </c:pt>
                <c:pt idx="26279">
                  <c:v>0</c:v>
                </c:pt>
                <c:pt idx="26280">
                  <c:v>0</c:v>
                </c:pt>
                <c:pt idx="26281">
                  <c:v>2</c:v>
                </c:pt>
                <c:pt idx="26282">
                  <c:v>0</c:v>
                </c:pt>
                <c:pt idx="26283">
                  <c:v>0</c:v>
                </c:pt>
                <c:pt idx="26284">
                  <c:v>0</c:v>
                </c:pt>
                <c:pt idx="26285">
                  <c:v>0</c:v>
                </c:pt>
                <c:pt idx="26286">
                  <c:v>0</c:v>
                </c:pt>
                <c:pt idx="26287">
                  <c:v>0</c:v>
                </c:pt>
                <c:pt idx="26288">
                  <c:v>0</c:v>
                </c:pt>
                <c:pt idx="26289">
                  <c:v>0</c:v>
                </c:pt>
                <c:pt idx="26290">
                  <c:v>0</c:v>
                </c:pt>
                <c:pt idx="26291">
                  <c:v>0</c:v>
                </c:pt>
                <c:pt idx="26292">
                  <c:v>0</c:v>
                </c:pt>
                <c:pt idx="26293">
                  <c:v>0</c:v>
                </c:pt>
                <c:pt idx="26294">
                  <c:v>0</c:v>
                </c:pt>
                <c:pt idx="26295">
                  <c:v>0</c:v>
                </c:pt>
                <c:pt idx="26296">
                  <c:v>0</c:v>
                </c:pt>
                <c:pt idx="26297">
                  <c:v>0</c:v>
                </c:pt>
                <c:pt idx="26298">
                  <c:v>0</c:v>
                </c:pt>
                <c:pt idx="26299">
                  <c:v>4</c:v>
                </c:pt>
                <c:pt idx="26300">
                  <c:v>2</c:v>
                </c:pt>
                <c:pt idx="26301">
                  <c:v>1</c:v>
                </c:pt>
                <c:pt idx="26302">
                  <c:v>0</c:v>
                </c:pt>
                <c:pt idx="26303">
                  <c:v>0</c:v>
                </c:pt>
                <c:pt idx="26304">
                  <c:v>0</c:v>
                </c:pt>
                <c:pt idx="26305">
                  <c:v>0</c:v>
                </c:pt>
                <c:pt idx="26306">
                  <c:v>0</c:v>
                </c:pt>
                <c:pt idx="26307">
                  <c:v>0</c:v>
                </c:pt>
                <c:pt idx="26308">
                  <c:v>0</c:v>
                </c:pt>
                <c:pt idx="26309">
                  <c:v>0</c:v>
                </c:pt>
                <c:pt idx="26310">
                  <c:v>0</c:v>
                </c:pt>
                <c:pt idx="26311">
                  <c:v>0</c:v>
                </c:pt>
                <c:pt idx="26312">
                  <c:v>0</c:v>
                </c:pt>
                <c:pt idx="26313">
                  <c:v>0</c:v>
                </c:pt>
                <c:pt idx="26314">
                  <c:v>0</c:v>
                </c:pt>
                <c:pt idx="26315">
                  <c:v>0</c:v>
                </c:pt>
                <c:pt idx="26316">
                  <c:v>5</c:v>
                </c:pt>
                <c:pt idx="26317">
                  <c:v>1</c:v>
                </c:pt>
                <c:pt idx="26318">
                  <c:v>0</c:v>
                </c:pt>
                <c:pt idx="26319">
                  <c:v>0</c:v>
                </c:pt>
                <c:pt idx="26320">
                  <c:v>0</c:v>
                </c:pt>
                <c:pt idx="26321">
                  <c:v>0</c:v>
                </c:pt>
                <c:pt idx="26322">
                  <c:v>0</c:v>
                </c:pt>
                <c:pt idx="26323">
                  <c:v>0</c:v>
                </c:pt>
                <c:pt idx="26324">
                  <c:v>0</c:v>
                </c:pt>
                <c:pt idx="26325">
                  <c:v>0</c:v>
                </c:pt>
                <c:pt idx="26326">
                  <c:v>0</c:v>
                </c:pt>
                <c:pt idx="26327">
                  <c:v>1</c:v>
                </c:pt>
                <c:pt idx="26328">
                  <c:v>0</c:v>
                </c:pt>
                <c:pt idx="26329">
                  <c:v>0</c:v>
                </c:pt>
                <c:pt idx="26330">
                  <c:v>0</c:v>
                </c:pt>
                <c:pt idx="26331">
                  <c:v>1</c:v>
                </c:pt>
                <c:pt idx="26332">
                  <c:v>0</c:v>
                </c:pt>
                <c:pt idx="26333">
                  <c:v>0</c:v>
                </c:pt>
                <c:pt idx="26334">
                  <c:v>0</c:v>
                </c:pt>
                <c:pt idx="26335">
                  <c:v>0</c:v>
                </c:pt>
                <c:pt idx="26336">
                  <c:v>0</c:v>
                </c:pt>
                <c:pt idx="26337">
                  <c:v>0</c:v>
                </c:pt>
                <c:pt idx="26338">
                  <c:v>0</c:v>
                </c:pt>
                <c:pt idx="26339">
                  <c:v>0</c:v>
                </c:pt>
                <c:pt idx="26340">
                  <c:v>0</c:v>
                </c:pt>
                <c:pt idx="26341">
                  <c:v>0</c:v>
                </c:pt>
                <c:pt idx="26342">
                  <c:v>2</c:v>
                </c:pt>
                <c:pt idx="26343">
                  <c:v>0</c:v>
                </c:pt>
                <c:pt idx="26344">
                  <c:v>0</c:v>
                </c:pt>
                <c:pt idx="26345">
                  <c:v>0</c:v>
                </c:pt>
                <c:pt idx="26346">
                  <c:v>0</c:v>
                </c:pt>
                <c:pt idx="26347">
                  <c:v>0</c:v>
                </c:pt>
                <c:pt idx="26348">
                  <c:v>0</c:v>
                </c:pt>
                <c:pt idx="26349">
                  <c:v>0</c:v>
                </c:pt>
                <c:pt idx="26350">
                  <c:v>0</c:v>
                </c:pt>
                <c:pt idx="26351">
                  <c:v>0</c:v>
                </c:pt>
                <c:pt idx="26352">
                  <c:v>0</c:v>
                </c:pt>
                <c:pt idx="26353">
                  <c:v>0</c:v>
                </c:pt>
                <c:pt idx="26354">
                  <c:v>0</c:v>
                </c:pt>
                <c:pt idx="26355">
                  <c:v>0</c:v>
                </c:pt>
                <c:pt idx="26356">
                  <c:v>0</c:v>
                </c:pt>
                <c:pt idx="26357">
                  <c:v>0</c:v>
                </c:pt>
                <c:pt idx="26358">
                  <c:v>0</c:v>
                </c:pt>
                <c:pt idx="26359">
                  <c:v>0</c:v>
                </c:pt>
                <c:pt idx="26360">
                  <c:v>0</c:v>
                </c:pt>
                <c:pt idx="26361">
                  <c:v>0</c:v>
                </c:pt>
                <c:pt idx="26362">
                  <c:v>0</c:v>
                </c:pt>
                <c:pt idx="26363">
                  <c:v>0</c:v>
                </c:pt>
                <c:pt idx="26364">
                  <c:v>0</c:v>
                </c:pt>
                <c:pt idx="26365">
                  <c:v>0</c:v>
                </c:pt>
                <c:pt idx="26366">
                  <c:v>0</c:v>
                </c:pt>
                <c:pt idx="26367">
                  <c:v>3</c:v>
                </c:pt>
                <c:pt idx="26368">
                  <c:v>0</c:v>
                </c:pt>
                <c:pt idx="26369">
                  <c:v>0</c:v>
                </c:pt>
                <c:pt idx="26370">
                  <c:v>0</c:v>
                </c:pt>
                <c:pt idx="26371">
                  <c:v>0</c:v>
                </c:pt>
                <c:pt idx="26372">
                  <c:v>0</c:v>
                </c:pt>
                <c:pt idx="26373">
                  <c:v>0</c:v>
                </c:pt>
                <c:pt idx="26374">
                  <c:v>0</c:v>
                </c:pt>
                <c:pt idx="26375">
                  <c:v>0</c:v>
                </c:pt>
                <c:pt idx="26376">
                  <c:v>0</c:v>
                </c:pt>
                <c:pt idx="26377">
                  <c:v>0</c:v>
                </c:pt>
                <c:pt idx="26378">
                  <c:v>0</c:v>
                </c:pt>
                <c:pt idx="26379">
                  <c:v>0</c:v>
                </c:pt>
                <c:pt idx="26380">
                  <c:v>0</c:v>
                </c:pt>
                <c:pt idx="26381">
                  <c:v>1</c:v>
                </c:pt>
                <c:pt idx="26382">
                  <c:v>0</c:v>
                </c:pt>
                <c:pt idx="26383">
                  <c:v>0</c:v>
                </c:pt>
                <c:pt idx="26384">
                  <c:v>0</c:v>
                </c:pt>
                <c:pt idx="26385">
                  <c:v>0</c:v>
                </c:pt>
                <c:pt idx="26386">
                  <c:v>0</c:v>
                </c:pt>
                <c:pt idx="26387">
                  <c:v>0</c:v>
                </c:pt>
                <c:pt idx="26388">
                  <c:v>0</c:v>
                </c:pt>
                <c:pt idx="26389">
                  <c:v>0</c:v>
                </c:pt>
                <c:pt idx="26390">
                  <c:v>0</c:v>
                </c:pt>
                <c:pt idx="26391">
                  <c:v>0</c:v>
                </c:pt>
                <c:pt idx="26392">
                  <c:v>0</c:v>
                </c:pt>
                <c:pt idx="26393">
                  <c:v>0</c:v>
                </c:pt>
                <c:pt idx="26394">
                  <c:v>3</c:v>
                </c:pt>
                <c:pt idx="26395">
                  <c:v>0</c:v>
                </c:pt>
                <c:pt idx="26396">
                  <c:v>0</c:v>
                </c:pt>
                <c:pt idx="26397">
                  <c:v>0</c:v>
                </c:pt>
                <c:pt idx="26398">
                  <c:v>0</c:v>
                </c:pt>
                <c:pt idx="26399">
                  <c:v>0</c:v>
                </c:pt>
                <c:pt idx="26400">
                  <c:v>0</c:v>
                </c:pt>
                <c:pt idx="26401">
                  <c:v>0</c:v>
                </c:pt>
                <c:pt idx="26402">
                  <c:v>0</c:v>
                </c:pt>
                <c:pt idx="26403">
                  <c:v>0</c:v>
                </c:pt>
                <c:pt idx="26404">
                  <c:v>0</c:v>
                </c:pt>
                <c:pt idx="26405">
                  <c:v>3</c:v>
                </c:pt>
                <c:pt idx="26406">
                  <c:v>3</c:v>
                </c:pt>
                <c:pt idx="26407">
                  <c:v>2</c:v>
                </c:pt>
                <c:pt idx="26408">
                  <c:v>2</c:v>
                </c:pt>
                <c:pt idx="26409">
                  <c:v>0</c:v>
                </c:pt>
                <c:pt idx="26410">
                  <c:v>0</c:v>
                </c:pt>
                <c:pt idx="26411">
                  <c:v>0</c:v>
                </c:pt>
                <c:pt idx="26412">
                  <c:v>0</c:v>
                </c:pt>
                <c:pt idx="26413">
                  <c:v>0</c:v>
                </c:pt>
                <c:pt idx="26414">
                  <c:v>0</c:v>
                </c:pt>
                <c:pt idx="26415">
                  <c:v>0</c:v>
                </c:pt>
                <c:pt idx="26416">
                  <c:v>0</c:v>
                </c:pt>
                <c:pt idx="26417">
                  <c:v>0</c:v>
                </c:pt>
                <c:pt idx="26418">
                  <c:v>0</c:v>
                </c:pt>
                <c:pt idx="26419">
                  <c:v>0</c:v>
                </c:pt>
                <c:pt idx="26420">
                  <c:v>1</c:v>
                </c:pt>
                <c:pt idx="26421">
                  <c:v>0</c:v>
                </c:pt>
                <c:pt idx="26422">
                  <c:v>0</c:v>
                </c:pt>
                <c:pt idx="26423">
                  <c:v>0</c:v>
                </c:pt>
                <c:pt idx="26424">
                  <c:v>0</c:v>
                </c:pt>
                <c:pt idx="26425">
                  <c:v>0</c:v>
                </c:pt>
                <c:pt idx="26426">
                  <c:v>0</c:v>
                </c:pt>
                <c:pt idx="26427">
                  <c:v>0</c:v>
                </c:pt>
                <c:pt idx="26428">
                  <c:v>1</c:v>
                </c:pt>
                <c:pt idx="26429">
                  <c:v>0</c:v>
                </c:pt>
                <c:pt idx="26430">
                  <c:v>1</c:v>
                </c:pt>
                <c:pt idx="26431">
                  <c:v>0</c:v>
                </c:pt>
                <c:pt idx="26432">
                  <c:v>0</c:v>
                </c:pt>
                <c:pt idx="26433">
                  <c:v>0</c:v>
                </c:pt>
                <c:pt idx="26434">
                  <c:v>0</c:v>
                </c:pt>
                <c:pt idx="26435">
                  <c:v>0</c:v>
                </c:pt>
                <c:pt idx="26436">
                  <c:v>0</c:v>
                </c:pt>
                <c:pt idx="26437">
                  <c:v>0</c:v>
                </c:pt>
                <c:pt idx="26438">
                  <c:v>0</c:v>
                </c:pt>
                <c:pt idx="26439">
                  <c:v>0</c:v>
                </c:pt>
                <c:pt idx="26440">
                  <c:v>0</c:v>
                </c:pt>
                <c:pt idx="26441">
                  <c:v>2</c:v>
                </c:pt>
                <c:pt idx="26442">
                  <c:v>0</c:v>
                </c:pt>
                <c:pt idx="26443">
                  <c:v>0</c:v>
                </c:pt>
                <c:pt idx="26444">
                  <c:v>1</c:v>
                </c:pt>
                <c:pt idx="26445">
                  <c:v>0</c:v>
                </c:pt>
                <c:pt idx="26446">
                  <c:v>0</c:v>
                </c:pt>
                <c:pt idx="26447">
                  <c:v>0</c:v>
                </c:pt>
                <c:pt idx="26448">
                  <c:v>4</c:v>
                </c:pt>
                <c:pt idx="26449">
                  <c:v>0</c:v>
                </c:pt>
                <c:pt idx="26450">
                  <c:v>5</c:v>
                </c:pt>
                <c:pt idx="26451">
                  <c:v>3</c:v>
                </c:pt>
                <c:pt idx="26452">
                  <c:v>0</c:v>
                </c:pt>
                <c:pt idx="26453">
                  <c:v>0</c:v>
                </c:pt>
                <c:pt idx="26454">
                  <c:v>0</c:v>
                </c:pt>
                <c:pt idx="26455">
                  <c:v>0</c:v>
                </c:pt>
                <c:pt idx="26456">
                  <c:v>0</c:v>
                </c:pt>
                <c:pt idx="26457">
                  <c:v>5</c:v>
                </c:pt>
                <c:pt idx="26458">
                  <c:v>0</c:v>
                </c:pt>
                <c:pt idx="26459">
                  <c:v>1</c:v>
                </c:pt>
                <c:pt idx="26460">
                  <c:v>2</c:v>
                </c:pt>
                <c:pt idx="26461">
                  <c:v>2</c:v>
                </c:pt>
                <c:pt idx="26462">
                  <c:v>0</c:v>
                </c:pt>
                <c:pt idx="26463">
                  <c:v>0</c:v>
                </c:pt>
                <c:pt idx="26464">
                  <c:v>0</c:v>
                </c:pt>
                <c:pt idx="26465">
                  <c:v>2</c:v>
                </c:pt>
                <c:pt idx="26466">
                  <c:v>0</c:v>
                </c:pt>
                <c:pt idx="26467">
                  <c:v>0</c:v>
                </c:pt>
                <c:pt idx="26468">
                  <c:v>0</c:v>
                </c:pt>
                <c:pt idx="26469">
                  <c:v>2</c:v>
                </c:pt>
                <c:pt idx="26470">
                  <c:v>0</c:v>
                </c:pt>
                <c:pt idx="26471">
                  <c:v>7</c:v>
                </c:pt>
                <c:pt idx="26472">
                  <c:v>0</c:v>
                </c:pt>
                <c:pt idx="26473">
                  <c:v>0</c:v>
                </c:pt>
                <c:pt idx="26474">
                  <c:v>5</c:v>
                </c:pt>
                <c:pt idx="26475">
                  <c:v>2</c:v>
                </c:pt>
                <c:pt idx="26476">
                  <c:v>5</c:v>
                </c:pt>
                <c:pt idx="26477">
                  <c:v>0</c:v>
                </c:pt>
                <c:pt idx="26478">
                  <c:v>1</c:v>
                </c:pt>
                <c:pt idx="26479">
                  <c:v>0</c:v>
                </c:pt>
                <c:pt idx="26480">
                  <c:v>7</c:v>
                </c:pt>
                <c:pt idx="26481">
                  <c:v>6</c:v>
                </c:pt>
                <c:pt idx="26482">
                  <c:v>6</c:v>
                </c:pt>
                <c:pt idx="26483">
                  <c:v>0</c:v>
                </c:pt>
                <c:pt idx="26484">
                  <c:v>2</c:v>
                </c:pt>
                <c:pt idx="26485">
                  <c:v>1</c:v>
                </c:pt>
                <c:pt idx="26486">
                  <c:v>0</c:v>
                </c:pt>
                <c:pt idx="26487">
                  <c:v>29</c:v>
                </c:pt>
                <c:pt idx="26488">
                  <c:v>2</c:v>
                </c:pt>
                <c:pt idx="26489">
                  <c:v>6</c:v>
                </c:pt>
                <c:pt idx="26490">
                  <c:v>1</c:v>
                </c:pt>
                <c:pt idx="26491">
                  <c:v>5</c:v>
                </c:pt>
                <c:pt idx="26492">
                  <c:v>4</c:v>
                </c:pt>
                <c:pt idx="26493">
                  <c:v>72</c:v>
                </c:pt>
                <c:pt idx="26494">
                  <c:v>2</c:v>
                </c:pt>
                <c:pt idx="26495">
                  <c:v>5</c:v>
                </c:pt>
                <c:pt idx="26496">
                  <c:v>1</c:v>
                </c:pt>
                <c:pt idx="26497">
                  <c:v>8</c:v>
                </c:pt>
                <c:pt idx="26498">
                  <c:v>0</c:v>
                </c:pt>
                <c:pt idx="26499">
                  <c:v>4</c:v>
                </c:pt>
                <c:pt idx="26500">
                  <c:v>1</c:v>
                </c:pt>
                <c:pt idx="26501">
                  <c:v>4</c:v>
                </c:pt>
                <c:pt idx="26502">
                  <c:v>3</c:v>
                </c:pt>
                <c:pt idx="26503">
                  <c:v>5</c:v>
                </c:pt>
                <c:pt idx="26504">
                  <c:v>4</c:v>
                </c:pt>
                <c:pt idx="26505">
                  <c:v>0</c:v>
                </c:pt>
                <c:pt idx="26506">
                  <c:v>6</c:v>
                </c:pt>
                <c:pt idx="26507">
                  <c:v>1</c:v>
                </c:pt>
                <c:pt idx="26508">
                  <c:v>1</c:v>
                </c:pt>
                <c:pt idx="26509">
                  <c:v>2</c:v>
                </c:pt>
                <c:pt idx="26510">
                  <c:v>1</c:v>
                </c:pt>
                <c:pt idx="26511">
                  <c:v>3</c:v>
                </c:pt>
                <c:pt idx="26512">
                  <c:v>2</c:v>
                </c:pt>
                <c:pt idx="26513">
                  <c:v>4</c:v>
                </c:pt>
                <c:pt idx="26514">
                  <c:v>4</c:v>
                </c:pt>
                <c:pt idx="26515">
                  <c:v>5</c:v>
                </c:pt>
                <c:pt idx="26516">
                  <c:v>1</c:v>
                </c:pt>
                <c:pt idx="26517">
                  <c:v>22</c:v>
                </c:pt>
                <c:pt idx="26518">
                  <c:v>0</c:v>
                </c:pt>
                <c:pt idx="26519">
                  <c:v>0</c:v>
                </c:pt>
                <c:pt idx="26520">
                  <c:v>3</c:v>
                </c:pt>
                <c:pt idx="26521">
                  <c:v>0</c:v>
                </c:pt>
                <c:pt idx="26522">
                  <c:v>0</c:v>
                </c:pt>
                <c:pt idx="26523">
                  <c:v>2</c:v>
                </c:pt>
                <c:pt idx="26524">
                  <c:v>0</c:v>
                </c:pt>
                <c:pt idx="26525">
                  <c:v>0</c:v>
                </c:pt>
                <c:pt idx="26526">
                  <c:v>0</c:v>
                </c:pt>
                <c:pt idx="26527">
                  <c:v>0</c:v>
                </c:pt>
                <c:pt idx="26528">
                  <c:v>0</c:v>
                </c:pt>
                <c:pt idx="26529">
                  <c:v>1</c:v>
                </c:pt>
                <c:pt idx="26530">
                  <c:v>0</c:v>
                </c:pt>
                <c:pt idx="26531">
                  <c:v>0</c:v>
                </c:pt>
                <c:pt idx="26532">
                  <c:v>0</c:v>
                </c:pt>
                <c:pt idx="26533">
                  <c:v>0</c:v>
                </c:pt>
                <c:pt idx="26534">
                  <c:v>0</c:v>
                </c:pt>
                <c:pt idx="26535">
                  <c:v>0</c:v>
                </c:pt>
                <c:pt idx="26536">
                  <c:v>1</c:v>
                </c:pt>
                <c:pt idx="26537">
                  <c:v>0</c:v>
                </c:pt>
                <c:pt idx="26538">
                  <c:v>0</c:v>
                </c:pt>
                <c:pt idx="26539">
                  <c:v>0</c:v>
                </c:pt>
                <c:pt idx="26540">
                  <c:v>5</c:v>
                </c:pt>
                <c:pt idx="26541">
                  <c:v>0</c:v>
                </c:pt>
                <c:pt idx="26542">
                  <c:v>0</c:v>
                </c:pt>
                <c:pt idx="26543">
                  <c:v>4</c:v>
                </c:pt>
                <c:pt idx="26544">
                  <c:v>0</c:v>
                </c:pt>
                <c:pt idx="26545">
                  <c:v>1</c:v>
                </c:pt>
                <c:pt idx="26546">
                  <c:v>0</c:v>
                </c:pt>
                <c:pt idx="26547">
                  <c:v>0</c:v>
                </c:pt>
                <c:pt idx="26548">
                  <c:v>0</c:v>
                </c:pt>
                <c:pt idx="26549">
                  <c:v>0</c:v>
                </c:pt>
                <c:pt idx="26550">
                  <c:v>1</c:v>
                </c:pt>
                <c:pt idx="26551">
                  <c:v>1</c:v>
                </c:pt>
                <c:pt idx="26552">
                  <c:v>1</c:v>
                </c:pt>
                <c:pt idx="26553">
                  <c:v>2</c:v>
                </c:pt>
                <c:pt idx="26554">
                  <c:v>7</c:v>
                </c:pt>
                <c:pt idx="26555">
                  <c:v>4</c:v>
                </c:pt>
                <c:pt idx="26556">
                  <c:v>3</c:v>
                </c:pt>
                <c:pt idx="26557">
                  <c:v>0</c:v>
                </c:pt>
                <c:pt idx="26558">
                  <c:v>0</c:v>
                </c:pt>
                <c:pt idx="26559">
                  <c:v>2</c:v>
                </c:pt>
                <c:pt idx="26560">
                  <c:v>0</c:v>
                </c:pt>
                <c:pt idx="26561">
                  <c:v>2</c:v>
                </c:pt>
                <c:pt idx="26562">
                  <c:v>2</c:v>
                </c:pt>
                <c:pt idx="26563">
                  <c:v>1</c:v>
                </c:pt>
                <c:pt idx="26564">
                  <c:v>4</c:v>
                </c:pt>
                <c:pt idx="26565">
                  <c:v>2</c:v>
                </c:pt>
                <c:pt idx="26566">
                  <c:v>2</c:v>
                </c:pt>
                <c:pt idx="26567">
                  <c:v>0</c:v>
                </c:pt>
                <c:pt idx="26568">
                  <c:v>1</c:v>
                </c:pt>
                <c:pt idx="26569">
                  <c:v>0</c:v>
                </c:pt>
                <c:pt idx="26570">
                  <c:v>0</c:v>
                </c:pt>
                <c:pt idx="26571">
                  <c:v>0</c:v>
                </c:pt>
                <c:pt idx="26572">
                  <c:v>0</c:v>
                </c:pt>
                <c:pt idx="26573">
                  <c:v>0</c:v>
                </c:pt>
                <c:pt idx="26574">
                  <c:v>0</c:v>
                </c:pt>
                <c:pt idx="26575">
                  <c:v>0</c:v>
                </c:pt>
                <c:pt idx="26576">
                  <c:v>0</c:v>
                </c:pt>
                <c:pt idx="26577">
                  <c:v>0</c:v>
                </c:pt>
                <c:pt idx="26578">
                  <c:v>1</c:v>
                </c:pt>
                <c:pt idx="26579">
                  <c:v>0</c:v>
                </c:pt>
                <c:pt idx="26580">
                  <c:v>0</c:v>
                </c:pt>
                <c:pt idx="26581">
                  <c:v>1</c:v>
                </c:pt>
                <c:pt idx="26582">
                  <c:v>3</c:v>
                </c:pt>
                <c:pt idx="26583">
                  <c:v>0</c:v>
                </c:pt>
                <c:pt idx="26584">
                  <c:v>9</c:v>
                </c:pt>
                <c:pt idx="26585">
                  <c:v>1</c:v>
                </c:pt>
                <c:pt idx="26586">
                  <c:v>1</c:v>
                </c:pt>
                <c:pt idx="26587">
                  <c:v>0</c:v>
                </c:pt>
                <c:pt idx="26588">
                  <c:v>4</c:v>
                </c:pt>
                <c:pt idx="26589">
                  <c:v>2</c:v>
                </c:pt>
                <c:pt idx="26590">
                  <c:v>2</c:v>
                </c:pt>
                <c:pt idx="26591">
                  <c:v>7</c:v>
                </c:pt>
                <c:pt idx="26592">
                  <c:v>4</c:v>
                </c:pt>
                <c:pt idx="26593">
                  <c:v>8</c:v>
                </c:pt>
                <c:pt idx="26594">
                  <c:v>1</c:v>
                </c:pt>
                <c:pt idx="26595">
                  <c:v>6</c:v>
                </c:pt>
                <c:pt idx="26596">
                  <c:v>2</c:v>
                </c:pt>
                <c:pt idx="26597">
                  <c:v>1</c:v>
                </c:pt>
                <c:pt idx="26598">
                  <c:v>4</c:v>
                </c:pt>
                <c:pt idx="26599">
                  <c:v>1</c:v>
                </c:pt>
                <c:pt idx="26600">
                  <c:v>6</c:v>
                </c:pt>
                <c:pt idx="26601">
                  <c:v>8</c:v>
                </c:pt>
                <c:pt idx="26602">
                  <c:v>2</c:v>
                </c:pt>
                <c:pt idx="26603">
                  <c:v>4</c:v>
                </c:pt>
                <c:pt idx="26604">
                  <c:v>6</c:v>
                </c:pt>
                <c:pt idx="26605">
                  <c:v>3</c:v>
                </c:pt>
                <c:pt idx="26606">
                  <c:v>1</c:v>
                </c:pt>
                <c:pt idx="26607">
                  <c:v>2</c:v>
                </c:pt>
                <c:pt idx="26608">
                  <c:v>2</c:v>
                </c:pt>
                <c:pt idx="26609">
                  <c:v>5</c:v>
                </c:pt>
                <c:pt idx="26610">
                  <c:v>5</c:v>
                </c:pt>
                <c:pt idx="26611">
                  <c:v>8</c:v>
                </c:pt>
                <c:pt idx="26612">
                  <c:v>0</c:v>
                </c:pt>
                <c:pt idx="26613">
                  <c:v>4</c:v>
                </c:pt>
                <c:pt idx="26614">
                  <c:v>6</c:v>
                </c:pt>
                <c:pt idx="26615">
                  <c:v>3</c:v>
                </c:pt>
                <c:pt idx="26616">
                  <c:v>3</c:v>
                </c:pt>
                <c:pt idx="26617">
                  <c:v>1</c:v>
                </c:pt>
                <c:pt idx="26618">
                  <c:v>0</c:v>
                </c:pt>
                <c:pt idx="26619">
                  <c:v>1</c:v>
                </c:pt>
                <c:pt idx="26620">
                  <c:v>22</c:v>
                </c:pt>
                <c:pt idx="26621">
                  <c:v>8</c:v>
                </c:pt>
                <c:pt idx="26622">
                  <c:v>1</c:v>
                </c:pt>
                <c:pt idx="26623">
                  <c:v>5</c:v>
                </c:pt>
                <c:pt idx="26624">
                  <c:v>0</c:v>
                </c:pt>
                <c:pt idx="26625">
                  <c:v>2</c:v>
                </c:pt>
                <c:pt idx="26626">
                  <c:v>2</c:v>
                </c:pt>
                <c:pt idx="26627">
                  <c:v>0</c:v>
                </c:pt>
                <c:pt idx="26628">
                  <c:v>0</c:v>
                </c:pt>
                <c:pt idx="26629">
                  <c:v>0</c:v>
                </c:pt>
                <c:pt idx="26630">
                  <c:v>1</c:v>
                </c:pt>
                <c:pt idx="26631">
                  <c:v>8</c:v>
                </c:pt>
                <c:pt idx="26632">
                  <c:v>2</c:v>
                </c:pt>
                <c:pt idx="26633">
                  <c:v>3</c:v>
                </c:pt>
                <c:pt idx="26634">
                  <c:v>3</c:v>
                </c:pt>
                <c:pt idx="26635">
                  <c:v>10</c:v>
                </c:pt>
                <c:pt idx="26636">
                  <c:v>7</c:v>
                </c:pt>
                <c:pt idx="26637">
                  <c:v>3</c:v>
                </c:pt>
                <c:pt idx="26638">
                  <c:v>5</c:v>
                </c:pt>
                <c:pt idx="26639">
                  <c:v>3</c:v>
                </c:pt>
                <c:pt idx="26640">
                  <c:v>2</c:v>
                </c:pt>
                <c:pt idx="26641">
                  <c:v>0</c:v>
                </c:pt>
                <c:pt idx="26642">
                  <c:v>8</c:v>
                </c:pt>
                <c:pt idx="26643">
                  <c:v>4</c:v>
                </c:pt>
                <c:pt idx="26644">
                  <c:v>2</c:v>
                </c:pt>
                <c:pt idx="26645">
                  <c:v>6</c:v>
                </c:pt>
                <c:pt idx="26646">
                  <c:v>3</c:v>
                </c:pt>
                <c:pt idx="26647">
                  <c:v>5</c:v>
                </c:pt>
                <c:pt idx="26648">
                  <c:v>2</c:v>
                </c:pt>
                <c:pt idx="26649">
                  <c:v>1</c:v>
                </c:pt>
                <c:pt idx="26650">
                  <c:v>1</c:v>
                </c:pt>
                <c:pt idx="26651">
                  <c:v>6</c:v>
                </c:pt>
                <c:pt idx="26652">
                  <c:v>3</c:v>
                </c:pt>
                <c:pt idx="26653">
                  <c:v>2</c:v>
                </c:pt>
                <c:pt idx="26654">
                  <c:v>2</c:v>
                </c:pt>
                <c:pt idx="26655">
                  <c:v>2</c:v>
                </c:pt>
                <c:pt idx="26656">
                  <c:v>1</c:v>
                </c:pt>
                <c:pt idx="26657">
                  <c:v>5</c:v>
                </c:pt>
                <c:pt idx="26658">
                  <c:v>5</c:v>
                </c:pt>
                <c:pt idx="26659">
                  <c:v>2</c:v>
                </c:pt>
                <c:pt idx="26660">
                  <c:v>4</c:v>
                </c:pt>
                <c:pt idx="26661">
                  <c:v>4</c:v>
                </c:pt>
                <c:pt idx="26662">
                  <c:v>0</c:v>
                </c:pt>
                <c:pt idx="26663">
                  <c:v>3</c:v>
                </c:pt>
                <c:pt idx="26664">
                  <c:v>5</c:v>
                </c:pt>
                <c:pt idx="26665">
                  <c:v>0</c:v>
                </c:pt>
                <c:pt idx="26666">
                  <c:v>4</c:v>
                </c:pt>
                <c:pt idx="26667">
                  <c:v>1</c:v>
                </c:pt>
                <c:pt idx="26668">
                  <c:v>1</c:v>
                </c:pt>
                <c:pt idx="26669">
                  <c:v>1</c:v>
                </c:pt>
                <c:pt idx="26670">
                  <c:v>3</c:v>
                </c:pt>
                <c:pt idx="26671">
                  <c:v>4</c:v>
                </c:pt>
                <c:pt idx="26672">
                  <c:v>4</c:v>
                </c:pt>
                <c:pt idx="26673">
                  <c:v>5</c:v>
                </c:pt>
                <c:pt idx="26674">
                  <c:v>4</c:v>
                </c:pt>
                <c:pt idx="26675">
                  <c:v>6</c:v>
                </c:pt>
                <c:pt idx="26676">
                  <c:v>2</c:v>
                </c:pt>
                <c:pt idx="26677">
                  <c:v>13</c:v>
                </c:pt>
                <c:pt idx="26678">
                  <c:v>3</c:v>
                </c:pt>
                <c:pt idx="26679">
                  <c:v>7</c:v>
                </c:pt>
                <c:pt idx="26680">
                  <c:v>1</c:v>
                </c:pt>
                <c:pt idx="26681">
                  <c:v>2</c:v>
                </c:pt>
                <c:pt idx="26682">
                  <c:v>3</c:v>
                </c:pt>
                <c:pt idx="26683">
                  <c:v>1</c:v>
                </c:pt>
                <c:pt idx="26684">
                  <c:v>2</c:v>
                </c:pt>
                <c:pt idx="26685">
                  <c:v>2</c:v>
                </c:pt>
                <c:pt idx="26686">
                  <c:v>10</c:v>
                </c:pt>
                <c:pt idx="26687">
                  <c:v>0</c:v>
                </c:pt>
                <c:pt idx="26688">
                  <c:v>2</c:v>
                </c:pt>
                <c:pt idx="26689">
                  <c:v>5</c:v>
                </c:pt>
                <c:pt idx="26690">
                  <c:v>5</c:v>
                </c:pt>
                <c:pt idx="26691">
                  <c:v>4</c:v>
                </c:pt>
                <c:pt idx="26692">
                  <c:v>4</c:v>
                </c:pt>
                <c:pt idx="26693">
                  <c:v>7</c:v>
                </c:pt>
                <c:pt idx="26694">
                  <c:v>4</c:v>
                </c:pt>
                <c:pt idx="26695">
                  <c:v>4</c:v>
                </c:pt>
                <c:pt idx="26696">
                  <c:v>1</c:v>
                </c:pt>
                <c:pt idx="26697">
                  <c:v>2</c:v>
                </c:pt>
                <c:pt idx="26698">
                  <c:v>9</c:v>
                </c:pt>
                <c:pt idx="26699">
                  <c:v>0</c:v>
                </c:pt>
                <c:pt idx="26700">
                  <c:v>3</c:v>
                </c:pt>
                <c:pt idx="26701">
                  <c:v>2</c:v>
                </c:pt>
                <c:pt idx="26702">
                  <c:v>6</c:v>
                </c:pt>
                <c:pt idx="26703">
                  <c:v>4</c:v>
                </c:pt>
                <c:pt idx="26704">
                  <c:v>2</c:v>
                </c:pt>
                <c:pt idx="26705">
                  <c:v>1</c:v>
                </c:pt>
                <c:pt idx="26706">
                  <c:v>3</c:v>
                </c:pt>
                <c:pt idx="26707">
                  <c:v>6</c:v>
                </c:pt>
                <c:pt idx="26708">
                  <c:v>4</c:v>
                </c:pt>
                <c:pt idx="26709">
                  <c:v>3</c:v>
                </c:pt>
                <c:pt idx="26710">
                  <c:v>1</c:v>
                </c:pt>
                <c:pt idx="26711">
                  <c:v>4</c:v>
                </c:pt>
                <c:pt idx="26712">
                  <c:v>0</c:v>
                </c:pt>
                <c:pt idx="26713">
                  <c:v>0</c:v>
                </c:pt>
                <c:pt idx="26714">
                  <c:v>6</c:v>
                </c:pt>
                <c:pt idx="26715">
                  <c:v>5</c:v>
                </c:pt>
                <c:pt idx="26716">
                  <c:v>1</c:v>
                </c:pt>
                <c:pt idx="26717">
                  <c:v>0</c:v>
                </c:pt>
                <c:pt idx="26718">
                  <c:v>4</c:v>
                </c:pt>
                <c:pt idx="26719">
                  <c:v>3</c:v>
                </c:pt>
                <c:pt idx="26720">
                  <c:v>3</c:v>
                </c:pt>
                <c:pt idx="26721">
                  <c:v>5</c:v>
                </c:pt>
                <c:pt idx="26722">
                  <c:v>5</c:v>
                </c:pt>
                <c:pt idx="26723">
                  <c:v>4</c:v>
                </c:pt>
                <c:pt idx="26724">
                  <c:v>1</c:v>
                </c:pt>
                <c:pt idx="26725">
                  <c:v>3</c:v>
                </c:pt>
                <c:pt idx="26726">
                  <c:v>2</c:v>
                </c:pt>
                <c:pt idx="26727">
                  <c:v>12</c:v>
                </c:pt>
                <c:pt idx="26728">
                  <c:v>0</c:v>
                </c:pt>
                <c:pt idx="26729">
                  <c:v>5</c:v>
                </c:pt>
                <c:pt idx="26730">
                  <c:v>2</c:v>
                </c:pt>
                <c:pt idx="26731">
                  <c:v>0</c:v>
                </c:pt>
                <c:pt idx="26732">
                  <c:v>3</c:v>
                </c:pt>
                <c:pt idx="26733">
                  <c:v>7</c:v>
                </c:pt>
                <c:pt idx="26734">
                  <c:v>10</c:v>
                </c:pt>
                <c:pt idx="26735">
                  <c:v>2</c:v>
                </c:pt>
                <c:pt idx="26736">
                  <c:v>1</c:v>
                </c:pt>
                <c:pt idx="26737">
                  <c:v>6</c:v>
                </c:pt>
                <c:pt idx="26738">
                  <c:v>1</c:v>
                </c:pt>
                <c:pt idx="26739">
                  <c:v>0</c:v>
                </c:pt>
                <c:pt idx="26740">
                  <c:v>6</c:v>
                </c:pt>
                <c:pt idx="26741">
                  <c:v>1</c:v>
                </c:pt>
                <c:pt idx="26742">
                  <c:v>2</c:v>
                </c:pt>
                <c:pt idx="26743">
                  <c:v>3</c:v>
                </c:pt>
                <c:pt idx="26744">
                  <c:v>6</c:v>
                </c:pt>
                <c:pt idx="26745">
                  <c:v>8</c:v>
                </c:pt>
                <c:pt idx="26746">
                  <c:v>6</c:v>
                </c:pt>
                <c:pt idx="26747">
                  <c:v>0</c:v>
                </c:pt>
                <c:pt idx="26748">
                  <c:v>2</c:v>
                </c:pt>
                <c:pt idx="26749">
                  <c:v>2</c:v>
                </c:pt>
                <c:pt idx="26750">
                  <c:v>1</c:v>
                </c:pt>
                <c:pt idx="26751">
                  <c:v>3</c:v>
                </c:pt>
                <c:pt idx="26752">
                  <c:v>0</c:v>
                </c:pt>
                <c:pt idx="26753">
                  <c:v>3</c:v>
                </c:pt>
                <c:pt idx="26754">
                  <c:v>4</c:v>
                </c:pt>
                <c:pt idx="26755">
                  <c:v>3</c:v>
                </c:pt>
                <c:pt idx="26756">
                  <c:v>3</c:v>
                </c:pt>
                <c:pt idx="26757">
                  <c:v>5</c:v>
                </c:pt>
                <c:pt idx="26758">
                  <c:v>0</c:v>
                </c:pt>
                <c:pt idx="26759">
                  <c:v>2</c:v>
                </c:pt>
                <c:pt idx="26760">
                  <c:v>2</c:v>
                </c:pt>
                <c:pt idx="26761">
                  <c:v>6</c:v>
                </c:pt>
                <c:pt idx="26762">
                  <c:v>4</c:v>
                </c:pt>
                <c:pt idx="26763">
                  <c:v>5</c:v>
                </c:pt>
                <c:pt idx="26764">
                  <c:v>3</c:v>
                </c:pt>
                <c:pt idx="26765">
                  <c:v>12</c:v>
                </c:pt>
                <c:pt idx="26766">
                  <c:v>3</c:v>
                </c:pt>
                <c:pt idx="26767">
                  <c:v>3</c:v>
                </c:pt>
                <c:pt idx="26768">
                  <c:v>1</c:v>
                </c:pt>
                <c:pt idx="26769">
                  <c:v>3</c:v>
                </c:pt>
                <c:pt idx="26770">
                  <c:v>1</c:v>
                </c:pt>
                <c:pt idx="26771">
                  <c:v>3</c:v>
                </c:pt>
                <c:pt idx="26772">
                  <c:v>5</c:v>
                </c:pt>
                <c:pt idx="26773">
                  <c:v>4</c:v>
                </c:pt>
                <c:pt idx="26774">
                  <c:v>3</c:v>
                </c:pt>
                <c:pt idx="26775">
                  <c:v>9</c:v>
                </c:pt>
                <c:pt idx="26776">
                  <c:v>2</c:v>
                </c:pt>
                <c:pt idx="26777">
                  <c:v>1</c:v>
                </c:pt>
                <c:pt idx="26778">
                  <c:v>6</c:v>
                </c:pt>
                <c:pt idx="26779">
                  <c:v>8</c:v>
                </c:pt>
                <c:pt idx="26780">
                  <c:v>3</c:v>
                </c:pt>
                <c:pt idx="26781">
                  <c:v>8</c:v>
                </c:pt>
                <c:pt idx="26782">
                  <c:v>4</c:v>
                </c:pt>
                <c:pt idx="26783">
                  <c:v>6</c:v>
                </c:pt>
                <c:pt idx="26784">
                  <c:v>5</c:v>
                </c:pt>
                <c:pt idx="26785">
                  <c:v>12</c:v>
                </c:pt>
                <c:pt idx="26786">
                  <c:v>1</c:v>
                </c:pt>
                <c:pt idx="26787">
                  <c:v>3</c:v>
                </c:pt>
                <c:pt idx="26788">
                  <c:v>3</c:v>
                </c:pt>
                <c:pt idx="26789">
                  <c:v>2</c:v>
                </c:pt>
                <c:pt idx="26790">
                  <c:v>1</c:v>
                </c:pt>
                <c:pt idx="26791">
                  <c:v>2</c:v>
                </c:pt>
                <c:pt idx="26792">
                  <c:v>2</c:v>
                </c:pt>
                <c:pt idx="26793">
                  <c:v>5</c:v>
                </c:pt>
                <c:pt idx="26794">
                  <c:v>4</c:v>
                </c:pt>
                <c:pt idx="26795">
                  <c:v>3</c:v>
                </c:pt>
                <c:pt idx="26796">
                  <c:v>1</c:v>
                </c:pt>
                <c:pt idx="26797">
                  <c:v>8</c:v>
                </c:pt>
                <c:pt idx="26798">
                  <c:v>2</c:v>
                </c:pt>
                <c:pt idx="26799">
                  <c:v>0</c:v>
                </c:pt>
                <c:pt idx="26800">
                  <c:v>3</c:v>
                </c:pt>
                <c:pt idx="26801">
                  <c:v>3</c:v>
                </c:pt>
                <c:pt idx="26802">
                  <c:v>1</c:v>
                </c:pt>
                <c:pt idx="26803">
                  <c:v>3</c:v>
                </c:pt>
                <c:pt idx="26804">
                  <c:v>3</c:v>
                </c:pt>
                <c:pt idx="26805">
                  <c:v>3</c:v>
                </c:pt>
                <c:pt idx="26806">
                  <c:v>3</c:v>
                </c:pt>
                <c:pt idx="26807">
                  <c:v>1</c:v>
                </c:pt>
                <c:pt idx="26808">
                  <c:v>3</c:v>
                </c:pt>
                <c:pt idx="26809">
                  <c:v>2</c:v>
                </c:pt>
                <c:pt idx="26810">
                  <c:v>2</c:v>
                </c:pt>
                <c:pt idx="26811">
                  <c:v>0</c:v>
                </c:pt>
                <c:pt idx="26812">
                  <c:v>5</c:v>
                </c:pt>
                <c:pt idx="26813">
                  <c:v>0</c:v>
                </c:pt>
                <c:pt idx="26814">
                  <c:v>7</c:v>
                </c:pt>
                <c:pt idx="26815">
                  <c:v>10</c:v>
                </c:pt>
                <c:pt idx="26816">
                  <c:v>4</c:v>
                </c:pt>
                <c:pt idx="26817">
                  <c:v>3</c:v>
                </c:pt>
                <c:pt idx="26818">
                  <c:v>3</c:v>
                </c:pt>
                <c:pt idx="26819">
                  <c:v>0</c:v>
                </c:pt>
                <c:pt idx="26820">
                  <c:v>7</c:v>
                </c:pt>
                <c:pt idx="26821">
                  <c:v>2</c:v>
                </c:pt>
                <c:pt idx="26822">
                  <c:v>3</c:v>
                </c:pt>
                <c:pt idx="26823">
                  <c:v>3</c:v>
                </c:pt>
                <c:pt idx="26824">
                  <c:v>0</c:v>
                </c:pt>
                <c:pt idx="26825">
                  <c:v>4</c:v>
                </c:pt>
                <c:pt idx="26826">
                  <c:v>3</c:v>
                </c:pt>
                <c:pt idx="26827">
                  <c:v>1</c:v>
                </c:pt>
                <c:pt idx="26828">
                  <c:v>6</c:v>
                </c:pt>
                <c:pt idx="26829">
                  <c:v>3</c:v>
                </c:pt>
                <c:pt idx="26830">
                  <c:v>0</c:v>
                </c:pt>
                <c:pt idx="26831">
                  <c:v>3</c:v>
                </c:pt>
                <c:pt idx="26832">
                  <c:v>2</c:v>
                </c:pt>
                <c:pt idx="26833">
                  <c:v>6</c:v>
                </c:pt>
                <c:pt idx="26834">
                  <c:v>3</c:v>
                </c:pt>
                <c:pt idx="26835">
                  <c:v>0</c:v>
                </c:pt>
                <c:pt idx="26836">
                  <c:v>0</c:v>
                </c:pt>
                <c:pt idx="26837">
                  <c:v>8</c:v>
                </c:pt>
                <c:pt idx="26838">
                  <c:v>5</c:v>
                </c:pt>
                <c:pt idx="26839">
                  <c:v>4</c:v>
                </c:pt>
                <c:pt idx="26840">
                  <c:v>2</c:v>
                </c:pt>
                <c:pt idx="26841">
                  <c:v>3</c:v>
                </c:pt>
                <c:pt idx="26842">
                  <c:v>4</c:v>
                </c:pt>
                <c:pt idx="26843">
                  <c:v>2</c:v>
                </c:pt>
                <c:pt idx="26844">
                  <c:v>2</c:v>
                </c:pt>
                <c:pt idx="26845">
                  <c:v>5</c:v>
                </c:pt>
                <c:pt idx="26846">
                  <c:v>9</c:v>
                </c:pt>
                <c:pt idx="26847">
                  <c:v>1</c:v>
                </c:pt>
                <c:pt idx="26848">
                  <c:v>1</c:v>
                </c:pt>
                <c:pt idx="26849">
                  <c:v>2</c:v>
                </c:pt>
                <c:pt idx="26850">
                  <c:v>3</c:v>
                </c:pt>
                <c:pt idx="26851">
                  <c:v>3</c:v>
                </c:pt>
                <c:pt idx="26852">
                  <c:v>5</c:v>
                </c:pt>
                <c:pt idx="26853">
                  <c:v>2</c:v>
                </c:pt>
                <c:pt idx="26854">
                  <c:v>3</c:v>
                </c:pt>
                <c:pt idx="26855">
                  <c:v>2</c:v>
                </c:pt>
                <c:pt idx="26856">
                  <c:v>4</c:v>
                </c:pt>
                <c:pt idx="26857">
                  <c:v>3</c:v>
                </c:pt>
                <c:pt idx="26858">
                  <c:v>3</c:v>
                </c:pt>
                <c:pt idx="26859">
                  <c:v>1</c:v>
                </c:pt>
                <c:pt idx="26860">
                  <c:v>0</c:v>
                </c:pt>
                <c:pt idx="26861">
                  <c:v>0</c:v>
                </c:pt>
                <c:pt idx="26862">
                  <c:v>10</c:v>
                </c:pt>
                <c:pt idx="26863">
                  <c:v>13</c:v>
                </c:pt>
                <c:pt idx="26864">
                  <c:v>4</c:v>
                </c:pt>
                <c:pt idx="26865">
                  <c:v>3</c:v>
                </c:pt>
                <c:pt idx="26866">
                  <c:v>4</c:v>
                </c:pt>
                <c:pt idx="26867">
                  <c:v>0</c:v>
                </c:pt>
                <c:pt idx="26868">
                  <c:v>0</c:v>
                </c:pt>
                <c:pt idx="26869">
                  <c:v>1</c:v>
                </c:pt>
                <c:pt idx="26870">
                  <c:v>0</c:v>
                </c:pt>
                <c:pt idx="26871">
                  <c:v>3</c:v>
                </c:pt>
                <c:pt idx="26872">
                  <c:v>10</c:v>
                </c:pt>
                <c:pt idx="26873">
                  <c:v>2</c:v>
                </c:pt>
                <c:pt idx="26874">
                  <c:v>5</c:v>
                </c:pt>
                <c:pt idx="26875">
                  <c:v>0</c:v>
                </c:pt>
                <c:pt idx="26876">
                  <c:v>0</c:v>
                </c:pt>
                <c:pt idx="26877">
                  <c:v>3</c:v>
                </c:pt>
                <c:pt idx="26878">
                  <c:v>3</c:v>
                </c:pt>
                <c:pt idx="26879">
                  <c:v>0</c:v>
                </c:pt>
                <c:pt idx="26880">
                  <c:v>0</c:v>
                </c:pt>
                <c:pt idx="26881">
                  <c:v>1</c:v>
                </c:pt>
                <c:pt idx="26882">
                  <c:v>3</c:v>
                </c:pt>
                <c:pt idx="26883">
                  <c:v>4</c:v>
                </c:pt>
                <c:pt idx="26884">
                  <c:v>0</c:v>
                </c:pt>
                <c:pt idx="26885">
                  <c:v>2</c:v>
                </c:pt>
                <c:pt idx="26886">
                  <c:v>5</c:v>
                </c:pt>
                <c:pt idx="26887">
                  <c:v>1</c:v>
                </c:pt>
                <c:pt idx="26888">
                  <c:v>8</c:v>
                </c:pt>
                <c:pt idx="26889">
                  <c:v>1</c:v>
                </c:pt>
                <c:pt idx="26890">
                  <c:v>11</c:v>
                </c:pt>
                <c:pt idx="26891">
                  <c:v>4</c:v>
                </c:pt>
                <c:pt idx="26892">
                  <c:v>0</c:v>
                </c:pt>
                <c:pt idx="26893">
                  <c:v>0</c:v>
                </c:pt>
                <c:pt idx="26894">
                  <c:v>2</c:v>
                </c:pt>
                <c:pt idx="26895">
                  <c:v>5</c:v>
                </c:pt>
                <c:pt idx="26896">
                  <c:v>0</c:v>
                </c:pt>
                <c:pt idx="26897">
                  <c:v>7</c:v>
                </c:pt>
                <c:pt idx="26898">
                  <c:v>2</c:v>
                </c:pt>
                <c:pt idx="26899">
                  <c:v>3</c:v>
                </c:pt>
                <c:pt idx="26900">
                  <c:v>4</c:v>
                </c:pt>
                <c:pt idx="26901">
                  <c:v>5</c:v>
                </c:pt>
                <c:pt idx="26902">
                  <c:v>1</c:v>
                </c:pt>
                <c:pt idx="26903">
                  <c:v>0</c:v>
                </c:pt>
                <c:pt idx="26904">
                  <c:v>2</c:v>
                </c:pt>
                <c:pt idx="26905">
                  <c:v>8</c:v>
                </c:pt>
                <c:pt idx="26906">
                  <c:v>2</c:v>
                </c:pt>
                <c:pt idx="26907">
                  <c:v>0</c:v>
                </c:pt>
                <c:pt idx="26908">
                  <c:v>0</c:v>
                </c:pt>
                <c:pt idx="26909">
                  <c:v>0</c:v>
                </c:pt>
                <c:pt idx="26910">
                  <c:v>6</c:v>
                </c:pt>
                <c:pt idx="26911">
                  <c:v>2</c:v>
                </c:pt>
                <c:pt idx="26912">
                  <c:v>13</c:v>
                </c:pt>
                <c:pt idx="26913">
                  <c:v>7</c:v>
                </c:pt>
                <c:pt idx="26914">
                  <c:v>2</c:v>
                </c:pt>
                <c:pt idx="26915">
                  <c:v>3</c:v>
                </c:pt>
                <c:pt idx="26916">
                  <c:v>2</c:v>
                </c:pt>
                <c:pt idx="26917">
                  <c:v>0</c:v>
                </c:pt>
                <c:pt idx="26918">
                  <c:v>0</c:v>
                </c:pt>
                <c:pt idx="26919">
                  <c:v>6</c:v>
                </c:pt>
                <c:pt idx="26920">
                  <c:v>1</c:v>
                </c:pt>
                <c:pt idx="26921">
                  <c:v>6</c:v>
                </c:pt>
                <c:pt idx="26922">
                  <c:v>4</c:v>
                </c:pt>
                <c:pt idx="26923">
                  <c:v>3</c:v>
                </c:pt>
                <c:pt idx="26924">
                  <c:v>2</c:v>
                </c:pt>
                <c:pt idx="26925">
                  <c:v>1</c:v>
                </c:pt>
                <c:pt idx="26926">
                  <c:v>9</c:v>
                </c:pt>
                <c:pt idx="26927">
                  <c:v>6</c:v>
                </c:pt>
                <c:pt idx="26928">
                  <c:v>4</c:v>
                </c:pt>
                <c:pt idx="26929">
                  <c:v>7</c:v>
                </c:pt>
                <c:pt idx="26930">
                  <c:v>2</c:v>
                </c:pt>
                <c:pt idx="26931">
                  <c:v>0</c:v>
                </c:pt>
                <c:pt idx="26932">
                  <c:v>8</c:v>
                </c:pt>
                <c:pt idx="26933">
                  <c:v>5</c:v>
                </c:pt>
                <c:pt idx="26934">
                  <c:v>7</c:v>
                </c:pt>
                <c:pt idx="26935">
                  <c:v>1</c:v>
                </c:pt>
                <c:pt idx="26936">
                  <c:v>1</c:v>
                </c:pt>
                <c:pt idx="26937">
                  <c:v>6</c:v>
                </c:pt>
                <c:pt idx="26938">
                  <c:v>7</c:v>
                </c:pt>
                <c:pt idx="26939">
                  <c:v>9</c:v>
                </c:pt>
                <c:pt idx="26940">
                  <c:v>7</c:v>
                </c:pt>
                <c:pt idx="26941">
                  <c:v>2</c:v>
                </c:pt>
                <c:pt idx="26942">
                  <c:v>5</c:v>
                </c:pt>
                <c:pt idx="26943">
                  <c:v>4</c:v>
                </c:pt>
                <c:pt idx="26944">
                  <c:v>10</c:v>
                </c:pt>
                <c:pt idx="26945">
                  <c:v>5</c:v>
                </c:pt>
                <c:pt idx="26946">
                  <c:v>10</c:v>
                </c:pt>
                <c:pt idx="26947">
                  <c:v>2</c:v>
                </c:pt>
                <c:pt idx="26948">
                  <c:v>1</c:v>
                </c:pt>
                <c:pt idx="26949">
                  <c:v>10</c:v>
                </c:pt>
                <c:pt idx="26950">
                  <c:v>3</c:v>
                </c:pt>
                <c:pt idx="26951">
                  <c:v>4</c:v>
                </c:pt>
                <c:pt idx="26952">
                  <c:v>2</c:v>
                </c:pt>
                <c:pt idx="26953">
                  <c:v>1</c:v>
                </c:pt>
                <c:pt idx="26954">
                  <c:v>5</c:v>
                </c:pt>
                <c:pt idx="26955">
                  <c:v>7</c:v>
                </c:pt>
                <c:pt idx="26956">
                  <c:v>4</c:v>
                </c:pt>
                <c:pt idx="26957">
                  <c:v>2</c:v>
                </c:pt>
                <c:pt idx="26958">
                  <c:v>2</c:v>
                </c:pt>
                <c:pt idx="26959">
                  <c:v>0</c:v>
                </c:pt>
                <c:pt idx="26960">
                  <c:v>1</c:v>
                </c:pt>
                <c:pt idx="26961">
                  <c:v>0</c:v>
                </c:pt>
                <c:pt idx="26962">
                  <c:v>2</c:v>
                </c:pt>
                <c:pt idx="26963">
                  <c:v>0</c:v>
                </c:pt>
                <c:pt idx="26964">
                  <c:v>1</c:v>
                </c:pt>
                <c:pt idx="26965">
                  <c:v>2</c:v>
                </c:pt>
                <c:pt idx="26966">
                  <c:v>0</c:v>
                </c:pt>
                <c:pt idx="26967">
                  <c:v>6</c:v>
                </c:pt>
                <c:pt idx="26968">
                  <c:v>0</c:v>
                </c:pt>
                <c:pt idx="26969">
                  <c:v>0</c:v>
                </c:pt>
                <c:pt idx="26970">
                  <c:v>0</c:v>
                </c:pt>
                <c:pt idx="26971">
                  <c:v>0</c:v>
                </c:pt>
                <c:pt idx="26972">
                  <c:v>3</c:v>
                </c:pt>
                <c:pt idx="26973">
                  <c:v>0</c:v>
                </c:pt>
                <c:pt idx="26974">
                  <c:v>0</c:v>
                </c:pt>
                <c:pt idx="26975">
                  <c:v>0</c:v>
                </c:pt>
                <c:pt idx="26976">
                  <c:v>0</c:v>
                </c:pt>
                <c:pt idx="26977">
                  <c:v>7</c:v>
                </c:pt>
                <c:pt idx="26978">
                  <c:v>2</c:v>
                </c:pt>
                <c:pt idx="26979">
                  <c:v>2</c:v>
                </c:pt>
                <c:pt idx="26980">
                  <c:v>0</c:v>
                </c:pt>
                <c:pt idx="26981">
                  <c:v>4</c:v>
                </c:pt>
                <c:pt idx="26982">
                  <c:v>0</c:v>
                </c:pt>
                <c:pt idx="26983">
                  <c:v>1</c:v>
                </c:pt>
                <c:pt idx="26984">
                  <c:v>0</c:v>
                </c:pt>
                <c:pt idx="26985">
                  <c:v>2</c:v>
                </c:pt>
                <c:pt idx="26986">
                  <c:v>2</c:v>
                </c:pt>
                <c:pt idx="26987">
                  <c:v>0</c:v>
                </c:pt>
                <c:pt idx="26988">
                  <c:v>0</c:v>
                </c:pt>
                <c:pt idx="26989">
                  <c:v>1</c:v>
                </c:pt>
                <c:pt idx="26990">
                  <c:v>0</c:v>
                </c:pt>
                <c:pt idx="26991">
                  <c:v>0</c:v>
                </c:pt>
                <c:pt idx="26992">
                  <c:v>0</c:v>
                </c:pt>
                <c:pt idx="26993">
                  <c:v>2</c:v>
                </c:pt>
                <c:pt idx="26994">
                  <c:v>0</c:v>
                </c:pt>
                <c:pt idx="26995">
                  <c:v>0</c:v>
                </c:pt>
                <c:pt idx="26996">
                  <c:v>3</c:v>
                </c:pt>
                <c:pt idx="26997">
                  <c:v>0</c:v>
                </c:pt>
                <c:pt idx="26998">
                  <c:v>0</c:v>
                </c:pt>
                <c:pt idx="26999">
                  <c:v>0</c:v>
                </c:pt>
                <c:pt idx="27000">
                  <c:v>1</c:v>
                </c:pt>
                <c:pt idx="27001">
                  <c:v>1</c:v>
                </c:pt>
                <c:pt idx="27002">
                  <c:v>2</c:v>
                </c:pt>
                <c:pt idx="27003">
                  <c:v>0</c:v>
                </c:pt>
                <c:pt idx="27004">
                  <c:v>0</c:v>
                </c:pt>
                <c:pt idx="27005">
                  <c:v>6</c:v>
                </c:pt>
                <c:pt idx="27006">
                  <c:v>0</c:v>
                </c:pt>
                <c:pt idx="27007">
                  <c:v>0</c:v>
                </c:pt>
                <c:pt idx="27008">
                  <c:v>0</c:v>
                </c:pt>
                <c:pt idx="27009">
                  <c:v>3</c:v>
                </c:pt>
                <c:pt idx="27010">
                  <c:v>5</c:v>
                </c:pt>
                <c:pt idx="27011">
                  <c:v>0</c:v>
                </c:pt>
                <c:pt idx="27012">
                  <c:v>0</c:v>
                </c:pt>
                <c:pt idx="27013">
                  <c:v>0</c:v>
                </c:pt>
                <c:pt idx="27014">
                  <c:v>0</c:v>
                </c:pt>
                <c:pt idx="27015">
                  <c:v>4</c:v>
                </c:pt>
                <c:pt idx="27016">
                  <c:v>3</c:v>
                </c:pt>
                <c:pt idx="27017">
                  <c:v>2</c:v>
                </c:pt>
                <c:pt idx="27018">
                  <c:v>0</c:v>
                </c:pt>
                <c:pt idx="27019">
                  <c:v>1</c:v>
                </c:pt>
                <c:pt idx="27020">
                  <c:v>0</c:v>
                </c:pt>
                <c:pt idx="27021">
                  <c:v>0</c:v>
                </c:pt>
                <c:pt idx="27022">
                  <c:v>0</c:v>
                </c:pt>
                <c:pt idx="27023">
                  <c:v>0</c:v>
                </c:pt>
                <c:pt idx="27024">
                  <c:v>0</c:v>
                </c:pt>
                <c:pt idx="27025">
                  <c:v>0</c:v>
                </c:pt>
                <c:pt idx="27026">
                  <c:v>0</c:v>
                </c:pt>
                <c:pt idx="27027">
                  <c:v>0</c:v>
                </c:pt>
                <c:pt idx="27028">
                  <c:v>4</c:v>
                </c:pt>
                <c:pt idx="27029">
                  <c:v>10</c:v>
                </c:pt>
                <c:pt idx="27030">
                  <c:v>3</c:v>
                </c:pt>
                <c:pt idx="27031">
                  <c:v>1</c:v>
                </c:pt>
                <c:pt idx="27032">
                  <c:v>0</c:v>
                </c:pt>
                <c:pt idx="27033">
                  <c:v>0</c:v>
                </c:pt>
                <c:pt idx="27034">
                  <c:v>0</c:v>
                </c:pt>
                <c:pt idx="27035">
                  <c:v>0</c:v>
                </c:pt>
                <c:pt idx="27036">
                  <c:v>0</c:v>
                </c:pt>
                <c:pt idx="27037">
                  <c:v>3</c:v>
                </c:pt>
                <c:pt idx="27038">
                  <c:v>0</c:v>
                </c:pt>
                <c:pt idx="27039">
                  <c:v>5</c:v>
                </c:pt>
                <c:pt idx="27040">
                  <c:v>0</c:v>
                </c:pt>
                <c:pt idx="27041">
                  <c:v>2</c:v>
                </c:pt>
                <c:pt idx="27042">
                  <c:v>1</c:v>
                </c:pt>
                <c:pt idx="27043">
                  <c:v>2</c:v>
                </c:pt>
                <c:pt idx="27044">
                  <c:v>0</c:v>
                </c:pt>
                <c:pt idx="27045">
                  <c:v>4</c:v>
                </c:pt>
                <c:pt idx="27046">
                  <c:v>1</c:v>
                </c:pt>
                <c:pt idx="27047">
                  <c:v>1</c:v>
                </c:pt>
                <c:pt idx="27048">
                  <c:v>0</c:v>
                </c:pt>
                <c:pt idx="27049">
                  <c:v>1</c:v>
                </c:pt>
                <c:pt idx="27050">
                  <c:v>0</c:v>
                </c:pt>
                <c:pt idx="27051">
                  <c:v>5</c:v>
                </c:pt>
                <c:pt idx="27052">
                  <c:v>2</c:v>
                </c:pt>
                <c:pt idx="27053">
                  <c:v>0</c:v>
                </c:pt>
                <c:pt idx="27054">
                  <c:v>4</c:v>
                </c:pt>
                <c:pt idx="27055">
                  <c:v>6</c:v>
                </c:pt>
                <c:pt idx="27056">
                  <c:v>3</c:v>
                </c:pt>
                <c:pt idx="27057">
                  <c:v>1</c:v>
                </c:pt>
                <c:pt idx="27058">
                  <c:v>5</c:v>
                </c:pt>
                <c:pt idx="27059">
                  <c:v>2</c:v>
                </c:pt>
                <c:pt idx="27060">
                  <c:v>0</c:v>
                </c:pt>
                <c:pt idx="27061">
                  <c:v>0</c:v>
                </c:pt>
                <c:pt idx="27062">
                  <c:v>1</c:v>
                </c:pt>
                <c:pt idx="27063">
                  <c:v>0</c:v>
                </c:pt>
                <c:pt idx="27064">
                  <c:v>4</c:v>
                </c:pt>
                <c:pt idx="27065">
                  <c:v>0</c:v>
                </c:pt>
                <c:pt idx="27066">
                  <c:v>0</c:v>
                </c:pt>
                <c:pt idx="27067">
                  <c:v>1</c:v>
                </c:pt>
                <c:pt idx="27068">
                  <c:v>3</c:v>
                </c:pt>
                <c:pt idx="27069">
                  <c:v>3</c:v>
                </c:pt>
                <c:pt idx="27070">
                  <c:v>3</c:v>
                </c:pt>
                <c:pt idx="27071">
                  <c:v>0</c:v>
                </c:pt>
                <c:pt idx="27072">
                  <c:v>0</c:v>
                </c:pt>
                <c:pt idx="27073">
                  <c:v>10</c:v>
                </c:pt>
                <c:pt idx="27074">
                  <c:v>0</c:v>
                </c:pt>
                <c:pt idx="27075">
                  <c:v>2</c:v>
                </c:pt>
                <c:pt idx="27076">
                  <c:v>4</c:v>
                </c:pt>
                <c:pt idx="27077">
                  <c:v>1</c:v>
                </c:pt>
                <c:pt idx="27078">
                  <c:v>2</c:v>
                </c:pt>
                <c:pt idx="27079">
                  <c:v>5</c:v>
                </c:pt>
                <c:pt idx="27080">
                  <c:v>1</c:v>
                </c:pt>
                <c:pt idx="27081">
                  <c:v>0</c:v>
                </c:pt>
                <c:pt idx="27082">
                  <c:v>0</c:v>
                </c:pt>
                <c:pt idx="27083">
                  <c:v>2</c:v>
                </c:pt>
                <c:pt idx="27084">
                  <c:v>6</c:v>
                </c:pt>
                <c:pt idx="27085">
                  <c:v>5</c:v>
                </c:pt>
                <c:pt idx="27086">
                  <c:v>3</c:v>
                </c:pt>
                <c:pt idx="27087">
                  <c:v>0</c:v>
                </c:pt>
                <c:pt idx="27088">
                  <c:v>2</c:v>
                </c:pt>
                <c:pt idx="27089">
                  <c:v>0</c:v>
                </c:pt>
                <c:pt idx="27090">
                  <c:v>0</c:v>
                </c:pt>
                <c:pt idx="27091">
                  <c:v>2</c:v>
                </c:pt>
                <c:pt idx="27092">
                  <c:v>2</c:v>
                </c:pt>
                <c:pt idx="27093">
                  <c:v>11</c:v>
                </c:pt>
                <c:pt idx="27094">
                  <c:v>6</c:v>
                </c:pt>
                <c:pt idx="27095">
                  <c:v>11</c:v>
                </c:pt>
                <c:pt idx="27096">
                  <c:v>11</c:v>
                </c:pt>
                <c:pt idx="27097">
                  <c:v>5</c:v>
                </c:pt>
                <c:pt idx="27098">
                  <c:v>0</c:v>
                </c:pt>
                <c:pt idx="27099">
                  <c:v>13</c:v>
                </c:pt>
                <c:pt idx="27100">
                  <c:v>5</c:v>
                </c:pt>
                <c:pt idx="27101">
                  <c:v>5</c:v>
                </c:pt>
                <c:pt idx="27102">
                  <c:v>6</c:v>
                </c:pt>
                <c:pt idx="27103">
                  <c:v>3</c:v>
                </c:pt>
                <c:pt idx="27104">
                  <c:v>9</c:v>
                </c:pt>
                <c:pt idx="27105">
                  <c:v>8</c:v>
                </c:pt>
                <c:pt idx="27106">
                  <c:v>5</c:v>
                </c:pt>
                <c:pt idx="27107">
                  <c:v>4</c:v>
                </c:pt>
                <c:pt idx="27108">
                  <c:v>5</c:v>
                </c:pt>
                <c:pt idx="27109">
                  <c:v>0</c:v>
                </c:pt>
                <c:pt idx="27110">
                  <c:v>7</c:v>
                </c:pt>
                <c:pt idx="27111">
                  <c:v>7</c:v>
                </c:pt>
                <c:pt idx="27112">
                  <c:v>3</c:v>
                </c:pt>
                <c:pt idx="27113">
                  <c:v>0</c:v>
                </c:pt>
                <c:pt idx="27114">
                  <c:v>3</c:v>
                </c:pt>
                <c:pt idx="27115">
                  <c:v>4</c:v>
                </c:pt>
                <c:pt idx="27116">
                  <c:v>0</c:v>
                </c:pt>
                <c:pt idx="27117">
                  <c:v>4</c:v>
                </c:pt>
                <c:pt idx="27118">
                  <c:v>0</c:v>
                </c:pt>
                <c:pt idx="27119">
                  <c:v>6</c:v>
                </c:pt>
                <c:pt idx="27120">
                  <c:v>8</c:v>
                </c:pt>
                <c:pt idx="27121">
                  <c:v>5</c:v>
                </c:pt>
                <c:pt idx="27122">
                  <c:v>5</c:v>
                </c:pt>
                <c:pt idx="27123">
                  <c:v>1</c:v>
                </c:pt>
                <c:pt idx="27124">
                  <c:v>1</c:v>
                </c:pt>
                <c:pt idx="27125">
                  <c:v>3</c:v>
                </c:pt>
                <c:pt idx="27126">
                  <c:v>0</c:v>
                </c:pt>
                <c:pt idx="27127">
                  <c:v>1</c:v>
                </c:pt>
                <c:pt idx="27128">
                  <c:v>8</c:v>
                </c:pt>
                <c:pt idx="27129">
                  <c:v>4</c:v>
                </c:pt>
                <c:pt idx="27130">
                  <c:v>5</c:v>
                </c:pt>
                <c:pt idx="27131">
                  <c:v>5</c:v>
                </c:pt>
                <c:pt idx="27132">
                  <c:v>6</c:v>
                </c:pt>
                <c:pt idx="27133">
                  <c:v>5</c:v>
                </c:pt>
                <c:pt idx="27134">
                  <c:v>4</c:v>
                </c:pt>
                <c:pt idx="27135">
                  <c:v>18</c:v>
                </c:pt>
                <c:pt idx="27136">
                  <c:v>2</c:v>
                </c:pt>
                <c:pt idx="27137">
                  <c:v>6</c:v>
                </c:pt>
                <c:pt idx="27138">
                  <c:v>2</c:v>
                </c:pt>
                <c:pt idx="27139">
                  <c:v>3</c:v>
                </c:pt>
                <c:pt idx="27140">
                  <c:v>5</c:v>
                </c:pt>
                <c:pt idx="27141">
                  <c:v>12</c:v>
                </c:pt>
                <c:pt idx="27142">
                  <c:v>0</c:v>
                </c:pt>
                <c:pt idx="27143">
                  <c:v>8</c:v>
                </c:pt>
                <c:pt idx="27144">
                  <c:v>5</c:v>
                </c:pt>
                <c:pt idx="27145">
                  <c:v>3</c:v>
                </c:pt>
                <c:pt idx="27146">
                  <c:v>2</c:v>
                </c:pt>
                <c:pt idx="27147">
                  <c:v>10</c:v>
                </c:pt>
                <c:pt idx="27148">
                  <c:v>2</c:v>
                </c:pt>
                <c:pt idx="27149">
                  <c:v>1</c:v>
                </c:pt>
                <c:pt idx="27150">
                  <c:v>2</c:v>
                </c:pt>
                <c:pt idx="27151">
                  <c:v>2</c:v>
                </c:pt>
                <c:pt idx="27152">
                  <c:v>3</c:v>
                </c:pt>
                <c:pt idx="27153">
                  <c:v>0</c:v>
                </c:pt>
                <c:pt idx="27154">
                  <c:v>4</c:v>
                </c:pt>
                <c:pt idx="27155">
                  <c:v>5</c:v>
                </c:pt>
                <c:pt idx="27156">
                  <c:v>1</c:v>
                </c:pt>
                <c:pt idx="27157">
                  <c:v>6</c:v>
                </c:pt>
                <c:pt idx="27158">
                  <c:v>1</c:v>
                </c:pt>
                <c:pt idx="27159">
                  <c:v>5</c:v>
                </c:pt>
                <c:pt idx="27160">
                  <c:v>3</c:v>
                </c:pt>
                <c:pt idx="27161">
                  <c:v>3</c:v>
                </c:pt>
                <c:pt idx="27162">
                  <c:v>7</c:v>
                </c:pt>
                <c:pt idx="27163">
                  <c:v>0</c:v>
                </c:pt>
                <c:pt idx="27164">
                  <c:v>2</c:v>
                </c:pt>
                <c:pt idx="27165">
                  <c:v>2</c:v>
                </c:pt>
                <c:pt idx="27166">
                  <c:v>5</c:v>
                </c:pt>
                <c:pt idx="27167">
                  <c:v>4</c:v>
                </c:pt>
                <c:pt idx="27168">
                  <c:v>14</c:v>
                </c:pt>
                <c:pt idx="27169">
                  <c:v>0</c:v>
                </c:pt>
                <c:pt idx="27170">
                  <c:v>5</c:v>
                </c:pt>
                <c:pt idx="27171">
                  <c:v>9</c:v>
                </c:pt>
                <c:pt idx="27172">
                  <c:v>1</c:v>
                </c:pt>
                <c:pt idx="27173">
                  <c:v>1</c:v>
                </c:pt>
                <c:pt idx="27174">
                  <c:v>6</c:v>
                </c:pt>
                <c:pt idx="27175">
                  <c:v>0</c:v>
                </c:pt>
                <c:pt idx="27176">
                  <c:v>2</c:v>
                </c:pt>
                <c:pt idx="27177">
                  <c:v>7</c:v>
                </c:pt>
                <c:pt idx="27178">
                  <c:v>1</c:v>
                </c:pt>
                <c:pt idx="27179">
                  <c:v>1</c:v>
                </c:pt>
                <c:pt idx="27180">
                  <c:v>8</c:v>
                </c:pt>
                <c:pt idx="27181">
                  <c:v>0</c:v>
                </c:pt>
                <c:pt idx="27182">
                  <c:v>0</c:v>
                </c:pt>
                <c:pt idx="27183">
                  <c:v>2</c:v>
                </c:pt>
                <c:pt idx="27184">
                  <c:v>3</c:v>
                </c:pt>
                <c:pt idx="27185">
                  <c:v>8</c:v>
                </c:pt>
                <c:pt idx="27186">
                  <c:v>2</c:v>
                </c:pt>
                <c:pt idx="27187">
                  <c:v>5</c:v>
                </c:pt>
                <c:pt idx="27188">
                  <c:v>0</c:v>
                </c:pt>
                <c:pt idx="27189">
                  <c:v>3</c:v>
                </c:pt>
                <c:pt idx="27190">
                  <c:v>1</c:v>
                </c:pt>
                <c:pt idx="27191">
                  <c:v>3</c:v>
                </c:pt>
                <c:pt idx="27192">
                  <c:v>2</c:v>
                </c:pt>
                <c:pt idx="27193">
                  <c:v>0</c:v>
                </c:pt>
                <c:pt idx="27194">
                  <c:v>0</c:v>
                </c:pt>
                <c:pt idx="27195">
                  <c:v>0</c:v>
                </c:pt>
                <c:pt idx="27196">
                  <c:v>0</c:v>
                </c:pt>
                <c:pt idx="27197">
                  <c:v>0</c:v>
                </c:pt>
                <c:pt idx="27198">
                  <c:v>0</c:v>
                </c:pt>
                <c:pt idx="27199">
                  <c:v>1</c:v>
                </c:pt>
                <c:pt idx="27200">
                  <c:v>0</c:v>
                </c:pt>
                <c:pt idx="27201">
                  <c:v>4</c:v>
                </c:pt>
                <c:pt idx="27202">
                  <c:v>0</c:v>
                </c:pt>
                <c:pt idx="27203">
                  <c:v>2</c:v>
                </c:pt>
                <c:pt idx="27204">
                  <c:v>0</c:v>
                </c:pt>
                <c:pt idx="27205">
                  <c:v>0</c:v>
                </c:pt>
                <c:pt idx="27206">
                  <c:v>0</c:v>
                </c:pt>
                <c:pt idx="27207">
                  <c:v>0</c:v>
                </c:pt>
                <c:pt idx="27208">
                  <c:v>0</c:v>
                </c:pt>
                <c:pt idx="27209">
                  <c:v>0</c:v>
                </c:pt>
                <c:pt idx="27210">
                  <c:v>0</c:v>
                </c:pt>
                <c:pt idx="27211">
                  <c:v>8</c:v>
                </c:pt>
                <c:pt idx="27212">
                  <c:v>0</c:v>
                </c:pt>
                <c:pt idx="27213">
                  <c:v>0</c:v>
                </c:pt>
                <c:pt idx="27214">
                  <c:v>1</c:v>
                </c:pt>
                <c:pt idx="27215">
                  <c:v>0</c:v>
                </c:pt>
                <c:pt idx="27216">
                  <c:v>0</c:v>
                </c:pt>
                <c:pt idx="27217">
                  <c:v>0</c:v>
                </c:pt>
                <c:pt idx="27218">
                  <c:v>0</c:v>
                </c:pt>
                <c:pt idx="27219">
                  <c:v>4</c:v>
                </c:pt>
                <c:pt idx="27220">
                  <c:v>2</c:v>
                </c:pt>
                <c:pt idx="27221">
                  <c:v>0</c:v>
                </c:pt>
                <c:pt idx="27222">
                  <c:v>0</c:v>
                </c:pt>
                <c:pt idx="27223">
                  <c:v>0</c:v>
                </c:pt>
                <c:pt idx="27224">
                  <c:v>0</c:v>
                </c:pt>
                <c:pt idx="27225">
                  <c:v>0</c:v>
                </c:pt>
                <c:pt idx="27226">
                  <c:v>5</c:v>
                </c:pt>
                <c:pt idx="27227">
                  <c:v>0</c:v>
                </c:pt>
                <c:pt idx="27228">
                  <c:v>0</c:v>
                </c:pt>
                <c:pt idx="27229">
                  <c:v>0</c:v>
                </c:pt>
                <c:pt idx="27230">
                  <c:v>1</c:v>
                </c:pt>
                <c:pt idx="27231">
                  <c:v>2</c:v>
                </c:pt>
                <c:pt idx="27232">
                  <c:v>0</c:v>
                </c:pt>
                <c:pt idx="27233">
                  <c:v>0</c:v>
                </c:pt>
                <c:pt idx="27234">
                  <c:v>0</c:v>
                </c:pt>
                <c:pt idx="27235">
                  <c:v>4</c:v>
                </c:pt>
                <c:pt idx="27236">
                  <c:v>4</c:v>
                </c:pt>
                <c:pt idx="27237">
                  <c:v>1</c:v>
                </c:pt>
                <c:pt idx="27238">
                  <c:v>0</c:v>
                </c:pt>
                <c:pt idx="27239">
                  <c:v>0</c:v>
                </c:pt>
                <c:pt idx="27240">
                  <c:v>0</c:v>
                </c:pt>
                <c:pt idx="27241">
                  <c:v>0</c:v>
                </c:pt>
                <c:pt idx="27242">
                  <c:v>5</c:v>
                </c:pt>
                <c:pt idx="27243">
                  <c:v>5</c:v>
                </c:pt>
                <c:pt idx="27244">
                  <c:v>3</c:v>
                </c:pt>
                <c:pt idx="27245">
                  <c:v>5</c:v>
                </c:pt>
                <c:pt idx="27246">
                  <c:v>1</c:v>
                </c:pt>
                <c:pt idx="27247">
                  <c:v>0</c:v>
                </c:pt>
                <c:pt idx="27248">
                  <c:v>1</c:v>
                </c:pt>
                <c:pt idx="27249">
                  <c:v>1</c:v>
                </c:pt>
                <c:pt idx="27250">
                  <c:v>8</c:v>
                </c:pt>
                <c:pt idx="27251">
                  <c:v>0</c:v>
                </c:pt>
                <c:pt idx="27252">
                  <c:v>8</c:v>
                </c:pt>
                <c:pt idx="27253">
                  <c:v>0</c:v>
                </c:pt>
                <c:pt idx="27254">
                  <c:v>2</c:v>
                </c:pt>
                <c:pt idx="27255">
                  <c:v>6</c:v>
                </c:pt>
                <c:pt idx="27256">
                  <c:v>1</c:v>
                </c:pt>
                <c:pt idx="27257">
                  <c:v>10</c:v>
                </c:pt>
                <c:pt idx="27258">
                  <c:v>1</c:v>
                </c:pt>
                <c:pt idx="27259">
                  <c:v>5</c:v>
                </c:pt>
                <c:pt idx="27260">
                  <c:v>0</c:v>
                </c:pt>
                <c:pt idx="27261">
                  <c:v>2</c:v>
                </c:pt>
                <c:pt idx="27262">
                  <c:v>0</c:v>
                </c:pt>
                <c:pt idx="27263">
                  <c:v>0</c:v>
                </c:pt>
                <c:pt idx="27264">
                  <c:v>0</c:v>
                </c:pt>
                <c:pt idx="27265">
                  <c:v>1</c:v>
                </c:pt>
                <c:pt idx="27266">
                  <c:v>0</c:v>
                </c:pt>
                <c:pt idx="27267">
                  <c:v>3</c:v>
                </c:pt>
                <c:pt idx="27268">
                  <c:v>0</c:v>
                </c:pt>
                <c:pt idx="27269">
                  <c:v>0</c:v>
                </c:pt>
                <c:pt idx="27270">
                  <c:v>1</c:v>
                </c:pt>
                <c:pt idx="27271">
                  <c:v>2</c:v>
                </c:pt>
                <c:pt idx="27272">
                  <c:v>0</c:v>
                </c:pt>
                <c:pt idx="27273">
                  <c:v>7</c:v>
                </c:pt>
                <c:pt idx="27274">
                  <c:v>0</c:v>
                </c:pt>
                <c:pt idx="27275">
                  <c:v>0</c:v>
                </c:pt>
                <c:pt idx="27276">
                  <c:v>0</c:v>
                </c:pt>
                <c:pt idx="27277">
                  <c:v>0</c:v>
                </c:pt>
                <c:pt idx="27278">
                  <c:v>0</c:v>
                </c:pt>
                <c:pt idx="27279">
                  <c:v>4</c:v>
                </c:pt>
                <c:pt idx="27280">
                  <c:v>6</c:v>
                </c:pt>
                <c:pt idx="27281">
                  <c:v>0</c:v>
                </c:pt>
                <c:pt idx="27282">
                  <c:v>0</c:v>
                </c:pt>
                <c:pt idx="27283">
                  <c:v>0</c:v>
                </c:pt>
                <c:pt idx="27284">
                  <c:v>2</c:v>
                </c:pt>
                <c:pt idx="27285">
                  <c:v>3</c:v>
                </c:pt>
                <c:pt idx="27286">
                  <c:v>0</c:v>
                </c:pt>
                <c:pt idx="27287">
                  <c:v>0</c:v>
                </c:pt>
                <c:pt idx="27288">
                  <c:v>0</c:v>
                </c:pt>
                <c:pt idx="27289">
                  <c:v>0</c:v>
                </c:pt>
                <c:pt idx="27290">
                  <c:v>0</c:v>
                </c:pt>
                <c:pt idx="27291">
                  <c:v>2</c:v>
                </c:pt>
                <c:pt idx="27292">
                  <c:v>0</c:v>
                </c:pt>
                <c:pt idx="27293">
                  <c:v>0</c:v>
                </c:pt>
                <c:pt idx="27294">
                  <c:v>0</c:v>
                </c:pt>
                <c:pt idx="27295">
                  <c:v>0</c:v>
                </c:pt>
                <c:pt idx="27296">
                  <c:v>0</c:v>
                </c:pt>
                <c:pt idx="27297">
                  <c:v>0</c:v>
                </c:pt>
                <c:pt idx="27298">
                  <c:v>0</c:v>
                </c:pt>
                <c:pt idx="27299">
                  <c:v>0</c:v>
                </c:pt>
                <c:pt idx="27300">
                  <c:v>3</c:v>
                </c:pt>
                <c:pt idx="27301">
                  <c:v>0</c:v>
                </c:pt>
                <c:pt idx="27302">
                  <c:v>0</c:v>
                </c:pt>
                <c:pt idx="27303">
                  <c:v>0</c:v>
                </c:pt>
                <c:pt idx="27304">
                  <c:v>0</c:v>
                </c:pt>
                <c:pt idx="27305">
                  <c:v>0</c:v>
                </c:pt>
                <c:pt idx="27306">
                  <c:v>0</c:v>
                </c:pt>
                <c:pt idx="27307">
                  <c:v>3</c:v>
                </c:pt>
                <c:pt idx="27308">
                  <c:v>0</c:v>
                </c:pt>
                <c:pt idx="27309">
                  <c:v>0</c:v>
                </c:pt>
                <c:pt idx="27310">
                  <c:v>8</c:v>
                </c:pt>
                <c:pt idx="27311">
                  <c:v>3</c:v>
                </c:pt>
                <c:pt idx="27312">
                  <c:v>0</c:v>
                </c:pt>
                <c:pt idx="27313">
                  <c:v>2</c:v>
                </c:pt>
                <c:pt idx="27314">
                  <c:v>0</c:v>
                </c:pt>
                <c:pt idx="27315">
                  <c:v>2</c:v>
                </c:pt>
                <c:pt idx="27316">
                  <c:v>0</c:v>
                </c:pt>
                <c:pt idx="27317">
                  <c:v>0</c:v>
                </c:pt>
                <c:pt idx="27318">
                  <c:v>0</c:v>
                </c:pt>
                <c:pt idx="27319">
                  <c:v>0</c:v>
                </c:pt>
                <c:pt idx="27320">
                  <c:v>0</c:v>
                </c:pt>
                <c:pt idx="27321">
                  <c:v>0</c:v>
                </c:pt>
                <c:pt idx="27322">
                  <c:v>0</c:v>
                </c:pt>
                <c:pt idx="27323">
                  <c:v>0</c:v>
                </c:pt>
                <c:pt idx="27324">
                  <c:v>1</c:v>
                </c:pt>
                <c:pt idx="27325">
                  <c:v>9</c:v>
                </c:pt>
                <c:pt idx="27326">
                  <c:v>5</c:v>
                </c:pt>
                <c:pt idx="27327">
                  <c:v>0</c:v>
                </c:pt>
                <c:pt idx="27328">
                  <c:v>0</c:v>
                </c:pt>
                <c:pt idx="27329">
                  <c:v>0</c:v>
                </c:pt>
                <c:pt idx="27330">
                  <c:v>1</c:v>
                </c:pt>
                <c:pt idx="27331">
                  <c:v>1</c:v>
                </c:pt>
                <c:pt idx="27332">
                  <c:v>0</c:v>
                </c:pt>
                <c:pt idx="27333">
                  <c:v>0</c:v>
                </c:pt>
                <c:pt idx="27334">
                  <c:v>1</c:v>
                </c:pt>
                <c:pt idx="27335">
                  <c:v>0</c:v>
                </c:pt>
                <c:pt idx="27336">
                  <c:v>1</c:v>
                </c:pt>
                <c:pt idx="27337">
                  <c:v>1</c:v>
                </c:pt>
                <c:pt idx="27338">
                  <c:v>5</c:v>
                </c:pt>
                <c:pt idx="27339">
                  <c:v>0</c:v>
                </c:pt>
                <c:pt idx="27340">
                  <c:v>6</c:v>
                </c:pt>
                <c:pt idx="27341">
                  <c:v>2</c:v>
                </c:pt>
                <c:pt idx="27342">
                  <c:v>0</c:v>
                </c:pt>
                <c:pt idx="27343">
                  <c:v>0</c:v>
                </c:pt>
                <c:pt idx="27344">
                  <c:v>0</c:v>
                </c:pt>
                <c:pt idx="27345">
                  <c:v>0</c:v>
                </c:pt>
                <c:pt idx="27346">
                  <c:v>0</c:v>
                </c:pt>
                <c:pt idx="27347">
                  <c:v>1</c:v>
                </c:pt>
                <c:pt idx="27348">
                  <c:v>0</c:v>
                </c:pt>
                <c:pt idx="27349">
                  <c:v>0</c:v>
                </c:pt>
                <c:pt idx="27350">
                  <c:v>0</c:v>
                </c:pt>
                <c:pt idx="27351">
                  <c:v>0</c:v>
                </c:pt>
                <c:pt idx="27352">
                  <c:v>1</c:v>
                </c:pt>
                <c:pt idx="27353">
                  <c:v>0</c:v>
                </c:pt>
                <c:pt idx="27354">
                  <c:v>0</c:v>
                </c:pt>
                <c:pt idx="27355">
                  <c:v>0</c:v>
                </c:pt>
                <c:pt idx="27356">
                  <c:v>2</c:v>
                </c:pt>
                <c:pt idx="27357">
                  <c:v>0</c:v>
                </c:pt>
                <c:pt idx="27358">
                  <c:v>0</c:v>
                </c:pt>
                <c:pt idx="27359">
                  <c:v>0</c:v>
                </c:pt>
                <c:pt idx="27360">
                  <c:v>1</c:v>
                </c:pt>
                <c:pt idx="27361">
                  <c:v>1</c:v>
                </c:pt>
                <c:pt idx="27362">
                  <c:v>0</c:v>
                </c:pt>
                <c:pt idx="27363">
                  <c:v>3</c:v>
                </c:pt>
                <c:pt idx="27364">
                  <c:v>2</c:v>
                </c:pt>
                <c:pt idx="27365">
                  <c:v>0</c:v>
                </c:pt>
                <c:pt idx="27366">
                  <c:v>6</c:v>
                </c:pt>
                <c:pt idx="27367">
                  <c:v>3</c:v>
                </c:pt>
                <c:pt idx="27368">
                  <c:v>9</c:v>
                </c:pt>
                <c:pt idx="27369">
                  <c:v>0</c:v>
                </c:pt>
                <c:pt idx="27370">
                  <c:v>2</c:v>
                </c:pt>
                <c:pt idx="27371">
                  <c:v>6</c:v>
                </c:pt>
                <c:pt idx="27372">
                  <c:v>0</c:v>
                </c:pt>
                <c:pt idx="27373">
                  <c:v>1</c:v>
                </c:pt>
                <c:pt idx="27374">
                  <c:v>6</c:v>
                </c:pt>
                <c:pt idx="27375">
                  <c:v>7</c:v>
                </c:pt>
                <c:pt idx="27376">
                  <c:v>1</c:v>
                </c:pt>
                <c:pt idx="27377">
                  <c:v>0</c:v>
                </c:pt>
                <c:pt idx="27378">
                  <c:v>0</c:v>
                </c:pt>
                <c:pt idx="27379">
                  <c:v>2</c:v>
                </c:pt>
                <c:pt idx="27380">
                  <c:v>3</c:v>
                </c:pt>
                <c:pt idx="27381">
                  <c:v>7</c:v>
                </c:pt>
                <c:pt idx="27382">
                  <c:v>7</c:v>
                </c:pt>
                <c:pt idx="27383">
                  <c:v>17</c:v>
                </c:pt>
                <c:pt idx="27384">
                  <c:v>0</c:v>
                </c:pt>
                <c:pt idx="27385">
                  <c:v>0</c:v>
                </c:pt>
                <c:pt idx="27386">
                  <c:v>0</c:v>
                </c:pt>
                <c:pt idx="27387">
                  <c:v>0</c:v>
                </c:pt>
                <c:pt idx="27388">
                  <c:v>0</c:v>
                </c:pt>
                <c:pt idx="27389">
                  <c:v>1</c:v>
                </c:pt>
                <c:pt idx="27390">
                  <c:v>0</c:v>
                </c:pt>
                <c:pt idx="27391">
                  <c:v>1</c:v>
                </c:pt>
                <c:pt idx="27392">
                  <c:v>0</c:v>
                </c:pt>
                <c:pt idx="27393">
                  <c:v>5</c:v>
                </c:pt>
                <c:pt idx="27394">
                  <c:v>0</c:v>
                </c:pt>
                <c:pt idx="27395">
                  <c:v>1</c:v>
                </c:pt>
                <c:pt idx="27396">
                  <c:v>0</c:v>
                </c:pt>
                <c:pt idx="27397">
                  <c:v>0</c:v>
                </c:pt>
                <c:pt idx="27398">
                  <c:v>6</c:v>
                </c:pt>
                <c:pt idx="27399">
                  <c:v>2</c:v>
                </c:pt>
                <c:pt idx="27400">
                  <c:v>4</c:v>
                </c:pt>
                <c:pt idx="27401">
                  <c:v>0</c:v>
                </c:pt>
                <c:pt idx="27402">
                  <c:v>1</c:v>
                </c:pt>
                <c:pt idx="27403">
                  <c:v>5</c:v>
                </c:pt>
                <c:pt idx="27404">
                  <c:v>0</c:v>
                </c:pt>
                <c:pt idx="27405">
                  <c:v>1</c:v>
                </c:pt>
                <c:pt idx="27406">
                  <c:v>0</c:v>
                </c:pt>
                <c:pt idx="27407">
                  <c:v>3</c:v>
                </c:pt>
                <c:pt idx="27408">
                  <c:v>0</c:v>
                </c:pt>
                <c:pt idx="27409">
                  <c:v>0</c:v>
                </c:pt>
                <c:pt idx="27410">
                  <c:v>1</c:v>
                </c:pt>
                <c:pt idx="27411">
                  <c:v>3</c:v>
                </c:pt>
                <c:pt idx="27412">
                  <c:v>3</c:v>
                </c:pt>
                <c:pt idx="27413">
                  <c:v>0</c:v>
                </c:pt>
                <c:pt idx="27414">
                  <c:v>1</c:v>
                </c:pt>
                <c:pt idx="27415">
                  <c:v>7</c:v>
                </c:pt>
                <c:pt idx="27416">
                  <c:v>0</c:v>
                </c:pt>
                <c:pt idx="27417">
                  <c:v>5</c:v>
                </c:pt>
                <c:pt idx="27418">
                  <c:v>3</c:v>
                </c:pt>
                <c:pt idx="27419">
                  <c:v>8</c:v>
                </c:pt>
                <c:pt idx="27420">
                  <c:v>1</c:v>
                </c:pt>
                <c:pt idx="27421">
                  <c:v>6</c:v>
                </c:pt>
                <c:pt idx="27422">
                  <c:v>7</c:v>
                </c:pt>
                <c:pt idx="27423">
                  <c:v>0</c:v>
                </c:pt>
                <c:pt idx="27424">
                  <c:v>3</c:v>
                </c:pt>
                <c:pt idx="27425">
                  <c:v>8</c:v>
                </c:pt>
                <c:pt idx="27426">
                  <c:v>29</c:v>
                </c:pt>
                <c:pt idx="27427">
                  <c:v>4</c:v>
                </c:pt>
                <c:pt idx="27428">
                  <c:v>8</c:v>
                </c:pt>
                <c:pt idx="27429">
                  <c:v>4</c:v>
                </c:pt>
                <c:pt idx="27430">
                  <c:v>0</c:v>
                </c:pt>
                <c:pt idx="27431">
                  <c:v>5</c:v>
                </c:pt>
                <c:pt idx="27432">
                  <c:v>0</c:v>
                </c:pt>
                <c:pt idx="27433">
                  <c:v>2</c:v>
                </c:pt>
                <c:pt idx="27434">
                  <c:v>6</c:v>
                </c:pt>
                <c:pt idx="27435">
                  <c:v>1</c:v>
                </c:pt>
                <c:pt idx="27436">
                  <c:v>1</c:v>
                </c:pt>
                <c:pt idx="27437">
                  <c:v>1</c:v>
                </c:pt>
                <c:pt idx="27438">
                  <c:v>0</c:v>
                </c:pt>
                <c:pt idx="27439">
                  <c:v>2</c:v>
                </c:pt>
                <c:pt idx="27440">
                  <c:v>1</c:v>
                </c:pt>
                <c:pt idx="27441">
                  <c:v>2</c:v>
                </c:pt>
                <c:pt idx="27442">
                  <c:v>3</c:v>
                </c:pt>
                <c:pt idx="27443">
                  <c:v>2</c:v>
                </c:pt>
                <c:pt idx="27444">
                  <c:v>4</c:v>
                </c:pt>
                <c:pt idx="27445">
                  <c:v>0</c:v>
                </c:pt>
                <c:pt idx="27446">
                  <c:v>4</c:v>
                </c:pt>
                <c:pt idx="27447">
                  <c:v>4</c:v>
                </c:pt>
                <c:pt idx="27448">
                  <c:v>2</c:v>
                </c:pt>
                <c:pt idx="27449">
                  <c:v>1</c:v>
                </c:pt>
                <c:pt idx="27450">
                  <c:v>9</c:v>
                </c:pt>
                <c:pt idx="27451">
                  <c:v>5</c:v>
                </c:pt>
                <c:pt idx="27452">
                  <c:v>6</c:v>
                </c:pt>
                <c:pt idx="27453">
                  <c:v>0</c:v>
                </c:pt>
                <c:pt idx="27454">
                  <c:v>2</c:v>
                </c:pt>
                <c:pt idx="27455">
                  <c:v>0</c:v>
                </c:pt>
                <c:pt idx="27456">
                  <c:v>3</c:v>
                </c:pt>
                <c:pt idx="27457">
                  <c:v>2</c:v>
                </c:pt>
                <c:pt idx="27458">
                  <c:v>0</c:v>
                </c:pt>
                <c:pt idx="27459">
                  <c:v>5</c:v>
                </c:pt>
                <c:pt idx="27460">
                  <c:v>1</c:v>
                </c:pt>
                <c:pt idx="27461">
                  <c:v>0</c:v>
                </c:pt>
                <c:pt idx="27462">
                  <c:v>7</c:v>
                </c:pt>
                <c:pt idx="27463">
                  <c:v>0</c:v>
                </c:pt>
                <c:pt idx="27464">
                  <c:v>0</c:v>
                </c:pt>
                <c:pt idx="27465">
                  <c:v>0</c:v>
                </c:pt>
                <c:pt idx="27466">
                  <c:v>1</c:v>
                </c:pt>
                <c:pt idx="27467">
                  <c:v>2</c:v>
                </c:pt>
                <c:pt idx="27468">
                  <c:v>5</c:v>
                </c:pt>
                <c:pt idx="27469">
                  <c:v>5</c:v>
                </c:pt>
                <c:pt idx="27470">
                  <c:v>8</c:v>
                </c:pt>
                <c:pt idx="27471">
                  <c:v>0</c:v>
                </c:pt>
                <c:pt idx="27472">
                  <c:v>3</c:v>
                </c:pt>
                <c:pt idx="27473">
                  <c:v>1</c:v>
                </c:pt>
                <c:pt idx="27474">
                  <c:v>2</c:v>
                </c:pt>
                <c:pt idx="27475">
                  <c:v>4</c:v>
                </c:pt>
                <c:pt idx="27476">
                  <c:v>10</c:v>
                </c:pt>
                <c:pt idx="27477">
                  <c:v>5</c:v>
                </c:pt>
                <c:pt idx="27478">
                  <c:v>7</c:v>
                </c:pt>
                <c:pt idx="27479">
                  <c:v>6</c:v>
                </c:pt>
                <c:pt idx="27480">
                  <c:v>5</c:v>
                </c:pt>
                <c:pt idx="27481">
                  <c:v>0</c:v>
                </c:pt>
                <c:pt idx="27482">
                  <c:v>4</c:v>
                </c:pt>
                <c:pt idx="27483">
                  <c:v>3</c:v>
                </c:pt>
                <c:pt idx="27484">
                  <c:v>0</c:v>
                </c:pt>
                <c:pt idx="27485">
                  <c:v>3</c:v>
                </c:pt>
                <c:pt idx="27486">
                  <c:v>0</c:v>
                </c:pt>
                <c:pt idx="27487">
                  <c:v>4</c:v>
                </c:pt>
                <c:pt idx="27488">
                  <c:v>0</c:v>
                </c:pt>
                <c:pt idx="27489">
                  <c:v>7</c:v>
                </c:pt>
                <c:pt idx="27490">
                  <c:v>3</c:v>
                </c:pt>
                <c:pt idx="27491">
                  <c:v>5</c:v>
                </c:pt>
                <c:pt idx="27492">
                  <c:v>2</c:v>
                </c:pt>
                <c:pt idx="27493">
                  <c:v>2</c:v>
                </c:pt>
                <c:pt idx="27494">
                  <c:v>0</c:v>
                </c:pt>
                <c:pt idx="27495">
                  <c:v>3</c:v>
                </c:pt>
                <c:pt idx="27496">
                  <c:v>5</c:v>
                </c:pt>
                <c:pt idx="27497">
                  <c:v>1</c:v>
                </c:pt>
                <c:pt idx="27498">
                  <c:v>3</c:v>
                </c:pt>
                <c:pt idx="27499">
                  <c:v>1</c:v>
                </c:pt>
                <c:pt idx="27500">
                  <c:v>4</c:v>
                </c:pt>
                <c:pt idx="27501">
                  <c:v>6</c:v>
                </c:pt>
                <c:pt idx="27502">
                  <c:v>0</c:v>
                </c:pt>
                <c:pt idx="27503">
                  <c:v>14</c:v>
                </c:pt>
                <c:pt idx="27504">
                  <c:v>0</c:v>
                </c:pt>
                <c:pt idx="27505">
                  <c:v>1</c:v>
                </c:pt>
                <c:pt idx="27506">
                  <c:v>0</c:v>
                </c:pt>
                <c:pt idx="27507">
                  <c:v>3</c:v>
                </c:pt>
                <c:pt idx="27508">
                  <c:v>2</c:v>
                </c:pt>
                <c:pt idx="27509">
                  <c:v>0</c:v>
                </c:pt>
                <c:pt idx="27510">
                  <c:v>2</c:v>
                </c:pt>
                <c:pt idx="27511">
                  <c:v>2</c:v>
                </c:pt>
                <c:pt idx="27512">
                  <c:v>10</c:v>
                </c:pt>
                <c:pt idx="27513">
                  <c:v>2</c:v>
                </c:pt>
                <c:pt idx="27514">
                  <c:v>0</c:v>
                </c:pt>
                <c:pt idx="27515">
                  <c:v>6</c:v>
                </c:pt>
                <c:pt idx="27516">
                  <c:v>10</c:v>
                </c:pt>
                <c:pt idx="27517">
                  <c:v>1</c:v>
                </c:pt>
                <c:pt idx="27518">
                  <c:v>2</c:v>
                </c:pt>
                <c:pt idx="27519">
                  <c:v>4</c:v>
                </c:pt>
                <c:pt idx="27520">
                  <c:v>0</c:v>
                </c:pt>
                <c:pt idx="27521">
                  <c:v>1</c:v>
                </c:pt>
                <c:pt idx="27522">
                  <c:v>6</c:v>
                </c:pt>
                <c:pt idx="27523">
                  <c:v>4</c:v>
                </c:pt>
                <c:pt idx="27524">
                  <c:v>0</c:v>
                </c:pt>
                <c:pt idx="27525">
                  <c:v>0</c:v>
                </c:pt>
                <c:pt idx="27526">
                  <c:v>2</c:v>
                </c:pt>
                <c:pt idx="27527">
                  <c:v>1</c:v>
                </c:pt>
                <c:pt idx="27528">
                  <c:v>0</c:v>
                </c:pt>
                <c:pt idx="27529">
                  <c:v>0</c:v>
                </c:pt>
                <c:pt idx="27530">
                  <c:v>1</c:v>
                </c:pt>
                <c:pt idx="27531">
                  <c:v>0</c:v>
                </c:pt>
                <c:pt idx="27532">
                  <c:v>5</c:v>
                </c:pt>
                <c:pt idx="27533">
                  <c:v>0</c:v>
                </c:pt>
                <c:pt idx="27534">
                  <c:v>2</c:v>
                </c:pt>
                <c:pt idx="27535">
                  <c:v>2</c:v>
                </c:pt>
                <c:pt idx="27536">
                  <c:v>4</c:v>
                </c:pt>
                <c:pt idx="27537">
                  <c:v>1</c:v>
                </c:pt>
                <c:pt idx="27538">
                  <c:v>0</c:v>
                </c:pt>
                <c:pt idx="27539">
                  <c:v>2</c:v>
                </c:pt>
                <c:pt idx="27540">
                  <c:v>1</c:v>
                </c:pt>
                <c:pt idx="27541">
                  <c:v>2</c:v>
                </c:pt>
                <c:pt idx="27542">
                  <c:v>2</c:v>
                </c:pt>
                <c:pt idx="27543">
                  <c:v>0</c:v>
                </c:pt>
                <c:pt idx="27544">
                  <c:v>1</c:v>
                </c:pt>
                <c:pt idx="27545">
                  <c:v>1</c:v>
                </c:pt>
                <c:pt idx="27546">
                  <c:v>0</c:v>
                </c:pt>
                <c:pt idx="27547">
                  <c:v>1</c:v>
                </c:pt>
                <c:pt idx="27548">
                  <c:v>0</c:v>
                </c:pt>
                <c:pt idx="27549">
                  <c:v>0</c:v>
                </c:pt>
                <c:pt idx="27550">
                  <c:v>2</c:v>
                </c:pt>
                <c:pt idx="27551">
                  <c:v>1</c:v>
                </c:pt>
                <c:pt idx="27552">
                  <c:v>3</c:v>
                </c:pt>
                <c:pt idx="27553">
                  <c:v>1</c:v>
                </c:pt>
                <c:pt idx="27554">
                  <c:v>3</c:v>
                </c:pt>
                <c:pt idx="27555">
                  <c:v>6</c:v>
                </c:pt>
                <c:pt idx="27556">
                  <c:v>2</c:v>
                </c:pt>
                <c:pt idx="27557">
                  <c:v>0</c:v>
                </c:pt>
                <c:pt idx="27558">
                  <c:v>0</c:v>
                </c:pt>
                <c:pt idx="27559">
                  <c:v>0</c:v>
                </c:pt>
                <c:pt idx="27560">
                  <c:v>4</c:v>
                </c:pt>
                <c:pt idx="27561">
                  <c:v>7</c:v>
                </c:pt>
                <c:pt idx="27562">
                  <c:v>0</c:v>
                </c:pt>
                <c:pt idx="27563">
                  <c:v>0</c:v>
                </c:pt>
                <c:pt idx="27564">
                  <c:v>1</c:v>
                </c:pt>
                <c:pt idx="27565">
                  <c:v>0</c:v>
                </c:pt>
                <c:pt idx="27566">
                  <c:v>0</c:v>
                </c:pt>
                <c:pt idx="27567">
                  <c:v>0</c:v>
                </c:pt>
                <c:pt idx="27568">
                  <c:v>1</c:v>
                </c:pt>
                <c:pt idx="27569">
                  <c:v>0</c:v>
                </c:pt>
                <c:pt idx="27570">
                  <c:v>0</c:v>
                </c:pt>
                <c:pt idx="27571">
                  <c:v>6</c:v>
                </c:pt>
                <c:pt idx="27572">
                  <c:v>0</c:v>
                </c:pt>
                <c:pt idx="27573">
                  <c:v>1</c:v>
                </c:pt>
                <c:pt idx="27574">
                  <c:v>1</c:v>
                </c:pt>
                <c:pt idx="27575">
                  <c:v>1</c:v>
                </c:pt>
                <c:pt idx="27576">
                  <c:v>8</c:v>
                </c:pt>
                <c:pt idx="27577">
                  <c:v>7</c:v>
                </c:pt>
                <c:pt idx="27578">
                  <c:v>0</c:v>
                </c:pt>
                <c:pt idx="27579">
                  <c:v>1</c:v>
                </c:pt>
                <c:pt idx="27580">
                  <c:v>0</c:v>
                </c:pt>
                <c:pt idx="27581">
                  <c:v>3</c:v>
                </c:pt>
                <c:pt idx="27582">
                  <c:v>0</c:v>
                </c:pt>
                <c:pt idx="27583">
                  <c:v>0</c:v>
                </c:pt>
                <c:pt idx="27584">
                  <c:v>0</c:v>
                </c:pt>
                <c:pt idx="27585">
                  <c:v>0</c:v>
                </c:pt>
                <c:pt idx="27586">
                  <c:v>2</c:v>
                </c:pt>
                <c:pt idx="27587">
                  <c:v>0</c:v>
                </c:pt>
                <c:pt idx="27588">
                  <c:v>0</c:v>
                </c:pt>
                <c:pt idx="27589">
                  <c:v>0</c:v>
                </c:pt>
                <c:pt idx="27590">
                  <c:v>0</c:v>
                </c:pt>
                <c:pt idx="27591">
                  <c:v>6</c:v>
                </c:pt>
                <c:pt idx="27592">
                  <c:v>3</c:v>
                </c:pt>
                <c:pt idx="27593">
                  <c:v>0</c:v>
                </c:pt>
                <c:pt idx="27594">
                  <c:v>0</c:v>
                </c:pt>
                <c:pt idx="27595">
                  <c:v>0</c:v>
                </c:pt>
                <c:pt idx="27596">
                  <c:v>2</c:v>
                </c:pt>
                <c:pt idx="27597">
                  <c:v>7</c:v>
                </c:pt>
                <c:pt idx="27598">
                  <c:v>0</c:v>
                </c:pt>
                <c:pt idx="27599">
                  <c:v>3</c:v>
                </c:pt>
                <c:pt idx="27600">
                  <c:v>2</c:v>
                </c:pt>
                <c:pt idx="27601">
                  <c:v>2</c:v>
                </c:pt>
                <c:pt idx="27602">
                  <c:v>10</c:v>
                </c:pt>
                <c:pt idx="27603">
                  <c:v>7</c:v>
                </c:pt>
                <c:pt idx="27604">
                  <c:v>0</c:v>
                </c:pt>
                <c:pt idx="27605">
                  <c:v>0</c:v>
                </c:pt>
                <c:pt idx="27606">
                  <c:v>0</c:v>
                </c:pt>
                <c:pt idx="27607">
                  <c:v>0</c:v>
                </c:pt>
                <c:pt idx="27608">
                  <c:v>0</c:v>
                </c:pt>
                <c:pt idx="27609">
                  <c:v>5</c:v>
                </c:pt>
                <c:pt idx="27610">
                  <c:v>7</c:v>
                </c:pt>
                <c:pt idx="27611">
                  <c:v>8</c:v>
                </c:pt>
                <c:pt idx="27612">
                  <c:v>0</c:v>
                </c:pt>
                <c:pt idx="27613">
                  <c:v>1</c:v>
                </c:pt>
                <c:pt idx="27614">
                  <c:v>0</c:v>
                </c:pt>
                <c:pt idx="27615">
                  <c:v>0</c:v>
                </c:pt>
                <c:pt idx="27616">
                  <c:v>4</c:v>
                </c:pt>
                <c:pt idx="27617">
                  <c:v>0</c:v>
                </c:pt>
                <c:pt idx="27618">
                  <c:v>0</c:v>
                </c:pt>
                <c:pt idx="27619">
                  <c:v>5</c:v>
                </c:pt>
                <c:pt idx="27620">
                  <c:v>5</c:v>
                </c:pt>
                <c:pt idx="27621">
                  <c:v>4</c:v>
                </c:pt>
                <c:pt idx="27622">
                  <c:v>7</c:v>
                </c:pt>
                <c:pt idx="27623">
                  <c:v>4</c:v>
                </c:pt>
                <c:pt idx="27624">
                  <c:v>2</c:v>
                </c:pt>
                <c:pt idx="27625">
                  <c:v>1</c:v>
                </c:pt>
                <c:pt idx="27626">
                  <c:v>4</c:v>
                </c:pt>
                <c:pt idx="27627">
                  <c:v>2</c:v>
                </c:pt>
                <c:pt idx="27628">
                  <c:v>2</c:v>
                </c:pt>
                <c:pt idx="27629">
                  <c:v>4</c:v>
                </c:pt>
                <c:pt idx="27630">
                  <c:v>5</c:v>
                </c:pt>
                <c:pt idx="27631">
                  <c:v>3</c:v>
                </c:pt>
                <c:pt idx="27632">
                  <c:v>5</c:v>
                </c:pt>
                <c:pt idx="27633">
                  <c:v>6</c:v>
                </c:pt>
                <c:pt idx="27634">
                  <c:v>3</c:v>
                </c:pt>
                <c:pt idx="27635">
                  <c:v>2</c:v>
                </c:pt>
                <c:pt idx="27636">
                  <c:v>4</c:v>
                </c:pt>
                <c:pt idx="27637">
                  <c:v>5</c:v>
                </c:pt>
                <c:pt idx="27638">
                  <c:v>3</c:v>
                </c:pt>
                <c:pt idx="27639">
                  <c:v>1</c:v>
                </c:pt>
                <c:pt idx="27640">
                  <c:v>0</c:v>
                </c:pt>
                <c:pt idx="27641">
                  <c:v>3</c:v>
                </c:pt>
                <c:pt idx="27642">
                  <c:v>4</c:v>
                </c:pt>
                <c:pt idx="27643">
                  <c:v>0</c:v>
                </c:pt>
                <c:pt idx="27644">
                  <c:v>4</c:v>
                </c:pt>
                <c:pt idx="27645">
                  <c:v>2</c:v>
                </c:pt>
                <c:pt idx="27646">
                  <c:v>0</c:v>
                </c:pt>
                <c:pt idx="27647">
                  <c:v>1</c:v>
                </c:pt>
                <c:pt idx="27648">
                  <c:v>1</c:v>
                </c:pt>
                <c:pt idx="27649">
                  <c:v>1</c:v>
                </c:pt>
                <c:pt idx="27650">
                  <c:v>3</c:v>
                </c:pt>
                <c:pt idx="27651">
                  <c:v>2</c:v>
                </c:pt>
                <c:pt idx="27652">
                  <c:v>1</c:v>
                </c:pt>
                <c:pt idx="27653">
                  <c:v>5</c:v>
                </c:pt>
                <c:pt idx="27654">
                  <c:v>2</c:v>
                </c:pt>
                <c:pt idx="27655">
                  <c:v>1</c:v>
                </c:pt>
                <c:pt idx="27656">
                  <c:v>1</c:v>
                </c:pt>
                <c:pt idx="27657">
                  <c:v>1</c:v>
                </c:pt>
                <c:pt idx="27658">
                  <c:v>0</c:v>
                </c:pt>
                <c:pt idx="27659">
                  <c:v>0</c:v>
                </c:pt>
                <c:pt idx="27660">
                  <c:v>1</c:v>
                </c:pt>
                <c:pt idx="27661">
                  <c:v>0</c:v>
                </c:pt>
                <c:pt idx="27662">
                  <c:v>0</c:v>
                </c:pt>
                <c:pt idx="27663">
                  <c:v>0</c:v>
                </c:pt>
                <c:pt idx="27664">
                  <c:v>0</c:v>
                </c:pt>
                <c:pt idx="27665">
                  <c:v>0</c:v>
                </c:pt>
                <c:pt idx="27666">
                  <c:v>0</c:v>
                </c:pt>
                <c:pt idx="27667">
                  <c:v>0</c:v>
                </c:pt>
                <c:pt idx="27668">
                  <c:v>0</c:v>
                </c:pt>
                <c:pt idx="27669">
                  <c:v>0</c:v>
                </c:pt>
                <c:pt idx="27670">
                  <c:v>4</c:v>
                </c:pt>
                <c:pt idx="27671">
                  <c:v>0</c:v>
                </c:pt>
                <c:pt idx="27672">
                  <c:v>0</c:v>
                </c:pt>
                <c:pt idx="27673">
                  <c:v>0</c:v>
                </c:pt>
                <c:pt idx="27674">
                  <c:v>0</c:v>
                </c:pt>
                <c:pt idx="27675">
                  <c:v>0</c:v>
                </c:pt>
                <c:pt idx="27676">
                  <c:v>1</c:v>
                </c:pt>
                <c:pt idx="27677">
                  <c:v>0</c:v>
                </c:pt>
                <c:pt idx="27678">
                  <c:v>0</c:v>
                </c:pt>
                <c:pt idx="27679">
                  <c:v>3</c:v>
                </c:pt>
                <c:pt idx="27680">
                  <c:v>0</c:v>
                </c:pt>
                <c:pt idx="27681">
                  <c:v>6</c:v>
                </c:pt>
                <c:pt idx="27682">
                  <c:v>0</c:v>
                </c:pt>
                <c:pt idx="27683">
                  <c:v>0</c:v>
                </c:pt>
                <c:pt idx="27684">
                  <c:v>0</c:v>
                </c:pt>
                <c:pt idx="27685">
                  <c:v>0</c:v>
                </c:pt>
                <c:pt idx="27686">
                  <c:v>0</c:v>
                </c:pt>
                <c:pt idx="27687">
                  <c:v>0</c:v>
                </c:pt>
                <c:pt idx="27688">
                  <c:v>0</c:v>
                </c:pt>
                <c:pt idx="27689">
                  <c:v>0</c:v>
                </c:pt>
                <c:pt idx="27690">
                  <c:v>0</c:v>
                </c:pt>
                <c:pt idx="27691">
                  <c:v>0</c:v>
                </c:pt>
                <c:pt idx="27692">
                  <c:v>0</c:v>
                </c:pt>
                <c:pt idx="27693">
                  <c:v>1</c:v>
                </c:pt>
                <c:pt idx="27694">
                  <c:v>0</c:v>
                </c:pt>
                <c:pt idx="27695">
                  <c:v>1</c:v>
                </c:pt>
                <c:pt idx="27696">
                  <c:v>0</c:v>
                </c:pt>
                <c:pt idx="27697">
                  <c:v>0</c:v>
                </c:pt>
                <c:pt idx="27698">
                  <c:v>0</c:v>
                </c:pt>
                <c:pt idx="27699">
                  <c:v>0</c:v>
                </c:pt>
                <c:pt idx="27700">
                  <c:v>0</c:v>
                </c:pt>
                <c:pt idx="27701">
                  <c:v>0</c:v>
                </c:pt>
                <c:pt idx="27702">
                  <c:v>3</c:v>
                </c:pt>
                <c:pt idx="27703">
                  <c:v>0</c:v>
                </c:pt>
                <c:pt idx="27704">
                  <c:v>1</c:v>
                </c:pt>
                <c:pt idx="27705">
                  <c:v>5</c:v>
                </c:pt>
                <c:pt idx="27706">
                  <c:v>3</c:v>
                </c:pt>
                <c:pt idx="27707">
                  <c:v>0</c:v>
                </c:pt>
                <c:pt idx="27708">
                  <c:v>1</c:v>
                </c:pt>
                <c:pt idx="27709">
                  <c:v>5</c:v>
                </c:pt>
                <c:pt idx="27710">
                  <c:v>0</c:v>
                </c:pt>
                <c:pt idx="27711">
                  <c:v>0</c:v>
                </c:pt>
                <c:pt idx="27712">
                  <c:v>0</c:v>
                </c:pt>
                <c:pt idx="27713">
                  <c:v>8</c:v>
                </c:pt>
                <c:pt idx="27714">
                  <c:v>2</c:v>
                </c:pt>
                <c:pt idx="27715">
                  <c:v>2</c:v>
                </c:pt>
                <c:pt idx="27716">
                  <c:v>3</c:v>
                </c:pt>
                <c:pt idx="27717">
                  <c:v>5</c:v>
                </c:pt>
                <c:pt idx="27718">
                  <c:v>1</c:v>
                </c:pt>
                <c:pt idx="27719">
                  <c:v>5</c:v>
                </c:pt>
                <c:pt idx="27720">
                  <c:v>0</c:v>
                </c:pt>
                <c:pt idx="27721">
                  <c:v>2</c:v>
                </c:pt>
                <c:pt idx="27722">
                  <c:v>2</c:v>
                </c:pt>
                <c:pt idx="27723">
                  <c:v>0</c:v>
                </c:pt>
                <c:pt idx="27724">
                  <c:v>2</c:v>
                </c:pt>
                <c:pt idx="27725">
                  <c:v>3</c:v>
                </c:pt>
                <c:pt idx="27726">
                  <c:v>0</c:v>
                </c:pt>
                <c:pt idx="27727">
                  <c:v>0</c:v>
                </c:pt>
                <c:pt idx="27728">
                  <c:v>3</c:v>
                </c:pt>
                <c:pt idx="27729">
                  <c:v>0</c:v>
                </c:pt>
                <c:pt idx="27730">
                  <c:v>0</c:v>
                </c:pt>
                <c:pt idx="27731">
                  <c:v>2</c:v>
                </c:pt>
                <c:pt idx="27732">
                  <c:v>1</c:v>
                </c:pt>
                <c:pt idx="27733">
                  <c:v>0</c:v>
                </c:pt>
                <c:pt idx="27734">
                  <c:v>8</c:v>
                </c:pt>
                <c:pt idx="27735">
                  <c:v>5</c:v>
                </c:pt>
                <c:pt idx="27736">
                  <c:v>0</c:v>
                </c:pt>
                <c:pt idx="27737">
                  <c:v>0</c:v>
                </c:pt>
                <c:pt idx="27738">
                  <c:v>0</c:v>
                </c:pt>
                <c:pt idx="27739">
                  <c:v>0</c:v>
                </c:pt>
                <c:pt idx="27740">
                  <c:v>2</c:v>
                </c:pt>
                <c:pt idx="27741">
                  <c:v>0</c:v>
                </c:pt>
                <c:pt idx="27742">
                  <c:v>2</c:v>
                </c:pt>
                <c:pt idx="27743">
                  <c:v>5</c:v>
                </c:pt>
                <c:pt idx="27744">
                  <c:v>18</c:v>
                </c:pt>
                <c:pt idx="27745">
                  <c:v>2</c:v>
                </c:pt>
                <c:pt idx="27746">
                  <c:v>4</c:v>
                </c:pt>
                <c:pt idx="27747">
                  <c:v>1</c:v>
                </c:pt>
                <c:pt idx="27748">
                  <c:v>0</c:v>
                </c:pt>
                <c:pt idx="27749">
                  <c:v>0</c:v>
                </c:pt>
                <c:pt idx="27750">
                  <c:v>0</c:v>
                </c:pt>
                <c:pt idx="27751">
                  <c:v>0</c:v>
                </c:pt>
                <c:pt idx="27752">
                  <c:v>0</c:v>
                </c:pt>
                <c:pt idx="27753">
                  <c:v>1</c:v>
                </c:pt>
                <c:pt idx="27754">
                  <c:v>0</c:v>
                </c:pt>
                <c:pt idx="27755">
                  <c:v>0</c:v>
                </c:pt>
                <c:pt idx="27756">
                  <c:v>0</c:v>
                </c:pt>
                <c:pt idx="27757">
                  <c:v>0</c:v>
                </c:pt>
                <c:pt idx="27758">
                  <c:v>0</c:v>
                </c:pt>
                <c:pt idx="27759">
                  <c:v>1</c:v>
                </c:pt>
                <c:pt idx="27760">
                  <c:v>0</c:v>
                </c:pt>
                <c:pt idx="27761">
                  <c:v>1</c:v>
                </c:pt>
                <c:pt idx="27762">
                  <c:v>0</c:v>
                </c:pt>
                <c:pt idx="27763">
                  <c:v>0</c:v>
                </c:pt>
                <c:pt idx="27764">
                  <c:v>1</c:v>
                </c:pt>
                <c:pt idx="27765">
                  <c:v>5</c:v>
                </c:pt>
                <c:pt idx="27766">
                  <c:v>0</c:v>
                </c:pt>
                <c:pt idx="27767">
                  <c:v>0</c:v>
                </c:pt>
                <c:pt idx="27768">
                  <c:v>0</c:v>
                </c:pt>
                <c:pt idx="27769">
                  <c:v>0</c:v>
                </c:pt>
                <c:pt idx="27770">
                  <c:v>1</c:v>
                </c:pt>
                <c:pt idx="27771">
                  <c:v>0</c:v>
                </c:pt>
                <c:pt idx="27772">
                  <c:v>0</c:v>
                </c:pt>
                <c:pt idx="27773">
                  <c:v>0</c:v>
                </c:pt>
                <c:pt idx="27774">
                  <c:v>0</c:v>
                </c:pt>
                <c:pt idx="27775">
                  <c:v>0</c:v>
                </c:pt>
                <c:pt idx="27776">
                  <c:v>0</c:v>
                </c:pt>
                <c:pt idx="27777">
                  <c:v>0</c:v>
                </c:pt>
                <c:pt idx="27778">
                  <c:v>0</c:v>
                </c:pt>
                <c:pt idx="27779">
                  <c:v>0</c:v>
                </c:pt>
                <c:pt idx="27780">
                  <c:v>0</c:v>
                </c:pt>
                <c:pt idx="27781">
                  <c:v>0</c:v>
                </c:pt>
                <c:pt idx="27782">
                  <c:v>0</c:v>
                </c:pt>
                <c:pt idx="27783">
                  <c:v>0</c:v>
                </c:pt>
                <c:pt idx="27784">
                  <c:v>0</c:v>
                </c:pt>
                <c:pt idx="27785">
                  <c:v>0</c:v>
                </c:pt>
                <c:pt idx="27786">
                  <c:v>0</c:v>
                </c:pt>
                <c:pt idx="27787">
                  <c:v>2</c:v>
                </c:pt>
                <c:pt idx="27788">
                  <c:v>0</c:v>
                </c:pt>
                <c:pt idx="27789">
                  <c:v>2</c:v>
                </c:pt>
                <c:pt idx="27790">
                  <c:v>3</c:v>
                </c:pt>
                <c:pt idx="27791">
                  <c:v>0</c:v>
                </c:pt>
                <c:pt idx="27792">
                  <c:v>1</c:v>
                </c:pt>
                <c:pt idx="27793">
                  <c:v>5</c:v>
                </c:pt>
                <c:pt idx="27794">
                  <c:v>0</c:v>
                </c:pt>
                <c:pt idx="27795">
                  <c:v>3</c:v>
                </c:pt>
                <c:pt idx="27796">
                  <c:v>1</c:v>
                </c:pt>
                <c:pt idx="27797">
                  <c:v>1</c:v>
                </c:pt>
                <c:pt idx="27798">
                  <c:v>0</c:v>
                </c:pt>
                <c:pt idx="27799">
                  <c:v>0</c:v>
                </c:pt>
                <c:pt idx="27800">
                  <c:v>0</c:v>
                </c:pt>
                <c:pt idx="27801">
                  <c:v>0</c:v>
                </c:pt>
                <c:pt idx="27802">
                  <c:v>0</c:v>
                </c:pt>
                <c:pt idx="27803">
                  <c:v>0</c:v>
                </c:pt>
                <c:pt idx="27804">
                  <c:v>0</c:v>
                </c:pt>
                <c:pt idx="27805">
                  <c:v>0</c:v>
                </c:pt>
                <c:pt idx="27806">
                  <c:v>0</c:v>
                </c:pt>
                <c:pt idx="27807">
                  <c:v>1</c:v>
                </c:pt>
                <c:pt idx="27808">
                  <c:v>0</c:v>
                </c:pt>
                <c:pt idx="27809">
                  <c:v>0</c:v>
                </c:pt>
                <c:pt idx="27810">
                  <c:v>0</c:v>
                </c:pt>
                <c:pt idx="27811">
                  <c:v>0</c:v>
                </c:pt>
                <c:pt idx="27812">
                  <c:v>0</c:v>
                </c:pt>
                <c:pt idx="27813">
                  <c:v>0</c:v>
                </c:pt>
                <c:pt idx="27814">
                  <c:v>0</c:v>
                </c:pt>
                <c:pt idx="27815">
                  <c:v>0</c:v>
                </c:pt>
                <c:pt idx="27816">
                  <c:v>0</c:v>
                </c:pt>
                <c:pt idx="27817">
                  <c:v>0</c:v>
                </c:pt>
                <c:pt idx="27818">
                  <c:v>0</c:v>
                </c:pt>
                <c:pt idx="27819">
                  <c:v>0</c:v>
                </c:pt>
                <c:pt idx="27820">
                  <c:v>0</c:v>
                </c:pt>
                <c:pt idx="27821">
                  <c:v>0</c:v>
                </c:pt>
                <c:pt idx="27822">
                  <c:v>0</c:v>
                </c:pt>
                <c:pt idx="27823">
                  <c:v>0</c:v>
                </c:pt>
                <c:pt idx="27824">
                  <c:v>0</c:v>
                </c:pt>
                <c:pt idx="27825">
                  <c:v>0</c:v>
                </c:pt>
                <c:pt idx="27826">
                  <c:v>0</c:v>
                </c:pt>
                <c:pt idx="27827">
                  <c:v>0</c:v>
                </c:pt>
                <c:pt idx="27828">
                  <c:v>0</c:v>
                </c:pt>
                <c:pt idx="27829">
                  <c:v>0</c:v>
                </c:pt>
                <c:pt idx="27830">
                  <c:v>0</c:v>
                </c:pt>
                <c:pt idx="27831">
                  <c:v>0</c:v>
                </c:pt>
                <c:pt idx="27832">
                  <c:v>5</c:v>
                </c:pt>
                <c:pt idx="27833">
                  <c:v>7</c:v>
                </c:pt>
                <c:pt idx="27834">
                  <c:v>1</c:v>
                </c:pt>
                <c:pt idx="27835">
                  <c:v>0</c:v>
                </c:pt>
                <c:pt idx="27836">
                  <c:v>5</c:v>
                </c:pt>
                <c:pt idx="27837">
                  <c:v>5</c:v>
                </c:pt>
                <c:pt idx="27838">
                  <c:v>0</c:v>
                </c:pt>
                <c:pt idx="27839">
                  <c:v>0</c:v>
                </c:pt>
                <c:pt idx="27840">
                  <c:v>0</c:v>
                </c:pt>
                <c:pt idx="27841">
                  <c:v>3</c:v>
                </c:pt>
                <c:pt idx="27842">
                  <c:v>6</c:v>
                </c:pt>
                <c:pt idx="27843">
                  <c:v>0</c:v>
                </c:pt>
                <c:pt idx="27844">
                  <c:v>3</c:v>
                </c:pt>
                <c:pt idx="27845">
                  <c:v>2</c:v>
                </c:pt>
                <c:pt idx="27846">
                  <c:v>0</c:v>
                </c:pt>
                <c:pt idx="27847">
                  <c:v>2</c:v>
                </c:pt>
                <c:pt idx="27848">
                  <c:v>0</c:v>
                </c:pt>
                <c:pt idx="27849">
                  <c:v>0</c:v>
                </c:pt>
                <c:pt idx="27850">
                  <c:v>8</c:v>
                </c:pt>
                <c:pt idx="27851">
                  <c:v>0</c:v>
                </c:pt>
                <c:pt idx="27852">
                  <c:v>10</c:v>
                </c:pt>
                <c:pt idx="27853">
                  <c:v>0</c:v>
                </c:pt>
                <c:pt idx="27854">
                  <c:v>2</c:v>
                </c:pt>
                <c:pt idx="27855">
                  <c:v>0</c:v>
                </c:pt>
                <c:pt idx="27856">
                  <c:v>0</c:v>
                </c:pt>
                <c:pt idx="27857">
                  <c:v>0</c:v>
                </c:pt>
                <c:pt idx="27858">
                  <c:v>0</c:v>
                </c:pt>
                <c:pt idx="27859">
                  <c:v>0</c:v>
                </c:pt>
                <c:pt idx="27860">
                  <c:v>0</c:v>
                </c:pt>
                <c:pt idx="27861">
                  <c:v>0</c:v>
                </c:pt>
                <c:pt idx="27862">
                  <c:v>2</c:v>
                </c:pt>
                <c:pt idx="27863">
                  <c:v>0</c:v>
                </c:pt>
                <c:pt idx="27864">
                  <c:v>4</c:v>
                </c:pt>
                <c:pt idx="27865">
                  <c:v>4</c:v>
                </c:pt>
                <c:pt idx="27866">
                  <c:v>0</c:v>
                </c:pt>
                <c:pt idx="27867">
                  <c:v>0</c:v>
                </c:pt>
                <c:pt idx="27868">
                  <c:v>0</c:v>
                </c:pt>
                <c:pt idx="27869">
                  <c:v>0</c:v>
                </c:pt>
                <c:pt idx="27870">
                  <c:v>0</c:v>
                </c:pt>
                <c:pt idx="27871">
                  <c:v>2</c:v>
                </c:pt>
                <c:pt idx="27872">
                  <c:v>9</c:v>
                </c:pt>
                <c:pt idx="27873">
                  <c:v>4</c:v>
                </c:pt>
                <c:pt idx="27874">
                  <c:v>0</c:v>
                </c:pt>
                <c:pt idx="27875">
                  <c:v>0</c:v>
                </c:pt>
                <c:pt idx="27876">
                  <c:v>0</c:v>
                </c:pt>
                <c:pt idx="27877">
                  <c:v>0</c:v>
                </c:pt>
                <c:pt idx="27878">
                  <c:v>4</c:v>
                </c:pt>
                <c:pt idx="27879">
                  <c:v>0</c:v>
                </c:pt>
                <c:pt idx="27880">
                  <c:v>0</c:v>
                </c:pt>
                <c:pt idx="27881">
                  <c:v>10</c:v>
                </c:pt>
                <c:pt idx="27882">
                  <c:v>1</c:v>
                </c:pt>
                <c:pt idx="27883">
                  <c:v>1</c:v>
                </c:pt>
                <c:pt idx="27884">
                  <c:v>0</c:v>
                </c:pt>
                <c:pt idx="27885">
                  <c:v>4</c:v>
                </c:pt>
                <c:pt idx="27886">
                  <c:v>15</c:v>
                </c:pt>
                <c:pt idx="27887">
                  <c:v>0</c:v>
                </c:pt>
                <c:pt idx="27888">
                  <c:v>4</c:v>
                </c:pt>
                <c:pt idx="27889">
                  <c:v>1</c:v>
                </c:pt>
                <c:pt idx="27890">
                  <c:v>0</c:v>
                </c:pt>
                <c:pt idx="27891">
                  <c:v>0</c:v>
                </c:pt>
                <c:pt idx="27892">
                  <c:v>0</c:v>
                </c:pt>
                <c:pt idx="27893">
                  <c:v>8</c:v>
                </c:pt>
                <c:pt idx="27894">
                  <c:v>6</c:v>
                </c:pt>
                <c:pt idx="27895">
                  <c:v>0</c:v>
                </c:pt>
                <c:pt idx="27896">
                  <c:v>0</c:v>
                </c:pt>
                <c:pt idx="27897">
                  <c:v>2</c:v>
                </c:pt>
                <c:pt idx="27898">
                  <c:v>0</c:v>
                </c:pt>
                <c:pt idx="27899">
                  <c:v>0</c:v>
                </c:pt>
                <c:pt idx="27900">
                  <c:v>1</c:v>
                </c:pt>
                <c:pt idx="27901">
                  <c:v>2</c:v>
                </c:pt>
                <c:pt idx="27902">
                  <c:v>0</c:v>
                </c:pt>
                <c:pt idx="27903">
                  <c:v>0</c:v>
                </c:pt>
                <c:pt idx="27904">
                  <c:v>0</c:v>
                </c:pt>
                <c:pt idx="27905">
                  <c:v>1</c:v>
                </c:pt>
                <c:pt idx="27906">
                  <c:v>0</c:v>
                </c:pt>
                <c:pt idx="27907">
                  <c:v>0</c:v>
                </c:pt>
                <c:pt idx="27908">
                  <c:v>0</c:v>
                </c:pt>
                <c:pt idx="27909">
                  <c:v>0</c:v>
                </c:pt>
                <c:pt idx="27910">
                  <c:v>0</c:v>
                </c:pt>
                <c:pt idx="27911">
                  <c:v>2</c:v>
                </c:pt>
                <c:pt idx="27912">
                  <c:v>0</c:v>
                </c:pt>
                <c:pt idx="27913">
                  <c:v>5</c:v>
                </c:pt>
                <c:pt idx="27914">
                  <c:v>1</c:v>
                </c:pt>
                <c:pt idx="27915">
                  <c:v>6</c:v>
                </c:pt>
                <c:pt idx="27916">
                  <c:v>7</c:v>
                </c:pt>
                <c:pt idx="27917">
                  <c:v>5</c:v>
                </c:pt>
                <c:pt idx="27918">
                  <c:v>4</c:v>
                </c:pt>
                <c:pt idx="27919">
                  <c:v>10</c:v>
                </c:pt>
                <c:pt idx="27920">
                  <c:v>10</c:v>
                </c:pt>
                <c:pt idx="27921">
                  <c:v>3</c:v>
                </c:pt>
                <c:pt idx="27922">
                  <c:v>6</c:v>
                </c:pt>
                <c:pt idx="27923">
                  <c:v>1</c:v>
                </c:pt>
                <c:pt idx="27924">
                  <c:v>4</c:v>
                </c:pt>
                <c:pt idx="27925">
                  <c:v>9</c:v>
                </c:pt>
                <c:pt idx="27926">
                  <c:v>2</c:v>
                </c:pt>
                <c:pt idx="27927">
                  <c:v>4</c:v>
                </c:pt>
                <c:pt idx="27928">
                  <c:v>2</c:v>
                </c:pt>
                <c:pt idx="27929">
                  <c:v>7</c:v>
                </c:pt>
                <c:pt idx="27930">
                  <c:v>1</c:v>
                </c:pt>
                <c:pt idx="27931">
                  <c:v>7</c:v>
                </c:pt>
                <c:pt idx="27932">
                  <c:v>3</c:v>
                </c:pt>
                <c:pt idx="27933">
                  <c:v>1</c:v>
                </c:pt>
                <c:pt idx="27934">
                  <c:v>1</c:v>
                </c:pt>
                <c:pt idx="27935">
                  <c:v>0</c:v>
                </c:pt>
                <c:pt idx="27936">
                  <c:v>0</c:v>
                </c:pt>
                <c:pt idx="27937">
                  <c:v>3</c:v>
                </c:pt>
                <c:pt idx="27938">
                  <c:v>1</c:v>
                </c:pt>
                <c:pt idx="27939">
                  <c:v>3</c:v>
                </c:pt>
                <c:pt idx="27940">
                  <c:v>5</c:v>
                </c:pt>
                <c:pt idx="27941">
                  <c:v>1</c:v>
                </c:pt>
                <c:pt idx="27942">
                  <c:v>4</c:v>
                </c:pt>
                <c:pt idx="27943">
                  <c:v>1</c:v>
                </c:pt>
                <c:pt idx="27944">
                  <c:v>7</c:v>
                </c:pt>
                <c:pt idx="27945">
                  <c:v>3</c:v>
                </c:pt>
                <c:pt idx="27946">
                  <c:v>1</c:v>
                </c:pt>
                <c:pt idx="27947">
                  <c:v>4</c:v>
                </c:pt>
                <c:pt idx="27948">
                  <c:v>1</c:v>
                </c:pt>
                <c:pt idx="27949">
                  <c:v>0</c:v>
                </c:pt>
                <c:pt idx="27950">
                  <c:v>0</c:v>
                </c:pt>
                <c:pt idx="27951">
                  <c:v>0</c:v>
                </c:pt>
                <c:pt idx="27952">
                  <c:v>0</c:v>
                </c:pt>
                <c:pt idx="27953">
                  <c:v>0</c:v>
                </c:pt>
                <c:pt idx="27954">
                  <c:v>0</c:v>
                </c:pt>
                <c:pt idx="27955">
                  <c:v>0</c:v>
                </c:pt>
                <c:pt idx="27956">
                  <c:v>4</c:v>
                </c:pt>
                <c:pt idx="27957">
                  <c:v>8</c:v>
                </c:pt>
                <c:pt idx="27958">
                  <c:v>0</c:v>
                </c:pt>
                <c:pt idx="27959">
                  <c:v>0</c:v>
                </c:pt>
                <c:pt idx="27960">
                  <c:v>0</c:v>
                </c:pt>
                <c:pt idx="27961">
                  <c:v>0</c:v>
                </c:pt>
                <c:pt idx="27962">
                  <c:v>0</c:v>
                </c:pt>
                <c:pt idx="27963">
                  <c:v>1</c:v>
                </c:pt>
                <c:pt idx="27964">
                  <c:v>0</c:v>
                </c:pt>
                <c:pt idx="27965">
                  <c:v>0</c:v>
                </c:pt>
                <c:pt idx="27966">
                  <c:v>1</c:v>
                </c:pt>
                <c:pt idx="27967">
                  <c:v>1</c:v>
                </c:pt>
                <c:pt idx="27968">
                  <c:v>0</c:v>
                </c:pt>
                <c:pt idx="27969">
                  <c:v>0</c:v>
                </c:pt>
                <c:pt idx="27970">
                  <c:v>0</c:v>
                </c:pt>
                <c:pt idx="27971">
                  <c:v>0</c:v>
                </c:pt>
                <c:pt idx="27972">
                  <c:v>0</c:v>
                </c:pt>
                <c:pt idx="27973">
                  <c:v>0</c:v>
                </c:pt>
                <c:pt idx="27974">
                  <c:v>0</c:v>
                </c:pt>
                <c:pt idx="27975">
                  <c:v>0</c:v>
                </c:pt>
                <c:pt idx="27976">
                  <c:v>0</c:v>
                </c:pt>
                <c:pt idx="27977">
                  <c:v>1</c:v>
                </c:pt>
                <c:pt idx="27978">
                  <c:v>2</c:v>
                </c:pt>
                <c:pt idx="27979">
                  <c:v>1</c:v>
                </c:pt>
                <c:pt idx="27980">
                  <c:v>0</c:v>
                </c:pt>
                <c:pt idx="27981">
                  <c:v>1</c:v>
                </c:pt>
                <c:pt idx="27982">
                  <c:v>0</c:v>
                </c:pt>
                <c:pt idx="27983">
                  <c:v>0</c:v>
                </c:pt>
                <c:pt idx="27984">
                  <c:v>3</c:v>
                </c:pt>
                <c:pt idx="27985">
                  <c:v>0</c:v>
                </c:pt>
                <c:pt idx="27986">
                  <c:v>0</c:v>
                </c:pt>
                <c:pt idx="27987">
                  <c:v>0</c:v>
                </c:pt>
                <c:pt idx="27988">
                  <c:v>0</c:v>
                </c:pt>
                <c:pt idx="27989">
                  <c:v>1</c:v>
                </c:pt>
                <c:pt idx="27990">
                  <c:v>1</c:v>
                </c:pt>
                <c:pt idx="27991">
                  <c:v>0</c:v>
                </c:pt>
                <c:pt idx="27992">
                  <c:v>4</c:v>
                </c:pt>
                <c:pt idx="27993">
                  <c:v>3</c:v>
                </c:pt>
                <c:pt idx="27994">
                  <c:v>1</c:v>
                </c:pt>
                <c:pt idx="27995">
                  <c:v>6</c:v>
                </c:pt>
                <c:pt idx="27996">
                  <c:v>0</c:v>
                </c:pt>
                <c:pt idx="27997">
                  <c:v>3</c:v>
                </c:pt>
                <c:pt idx="27998">
                  <c:v>0</c:v>
                </c:pt>
                <c:pt idx="27999">
                  <c:v>0</c:v>
                </c:pt>
                <c:pt idx="28000">
                  <c:v>0</c:v>
                </c:pt>
                <c:pt idx="28001">
                  <c:v>0</c:v>
                </c:pt>
                <c:pt idx="28002">
                  <c:v>0</c:v>
                </c:pt>
                <c:pt idx="28003">
                  <c:v>0</c:v>
                </c:pt>
                <c:pt idx="28004">
                  <c:v>1</c:v>
                </c:pt>
                <c:pt idx="28005">
                  <c:v>0</c:v>
                </c:pt>
                <c:pt idx="28006">
                  <c:v>0</c:v>
                </c:pt>
                <c:pt idx="28007">
                  <c:v>0</c:v>
                </c:pt>
                <c:pt idx="28008">
                  <c:v>0</c:v>
                </c:pt>
                <c:pt idx="28009">
                  <c:v>0</c:v>
                </c:pt>
                <c:pt idx="28010">
                  <c:v>0</c:v>
                </c:pt>
                <c:pt idx="28011">
                  <c:v>0</c:v>
                </c:pt>
                <c:pt idx="28012">
                  <c:v>0</c:v>
                </c:pt>
                <c:pt idx="28013">
                  <c:v>0</c:v>
                </c:pt>
                <c:pt idx="28014">
                  <c:v>0</c:v>
                </c:pt>
                <c:pt idx="28015">
                  <c:v>0</c:v>
                </c:pt>
                <c:pt idx="28016">
                  <c:v>0</c:v>
                </c:pt>
                <c:pt idx="28017">
                  <c:v>0</c:v>
                </c:pt>
                <c:pt idx="28018">
                  <c:v>0</c:v>
                </c:pt>
                <c:pt idx="28019">
                  <c:v>0</c:v>
                </c:pt>
                <c:pt idx="28020">
                  <c:v>0</c:v>
                </c:pt>
                <c:pt idx="28021">
                  <c:v>0</c:v>
                </c:pt>
                <c:pt idx="28022">
                  <c:v>0</c:v>
                </c:pt>
                <c:pt idx="28023">
                  <c:v>0</c:v>
                </c:pt>
                <c:pt idx="28024">
                  <c:v>0</c:v>
                </c:pt>
                <c:pt idx="28025">
                  <c:v>0</c:v>
                </c:pt>
                <c:pt idx="28026">
                  <c:v>0</c:v>
                </c:pt>
                <c:pt idx="28027">
                  <c:v>0</c:v>
                </c:pt>
                <c:pt idx="28028">
                  <c:v>0</c:v>
                </c:pt>
                <c:pt idx="28029">
                  <c:v>0</c:v>
                </c:pt>
                <c:pt idx="28030">
                  <c:v>0</c:v>
                </c:pt>
                <c:pt idx="28031">
                  <c:v>0</c:v>
                </c:pt>
                <c:pt idx="28032">
                  <c:v>0</c:v>
                </c:pt>
                <c:pt idx="28033">
                  <c:v>0</c:v>
                </c:pt>
                <c:pt idx="28034">
                  <c:v>0</c:v>
                </c:pt>
                <c:pt idx="28035">
                  <c:v>0</c:v>
                </c:pt>
                <c:pt idx="28036">
                  <c:v>3</c:v>
                </c:pt>
                <c:pt idx="28037">
                  <c:v>0</c:v>
                </c:pt>
                <c:pt idx="28038">
                  <c:v>0</c:v>
                </c:pt>
                <c:pt idx="28039">
                  <c:v>0</c:v>
                </c:pt>
                <c:pt idx="28040">
                  <c:v>0</c:v>
                </c:pt>
                <c:pt idx="28041">
                  <c:v>0</c:v>
                </c:pt>
                <c:pt idx="28042">
                  <c:v>0</c:v>
                </c:pt>
                <c:pt idx="28043">
                  <c:v>0</c:v>
                </c:pt>
                <c:pt idx="28044">
                  <c:v>1</c:v>
                </c:pt>
                <c:pt idx="28045">
                  <c:v>1</c:v>
                </c:pt>
                <c:pt idx="28046">
                  <c:v>0</c:v>
                </c:pt>
                <c:pt idx="28047">
                  <c:v>1</c:v>
                </c:pt>
                <c:pt idx="28048">
                  <c:v>0</c:v>
                </c:pt>
                <c:pt idx="28049">
                  <c:v>0</c:v>
                </c:pt>
                <c:pt idx="28050">
                  <c:v>0</c:v>
                </c:pt>
                <c:pt idx="28051">
                  <c:v>0</c:v>
                </c:pt>
                <c:pt idx="28052">
                  <c:v>0</c:v>
                </c:pt>
                <c:pt idx="28053">
                  <c:v>0</c:v>
                </c:pt>
                <c:pt idx="28054">
                  <c:v>0</c:v>
                </c:pt>
                <c:pt idx="28055">
                  <c:v>0</c:v>
                </c:pt>
                <c:pt idx="28056">
                  <c:v>0</c:v>
                </c:pt>
                <c:pt idx="28057">
                  <c:v>0</c:v>
                </c:pt>
                <c:pt idx="28058">
                  <c:v>0</c:v>
                </c:pt>
                <c:pt idx="28059">
                  <c:v>0</c:v>
                </c:pt>
                <c:pt idx="28060">
                  <c:v>2</c:v>
                </c:pt>
                <c:pt idx="28061">
                  <c:v>0</c:v>
                </c:pt>
                <c:pt idx="28062">
                  <c:v>0</c:v>
                </c:pt>
                <c:pt idx="28063">
                  <c:v>0</c:v>
                </c:pt>
                <c:pt idx="28064">
                  <c:v>0</c:v>
                </c:pt>
                <c:pt idx="28065">
                  <c:v>0</c:v>
                </c:pt>
                <c:pt idx="28066">
                  <c:v>1</c:v>
                </c:pt>
                <c:pt idx="28067">
                  <c:v>0</c:v>
                </c:pt>
                <c:pt idx="28068">
                  <c:v>6</c:v>
                </c:pt>
                <c:pt idx="28069">
                  <c:v>0</c:v>
                </c:pt>
                <c:pt idx="28070">
                  <c:v>4</c:v>
                </c:pt>
                <c:pt idx="28071">
                  <c:v>6</c:v>
                </c:pt>
                <c:pt idx="28072">
                  <c:v>1</c:v>
                </c:pt>
                <c:pt idx="28073">
                  <c:v>0</c:v>
                </c:pt>
                <c:pt idx="28074">
                  <c:v>0</c:v>
                </c:pt>
                <c:pt idx="28075">
                  <c:v>0</c:v>
                </c:pt>
                <c:pt idx="28076">
                  <c:v>2</c:v>
                </c:pt>
                <c:pt idx="28077">
                  <c:v>9</c:v>
                </c:pt>
                <c:pt idx="28078">
                  <c:v>0</c:v>
                </c:pt>
                <c:pt idx="28079">
                  <c:v>0</c:v>
                </c:pt>
                <c:pt idx="28080">
                  <c:v>0</c:v>
                </c:pt>
                <c:pt idx="28081">
                  <c:v>0</c:v>
                </c:pt>
                <c:pt idx="28082">
                  <c:v>0</c:v>
                </c:pt>
                <c:pt idx="28083">
                  <c:v>0</c:v>
                </c:pt>
                <c:pt idx="28084">
                  <c:v>0</c:v>
                </c:pt>
                <c:pt idx="28085">
                  <c:v>1</c:v>
                </c:pt>
                <c:pt idx="28086">
                  <c:v>0</c:v>
                </c:pt>
                <c:pt idx="28087">
                  <c:v>0</c:v>
                </c:pt>
                <c:pt idx="28088">
                  <c:v>0</c:v>
                </c:pt>
                <c:pt idx="28089">
                  <c:v>0</c:v>
                </c:pt>
                <c:pt idx="28090">
                  <c:v>0</c:v>
                </c:pt>
                <c:pt idx="28091">
                  <c:v>0</c:v>
                </c:pt>
                <c:pt idx="28092">
                  <c:v>0</c:v>
                </c:pt>
                <c:pt idx="28093">
                  <c:v>11</c:v>
                </c:pt>
                <c:pt idx="28094">
                  <c:v>4</c:v>
                </c:pt>
                <c:pt idx="28095">
                  <c:v>0</c:v>
                </c:pt>
                <c:pt idx="28096">
                  <c:v>0</c:v>
                </c:pt>
                <c:pt idx="28097">
                  <c:v>0</c:v>
                </c:pt>
                <c:pt idx="28098">
                  <c:v>0</c:v>
                </c:pt>
                <c:pt idx="28099">
                  <c:v>1</c:v>
                </c:pt>
                <c:pt idx="28100">
                  <c:v>2</c:v>
                </c:pt>
                <c:pt idx="28101">
                  <c:v>1</c:v>
                </c:pt>
                <c:pt idx="28102">
                  <c:v>0</c:v>
                </c:pt>
                <c:pt idx="28103">
                  <c:v>0</c:v>
                </c:pt>
                <c:pt idx="28104">
                  <c:v>0</c:v>
                </c:pt>
                <c:pt idx="28105">
                  <c:v>0</c:v>
                </c:pt>
                <c:pt idx="28106">
                  <c:v>6</c:v>
                </c:pt>
                <c:pt idx="28107">
                  <c:v>0</c:v>
                </c:pt>
                <c:pt idx="28108">
                  <c:v>0</c:v>
                </c:pt>
                <c:pt idx="28109">
                  <c:v>1</c:v>
                </c:pt>
                <c:pt idx="28110">
                  <c:v>0</c:v>
                </c:pt>
                <c:pt idx="28111">
                  <c:v>0</c:v>
                </c:pt>
                <c:pt idx="28112">
                  <c:v>7</c:v>
                </c:pt>
                <c:pt idx="28113">
                  <c:v>0</c:v>
                </c:pt>
                <c:pt idx="28114">
                  <c:v>0</c:v>
                </c:pt>
                <c:pt idx="28115">
                  <c:v>0</c:v>
                </c:pt>
                <c:pt idx="28116">
                  <c:v>0</c:v>
                </c:pt>
                <c:pt idx="28117">
                  <c:v>3</c:v>
                </c:pt>
                <c:pt idx="28118">
                  <c:v>1</c:v>
                </c:pt>
                <c:pt idx="28119">
                  <c:v>0</c:v>
                </c:pt>
                <c:pt idx="28120">
                  <c:v>0</c:v>
                </c:pt>
                <c:pt idx="28121">
                  <c:v>0</c:v>
                </c:pt>
                <c:pt idx="28122">
                  <c:v>0</c:v>
                </c:pt>
                <c:pt idx="28123">
                  <c:v>0</c:v>
                </c:pt>
                <c:pt idx="28124">
                  <c:v>0</c:v>
                </c:pt>
                <c:pt idx="28125">
                  <c:v>0</c:v>
                </c:pt>
                <c:pt idx="28126">
                  <c:v>0</c:v>
                </c:pt>
                <c:pt idx="28127">
                  <c:v>0</c:v>
                </c:pt>
                <c:pt idx="28128">
                  <c:v>1</c:v>
                </c:pt>
                <c:pt idx="28129">
                  <c:v>0</c:v>
                </c:pt>
                <c:pt idx="28130">
                  <c:v>0</c:v>
                </c:pt>
                <c:pt idx="28131">
                  <c:v>2</c:v>
                </c:pt>
                <c:pt idx="28132">
                  <c:v>2</c:v>
                </c:pt>
                <c:pt idx="28133">
                  <c:v>0</c:v>
                </c:pt>
                <c:pt idx="28134">
                  <c:v>0</c:v>
                </c:pt>
                <c:pt idx="28135">
                  <c:v>1</c:v>
                </c:pt>
                <c:pt idx="28136">
                  <c:v>4</c:v>
                </c:pt>
                <c:pt idx="28137">
                  <c:v>0</c:v>
                </c:pt>
                <c:pt idx="28138">
                  <c:v>0</c:v>
                </c:pt>
                <c:pt idx="28139">
                  <c:v>5</c:v>
                </c:pt>
                <c:pt idx="28140">
                  <c:v>2</c:v>
                </c:pt>
                <c:pt idx="28141">
                  <c:v>9</c:v>
                </c:pt>
                <c:pt idx="28142">
                  <c:v>11</c:v>
                </c:pt>
                <c:pt idx="28143">
                  <c:v>4</c:v>
                </c:pt>
                <c:pt idx="28144">
                  <c:v>0</c:v>
                </c:pt>
                <c:pt idx="28145">
                  <c:v>29</c:v>
                </c:pt>
                <c:pt idx="28146">
                  <c:v>2</c:v>
                </c:pt>
                <c:pt idx="28147">
                  <c:v>1</c:v>
                </c:pt>
                <c:pt idx="28148">
                  <c:v>1</c:v>
                </c:pt>
                <c:pt idx="28149">
                  <c:v>2</c:v>
                </c:pt>
                <c:pt idx="28150">
                  <c:v>1</c:v>
                </c:pt>
                <c:pt idx="28151">
                  <c:v>0</c:v>
                </c:pt>
                <c:pt idx="28152">
                  <c:v>0</c:v>
                </c:pt>
                <c:pt idx="28153">
                  <c:v>0</c:v>
                </c:pt>
                <c:pt idx="28154">
                  <c:v>8</c:v>
                </c:pt>
                <c:pt idx="28155">
                  <c:v>6</c:v>
                </c:pt>
                <c:pt idx="28156">
                  <c:v>4</c:v>
                </c:pt>
                <c:pt idx="28157">
                  <c:v>6</c:v>
                </c:pt>
                <c:pt idx="28158">
                  <c:v>1</c:v>
                </c:pt>
                <c:pt idx="28159">
                  <c:v>0</c:v>
                </c:pt>
                <c:pt idx="28160">
                  <c:v>2</c:v>
                </c:pt>
                <c:pt idx="28161">
                  <c:v>0</c:v>
                </c:pt>
                <c:pt idx="28162">
                  <c:v>5</c:v>
                </c:pt>
                <c:pt idx="28163">
                  <c:v>0</c:v>
                </c:pt>
                <c:pt idx="28164">
                  <c:v>0</c:v>
                </c:pt>
                <c:pt idx="28165">
                  <c:v>0</c:v>
                </c:pt>
                <c:pt idx="28166">
                  <c:v>0</c:v>
                </c:pt>
                <c:pt idx="28167">
                  <c:v>0</c:v>
                </c:pt>
                <c:pt idx="28168">
                  <c:v>0</c:v>
                </c:pt>
                <c:pt idx="28169">
                  <c:v>0</c:v>
                </c:pt>
                <c:pt idx="28170">
                  <c:v>0</c:v>
                </c:pt>
                <c:pt idx="28171">
                  <c:v>1</c:v>
                </c:pt>
                <c:pt idx="28172">
                  <c:v>0</c:v>
                </c:pt>
                <c:pt idx="28173">
                  <c:v>1</c:v>
                </c:pt>
                <c:pt idx="28174">
                  <c:v>0</c:v>
                </c:pt>
                <c:pt idx="28175">
                  <c:v>6</c:v>
                </c:pt>
                <c:pt idx="28176">
                  <c:v>0</c:v>
                </c:pt>
                <c:pt idx="28177">
                  <c:v>0</c:v>
                </c:pt>
                <c:pt idx="28178">
                  <c:v>3</c:v>
                </c:pt>
                <c:pt idx="28179">
                  <c:v>6</c:v>
                </c:pt>
                <c:pt idx="28180">
                  <c:v>0</c:v>
                </c:pt>
                <c:pt idx="28181">
                  <c:v>1</c:v>
                </c:pt>
                <c:pt idx="28182">
                  <c:v>0</c:v>
                </c:pt>
                <c:pt idx="28183">
                  <c:v>0</c:v>
                </c:pt>
                <c:pt idx="28184">
                  <c:v>0</c:v>
                </c:pt>
                <c:pt idx="28185">
                  <c:v>0</c:v>
                </c:pt>
                <c:pt idx="28186">
                  <c:v>7</c:v>
                </c:pt>
                <c:pt idx="28187">
                  <c:v>0</c:v>
                </c:pt>
                <c:pt idx="28188">
                  <c:v>0</c:v>
                </c:pt>
                <c:pt idx="28189">
                  <c:v>0</c:v>
                </c:pt>
                <c:pt idx="28190">
                  <c:v>0</c:v>
                </c:pt>
                <c:pt idx="28191">
                  <c:v>0</c:v>
                </c:pt>
                <c:pt idx="28192">
                  <c:v>0</c:v>
                </c:pt>
                <c:pt idx="28193">
                  <c:v>0</c:v>
                </c:pt>
                <c:pt idx="28194">
                  <c:v>2</c:v>
                </c:pt>
                <c:pt idx="28195">
                  <c:v>3</c:v>
                </c:pt>
                <c:pt idx="28196">
                  <c:v>4</c:v>
                </c:pt>
                <c:pt idx="28197">
                  <c:v>4</c:v>
                </c:pt>
                <c:pt idx="28198">
                  <c:v>0</c:v>
                </c:pt>
                <c:pt idx="28199">
                  <c:v>0</c:v>
                </c:pt>
                <c:pt idx="28200">
                  <c:v>0</c:v>
                </c:pt>
                <c:pt idx="28201">
                  <c:v>0</c:v>
                </c:pt>
                <c:pt idx="28202">
                  <c:v>2</c:v>
                </c:pt>
                <c:pt idx="28203">
                  <c:v>6</c:v>
                </c:pt>
                <c:pt idx="28204">
                  <c:v>5</c:v>
                </c:pt>
                <c:pt idx="28205">
                  <c:v>1</c:v>
                </c:pt>
                <c:pt idx="28206">
                  <c:v>4</c:v>
                </c:pt>
                <c:pt idx="28207">
                  <c:v>4</c:v>
                </c:pt>
                <c:pt idx="28208">
                  <c:v>2</c:v>
                </c:pt>
                <c:pt idx="28209">
                  <c:v>0</c:v>
                </c:pt>
                <c:pt idx="28210">
                  <c:v>0</c:v>
                </c:pt>
                <c:pt idx="28211">
                  <c:v>1</c:v>
                </c:pt>
                <c:pt idx="28212">
                  <c:v>0</c:v>
                </c:pt>
                <c:pt idx="28213">
                  <c:v>0</c:v>
                </c:pt>
                <c:pt idx="28214">
                  <c:v>0</c:v>
                </c:pt>
                <c:pt idx="28215">
                  <c:v>0</c:v>
                </c:pt>
                <c:pt idx="28216">
                  <c:v>0</c:v>
                </c:pt>
                <c:pt idx="28217">
                  <c:v>0</c:v>
                </c:pt>
                <c:pt idx="28218">
                  <c:v>0</c:v>
                </c:pt>
                <c:pt idx="28219">
                  <c:v>6</c:v>
                </c:pt>
                <c:pt idx="28220">
                  <c:v>0</c:v>
                </c:pt>
                <c:pt idx="28221">
                  <c:v>0</c:v>
                </c:pt>
                <c:pt idx="28222">
                  <c:v>0</c:v>
                </c:pt>
                <c:pt idx="28223">
                  <c:v>0</c:v>
                </c:pt>
                <c:pt idx="28224">
                  <c:v>0</c:v>
                </c:pt>
                <c:pt idx="28225">
                  <c:v>0</c:v>
                </c:pt>
                <c:pt idx="28226">
                  <c:v>0</c:v>
                </c:pt>
                <c:pt idx="28227">
                  <c:v>0</c:v>
                </c:pt>
                <c:pt idx="28228">
                  <c:v>10</c:v>
                </c:pt>
                <c:pt idx="28229">
                  <c:v>0</c:v>
                </c:pt>
                <c:pt idx="28230">
                  <c:v>4</c:v>
                </c:pt>
                <c:pt idx="28231">
                  <c:v>0</c:v>
                </c:pt>
                <c:pt idx="28232">
                  <c:v>0</c:v>
                </c:pt>
                <c:pt idx="28233">
                  <c:v>2</c:v>
                </c:pt>
                <c:pt idx="28234">
                  <c:v>0</c:v>
                </c:pt>
                <c:pt idx="28235">
                  <c:v>0</c:v>
                </c:pt>
                <c:pt idx="28236">
                  <c:v>0</c:v>
                </c:pt>
                <c:pt idx="28237">
                  <c:v>0</c:v>
                </c:pt>
                <c:pt idx="28238">
                  <c:v>0</c:v>
                </c:pt>
                <c:pt idx="28239">
                  <c:v>8</c:v>
                </c:pt>
                <c:pt idx="28240">
                  <c:v>2</c:v>
                </c:pt>
                <c:pt idx="28241">
                  <c:v>0</c:v>
                </c:pt>
                <c:pt idx="28242">
                  <c:v>0</c:v>
                </c:pt>
                <c:pt idx="28243">
                  <c:v>0</c:v>
                </c:pt>
                <c:pt idx="28244">
                  <c:v>0</c:v>
                </c:pt>
                <c:pt idx="28245">
                  <c:v>13</c:v>
                </c:pt>
                <c:pt idx="28246">
                  <c:v>6</c:v>
                </c:pt>
                <c:pt idx="28247">
                  <c:v>3</c:v>
                </c:pt>
                <c:pt idx="28248">
                  <c:v>4</c:v>
                </c:pt>
                <c:pt idx="28249">
                  <c:v>3</c:v>
                </c:pt>
                <c:pt idx="28250">
                  <c:v>5</c:v>
                </c:pt>
                <c:pt idx="28251">
                  <c:v>1</c:v>
                </c:pt>
                <c:pt idx="28252">
                  <c:v>0</c:v>
                </c:pt>
                <c:pt idx="28253">
                  <c:v>0</c:v>
                </c:pt>
                <c:pt idx="28254">
                  <c:v>5</c:v>
                </c:pt>
                <c:pt idx="28255">
                  <c:v>6</c:v>
                </c:pt>
                <c:pt idx="28256">
                  <c:v>4</c:v>
                </c:pt>
                <c:pt idx="28257">
                  <c:v>1</c:v>
                </c:pt>
                <c:pt idx="28258">
                  <c:v>2</c:v>
                </c:pt>
                <c:pt idx="28259">
                  <c:v>4</c:v>
                </c:pt>
                <c:pt idx="28260">
                  <c:v>7</c:v>
                </c:pt>
                <c:pt idx="28261">
                  <c:v>7</c:v>
                </c:pt>
                <c:pt idx="28262">
                  <c:v>3</c:v>
                </c:pt>
                <c:pt idx="28263">
                  <c:v>2</c:v>
                </c:pt>
                <c:pt idx="28264">
                  <c:v>2</c:v>
                </c:pt>
                <c:pt idx="28265">
                  <c:v>10</c:v>
                </c:pt>
                <c:pt idx="28266">
                  <c:v>3</c:v>
                </c:pt>
                <c:pt idx="28267">
                  <c:v>5</c:v>
                </c:pt>
                <c:pt idx="28268">
                  <c:v>0</c:v>
                </c:pt>
                <c:pt idx="28269">
                  <c:v>5</c:v>
                </c:pt>
                <c:pt idx="28270">
                  <c:v>2</c:v>
                </c:pt>
                <c:pt idx="28271">
                  <c:v>0</c:v>
                </c:pt>
                <c:pt idx="28272">
                  <c:v>6</c:v>
                </c:pt>
                <c:pt idx="28273">
                  <c:v>1</c:v>
                </c:pt>
                <c:pt idx="28274">
                  <c:v>1</c:v>
                </c:pt>
                <c:pt idx="28275">
                  <c:v>3</c:v>
                </c:pt>
                <c:pt idx="28276">
                  <c:v>2</c:v>
                </c:pt>
                <c:pt idx="28277">
                  <c:v>5</c:v>
                </c:pt>
                <c:pt idx="28278">
                  <c:v>8</c:v>
                </c:pt>
                <c:pt idx="28279">
                  <c:v>4</c:v>
                </c:pt>
                <c:pt idx="28280">
                  <c:v>4</c:v>
                </c:pt>
                <c:pt idx="28281">
                  <c:v>2</c:v>
                </c:pt>
                <c:pt idx="28282">
                  <c:v>2</c:v>
                </c:pt>
                <c:pt idx="28283">
                  <c:v>0</c:v>
                </c:pt>
                <c:pt idx="28284">
                  <c:v>0</c:v>
                </c:pt>
                <c:pt idx="28285">
                  <c:v>4</c:v>
                </c:pt>
                <c:pt idx="28286">
                  <c:v>3</c:v>
                </c:pt>
                <c:pt idx="28287">
                  <c:v>0</c:v>
                </c:pt>
                <c:pt idx="28288">
                  <c:v>0</c:v>
                </c:pt>
                <c:pt idx="28289">
                  <c:v>0</c:v>
                </c:pt>
                <c:pt idx="28290">
                  <c:v>0</c:v>
                </c:pt>
                <c:pt idx="28291">
                  <c:v>5</c:v>
                </c:pt>
                <c:pt idx="28292">
                  <c:v>1</c:v>
                </c:pt>
                <c:pt idx="28293">
                  <c:v>2</c:v>
                </c:pt>
                <c:pt idx="28294">
                  <c:v>0</c:v>
                </c:pt>
                <c:pt idx="28295">
                  <c:v>0</c:v>
                </c:pt>
                <c:pt idx="28296">
                  <c:v>0</c:v>
                </c:pt>
                <c:pt idx="28297">
                  <c:v>0</c:v>
                </c:pt>
                <c:pt idx="28298">
                  <c:v>0</c:v>
                </c:pt>
                <c:pt idx="28299">
                  <c:v>0</c:v>
                </c:pt>
                <c:pt idx="28300">
                  <c:v>0</c:v>
                </c:pt>
                <c:pt idx="28301">
                  <c:v>0</c:v>
                </c:pt>
                <c:pt idx="28302">
                  <c:v>0</c:v>
                </c:pt>
                <c:pt idx="28303">
                  <c:v>1</c:v>
                </c:pt>
                <c:pt idx="28304">
                  <c:v>0</c:v>
                </c:pt>
                <c:pt idx="28305">
                  <c:v>2</c:v>
                </c:pt>
                <c:pt idx="28306">
                  <c:v>0</c:v>
                </c:pt>
                <c:pt idx="28307">
                  <c:v>0</c:v>
                </c:pt>
                <c:pt idx="28308">
                  <c:v>0</c:v>
                </c:pt>
                <c:pt idx="28309">
                  <c:v>0</c:v>
                </c:pt>
                <c:pt idx="28310">
                  <c:v>0</c:v>
                </c:pt>
                <c:pt idx="28311">
                  <c:v>0</c:v>
                </c:pt>
                <c:pt idx="28312">
                  <c:v>2</c:v>
                </c:pt>
                <c:pt idx="28313">
                  <c:v>0</c:v>
                </c:pt>
                <c:pt idx="28314">
                  <c:v>0</c:v>
                </c:pt>
                <c:pt idx="28315">
                  <c:v>0</c:v>
                </c:pt>
                <c:pt idx="28316">
                  <c:v>0</c:v>
                </c:pt>
                <c:pt idx="28317">
                  <c:v>0</c:v>
                </c:pt>
                <c:pt idx="28318">
                  <c:v>0</c:v>
                </c:pt>
                <c:pt idx="28319">
                  <c:v>0</c:v>
                </c:pt>
                <c:pt idx="28320">
                  <c:v>0</c:v>
                </c:pt>
                <c:pt idx="28321">
                  <c:v>0</c:v>
                </c:pt>
                <c:pt idx="28322">
                  <c:v>0</c:v>
                </c:pt>
                <c:pt idx="28323">
                  <c:v>0</c:v>
                </c:pt>
                <c:pt idx="28324">
                  <c:v>0</c:v>
                </c:pt>
                <c:pt idx="28325">
                  <c:v>2</c:v>
                </c:pt>
                <c:pt idx="28326">
                  <c:v>1</c:v>
                </c:pt>
                <c:pt idx="28327">
                  <c:v>0</c:v>
                </c:pt>
                <c:pt idx="28328">
                  <c:v>1</c:v>
                </c:pt>
                <c:pt idx="28329">
                  <c:v>0</c:v>
                </c:pt>
                <c:pt idx="28330">
                  <c:v>0</c:v>
                </c:pt>
                <c:pt idx="28331">
                  <c:v>0</c:v>
                </c:pt>
                <c:pt idx="28332">
                  <c:v>0</c:v>
                </c:pt>
                <c:pt idx="28333">
                  <c:v>0</c:v>
                </c:pt>
                <c:pt idx="28334">
                  <c:v>0</c:v>
                </c:pt>
                <c:pt idx="28335">
                  <c:v>0</c:v>
                </c:pt>
                <c:pt idx="28336">
                  <c:v>9</c:v>
                </c:pt>
                <c:pt idx="28337">
                  <c:v>4</c:v>
                </c:pt>
                <c:pt idx="28338">
                  <c:v>1</c:v>
                </c:pt>
                <c:pt idx="28339">
                  <c:v>1</c:v>
                </c:pt>
                <c:pt idx="28340">
                  <c:v>3</c:v>
                </c:pt>
                <c:pt idx="28341">
                  <c:v>0</c:v>
                </c:pt>
                <c:pt idx="28342">
                  <c:v>0</c:v>
                </c:pt>
                <c:pt idx="28343">
                  <c:v>0</c:v>
                </c:pt>
                <c:pt idx="28344">
                  <c:v>0</c:v>
                </c:pt>
                <c:pt idx="28345">
                  <c:v>0</c:v>
                </c:pt>
                <c:pt idx="28346">
                  <c:v>0</c:v>
                </c:pt>
                <c:pt idx="28347">
                  <c:v>0</c:v>
                </c:pt>
                <c:pt idx="28348">
                  <c:v>0</c:v>
                </c:pt>
                <c:pt idx="28349">
                  <c:v>0</c:v>
                </c:pt>
                <c:pt idx="28350">
                  <c:v>2</c:v>
                </c:pt>
                <c:pt idx="28351">
                  <c:v>0</c:v>
                </c:pt>
                <c:pt idx="28352">
                  <c:v>1</c:v>
                </c:pt>
                <c:pt idx="28353">
                  <c:v>0</c:v>
                </c:pt>
                <c:pt idx="28354">
                  <c:v>0</c:v>
                </c:pt>
                <c:pt idx="28355">
                  <c:v>0</c:v>
                </c:pt>
                <c:pt idx="28356">
                  <c:v>0</c:v>
                </c:pt>
                <c:pt idx="28357">
                  <c:v>0</c:v>
                </c:pt>
                <c:pt idx="28358">
                  <c:v>0</c:v>
                </c:pt>
                <c:pt idx="28359">
                  <c:v>0</c:v>
                </c:pt>
                <c:pt idx="28360">
                  <c:v>0</c:v>
                </c:pt>
                <c:pt idx="28361">
                  <c:v>0</c:v>
                </c:pt>
                <c:pt idx="28362">
                  <c:v>1</c:v>
                </c:pt>
                <c:pt idx="28363">
                  <c:v>0</c:v>
                </c:pt>
                <c:pt idx="28364">
                  <c:v>0</c:v>
                </c:pt>
                <c:pt idx="28365">
                  <c:v>0</c:v>
                </c:pt>
                <c:pt idx="28366">
                  <c:v>0</c:v>
                </c:pt>
                <c:pt idx="28367">
                  <c:v>0</c:v>
                </c:pt>
                <c:pt idx="28368">
                  <c:v>3</c:v>
                </c:pt>
                <c:pt idx="28369">
                  <c:v>0</c:v>
                </c:pt>
                <c:pt idx="28370">
                  <c:v>0</c:v>
                </c:pt>
                <c:pt idx="28371">
                  <c:v>0</c:v>
                </c:pt>
                <c:pt idx="28372">
                  <c:v>0</c:v>
                </c:pt>
                <c:pt idx="28373">
                  <c:v>0</c:v>
                </c:pt>
                <c:pt idx="28374">
                  <c:v>0</c:v>
                </c:pt>
                <c:pt idx="28375">
                  <c:v>0</c:v>
                </c:pt>
                <c:pt idx="28376">
                  <c:v>0</c:v>
                </c:pt>
                <c:pt idx="28377">
                  <c:v>0</c:v>
                </c:pt>
                <c:pt idx="28378">
                  <c:v>1</c:v>
                </c:pt>
                <c:pt idx="28379">
                  <c:v>0</c:v>
                </c:pt>
                <c:pt idx="28380">
                  <c:v>1</c:v>
                </c:pt>
                <c:pt idx="28381">
                  <c:v>0</c:v>
                </c:pt>
                <c:pt idx="28382">
                  <c:v>0</c:v>
                </c:pt>
                <c:pt idx="28383">
                  <c:v>0</c:v>
                </c:pt>
                <c:pt idx="28384">
                  <c:v>0</c:v>
                </c:pt>
                <c:pt idx="28385">
                  <c:v>0</c:v>
                </c:pt>
                <c:pt idx="28386">
                  <c:v>2</c:v>
                </c:pt>
                <c:pt idx="28387">
                  <c:v>2</c:v>
                </c:pt>
                <c:pt idx="28388">
                  <c:v>0</c:v>
                </c:pt>
                <c:pt idx="28389">
                  <c:v>4</c:v>
                </c:pt>
                <c:pt idx="28390">
                  <c:v>1</c:v>
                </c:pt>
                <c:pt idx="28391">
                  <c:v>0</c:v>
                </c:pt>
                <c:pt idx="28392">
                  <c:v>0</c:v>
                </c:pt>
                <c:pt idx="28393">
                  <c:v>0</c:v>
                </c:pt>
                <c:pt idx="28394">
                  <c:v>0</c:v>
                </c:pt>
                <c:pt idx="28395">
                  <c:v>0</c:v>
                </c:pt>
                <c:pt idx="28396">
                  <c:v>0</c:v>
                </c:pt>
                <c:pt idx="28397">
                  <c:v>0</c:v>
                </c:pt>
                <c:pt idx="28398">
                  <c:v>0</c:v>
                </c:pt>
                <c:pt idx="28399">
                  <c:v>0</c:v>
                </c:pt>
                <c:pt idx="28400">
                  <c:v>0</c:v>
                </c:pt>
                <c:pt idx="28401">
                  <c:v>0</c:v>
                </c:pt>
                <c:pt idx="28402">
                  <c:v>0</c:v>
                </c:pt>
                <c:pt idx="28403">
                  <c:v>0</c:v>
                </c:pt>
                <c:pt idx="28404">
                  <c:v>0</c:v>
                </c:pt>
                <c:pt idx="28405">
                  <c:v>0</c:v>
                </c:pt>
                <c:pt idx="28406">
                  <c:v>0</c:v>
                </c:pt>
                <c:pt idx="28407">
                  <c:v>7</c:v>
                </c:pt>
                <c:pt idx="28408">
                  <c:v>1</c:v>
                </c:pt>
                <c:pt idx="28409">
                  <c:v>0</c:v>
                </c:pt>
                <c:pt idx="28410">
                  <c:v>7</c:v>
                </c:pt>
                <c:pt idx="28411">
                  <c:v>4</c:v>
                </c:pt>
                <c:pt idx="28412">
                  <c:v>0</c:v>
                </c:pt>
                <c:pt idx="28413">
                  <c:v>0</c:v>
                </c:pt>
                <c:pt idx="28414">
                  <c:v>1</c:v>
                </c:pt>
                <c:pt idx="28415">
                  <c:v>0</c:v>
                </c:pt>
                <c:pt idx="28416">
                  <c:v>4</c:v>
                </c:pt>
                <c:pt idx="28417">
                  <c:v>4</c:v>
                </c:pt>
                <c:pt idx="28418">
                  <c:v>0</c:v>
                </c:pt>
                <c:pt idx="28419">
                  <c:v>0</c:v>
                </c:pt>
                <c:pt idx="28420">
                  <c:v>0</c:v>
                </c:pt>
                <c:pt idx="28421">
                  <c:v>0</c:v>
                </c:pt>
                <c:pt idx="28422">
                  <c:v>0</c:v>
                </c:pt>
                <c:pt idx="28423">
                  <c:v>0</c:v>
                </c:pt>
                <c:pt idx="28424">
                  <c:v>0</c:v>
                </c:pt>
                <c:pt idx="28425">
                  <c:v>0</c:v>
                </c:pt>
                <c:pt idx="28426">
                  <c:v>0</c:v>
                </c:pt>
                <c:pt idx="28427">
                  <c:v>0</c:v>
                </c:pt>
                <c:pt idx="28428">
                  <c:v>0</c:v>
                </c:pt>
                <c:pt idx="28429">
                  <c:v>0</c:v>
                </c:pt>
                <c:pt idx="28430">
                  <c:v>2</c:v>
                </c:pt>
                <c:pt idx="28431">
                  <c:v>0</c:v>
                </c:pt>
                <c:pt idx="28432">
                  <c:v>0</c:v>
                </c:pt>
                <c:pt idx="28433">
                  <c:v>0</c:v>
                </c:pt>
                <c:pt idx="28434">
                  <c:v>0</c:v>
                </c:pt>
                <c:pt idx="28435">
                  <c:v>0</c:v>
                </c:pt>
                <c:pt idx="28436">
                  <c:v>0</c:v>
                </c:pt>
                <c:pt idx="28437">
                  <c:v>0</c:v>
                </c:pt>
                <c:pt idx="28438">
                  <c:v>0</c:v>
                </c:pt>
                <c:pt idx="28439">
                  <c:v>0</c:v>
                </c:pt>
                <c:pt idx="28440">
                  <c:v>0</c:v>
                </c:pt>
                <c:pt idx="28441">
                  <c:v>0</c:v>
                </c:pt>
                <c:pt idx="28442">
                  <c:v>1</c:v>
                </c:pt>
                <c:pt idx="28443">
                  <c:v>0</c:v>
                </c:pt>
                <c:pt idx="28444">
                  <c:v>1</c:v>
                </c:pt>
                <c:pt idx="28445">
                  <c:v>0</c:v>
                </c:pt>
                <c:pt idx="28446">
                  <c:v>1</c:v>
                </c:pt>
                <c:pt idx="28447">
                  <c:v>0</c:v>
                </c:pt>
                <c:pt idx="28448">
                  <c:v>0</c:v>
                </c:pt>
                <c:pt idx="28449">
                  <c:v>0</c:v>
                </c:pt>
                <c:pt idx="28450">
                  <c:v>0</c:v>
                </c:pt>
                <c:pt idx="28451">
                  <c:v>0</c:v>
                </c:pt>
                <c:pt idx="28452">
                  <c:v>0</c:v>
                </c:pt>
                <c:pt idx="28453">
                  <c:v>1</c:v>
                </c:pt>
                <c:pt idx="28454">
                  <c:v>0</c:v>
                </c:pt>
                <c:pt idx="28455">
                  <c:v>0</c:v>
                </c:pt>
                <c:pt idx="28456">
                  <c:v>1</c:v>
                </c:pt>
                <c:pt idx="28457">
                  <c:v>4</c:v>
                </c:pt>
                <c:pt idx="28458">
                  <c:v>0</c:v>
                </c:pt>
                <c:pt idx="28459">
                  <c:v>0</c:v>
                </c:pt>
                <c:pt idx="28460">
                  <c:v>0</c:v>
                </c:pt>
                <c:pt idx="28461">
                  <c:v>2</c:v>
                </c:pt>
                <c:pt idx="28462">
                  <c:v>0</c:v>
                </c:pt>
                <c:pt idx="28463">
                  <c:v>0</c:v>
                </c:pt>
                <c:pt idx="28464">
                  <c:v>0</c:v>
                </c:pt>
                <c:pt idx="28465">
                  <c:v>2</c:v>
                </c:pt>
                <c:pt idx="28466">
                  <c:v>0</c:v>
                </c:pt>
                <c:pt idx="28467">
                  <c:v>0</c:v>
                </c:pt>
                <c:pt idx="28468">
                  <c:v>0</c:v>
                </c:pt>
                <c:pt idx="28469">
                  <c:v>0</c:v>
                </c:pt>
                <c:pt idx="28470">
                  <c:v>0</c:v>
                </c:pt>
                <c:pt idx="28471">
                  <c:v>0</c:v>
                </c:pt>
                <c:pt idx="28472">
                  <c:v>0</c:v>
                </c:pt>
                <c:pt idx="28473">
                  <c:v>0</c:v>
                </c:pt>
                <c:pt idx="28474">
                  <c:v>0</c:v>
                </c:pt>
                <c:pt idx="28475">
                  <c:v>0</c:v>
                </c:pt>
                <c:pt idx="28476">
                  <c:v>0</c:v>
                </c:pt>
                <c:pt idx="28477">
                  <c:v>0</c:v>
                </c:pt>
                <c:pt idx="28478">
                  <c:v>0</c:v>
                </c:pt>
                <c:pt idx="28479">
                  <c:v>0</c:v>
                </c:pt>
                <c:pt idx="28480">
                  <c:v>2</c:v>
                </c:pt>
                <c:pt idx="28481">
                  <c:v>0</c:v>
                </c:pt>
                <c:pt idx="28482">
                  <c:v>0</c:v>
                </c:pt>
                <c:pt idx="28483">
                  <c:v>0</c:v>
                </c:pt>
                <c:pt idx="28484">
                  <c:v>0</c:v>
                </c:pt>
                <c:pt idx="28485">
                  <c:v>0</c:v>
                </c:pt>
                <c:pt idx="28486">
                  <c:v>0</c:v>
                </c:pt>
                <c:pt idx="28487">
                  <c:v>0</c:v>
                </c:pt>
                <c:pt idx="28488">
                  <c:v>2</c:v>
                </c:pt>
                <c:pt idx="28489">
                  <c:v>0</c:v>
                </c:pt>
                <c:pt idx="28490">
                  <c:v>0</c:v>
                </c:pt>
                <c:pt idx="28491">
                  <c:v>0</c:v>
                </c:pt>
                <c:pt idx="28492">
                  <c:v>0</c:v>
                </c:pt>
                <c:pt idx="28493">
                  <c:v>0</c:v>
                </c:pt>
                <c:pt idx="28494">
                  <c:v>0</c:v>
                </c:pt>
                <c:pt idx="28495">
                  <c:v>0</c:v>
                </c:pt>
                <c:pt idx="28496">
                  <c:v>0</c:v>
                </c:pt>
                <c:pt idx="28497">
                  <c:v>0</c:v>
                </c:pt>
                <c:pt idx="28498">
                  <c:v>0</c:v>
                </c:pt>
                <c:pt idx="28499">
                  <c:v>0</c:v>
                </c:pt>
                <c:pt idx="28500">
                  <c:v>0</c:v>
                </c:pt>
                <c:pt idx="28501">
                  <c:v>0</c:v>
                </c:pt>
                <c:pt idx="28502">
                  <c:v>0</c:v>
                </c:pt>
                <c:pt idx="28503">
                  <c:v>0</c:v>
                </c:pt>
                <c:pt idx="28504">
                  <c:v>0</c:v>
                </c:pt>
                <c:pt idx="28505">
                  <c:v>0</c:v>
                </c:pt>
                <c:pt idx="28506">
                  <c:v>0</c:v>
                </c:pt>
                <c:pt idx="28507">
                  <c:v>0</c:v>
                </c:pt>
                <c:pt idx="28508">
                  <c:v>0</c:v>
                </c:pt>
                <c:pt idx="28509">
                  <c:v>0</c:v>
                </c:pt>
                <c:pt idx="28510">
                  <c:v>0</c:v>
                </c:pt>
                <c:pt idx="28511">
                  <c:v>0</c:v>
                </c:pt>
                <c:pt idx="28512">
                  <c:v>0</c:v>
                </c:pt>
                <c:pt idx="28513">
                  <c:v>1</c:v>
                </c:pt>
                <c:pt idx="28514">
                  <c:v>0</c:v>
                </c:pt>
                <c:pt idx="28515">
                  <c:v>6</c:v>
                </c:pt>
                <c:pt idx="28516">
                  <c:v>4</c:v>
                </c:pt>
                <c:pt idx="28517">
                  <c:v>6</c:v>
                </c:pt>
                <c:pt idx="28518">
                  <c:v>17</c:v>
                </c:pt>
                <c:pt idx="28519">
                  <c:v>14</c:v>
                </c:pt>
                <c:pt idx="28520">
                  <c:v>14</c:v>
                </c:pt>
                <c:pt idx="28521">
                  <c:v>8</c:v>
                </c:pt>
                <c:pt idx="28522">
                  <c:v>2</c:v>
                </c:pt>
                <c:pt idx="28523">
                  <c:v>0</c:v>
                </c:pt>
                <c:pt idx="28524">
                  <c:v>4</c:v>
                </c:pt>
                <c:pt idx="28525">
                  <c:v>4</c:v>
                </c:pt>
                <c:pt idx="28526">
                  <c:v>1</c:v>
                </c:pt>
                <c:pt idx="28527">
                  <c:v>2</c:v>
                </c:pt>
                <c:pt idx="28528">
                  <c:v>3</c:v>
                </c:pt>
                <c:pt idx="28529">
                  <c:v>8</c:v>
                </c:pt>
                <c:pt idx="28530">
                  <c:v>3</c:v>
                </c:pt>
                <c:pt idx="28531">
                  <c:v>8</c:v>
                </c:pt>
                <c:pt idx="28532">
                  <c:v>0</c:v>
                </c:pt>
                <c:pt idx="28533">
                  <c:v>5</c:v>
                </c:pt>
                <c:pt idx="28534">
                  <c:v>10</c:v>
                </c:pt>
                <c:pt idx="28535">
                  <c:v>2</c:v>
                </c:pt>
                <c:pt idx="28536">
                  <c:v>9</c:v>
                </c:pt>
                <c:pt idx="28537">
                  <c:v>5</c:v>
                </c:pt>
                <c:pt idx="28538">
                  <c:v>4</c:v>
                </c:pt>
                <c:pt idx="28539">
                  <c:v>9</c:v>
                </c:pt>
                <c:pt idx="28540">
                  <c:v>8</c:v>
                </c:pt>
                <c:pt idx="28541">
                  <c:v>9</c:v>
                </c:pt>
                <c:pt idx="28542">
                  <c:v>12</c:v>
                </c:pt>
                <c:pt idx="28543">
                  <c:v>12</c:v>
                </c:pt>
                <c:pt idx="28544">
                  <c:v>1</c:v>
                </c:pt>
                <c:pt idx="28545">
                  <c:v>2</c:v>
                </c:pt>
                <c:pt idx="28546">
                  <c:v>8</c:v>
                </c:pt>
                <c:pt idx="28547">
                  <c:v>3</c:v>
                </c:pt>
                <c:pt idx="28548">
                  <c:v>3</c:v>
                </c:pt>
                <c:pt idx="28549">
                  <c:v>0</c:v>
                </c:pt>
                <c:pt idx="28550">
                  <c:v>0</c:v>
                </c:pt>
                <c:pt idx="28551">
                  <c:v>13</c:v>
                </c:pt>
                <c:pt idx="28552">
                  <c:v>3</c:v>
                </c:pt>
                <c:pt idx="28553">
                  <c:v>3</c:v>
                </c:pt>
                <c:pt idx="28554">
                  <c:v>2</c:v>
                </c:pt>
                <c:pt idx="28555">
                  <c:v>5</c:v>
                </c:pt>
                <c:pt idx="28556">
                  <c:v>4</c:v>
                </c:pt>
                <c:pt idx="28557">
                  <c:v>5</c:v>
                </c:pt>
                <c:pt idx="28558">
                  <c:v>0</c:v>
                </c:pt>
                <c:pt idx="28559">
                  <c:v>0</c:v>
                </c:pt>
                <c:pt idx="28560">
                  <c:v>0</c:v>
                </c:pt>
                <c:pt idx="28561">
                  <c:v>5</c:v>
                </c:pt>
                <c:pt idx="28562">
                  <c:v>4</c:v>
                </c:pt>
                <c:pt idx="28563">
                  <c:v>3</c:v>
                </c:pt>
                <c:pt idx="28564">
                  <c:v>1</c:v>
                </c:pt>
                <c:pt idx="28565">
                  <c:v>5</c:v>
                </c:pt>
                <c:pt idx="28566">
                  <c:v>0</c:v>
                </c:pt>
                <c:pt idx="28567">
                  <c:v>29</c:v>
                </c:pt>
                <c:pt idx="28568">
                  <c:v>2</c:v>
                </c:pt>
                <c:pt idx="28569">
                  <c:v>5</c:v>
                </c:pt>
                <c:pt idx="28570">
                  <c:v>16</c:v>
                </c:pt>
                <c:pt idx="28571">
                  <c:v>13</c:v>
                </c:pt>
                <c:pt idx="28572">
                  <c:v>0</c:v>
                </c:pt>
                <c:pt idx="28573">
                  <c:v>6</c:v>
                </c:pt>
                <c:pt idx="28574">
                  <c:v>3</c:v>
                </c:pt>
                <c:pt idx="28575">
                  <c:v>9</c:v>
                </c:pt>
                <c:pt idx="28576">
                  <c:v>2</c:v>
                </c:pt>
                <c:pt idx="28577">
                  <c:v>1</c:v>
                </c:pt>
                <c:pt idx="28578">
                  <c:v>2</c:v>
                </c:pt>
                <c:pt idx="28579">
                  <c:v>3</c:v>
                </c:pt>
                <c:pt idx="28580">
                  <c:v>2</c:v>
                </c:pt>
                <c:pt idx="28581">
                  <c:v>3</c:v>
                </c:pt>
                <c:pt idx="28582">
                  <c:v>3</c:v>
                </c:pt>
                <c:pt idx="28583">
                  <c:v>5</c:v>
                </c:pt>
                <c:pt idx="28584">
                  <c:v>5</c:v>
                </c:pt>
                <c:pt idx="28585">
                  <c:v>8</c:v>
                </c:pt>
                <c:pt idx="28586">
                  <c:v>2</c:v>
                </c:pt>
                <c:pt idx="28587">
                  <c:v>4</c:v>
                </c:pt>
                <c:pt idx="28588">
                  <c:v>4</c:v>
                </c:pt>
                <c:pt idx="28589">
                  <c:v>1</c:v>
                </c:pt>
                <c:pt idx="28590">
                  <c:v>2</c:v>
                </c:pt>
                <c:pt idx="28591">
                  <c:v>1</c:v>
                </c:pt>
                <c:pt idx="28592">
                  <c:v>4</c:v>
                </c:pt>
                <c:pt idx="28593">
                  <c:v>4</c:v>
                </c:pt>
                <c:pt idx="28594">
                  <c:v>5</c:v>
                </c:pt>
                <c:pt idx="28595">
                  <c:v>2</c:v>
                </c:pt>
                <c:pt idx="28596">
                  <c:v>3</c:v>
                </c:pt>
                <c:pt idx="28597">
                  <c:v>0</c:v>
                </c:pt>
                <c:pt idx="28598">
                  <c:v>18</c:v>
                </c:pt>
                <c:pt idx="28599">
                  <c:v>4</c:v>
                </c:pt>
                <c:pt idx="28600">
                  <c:v>1</c:v>
                </c:pt>
                <c:pt idx="28601">
                  <c:v>5</c:v>
                </c:pt>
                <c:pt idx="28602">
                  <c:v>5</c:v>
                </c:pt>
                <c:pt idx="28603">
                  <c:v>2</c:v>
                </c:pt>
                <c:pt idx="28604">
                  <c:v>7</c:v>
                </c:pt>
                <c:pt idx="28605">
                  <c:v>0</c:v>
                </c:pt>
                <c:pt idx="28606">
                  <c:v>2</c:v>
                </c:pt>
                <c:pt idx="28607">
                  <c:v>2</c:v>
                </c:pt>
                <c:pt idx="28608">
                  <c:v>0</c:v>
                </c:pt>
                <c:pt idx="28609">
                  <c:v>5</c:v>
                </c:pt>
                <c:pt idx="28610">
                  <c:v>14</c:v>
                </c:pt>
                <c:pt idx="28611">
                  <c:v>2</c:v>
                </c:pt>
                <c:pt idx="28612">
                  <c:v>1</c:v>
                </c:pt>
                <c:pt idx="28613">
                  <c:v>0</c:v>
                </c:pt>
                <c:pt idx="28614">
                  <c:v>4</c:v>
                </c:pt>
                <c:pt idx="28615">
                  <c:v>0</c:v>
                </c:pt>
                <c:pt idx="28616">
                  <c:v>0</c:v>
                </c:pt>
                <c:pt idx="28617">
                  <c:v>0</c:v>
                </c:pt>
                <c:pt idx="28618">
                  <c:v>0</c:v>
                </c:pt>
                <c:pt idx="28619">
                  <c:v>0</c:v>
                </c:pt>
                <c:pt idx="28620">
                  <c:v>0</c:v>
                </c:pt>
                <c:pt idx="28621">
                  <c:v>0</c:v>
                </c:pt>
                <c:pt idx="28622">
                  <c:v>0</c:v>
                </c:pt>
                <c:pt idx="28623">
                  <c:v>0</c:v>
                </c:pt>
                <c:pt idx="28624">
                  <c:v>0</c:v>
                </c:pt>
                <c:pt idx="28625">
                  <c:v>2</c:v>
                </c:pt>
                <c:pt idx="28626">
                  <c:v>0</c:v>
                </c:pt>
                <c:pt idx="28627">
                  <c:v>0</c:v>
                </c:pt>
                <c:pt idx="28628">
                  <c:v>0</c:v>
                </c:pt>
                <c:pt idx="28629">
                  <c:v>0</c:v>
                </c:pt>
                <c:pt idx="28630">
                  <c:v>0</c:v>
                </c:pt>
                <c:pt idx="28631">
                  <c:v>0</c:v>
                </c:pt>
                <c:pt idx="28632">
                  <c:v>0</c:v>
                </c:pt>
                <c:pt idx="28633">
                  <c:v>0</c:v>
                </c:pt>
                <c:pt idx="28634">
                  <c:v>4</c:v>
                </c:pt>
                <c:pt idx="28635">
                  <c:v>0</c:v>
                </c:pt>
                <c:pt idx="28636">
                  <c:v>0</c:v>
                </c:pt>
                <c:pt idx="28637">
                  <c:v>0</c:v>
                </c:pt>
                <c:pt idx="28638">
                  <c:v>0</c:v>
                </c:pt>
                <c:pt idx="28639">
                  <c:v>2</c:v>
                </c:pt>
                <c:pt idx="28640">
                  <c:v>0</c:v>
                </c:pt>
                <c:pt idx="28641">
                  <c:v>3</c:v>
                </c:pt>
                <c:pt idx="28642">
                  <c:v>7</c:v>
                </c:pt>
                <c:pt idx="28643">
                  <c:v>4</c:v>
                </c:pt>
                <c:pt idx="28644">
                  <c:v>7</c:v>
                </c:pt>
                <c:pt idx="28645">
                  <c:v>0</c:v>
                </c:pt>
                <c:pt idx="28646">
                  <c:v>2</c:v>
                </c:pt>
                <c:pt idx="28647">
                  <c:v>0</c:v>
                </c:pt>
                <c:pt idx="28648">
                  <c:v>5</c:v>
                </c:pt>
                <c:pt idx="28649">
                  <c:v>0</c:v>
                </c:pt>
                <c:pt idx="28650">
                  <c:v>0</c:v>
                </c:pt>
                <c:pt idx="28651">
                  <c:v>0</c:v>
                </c:pt>
                <c:pt idx="28652">
                  <c:v>0</c:v>
                </c:pt>
                <c:pt idx="28653">
                  <c:v>0</c:v>
                </c:pt>
                <c:pt idx="28654">
                  <c:v>0</c:v>
                </c:pt>
                <c:pt idx="28655">
                  <c:v>0</c:v>
                </c:pt>
                <c:pt idx="28656">
                  <c:v>0</c:v>
                </c:pt>
                <c:pt idx="28657">
                  <c:v>4</c:v>
                </c:pt>
                <c:pt idx="28658">
                  <c:v>3</c:v>
                </c:pt>
                <c:pt idx="28659">
                  <c:v>0</c:v>
                </c:pt>
                <c:pt idx="28660">
                  <c:v>0</c:v>
                </c:pt>
                <c:pt idx="28661">
                  <c:v>3</c:v>
                </c:pt>
                <c:pt idx="28662">
                  <c:v>0</c:v>
                </c:pt>
                <c:pt idx="28663">
                  <c:v>0</c:v>
                </c:pt>
                <c:pt idx="28664">
                  <c:v>1</c:v>
                </c:pt>
                <c:pt idx="28665">
                  <c:v>3</c:v>
                </c:pt>
                <c:pt idx="28666">
                  <c:v>1</c:v>
                </c:pt>
                <c:pt idx="28667">
                  <c:v>0</c:v>
                </c:pt>
                <c:pt idx="28668">
                  <c:v>0</c:v>
                </c:pt>
                <c:pt idx="28669">
                  <c:v>0</c:v>
                </c:pt>
                <c:pt idx="28670">
                  <c:v>0</c:v>
                </c:pt>
                <c:pt idx="28671">
                  <c:v>0</c:v>
                </c:pt>
                <c:pt idx="28672">
                  <c:v>1</c:v>
                </c:pt>
                <c:pt idx="28673">
                  <c:v>0</c:v>
                </c:pt>
                <c:pt idx="28674">
                  <c:v>0</c:v>
                </c:pt>
                <c:pt idx="28675">
                  <c:v>0</c:v>
                </c:pt>
                <c:pt idx="28676">
                  <c:v>3</c:v>
                </c:pt>
                <c:pt idx="28677">
                  <c:v>0</c:v>
                </c:pt>
                <c:pt idx="28678">
                  <c:v>6</c:v>
                </c:pt>
                <c:pt idx="28679">
                  <c:v>0</c:v>
                </c:pt>
                <c:pt idx="28680">
                  <c:v>2</c:v>
                </c:pt>
                <c:pt idx="28681">
                  <c:v>2</c:v>
                </c:pt>
                <c:pt idx="28682">
                  <c:v>1</c:v>
                </c:pt>
                <c:pt idx="28683">
                  <c:v>0</c:v>
                </c:pt>
                <c:pt idx="28684">
                  <c:v>0</c:v>
                </c:pt>
                <c:pt idx="28685">
                  <c:v>0</c:v>
                </c:pt>
                <c:pt idx="28686">
                  <c:v>2</c:v>
                </c:pt>
                <c:pt idx="28687">
                  <c:v>0</c:v>
                </c:pt>
                <c:pt idx="28688">
                  <c:v>0</c:v>
                </c:pt>
                <c:pt idx="28689">
                  <c:v>0</c:v>
                </c:pt>
                <c:pt idx="28690">
                  <c:v>0</c:v>
                </c:pt>
                <c:pt idx="28691">
                  <c:v>0</c:v>
                </c:pt>
                <c:pt idx="28692">
                  <c:v>0</c:v>
                </c:pt>
                <c:pt idx="28693">
                  <c:v>0</c:v>
                </c:pt>
                <c:pt idx="28694">
                  <c:v>0</c:v>
                </c:pt>
                <c:pt idx="28695">
                  <c:v>0</c:v>
                </c:pt>
                <c:pt idx="28696">
                  <c:v>0</c:v>
                </c:pt>
                <c:pt idx="28697">
                  <c:v>0</c:v>
                </c:pt>
                <c:pt idx="28698">
                  <c:v>0</c:v>
                </c:pt>
                <c:pt idx="28699">
                  <c:v>0</c:v>
                </c:pt>
                <c:pt idx="28700">
                  <c:v>6</c:v>
                </c:pt>
                <c:pt idx="28701">
                  <c:v>4</c:v>
                </c:pt>
                <c:pt idx="28702">
                  <c:v>1</c:v>
                </c:pt>
                <c:pt idx="28703">
                  <c:v>3</c:v>
                </c:pt>
                <c:pt idx="28704">
                  <c:v>3</c:v>
                </c:pt>
                <c:pt idx="28705">
                  <c:v>8</c:v>
                </c:pt>
                <c:pt idx="28706">
                  <c:v>8</c:v>
                </c:pt>
                <c:pt idx="28707">
                  <c:v>5</c:v>
                </c:pt>
                <c:pt idx="28708">
                  <c:v>4</c:v>
                </c:pt>
                <c:pt idx="28709">
                  <c:v>0</c:v>
                </c:pt>
                <c:pt idx="28710">
                  <c:v>0</c:v>
                </c:pt>
                <c:pt idx="28711">
                  <c:v>0</c:v>
                </c:pt>
                <c:pt idx="28712">
                  <c:v>0</c:v>
                </c:pt>
                <c:pt idx="28713">
                  <c:v>2</c:v>
                </c:pt>
                <c:pt idx="28714">
                  <c:v>4</c:v>
                </c:pt>
                <c:pt idx="28715">
                  <c:v>0</c:v>
                </c:pt>
                <c:pt idx="28716">
                  <c:v>1</c:v>
                </c:pt>
                <c:pt idx="28717">
                  <c:v>0</c:v>
                </c:pt>
                <c:pt idx="28718">
                  <c:v>2</c:v>
                </c:pt>
                <c:pt idx="28719">
                  <c:v>7</c:v>
                </c:pt>
                <c:pt idx="28720">
                  <c:v>0</c:v>
                </c:pt>
                <c:pt idx="28721">
                  <c:v>0</c:v>
                </c:pt>
                <c:pt idx="28722">
                  <c:v>0</c:v>
                </c:pt>
                <c:pt idx="28723">
                  <c:v>2</c:v>
                </c:pt>
                <c:pt idx="28724">
                  <c:v>1</c:v>
                </c:pt>
                <c:pt idx="28725">
                  <c:v>3</c:v>
                </c:pt>
                <c:pt idx="28726">
                  <c:v>3</c:v>
                </c:pt>
                <c:pt idx="28727">
                  <c:v>8</c:v>
                </c:pt>
                <c:pt idx="28728">
                  <c:v>3</c:v>
                </c:pt>
                <c:pt idx="28729">
                  <c:v>3</c:v>
                </c:pt>
                <c:pt idx="28730">
                  <c:v>4</c:v>
                </c:pt>
                <c:pt idx="28731">
                  <c:v>2</c:v>
                </c:pt>
                <c:pt idx="28732">
                  <c:v>2</c:v>
                </c:pt>
                <c:pt idx="28733">
                  <c:v>1</c:v>
                </c:pt>
                <c:pt idx="28734">
                  <c:v>0</c:v>
                </c:pt>
                <c:pt idx="28735">
                  <c:v>2</c:v>
                </c:pt>
                <c:pt idx="28736">
                  <c:v>1</c:v>
                </c:pt>
                <c:pt idx="28737">
                  <c:v>2</c:v>
                </c:pt>
                <c:pt idx="28738">
                  <c:v>2</c:v>
                </c:pt>
                <c:pt idx="28739">
                  <c:v>4</c:v>
                </c:pt>
                <c:pt idx="28740">
                  <c:v>1</c:v>
                </c:pt>
                <c:pt idx="28741">
                  <c:v>2</c:v>
                </c:pt>
                <c:pt idx="28742">
                  <c:v>6</c:v>
                </c:pt>
                <c:pt idx="28743">
                  <c:v>8</c:v>
                </c:pt>
                <c:pt idx="28744">
                  <c:v>0</c:v>
                </c:pt>
                <c:pt idx="28745">
                  <c:v>1</c:v>
                </c:pt>
                <c:pt idx="28746">
                  <c:v>0</c:v>
                </c:pt>
                <c:pt idx="28747">
                  <c:v>0</c:v>
                </c:pt>
                <c:pt idx="28748">
                  <c:v>0</c:v>
                </c:pt>
                <c:pt idx="28749">
                  <c:v>3</c:v>
                </c:pt>
                <c:pt idx="28750">
                  <c:v>2</c:v>
                </c:pt>
                <c:pt idx="28751">
                  <c:v>0</c:v>
                </c:pt>
                <c:pt idx="28752">
                  <c:v>0</c:v>
                </c:pt>
                <c:pt idx="28753">
                  <c:v>4</c:v>
                </c:pt>
                <c:pt idx="28754">
                  <c:v>0</c:v>
                </c:pt>
                <c:pt idx="28755">
                  <c:v>6</c:v>
                </c:pt>
                <c:pt idx="28756">
                  <c:v>5</c:v>
                </c:pt>
                <c:pt idx="28757">
                  <c:v>0</c:v>
                </c:pt>
                <c:pt idx="28758">
                  <c:v>0</c:v>
                </c:pt>
                <c:pt idx="28759">
                  <c:v>0</c:v>
                </c:pt>
                <c:pt idx="28760">
                  <c:v>1</c:v>
                </c:pt>
                <c:pt idx="28761">
                  <c:v>0</c:v>
                </c:pt>
                <c:pt idx="28762">
                  <c:v>0</c:v>
                </c:pt>
                <c:pt idx="28763">
                  <c:v>0</c:v>
                </c:pt>
                <c:pt idx="28764">
                  <c:v>0</c:v>
                </c:pt>
                <c:pt idx="28765">
                  <c:v>0</c:v>
                </c:pt>
                <c:pt idx="28766">
                  <c:v>0</c:v>
                </c:pt>
                <c:pt idx="28767">
                  <c:v>0</c:v>
                </c:pt>
                <c:pt idx="28768">
                  <c:v>0</c:v>
                </c:pt>
                <c:pt idx="28769">
                  <c:v>0</c:v>
                </c:pt>
                <c:pt idx="28770">
                  <c:v>0</c:v>
                </c:pt>
                <c:pt idx="28771">
                  <c:v>0</c:v>
                </c:pt>
                <c:pt idx="28772">
                  <c:v>0</c:v>
                </c:pt>
                <c:pt idx="28773">
                  <c:v>0</c:v>
                </c:pt>
                <c:pt idx="28774">
                  <c:v>0</c:v>
                </c:pt>
                <c:pt idx="28775">
                  <c:v>0</c:v>
                </c:pt>
                <c:pt idx="28776">
                  <c:v>0</c:v>
                </c:pt>
                <c:pt idx="28777">
                  <c:v>0</c:v>
                </c:pt>
                <c:pt idx="28778">
                  <c:v>0</c:v>
                </c:pt>
                <c:pt idx="28779">
                  <c:v>3</c:v>
                </c:pt>
                <c:pt idx="28780">
                  <c:v>2</c:v>
                </c:pt>
                <c:pt idx="28781">
                  <c:v>3</c:v>
                </c:pt>
                <c:pt idx="28782">
                  <c:v>0</c:v>
                </c:pt>
                <c:pt idx="28783">
                  <c:v>0</c:v>
                </c:pt>
                <c:pt idx="28784">
                  <c:v>0</c:v>
                </c:pt>
                <c:pt idx="28785">
                  <c:v>0</c:v>
                </c:pt>
                <c:pt idx="28786">
                  <c:v>0</c:v>
                </c:pt>
                <c:pt idx="28787">
                  <c:v>0</c:v>
                </c:pt>
                <c:pt idx="28788">
                  <c:v>0</c:v>
                </c:pt>
                <c:pt idx="28789">
                  <c:v>0</c:v>
                </c:pt>
                <c:pt idx="28790">
                  <c:v>0</c:v>
                </c:pt>
                <c:pt idx="28791">
                  <c:v>0</c:v>
                </c:pt>
                <c:pt idx="28792">
                  <c:v>0</c:v>
                </c:pt>
                <c:pt idx="28793">
                  <c:v>0</c:v>
                </c:pt>
                <c:pt idx="28794">
                  <c:v>0</c:v>
                </c:pt>
                <c:pt idx="28795">
                  <c:v>0</c:v>
                </c:pt>
                <c:pt idx="28796">
                  <c:v>4</c:v>
                </c:pt>
                <c:pt idx="28797">
                  <c:v>0</c:v>
                </c:pt>
                <c:pt idx="28798">
                  <c:v>0</c:v>
                </c:pt>
                <c:pt idx="28799">
                  <c:v>0</c:v>
                </c:pt>
                <c:pt idx="28800">
                  <c:v>0</c:v>
                </c:pt>
                <c:pt idx="28801">
                  <c:v>0</c:v>
                </c:pt>
                <c:pt idx="28802">
                  <c:v>0</c:v>
                </c:pt>
                <c:pt idx="28803">
                  <c:v>0</c:v>
                </c:pt>
                <c:pt idx="28804">
                  <c:v>0</c:v>
                </c:pt>
                <c:pt idx="28805">
                  <c:v>0</c:v>
                </c:pt>
                <c:pt idx="28806">
                  <c:v>0</c:v>
                </c:pt>
                <c:pt idx="28807">
                  <c:v>0</c:v>
                </c:pt>
                <c:pt idx="28808">
                  <c:v>0</c:v>
                </c:pt>
                <c:pt idx="28809">
                  <c:v>0</c:v>
                </c:pt>
                <c:pt idx="28810">
                  <c:v>4</c:v>
                </c:pt>
                <c:pt idx="28811">
                  <c:v>0</c:v>
                </c:pt>
                <c:pt idx="28812">
                  <c:v>0</c:v>
                </c:pt>
                <c:pt idx="28813">
                  <c:v>0</c:v>
                </c:pt>
                <c:pt idx="28814">
                  <c:v>0</c:v>
                </c:pt>
                <c:pt idx="28815">
                  <c:v>0</c:v>
                </c:pt>
                <c:pt idx="28816">
                  <c:v>0</c:v>
                </c:pt>
                <c:pt idx="28817">
                  <c:v>0</c:v>
                </c:pt>
                <c:pt idx="28818">
                  <c:v>0</c:v>
                </c:pt>
                <c:pt idx="28819">
                  <c:v>1</c:v>
                </c:pt>
                <c:pt idx="28820">
                  <c:v>0</c:v>
                </c:pt>
                <c:pt idx="28821">
                  <c:v>0</c:v>
                </c:pt>
                <c:pt idx="28822">
                  <c:v>0</c:v>
                </c:pt>
                <c:pt idx="28823">
                  <c:v>0</c:v>
                </c:pt>
                <c:pt idx="28824">
                  <c:v>0</c:v>
                </c:pt>
                <c:pt idx="28825">
                  <c:v>0</c:v>
                </c:pt>
                <c:pt idx="28826">
                  <c:v>0</c:v>
                </c:pt>
                <c:pt idx="28827">
                  <c:v>6</c:v>
                </c:pt>
                <c:pt idx="28828">
                  <c:v>5</c:v>
                </c:pt>
                <c:pt idx="28829">
                  <c:v>2</c:v>
                </c:pt>
                <c:pt idx="28830">
                  <c:v>2</c:v>
                </c:pt>
                <c:pt idx="28831">
                  <c:v>3</c:v>
                </c:pt>
                <c:pt idx="28832">
                  <c:v>1</c:v>
                </c:pt>
                <c:pt idx="28833">
                  <c:v>0</c:v>
                </c:pt>
                <c:pt idx="28834">
                  <c:v>0</c:v>
                </c:pt>
                <c:pt idx="28835">
                  <c:v>2</c:v>
                </c:pt>
                <c:pt idx="28836">
                  <c:v>0</c:v>
                </c:pt>
                <c:pt idx="28837">
                  <c:v>3</c:v>
                </c:pt>
                <c:pt idx="28838">
                  <c:v>4</c:v>
                </c:pt>
                <c:pt idx="28839">
                  <c:v>4</c:v>
                </c:pt>
                <c:pt idx="28840">
                  <c:v>2</c:v>
                </c:pt>
                <c:pt idx="28841">
                  <c:v>3</c:v>
                </c:pt>
                <c:pt idx="28842">
                  <c:v>6</c:v>
                </c:pt>
                <c:pt idx="28843">
                  <c:v>0</c:v>
                </c:pt>
                <c:pt idx="28844">
                  <c:v>0</c:v>
                </c:pt>
                <c:pt idx="28845">
                  <c:v>0</c:v>
                </c:pt>
                <c:pt idx="28846">
                  <c:v>0</c:v>
                </c:pt>
                <c:pt idx="28847">
                  <c:v>0</c:v>
                </c:pt>
                <c:pt idx="28848">
                  <c:v>0</c:v>
                </c:pt>
                <c:pt idx="28849">
                  <c:v>0</c:v>
                </c:pt>
                <c:pt idx="28850">
                  <c:v>0</c:v>
                </c:pt>
                <c:pt idx="28851">
                  <c:v>1</c:v>
                </c:pt>
                <c:pt idx="28852">
                  <c:v>0</c:v>
                </c:pt>
                <c:pt idx="28853">
                  <c:v>2</c:v>
                </c:pt>
                <c:pt idx="28854">
                  <c:v>0</c:v>
                </c:pt>
                <c:pt idx="28855">
                  <c:v>0</c:v>
                </c:pt>
                <c:pt idx="28856">
                  <c:v>0</c:v>
                </c:pt>
                <c:pt idx="28857">
                  <c:v>0</c:v>
                </c:pt>
                <c:pt idx="28858">
                  <c:v>0</c:v>
                </c:pt>
                <c:pt idx="28859">
                  <c:v>0</c:v>
                </c:pt>
                <c:pt idx="28860">
                  <c:v>0</c:v>
                </c:pt>
                <c:pt idx="28861">
                  <c:v>3</c:v>
                </c:pt>
                <c:pt idx="28862">
                  <c:v>1</c:v>
                </c:pt>
                <c:pt idx="28863">
                  <c:v>0</c:v>
                </c:pt>
                <c:pt idx="28864">
                  <c:v>0</c:v>
                </c:pt>
                <c:pt idx="28865">
                  <c:v>0</c:v>
                </c:pt>
                <c:pt idx="28866">
                  <c:v>0</c:v>
                </c:pt>
                <c:pt idx="28867">
                  <c:v>0</c:v>
                </c:pt>
                <c:pt idx="28868">
                  <c:v>0</c:v>
                </c:pt>
                <c:pt idx="28869">
                  <c:v>0</c:v>
                </c:pt>
                <c:pt idx="28870">
                  <c:v>0</c:v>
                </c:pt>
                <c:pt idx="28871">
                  <c:v>0</c:v>
                </c:pt>
                <c:pt idx="28872">
                  <c:v>0</c:v>
                </c:pt>
                <c:pt idx="28873">
                  <c:v>0</c:v>
                </c:pt>
                <c:pt idx="28874">
                  <c:v>0</c:v>
                </c:pt>
                <c:pt idx="28875">
                  <c:v>0</c:v>
                </c:pt>
                <c:pt idx="28876">
                  <c:v>0</c:v>
                </c:pt>
                <c:pt idx="28877">
                  <c:v>0</c:v>
                </c:pt>
                <c:pt idx="28878">
                  <c:v>0</c:v>
                </c:pt>
                <c:pt idx="28879">
                  <c:v>0</c:v>
                </c:pt>
                <c:pt idx="28880">
                  <c:v>4</c:v>
                </c:pt>
                <c:pt idx="28881">
                  <c:v>0</c:v>
                </c:pt>
                <c:pt idx="28882">
                  <c:v>1</c:v>
                </c:pt>
                <c:pt idx="28883">
                  <c:v>1</c:v>
                </c:pt>
                <c:pt idx="28884">
                  <c:v>0</c:v>
                </c:pt>
                <c:pt idx="28885">
                  <c:v>0</c:v>
                </c:pt>
                <c:pt idx="28886">
                  <c:v>4</c:v>
                </c:pt>
                <c:pt idx="28887">
                  <c:v>1</c:v>
                </c:pt>
                <c:pt idx="28888">
                  <c:v>0</c:v>
                </c:pt>
                <c:pt idx="28889">
                  <c:v>0</c:v>
                </c:pt>
                <c:pt idx="28890">
                  <c:v>0</c:v>
                </c:pt>
                <c:pt idx="28891">
                  <c:v>0</c:v>
                </c:pt>
                <c:pt idx="28892">
                  <c:v>0</c:v>
                </c:pt>
                <c:pt idx="28893">
                  <c:v>0</c:v>
                </c:pt>
                <c:pt idx="28894">
                  <c:v>0</c:v>
                </c:pt>
                <c:pt idx="28895">
                  <c:v>0</c:v>
                </c:pt>
                <c:pt idx="28896">
                  <c:v>0</c:v>
                </c:pt>
                <c:pt idx="28897">
                  <c:v>0</c:v>
                </c:pt>
                <c:pt idx="28898">
                  <c:v>0</c:v>
                </c:pt>
                <c:pt idx="28899">
                  <c:v>0</c:v>
                </c:pt>
                <c:pt idx="28900">
                  <c:v>0</c:v>
                </c:pt>
                <c:pt idx="28901">
                  <c:v>0</c:v>
                </c:pt>
                <c:pt idx="28902">
                  <c:v>1</c:v>
                </c:pt>
                <c:pt idx="28903">
                  <c:v>0</c:v>
                </c:pt>
                <c:pt idx="28904">
                  <c:v>0</c:v>
                </c:pt>
                <c:pt idx="28905">
                  <c:v>0</c:v>
                </c:pt>
                <c:pt idx="28906">
                  <c:v>1</c:v>
                </c:pt>
                <c:pt idx="28907">
                  <c:v>0</c:v>
                </c:pt>
                <c:pt idx="28908">
                  <c:v>2</c:v>
                </c:pt>
                <c:pt idx="28909">
                  <c:v>0</c:v>
                </c:pt>
                <c:pt idx="28910">
                  <c:v>0</c:v>
                </c:pt>
                <c:pt idx="28911">
                  <c:v>0</c:v>
                </c:pt>
                <c:pt idx="28912">
                  <c:v>0</c:v>
                </c:pt>
                <c:pt idx="28913">
                  <c:v>0</c:v>
                </c:pt>
                <c:pt idx="28914">
                  <c:v>0</c:v>
                </c:pt>
                <c:pt idx="28915">
                  <c:v>0</c:v>
                </c:pt>
                <c:pt idx="28916">
                  <c:v>0</c:v>
                </c:pt>
                <c:pt idx="28917">
                  <c:v>0</c:v>
                </c:pt>
                <c:pt idx="28918">
                  <c:v>2</c:v>
                </c:pt>
                <c:pt idx="28919">
                  <c:v>0</c:v>
                </c:pt>
                <c:pt idx="28920">
                  <c:v>1</c:v>
                </c:pt>
                <c:pt idx="28921">
                  <c:v>0</c:v>
                </c:pt>
                <c:pt idx="28922">
                  <c:v>0</c:v>
                </c:pt>
                <c:pt idx="28923">
                  <c:v>0</c:v>
                </c:pt>
                <c:pt idx="28924">
                  <c:v>0</c:v>
                </c:pt>
                <c:pt idx="28925">
                  <c:v>0</c:v>
                </c:pt>
                <c:pt idx="28926">
                  <c:v>0</c:v>
                </c:pt>
                <c:pt idx="28927">
                  <c:v>0</c:v>
                </c:pt>
                <c:pt idx="28928">
                  <c:v>0</c:v>
                </c:pt>
                <c:pt idx="28929">
                  <c:v>0</c:v>
                </c:pt>
                <c:pt idx="28930">
                  <c:v>0</c:v>
                </c:pt>
                <c:pt idx="28931">
                  <c:v>2</c:v>
                </c:pt>
                <c:pt idx="28932">
                  <c:v>0</c:v>
                </c:pt>
                <c:pt idx="28933">
                  <c:v>0</c:v>
                </c:pt>
                <c:pt idx="28934">
                  <c:v>0</c:v>
                </c:pt>
                <c:pt idx="28935">
                  <c:v>0</c:v>
                </c:pt>
                <c:pt idx="28936">
                  <c:v>0</c:v>
                </c:pt>
                <c:pt idx="28937">
                  <c:v>0</c:v>
                </c:pt>
                <c:pt idx="28938">
                  <c:v>0</c:v>
                </c:pt>
                <c:pt idx="28939">
                  <c:v>0</c:v>
                </c:pt>
                <c:pt idx="28940">
                  <c:v>0</c:v>
                </c:pt>
                <c:pt idx="28941">
                  <c:v>1</c:v>
                </c:pt>
                <c:pt idx="28942">
                  <c:v>0</c:v>
                </c:pt>
                <c:pt idx="28943">
                  <c:v>0</c:v>
                </c:pt>
                <c:pt idx="28944">
                  <c:v>0</c:v>
                </c:pt>
                <c:pt idx="28945">
                  <c:v>0</c:v>
                </c:pt>
                <c:pt idx="28946">
                  <c:v>0</c:v>
                </c:pt>
                <c:pt idx="28947">
                  <c:v>0</c:v>
                </c:pt>
                <c:pt idx="28948">
                  <c:v>0</c:v>
                </c:pt>
                <c:pt idx="28949">
                  <c:v>0</c:v>
                </c:pt>
                <c:pt idx="28950">
                  <c:v>0</c:v>
                </c:pt>
                <c:pt idx="28951">
                  <c:v>0</c:v>
                </c:pt>
                <c:pt idx="28952">
                  <c:v>0</c:v>
                </c:pt>
                <c:pt idx="28953">
                  <c:v>0</c:v>
                </c:pt>
                <c:pt idx="28954">
                  <c:v>0</c:v>
                </c:pt>
                <c:pt idx="28955">
                  <c:v>0</c:v>
                </c:pt>
                <c:pt idx="28956">
                  <c:v>0</c:v>
                </c:pt>
                <c:pt idx="28957">
                  <c:v>0</c:v>
                </c:pt>
                <c:pt idx="28958">
                  <c:v>0</c:v>
                </c:pt>
                <c:pt idx="28959">
                  <c:v>0</c:v>
                </c:pt>
                <c:pt idx="28960">
                  <c:v>0</c:v>
                </c:pt>
                <c:pt idx="28961">
                  <c:v>0</c:v>
                </c:pt>
                <c:pt idx="28962">
                  <c:v>0</c:v>
                </c:pt>
                <c:pt idx="28963">
                  <c:v>0</c:v>
                </c:pt>
                <c:pt idx="28964">
                  <c:v>0</c:v>
                </c:pt>
                <c:pt idx="28965">
                  <c:v>0</c:v>
                </c:pt>
                <c:pt idx="28966">
                  <c:v>0</c:v>
                </c:pt>
                <c:pt idx="28967">
                  <c:v>0</c:v>
                </c:pt>
                <c:pt idx="28968">
                  <c:v>0</c:v>
                </c:pt>
                <c:pt idx="28969">
                  <c:v>0</c:v>
                </c:pt>
                <c:pt idx="28970">
                  <c:v>0</c:v>
                </c:pt>
                <c:pt idx="28971">
                  <c:v>0</c:v>
                </c:pt>
                <c:pt idx="28972">
                  <c:v>0</c:v>
                </c:pt>
                <c:pt idx="28973">
                  <c:v>0</c:v>
                </c:pt>
                <c:pt idx="28974">
                  <c:v>1</c:v>
                </c:pt>
                <c:pt idx="28975">
                  <c:v>0</c:v>
                </c:pt>
                <c:pt idx="28976">
                  <c:v>0</c:v>
                </c:pt>
                <c:pt idx="28977">
                  <c:v>0</c:v>
                </c:pt>
                <c:pt idx="28978">
                  <c:v>0</c:v>
                </c:pt>
                <c:pt idx="28979">
                  <c:v>6</c:v>
                </c:pt>
                <c:pt idx="28980">
                  <c:v>0</c:v>
                </c:pt>
                <c:pt idx="28981">
                  <c:v>0</c:v>
                </c:pt>
                <c:pt idx="28982">
                  <c:v>1</c:v>
                </c:pt>
                <c:pt idx="28983">
                  <c:v>0</c:v>
                </c:pt>
                <c:pt idx="28984">
                  <c:v>0</c:v>
                </c:pt>
                <c:pt idx="28985">
                  <c:v>0</c:v>
                </c:pt>
                <c:pt idx="28986">
                  <c:v>0</c:v>
                </c:pt>
                <c:pt idx="28987">
                  <c:v>0</c:v>
                </c:pt>
                <c:pt idx="28988">
                  <c:v>0</c:v>
                </c:pt>
                <c:pt idx="28989">
                  <c:v>0</c:v>
                </c:pt>
                <c:pt idx="28990">
                  <c:v>0</c:v>
                </c:pt>
                <c:pt idx="28991">
                  <c:v>2</c:v>
                </c:pt>
                <c:pt idx="28992">
                  <c:v>5</c:v>
                </c:pt>
                <c:pt idx="28993">
                  <c:v>1</c:v>
                </c:pt>
                <c:pt idx="28994">
                  <c:v>1</c:v>
                </c:pt>
                <c:pt idx="28995">
                  <c:v>6</c:v>
                </c:pt>
                <c:pt idx="28996">
                  <c:v>4</c:v>
                </c:pt>
                <c:pt idx="28997">
                  <c:v>4</c:v>
                </c:pt>
                <c:pt idx="28998">
                  <c:v>7</c:v>
                </c:pt>
                <c:pt idx="28999">
                  <c:v>3</c:v>
                </c:pt>
                <c:pt idx="29000">
                  <c:v>4</c:v>
                </c:pt>
                <c:pt idx="29001">
                  <c:v>0</c:v>
                </c:pt>
                <c:pt idx="29002">
                  <c:v>6</c:v>
                </c:pt>
                <c:pt idx="29003">
                  <c:v>2</c:v>
                </c:pt>
                <c:pt idx="29004">
                  <c:v>15</c:v>
                </c:pt>
                <c:pt idx="29005">
                  <c:v>0</c:v>
                </c:pt>
                <c:pt idx="29006">
                  <c:v>0</c:v>
                </c:pt>
                <c:pt idx="29007">
                  <c:v>0</c:v>
                </c:pt>
                <c:pt idx="29008">
                  <c:v>0</c:v>
                </c:pt>
                <c:pt idx="29009">
                  <c:v>0</c:v>
                </c:pt>
                <c:pt idx="29010">
                  <c:v>0</c:v>
                </c:pt>
                <c:pt idx="29011">
                  <c:v>0</c:v>
                </c:pt>
                <c:pt idx="29012">
                  <c:v>0</c:v>
                </c:pt>
                <c:pt idx="29013">
                  <c:v>0</c:v>
                </c:pt>
                <c:pt idx="29014">
                  <c:v>4</c:v>
                </c:pt>
                <c:pt idx="29015">
                  <c:v>0</c:v>
                </c:pt>
                <c:pt idx="29016">
                  <c:v>0</c:v>
                </c:pt>
                <c:pt idx="29017">
                  <c:v>0</c:v>
                </c:pt>
                <c:pt idx="29018">
                  <c:v>0</c:v>
                </c:pt>
                <c:pt idx="29019">
                  <c:v>0</c:v>
                </c:pt>
                <c:pt idx="29020">
                  <c:v>0</c:v>
                </c:pt>
                <c:pt idx="29021">
                  <c:v>0</c:v>
                </c:pt>
                <c:pt idx="29022">
                  <c:v>0</c:v>
                </c:pt>
                <c:pt idx="29023">
                  <c:v>0</c:v>
                </c:pt>
                <c:pt idx="29024">
                  <c:v>2</c:v>
                </c:pt>
                <c:pt idx="29025">
                  <c:v>6</c:v>
                </c:pt>
                <c:pt idx="29026">
                  <c:v>0</c:v>
                </c:pt>
                <c:pt idx="29027">
                  <c:v>2</c:v>
                </c:pt>
                <c:pt idx="29028">
                  <c:v>0</c:v>
                </c:pt>
                <c:pt idx="29029">
                  <c:v>0</c:v>
                </c:pt>
                <c:pt idx="29030">
                  <c:v>0</c:v>
                </c:pt>
                <c:pt idx="29031">
                  <c:v>0</c:v>
                </c:pt>
                <c:pt idx="29032">
                  <c:v>0</c:v>
                </c:pt>
                <c:pt idx="29033">
                  <c:v>0</c:v>
                </c:pt>
                <c:pt idx="29034">
                  <c:v>5</c:v>
                </c:pt>
                <c:pt idx="29035">
                  <c:v>0</c:v>
                </c:pt>
                <c:pt idx="29036">
                  <c:v>0</c:v>
                </c:pt>
                <c:pt idx="29037">
                  <c:v>0</c:v>
                </c:pt>
                <c:pt idx="29038">
                  <c:v>3</c:v>
                </c:pt>
                <c:pt idx="29039">
                  <c:v>7</c:v>
                </c:pt>
                <c:pt idx="29040">
                  <c:v>0</c:v>
                </c:pt>
                <c:pt idx="29041">
                  <c:v>1</c:v>
                </c:pt>
                <c:pt idx="29042">
                  <c:v>0</c:v>
                </c:pt>
                <c:pt idx="29043">
                  <c:v>1</c:v>
                </c:pt>
                <c:pt idx="29044">
                  <c:v>4</c:v>
                </c:pt>
                <c:pt idx="29045">
                  <c:v>0</c:v>
                </c:pt>
                <c:pt idx="29046">
                  <c:v>2</c:v>
                </c:pt>
                <c:pt idx="29047">
                  <c:v>0</c:v>
                </c:pt>
                <c:pt idx="29048">
                  <c:v>0</c:v>
                </c:pt>
                <c:pt idx="29049">
                  <c:v>0</c:v>
                </c:pt>
                <c:pt idx="29050">
                  <c:v>0</c:v>
                </c:pt>
                <c:pt idx="29051">
                  <c:v>0</c:v>
                </c:pt>
                <c:pt idx="29052">
                  <c:v>0</c:v>
                </c:pt>
                <c:pt idx="29053">
                  <c:v>0</c:v>
                </c:pt>
                <c:pt idx="29054">
                  <c:v>0</c:v>
                </c:pt>
                <c:pt idx="29055">
                  <c:v>0</c:v>
                </c:pt>
                <c:pt idx="29056">
                  <c:v>0</c:v>
                </c:pt>
                <c:pt idx="29057">
                  <c:v>0</c:v>
                </c:pt>
                <c:pt idx="29058">
                  <c:v>0</c:v>
                </c:pt>
                <c:pt idx="29059">
                  <c:v>0</c:v>
                </c:pt>
                <c:pt idx="29060">
                  <c:v>0</c:v>
                </c:pt>
                <c:pt idx="29061">
                  <c:v>0</c:v>
                </c:pt>
                <c:pt idx="29062">
                  <c:v>0</c:v>
                </c:pt>
                <c:pt idx="29063">
                  <c:v>0</c:v>
                </c:pt>
                <c:pt idx="29064">
                  <c:v>0</c:v>
                </c:pt>
                <c:pt idx="29065">
                  <c:v>0</c:v>
                </c:pt>
                <c:pt idx="29066">
                  <c:v>1</c:v>
                </c:pt>
                <c:pt idx="29067">
                  <c:v>0</c:v>
                </c:pt>
                <c:pt idx="29068">
                  <c:v>0</c:v>
                </c:pt>
                <c:pt idx="29069">
                  <c:v>0</c:v>
                </c:pt>
                <c:pt idx="29070">
                  <c:v>0</c:v>
                </c:pt>
                <c:pt idx="29071">
                  <c:v>0</c:v>
                </c:pt>
                <c:pt idx="29072">
                  <c:v>0</c:v>
                </c:pt>
                <c:pt idx="29073">
                  <c:v>0</c:v>
                </c:pt>
                <c:pt idx="29074">
                  <c:v>0</c:v>
                </c:pt>
                <c:pt idx="29075">
                  <c:v>0</c:v>
                </c:pt>
                <c:pt idx="29076">
                  <c:v>0</c:v>
                </c:pt>
                <c:pt idx="29077">
                  <c:v>0</c:v>
                </c:pt>
                <c:pt idx="29078">
                  <c:v>0</c:v>
                </c:pt>
                <c:pt idx="29079">
                  <c:v>0</c:v>
                </c:pt>
                <c:pt idx="29080">
                  <c:v>0</c:v>
                </c:pt>
                <c:pt idx="29081">
                  <c:v>0</c:v>
                </c:pt>
                <c:pt idx="29082">
                  <c:v>2</c:v>
                </c:pt>
                <c:pt idx="29083">
                  <c:v>0</c:v>
                </c:pt>
                <c:pt idx="29084">
                  <c:v>0</c:v>
                </c:pt>
                <c:pt idx="29085">
                  <c:v>0</c:v>
                </c:pt>
                <c:pt idx="29086">
                  <c:v>4</c:v>
                </c:pt>
                <c:pt idx="29087">
                  <c:v>0</c:v>
                </c:pt>
                <c:pt idx="29088">
                  <c:v>0</c:v>
                </c:pt>
                <c:pt idx="29089">
                  <c:v>0</c:v>
                </c:pt>
                <c:pt idx="29090">
                  <c:v>0</c:v>
                </c:pt>
                <c:pt idx="29091">
                  <c:v>1</c:v>
                </c:pt>
                <c:pt idx="29092">
                  <c:v>2</c:v>
                </c:pt>
                <c:pt idx="29093">
                  <c:v>0</c:v>
                </c:pt>
                <c:pt idx="29094">
                  <c:v>0</c:v>
                </c:pt>
                <c:pt idx="29095">
                  <c:v>0</c:v>
                </c:pt>
                <c:pt idx="29096">
                  <c:v>0</c:v>
                </c:pt>
                <c:pt idx="29097">
                  <c:v>0</c:v>
                </c:pt>
                <c:pt idx="29098">
                  <c:v>0</c:v>
                </c:pt>
                <c:pt idx="29099">
                  <c:v>0</c:v>
                </c:pt>
                <c:pt idx="29100">
                  <c:v>0</c:v>
                </c:pt>
                <c:pt idx="29101">
                  <c:v>0</c:v>
                </c:pt>
                <c:pt idx="29102">
                  <c:v>0</c:v>
                </c:pt>
                <c:pt idx="29103">
                  <c:v>0</c:v>
                </c:pt>
                <c:pt idx="29104">
                  <c:v>0</c:v>
                </c:pt>
                <c:pt idx="29105">
                  <c:v>0</c:v>
                </c:pt>
                <c:pt idx="29106">
                  <c:v>0</c:v>
                </c:pt>
                <c:pt idx="29107">
                  <c:v>0</c:v>
                </c:pt>
                <c:pt idx="29108">
                  <c:v>1</c:v>
                </c:pt>
                <c:pt idx="29109">
                  <c:v>6</c:v>
                </c:pt>
                <c:pt idx="29110">
                  <c:v>0</c:v>
                </c:pt>
                <c:pt idx="29111">
                  <c:v>0</c:v>
                </c:pt>
                <c:pt idx="29112">
                  <c:v>0</c:v>
                </c:pt>
                <c:pt idx="29113">
                  <c:v>0</c:v>
                </c:pt>
                <c:pt idx="29114">
                  <c:v>0</c:v>
                </c:pt>
                <c:pt idx="29115">
                  <c:v>0</c:v>
                </c:pt>
                <c:pt idx="29116">
                  <c:v>0</c:v>
                </c:pt>
                <c:pt idx="29117">
                  <c:v>0</c:v>
                </c:pt>
                <c:pt idx="29118">
                  <c:v>0</c:v>
                </c:pt>
                <c:pt idx="29119">
                  <c:v>0</c:v>
                </c:pt>
                <c:pt idx="29120">
                  <c:v>0</c:v>
                </c:pt>
                <c:pt idx="29121">
                  <c:v>0</c:v>
                </c:pt>
                <c:pt idx="29122">
                  <c:v>0</c:v>
                </c:pt>
                <c:pt idx="29123">
                  <c:v>0</c:v>
                </c:pt>
                <c:pt idx="29124">
                  <c:v>0</c:v>
                </c:pt>
                <c:pt idx="29125">
                  <c:v>0</c:v>
                </c:pt>
                <c:pt idx="29126">
                  <c:v>0</c:v>
                </c:pt>
                <c:pt idx="29127">
                  <c:v>0</c:v>
                </c:pt>
                <c:pt idx="29128">
                  <c:v>0</c:v>
                </c:pt>
                <c:pt idx="29129">
                  <c:v>0</c:v>
                </c:pt>
                <c:pt idx="29130">
                  <c:v>0</c:v>
                </c:pt>
                <c:pt idx="29131">
                  <c:v>0</c:v>
                </c:pt>
                <c:pt idx="29132">
                  <c:v>0</c:v>
                </c:pt>
                <c:pt idx="29133">
                  <c:v>0</c:v>
                </c:pt>
                <c:pt idx="29134">
                  <c:v>0</c:v>
                </c:pt>
                <c:pt idx="29135">
                  <c:v>2</c:v>
                </c:pt>
                <c:pt idx="29136">
                  <c:v>0</c:v>
                </c:pt>
                <c:pt idx="29137">
                  <c:v>0</c:v>
                </c:pt>
                <c:pt idx="29138">
                  <c:v>0</c:v>
                </c:pt>
                <c:pt idx="29139">
                  <c:v>0</c:v>
                </c:pt>
                <c:pt idx="29140">
                  <c:v>0</c:v>
                </c:pt>
                <c:pt idx="29141">
                  <c:v>0</c:v>
                </c:pt>
                <c:pt idx="29142">
                  <c:v>0</c:v>
                </c:pt>
                <c:pt idx="29143">
                  <c:v>0</c:v>
                </c:pt>
                <c:pt idx="29144">
                  <c:v>0</c:v>
                </c:pt>
                <c:pt idx="29145">
                  <c:v>1</c:v>
                </c:pt>
                <c:pt idx="29146">
                  <c:v>0</c:v>
                </c:pt>
                <c:pt idx="29147">
                  <c:v>0</c:v>
                </c:pt>
                <c:pt idx="29148">
                  <c:v>0</c:v>
                </c:pt>
                <c:pt idx="29149">
                  <c:v>0</c:v>
                </c:pt>
                <c:pt idx="29150">
                  <c:v>0</c:v>
                </c:pt>
                <c:pt idx="29151">
                  <c:v>0</c:v>
                </c:pt>
              </c:numCache>
            </c:numRef>
          </c:yVal>
          <c:smooth val="0"/>
          <c:extLst>
            <c:ext xmlns:c16="http://schemas.microsoft.com/office/drawing/2014/chart" uri="{C3380CC4-5D6E-409C-BE32-E72D297353CC}">
              <c16:uniqueId val="{00000000-4264-44B9-9998-5380C9536030}"/>
            </c:ext>
          </c:extLst>
        </c:ser>
        <c:dLbls>
          <c:showLegendKey val="0"/>
          <c:showVal val="0"/>
          <c:showCatName val="0"/>
          <c:showSerName val="0"/>
          <c:showPercent val="0"/>
          <c:showBubbleSize val="0"/>
        </c:dLbls>
        <c:axId val="1195233839"/>
        <c:axId val="117787391"/>
      </c:scatterChart>
      <c:valAx>
        <c:axId val="119523383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a:latin typeface="Helvetica Neue" panose="020B0604020202020204" charset="0"/>
                  </a:rPr>
                  <a:t>Worker Count</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17787391"/>
        <c:crosses val="autoZero"/>
        <c:crossBetween val="midCat"/>
      </c:valAx>
      <c:valAx>
        <c:axId val="1177873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a:latin typeface="Helvetica Neue" panose="020B0604020202020204" charset="0"/>
                  </a:rPr>
                  <a:t>Starbucks 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19523383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Helvetica Neue" panose="020B0604020202020204" charset="0"/>
                <a:ea typeface="+mn-ea"/>
                <a:cs typeface="+mn-cs"/>
              </a:defRPr>
            </a:pPr>
            <a:r>
              <a:rPr lang="en-US">
                <a:latin typeface="Helvetica Neue" panose="020B0604020202020204" charset="0"/>
              </a:rPr>
              <a:t>Starbucks Stores to City GD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Helvetica Neue" panose="020B0604020202020204" charset="0"/>
              <a:ea typeface="+mn-ea"/>
              <a:cs typeface="+mn-cs"/>
            </a:defRPr>
          </a:pPr>
          <a:endParaRPr lang="en-US"/>
        </a:p>
      </c:txPr>
    </c:title>
    <c:autoTitleDeleted val="0"/>
    <c:plotArea>
      <c:layout/>
      <c:scatterChart>
        <c:scatterStyle val="lineMarker"/>
        <c:varyColors val="0"/>
        <c:ser>
          <c:idx val="0"/>
          <c:order val="0"/>
          <c:tx>
            <c:strRef>
              <c:f>cities!$I$1</c:f>
              <c:strCache>
                <c:ptCount val="1"/>
                <c:pt idx="0">
                  <c:v>Starbucks</c:v>
                </c:pt>
              </c:strCache>
            </c:strRef>
          </c:tx>
          <c:spPr>
            <a:ln w="19050" cap="rnd">
              <a:noFill/>
              <a:round/>
            </a:ln>
            <a:effectLst/>
          </c:spPr>
          <c:marker>
            <c:symbol val="circle"/>
            <c:size val="5"/>
            <c:spPr>
              <a:solidFill>
                <a:schemeClr val="accent1"/>
              </a:solidFill>
              <a:ln w="9525">
                <a:solidFill>
                  <a:schemeClr val="accent1"/>
                </a:solidFill>
              </a:ln>
              <a:effectLst/>
            </c:spPr>
          </c:marker>
          <c:xVal>
            <c:numRef>
              <c:f>cities!$H$2:$H$7253</c:f>
              <c:numCache>
                <c:formatCode>General</c:formatCode>
                <c:ptCount val="7245"/>
                <c:pt idx="0">
                  <c:v>2147483647</c:v>
                </c:pt>
                <c:pt idx="1">
                  <c:v>1741467364</c:v>
                </c:pt>
                <c:pt idx="2">
                  <c:v>806949528</c:v>
                </c:pt>
                <c:pt idx="3">
                  <c:v>17637579826</c:v>
                </c:pt>
                <c:pt idx="4">
                  <c:v>4294967294</c:v>
                </c:pt>
                <c:pt idx="5">
                  <c:v>26575673751</c:v>
                </c:pt>
                <c:pt idx="6">
                  <c:v>39766984128</c:v>
                </c:pt>
                <c:pt idx="7">
                  <c:v>41950574210</c:v>
                </c:pt>
                <c:pt idx="8">
                  <c:v>6114912948</c:v>
                </c:pt>
                <c:pt idx="9">
                  <c:v>2448351594</c:v>
                </c:pt>
                <c:pt idx="10">
                  <c:v>2069194088</c:v>
                </c:pt>
                <c:pt idx="11">
                  <c:v>5125412502</c:v>
                </c:pt>
                <c:pt idx="12">
                  <c:v>48177551874</c:v>
                </c:pt>
                <c:pt idx="13">
                  <c:v>2147483647</c:v>
                </c:pt>
                <c:pt idx="14">
                  <c:v>31998169530</c:v>
                </c:pt>
                <c:pt idx="15">
                  <c:v>13687369824</c:v>
                </c:pt>
                <c:pt idx="16">
                  <c:v>15276478289</c:v>
                </c:pt>
                <c:pt idx="17">
                  <c:v>1113764670</c:v>
                </c:pt>
                <c:pt idx="18">
                  <c:v>44174016713</c:v>
                </c:pt>
                <c:pt idx="19">
                  <c:v>15549172263</c:v>
                </c:pt>
                <c:pt idx="20">
                  <c:v>2147483647</c:v>
                </c:pt>
                <c:pt idx="21">
                  <c:v>2385636638</c:v>
                </c:pt>
                <c:pt idx="22">
                  <c:v>22860048923</c:v>
                </c:pt>
                <c:pt idx="23">
                  <c:v>8991292080</c:v>
                </c:pt>
                <c:pt idx="24">
                  <c:v>7065403844</c:v>
                </c:pt>
                <c:pt idx="25">
                  <c:v>7256156631</c:v>
                </c:pt>
                <c:pt idx="26">
                  <c:v>10971972427</c:v>
                </c:pt>
                <c:pt idx="27">
                  <c:v>45158588825</c:v>
                </c:pt>
                <c:pt idx="28">
                  <c:v>832677560</c:v>
                </c:pt>
                <c:pt idx="29">
                  <c:v>2147483647</c:v>
                </c:pt>
                <c:pt idx="30">
                  <c:v>3271343637</c:v>
                </c:pt>
                <c:pt idx="31">
                  <c:v>39634966821</c:v>
                </c:pt>
                <c:pt idx="32">
                  <c:v>46803702051</c:v>
                </c:pt>
                <c:pt idx="33">
                  <c:v>4294967294</c:v>
                </c:pt>
                <c:pt idx="34">
                  <c:v>4459677217</c:v>
                </c:pt>
                <c:pt idx="35">
                  <c:v>9437692553</c:v>
                </c:pt>
                <c:pt idx="36">
                  <c:v>5898088839</c:v>
                </c:pt>
                <c:pt idx="37">
                  <c:v>4184864094</c:v>
                </c:pt>
                <c:pt idx="38">
                  <c:v>11411023591</c:v>
                </c:pt>
                <c:pt idx="39">
                  <c:v>22714930468</c:v>
                </c:pt>
                <c:pt idx="40">
                  <c:v>324507480</c:v>
                </c:pt>
                <c:pt idx="41">
                  <c:v>1845608188</c:v>
                </c:pt>
                <c:pt idx="42">
                  <c:v>2147483647</c:v>
                </c:pt>
                <c:pt idx="43">
                  <c:v>1661102517</c:v>
                </c:pt>
                <c:pt idx="44">
                  <c:v>1214028384</c:v>
                </c:pt>
                <c:pt idx="45">
                  <c:v>2810000854</c:v>
                </c:pt>
                <c:pt idx="46">
                  <c:v>2147483647</c:v>
                </c:pt>
                <c:pt idx="47">
                  <c:v>846169268</c:v>
                </c:pt>
                <c:pt idx="48">
                  <c:v>1998212130</c:v>
                </c:pt>
                <c:pt idx="49">
                  <c:v>789823536</c:v>
                </c:pt>
                <c:pt idx="50">
                  <c:v>11076506627</c:v>
                </c:pt>
                <c:pt idx="51">
                  <c:v>653207085</c:v>
                </c:pt>
                <c:pt idx="52">
                  <c:v>184934892</c:v>
                </c:pt>
                <c:pt idx="53">
                  <c:v>1470322820</c:v>
                </c:pt>
                <c:pt idx="54">
                  <c:v>3685956254</c:v>
                </c:pt>
                <c:pt idx="55">
                  <c:v>1184896848</c:v>
                </c:pt>
                <c:pt idx="56">
                  <c:v>1670883760</c:v>
                </c:pt>
                <c:pt idx="57">
                  <c:v>2995804588</c:v>
                </c:pt>
                <c:pt idx="58">
                  <c:v>548627296</c:v>
                </c:pt>
                <c:pt idx="59">
                  <c:v>1430044980</c:v>
                </c:pt>
                <c:pt idx="60">
                  <c:v>429544416</c:v>
                </c:pt>
                <c:pt idx="61">
                  <c:v>267749640</c:v>
                </c:pt>
                <c:pt idx="62">
                  <c:v>1379070516</c:v>
                </c:pt>
                <c:pt idx="63">
                  <c:v>1155252878</c:v>
                </c:pt>
                <c:pt idx="64">
                  <c:v>2038149675</c:v>
                </c:pt>
                <c:pt idx="65">
                  <c:v>1479025825</c:v>
                </c:pt>
                <c:pt idx="66">
                  <c:v>9675162960</c:v>
                </c:pt>
                <c:pt idx="67">
                  <c:v>1568987448</c:v>
                </c:pt>
                <c:pt idx="68">
                  <c:v>774749347</c:v>
                </c:pt>
                <c:pt idx="69">
                  <c:v>764277534</c:v>
                </c:pt>
                <c:pt idx="70">
                  <c:v>1922614218</c:v>
                </c:pt>
                <c:pt idx="71">
                  <c:v>1438689510</c:v>
                </c:pt>
                <c:pt idx="72">
                  <c:v>2041361874</c:v>
                </c:pt>
                <c:pt idx="73">
                  <c:v>2147483647</c:v>
                </c:pt>
                <c:pt idx="74">
                  <c:v>1519103555</c:v>
                </c:pt>
                <c:pt idx="75">
                  <c:v>4276997515</c:v>
                </c:pt>
                <c:pt idx="76">
                  <c:v>505160500</c:v>
                </c:pt>
                <c:pt idx="77">
                  <c:v>595234450</c:v>
                </c:pt>
                <c:pt idx="78">
                  <c:v>32109385</c:v>
                </c:pt>
                <c:pt idx="79">
                  <c:v>334808388</c:v>
                </c:pt>
                <c:pt idx="80">
                  <c:v>861253288</c:v>
                </c:pt>
                <c:pt idx="81">
                  <c:v>209486012</c:v>
                </c:pt>
                <c:pt idx="82">
                  <c:v>527999097</c:v>
                </c:pt>
                <c:pt idx="83">
                  <c:v>1911400654</c:v>
                </c:pt>
                <c:pt idx="84">
                  <c:v>2147483647</c:v>
                </c:pt>
                <c:pt idx="85">
                  <c:v>271066138</c:v>
                </c:pt>
                <c:pt idx="86">
                  <c:v>2593862652</c:v>
                </c:pt>
                <c:pt idx="87">
                  <c:v>4294635289</c:v>
                </c:pt>
                <c:pt idx="88">
                  <c:v>105835200</c:v>
                </c:pt>
                <c:pt idx="89">
                  <c:v>25395260</c:v>
                </c:pt>
                <c:pt idx="90">
                  <c:v>2147483647</c:v>
                </c:pt>
                <c:pt idx="91">
                  <c:v>614717320</c:v>
                </c:pt>
                <c:pt idx="92">
                  <c:v>309820992</c:v>
                </c:pt>
                <c:pt idx="93">
                  <c:v>305580756</c:v>
                </c:pt>
                <c:pt idx="94">
                  <c:v>4060016763</c:v>
                </c:pt>
                <c:pt idx="95">
                  <c:v>2147483647</c:v>
                </c:pt>
                <c:pt idx="96">
                  <c:v>2786248982</c:v>
                </c:pt>
                <c:pt idx="97">
                  <c:v>2773135886</c:v>
                </c:pt>
                <c:pt idx="98">
                  <c:v>517838835</c:v>
                </c:pt>
                <c:pt idx="99">
                  <c:v>758754123</c:v>
                </c:pt>
                <c:pt idx="100">
                  <c:v>5208110329</c:v>
                </c:pt>
                <c:pt idx="101">
                  <c:v>2147483647</c:v>
                </c:pt>
                <c:pt idx="102">
                  <c:v>929188608</c:v>
                </c:pt>
                <c:pt idx="103">
                  <c:v>2711563841</c:v>
                </c:pt>
                <c:pt idx="104">
                  <c:v>973947108</c:v>
                </c:pt>
                <c:pt idx="105">
                  <c:v>1046510976</c:v>
                </c:pt>
                <c:pt idx="106">
                  <c:v>1484753701</c:v>
                </c:pt>
                <c:pt idx="107">
                  <c:v>1004217574</c:v>
                </c:pt>
                <c:pt idx="108">
                  <c:v>2147483647</c:v>
                </c:pt>
                <c:pt idx="109">
                  <c:v>1815521156</c:v>
                </c:pt>
                <c:pt idx="110">
                  <c:v>4361911110</c:v>
                </c:pt>
                <c:pt idx="111">
                  <c:v>2147483647</c:v>
                </c:pt>
                <c:pt idx="112">
                  <c:v>2147483647</c:v>
                </c:pt>
                <c:pt idx="113">
                  <c:v>372809682</c:v>
                </c:pt>
                <c:pt idx="114">
                  <c:v>8491620533</c:v>
                </c:pt>
                <c:pt idx="115">
                  <c:v>2913628590</c:v>
                </c:pt>
                <c:pt idx="116">
                  <c:v>1826583880</c:v>
                </c:pt>
                <c:pt idx="117">
                  <c:v>574725165</c:v>
                </c:pt>
                <c:pt idx="118">
                  <c:v>4986416095</c:v>
                </c:pt>
                <c:pt idx="119">
                  <c:v>390547702</c:v>
                </c:pt>
                <c:pt idx="120">
                  <c:v>369178000</c:v>
                </c:pt>
                <c:pt idx="121">
                  <c:v>1314341910</c:v>
                </c:pt>
                <c:pt idx="122">
                  <c:v>220052604</c:v>
                </c:pt>
                <c:pt idx="123">
                  <c:v>1942871247</c:v>
                </c:pt>
                <c:pt idx="124">
                  <c:v>5450359344</c:v>
                </c:pt>
                <c:pt idx="125">
                  <c:v>238411260</c:v>
                </c:pt>
                <c:pt idx="126">
                  <c:v>326897967</c:v>
                </c:pt>
                <c:pt idx="127">
                  <c:v>8526947985</c:v>
                </c:pt>
                <c:pt idx="128">
                  <c:v>1245350456</c:v>
                </c:pt>
                <c:pt idx="129">
                  <c:v>957976800</c:v>
                </c:pt>
                <c:pt idx="130">
                  <c:v>4294967294</c:v>
                </c:pt>
                <c:pt idx="131">
                  <c:v>384140755</c:v>
                </c:pt>
                <c:pt idx="132">
                  <c:v>2666719226</c:v>
                </c:pt>
                <c:pt idx="133">
                  <c:v>262686498</c:v>
                </c:pt>
                <c:pt idx="134">
                  <c:v>2927330193</c:v>
                </c:pt>
                <c:pt idx="135">
                  <c:v>2089182924</c:v>
                </c:pt>
                <c:pt idx="136">
                  <c:v>3851687587</c:v>
                </c:pt>
                <c:pt idx="137">
                  <c:v>1838958678</c:v>
                </c:pt>
                <c:pt idx="138">
                  <c:v>4294967294</c:v>
                </c:pt>
                <c:pt idx="139">
                  <c:v>3310982568</c:v>
                </c:pt>
                <c:pt idx="140">
                  <c:v>1404931332</c:v>
                </c:pt>
                <c:pt idx="141">
                  <c:v>780878740</c:v>
                </c:pt>
                <c:pt idx="142">
                  <c:v>962440566</c:v>
                </c:pt>
                <c:pt idx="143">
                  <c:v>1916121584</c:v>
                </c:pt>
                <c:pt idx="144">
                  <c:v>561947716</c:v>
                </c:pt>
                <c:pt idx="145">
                  <c:v>770124093</c:v>
                </c:pt>
                <c:pt idx="146">
                  <c:v>3477570624</c:v>
                </c:pt>
                <c:pt idx="147">
                  <c:v>868226586</c:v>
                </c:pt>
                <c:pt idx="148">
                  <c:v>2147483647</c:v>
                </c:pt>
                <c:pt idx="149">
                  <c:v>136702929</c:v>
                </c:pt>
                <c:pt idx="150">
                  <c:v>5538761023</c:v>
                </c:pt>
                <c:pt idx="151">
                  <c:v>887059440</c:v>
                </c:pt>
                <c:pt idx="152">
                  <c:v>1650565224</c:v>
                </c:pt>
                <c:pt idx="153">
                  <c:v>2147483647</c:v>
                </c:pt>
                <c:pt idx="154">
                  <c:v>1666109228</c:v>
                </c:pt>
                <c:pt idx="155">
                  <c:v>1088963820</c:v>
                </c:pt>
                <c:pt idx="156">
                  <c:v>1184554063</c:v>
                </c:pt>
                <c:pt idx="157">
                  <c:v>6320915688</c:v>
                </c:pt>
                <c:pt idx="158">
                  <c:v>2054063956</c:v>
                </c:pt>
                <c:pt idx="159">
                  <c:v>3010017221</c:v>
                </c:pt>
                <c:pt idx="160">
                  <c:v>482676705</c:v>
                </c:pt>
                <c:pt idx="161">
                  <c:v>2455492677</c:v>
                </c:pt>
                <c:pt idx="162">
                  <c:v>1499994630</c:v>
                </c:pt>
                <c:pt idx="163">
                  <c:v>2101265032</c:v>
                </c:pt>
                <c:pt idx="164">
                  <c:v>4097586710</c:v>
                </c:pt>
                <c:pt idx="165">
                  <c:v>1860908677</c:v>
                </c:pt>
                <c:pt idx="166">
                  <c:v>506976991</c:v>
                </c:pt>
                <c:pt idx="167">
                  <c:v>144820243</c:v>
                </c:pt>
                <c:pt idx="168">
                  <c:v>2147483647</c:v>
                </c:pt>
                <c:pt idx="169">
                  <c:v>5014403020</c:v>
                </c:pt>
                <c:pt idx="170">
                  <c:v>736763693</c:v>
                </c:pt>
                <c:pt idx="171">
                  <c:v>468583392</c:v>
                </c:pt>
                <c:pt idx="172">
                  <c:v>414077272</c:v>
                </c:pt>
                <c:pt idx="173">
                  <c:v>2147483647</c:v>
                </c:pt>
                <c:pt idx="174">
                  <c:v>208358968</c:v>
                </c:pt>
                <c:pt idx="175">
                  <c:v>137450870</c:v>
                </c:pt>
                <c:pt idx="176">
                  <c:v>144564200</c:v>
                </c:pt>
                <c:pt idx="177">
                  <c:v>8589934588</c:v>
                </c:pt>
                <c:pt idx="178">
                  <c:v>13449979643</c:v>
                </c:pt>
                <c:pt idx="179">
                  <c:v>5851930176</c:v>
                </c:pt>
                <c:pt idx="180">
                  <c:v>1059894440</c:v>
                </c:pt>
                <c:pt idx="181">
                  <c:v>4673931463</c:v>
                </c:pt>
                <c:pt idx="182">
                  <c:v>2422226651</c:v>
                </c:pt>
                <c:pt idx="183">
                  <c:v>112267253</c:v>
                </c:pt>
                <c:pt idx="184">
                  <c:v>2147483647</c:v>
                </c:pt>
                <c:pt idx="185">
                  <c:v>5245103777</c:v>
                </c:pt>
                <c:pt idx="186">
                  <c:v>2235018216</c:v>
                </c:pt>
                <c:pt idx="187">
                  <c:v>207135552</c:v>
                </c:pt>
                <c:pt idx="188">
                  <c:v>2147483647</c:v>
                </c:pt>
                <c:pt idx="189">
                  <c:v>440922516</c:v>
                </c:pt>
                <c:pt idx="190">
                  <c:v>1790195794</c:v>
                </c:pt>
                <c:pt idx="191">
                  <c:v>312168058</c:v>
                </c:pt>
                <c:pt idx="192">
                  <c:v>466787241</c:v>
                </c:pt>
                <c:pt idx="193">
                  <c:v>244698336</c:v>
                </c:pt>
                <c:pt idx="194">
                  <c:v>252970861</c:v>
                </c:pt>
                <c:pt idx="195">
                  <c:v>1943804474</c:v>
                </c:pt>
                <c:pt idx="196">
                  <c:v>1040092764</c:v>
                </c:pt>
                <c:pt idx="197">
                  <c:v>1810642990</c:v>
                </c:pt>
                <c:pt idx="198">
                  <c:v>863265900</c:v>
                </c:pt>
                <c:pt idx="199">
                  <c:v>272910174</c:v>
                </c:pt>
                <c:pt idx="200">
                  <c:v>2147483647</c:v>
                </c:pt>
                <c:pt idx="201">
                  <c:v>5518901720</c:v>
                </c:pt>
                <c:pt idx="202">
                  <c:v>989396256</c:v>
                </c:pt>
                <c:pt idx="203">
                  <c:v>1774121352</c:v>
                </c:pt>
                <c:pt idx="204">
                  <c:v>1247239924</c:v>
                </c:pt>
                <c:pt idx="205">
                  <c:v>1904254988</c:v>
                </c:pt>
                <c:pt idx="206">
                  <c:v>2393954820</c:v>
                </c:pt>
                <c:pt idx="207">
                  <c:v>1799474560</c:v>
                </c:pt>
                <c:pt idx="208">
                  <c:v>237293238</c:v>
                </c:pt>
                <c:pt idx="209">
                  <c:v>1921937622</c:v>
                </c:pt>
                <c:pt idx="210">
                  <c:v>8589934588</c:v>
                </c:pt>
                <c:pt idx="211">
                  <c:v>1209861624</c:v>
                </c:pt>
                <c:pt idx="212">
                  <c:v>773113611</c:v>
                </c:pt>
                <c:pt idx="213">
                  <c:v>524059536</c:v>
                </c:pt>
                <c:pt idx="214">
                  <c:v>2969690452</c:v>
                </c:pt>
                <c:pt idx="215">
                  <c:v>3292318620</c:v>
                </c:pt>
                <c:pt idx="216">
                  <c:v>11950367083</c:v>
                </c:pt>
                <c:pt idx="217">
                  <c:v>245743245</c:v>
                </c:pt>
                <c:pt idx="218">
                  <c:v>1843926652</c:v>
                </c:pt>
                <c:pt idx="219">
                  <c:v>437858175</c:v>
                </c:pt>
                <c:pt idx="220">
                  <c:v>354432682</c:v>
                </c:pt>
                <c:pt idx="221">
                  <c:v>103750641</c:v>
                </c:pt>
                <c:pt idx="222">
                  <c:v>545068830</c:v>
                </c:pt>
                <c:pt idx="223">
                  <c:v>1786947225</c:v>
                </c:pt>
                <c:pt idx="224">
                  <c:v>1535251550</c:v>
                </c:pt>
                <c:pt idx="225">
                  <c:v>2147483647</c:v>
                </c:pt>
                <c:pt idx="226">
                  <c:v>2147483647</c:v>
                </c:pt>
                <c:pt idx="227">
                  <c:v>3079058140</c:v>
                </c:pt>
                <c:pt idx="228">
                  <c:v>1698614644</c:v>
                </c:pt>
                <c:pt idx="229">
                  <c:v>627062352</c:v>
                </c:pt>
                <c:pt idx="230">
                  <c:v>2392619931</c:v>
                </c:pt>
                <c:pt idx="231">
                  <c:v>2002652484</c:v>
                </c:pt>
                <c:pt idx="232">
                  <c:v>1507526869</c:v>
                </c:pt>
                <c:pt idx="233">
                  <c:v>2147483647</c:v>
                </c:pt>
                <c:pt idx="234">
                  <c:v>2147483647</c:v>
                </c:pt>
                <c:pt idx="235">
                  <c:v>2147483647</c:v>
                </c:pt>
                <c:pt idx="236">
                  <c:v>841980547</c:v>
                </c:pt>
                <c:pt idx="237">
                  <c:v>272970407</c:v>
                </c:pt>
                <c:pt idx="238">
                  <c:v>2285690277</c:v>
                </c:pt>
                <c:pt idx="239">
                  <c:v>2147483647</c:v>
                </c:pt>
                <c:pt idx="240">
                  <c:v>116656482</c:v>
                </c:pt>
                <c:pt idx="241">
                  <c:v>435536028</c:v>
                </c:pt>
                <c:pt idx="242">
                  <c:v>1620470752</c:v>
                </c:pt>
                <c:pt idx="243">
                  <c:v>3071798844</c:v>
                </c:pt>
                <c:pt idx="244">
                  <c:v>183414132</c:v>
                </c:pt>
                <c:pt idx="245">
                  <c:v>906828120</c:v>
                </c:pt>
                <c:pt idx="246">
                  <c:v>760196640</c:v>
                </c:pt>
                <c:pt idx="247">
                  <c:v>786831626</c:v>
                </c:pt>
                <c:pt idx="248">
                  <c:v>923706726</c:v>
                </c:pt>
                <c:pt idx="249">
                  <c:v>20410314</c:v>
                </c:pt>
                <c:pt idx="250">
                  <c:v>759804660</c:v>
                </c:pt>
                <c:pt idx="251">
                  <c:v>983013503</c:v>
                </c:pt>
                <c:pt idx="252">
                  <c:v>2147483647</c:v>
                </c:pt>
                <c:pt idx="253">
                  <c:v>306371934</c:v>
                </c:pt>
                <c:pt idx="254">
                  <c:v>258953175</c:v>
                </c:pt>
                <c:pt idx="255">
                  <c:v>2020539573</c:v>
                </c:pt>
                <c:pt idx="256">
                  <c:v>304151202</c:v>
                </c:pt>
                <c:pt idx="257">
                  <c:v>1135598490</c:v>
                </c:pt>
                <c:pt idx="258">
                  <c:v>755076140</c:v>
                </c:pt>
                <c:pt idx="259">
                  <c:v>897112125</c:v>
                </c:pt>
                <c:pt idx="260">
                  <c:v>1546253154</c:v>
                </c:pt>
                <c:pt idx="261">
                  <c:v>38319222</c:v>
                </c:pt>
                <c:pt idx="262">
                  <c:v>14563007558</c:v>
                </c:pt>
                <c:pt idx="263">
                  <c:v>861528129</c:v>
                </c:pt>
                <c:pt idx="264">
                  <c:v>1280387985</c:v>
                </c:pt>
                <c:pt idx="265">
                  <c:v>1088065534</c:v>
                </c:pt>
                <c:pt idx="266">
                  <c:v>2955774763</c:v>
                </c:pt>
                <c:pt idx="267">
                  <c:v>604321641</c:v>
                </c:pt>
                <c:pt idx="268">
                  <c:v>135370440</c:v>
                </c:pt>
                <c:pt idx="269">
                  <c:v>1131502878</c:v>
                </c:pt>
                <c:pt idx="270">
                  <c:v>1865558676</c:v>
                </c:pt>
                <c:pt idx="271">
                  <c:v>329992542</c:v>
                </c:pt>
                <c:pt idx="272">
                  <c:v>2866238592</c:v>
                </c:pt>
                <c:pt idx="273">
                  <c:v>926105940</c:v>
                </c:pt>
                <c:pt idx="274">
                  <c:v>2147483647</c:v>
                </c:pt>
                <c:pt idx="275">
                  <c:v>2147483647</c:v>
                </c:pt>
                <c:pt idx="276">
                  <c:v>895980375</c:v>
                </c:pt>
                <c:pt idx="277">
                  <c:v>418858000</c:v>
                </c:pt>
                <c:pt idx="278">
                  <c:v>188886264</c:v>
                </c:pt>
                <c:pt idx="279">
                  <c:v>603578591</c:v>
                </c:pt>
                <c:pt idx="280">
                  <c:v>143324415</c:v>
                </c:pt>
                <c:pt idx="281">
                  <c:v>3240912379</c:v>
                </c:pt>
                <c:pt idx="282">
                  <c:v>1624901831</c:v>
                </c:pt>
                <c:pt idx="283">
                  <c:v>1479742432</c:v>
                </c:pt>
                <c:pt idx="284">
                  <c:v>2147483647</c:v>
                </c:pt>
                <c:pt idx="285">
                  <c:v>1093437370</c:v>
                </c:pt>
                <c:pt idx="286">
                  <c:v>527725968</c:v>
                </c:pt>
                <c:pt idx="287">
                  <c:v>4294967294</c:v>
                </c:pt>
                <c:pt idx="288">
                  <c:v>7568203567</c:v>
                </c:pt>
                <c:pt idx="289">
                  <c:v>111619060</c:v>
                </c:pt>
                <c:pt idx="290">
                  <c:v>1633619223</c:v>
                </c:pt>
                <c:pt idx="291">
                  <c:v>1644054588</c:v>
                </c:pt>
                <c:pt idx="292">
                  <c:v>1104937792</c:v>
                </c:pt>
                <c:pt idx="293">
                  <c:v>271541400</c:v>
                </c:pt>
                <c:pt idx="294">
                  <c:v>1814505671</c:v>
                </c:pt>
                <c:pt idx="295">
                  <c:v>1304009624</c:v>
                </c:pt>
                <c:pt idx="296">
                  <c:v>4686600443</c:v>
                </c:pt>
                <c:pt idx="297">
                  <c:v>2147483647</c:v>
                </c:pt>
                <c:pt idx="298">
                  <c:v>523396002</c:v>
                </c:pt>
                <c:pt idx="299">
                  <c:v>3461124687</c:v>
                </c:pt>
                <c:pt idx="300">
                  <c:v>2147483647</c:v>
                </c:pt>
                <c:pt idx="301">
                  <c:v>1179724557</c:v>
                </c:pt>
                <c:pt idx="302">
                  <c:v>1195249554</c:v>
                </c:pt>
                <c:pt idx="303">
                  <c:v>109430244</c:v>
                </c:pt>
                <c:pt idx="304">
                  <c:v>2147483647</c:v>
                </c:pt>
                <c:pt idx="305">
                  <c:v>2147483647</c:v>
                </c:pt>
                <c:pt idx="306">
                  <c:v>1157360320</c:v>
                </c:pt>
                <c:pt idx="307">
                  <c:v>4161142911</c:v>
                </c:pt>
                <c:pt idx="308">
                  <c:v>865882879</c:v>
                </c:pt>
                <c:pt idx="309">
                  <c:v>914905400</c:v>
                </c:pt>
                <c:pt idx="310">
                  <c:v>743656460</c:v>
                </c:pt>
                <c:pt idx="311">
                  <c:v>1702493808</c:v>
                </c:pt>
                <c:pt idx="312">
                  <c:v>5162871175</c:v>
                </c:pt>
                <c:pt idx="313">
                  <c:v>2419886785</c:v>
                </c:pt>
                <c:pt idx="314">
                  <c:v>2147483647</c:v>
                </c:pt>
                <c:pt idx="315">
                  <c:v>3551810015</c:v>
                </c:pt>
                <c:pt idx="316">
                  <c:v>959095358</c:v>
                </c:pt>
                <c:pt idx="317">
                  <c:v>1275188512</c:v>
                </c:pt>
                <c:pt idx="318">
                  <c:v>1551048012</c:v>
                </c:pt>
                <c:pt idx="319">
                  <c:v>6672176565</c:v>
                </c:pt>
                <c:pt idx="320">
                  <c:v>1002695328</c:v>
                </c:pt>
                <c:pt idx="321">
                  <c:v>62864034</c:v>
                </c:pt>
                <c:pt idx="322">
                  <c:v>4562129689</c:v>
                </c:pt>
                <c:pt idx="323">
                  <c:v>6076096315</c:v>
                </c:pt>
                <c:pt idx="324">
                  <c:v>1278449079</c:v>
                </c:pt>
                <c:pt idx="325">
                  <c:v>2147483647</c:v>
                </c:pt>
                <c:pt idx="326">
                  <c:v>404542080</c:v>
                </c:pt>
                <c:pt idx="327">
                  <c:v>1347411724</c:v>
                </c:pt>
                <c:pt idx="328">
                  <c:v>5265458237</c:v>
                </c:pt>
                <c:pt idx="329">
                  <c:v>820192543</c:v>
                </c:pt>
                <c:pt idx="330">
                  <c:v>2147483647</c:v>
                </c:pt>
                <c:pt idx="331">
                  <c:v>2066327570</c:v>
                </c:pt>
                <c:pt idx="332">
                  <c:v>2939766588</c:v>
                </c:pt>
                <c:pt idx="333">
                  <c:v>2511600664</c:v>
                </c:pt>
                <c:pt idx="334">
                  <c:v>2890315810</c:v>
                </c:pt>
                <c:pt idx="335">
                  <c:v>2147483647</c:v>
                </c:pt>
                <c:pt idx="336">
                  <c:v>2147483647</c:v>
                </c:pt>
                <c:pt idx="337">
                  <c:v>1380660741</c:v>
                </c:pt>
                <c:pt idx="338">
                  <c:v>331746354</c:v>
                </c:pt>
                <c:pt idx="339">
                  <c:v>1086032440</c:v>
                </c:pt>
                <c:pt idx="340">
                  <c:v>222792350</c:v>
                </c:pt>
                <c:pt idx="341">
                  <c:v>7933603525</c:v>
                </c:pt>
                <c:pt idx="342">
                  <c:v>1795148787</c:v>
                </c:pt>
                <c:pt idx="343">
                  <c:v>790977012</c:v>
                </c:pt>
                <c:pt idx="344">
                  <c:v>57858622</c:v>
                </c:pt>
                <c:pt idx="345">
                  <c:v>201409196</c:v>
                </c:pt>
                <c:pt idx="346">
                  <c:v>2409549550</c:v>
                </c:pt>
                <c:pt idx="347">
                  <c:v>3670644795</c:v>
                </c:pt>
                <c:pt idx="348">
                  <c:v>462880395</c:v>
                </c:pt>
                <c:pt idx="349">
                  <c:v>1595397524</c:v>
                </c:pt>
                <c:pt idx="350">
                  <c:v>840893380</c:v>
                </c:pt>
                <c:pt idx="351">
                  <c:v>2147483647</c:v>
                </c:pt>
                <c:pt idx="352">
                  <c:v>2078112299</c:v>
                </c:pt>
                <c:pt idx="353">
                  <c:v>1418903154</c:v>
                </c:pt>
                <c:pt idx="354">
                  <c:v>1228343000</c:v>
                </c:pt>
                <c:pt idx="355">
                  <c:v>2138318644</c:v>
                </c:pt>
                <c:pt idx="356">
                  <c:v>3518593209</c:v>
                </c:pt>
                <c:pt idx="357">
                  <c:v>2019904480</c:v>
                </c:pt>
                <c:pt idx="358">
                  <c:v>1543047660</c:v>
                </c:pt>
                <c:pt idx="359">
                  <c:v>2147483647</c:v>
                </c:pt>
                <c:pt idx="360">
                  <c:v>1510978553</c:v>
                </c:pt>
                <c:pt idx="361">
                  <c:v>2759290037</c:v>
                </c:pt>
                <c:pt idx="362">
                  <c:v>6715771240</c:v>
                </c:pt>
                <c:pt idx="363">
                  <c:v>1300234173</c:v>
                </c:pt>
                <c:pt idx="364">
                  <c:v>2147483647</c:v>
                </c:pt>
                <c:pt idx="365">
                  <c:v>2147483647</c:v>
                </c:pt>
                <c:pt idx="366">
                  <c:v>1084077317</c:v>
                </c:pt>
                <c:pt idx="367">
                  <c:v>3814054442</c:v>
                </c:pt>
                <c:pt idx="368">
                  <c:v>3210666455</c:v>
                </c:pt>
                <c:pt idx="369">
                  <c:v>4294967294</c:v>
                </c:pt>
                <c:pt idx="370">
                  <c:v>3679971682</c:v>
                </c:pt>
                <c:pt idx="371">
                  <c:v>622443568</c:v>
                </c:pt>
                <c:pt idx="372">
                  <c:v>295552880</c:v>
                </c:pt>
                <c:pt idx="373">
                  <c:v>2147483647</c:v>
                </c:pt>
                <c:pt idx="374">
                  <c:v>2303726009</c:v>
                </c:pt>
                <c:pt idx="375">
                  <c:v>3050941525</c:v>
                </c:pt>
                <c:pt idx="376">
                  <c:v>1225138196</c:v>
                </c:pt>
                <c:pt idx="377">
                  <c:v>477023316</c:v>
                </c:pt>
                <c:pt idx="378">
                  <c:v>446518240</c:v>
                </c:pt>
                <c:pt idx="379">
                  <c:v>797620689</c:v>
                </c:pt>
                <c:pt idx="380">
                  <c:v>698663788</c:v>
                </c:pt>
                <c:pt idx="381">
                  <c:v>10110920212</c:v>
                </c:pt>
                <c:pt idx="382">
                  <c:v>3169039981</c:v>
                </c:pt>
                <c:pt idx="383">
                  <c:v>349132938</c:v>
                </c:pt>
                <c:pt idx="384">
                  <c:v>1737940169</c:v>
                </c:pt>
                <c:pt idx="385">
                  <c:v>1328019264</c:v>
                </c:pt>
                <c:pt idx="386">
                  <c:v>5547306913</c:v>
                </c:pt>
                <c:pt idx="387">
                  <c:v>1380876840</c:v>
                </c:pt>
                <c:pt idx="388">
                  <c:v>5509210833</c:v>
                </c:pt>
                <c:pt idx="389">
                  <c:v>1391982456</c:v>
                </c:pt>
                <c:pt idx="390">
                  <c:v>4992739981</c:v>
                </c:pt>
                <c:pt idx="391">
                  <c:v>2147483647</c:v>
                </c:pt>
                <c:pt idx="392">
                  <c:v>2147483647</c:v>
                </c:pt>
                <c:pt idx="393">
                  <c:v>2028427542</c:v>
                </c:pt>
                <c:pt idx="394">
                  <c:v>50405252211</c:v>
                </c:pt>
                <c:pt idx="395">
                  <c:v>1395060425</c:v>
                </c:pt>
                <c:pt idx="396">
                  <c:v>773402742</c:v>
                </c:pt>
                <c:pt idx="397">
                  <c:v>2013469034</c:v>
                </c:pt>
                <c:pt idx="398">
                  <c:v>1157596204</c:v>
                </c:pt>
                <c:pt idx="399">
                  <c:v>1897608160</c:v>
                </c:pt>
                <c:pt idx="400">
                  <c:v>3323860365</c:v>
                </c:pt>
                <c:pt idx="401">
                  <c:v>1056677174</c:v>
                </c:pt>
                <c:pt idx="402">
                  <c:v>2192103348</c:v>
                </c:pt>
                <c:pt idx="403">
                  <c:v>2147483647</c:v>
                </c:pt>
                <c:pt idx="404">
                  <c:v>8248434925</c:v>
                </c:pt>
                <c:pt idx="405">
                  <c:v>1828384312</c:v>
                </c:pt>
                <c:pt idx="406">
                  <c:v>3199202375</c:v>
                </c:pt>
                <c:pt idx="407">
                  <c:v>4093359742</c:v>
                </c:pt>
                <c:pt idx="408">
                  <c:v>4294967294</c:v>
                </c:pt>
                <c:pt idx="409">
                  <c:v>568366848</c:v>
                </c:pt>
                <c:pt idx="410">
                  <c:v>8738902652</c:v>
                </c:pt>
                <c:pt idx="411">
                  <c:v>6802388386</c:v>
                </c:pt>
                <c:pt idx="412">
                  <c:v>6052076236</c:v>
                </c:pt>
                <c:pt idx="413">
                  <c:v>2761997308</c:v>
                </c:pt>
                <c:pt idx="414">
                  <c:v>1934118277</c:v>
                </c:pt>
                <c:pt idx="415">
                  <c:v>490673316</c:v>
                </c:pt>
                <c:pt idx="416">
                  <c:v>2846365265</c:v>
                </c:pt>
                <c:pt idx="417">
                  <c:v>855715130</c:v>
                </c:pt>
                <c:pt idx="418">
                  <c:v>8804796616</c:v>
                </c:pt>
                <c:pt idx="419">
                  <c:v>2147483647</c:v>
                </c:pt>
                <c:pt idx="420">
                  <c:v>1102749362</c:v>
                </c:pt>
                <c:pt idx="421">
                  <c:v>942037301</c:v>
                </c:pt>
                <c:pt idx="422">
                  <c:v>1485728492</c:v>
                </c:pt>
                <c:pt idx="423">
                  <c:v>943960773</c:v>
                </c:pt>
                <c:pt idx="424">
                  <c:v>1574259862</c:v>
                </c:pt>
                <c:pt idx="425">
                  <c:v>569879289</c:v>
                </c:pt>
                <c:pt idx="426">
                  <c:v>381695485</c:v>
                </c:pt>
                <c:pt idx="427">
                  <c:v>4039878536</c:v>
                </c:pt>
                <c:pt idx="428">
                  <c:v>1513472556</c:v>
                </c:pt>
                <c:pt idx="429">
                  <c:v>842700265</c:v>
                </c:pt>
                <c:pt idx="430">
                  <c:v>457395507</c:v>
                </c:pt>
                <c:pt idx="431">
                  <c:v>4294967294</c:v>
                </c:pt>
                <c:pt idx="432">
                  <c:v>354396080</c:v>
                </c:pt>
                <c:pt idx="433">
                  <c:v>828617968</c:v>
                </c:pt>
                <c:pt idx="434">
                  <c:v>336083480</c:v>
                </c:pt>
                <c:pt idx="435">
                  <c:v>552612996</c:v>
                </c:pt>
                <c:pt idx="436">
                  <c:v>262837179</c:v>
                </c:pt>
                <c:pt idx="437">
                  <c:v>2020181653</c:v>
                </c:pt>
                <c:pt idx="438">
                  <c:v>1053649296</c:v>
                </c:pt>
                <c:pt idx="439">
                  <c:v>808788210</c:v>
                </c:pt>
                <c:pt idx="440">
                  <c:v>1745155648</c:v>
                </c:pt>
                <c:pt idx="441">
                  <c:v>1333962511</c:v>
                </c:pt>
                <c:pt idx="442">
                  <c:v>1780250360</c:v>
                </c:pt>
                <c:pt idx="443">
                  <c:v>2147483647</c:v>
                </c:pt>
                <c:pt idx="444">
                  <c:v>2288948320</c:v>
                </c:pt>
                <c:pt idx="445">
                  <c:v>941536799</c:v>
                </c:pt>
                <c:pt idx="446">
                  <c:v>1169303240</c:v>
                </c:pt>
                <c:pt idx="447">
                  <c:v>8373190690</c:v>
                </c:pt>
                <c:pt idx="448">
                  <c:v>107071029</c:v>
                </c:pt>
                <c:pt idx="449">
                  <c:v>2147483647</c:v>
                </c:pt>
                <c:pt idx="450">
                  <c:v>918700128</c:v>
                </c:pt>
                <c:pt idx="451">
                  <c:v>1020281640</c:v>
                </c:pt>
                <c:pt idx="452">
                  <c:v>874742004</c:v>
                </c:pt>
                <c:pt idx="453">
                  <c:v>6015700249</c:v>
                </c:pt>
                <c:pt idx="454">
                  <c:v>390450903</c:v>
                </c:pt>
                <c:pt idx="455">
                  <c:v>2147483647</c:v>
                </c:pt>
                <c:pt idx="456">
                  <c:v>372638747</c:v>
                </c:pt>
                <c:pt idx="457">
                  <c:v>1745191580</c:v>
                </c:pt>
                <c:pt idx="458">
                  <c:v>1211794500</c:v>
                </c:pt>
                <c:pt idx="459">
                  <c:v>3980999014</c:v>
                </c:pt>
                <c:pt idx="460">
                  <c:v>1280469880</c:v>
                </c:pt>
                <c:pt idx="461">
                  <c:v>476083300</c:v>
                </c:pt>
                <c:pt idx="462">
                  <c:v>213768438</c:v>
                </c:pt>
                <c:pt idx="463">
                  <c:v>4090966727</c:v>
                </c:pt>
                <c:pt idx="464">
                  <c:v>193650177</c:v>
                </c:pt>
                <c:pt idx="465">
                  <c:v>7600998482</c:v>
                </c:pt>
                <c:pt idx="466">
                  <c:v>2147483647</c:v>
                </c:pt>
                <c:pt idx="467">
                  <c:v>3642489545</c:v>
                </c:pt>
                <c:pt idx="468">
                  <c:v>1170646364</c:v>
                </c:pt>
                <c:pt idx="469">
                  <c:v>1729203972</c:v>
                </c:pt>
                <c:pt idx="470">
                  <c:v>2410865998</c:v>
                </c:pt>
                <c:pt idx="471">
                  <c:v>3690032236</c:v>
                </c:pt>
                <c:pt idx="472">
                  <c:v>589773528</c:v>
                </c:pt>
                <c:pt idx="473">
                  <c:v>933384981</c:v>
                </c:pt>
                <c:pt idx="474">
                  <c:v>2147483647</c:v>
                </c:pt>
                <c:pt idx="475">
                  <c:v>3148793760</c:v>
                </c:pt>
                <c:pt idx="476">
                  <c:v>94402066</c:v>
                </c:pt>
                <c:pt idx="477">
                  <c:v>3993903397</c:v>
                </c:pt>
                <c:pt idx="478">
                  <c:v>3321119034</c:v>
                </c:pt>
                <c:pt idx="479">
                  <c:v>4272078992</c:v>
                </c:pt>
                <c:pt idx="480">
                  <c:v>765529334</c:v>
                </c:pt>
                <c:pt idx="481">
                  <c:v>466596950</c:v>
                </c:pt>
                <c:pt idx="482">
                  <c:v>1405186160</c:v>
                </c:pt>
                <c:pt idx="483">
                  <c:v>5087983667</c:v>
                </c:pt>
                <c:pt idx="484">
                  <c:v>2147483647</c:v>
                </c:pt>
                <c:pt idx="485">
                  <c:v>3372132457</c:v>
                </c:pt>
                <c:pt idx="486">
                  <c:v>508312095</c:v>
                </c:pt>
                <c:pt idx="487">
                  <c:v>4630252983</c:v>
                </c:pt>
                <c:pt idx="488">
                  <c:v>3862832556</c:v>
                </c:pt>
                <c:pt idx="489">
                  <c:v>1766356910</c:v>
                </c:pt>
                <c:pt idx="490">
                  <c:v>4596503118</c:v>
                </c:pt>
                <c:pt idx="491">
                  <c:v>367179122</c:v>
                </c:pt>
                <c:pt idx="492">
                  <c:v>2147483647</c:v>
                </c:pt>
                <c:pt idx="493">
                  <c:v>96472620</c:v>
                </c:pt>
                <c:pt idx="494">
                  <c:v>222384515</c:v>
                </c:pt>
                <c:pt idx="495">
                  <c:v>3583280839</c:v>
                </c:pt>
                <c:pt idx="496">
                  <c:v>1352950116</c:v>
                </c:pt>
                <c:pt idx="497">
                  <c:v>1945408234</c:v>
                </c:pt>
                <c:pt idx="498">
                  <c:v>1664351570</c:v>
                </c:pt>
                <c:pt idx="499">
                  <c:v>17773800</c:v>
                </c:pt>
                <c:pt idx="500">
                  <c:v>2147483647</c:v>
                </c:pt>
                <c:pt idx="501">
                  <c:v>5774192853</c:v>
                </c:pt>
                <c:pt idx="502">
                  <c:v>1068386248</c:v>
                </c:pt>
                <c:pt idx="503">
                  <c:v>178306300</c:v>
                </c:pt>
                <c:pt idx="504">
                  <c:v>373792936</c:v>
                </c:pt>
                <c:pt idx="505">
                  <c:v>196972710</c:v>
                </c:pt>
                <c:pt idx="506">
                  <c:v>1109135165</c:v>
                </c:pt>
                <c:pt idx="507">
                  <c:v>1390266735</c:v>
                </c:pt>
                <c:pt idx="508">
                  <c:v>1424518722</c:v>
                </c:pt>
                <c:pt idx="509">
                  <c:v>408723007</c:v>
                </c:pt>
                <c:pt idx="510">
                  <c:v>2356471623</c:v>
                </c:pt>
                <c:pt idx="511">
                  <c:v>3768364189</c:v>
                </c:pt>
                <c:pt idx="512">
                  <c:v>3480303508</c:v>
                </c:pt>
                <c:pt idx="513">
                  <c:v>18404244</c:v>
                </c:pt>
                <c:pt idx="514">
                  <c:v>281808065</c:v>
                </c:pt>
                <c:pt idx="515">
                  <c:v>1370670105</c:v>
                </c:pt>
                <c:pt idx="516">
                  <c:v>1811282544</c:v>
                </c:pt>
                <c:pt idx="517">
                  <c:v>757963360</c:v>
                </c:pt>
                <c:pt idx="518">
                  <c:v>372994596</c:v>
                </c:pt>
                <c:pt idx="519">
                  <c:v>6260906977</c:v>
                </c:pt>
                <c:pt idx="520">
                  <c:v>819329628</c:v>
                </c:pt>
                <c:pt idx="521">
                  <c:v>12669332442</c:v>
                </c:pt>
                <c:pt idx="522">
                  <c:v>470274167</c:v>
                </c:pt>
                <c:pt idx="523">
                  <c:v>249983757</c:v>
                </c:pt>
                <c:pt idx="524">
                  <c:v>296770152</c:v>
                </c:pt>
                <c:pt idx="525">
                  <c:v>461670944</c:v>
                </c:pt>
                <c:pt idx="526">
                  <c:v>3655429015</c:v>
                </c:pt>
                <c:pt idx="527">
                  <c:v>5424396757</c:v>
                </c:pt>
                <c:pt idx="528">
                  <c:v>194328652</c:v>
                </c:pt>
                <c:pt idx="529">
                  <c:v>158210010</c:v>
                </c:pt>
                <c:pt idx="530">
                  <c:v>791783616</c:v>
                </c:pt>
                <c:pt idx="531">
                  <c:v>764939568</c:v>
                </c:pt>
                <c:pt idx="532">
                  <c:v>5101383237</c:v>
                </c:pt>
                <c:pt idx="533">
                  <c:v>26429625</c:v>
                </c:pt>
                <c:pt idx="534">
                  <c:v>331175130</c:v>
                </c:pt>
                <c:pt idx="535">
                  <c:v>47528320</c:v>
                </c:pt>
                <c:pt idx="536">
                  <c:v>18197397960</c:v>
                </c:pt>
                <c:pt idx="537">
                  <c:v>1681478949</c:v>
                </c:pt>
                <c:pt idx="538">
                  <c:v>507985841</c:v>
                </c:pt>
                <c:pt idx="539">
                  <c:v>402765825</c:v>
                </c:pt>
                <c:pt idx="540">
                  <c:v>348761385</c:v>
                </c:pt>
                <c:pt idx="541">
                  <c:v>392966114</c:v>
                </c:pt>
                <c:pt idx="542">
                  <c:v>307017960</c:v>
                </c:pt>
                <c:pt idx="543">
                  <c:v>12223015</c:v>
                </c:pt>
                <c:pt idx="544">
                  <c:v>1547074176</c:v>
                </c:pt>
                <c:pt idx="545">
                  <c:v>342206808</c:v>
                </c:pt>
                <c:pt idx="546">
                  <c:v>448484720</c:v>
                </c:pt>
                <c:pt idx="547">
                  <c:v>470741249</c:v>
                </c:pt>
                <c:pt idx="548">
                  <c:v>651712824</c:v>
                </c:pt>
                <c:pt idx="549">
                  <c:v>6595457928</c:v>
                </c:pt>
                <c:pt idx="550">
                  <c:v>1732202603</c:v>
                </c:pt>
                <c:pt idx="551">
                  <c:v>523033082</c:v>
                </c:pt>
                <c:pt idx="552">
                  <c:v>478923354</c:v>
                </c:pt>
                <c:pt idx="553">
                  <c:v>1720536294</c:v>
                </c:pt>
                <c:pt idx="554">
                  <c:v>7782624627</c:v>
                </c:pt>
                <c:pt idx="555">
                  <c:v>409816458</c:v>
                </c:pt>
                <c:pt idx="556">
                  <c:v>431680984</c:v>
                </c:pt>
                <c:pt idx="557">
                  <c:v>205621743</c:v>
                </c:pt>
                <c:pt idx="558">
                  <c:v>504266835</c:v>
                </c:pt>
                <c:pt idx="559">
                  <c:v>615319390</c:v>
                </c:pt>
                <c:pt idx="560">
                  <c:v>3564968527</c:v>
                </c:pt>
                <c:pt idx="561">
                  <c:v>123743592</c:v>
                </c:pt>
                <c:pt idx="562">
                  <c:v>2164767238</c:v>
                </c:pt>
                <c:pt idx="563">
                  <c:v>3190998987</c:v>
                </c:pt>
                <c:pt idx="564">
                  <c:v>296346616</c:v>
                </c:pt>
                <c:pt idx="565">
                  <c:v>302202750</c:v>
                </c:pt>
                <c:pt idx="566">
                  <c:v>483516295</c:v>
                </c:pt>
                <c:pt idx="567">
                  <c:v>125610548</c:v>
                </c:pt>
                <c:pt idx="568">
                  <c:v>809507160</c:v>
                </c:pt>
                <c:pt idx="569">
                  <c:v>251144865</c:v>
                </c:pt>
                <c:pt idx="570">
                  <c:v>1878019616</c:v>
                </c:pt>
                <c:pt idx="571">
                  <c:v>218292380</c:v>
                </c:pt>
                <c:pt idx="572">
                  <c:v>72545346</c:v>
                </c:pt>
                <c:pt idx="573">
                  <c:v>16529027527</c:v>
                </c:pt>
                <c:pt idx="574">
                  <c:v>1447343818</c:v>
                </c:pt>
                <c:pt idx="575">
                  <c:v>5651938219</c:v>
                </c:pt>
                <c:pt idx="576">
                  <c:v>2056085406</c:v>
                </c:pt>
                <c:pt idx="577">
                  <c:v>3735283098</c:v>
                </c:pt>
                <c:pt idx="578">
                  <c:v>298895735</c:v>
                </c:pt>
                <c:pt idx="579">
                  <c:v>1097595393</c:v>
                </c:pt>
                <c:pt idx="580">
                  <c:v>1501931484</c:v>
                </c:pt>
                <c:pt idx="581">
                  <c:v>881558272</c:v>
                </c:pt>
                <c:pt idx="582">
                  <c:v>236808367</c:v>
                </c:pt>
                <c:pt idx="583">
                  <c:v>449585530</c:v>
                </c:pt>
                <c:pt idx="584">
                  <c:v>1250168677</c:v>
                </c:pt>
                <c:pt idx="585">
                  <c:v>1728608334</c:v>
                </c:pt>
                <c:pt idx="586">
                  <c:v>77680875</c:v>
                </c:pt>
                <c:pt idx="587">
                  <c:v>340711323</c:v>
                </c:pt>
                <c:pt idx="588">
                  <c:v>48396222</c:v>
                </c:pt>
                <c:pt idx="589">
                  <c:v>925100052</c:v>
                </c:pt>
                <c:pt idx="590">
                  <c:v>417698892</c:v>
                </c:pt>
                <c:pt idx="591">
                  <c:v>298145372</c:v>
                </c:pt>
                <c:pt idx="592">
                  <c:v>1331029150</c:v>
                </c:pt>
                <c:pt idx="593">
                  <c:v>318608136</c:v>
                </c:pt>
                <c:pt idx="594">
                  <c:v>374809890</c:v>
                </c:pt>
                <c:pt idx="595">
                  <c:v>2083502300</c:v>
                </c:pt>
                <c:pt idx="596">
                  <c:v>1171736552</c:v>
                </c:pt>
                <c:pt idx="597">
                  <c:v>1844602160</c:v>
                </c:pt>
                <c:pt idx="598">
                  <c:v>59608660</c:v>
                </c:pt>
                <c:pt idx="599">
                  <c:v>511451906</c:v>
                </c:pt>
                <c:pt idx="600">
                  <c:v>527752896</c:v>
                </c:pt>
                <c:pt idx="601">
                  <c:v>2013599984</c:v>
                </c:pt>
                <c:pt idx="602">
                  <c:v>229734883</c:v>
                </c:pt>
                <c:pt idx="603">
                  <c:v>1164546911</c:v>
                </c:pt>
                <c:pt idx="604">
                  <c:v>3118103503</c:v>
                </c:pt>
                <c:pt idx="605">
                  <c:v>476040222</c:v>
                </c:pt>
                <c:pt idx="606">
                  <c:v>1082387221</c:v>
                </c:pt>
                <c:pt idx="607">
                  <c:v>973223860</c:v>
                </c:pt>
                <c:pt idx="608">
                  <c:v>560939960</c:v>
                </c:pt>
                <c:pt idx="609">
                  <c:v>698612982</c:v>
                </c:pt>
                <c:pt idx="610">
                  <c:v>324040556</c:v>
                </c:pt>
                <c:pt idx="611">
                  <c:v>427380836</c:v>
                </c:pt>
                <c:pt idx="612">
                  <c:v>581242920</c:v>
                </c:pt>
                <c:pt idx="613">
                  <c:v>135272320</c:v>
                </c:pt>
                <c:pt idx="614">
                  <c:v>12559588842</c:v>
                </c:pt>
                <c:pt idx="615">
                  <c:v>255691134</c:v>
                </c:pt>
                <c:pt idx="616">
                  <c:v>1901226931</c:v>
                </c:pt>
                <c:pt idx="617">
                  <c:v>6205443354</c:v>
                </c:pt>
                <c:pt idx="618">
                  <c:v>8447829485</c:v>
                </c:pt>
                <c:pt idx="619">
                  <c:v>241603314</c:v>
                </c:pt>
                <c:pt idx="620">
                  <c:v>2764732099</c:v>
                </c:pt>
                <c:pt idx="621">
                  <c:v>140027690</c:v>
                </c:pt>
                <c:pt idx="622">
                  <c:v>1811050468</c:v>
                </c:pt>
                <c:pt idx="623">
                  <c:v>193767840</c:v>
                </c:pt>
                <c:pt idx="624">
                  <c:v>292966262</c:v>
                </c:pt>
                <c:pt idx="625">
                  <c:v>430782800</c:v>
                </c:pt>
                <c:pt idx="626">
                  <c:v>994742533</c:v>
                </c:pt>
                <c:pt idx="627">
                  <c:v>6392319778</c:v>
                </c:pt>
                <c:pt idx="628">
                  <c:v>1342571970</c:v>
                </c:pt>
                <c:pt idx="629">
                  <c:v>193700630</c:v>
                </c:pt>
                <c:pt idx="630">
                  <c:v>6133122504</c:v>
                </c:pt>
                <c:pt idx="631">
                  <c:v>622152960</c:v>
                </c:pt>
                <c:pt idx="632">
                  <c:v>2846517786</c:v>
                </c:pt>
                <c:pt idx="633">
                  <c:v>1989871439</c:v>
                </c:pt>
                <c:pt idx="634">
                  <c:v>735703920</c:v>
                </c:pt>
                <c:pt idx="635">
                  <c:v>3140506988</c:v>
                </c:pt>
                <c:pt idx="636">
                  <c:v>104838440</c:v>
                </c:pt>
                <c:pt idx="637">
                  <c:v>867519036</c:v>
                </c:pt>
                <c:pt idx="638">
                  <c:v>1567751841</c:v>
                </c:pt>
                <c:pt idx="639">
                  <c:v>89383416</c:v>
                </c:pt>
                <c:pt idx="640">
                  <c:v>536362820</c:v>
                </c:pt>
                <c:pt idx="641">
                  <c:v>544609304</c:v>
                </c:pt>
                <c:pt idx="642">
                  <c:v>1379001144</c:v>
                </c:pt>
                <c:pt idx="643">
                  <c:v>2906777080</c:v>
                </c:pt>
                <c:pt idx="644">
                  <c:v>131044595</c:v>
                </c:pt>
                <c:pt idx="645">
                  <c:v>845038236</c:v>
                </c:pt>
                <c:pt idx="646">
                  <c:v>1884253956</c:v>
                </c:pt>
                <c:pt idx="647">
                  <c:v>161836662</c:v>
                </c:pt>
                <c:pt idx="648">
                  <c:v>2180483170</c:v>
                </c:pt>
                <c:pt idx="649">
                  <c:v>6075715461</c:v>
                </c:pt>
                <c:pt idx="650">
                  <c:v>2463372855</c:v>
                </c:pt>
                <c:pt idx="651">
                  <c:v>1169445216</c:v>
                </c:pt>
                <c:pt idx="652">
                  <c:v>472411927</c:v>
                </c:pt>
                <c:pt idx="653">
                  <c:v>66328352</c:v>
                </c:pt>
                <c:pt idx="654">
                  <c:v>1438072631</c:v>
                </c:pt>
                <c:pt idx="655">
                  <c:v>330188662</c:v>
                </c:pt>
                <c:pt idx="656">
                  <c:v>150629220</c:v>
                </c:pt>
                <c:pt idx="657">
                  <c:v>172212120</c:v>
                </c:pt>
                <c:pt idx="658">
                  <c:v>419592400</c:v>
                </c:pt>
                <c:pt idx="659">
                  <c:v>1401843079</c:v>
                </c:pt>
                <c:pt idx="660">
                  <c:v>584749776</c:v>
                </c:pt>
                <c:pt idx="661">
                  <c:v>96759215</c:v>
                </c:pt>
                <c:pt idx="662">
                  <c:v>2001083762</c:v>
                </c:pt>
                <c:pt idx="663">
                  <c:v>1380394480</c:v>
                </c:pt>
                <c:pt idx="664">
                  <c:v>31635957821</c:v>
                </c:pt>
                <c:pt idx="665">
                  <c:v>180673395</c:v>
                </c:pt>
                <c:pt idx="666">
                  <c:v>9054012539</c:v>
                </c:pt>
                <c:pt idx="667">
                  <c:v>1504048579</c:v>
                </c:pt>
                <c:pt idx="668">
                  <c:v>1799472567</c:v>
                </c:pt>
                <c:pt idx="669">
                  <c:v>438155072</c:v>
                </c:pt>
                <c:pt idx="670">
                  <c:v>227433690</c:v>
                </c:pt>
                <c:pt idx="671">
                  <c:v>6213035529</c:v>
                </c:pt>
                <c:pt idx="672">
                  <c:v>425128320</c:v>
                </c:pt>
                <c:pt idx="673">
                  <c:v>888524574</c:v>
                </c:pt>
                <c:pt idx="674">
                  <c:v>837767072</c:v>
                </c:pt>
                <c:pt idx="675">
                  <c:v>1134138766</c:v>
                </c:pt>
                <c:pt idx="676">
                  <c:v>1009113959</c:v>
                </c:pt>
                <c:pt idx="677">
                  <c:v>1293598540</c:v>
                </c:pt>
                <c:pt idx="678">
                  <c:v>244580160</c:v>
                </c:pt>
                <c:pt idx="679">
                  <c:v>6671878182</c:v>
                </c:pt>
                <c:pt idx="680">
                  <c:v>1062209187</c:v>
                </c:pt>
                <c:pt idx="681">
                  <c:v>753907267</c:v>
                </c:pt>
                <c:pt idx="682">
                  <c:v>2547224949</c:v>
                </c:pt>
                <c:pt idx="683">
                  <c:v>803322406</c:v>
                </c:pt>
                <c:pt idx="684">
                  <c:v>921709464</c:v>
                </c:pt>
                <c:pt idx="685">
                  <c:v>547752786</c:v>
                </c:pt>
                <c:pt idx="686">
                  <c:v>732146879</c:v>
                </c:pt>
                <c:pt idx="687">
                  <c:v>153960804</c:v>
                </c:pt>
                <c:pt idx="688">
                  <c:v>68456552</c:v>
                </c:pt>
                <c:pt idx="689">
                  <c:v>165672379</c:v>
                </c:pt>
                <c:pt idx="690">
                  <c:v>198190653</c:v>
                </c:pt>
                <c:pt idx="691">
                  <c:v>321114136</c:v>
                </c:pt>
                <c:pt idx="692">
                  <c:v>26782985283</c:v>
                </c:pt>
                <c:pt idx="693">
                  <c:v>1688879301</c:v>
                </c:pt>
                <c:pt idx="694">
                  <c:v>4956711563</c:v>
                </c:pt>
                <c:pt idx="695">
                  <c:v>1655261696</c:v>
                </c:pt>
                <c:pt idx="696">
                  <c:v>5915884221</c:v>
                </c:pt>
                <c:pt idx="697">
                  <c:v>414456792</c:v>
                </c:pt>
                <c:pt idx="698">
                  <c:v>1035023576</c:v>
                </c:pt>
                <c:pt idx="699">
                  <c:v>194729100</c:v>
                </c:pt>
                <c:pt idx="700">
                  <c:v>276927612</c:v>
                </c:pt>
                <c:pt idx="701">
                  <c:v>912593661</c:v>
                </c:pt>
                <c:pt idx="702">
                  <c:v>2147483647</c:v>
                </c:pt>
                <c:pt idx="703">
                  <c:v>583226805</c:v>
                </c:pt>
                <c:pt idx="704">
                  <c:v>489111987</c:v>
                </c:pt>
                <c:pt idx="705">
                  <c:v>6802031506</c:v>
                </c:pt>
                <c:pt idx="706">
                  <c:v>869974632</c:v>
                </c:pt>
                <c:pt idx="707">
                  <c:v>5665827698</c:v>
                </c:pt>
                <c:pt idx="708">
                  <c:v>1570070768</c:v>
                </c:pt>
                <c:pt idx="709">
                  <c:v>3276458098</c:v>
                </c:pt>
                <c:pt idx="710">
                  <c:v>351567993</c:v>
                </c:pt>
                <c:pt idx="711">
                  <c:v>59004345</c:v>
                </c:pt>
                <c:pt idx="712">
                  <c:v>1152334774</c:v>
                </c:pt>
                <c:pt idx="713">
                  <c:v>545059676</c:v>
                </c:pt>
                <c:pt idx="714">
                  <c:v>2510283178</c:v>
                </c:pt>
                <c:pt idx="715">
                  <c:v>1052263347</c:v>
                </c:pt>
                <c:pt idx="716">
                  <c:v>2369906994</c:v>
                </c:pt>
                <c:pt idx="717">
                  <c:v>676377200</c:v>
                </c:pt>
                <c:pt idx="718">
                  <c:v>371017167</c:v>
                </c:pt>
                <c:pt idx="719">
                  <c:v>200932636</c:v>
                </c:pt>
                <c:pt idx="720">
                  <c:v>1047925125</c:v>
                </c:pt>
                <c:pt idx="721">
                  <c:v>435764636</c:v>
                </c:pt>
                <c:pt idx="722">
                  <c:v>411413192</c:v>
                </c:pt>
                <c:pt idx="723">
                  <c:v>5921898818</c:v>
                </c:pt>
                <c:pt idx="724">
                  <c:v>48887619311</c:v>
                </c:pt>
                <c:pt idx="725">
                  <c:v>5900741307</c:v>
                </c:pt>
                <c:pt idx="726">
                  <c:v>705033950</c:v>
                </c:pt>
                <c:pt idx="727">
                  <c:v>1727630100</c:v>
                </c:pt>
                <c:pt idx="728">
                  <c:v>2035165563</c:v>
                </c:pt>
                <c:pt idx="729">
                  <c:v>370274960</c:v>
                </c:pt>
                <c:pt idx="730">
                  <c:v>486331404</c:v>
                </c:pt>
                <c:pt idx="731">
                  <c:v>323419974</c:v>
                </c:pt>
                <c:pt idx="732">
                  <c:v>1073977524</c:v>
                </c:pt>
                <c:pt idx="733">
                  <c:v>1529593590</c:v>
                </c:pt>
                <c:pt idx="734">
                  <c:v>434439483</c:v>
                </c:pt>
                <c:pt idx="735">
                  <c:v>3930648916</c:v>
                </c:pt>
                <c:pt idx="736">
                  <c:v>1778184412</c:v>
                </c:pt>
                <c:pt idx="737">
                  <c:v>1439939486</c:v>
                </c:pt>
                <c:pt idx="738">
                  <c:v>1410947304</c:v>
                </c:pt>
                <c:pt idx="739">
                  <c:v>1595493864</c:v>
                </c:pt>
                <c:pt idx="740">
                  <c:v>1931937800</c:v>
                </c:pt>
                <c:pt idx="741">
                  <c:v>1437124735</c:v>
                </c:pt>
                <c:pt idx="742">
                  <c:v>812565130</c:v>
                </c:pt>
                <c:pt idx="743">
                  <c:v>4949128599</c:v>
                </c:pt>
                <c:pt idx="744">
                  <c:v>1386453294</c:v>
                </c:pt>
                <c:pt idx="745">
                  <c:v>1623675672</c:v>
                </c:pt>
                <c:pt idx="746">
                  <c:v>1031192318</c:v>
                </c:pt>
                <c:pt idx="747">
                  <c:v>250548309</c:v>
                </c:pt>
                <c:pt idx="748">
                  <c:v>910225888</c:v>
                </c:pt>
                <c:pt idx="749">
                  <c:v>736011728</c:v>
                </c:pt>
                <c:pt idx="750">
                  <c:v>727410249</c:v>
                </c:pt>
                <c:pt idx="751">
                  <c:v>1269060000</c:v>
                </c:pt>
                <c:pt idx="752">
                  <c:v>27921879182</c:v>
                </c:pt>
                <c:pt idx="753">
                  <c:v>2575650636</c:v>
                </c:pt>
                <c:pt idx="754">
                  <c:v>489974964</c:v>
                </c:pt>
                <c:pt idx="755">
                  <c:v>2147483647</c:v>
                </c:pt>
                <c:pt idx="756">
                  <c:v>557077165</c:v>
                </c:pt>
                <c:pt idx="757">
                  <c:v>2823006595</c:v>
                </c:pt>
                <c:pt idx="758">
                  <c:v>1934474956</c:v>
                </c:pt>
                <c:pt idx="759">
                  <c:v>4294967294</c:v>
                </c:pt>
                <c:pt idx="760">
                  <c:v>1825232790</c:v>
                </c:pt>
                <c:pt idx="761">
                  <c:v>3251573294</c:v>
                </c:pt>
                <c:pt idx="762">
                  <c:v>3214825066</c:v>
                </c:pt>
                <c:pt idx="763">
                  <c:v>1534992381</c:v>
                </c:pt>
                <c:pt idx="764">
                  <c:v>3290198088</c:v>
                </c:pt>
                <c:pt idx="765">
                  <c:v>545728029</c:v>
                </c:pt>
                <c:pt idx="766">
                  <c:v>7776238807</c:v>
                </c:pt>
                <c:pt idx="767">
                  <c:v>194433545</c:v>
                </c:pt>
                <c:pt idx="768">
                  <c:v>1419348405</c:v>
                </c:pt>
                <c:pt idx="769">
                  <c:v>1749340454</c:v>
                </c:pt>
                <c:pt idx="770">
                  <c:v>311808222</c:v>
                </c:pt>
                <c:pt idx="771">
                  <c:v>13532721265</c:v>
                </c:pt>
                <c:pt idx="772">
                  <c:v>1185502371</c:v>
                </c:pt>
                <c:pt idx="773">
                  <c:v>2101104528</c:v>
                </c:pt>
                <c:pt idx="774">
                  <c:v>1844624593</c:v>
                </c:pt>
                <c:pt idx="775">
                  <c:v>2509201116</c:v>
                </c:pt>
                <c:pt idx="776">
                  <c:v>1061787694</c:v>
                </c:pt>
                <c:pt idx="777">
                  <c:v>331289200</c:v>
                </c:pt>
                <c:pt idx="778">
                  <c:v>6508470245</c:v>
                </c:pt>
                <c:pt idx="779">
                  <c:v>1082269001</c:v>
                </c:pt>
                <c:pt idx="780">
                  <c:v>383730136</c:v>
                </c:pt>
                <c:pt idx="781">
                  <c:v>2637590131</c:v>
                </c:pt>
                <c:pt idx="782">
                  <c:v>1441954733</c:v>
                </c:pt>
                <c:pt idx="783">
                  <c:v>784215432</c:v>
                </c:pt>
                <c:pt idx="784">
                  <c:v>838898124</c:v>
                </c:pt>
                <c:pt idx="785">
                  <c:v>5404511364</c:v>
                </c:pt>
                <c:pt idx="786">
                  <c:v>1394192293</c:v>
                </c:pt>
                <c:pt idx="787">
                  <c:v>2147483647</c:v>
                </c:pt>
                <c:pt idx="788">
                  <c:v>13234540422</c:v>
                </c:pt>
                <c:pt idx="789">
                  <c:v>2749512546</c:v>
                </c:pt>
                <c:pt idx="790">
                  <c:v>671721804</c:v>
                </c:pt>
                <c:pt idx="791">
                  <c:v>9279401525</c:v>
                </c:pt>
                <c:pt idx="792">
                  <c:v>1236631596</c:v>
                </c:pt>
                <c:pt idx="793">
                  <c:v>1238126224</c:v>
                </c:pt>
                <c:pt idx="794">
                  <c:v>1063885586</c:v>
                </c:pt>
                <c:pt idx="795">
                  <c:v>742432524</c:v>
                </c:pt>
                <c:pt idx="796">
                  <c:v>1577585713</c:v>
                </c:pt>
                <c:pt idx="797">
                  <c:v>491598744</c:v>
                </c:pt>
                <c:pt idx="798">
                  <c:v>3585462029</c:v>
                </c:pt>
                <c:pt idx="799">
                  <c:v>335349021</c:v>
                </c:pt>
                <c:pt idx="800">
                  <c:v>2281836970</c:v>
                </c:pt>
                <c:pt idx="801">
                  <c:v>978533600</c:v>
                </c:pt>
                <c:pt idx="802">
                  <c:v>7253089723</c:v>
                </c:pt>
                <c:pt idx="803">
                  <c:v>26941970174</c:v>
                </c:pt>
                <c:pt idx="804">
                  <c:v>1069268634</c:v>
                </c:pt>
                <c:pt idx="805">
                  <c:v>793207926</c:v>
                </c:pt>
                <c:pt idx="806">
                  <c:v>256426874</c:v>
                </c:pt>
                <c:pt idx="807">
                  <c:v>3544608916</c:v>
                </c:pt>
                <c:pt idx="808">
                  <c:v>325081240</c:v>
                </c:pt>
                <c:pt idx="809">
                  <c:v>1753340383</c:v>
                </c:pt>
                <c:pt idx="810">
                  <c:v>265113810</c:v>
                </c:pt>
                <c:pt idx="811">
                  <c:v>344467942</c:v>
                </c:pt>
                <c:pt idx="812">
                  <c:v>2456701469</c:v>
                </c:pt>
                <c:pt idx="813">
                  <c:v>3834042301</c:v>
                </c:pt>
                <c:pt idx="814">
                  <c:v>4259564704</c:v>
                </c:pt>
                <c:pt idx="815">
                  <c:v>55856775</c:v>
                </c:pt>
                <c:pt idx="816">
                  <c:v>330295988</c:v>
                </c:pt>
                <c:pt idx="817">
                  <c:v>2147483647</c:v>
                </c:pt>
                <c:pt idx="818">
                  <c:v>1119917101</c:v>
                </c:pt>
                <c:pt idx="819">
                  <c:v>10963430331</c:v>
                </c:pt>
                <c:pt idx="820">
                  <c:v>319980045</c:v>
                </c:pt>
                <c:pt idx="821">
                  <c:v>375848176</c:v>
                </c:pt>
                <c:pt idx="822">
                  <c:v>698311855</c:v>
                </c:pt>
                <c:pt idx="823">
                  <c:v>2147483647</c:v>
                </c:pt>
                <c:pt idx="824">
                  <c:v>2147483647</c:v>
                </c:pt>
                <c:pt idx="825">
                  <c:v>2123036343</c:v>
                </c:pt>
                <c:pt idx="826">
                  <c:v>3413037003</c:v>
                </c:pt>
                <c:pt idx="827">
                  <c:v>1953056898</c:v>
                </c:pt>
                <c:pt idx="828">
                  <c:v>640297350</c:v>
                </c:pt>
                <c:pt idx="829">
                  <c:v>1357746404</c:v>
                </c:pt>
                <c:pt idx="830">
                  <c:v>3538263953</c:v>
                </c:pt>
                <c:pt idx="831">
                  <c:v>347239221</c:v>
                </c:pt>
                <c:pt idx="832">
                  <c:v>249281152</c:v>
                </c:pt>
                <c:pt idx="833">
                  <c:v>2205148264</c:v>
                </c:pt>
                <c:pt idx="834">
                  <c:v>200543784</c:v>
                </c:pt>
                <c:pt idx="835">
                  <c:v>7790411994</c:v>
                </c:pt>
                <c:pt idx="836">
                  <c:v>492498381</c:v>
                </c:pt>
                <c:pt idx="837">
                  <c:v>125990010</c:v>
                </c:pt>
                <c:pt idx="838">
                  <c:v>3367203370</c:v>
                </c:pt>
                <c:pt idx="839">
                  <c:v>518493584</c:v>
                </c:pt>
                <c:pt idx="840">
                  <c:v>4872079343</c:v>
                </c:pt>
                <c:pt idx="841">
                  <c:v>609401652</c:v>
                </c:pt>
                <c:pt idx="842">
                  <c:v>322961730</c:v>
                </c:pt>
                <c:pt idx="843">
                  <c:v>210113800</c:v>
                </c:pt>
                <c:pt idx="844">
                  <c:v>623363004</c:v>
                </c:pt>
                <c:pt idx="845">
                  <c:v>352718595</c:v>
                </c:pt>
                <c:pt idx="846">
                  <c:v>315076208</c:v>
                </c:pt>
                <c:pt idx="847">
                  <c:v>358702110</c:v>
                </c:pt>
                <c:pt idx="848">
                  <c:v>384722032</c:v>
                </c:pt>
                <c:pt idx="849">
                  <c:v>770220366</c:v>
                </c:pt>
                <c:pt idx="850">
                  <c:v>170605674</c:v>
                </c:pt>
                <c:pt idx="851">
                  <c:v>383656702</c:v>
                </c:pt>
                <c:pt idx="852">
                  <c:v>732397677</c:v>
                </c:pt>
                <c:pt idx="853">
                  <c:v>433021293</c:v>
                </c:pt>
                <c:pt idx="854">
                  <c:v>1021486641</c:v>
                </c:pt>
                <c:pt idx="855">
                  <c:v>3927735148</c:v>
                </c:pt>
                <c:pt idx="856">
                  <c:v>613036213</c:v>
                </c:pt>
                <c:pt idx="857">
                  <c:v>474811994</c:v>
                </c:pt>
                <c:pt idx="858">
                  <c:v>1020252792</c:v>
                </c:pt>
                <c:pt idx="859">
                  <c:v>178451703</c:v>
                </c:pt>
                <c:pt idx="860">
                  <c:v>4106453823</c:v>
                </c:pt>
                <c:pt idx="861">
                  <c:v>131072040</c:v>
                </c:pt>
                <c:pt idx="862">
                  <c:v>1726309356</c:v>
                </c:pt>
                <c:pt idx="863">
                  <c:v>1938281291</c:v>
                </c:pt>
                <c:pt idx="864">
                  <c:v>525740712</c:v>
                </c:pt>
                <c:pt idx="865">
                  <c:v>825829136</c:v>
                </c:pt>
                <c:pt idx="866">
                  <c:v>556462733</c:v>
                </c:pt>
                <c:pt idx="867">
                  <c:v>243664090</c:v>
                </c:pt>
                <c:pt idx="868">
                  <c:v>195692680</c:v>
                </c:pt>
                <c:pt idx="869">
                  <c:v>653461517</c:v>
                </c:pt>
                <c:pt idx="870">
                  <c:v>248894126</c:v>
                </c:pt>
                <c:pt idx="871">
                  <c:v>4770853525</c:v>
                </c:pt>
                <c:pt idx="872">
                  <c:v>471677725</c:v>
                </c:pt>
                <c:pt idx="873">
                  <c:v>1865902441</c:v>
                </c:pt>
                <c:pt idx="874">
                  <c:v>469377062</c:v>
                </c:pt>
                <c:pt idx="875">
                  <c:v>277171950</c:v>
                </c:pt>
                <c:pt idx="876">
                  <c:v>2569327588</c:v>
                </c:pt>
                <c:pt idx="877">
                  <c:v>5624493905</c:v>
                </c:pt>
                <c:pt idx="878">
                  <c:v>1895585328</c:v>
                </c:pt>
                <c:pt idx="879">
                  <c:v>811250640</c:v>
                </c:pt>
                <c:pt idx="880">
                  <c:v>1535474130</c:v>
                </c:pt>
                <c:pt idx="881">
                  <c:v>1806900599</c:v>
                </c:pt>
                <c:pt idx="882">
                  <c:v>136489215</c:v>
                </c:pt>
                <c:pt idx="883">
                  <c:v>143888000</c:v>
                </c:pt>
                <c:pt idx="884">
                  <c:v>1050426836</c:v>
                </c:pt>
                <c:pt idx="885">
                  <c:v>6295352879</c:v>
                </c:pt>
                <c:pt idx="886">
                  <c:v>605304010</c:v>
                </c:pt>
                <c:pt idx="887">
                  <c:v>3218776283</c:v>
                </c:pt>
                <c:pt idx="888">
                  <c:v>26781562</c:v>
                </c:pt>
                <c:pt idx="889">
                  <c:v>666407104</c:v>
                </c:pt>
                <c:pt idx="890">
                  <c:v>4294967294</c:v>
                </c:pt>
                <c:pt idx="891">
                  <c:v>290284200</c:v>
                </c:pt>
                <c:pt idx="892">
                  <c:v>770472150</c:v>
                </c:pt>
                <c:pt idx="893">
                  <c:v>341403531</c:v>
                </c:pt>
                <c:pt idx="894">
                  <c:v>1245495048</c:v>
                </c:pt>
                <c:pt idx="895">
                  <c:v>593652969</c:v>
                </c:pt>
                <c:pt idx="896">
                  <c:v>2006288270</c:v>
                </c:pt>
                <c:pt idx="897">
                  <c:v>1191963118</c:v>
                </c:pt>
                <c:pt idx="898">
                  <c:v>2856982452</c:v>
                </c:pt>
                <c:pt idx="899">
                  <c:v>367599708</c:v>
                </c:pt>
                <c:pt idx="900">
                  <c:v>1395537738</c:v>
                </c:pt>
                <c:pt idx="901">
                  <c:v>185134320</c:v>
                </c:pt>
                <c:pt idx="902">
                  <c:v>508653350</c:v>
                </c:pt>
                <c:pt idx="903">
                  <c:v>494368644</c:v>
                </c:pt>
                <c:pt idx="904">
                  <c:v>176637360</c:v>
                </c:pt>
                <c:pt idx="905">
                  <c:v>414759795</c:v>
                </c:pt>
                <c:pt idx="906">
                  <c:v>3325640427</c:v>
                </c:pt>
                <c:pt idx="907">
                  <c:v>279048980</c:v>
                </c:pt>
                <c:pt idx="908">
                  <c:v>411072929</c:v>
                </c:pt>
                <c:pt idx="909">
                  <c:v>944419278</c:v>
                </c:pt>
                <c:pt idx="910">
                  <c:v>659061720</c:v>
                </c:pt>
                <c:pt idx="911">
                  <c:v>2159143713</c:v>
                </c:pt>
                <c:pt idx="912">
                  <c:v>1194739260</c:v>
                </c:pt>
                <c:pt idx="913">
                  <c:v>1332491888</c:v>
                </c:pt>
                <c:pt idx="914">
                  <c:v>394230925</c:v>
                </c:pt>
                <c:pt idx="915">
                  <c:v>214857940</c:v>
                </c:pt>
                <c:pt idx="916">
                  <c:v>282256800</c:v>
                </c:pt>
                <c:pt idx="917">
                  <c:v>986469100</c:v>
                </c:pt>
                <c:pt idx="918">
                  <c:v>258490181</c:v>
                </c:pt>
                <c:pt idx="919">
                  <c:v>933406636</c:v>
                </c:pt>
                <c:pt idx="920">
                  <c:v>745374400</c:v>
                </c:pt>
                <c:pt idx="921">
                  <c:v>201683952</c:v>
                </c:pt>
                <c:pt idx="922">
                  <c:v>970588798</c:v>
                </c:pt>
                <c:pt idx="923">
                  <c:v>634204116</c:v>
                </c:pt>
                <c:pt idx="924">
                  <c:v>915229696</c:v>
                </c:pt>
                <c:pt idx="925">
                  <c:v>937522794</c:v>
                </c:pt>
                <c:pt idx="926">
                  <c:v>545495098</c:v>
                </c:pt>
                <c:pt idx="927">
                  <c:v>1405605040</c:v>
                </c:pt>
                <c:pt idx="928">
                  <c:v>4206620862</c:v>
                </c:pt>
                <c:pt idx="929">
                  <c:v>669689800</c:v>
                </c:pt>
                <c:pt idx="930">
                  <c:v>395048520</c:v>
                </c:pt>
                <c:pt idx="931">
                  <c:v>1383906176</c:v>
                </c:pt>
                <c:pt idx="932">
                  <c:v>118145763</c:v>
                </c:pt>
                <c:pt idx="933">
                  <c:v>248273614</c:v>
                </c:pt>
                <c:pt idx="934">
                  <c:v>5305808984</c:v>
                </c:pt>
                <c:pt idx="935">
                  <c:v>826608068</c:v>
                </c:pt>
                <c:pt idx="936">
                  <c:v>2096560545</c:v>
                </c:pt>
                <c:pt idx="937">
                  <c:v>687407525</c:v>
                </c:pt>
                <c:pt idx="938">
                  <c:v>2628185517</c:v>
                </c:pt>
                <c:pt idx="939">
                  <c:v>901541925</c:v>
                </c:pt>
                <c:pt idx="940">
                  <c:v>2147483647</c:v>
                </c:pt>
                <c:pt idx="941">
                  <c:v>110453760</c:v>
                </c:pt>
                <c:pt idx="942">
                  <c:v>254182544</c:v>
                </c:pt>
                <c:pt idx="943">
                  <c:v>1820390870</c:v>
                </c:pt>
                <c:pt idx="944">
                  <c:v>4428444718</c:v>
                </c:pt>
                <c:pt idx="945">
                  <c:v>474074050</c:v>
                </c:pt>
                <c:pt idx="946">
                  <c:v>112353212</c:v>
                </c:pt>
                <c:pt idx="947">
                  <c:v>12392777384</c:v>
                </c:pt>
                <c:pt idx="948">
                  <c:v>135392973</c:v>
                </c:pt>
                <c:pt idx="949">
                  <c:v>115072762</c:v>
                </c:pt>
                <c:pt idx="950">
                  <c:v>3543284774</c:v>
                </c:pt>
                <c:pt idx="951">
                  <c:v>215892905</c:v>
                </c:pt>
                <c:pt idx="952">
                  <c:v>561322915</c:v>
                </c:pt>
                <c:pt idx="953">
                  <c:v>254129855</c:v>
                </c:pt>
                <c:pt idx="954">
                  <c:v>1162031808</c:v>
                </c:pt>
                <c:pt idx="955">
                  <c:v>141941902</c:v>
                </c:pt>
                <c:pt idx="956">
                  <c:v>670980065</c:v>
                </c:pt>
                <c:pt idx="957">
                  <c:v>118673828</c:v>
                </c:pt>
                <c:pt idx="958">
                  <c:v>135183912</c:v>
                </c:pt>
                <c:pt idx="959">
                  <c:v>509706303</c:v>
                </c:pt>
                <c:pt idx="960">
                  <c:v>483205176</c:v>
                </c:pt>
                <c:pt idx="961">
                  <c:v>211494225</c:v>
                </c:pt>
                <c:pt idx="962">
                  <c:v>3510078659</c:v>
                </c:pt>
                <c:pt idx="963">
                  <c:v>1783303013</c:v>
                </c:pt>
                <c:pt idx="964">
                  <c:v>234154424</c:v>
                </c:pt>
                <c:pt idx="965">
                  <c:v>348484752</c:v>
                </c:pt>
                <c:pt idx="966">
                  <c:v>2024646870</c:v>
                </c:pt>
                <c:pt idx="967">
                  <c:v>1572299475</c:v>
                </c:pt>
                <c:pt idx="968">
                  <c:v>196179752</c:v>
                </c:pt>
                <c:pt idx="969">
                  <c:v>689485896</c:v>
                </c:pt>
                <c:pt idx="970">
                  <c:v>1046237570</c:v>
                </c:pt>
                <c:pt idx="971">
                  <c:v>816358671</c:v>
                </c:pt>
                <c:pt idx="972">
                  <c:v>34610948</c:v>
                </c:pt>
                <c:pt idx="973">
                  <c:v>2147483647</c:v>
                </c:pt>
                <c:pt idx="974">
                  <c:v>211546470</c:v>
                </c:pt>
                <c:pt idx="975">
                  <c:v>113738611</c:v>
                </c:pt>
                <c:pt idx="976">
                  <c:v>180451583</c:v>
                </c:pt>
                <c:pt idx="977">
                  <c:v>400671726</c:v>
                </c:pt>
                <c:pt idx="978">
                  <c:v>40994957</c:v>
                </c:pt>
                <c:pt idx="979">
                  <c:v>1275119085</c:v>
                </c:pt>
                <c:pt idx="980">
                  <c:v>770877452</c:v>
                </c:pt>
                <c:pt idx="981">
                  <c:v>1375735872</c:v>
                </c:pt>
                <c:pt idx="982">
                  <c:v>1418076627</c:v>
                </c:pt>
                <c:pt idx="983">
                  <c:v>413623311</c:v>
                </c:pt>
                <c:pt idx="984">
                  <c:v>2104280304</c:v>
                </c:pt>
                <c:pt idx="985">
                  <c:v>643847946</c:v>
                </c:pt>
                <c:pt idx="986">
                  <c:v>4294967294</c:v>
                </c:pt>
                <c:pt idx="987">
                  <c:v>183654310</c:v>
                </c:pt>
                <c:pt idx="988">
                  <c:v>673519464</c:v>
                </c:pt>
                <c:pt idx="989">
                  <c:v>1050885073</c:v>
                </c:pt>
                <c:pt idx="990">
                  <c:v>220579850</c:v>
                </c:pt>
                <c:pt idx="991">
                  <c:v>6919843240</c:v>
                </c:pt>
                <c:pt idx="992">
                  <c:v>673330120</c:v>
                </c:pt>
                <c:pt idx="993">
                  <c:v>1028038592</c:v>
                </c:pt>
                <c:pt idx="994">
                  <c:v>3605788623</c:v>
                </c:pt>
                <c:pt idx="995">
                  <c:v>2750982996</c:v>
                </c:pt>
                <c:pt idx="996">
                  <c:v>34286175</c:v>
                </c:pt>
                <c:pt idx="997">
                  <c:v>1520376625</c:v>
                </c:pt>
                <c:pt idx="998">
                  <c:v>2008737750</c:v>
                </c:pt>
                <c:pt idx="999">
                  <c:v>3421889203</c:v>
                </c:pt>
                <c:pt idx="1000">
                  <c:v>291544038</c:v>
                </c:pt>
                <c:pt idx="1001">
                  <c:v>2147483647</c:v>
                </c:pt>
                <c:pt idx="1002">
                  <c:v>296290750</c:v>
                </c:pt>
                <c:pt idx="1003">
                  <c:v>242519739</c:v>
                </c:pt>
                <c:pt idx="1004">
                  <c:v>316581888</c:v>
                </c:pt>
                <c:pt idx="1005">
                  <c:v>508924350</c:v>
                </c:pt>
                <c:pt idx="1006">
                  <c:v>550060126</c:v>
                </c:pt>
                <c:pt idx="1007">
                  <c:v>1001268807</c:v>
                </c:pt>
                <c:pt idx="1008">
                  <c:v>410936500</c:v>
                </c:pt>
                <c:pt idx="1009">
                  <c:v>897006852</c:v>
                </c:pt>
                <c:pt idx="1010">
                  <c:v>488595555</c:v>
                </c:pt>
                <c:pt idx="1011">
                  <c:v>152800461</c:v>
                </c:pt>
                <c:pt idx="1012">
                  <c:v>217219350</c:v>
                </c:pt>
                <c:pt idx="1013">
                  <c:v>1386755528</c:v>
                </c:pt>
                <c:pt idx="1014">
                  <c:v>545301173</c:v>
                </c:pt>
                <c:pt idx="1015">
                  <c:v>2047222889</c:v>
                </c:pt>
                <c:pt idx="1016">
                  <c:v>464217914</c:v>
                </c:pt>
                <c:pt idx="1017">
                  <c:v>122183061</c:v>
                </c:pt>
                <c:pt idx="1018">
                  <c:v>1219505364</c:v>
                </c:pt>
                <c:pt idx="1019">
                  <c:v>2527495812</c:v>
                </c:pt>
                <c:pt idx="1020">
                  <c:v>186466410</c:v>
                </c:pt>
                <c:pt idx="1021">
                  <c:v>708052355</c:v>
                </c:pt>
                <c:pt idx="1022">
                  <c:v>428974156</c:v>
                </c:pt>
                <c:pt idx="1023">
                  <c:v>229265680</c:v>
                </c:pt>
                <c:pt idx="1024">
                  <c:v>1243672378</c:v>
                </c:pt>
                <c:pt idx="1025">
                  <c:v>3908142469</c:v>
                </c:pt>
                <c:pt idx="1026">
                  <c:v>69233875</c:v>
                </c:pt>
                <c:pt idx="1027">
                  <c:v>1796491116</c:v>
                </c:pt>
                <c:pt idx="1028">
                  <c:v>2147483647</c:v>
                </c:pt>
                <c:pt idx="1029">
                  <c:v>1607330844</c:v>
                </c:pt>
                <c:pt idx="1030">
                  <c:v>107858202</c:v>
                </c:pt>
                <c:pt idx="1031">
                  <c:v>810301128</c:v>
                </c:pt>
                <c:pt idx="1032">
                  <c:v>2147483647</c:v>
                </c:pt>
                <c:pt idx="1033">
                  <c:v>568717380</c:v>
                </c:pt>
                <c:pt idx="1034">
                  <c:v>2147483647</c:v>
                </c:pt>
                <c:pt idx="1035">
                  <c:v>722238540</c:v>
                </c:pt>
                <c:pt idx="1036">
                  <c:v>2067009945</c:v>
                </c:pt>
                <c:pt idx="1037">
                  <c:v>524248230</c:v>
                </c:pt>
                <c:pt idx="1038">
                  <c:v>124125274</c:v>
                </c:pt>
                <c:pt idx="1039">
                  <c:v>1313777356</c:v>
                </c:pt>
                <c:pt idx="1040">
                  <c:v>240176587</c:v>
                </c:pt>
                <c:pt idx="1041">
                  <c:v>966506976</c:v>
                </c:pt>
                <c:pt idx="1042">
                  <c:v>118782960</c:v>
                </c:pt>
                <c:pt idx="1043">
                  <c:v>492741185</c:v>
                </c:pt>
                <c:pt idx="1044">
                  <c:v>795205389</c:v>
                </c:pt>
                <c:pt idx="1045">
                  <c:v>2147483647</c:v>
                </c:pt>
                <c:pt idx="1046">
                  <c:v>1453683994</c:v>
                </c:pt>
                <c:pt idx="1047">
                  <c:v>1214277528</c:v>
                </c:pt>
                <c:pt idx="1048">
                  <c:v>1195343632</c:v>
                </c:pt>
                <c:pt idx="1049">
                  <c:v>1060952138</c:v>
                </c:pt>
                <c:pt idx="1050">
                  <c:v>284996024</c:v>
                </c:pt>
                <c:pt idx="1051">
                  <c:v>2147483647</c:v>
                </c:pt>
                <c:pt idx="1052">
                  <c:v>1218013966</c:v>
                </c:pt>
                <c:pt idx="1053">
                  <c:v>92185472</c:v>
                </c:pt>
                <c:pt idx="1054">
                  <c:v>144174800</c:v>
                </c:pt>
                <c:pt idx="1055">
                  <c:v>1566489147</c:v>
                </c:pt>
                <c:pt idx="1056">
                  <c:v>666286950</c:v>
                </c:pt>
                <c:pt idx="1057">
                  <c:v>146697996</c:v>
                </c:pt>
                <c:pt idx="1058">
                  <c:v>912717036</c:v>
                </c:pt>
                <c:pt idx="1059">
                  <c:v>200962692</c:v>
                </c:pt>
                <c:pt idx="1060">
                  <c:v>1081355030</c:v>
                </c:pt>
                <c:pt idx="1061">
                  <c:v>114822048</c:v>
                </c:pt>
                <c:pt idx="1062">
                  <c:v>3613084777</c:v>
                </c:pt>
                <c:pt idx="1063">
                  <c:v>6405394434</c:v>
                </c:pt>
                <c:pt idx="1064">
                  <c:v>2147483647</c:v>
                </c:pt>
                <c:pt idx="1065">
                  <c:v>1848295360</c:v>
                </c:pt>
                <c:pt idx="1066">
                  <c:v>1452422400</c:v>
                </c:pt>
                <c:pt idx="1067">
                  <c:v>172170819</c:v>
                </c:pt>
                <c:pt idx="1068">
                  <c:v>256977570</c:v>
                </c:pt>
                <c:pt idx="1069">
                  <c:v>3246222697</c:v>
                </c:pt>
                <c:pt idx="1070">
                  <c:v>463756368</c:v>
                </c:pt>
                <c:pt idx="1071">
                  <c:v>1059414653</c:v>
                </c:pt>
                <c:pt idx="1072">
                  <c:v>621092214</c:v>
                </c:pt>
                <c:pt idx="1073">
                  <c:v>314240001</c:v>
                </c:pt>
                <c:pt idx="1074">
                  <c:v>158933953</c:v>
                </c:pt>
                <c:pt idx="1075">
                  <c:v>1785991680</c:v>
                </c:pt>
                <c:pt idx="1076">
                  <c:v>387423244</c:v>
                </c:pt>
                <c:pt idx="1077">
                  <c:v>1140230432</c:v>
                </c:pt>
                <c:pt idx="1078">
                  <c:v>3322700768</c:v>
                </c:pt>
                <c:pt idx="1079">
                  <c:v>554999886</c:v>
                </c:pt>
                <c:pt idx="1080">
                  <c:v>2773333995</c:v>
                </c:pt>
                <c:pt idx="1081">
                  <c:v>28737840</c:v>
                </c:pt>
                <c:pt idx="1082">
                  <c:v>893528625</c:v>
                </c:pt>
                <c:pt idx="1083">
                  <c:v>243732602</c:v>
                </c:pt>
                <c:pt idx="1084">
                  <c:v>197881143</c:v>
                </c:pt>
                <c:pt idx="1085">
                  <c:v>264501730</c:v>
                </c:pt>
                <c:pt idx="1086">
                  <c:v>430409793</c:v>
                </c:pt>
                <c:pt idx="1087">
                  <c:v>43206880</c:v>
                </c:pt>
                <c:pt idx="1088">
                  <c:v>216458586</c:v>
                </c:pt>
                <c:pt idx="1089">
                  <c:v>820545624</c:v>
                </c:pt>
                <c:pt idx="1090">
                  <c:v>2147483647</c:v>
                </c:pt>
                <c:pt idx="1091">
                  <c:v>873254272</c:v>
                </c:pt>
                <c:pt idx="1092">
                  <c:v>278327357</c:v>
                </c:pt>
                <c:pt idx="1093">
                  <c:v>843898930</c:v>
                </c:pt>
                <c:pt idx="1094">
                  <c:v>489169566</c:v>
                </c:pt>
                <c:pt idx="1095">
                  <c:v>552852126</c:v>
                </c:pt>
                <c:pt idx="1096">
                  <c:v>221950209</c:v>
                </c:pt>
                <c:pt idx="1097">
                  <c:v>240424363</c:v>
                </c:pt>
                <c:pt idx="1098">
                  <c:v>209415666</c:v>
                </c:pt>
                <c:pt idx="1099">
                  <c:v>1675678404</c:v>
                </c:pt>
                <c:pt idx="1100">
                  <c:v>1095608452</c:v>
                </c:pt>
                <c:pt idx="1101">
                  <c:v>362083328</c:v>
                </c:pt>
                <c:pt idx="1102">
                  <c:v>1290467430</c:v>
                </c:pt>
                <c:pt idx="1103">
                  <c:v>134147904</c:v>
                </c:pt>
                <c:pt idx="1104">
                  <c:v>485291785</c:v>
                </c:pt>
                <c:pt idx="1105">
                  <c:v>3068762723</c:v>
                </c:pt>
                <c:pt idx="1106">
                  <c:v>554347768</c:v>
                </c:pt>
                <c:pt idx="1107">
                  <c:v>621036213</c:v>
                </c:pt>
                <c:pt idx="1108">
                  <c:v>652196450</c:v>
                </c:pt>
                <c:pt idx="1109">
                  <c:v>107958830</c:v>
                </c:pt>
                <c:pt idx="1110">
                  <c:v>178398099</c:v>
                </c:pt>
                <c:pt idx="1111">
                  <c:v>1203089158</c:v>
                </c:pt>
                <c:pt idx="1112">
                  <c:v>357816544</c:v>
                </c:pt>
                <c:pt idx="1113">
                  <c:v>1696027885</c:v>
                </c:pt>
                <c:pt idx="1114">
                  <c:v>652067892</c:v>
                </c:pt>
                <c:pt idx="1115">
                  <c:v>287580678</c:v>
                </c:pt>
                <c:pt idx="1116">
                  <c:v>361396854</c:v>
                </c:pt>
                <c:pt idx="1117">
                  <c:v>1131752300</c:v>
                </c:pt>
                <c:pt idx="1118">
                  <c:v>683960332</c:v>
                </c:pt>
                <c:pt idx="1119">
                  <c:v>469755084</c:v>
                </c:pt>
                <c:pt idx="1120">
                  <c:v>547880446</c:v>
                </c:pt>
                <c:pt idx="1121">
                  <c:v>333957162</c:v>
                </c:pt>
                <c:pt idx="1122">
                  <c:v>683528983</c:v>
                </c:pt>
                <c:pt idx="1123">
                  <c:v>2697477075</c:v>
                </c:pt>
                <c:pt idx="1124">
                  <c:v>1027589196</c:v>
                </c:pt>
                <c:pt idx="1125">
                  <c:v>1189954134</c:v>
                </c:pt>
                <c:pt idx="1126">
                  <c:v>2015807562</c:v>
                </c:pt>
                <c:pt idx="1127">
                  <c:v>2147483647</c:v>
                </c:pt>
                <c:pt idx="1128">
                  <c:v>1056384784</c:v>
                </c:pt>
                <c:pt idx="1129">
                  <c:v>2989265107</c:v>
                </c:pt>
                <c:pt idx="1130">
                  <c:v>672665547</c:v>
                </c:pt>
                <c:pt idx="1131">
                  <c:v>489889155</c:v>
                </c:pt>
                <c:pt idx="1132">
                  <c:v>3248535382</c:v>
                </c:pt>
                <c:pt idx="1133">
                  <c:v>241020546</c:v>
                </c:pt>
                <c:pt idx="1134">
                  <c:v>786596580</c:v>
                </c:pt>
                <c:pt idx="1135">
                  <c:v>138579531</c:v>
                </c:pt>
                <c:pt idx="1136">
                  <c:v>619333441</c:v>
                </c:pt>
                <c:pt idx="1137">
                  <c:v>820001706</c:v>
                </c:pt>
                <c:pt idx="1138">
                  <c:v>380089433</c:v>
                </c:pt>
                <c:pt idx="1139">
                  <c:v>187858398</c:v>
                </c:pt>
                <c:pt idx="1140">
                  <c:v>1469109904</c:v>
                </c:pt>
                <c:pt idx="1141">
                  <c:v>688259147</c:v>
                </c:pt>
                <c:pt idx="1142">
                  <c:v>150470082</c:v>
                </c:pt>
                <c:pt idx="1143">
                  <c:v>547889132</c:v>
                </c:pt>
                <c:pt idx="1144">
                  <c:v>188795149</c:v>
                </c:pt>
                <c:pt idx="1145">
                  <c:v>4175308810</c:v>
                </c:pt>
                <c:pt idx="1146">
                  <c:v>1381940350</c:v>
                </c:pt>
                <c:pt idx="1147">
                  <c:v>2147483647</c:v>
                </c:pt>
                <c:pt idx="1148">
                  <c:v>1373790891</c:v>
                </c:pt>
                <c:pt idx="1149">
                  <c:v>160827069</c:v>
                </c:pt>
                <c:pt idx="1150">
                  <c:v>4046525503</c:v>
                </c:pt>
                <c:pt idx="1151">
                  <c:v>726730190</c:v>
                </c:pt>
                <c:pt idx="1152">
                  <c:v>239622611</c:v>
                </c:pt>
                <c:pt idx="1153">
                  <c:v>562890704</c:v>
                </c:pt>
                <c:pt idx="1154">
                  <c:v>95830624</c:v>
                </c:pt>
                <c:pt idx="1155">
                  <c:v>227154924</c:v>
                </c:pt>
                <c:pt idx="1156">
                  <c:v>591211085</c:v>
                </c:pt>
                <c:pt idx="1157">
                  <c:v>664009790</c:v>
                </c:pt>
                <c:pt idx="1158">
                  <c:v>200662236</c:v>
                </c:pt>
                <c:pt idx="1159">
                  <c:v>401405229</c:v>
                </c:pt>
                <c:pt idx="1160">
                  <c:v>244693440</c:v>
                </c:pt>
                <c:pt idx="1161">
                  <c:v>1531488608</c:v>
                </c:pt>
                <c:pt idx="1162">
                  <c:v>483348735</c:v>
                </c:pt>
                <c:pt idx="1163">
                  <c:v>209842588</c:v>
                </c:pt>
                <c:pt idx="1164">
                  <c:v>819626444</c:v>
                </c:pt>
                <c:pt idx="1165">
                  <c:v>314993052</c:v>
                </c:pt>
                <c:pt idx="1166">
                  <c:v>778589220</c:v>
                </c:pt>
                <c:pt idx="1167">
                  <c:v>469063410</c:v>
                </c:pt>
                <c:pt idx="1168">
                  <c:v>1770076992</c:v>
                </c:pt>
                <c:pt idx="1169">
                  <c:v>287647854</c:v>
                </c:pt>
                <c:pt idx="1170">
                  <c:v>138398736</c:v>
                </c:pt>
                <c:pt idx="1171">
                  <c:v>144699096</c:v>
                </c:pt>
                <c:pt idx="1172">
                  <c:v>310840426</c:v>
                </c:pt>
                <c:pt idx="1173">
                  <c:v>50772084</c:v>
                </c:pt>
                <c:pt idx="1174">
                  <c:v>2147483647</c:v>
                </c:pt>
                <c:pt idx="1175">
                  <c:v>1067311674</c:v>
                </c:pt>
                <c:pt idx="1176">
                  <c:v>1010826476</c:v>
                </c:pt>
                <c:pt idx="1177">
                  <c:v>3127906405</c:v>
                </c:pt>
                <c:pt idx="1178">
                  <c:v>622262664</c:v>
                </c:pt>
                <c:pt idx="1179">
                  <c:v>1081134135</c:v>
                </c:pt>
                <c:pt idx="1180">
                  <c:v>1725219576</c:v>
                </c:pt>
                <c:pt idx="1181">
                  <c:v>264416928</c:v>
                </c:pt>
                <c:pt idx="1182">
                  <c:v>1828346114</c:v>
                </c:pt>
                <c:pt idx="1183">
                  <c:v>28333888</c:v>
                </c:pt>
                <c:pt idx="1184">
                  <c:v>969138170</c:v>
                </c:pt>
                <c:pt idx="1185">
                  <c:v>1017923280</c:v>
                </c:pt>
                <c:pt idx="1186">
                  <c:v>330809920</c:v>
                </c:pt>
                <c:pt idx="1187">
                  <c:v>360083372</c:v>
                </c:pt>
                <c:pt idx="1188">
                  <c:v>458010532</c:v>
                </c:pt>
                <c:pt idx="1189">
                  <c:v>925935360</c:v>
                </c:pt>
                <c:pt idx="1190">
                  <c:v>134482135</c:v>
                </c:pt>
                <c:pt idx="1191">
                  <c:v>366252768</c:v>
                </c:pt>
                <c:pt idx="1192">
                  <c:v>369439952</c:v>
                </c:pt>
                <c:pt idx="1193">
                  <c:v>435337448</c:v>
                </c:pt>
                <c:pt idx="1194">
                  <c:v>693062754</c:v>
                </c:pt>
                <c:pt idx="1195">
                  <c:v>2147483647</c:v>
                </c:pt>
                <c:pt idx="1196">
                  <c:v>212430240</c:v>
                </c:pt>
                <c:pt idx="1197">
                  <c:v>229819780</c:v>
                </c:pt>
                <c:pt idx="1198">
                  <c:v>1991000620</c:v>
                </c:pt>
                <c:pt idx="1199">
                  <c:v>2064357014</c:v>
                </c:pt>
                <c:pt idx="1200">
                  <c:v>1039353832</c:v>
                </c:pt>
                <c:pt idx="1201">
                  <c:v>709499826</c:v>
                </c:pt>
                <c:pt idx="1202">
                  <c:v>127780290</c:v>
                </c:pt>
                <c:pt idx="1203">
                  <c:v>1240529260</c:v>
                </c:pt>
                <c:pt idx="1204">
                  <c:v>333526358</c:v>
                </c:pt>
                <c:pt idx="1205">
                  <c:v>305727680</c:v>
                </c:pt>
                <c:pt idx="1206">
                  <c:v>671921158</c:v>
                </c:pt>
                <c:pt idx="1207">
                  <c:v>707361055</c:v>
                </c:pt>
                <c:pt idx="1208">
                  <c:v>402856720</c:v>
                </c:pt>
                <c:pt idx="1209">
                  <c:v>147611673</c:v>
                </c:pt>
                <c:pt idx="1210">
                  <c:v>2896573399</c:v>
                </c:pt>
                <c:pt idx="1211">
                  <c:v>358052910</c:v>
                </c:pt>
                <c:pt idx="1212">
                  <c:v>886616874</c:v>
                </c:pt>
                <c:pt idx="1213">
                  <c:v>320844589</c:v>
                </c:pt>
                <c:pt idx="1214">
                  <c:v>110052900</c:v>
                </c:pt>
                <c:pt idx="1215">
                  <c:v>1757536610</c:v>
                </c:pt>
                <c:pt idx="1216">
                  <c:v>687701168</c:v>
                </c:pt>
                <c:pt idx="1217">
                  <c:v>300457326</c:v>
                </c:pt>
                <c:pt idx="1218">
                  <c:v>772176204</c:v>
                </c:pt>
                <c:pt idx="1219">
                  <c:v>2050643637</c:v>
                </c:pt>
                <c:pt idx="1220">
                  <c:v>1174909008</c:v>
                </c:pt>
                <c:pt idx="1221">
                  <c:v>1547717256</c:v>
                </c:pt>
                <c:pt idx="1222">
                  <c:v>2147483647</c:v>
                </c:pt>
                <c:pt idx="1223">
                  <c:v>910404344</c:v>
                </c:pt>
                <c:pt idx="1224">
                  <c:v>202197438</c:v>
                </c:pt>
                <c:pt idx="1225">
                  <c:v>169378344</c:v>
                </c:pt>
                <c:pt idx="1226">
                  <c:v>202227016</c:v>
                </c:pt>
                <c:pt idx="1227">
                  <c:v>1213585032</c:v>
                </c:pt>
                <c:pt idx="1228">
                  <c:v>121021856</c:v>
                </c:pt>
                <c:pt idx="1229">
                  <c:v>2147483647</c:v>
                </c:pt>
                <c:pt idx="1230">
                  <c:v>540647868</c:v>
                </c:pt>
                <c:pt idx="1231">
                  <c:v>661205776</c:v>
                </c:pt>
                <c:pt idx="1232">
                  <c:v>638310380</c:v>
                </c:pt>
                <c:pt idx="1233">
                  <c:v>1536292926</c:v>
                </c:pt>
                <c:pt idx="1234">
                  <c:v>257051243</c:v>
                </c:pt>
                <c:pt idx="1235">
                  <c:v>1235292410</c:v>
                </c:pt>
                <c:pt idx="1236">
                  <c:v>2147483647</c:v>
                </c:pt>
                <c:pt idx="1237">
                  <c:v>725518752</c:v>
                </c:pt>
                <c:pt idx="1238">
                  <c:v>318669000</c:v>
                </c:pt>
                <c:pt idx="1239">
                  <c:v>697283480</c:v>
                </c:pt>
                <c:pt idx="1240">
                  <c:v>450585129</c:v>
                </c:pt>
                <c:pt idx="1241">
                  <c:v>578109126</c:v>
                </c:pt>
                <c:pt idx="1242">
                  <c:v>438242922</c:v>
                </c:pt>
                <c:pt idx="1243">
                  <c:v>181568160</c:v>
                </c:pt>
                <c:pt idx="1244">
                  <c:v>457322160</c:v>
                </c:pt>
                <c:pt idx="1245">
                  <c:v>878256759</c:v>
                </c:pt>
                <c:pt idx="1246">
                  <c:v>217949688</c:v>
                </c:pt>
                <c:pt idx="1247">
                  <c:v>241397850</c:v>
                </c:pt>
                <c:pt idx="1248">
                  <c:v>319071024</c:v>
                </c:pt>
                <c:pt idx="1249">
                  <c:v>750612220</c:v>
                </c:pt>
                <c:pt idx="1250">
                  <c:v>662551605</c:v>
                </c:pt>
                <c:pt idx="1251">
                  <c:v>561314250</c:v>
                </c:pt>
                <c:pt idx="1252">
                  <c:v>38414646</c:v>
                </c:pt>
                <c:pt idx="1253">
                  <c:v>152240418</c:v>
                </c:pt>
                <c:pt idx="1254">
                  <c:v>2405511632</c:v>
                </c:pt>
                <c:pt idx="1255">
                  <c:v>1138304289</c:v>
                </c:pt>
                <c:pt idx="1256">
                  <c:v>288644964</c:v>
                </c:pt>
                <c:pt idx="1257">
                  <c:v>555414896</c:v>
                </c:pt>
                <c:pt idx="1258">
                  <c:v>284288535</c:v>
                </c:pt>
                <c:pt idx="1259">
                  <c:v>432049626</c:v>
                </c:pt>
                <c:pt idx="1260">
                  <c:v>416450265</c:v>
                </c:pt>
                <c:pt idx="1261">
                  <c:v>598022096</c:v>
                </c:pt>
                <c:pt idx="1262">
                  <c:v>1183192664</c:v>
                </c:pt>
                <c:pt idx="1263">
                  <c:v>1406414432</c:v>
                </c:pt>
                <c:pt idx="1264">
                  <c:v>428315685</c:v>
                </c:pt>
                <c:pt idx="1265">
                  <c:v>308687360</c:v>
                </c:pt>
                <c:pt idx="1266">
                  <c:v>883436160</c:v>
                </c:pt>
                <c:pt idx="1267">
                  <c:v>297273714</c:v>
                </c:pt>
                <c:pt idx="1268">
                  <c:v>794661056</c:v>
                </c:pt>
                <c:pt idx="1269">
                  <c:v>241296570</c:v>
                </c:pt>
                <c:pt idx="1270">
                  <c:v>781301808</c:v>
                </c:pt>
                <c:pt idx="1271">
                  <c:v>1017087360</c:v>
                </c:pt>
                <c:pt idx="1272">
                  <c:v>272134640</c:v>
                </c:pt>
                <c:pt idx="1273">
                  <c:v>2147483647</c:v>
                </c:pt>
                <c:pt idx="1274">
                  <c:v>95398765</c:v>
                </c:pt>
                <c:pt idx="1275">
                  <c:v>686081280</c:v>
                </c:pt>
                <c:pt idx="1276">
                  <c:v>1562246595</c:v>
                </c:pt>
                <c:pt idx="1277">
                  <c:v>429598600</c:v>
                </c:pt>
                <c:pt idx="1278">
                  <c:v>8558313793</c:v>
                </c:pt>
                <c:pt idx="1279">
                  <c:v>182312130</c:v>
                </c:pt>
                <c:pt idx="1280">
                  <c:v>182470162</c:v>
                </c:pt>
                <c:pt idx="1281">
                  <c:v>1608951936</c:v>
                </c:pt>
                <c:pt idx="1282">
                  <c:v>1096924832</c:v>
                </c:pt>
                <c:pt idx="1283">
                  <c:v>1717181378</c:v>
                </c:pt>
                <c:pt idx="1284">
                  <c:v>787938272</c:v>
                </c:pt>
                <c:pt idx="1285">
                  <c:v>310467852</c:v>
                </c:pt>
                <c:pt idx="1286">
                  <c:v>1500843218</c:v>
                </c:pt>
                <c:pt idx="1287">
                  <c:v>781525110</c:v>
                </c:pt>
                <c:pt idx="1288">
                  <c:v>998209860</c:v>
                </c:pt>
                <c:pt idx="1289">
                  <c:v>2068014592</c:v>
                </c:pt>
                <c:pt idx="1290">
                  <c:v>3249683058</c:v>
                </c:pt>
                <c:pt idx="1291">
                  <c:v>78509662</c:v>
                </c:pt>
                <c:pt idx="1292">
                  <c:v>144940536</c:v>
                </c:pt>
                <c:pt idx="1293">
                  <c:v>352488213</c:v>
                </c:pt>
                <c:pt idx="1294">
                  <c:v>214472556</c:v>
                </c:pt>
                <c:pt idx="1295">
                  <c:v>44744680</c:v>
                </c:pt>
                <c:pt idx="1296">
                  <c:v>257184180</c:v>
                </c:pt>
                <c:pt idx="1297">
                  <c:v>2939628510</c:v>
                </c:pt>
                <c:pt idx="1298">
                  <c:v>1718863734</c:v>
                </c:pt>
                <c:pt idx="1299">
                  <c:v>811736704</c:v>
                </c:pt>
                <c:pt idx="1300">
                  <c:v>3494914579</c:v>
                </c:pt>
                <c:pt idx="1301">
                  <c:v>636104700</c:v>
                </c:pt>
                <c:pt idx="1302">
                  <c:v>670286342</c:v>
                </c:pt>
                <c:pt idx="1303">
                  <c:v>549836856</c:v>
                </c:pt>
                <c:pt idx="1304">
                  <c:v>188986508</c:v>
                </c:pt>
                <c:pt idx="1305">
                  <c:v>335575385</c:v>
                </c:pt>
                <c:pt idx="1306">
                  <c:v>2147483647</c:v>
                </c:pt>
                <c:pt idx="1307">
                  <c:v>1235481130</c:v>
                </c:pt>
                <c:pt idx="1308">
                  <c:v>3869372181</c:v>
                </c:pt>
                <c:pt idx="1309">
                  <c:v>223750254</c:v>
                </c:pt>
                <c:pt idx="1310">
                  <c:v>361610462</c:v>
                </c:pt>
                <c:pt idx="1311">
                  <c:v>174860970</c:v>
                </c:pt>
                <c:pt idx="1312">
                  <c:v>139459488</c:v>
                </c:pt>
                <c:pt idx="1313">
                  <c:v>4136347449</c:v>
                </c:pt>
                <c:pt idx="1314">
                  <c:v>428863920</c:v>
                </c:pt>
                <c:pt idx="1315">
                  <c:v>391648368</c:v>
                </c:pt>
                <c:pt idx="1316">
                  <c:v>107895820</c:v>
                </c:pt>
                <c:pt idx="1317">
                  <c:v>382136447</c:v>
                </c:pt>
                <c:pt idx="1318">
                  <c:v>1633637102</c:v>
                </c:pt>
                <c:pt idx="1319">
                  <c:v>304499292</c:v>
                </c:pt>
                <c:pt idx="1320">
                  <c:v>236556519</c:v>
                </c:pt>
                <c:pt idx="1321">
                  <c:v>186351822</c:v>
                </c:pt>
                <c:pt idx="1322">
                  <c:v>386110920</c:v>
                </c:pt>
                <c:pt idx="1323">
                  <c:v>936539712</c:v>
                </c:pt>
                <c:pt idx="1324">
                  <c:v>282443436</c:v>
                </c:pt>
                <c:pt idx="1325">
                  <c:v>471059625</c:v>
                </c:pt>
                <c:pt idx="1326">
                  <c:v>808967772</c:v>
                </c:pt>
                <c:pt idx="1327">
                  <c:v>307707620</c:v>
                </c:pt>
                <c:pt idx="1328">
                  <c:v>420031000</c:v>
                </c:pt>
                <c:pt idx="1329">
                  <c:v>394691045</c:v>
                </c:pt>
                <c:pt idx="1330">
                  <c:v>1018110661</c:v>
                </c:pt>
                <c:pt idx="1331">
                  <c:v>4271494843</c:v>
                </c:pt>
                <c:pt idx="1332">
                  <c:v>887218027</c:v>
                </c:pt>
                <c:pt idx="1333">
                  <c:v>1208787282</c:v>
                </c:pt>
                <c:pt idx="1334">
                  <c:v>827697360</c:v>
                </c:pt>
                <c:pt idx="1335">
                  <c:v>1045031078</c:v>
                </c:pt>
                <c:pt idx="1336">
                  <c:v>1884747264</c:v>
                </c:pt>
                <c:pt idx="1337">
                  <c:v>3359046280</c:v>
                </c:pt>
                <c:pt idx="1338">
                  <c:v>325303986</c:v>
                </c:pt>
                <c:pt idx="1339">
                  <c:v>383624710</c:v>
                </c:pt>
                <c:pt idx="1340">
                  <c:v>121850714</c:v>
                </c:pt>
                <c:pt idx="1341">
                  <c:v>327648285</c:v>
                </c:pt>
                <c:pt idx="1342">
                  <c:v>220674212</c:v>
                </c:pt>
                <c:pt idx="1343">
                  <c:v>816718560</c:v>
                </c:pt>
                <c:pt idx="1344">
                  <c:v>279625554</c:v>
                </c:pt>
                <c:pt idx="1345">
                  <c:v>2325636592</c:v>
                </c:pt>
                <c:pt idx="1346">
                  <c:v>348885852</c:v>
                </c:pt>
                <c:pt idx="1347">
                  <c:v>1092600366</c:v>
                </c:pt>
                <c:pt idx="1348">
                  <c:v>641267880</c:v>
                </c:pt>
                <c:pt idx="1349">
                  <c:v>187238736</c:v>
                </c:pt>
                <c:pt idx="1350">
                  <c:v>414875111</c:v>
                </c:pt>
                <c:pt idx="1351">
                  <c:v>168094764</c:v>
                </c:pt>
                <c:pt idx="1352">
                  <c:v>4982056873</c:v>
                </c:pt>
                <c:pt idx="1353">
                  <c:v>268502040</c:v>
                </c:pt>
                <c:pt idx="1354">
                  <c:v>663729584</c:v>
                </c:pt>
                <c:pt idx="1355">
                  <c:v>91358634</c:v>
                </c:pt>
                <c:pt idx="1356">
                  <c:v>1274011356</c:v>
                </c:pt>
                <c:pt idx="1357">
                  <c:v>528044300</c:v>
                </c:pt>
                <c:pt idx="1358">
                  <c:v>620672148</c:v>
                </c:pt>
                <c:pt idx="1359">
                  <c:v>255369338</c:v>
                </c:pt>
                <c:pt idx="1360">
                  <c:v>259320900</c:v>
                </c:pt>
                <c:pt idx="1361">
                  <c:v>782268223</c:v>
                </c:pt>
                <c:pt idx="1362">
                  <c:v>418731929</c:v>
                </c:pt>
                <c:pt idx="1363">
                  <c:v>73134217</c:v>
                </c:pt>
                <c:pt idx="1364">
                  <c:v>2743249704</c:v>
                </c:pt>
                <c:pt idx="1365">
                  <c:v>605527215</c:v>
                </c:pt>
                <c:pt idx="1366">
                  <c:v>206063091</c:v>
                </c:pt>
                <c:pt idx="1367">
                  <c:v>1234430040</c:v>
                </c:pt>
                <c:pt idx="1368">
                  <c:v>75928842</c:v>
                </c:pt>
                <c:pt idx="1369">
                  <c:v>209466673</c:v>
                </c:pt>
                <c:pt idx="1370">
                  <c:v>1451597952</c:v>
                </c:pt>
                <c:pt idx="1371">
                  <c:v>85285660</c:v>
                </c:pt>
                <c:pt idx="1372">
                  <c:v>1093262924</c:v>
                </c:pt>
                <c:pt idx="1373">
                  <c:v>393199290</c:v>
                </c:pt>
                <c:pt idx="1374">
                  <c:v>565906679</c:v>
                </c:pt>
                <c:pt idx="1375">
                  <c:v>945816208</c:v>
                </c:pt>
                <c:pt idx="1376">
                  <c:v>683008864</c:v>
                </c:pt>
                <c:pt idx="1377">
                  <c:v>183843590</c:v>
                </c:pt>
                <c:pt idx="1378">
                  <c:v>702437940</c:v>
                </c:pt>
                <c:pt idx="1379">
                  <c:v>2393657025</c:v>
                </c:pt>
                <c:pt idx="1380">
                  <c:v>1202775537</c:v>
                </c:pt>
                <c:pt idx="1381">
                  <c:v>271071132</c:v>
                </c:pt>
                <c:pt idx="1382">
                  <c:v>764861658</c:v>
                </c:pt>
                <c:pt idx="1383">
                  <c:v>1168049410</c:v>
                </c:pt>
                <c:pt idx="1384">
                  <c:v>1086154876</c:v>
                </c:pt>
                <c:pt idx="1385">
                  <c:v>3330367731</c:v>
                </c:pt>
                <c:pt idx="1386">
                  <c:v>1437430676</c:v>
                </c:pt>
                <c:pt idx="1387">
                  <c:v>88874717</c:v>
                </c:pt>
                <c:pt idx="1388">
                  <c:v>267089750</c:v>
                </c:pt>
                <c:pt idx="1389">
                  <c:v>2072727800</c:v>
                </c:pt>
                <c:pt idx="1390">
                  <c:v>2147483647</c:v>
                </c:pt>
                <c:pt idx="1391">
                  <c:v>400878478</c:v>
                </c:pt>
                <c:pt idx="1392">
                  <c:v>659736816</c:v>
                </c:pt>
                <c:pt idx="1393">
                  <c:v>256752306</c:v>
                </c:pt>
                <c:pt idx="1394">
                  <c:v>2147483647</c:v>
                </c:pt>
                <c:pt idx="1395">
                  <c:v>504683136</c:v>
                </c:pt>
                <c:pt idx="1396">
                  <c:v>319454226</c:v>
                </c:pt>
                <c:pt idx="1397">
                  <c:v>1416533520</c:v>
                </c:pt>
                <c:pt idx="1398">
                  <c:v>1242111760</c:v>
                </c:pt>
                <c:pt idx="1399">
                  <c:v>106330224</c:v>
                </c:pt>
                <c:pt idx="1400">
                  <c:v>303935786</c:v>
                </c:pt>
                <c:pt idx="1401">
                  <c:v>1135239624</c:v>
                </c:pt>
                <c:pt idx="1402">
                  <c:v>875442988</c:v>
                </c:pt>
                <c:pt idx="1403">
                  <c:v>198072302</c:v>
                </c:pt>
                <c:pt idx="1404">
                  <c:v>1035571354</c:v>
                </c:pt>
                <c:pt idx="1405">
                  <c:v>223939392</c:v>
                </c:pt>
                <c:pt idx="1406">
                  <c:v>917641527</c:v>
                </c:pt>
                <c:pt idx="1407">
                  <c:v>204018165</c:v>
                </c:pt>
                <c:pt idx="1408">
                  <c:v>57169980</c:v>
                </c:pt>
                <c:pt idx="1409">
                  <c:v>230952640</c:v>
                </c:pt>
                <c:pt idx="1410">
                  <c:v>601804350</c:v>
                </c:pt>
                <c:pt idx="1411">
                  <c:v>667480275</c:v>
                </c:pt>
                <c:pt idx="1412">
                  <c:v>2448684576</c:v>
                </c:pt>
                <c:pt idx="1413">
                  <c:v>382851886</c:v>
                </c:pt>
                <c:pt idx="1414">
                  <c:v>815872288</c:v>
                </c:pt>
                <c:pt idx="1415">
                  <c:v>361299939</c:v>
                </c:pt>
                <c:pt idx="1416">
                  <c:v>206036748</c:v>
                </c:pt>
                <c:pt idx="1417">
                  <c:v>683514108</c:v>
                </c:pt>
                <c:pt idx="1418">
                  <c:v>194044650</c:v>
                </c:pt>
                <c:pt idx="1419">
                  <c:v>294730895</c:v>
                </c:pt>
                <c:pt idx="1420">
                  <c:v>143626326</c:v>
                </c:pt>
                <c:pt idx="1421">
                  <c:v>295326855</c:v>
                </c:pt>
                <c:pt idx="1422">
                  <c:v>109852600</c:v>
                </c:pt>
                <c:pt idx="1423">
                  <c:v>368879898</c:v>
                </c:pt>
                <c:pt idx="1424">
                  <c:v>686585198</c:v>
                </c:pt>
                <c:pt idx="1425">
                  <c:v>1042370475</c:v>
                </c:pt>
                <c:pt idx="1426">
                  <c:v>1003213719</c:v>
                </c:pt>
                <c:pt idx="1427">
                  <c:v>168132910</c:v>
                </c:pt>
                <c:pt idx="1428">
                  <c:v>450084845</c:v>
                </c:pt>
                <c:pt idx="1429">
                  <c:v>684373599</c:v>
                </c:pt>
                <c:pt idx="1430">
                  <c:v>315164802</c:v>
                </c:pt>
                <c:pt idx="1431">
                  <c:v>143622759</c:v>
                </c:pt>
                <c:pt idx="1432">
                  <c:v>145567208</c:v>
                </c:pt>
                <c:pt idx="1433">
                  <c:v>1857793070</c:v>
                </c:pt>
                <c:pt idx="1434">
                  <c:v>118048493</c:v>
                </c:pt>
                <c:pt idx="1435">
                  <c:v>923324070</c:v>
                </c:pt>
                <c:pt idx="1436">
                  <c:v>162698121</c:v>
                </c:pt>
                <c:pt idx="1437">
                  <c:v>220748332</c:v>
                </c:pt>
                <c:pt idx="1438">
                  <c:v>187249568</c:v>
                </c:pt>
                <c:pt idx="1439">
                  <c:v>1862289914</c:v>
                </c:pt>
                <c:pt idx="1440">
                  <c:v>778563990</c:v>
                </c:pt>
                <c:pt idx="1441">
                  <c:v>1753480624</c:v>
                </c:pt>
                <c:pt idx="1442">
                  <c:v>441920520</c:v>
                </c:pt>
                <c:pt idx="1443">
                  <c:v>1924062930</c:v>
                </c:pt>
                <c:pt idx="1444">
                  <c:v>86680666</c:v>
                </c:pt>
                <c:pt idx="1445">
                  <c:v>1680221270</c:v>
                </c:pt>
                <c:pt idx="1446">
                  <c:v>770090386</c:v>
                </c:pt>
                <c:pt idx="1447">
                  <c:v>64917472</c:v>
                </c:pt>
                <c:pt idx="1448">
                  <c:v>288788396</c:v>
                </c:pt>
                <c:pt idx="1449">
                  <c:v>205506522</c:v>
                </c:pt>
                <c:pt idx="1450">
                  <c:v>250571984</c:v>
                </c:pt>
                <c:pt idx="1451">
                  <c:v>338790910</c:v>
                </c:pt>
                <c:pt idx="1452">
                  <c:v>169813632</c:v>
                </c:pt>
                <c:pt idx="1453">
                  <c:v>84990924</c:v>
                </c:pt>
                <c:pt idx="1454">
                  <c:v>32028305</c:v>
                </c:pt>
                <c:pt idx="1455">
                  <c:v>529432890</c:v>
                </c:pt>
                <c:pt idx="1456">
                  <c:v>424691596</c:v>
                </c:pt>
                <c:pt idx="1457">
                  <c:v>719780600</c:v>
                </c:pt>
                <c:pt idx="1458">
                  <c:v>1004232036</c:v>
                </c:pt>
                <c:pt idx="1459">
                  <c:v>234102456</c:v>
                </c:pt>
                <c:pt idx="1460">
                  <c:v>1125571632</c:v>
                </c:pt>
                <c:pt idx="1461">
                  <c:v>125342640</c:v>
                </c:pt>
                <c:pt idx="1462">
                  <c:v>1030670997</c:v>
                </c:pt>
                <c:pt idx="1463">
                  <c:v>81117234</c:v>
                </c:pt>
                <c:pt idx="1464">
                  <c:v>244574070</c:v>
                </c:pt>
                <c:pt idx="1465">
                  <c:v>211537368</c:v>
                </c:pt>
                <c:pt idx="1466">
                  <c:v>798660525</c:v>
                </c:pt>
                <c:pt idx="1467">
                  <c:v>409039575</c:v>
                </c:pt>
                <c:pt idx="1468">
                  <c:v>636451816</c:v>
                </c:pt>
                <c:pt idx="1469">
                  <c:v>686747216</c:v>
                </c:pt>
                <c:pt idx="1470">
                  <c:v>286661034</c:v>
                </c:pt>
                <c:pt idx="1471">
                  <c:v>123067870</c:v>
                </c:pt>
                <c:pt idx="1472">
                  <c:v>339160040</c:v>
                </c:pt>
                <c:pt idx="1473">
                  <c:v>11879979190</c:v>
                </c:pt>
                <c:pt idx="1474">
                  <c:v>180235510</c:v>
                </c:pt>
                <c:pt idx="1475">
                  <c:v>1046526499</c:v>
                </c:pt>
                <c:pt idx="1476">
                  <c:v>240540828</c:v>
                </c:pt>
                <c:pt idx="1477">
                  <c:v>667504836</c:v>
                </c:pt>
                <c:pt idx="1478">
                  <c:v>271115304</c:v>
                </c:pt>
                <c:pt idx="1479">
                  <c:v>192917999</c:v>
                </c:pt>
                <c:pt idx="1480">
                  <c:v>48022500</c:v>
                </c:pt>
                <c:pt idx="1481">
                  <c:v>581624414</c:v>
                </c:pt>
                <c:pt idx="1482">
                  <c:v>389452735</c:v>
                </c:pt>
                <c:pt idx="1483">
                  <c:v>199189064</c:v>
                </c:pt>
                <c:pt idx="1484">
                  <c:v>170131506</c:v>
                </c:pt>
                <c:pt idx="1485">
                  <c:v>422842779</c:v>
                </c:pt>
                <c:pt idx="1486">
                  <c:v>546850005</c:v>
                </c:pt>
                <c:pt idx="1487">
                  <c:v>161473180</c:v>
                </c:pt>
                <c:pt idx="1488">
                  <c:v>205507023</c:v>
                </c:pt>
                <c:pt idx="1489">
                  <c:v>523114196</c:v>
                </c:pt>
                <c:pt idx="1490">
                  <c:v>220007524</c:v>
                </c:pt>
                <c:pt idx="1491">
                  <c:v>727535016</c:v>
                </c:pt>
                <c:pt idx="1492">
                  <c:v>152040554</c:v>
                </c:pt>
                <c:pt idx="1493">
                  <c:v>729982050</c:v>
                </c:pt>
                <c:pt idx="1494">
                  <c:v>1260337148</c:v>
                </c:pt>
                <c:pt idx="1495">
                  <c:v>1586507540</c:v>
                </c:pt>
                <c:pt idx="1496">
                  <c:v>169936800</c:v>
                </c:pt>
                <c:pt idx="1497">
                  <c:v>250746111</c:v>
                </c:pt>
                <c:pt idx="1498">
                  <c:v>2689303891</c:v>
                </c:pt>
                <c:pt idx="1499">
                  <c:v>179433920</c:v>
                </c:pt>
                <c:pt idx="1500">
                  <c:v>216829860</c:v>
                </c:pt>
                <c:pt idx="1501">
                  <c:v>1849149328</c:v>
                </c:pt>
                <c:pt idx="1502">
                  <c:v>129305386</c:v>
                </c:pt>
                <c:pt idx="1503">
                  <c:v>551036703</c:v>
                </c:pt>
                <c:pt idx="1504">
                  <c:v>611729910</c:v>
                </c:pt>
                <c:pt idx="1505">
                  <c:v>146371148</c:v>
                </c:pt>
                <c:pt idx="1506">
                  <c:v>230282285</c:v>
                </c:pt>
                <c:pt idx="1507">
                  <c:v>311358130</c:v>
                </c:pt>
                <c:pt idx="1508">
                  <c:v>1792975452</c:v>
                </c:pt>
                <c:pt idx="1509">
                  <c:v>98459388</c:v>
                </c:pt>
                <c:pt idx="1510">
                  <c:v>584997114</c:v>
                </c:pt>
                <c:pt idx="1511">
                  <c:v>1917750628</c:v>
                </c:pt>
                <c:pt idx="1512">
                  <c:v>189697597</c:v>
                </c:pt>
                <c:pt idx="1513">
                  <c:v>254466744</c:v>
                </c:pt>
                <c:pt idx="1514">
                  <c:v>376058716</c:v>
                </c:pt>
                <c:pt idx="1515">
                  <c:v>208006344</c:v>
                </c:pt>
                <c:pt idx="1516">
                  <c:v>29662325</c:v>
                </c:pt>
                <c:pt idx="1517">
                  <c:v>60452570</c:v>
                </c:pt>
                <c:pt idx="1518">
                  <c:v>388941876</c:v>
                </c:pt>
                <c:pt idx="1519">
                  <c:v>992866220</c:v>
                </c:pt>
                <c:pt idx="1520">
                  <c:v>1110055912</c:v>
                </c:pt>
                <c:pt idx="1521">
                  <c:v>262250400</c:v>
                </c:pt>
                <c:pt idx="1522">
                  <c:v>173494200</c:v>
                </c:pt>
                <c:pt idx="1523">
                  <c:v>14335290</c:v>
                </c:pt>
                <c:pt idx="1524">
                  <c:v>50932614</c:v>
                </c:pt>
                <c:pt idx="1525">
                  <c:v>255929270</c:v>
                </c:pt>
                <c:pt idx="1526">
                  <c:v>306631314</c:v>
                </c:pt>
                <c:pt idx="1527">
                  <c:v>144872546</c:v>
                </c:pt>
                <c:pt idx="1528">
                  <c:v>595988241</c:v>
                </c:pt>
                <c:pt idx="1529">
                  <c:v>196932820</c:v>
                </c:pt>
                <c:pt idx="1530">
                  <c:v>129310976</c:v>
                </c:pt>
                <c:pt idx="1531">
                  <c:v>818658126</c:v>
                </c:pt>
                <c:pt idx="1532">
                  <c:v>96554544</c:v>
                </c:pt>
                <c:pt idx="1533">
                  <c:v>478615147</c:v>
                </c:pt>
                <c:pt idx="1534">
                  <c:v>200649900</c:v>
                </c:pt>
                <c:pt idx="1535">
                  <c:v>178706816</c:v>
                </c:pt>
                <c:pt idx="1536">
                  <c:v>56977440</c:v>
                </c:pt>
                <c:pt idx="1537">
                  <c:v>331298720</c:v>
                </c:pt>
                <c:pt idx="1538">
                  <c:v>173141136</c:v>
                </c:pt>
                <c:pt idx="1539">
                  <c:v>1187708340</c:v>
                </c:pt>
                <c:pt idx="1540">
                  <c:v>643669242</c:v>
                </c:pt>
                <c:pt idx="1541">
                  <c:v>1208998818</c:v>
                </c:pt>
                <c:pt idx="1542">
                  <c:v>370671771</c:v>
                </c:pt>
                <c:pt idx="1543">
                  <c:v>85445204</c:v>
                </c:pt>
                <c:pt idx="1544">
                  <c:v>487909983</c:v>
                </c:pt>
                <c:pt idx="1545">
                  <c:v>349440048</c:v>
                </c:pt>
                <c:pt idx="1546">
                  <c:v>12272982296</c:v>
                </c:pt>
                <c:pt idx="1547">
                  <c:v>347496990</c:v>
                </c:pt>
                <c:pt idx="1548">
                  <c:v>2189026729</c:v>
                </c:pt>
                <c:pt idx="1549">
                  <c:v>71766240</c:v>
                </c:pt>
                <c:pt idx="1550">
                  <c:v>631751624</c:v>
                </c:pt>
                <c:pt idx="1551">
                  <c:v>630114030</c:v>
                </c:pt>
                <c:pt idx="1552">
                  <c:v>98777644</c:v>
                </c:pt>
                <c:pt idx="1553">
                  <c:v>593269295</c:v>
                </c:pt>
                <c:pt idx="1554">
                  <c:v>530504315</c:v>
                </c:pt>
                <c:pt idx="1555">
                  <c:v>166097525</c:v>
                </c:pt>
                <c:pt idx="1556">
                  <c:v>134050917</c:v>
                </c:pt>
                <c:pt idx="1557">
                  <c:v>2363775047</c:v>
                </c:pt>
                <c:pt idx="1558">
                  <c:v>393973023</c:v>
                </c:pt>
                <c:pt idx="1559">
                  <c:v>267289610</c:v>
                </c:pt>
                <c:pt idx="1560">
                  <c:v>1668359594</c:v>
                </c:pt>
                <c:pt idx="1561">
                  <c:v>181976440</c:v>
                </c:pt>
                <c:pt idx="1562">
                  <c:v>761050207</c:v>
                </c:pt>
                <c:pt idx="1563">
                  <c:v>510443232</c:v>
                </c:pt>
                <c:pt idx="1564">
                  <c:v>199983480</c:v>
                </c:pt>
                <c:pt idx="1565">
                  <c:v>407705620</c:v>
                </c:pt>
                <c:pt idx="1566">
                  <c:v>232677778</c:v>
                </c:pt>
                <c:pt idx="1567">
                  <c:v>275885811</c:v>
                </c:pt>
                <c:pt idx="1568">
                  <c:v>484004052</c:v>
                </c:pt>
                <c:pt idx="1569">
                  <c:v>105277863</c:v>
                </c:pt>
                <c:pt idx="1570">
                  <c:v>50469272</c:v>
                </c:pt>
                <c:pt idx="1571">
                  <c:v>1637536678</c:v>
                </c:pt>
                <c:pt idx="1572">
                  <c:v>83301504</c:v>
                </c:pt>
                <c:pt idx="1573">
                  <c:v>17325216</c:v>
                </c:pt>
                <c:pt idx="1574">
                  <c:v>238255962</c:v>
                </c:pt>
                <c:pt idx="1575">
                  <c:v>80437408</c:v>
                </c:pt>
                <c:pt idx="1576">
                  <c:v>1564755000</c:v>
                </c:pt>
                <c:pt idx="1577">
                  <c:v>1267232008</c:v>
                </c:pt>
                <c:pt idx="1578">
                  <c:v>1312951068</c:v>
                </c:pt>
                <c:pt idx="1579">
                  <c:v>543654394</c:v>
                </c:pt>
                <c:pt idx="1580">
                  <c:v>114211650</c:v>
                </c:pt>
                <c:pt idx="1581">
                  <c:v>2454545646</c:v>
                </c:pt>
                <c:pt idx="1582">
                  <c:v>287524472</c:v>
                </c:pt>
                <c:pt idx="1583">
                  <c:v>180554796</c:v>
                </c:pt>
                <c:pt idx="1584">
                  <c:v>432140292</c:v>
                </c:pt>
                <c:pt idx="1585">
                  <c:v>140789934</c:v>
                </c:pt>
                <c:pt idx="1586">
                  <c:v>2167982453</c:v>
                </c:pt>
                <c:pt idx="1587">
                  <c:v>146201700</c:v>
                </c:pt>
                <c:pt idx="1588">
                  <c:v>1039139640</c:v>
                </c:pt>
                <c:pt idx="1589">
                  <c:v>5570575547</c:v>
                </c:pt>
                <c:pt idx="1590">
                  <c:v>3514164206</c:v>
                </c:pt>
                <c:pt idx="1591">
                  <c:v>541212270</c:v>
                </c:pt>
                <c:pt idx="1592">
                  <c:v>87046632</c:v>
                </c:pt>
                <c:pt idx="1593">
                  <c:v>74195487</c:v>
                </c:pt>
                <c:pt idx="1594">
                  <c:v>2150999990</c:v>
                </c:pt>
                <c:pt idx="1595">
                  <c:v>154046265</c:v>
                </c:pt>
                <c:pt idx="1596">
                  <c:v>92510280</c:v>
                </c:pt>
                <c:pt idx="1597">
                  <c:v>178475409</c:v>
                </c:pt>
                <c:pt idx="1598">
                  <c:v>243531288</c:v>
                </c:pt>
                <c:pt idx="1599">
                  <c:v>1378212114</c:v>
                </c:pt>
                <c:pt idx="1600">
                  <c:v>3525018</c:v>
                </c:pt>
                <c:pt idx="1601">
                  <c:v>145312635</c:v>
                </c:pt>
                <c:pt idx="1602">
                  <c:v>5430996256</c:v>
                </c:pt>
                <c:pt idx="1603">
                  <c:v>341560626</c:v>
                </c:pt>
                <c:pt idx="1604">
                  <c:v>1669528378</c:v>
                </c:pt>
                <c:pt idx="1605">
                  <c:v>476577760</c:v>
                </c:pt>
                <c:pt idx="1606">
                  <c:v>555392695</c:v>
                </c:pt>
                <c:pt idx="1607">
                  <c:v>854005724</c:v>
                </c:pt>
                <c:pt idx="1608">
                  <c:v>12401438216</c:v>
                </c:pt>
                <c:pt idx="1609">
                  <c:v>163293542</c:v>
                </c:pt>
                <c:pt idx="1610">
                  <c:v>144569266</c:v>
                </c:pt>
                <c:pt idx="1611">
                  <c:v>174490416</c:v>
                </c:pt>
                <c:pt idx="1612">
                  <c:v>27054234</c:v>
                </c:pt>
                <c:pt idx="1613">
                  <c:v>397399212</c:v>
                </c:pt>
                <c:pt idx="1614">
                  <c:v>1015885255</c:v>
                </c:pt>
                <c:pt idx="1615">
                  <c:v>425911084</c:v>
                </c:pt>
                <c:pt idx="1616">
                  <c:v>916016929</c:v>
                </c:pt>
                <c:pt idx="1617">
                  <c:v>454724160</c:v>
                </c:pt>
                <c:pt idx="1618">
                  <c:v>90691050</c:v>
                </c:pt>
                <c:pt idx="1619">
                  <c:v>1922739790</c:v>
                </c:pt>
                <c:pt idx="1620">
                  <c:v>405674080</c:v>
                </c:pt>
                <c:pt idx="1621">
                  <c:v>407848400</c:v>
                </c:pt>
                <c:pt idx="1622">
                  <c:v>236306538</c:v>
                </c:pt>
                <c:pt idx="1623">
                  <c:v>38492784</c:v>
                </c:pt>
                <c:pt idx="1624">
                  <c:v>759917424</c:v>
                </c:pt>
                <c:pt idx="1625">
                  <c:v>327922280</c:v>
                </c:pt>
                <c:pt idx="1626">
                  <c:v>485583553</c:v>
                </c:pt>
                <c:pt idx="1627">
                  <c:v>195432200</c:v>
                </c:pt>
                <c:pt idx="1628">
                  <c:v>274639404</c:v>
                </c:pt>
                <c:pt idx="1629">
                  <c:v>4246245182</c:v>
                </c:pt>
                <c:pt idx="1630">
                  <c:v>2912766612</c:v>
                </c:pt>
                <c:pt idx="1631">
                  <c:v>118862926</c:v>
                </c:pt>
                <c:pt idx="1632">
                  <c:v>91799670</c:v>
                </c:pt>
                <c:pt idx="1633">
                  <c:v>750095843</c:v>
                </c:pt>
                <c:pt idx="1634">
                  <c:v>146968956</c:v>
                </c:pt>
                <c:pt idx="1635">
                  <c:v>1446408838</c:v>
                </c:pt>
                <c:pt idx="1636">
                  <c:v>384762510</c:v>
                </c:pt>
                <c:pt idx="1637">
                  <c:v>1063743746</c:v>
                </c:pt>
                <c:pt idx="1638">
                  <c:v>238401279</c:v>
                </c:pt>
                <c:pt idx="1639">
                  <c:v>665146740</c:v>
                </c:pt>
                <c:pt idx="1640">
                  <c:v>219624150</c:v>
                </c:pt>
                <c:pt idx="1641">
                  <c:v>277600080</c:v>
                </c:pt>
                <c:pt idx="1642">
                  <c:v>937390164</c:v>
                </c:pt>
                <c:pt idx="1643">
                  <c:v>1041289830</c:v>
                </c:pt>
                <c:pt idx="1644">
                  <c:v>248487327</c:v>
                </c:pt>
                <c:pt idx="1645">
                  <c:v>49848682</c:v>
                </c:pt>
                <c:pt idx="1646">
                  <c:v>816578826</c:v>
                </c:pt>
                <c:pt idx="1647">
                  <c:v>786538456</c:v>
                </c:pt>
                <c:pt idx="1648">
                  <c:v>1401967640</c:v>
                </c:pt>
                <c:pt idx="1649">
                  <c:v>429821616</c:v>
                </c:pt>
                <c:pt idx="1650">
                  <c:v>311104916</c:v>
                </c:pt>
                <c:pt idx="1651">
                  <c:v>93117640</c:v>
                </c:pt>
                <c:pt idx="1652">
                  <c:v>806040783</c:v>
                </c:pt>
                <c:pt idx="1653">
                  <c:v>92677160</c:v>
                </c:pt>
                <c:pt idx="1654">
                  <c:v>70557300</c:v>
                </c:pt>
                <c:pt idx="1655">
                  <c:v>268847334</c:v>
                </c:pt>
                <c:pt idx="1656">
                  <c:v>184541245</c:v>
                </c:pt>
                <c:pt idx="1657">
                  <c:v>827775952</c:v>
                </c:pt>
                <c:pt idx="1658">
                  <c:v>145093104</c:v>
                </c:pt>
                <c:pt idx="1659">
                  <c:v>295366400</c:v>
                </c:pt>
                <c:pt idx="1660">
                  <c:v>56638880</c:v>
                </c:pt>
                <c:pt idx="1661">
                  <c:v>21292935</c:v>
                </c:pt>
                <c:pt idx="1662">
                  <c:v>261597217</c:v>
                </c:pt>
                <c:pt idx="1663">
                  <c:v>129036800</c:v>
                </c:pt>
                <c:pt idx="1664">
                  <c:v>71075776</c:v>
                </c:pt>
                <c:pt idx="1665">
                  <c:v>50160000</c:v>
                </c:pt>
                <c:pt idx="1666">
                  <c:v>64235850</c:v>
                </c:pt>
                <c:pt idx="1667">
                  <c:v>134757610</c:v>
                </c:pt>
                <c:pt idx="1668">
                  <c:v>70357504</c:v>
                </c:pt>
                <c:pt idx="1669">
                  <c:v>125139795</c:v>
                </c:pt>
                <c:pt idx="1670">
                  <c:v>87678150</c:v>
                </c:pt>
                <c:pt idx="1671">
                  <c:v>105913598</c:v>
                </c:pt>
                <c:pt idx="1672">
                  <c:v>279170240</c:v>
                </c:pt>
                <c:pt idx="1673">
                  <c:v>491783684</c:v>
                </c:pt>
                <c:pt idx="1674">
                  <c:v>882801300</c:v>
                </c:pt>
                <c:pt idx="1675">
                  <c:v>283918590</c:v>
                </c:pt>
                <c:pt idx="1676">
                  <c:v>390725978</c:v>
                </c:pt>
                <c:pt idx="1677">
                  <c:v>409083920</c:v>
                </c:pt>
                <c:pt idx="1678">
                  <c:v>699044816</c:v>
                </c:pt>
                <c:pt idx="1679">
                  <c:v>343990648</c:v>
                </c:pt>
                <c:pt idx="1680">
                  <c:v>418783447</c:v>
                </c:pt>
                <c:pt idx="1681">
                  <c:v>234621036</c:v>
                </c:pt>
                <c:pt idx="1682">
                  <c:v>170676698</c:v>
                </c:pt>
                <c:pt idx="1683">
                  <c:v>270527040</c:v>
                </c:pt>
                <c:pt idx="1684">
                  <c:v>145031872</c:v>
                </c:pt>
                <c:pt idx="1685">
                  <c:v>533180074</c:v>
                </c:pt>
                <c:pt idx="1686">
                  <c:v>351885930</c:v>
                </c:pt>
                <c:pt idx="1687">
                  <c:v>362891988</c:v>
                </c:pt>
                <c:pt idx="1688">
                  <c:v>214311240</c:v>
                </c:pt>
                <c:pt idx="1689">
                  <c:v>1005675408</c:v>
                </c:pt>
                <c:pt idx="1690">
                  <c:v>132405300</c:v>
                </c:pt>
                <c:pt idx="1691">
                  <c:v>145608344</c:v>
                </c:pt>
                <c:pt idx="1692">
                  <c:v>100565500</c:v>
                </c:pt>
                <c:pt idx="1693">
                  <c:v>64087199</c:v>
                </c:pt>
                <c:pt idx="1694">
                  <c:v>147477108</c:v>
                </c:pt>
                <c:pt idx="1695">
                  <c:v>43005436</c:v>
                </c:pt>
                <c:pt idx="1696">
                  <c:v>89779644</c:v>
                </c:pt>
                <c:pt idx="1697">
                  <c:v>165669590</c:v>
                </c:pt>
                <c:pt idx="1698">
                  <c:v>187458944</c:v>
                </c:pt>
                <c:pt idx="1699">
                  <c:v>379077539</c:v>
                </c:pt>
                <c:pt idx="1700">
                  <c:v>284961600</c:v>
                </c:pt>
                <c:pt idx="1701">
                  <c:v>173837600</c:v>
                </c:pt>
                <c:pt idx="1702">
                  <c:v>52844377</c:v>
                </c:pt>
                <c:pt idx="1703">
                  <c:v>85051764</c:v>
                </c:pt>
                <c:pt idx="1704">
                  <c:v>213160832</c:v>
                </c:pt>
                <c:pt idx="1705">
                  <c:v>2765847149</c:v>
                </c:pt>
                <c:pt idx="1706">
                  <c:v>250367796</c:v>
                </c:pt>
                <c:pt idx="1707">
                  <c:v>226678668</c:v>
                </c:pt>
                <c:pt idx="1708">
                  <c:v>94198384</c:v>
                </c:pt>
                <c:pt idx="1709">
                  <c:v>206201814</c:v>
                </c:pt>
                <c:pt idx="1710">
                  <c:v>148610576</c:v>
                </c:pt>
                <c:pt idx="1711">
                  <c:v>236543482</c:v>
                </c:pt>
                <c:pt idx="1712">
                  <c:v>816777423</c:v>
                </c:pt>
                <c:pt idx="1713">
                  <c:v>520667761</c:v>
                </c:pt>
                <c:pt idx="1714">
                  <c:v>1226605743</c:v>
                </c:pt>
                <c:pt idx="1715">
                  <c:v>80306226</c:v>
                </c:pt>
                <c:pt idx="1716">
                  <c:v>281767112</c:v>
                </c:pt>
                <c:pt idx="1717">
                  <c:v>321000372</c:v>
                </c:pt>
                <c:pt idx="1718">
                  <c:v>171649575</c:v>
                </c:pt>
                <c:pt idx="1719">
                  <c:v>127186013</c:v>
                </c:pt>
                <c:pt idx="1720">
                  <c:v>1101928660</c:v>
                </c:pt>
                <c:pt idx="1721">
                  <c:v>174236832</c:v>
                </c:pt>
                <c:pt idx="1722">
                  <c:v>251284160</c:v>
                </c:pt>
                <c:pt idx="1723">
                  <c:v>77780220</c:v>
                </c:pt>
                <c:pt idx="1724">
                  <c:v>349258640</c:v>
                </c:pt>
                <c:pt idx="1725">
                  <c:v>38625648</c:v>
                </c:pt>
                <c:pt idx="1726">
                  <c:v>175770595</c:v>
                </c:pt>
                <c:pt idx="1727">
                  <c:v>718714328</c:v>
                </c:pt>
                <c:pt idx="1728">
                  <c:v>460976000</c:v>
                </c:pt>
                <c:pt idx="1729">
                  <c:v>714075048</c:v>
                </c:pt>
                <c:pt idx="1730">
                  <c:v>94582908</c:v>
                </c:pt>
                <c:pt idx="1731">
                  <c:v>738456432</c:v>
                </c:pt>
                <c:pt idx="1732">
                  <c:v>198354164</c:v>
                </c:pt>
                <c:pt idx="1733">
                  <c:v>153308690</c:v>
                </c:pt>
                <c:pt idx="1734">
                  <c:v>110028676</c:v>
                </c:pt>
                <c:pt idx="1735">
                  <c:v>478835936</c:v>
                </c:pt>
                <c:pt idx="1736">
                  <c:v>756792113</c:v>
                </c:pt>
                <c:pt idx="1737">
                  <c:v>1527102372</c:v>
                </c:pt>
                <c:pt idx="1738">
                  <c:v>411257700</c:v>
                </c:pt>
                <c:pt idx="1739">
                  <c:v>267500688</c:v>
                </c:pt>
                <c:pt idx="1740">
                  <c:v>640547493</c:v>
                </c:pt>
                <c:pt idx="1741">
                  <c:v>699109164</c:v>
                </c:pt>
                <c:pt idx="1742">
                  <c:v>827259246</c:v>
                </c:pt>
                <c:pt idx="1743">
                  <c:v>1040297210</c:v>
                </c:pt>
                <c:pt idx="1744">
                  <c:v>2147483647</c:v>
                </c:pt>
                <c:pt idx="1745">
                  <c:v>3143948799</c:v>
                </c:pt>
                <c:pt idx="1746">
                  <c:v>1103331888</c:v>
                </c:pt>
                <c:pt idx="1747">
                  <c:v>190713635</c:v>
                </c:pt>
                <c:pt idx="1748">
                  <c:v>406695350</c:v>
                </c:pt>
                <c:pt idx="1749">
                  <c:v>1809380412</c:v>
                </c:pt>
                <c:pt idx="1750">
                  <c:v>727417152</c:v>
                </c:pt>
                <c:pt idx="1751">
                  <c:v>592295080</c:v>
                </c:pt>
                <c:pt idx="1752">
                  <c:v>191324832</c:v>
                </c:pt>
                <c:pt idx="1753">
                  <c:v>413444160</c:v>
                </c:pt>
                <c:pt idx="1754">
                  <c:v>147448294</c:v>
                </c:pt>
                <c:pt idx="1755">
                  <c:v>186903735</c:v>
                </c:pt>
                <c:pt idx="1756">
                  <c:v>1058705080</c:v>
                </c:pt>
                <c:pt idx="1757">
                  <c:v>671425658</c:v>
                </c:pt>
                <c:pt idx="1758">
                  <c:v>753975000</c:v>
                </c:pt>
                <c:pt idx="1759">
                  <c:v>2147483647</c:v>
                </c:pt>
                <c:pt idx="1760">
                  <c:v>180404088</c:v>
                </c:pt>
                <c:pt idx="1761">
                  <c:v>94070919</c:v>
                </c:pt>
                <c:pt idx="1762">
                  <c:v>2010767255</c:v>
                </c:pt>
                <c:pt idx="1763">
                  <c:v>1537350192</c:v>
                </c:pt>
                <c:pt idx="1764">
                  <c:v>398615230</c:v>
                </c:pt>
                <c:pt idx="1765">
                  <c:v>50299942</c:v>
                </c:pt>
                <c:pt idx="1766">
                  <c:v>368461638</c:v>
                </c:pt>
                <c:pt idx="1767">
                  <c:v>28016955</c:v>
                </c:pt>
                <c:pt idx="1768">
                  <c:v>373850380</c:v>
                </c:pt>
                <c:pt idx="1769">
                  <c:v>287009996</c:v>
                </c:pt>
                <c:pt idx="1770">
                  <c:v>2030100224</c:v>
                </c:pt>
                <c:pt idx="1771">
                  <c:v>507009205</c:v>
                </c:pt>
                <c:pt idx="1772">
                  <c:v>1106719537</c:v>
                </c:pt>
                <c:pt idx="1773">
                  <c:v>2033358600</c:v>
                </c:pt>
                <c:pt idx="1774">
                  <c:v>3141972800</c:v>
                </c:pt>
                <c:pt idx="1775">
                  <c:v>4061486647</c:v>
                </c:pt>
                <c:pt idx="1776">
                  <c:v>1557289342</c:v>
                </c:pt>
                <c:pt idx="1777">
                  <c:v>550314000</c:v>
                </c:pt>
                <c:pt idx="1778">
                  <c:v>1446741400</c:v>
                </c:pt>
                <c:pt idx="1779">
                  <c:v>421480640</c:v>
                </c:pt>
                <c:pt idx="1780">
                  <c:v>572415784</c:v>
                </c:pt>
                <c:pt idx="1781">
                  <c:v>1651233494</c:v>
                </c:pt>
                <c:pt idx="1782">
                  <c:v>564203208</c:v>
                </c:pt>
                <c:pt idx="1783">
                  <c:v>298763768</c:v>
                </c:pt>
                <c:pt idx="1784">
                  <c:v>1479466725</c:v>
                </c:pt>
                <c:pt idx="1785">
                  <c:v>1044487155</c:v>
                </c:pt>
                <c:pt idx="1786">
                  <c:v>124584549</c:v>
                </c:pt>
                <c:pt idx="1787">
                  <c:v>1569996580</c:v>
                </c:pt>
                <c:pt idx="1788">
                  <c:v>1644201275</c:v>
                </c:pt>
                <c:pt idx="1789">
                  <c:v>612314845</c:v>
                </c:pt>
                <c:pt idx="1790">
                  <c:v>767045136</c:v>
                </c:pt>
                <c:pt idx="1791">
                  <c:v>1504994322</c:v>
                </c:pt>
                <c:pt idx="1792">
                  <c:v>280211544</c:v>
                </c:pt>
                <c:pt idx="1793">
                  <c:v>1378799748</c:v>
                </c:pt>
                <c:pt idx="1794">
                  <c:v>1446383232</c:v>
                </c:pt>
                <c:pt idx="1795">
                  <c:v>126338752</c:v>
                </c:pt>
                <c:pt idx="1796">
                  <c:v>50790600</c:v>
                </c:pt>
                <c:pt idx="1797">
                  <c:v>2826962176</c:v>
                </c:pt>
                <c:pt idx="1798">
                  <c:v>1777881465</c:v>
                </c:pt>
                <c:pt idx="1799">
                  <c:v>458647046</c:v>
                </c:pt>
                <c:pt idx="1800">
                  <c:v>771791624</c:v>
                </c:pt>
                <c:pt idx="1801">
                  <c:v>1342123900</c:v>
                </c:pt>
                <c:pt idx="1802">
                  <c:v>368227106</c:v>
                </c:pt>
                <c:pt idx="1803">
                  <c:v>211708368</c:v>
                </c:pt>
                <c:pt idx="1804">
                  <c:v>1127684028</c:v>
                </c:pt>
                <c:pt idx="1805">
                  <c:v>1671885350</c:v>
                </c:pt>
                <c:pt idx="1806">
                  <c:v>710215840</c:v>
                </c:pt>
                <c:pt idx="1807">
                  <c:v>930257046</c:v>
                </c:pt>
                <c:pt idx="1808">
                  <c:v>219114720</c:v>
                </c:pt>
                <c:pt idx="1809">
                  <c:v>745440113</c:v>
                </c:pt>
                <c:pt idx="1810">
                  <c:v>267884396</c:v>
                </c:pt>
                <c:pt idx="1811">
                  <c:v>272664778</c:v>
                </c:pt>
                <c:pt idx="1812">
                  <c:v>157662608</c:v>
                </c:pt>
                <c:pt idx="1813">
                  <c:v>635213282</c:v>
                </c:pt>
                <c:pt idx="1814">
                  <c:v>257951475</c:v>
                </c:pt>
                <c:pt idx="1815">
                  <c:v>189642090</c:v>
                </c:pt>
                <c:pt idx="1816">
                  <c:v>1502623629</c:v>
                </c:pt>
                <c:pt idx="1817">
                  <c:v>788204656</c:v>
                </c:pt>
                <c:pt idx="1818">
                  <c:v>2634647194</c:v>
                </c:pt>
                <c:pt idx="1819">
                  <c:v>497842218</c:v>
                </c:pt>
                <c:pt idx="1820">
                  <c:v>566973814</c:v>
                </c:pt>
                <c:pt idx="1821">
                  <c:v>128273920</c:v>
                </c:pt>
                <c:pt idx="1822">
                  <c:v>1236998415</c:v>
                </c:pt>
                <c:pt idx="1823">
                  <c:v>1054266382</c:v>
                </c:pt>
                <c:pt idx="1824">
                  <c:v>3461804484</c:v>
                </c:pt>
                <c:pt idx="1825">
                  <c:v>1808405494</c:v>
                </c:pt>
                <c:pt idx="1826">
                  <c:v>637375032</c:v>
                </c:pt>
                <c:pt idx="1827">
                  <c:v>468631345</c:v>
                </c:pt>
                <c:pt idx="1828">
                  <c:v>1387591168</c:v>
                </c:pt>
                <c:pt idx="1829">
                  <c:v>430027104</c:v>
                </c:pt>
                <c:pt idx="1830">
                  <c:v>300981450</c:v>
                </c:pt>
                <c:pt idx="1831">
                  <c:v>372085714</c:v>
                </c:pt>
                <c:pt idx="1832">
                  <c:v>557984700</c:v>
                </c:pt>
                <c:pt idx="1833">
                  <c:v>728076720</c:v>
                </c:pt>
                <c:pt idx="1834">
                  <c:v>343065744</c:v>
                </c:pt>
                <c:pt idx="1835">
                  <c:v>269555860</c:v>
                </c:pt>
                <c:pt idx="1836">
                  <c:v>327310300</c:v>
                </c:pt>
                <c:pt idx="1837">
                  <c:v>222727680</c:v>
                </c:pt>
                <c:pt idx="1838">
                  <c:v>868854112</c:v>
                </c:pt>
                <c:pt idx="1839">
                  <c:v>529351900</c:v>
                </c:pt>
                <c:pt idx="1840">
                  <c:v>365118528</c:v>
                </c:pt>
                <c:pt idx="1841">
                  <c:v>442702300</c:v>
                </c:pt>
                <c:pt idx="1842">
                  <c:v>105337344</c:v>
                </c:pt>
                <c:pt idx="1843">
                  <c:v>2426330610</c:v>
                </c:pt>
                <c:pt idx="1844">
                  <c:v>2147483647</c:v>
                </c:pt>
                <c:pt idx="1845">
                  <c:v>457574700</c:v>
                </c:pt>
                <c:pt idx="1846">
                  <c:v>850755258</c:v>
                </c:pt>
                <c:pt idx="1847">
                  <c:v>958376708</c:v>
                </c:pt>
                <c:pt idx="1848">
                  <c:v>962401552</c:v>
                </c:pt>
                <c:pt idx="1849">
                  <c:v>271664776</c:v>
                </c:pt>
                <c:pt idx="1850">
                  <c:v>1580992512</c:v>
                </c:pt>
                <c:pt idx="1851">
                  <c:v>971359185</c:v>
                </c:pt>
                <c:pt idx="1852">
                  <c:v>635082480</c:v>
                </c:pt>
                <c:pt idx="1853">
                  <c:v>546081338</c:v>
                </c:pt>
                <c:pt idx="1854">
                  <c:v>1361587608</c:v>
                </c:pt>
                <c:pt idx="1855">
                  <c:v>920213760</c:v>
                </c:pt>
                <c:pt idx="1856">
                  <c:v>2147483647</c:v>
                </c:pt>
                <c:pt idx="1857">
                  <c:v>137874640</c:v>
                </c:pt>
                <c:pt idx="1858">
                  <c:v>662528352</c:v>
                </c:pt>
                <c:pt idx="1859">
                  <c:v>537576406</c:v>
                </c:pt>
                <c:pt idx="1860">
                  <c:v>336542951</c:v>
                </c:pt>
                <c:pt idx="1861">
                  <c:v>1880569779</c:v>
                </c:pt>
                <c:pt idx="1862">
                  <c:v>218734728</c:v>
                </c:pt>
                <c:pt idx="1863">
                  <c:v>215471200</c:v>
                </c:pt>
                <c:pt idx="1864">
                  <c:v>234604812</c:v>
                </c:pt>
                <c:pt idx="1865">
                  <c:v>1718356024</c:v>
                </c:pt>
                <c:pt idx="1866">
                  <c:v>3259762029</c:v>
                </c:pt>
                <c:pt idx="1867">
                  <c:v>590942592</c:v>
                </c:pt>
                <c:pt idx="1868">
                  <c:v>1027777035</c:v>
                </c:pt>
                <c:pt idx="1869">
                  <c:v>3467163785</c:v>
                </c:pt>
                <c:pt idx="1870">
                  <c:v>791453728</c:v>
                </c:pt>
                <c:pt idx="1871">
                  <c:v>520379046</c:v>
                </c:pt>
                <c:pt idx="1872">
                  <c:v>2902273604</c:v>
                </c:pt>
                <c:pt idx="1873">
                  <c:v>874718181</c:v>
                </c:pt>
                <c:pt idx="1874">
                  <c:v>2147483647</c:v>
                </c:pt>
                <c:pt idx="1875">
                  <c:v>450698560</c:v>
                </c:pt>
                <c:pt idx="1876">
                  <c:v>1300468813</c:v>
                </c:pt>
                <c:pt idx="1877">
                  <c:v>1659905075</c:v>
                </c:pt>
                <c:pt idx="1878">
                  <c:v>319808738</c:v>
                </c:pt>
                <c:pt idx="1879">
                  <c:v>1844605672</c:v>
                </c:pt>
                <c:pt idx="1880">
                  <c:v>1328977254</c:v>
                </c:pt>
                <c:pt idx="1881">
                  <c:v>371139256</c:v>
                </c:pt>
                <c:pt idx="1882">
                  <c:v>705801273</c:v>
                </c:pt>
                <c:pt idx="1883">
                  <c:v>765999290</c:v>
                </c:pt>
                <c:pt idx="1884">
                  <c:v>437837862</c:v>
                </c:pt>
                <c:pt idx="1885">
                  <c:v>587051535</c:v>
                </c:pt>
                <c:pt idx="1886">
                  <c:v>1124132126</c:v>
                </c:pt>
                <c:pt idx="1887">
                  <c:v>2147483647</c:v>
                </c:pt>
                <c:pt idx="1888">
                  <c:v>864629784</c:v>
                </c:pt>
                <c:pt idx="1889">
                  <c:v>1711261740</c:v>
                </c:pt>
                <c:pt idx="1890">
                  <c:v>319498476</c:v>
                </c:pt>
                <c:pt idx="1891">
                  <c:v>286154403</c:v>
                </c:pt>
                <c:pt idx="1892">
                  <c:v>2028953448</c:v>
                </c:pt>
                <c:pt idx="1893">
                  <c:v>1048200974</c:v>
                </c:pt>
                <c:pt idx="1894">
                  <c:v>584962896</c:v>
                </c:pt>
                <c:pt idx="1895">
                  <c:v>1230085395</c:v>
                </c:pt>
                <c:pt idx="1896">
                  <c:v>612563835</c:v>
                </c:pt>
                <c:pt idx="1897">
                  <c:v>23417124</c:v>
                </c:pt>
                <c:pt idx="1898">
                  <c:v>440058582</c:v>
                </c:pt>
                <c:pt idx="1899">
                  <c:v>341063010</c:v>
                </c:pt>
                <c:pt idx="1900">
                  <c:v>2147483647</c:v>
                </c:pt>
                <c:pt idx="1901">
                  <c:v>1820079160</c:v>
                </c:pt>
                <c:pt idx="1902">
                  <c:v>935984900</c:v>
                </c:pt>
                <c:pt idx="1903">
                  <c:v>2736670494</c:v>
                </c:pt>
                <c:pt idx="1904">
                  <c:v>236778689</c:v>
                </c:pt>
                <c:pt idx="1905">
                  <c:v>1205603446</c:v>
                </c:pt>
                <c:pt idx="1906">
                  <c:v>887350070</c:v>
                </c:pt>
                <c:pt idx="1907">
                  <c:v>1683171112</c:v>
                </c:pt>
                <c:pt idx="1908">
                  <c:v>588469716</c:v>
                </c:pt>
                <c:pt idx="1909">
                  <c:v>90877304</c:v>
                </c:pt>
                <c:pt idx="1910">
                  <c:v>211210160</c:v>
                </c:pt>
                <c:pt idx="1911">
                  <c:v>697600896</c:v>
                </c:pt>
                <c:pt idx="1912">
                  <c:v>573245169</c:v>
                </c:pt>
                <c:pt idx="1913">
                  <c:v>479603960</c:v>
                </c:pt>
                <c:pt idx="1914">
                  <c:v>1794504528</c:v>
                </c:pt>
                <c:pt idx="1915">
                  <c:v>1360578450</c:v>
                </c:pt>
                <c:pt idx="1916">
                  <c:v>465822956</c:v>
                </c:pt>
                <c:pt idx="1917">
                  <c:v>449551475</c:v>
                </c:pt>
                <c:pt idx="1918">
                  <c:v>755202661</c:v>
                </c:pt>
                <c:pt idx="1919">
                  <c:v>712728978</c:v>
                </c:pt>
                <c:pt idx="1920">
                  <c:v>150533696</c:v>
                </c:pt>
                <c:pt idx="1921">
                  <c:v>333402396</c:v>
                </c:pt>
                <c:pt idx="1922">
                  <c:v>65355642</c:v>
                </c:pt>
                <c:pt idx="1923">
                  <c:v>1002528488</c:v>
                </c:pt>
                <c:pt idx="1924">
                  <c:v>366110976</c:v>
                </c:pt>
                <c:pt idx="1925">
                  <c:v>721948540</c:v>
                </c:pt>
                <c:pt idx="1926">
                  <c:v>1151412996</c:v>
                </c:pt>
                <c:pt idx="1927">
                  <c:v>295744815</c:v>
                </c:pt>
                <c:pt idx="1928">
                  <c:v>861927381</c:v>
                </c:pt>
                <c:pt idx="1929">
                  <c:v>732879387</c:v>
                </c:pt>
                <c:pt idx="1930">
                  <c:v>1692275310</c:v>
                </c:pt>
                <c:pt idx="1931">
                  <c:v>209896059</c:v>
                </c:pt>
                <c:pt idx="1932">
                  <c:v>392016317</c:v>
                </c:pt>
                <c:pt idx="1933">
                  <c:v>246131022</c:v>
                </c:pt>
                <c:pt idx="1934">
                  <c:v>449846400</c:v>
                </c:pt>
                <c:pt idx="1935">
                  <c:v>315574188</c:v>
                </c:pt>
                <c:pt idx="1936">
                  <c:v>237409176</c:v>
                </c:pt>
                <c:pt idx="1937">
                  <c:v>2147483647</c:v>
                </c:pt>
                <c:pt idx="1938">
                  <c:v>977658195</c:v>
                </c:pt>
                <c:pt idx="1939">
                  <c:v>565298830</c:v>
                </c:pt>
                <c:pt idx="1940">
                  <c:v>1616191808</c:v>
                </c:pt>
                <c:pt idx="1941">
                  <c:v>499215248</c:v>
                </c:pt>
                <c:pt idx="1942">
                  <c:v>2147483647</c:v>
                </c:pt>
                <c:pt idx="1943">
                  <c:v>4061511945</c:v>
                </c:pt>
                <c:pt idx="1944">
                  <c:v>1359978592</c:v>
                </c:pt>
                <c:pt idx="1945">
                  <c:v>699966000</c:v>
                </c:pt>
                <c:pt idx="1946">
                  <c:v>1517121648</c:v>
                </c:pt>
                <c:pt idx="1947">
                  <c:v>554644686</c:v>
                </c:pt>
                <c:pt idx="1948">
                  <c:v>1961346357</c:v>
                </c:pt>
                <c:pt idx="1949">
                  <c:v>681748878</c:v>
                </c:pt>
                <c:pt idx="1950">
                  <c:v>378150265</c:v>
                </c:pt>
                <c:pt idx="1951">
                  <c:v>1451346300</c:v>
                </c:pt>
                <c:pt idx="1952">
                  <c:v>374572062</c:v>
                </c:pt>
                <c:pt idx="1953">
                  <c:v>704736927</c:v>
                </c:pt>
                <c:pt idx="1954">
                  <c:v>337602315</c:v>
                </c:pt>
                <c:pt idx="1955">
                  <c:v>413610092</c:v>
                </c:pt>
                <c:pt idx="1956">
                  <c:v>160775172</c:v>
                </c:pt>
                <c:pt idx="1957">
                  <c:v>1865652892</c:v>
                </c:pt>
                <c:pt idx="1958">
                  <c:v>455061705</c:v>
                </c:pt>
                <c:pt idx="1959">
                  <c:v>527807245</c:v>
                </c:pt>
                <c:pt idx="1960">
                  <c:v>1201165701</c:v>
                </c:pt>
                <c:pt idx="1961">
                  <c:v>1412571548</c:v>
                </c:pt>
                <c:pt idx="1962">
                  <c:v>741242358</c:v>
                </c:pt>
                <c:pt idx="1963">
                  <c:v>1300691840</c:v>
                </c:pt>
                <c:pt idx="1964">
                  <c:v>415219080</c:v>
                </c:pt>
                <c:pt idx="1965">
                  <c:v>297078670</c:v>
                </c:pt>
                <c:pt idx="1966">
                  <c:v>2010058176</c:v>
                </c:pt>
                <c:pt idx="1967">
                  <c:v>669448164</c:v>
                </c:pt>
                <c:pt idx="1968">
                  <c:v>4598523853</c:v>
                </c:pt>
                <c:pt idx="1969">
                  <c:v>2147483647</c:v>
                </c:pt>
                <c:pt idx="1970">
                  <c:v>628620102</c:v>
                </c:pt>
                <c:pt idx="1971">
                  <c:v>272617155</c:v>
                </c:pt>
                <c:pt idx="1972">
                  <c:v>268372320</c:v>
                </c:pt>
                <c:pt idx="1973">
                  <c:v>624279852</c:v>
                </c:pt>
                <c:pt idx="1974">
                  <c:v>812917024</c:v>
                </c:pt>
                <c:pt idx="1975">
                  <c:v>381975500</c:v>
                </c:pt>
                <c:pt idx="1976">
                  <c:v>74504224</c:v>
                </c:pt>
                <c:pt idx="1977">
                  <c:v>891476271</c:v>
                </c:pt>
                <c:pt idx="1978">
                  <c:v>388552534</c:v>
                </c:pt>
                <c:pt idx="1979">
                  <c:v>294828738</c:v>
                </c:pt>
                <c:pt idx="1980">
                  <c:v>792874616</c:v>
                </c:pt>
                <c:pt idx="1981">
                  <c:v>491465226</c:v>
                </c:pt>
                <c:pt idx="1982">
                  <c:v>412063488</c:v>
                </c:pt>
                <c:pt idx="1983">
                  <c:v>465687242</c:v>
                </c:pt>
                <c:pt idx="1984">
                  <c:v>3174570087</c:v>
                </c:pt>
                <c:pt idx="1985">
                  <c:v>472083808</c:v>
                </c:pt>
                <c:pt idx="1986">
                  <c:v>71779040</c:v>
                </c:pt>
                <c:pt idx="1987">
                  <c:v>1253883484</c:v>
                </c:pt>
                <c:pt idx="1988">
                  <c:v>1290438387</c:v>
                </c:pt>
                <c:pt idx="1989">
                  <c:v>447102558</c:v>
                </c:pt>
                <c:pt idx="1990">
                  <c:v>311190300</c:v>
                </c:pt>
                <c:pt idx="1991">
                  <c:v>1619561664</c:v>
                </c:pt>
                <c:pt idx="1992">
                  <c:v>124092010</c:v>
                </c:pt>
                <c:pt idx="1993">
                  <c:v>511015512</c:v>
                </c:pt>
                <c:pt idx="1994">
                  <c:v>956003761</c:v>
                </c:pt>
                <c:pt idx="1995">
                  <c:v>743536992</c:v>
                </c:pt>
                <c:pt idx="1996">
                  <c:v>1696035000</c:v>
                </c:pt>
                <c:pt idx="1997">
                  <c:v>185019918</c:v>
                </c:pt>
                <c:pt idx="1998">
                  <c:v>1543664361</c:v>
                </c:pt>
                <c:pt idx="1999">
                  <c:v>365565030</c:v>
                </c:pt>
                <c:pt idx="2000">
                  <c:v>332605697</c:v>
                </c:pt>
                <c:pt idx="2001">
                  <c:v>620186007</c:v>
                </c:pt>
                <c:pt idx="2002">
                  <c:v>448461717</c:v>
                </c:pt>
                <c:pt idx="2003">
                  <c:v>672469826</c:v>
                </c:pt>
                <c:pt idx="2004">
                  <c:v>650363663</c:v>
                </c:pt>
                <c:pt idx="2005">
                  <c:v>1559774865</c:v>
                </c:pt>
                <c:pt idx="2006">
                  <c:v>1162726854</c:v>
                </c:pt>
                <c:pt idx="2007">
                  <c:v>3120818782</c:v>
                </c:pt>
                <c:pt idx="2008">
                  <c:v>339961878</c:v>
                </c:pt>
                <c:pt idx="2009">
                  <c:v>425544336</c:v>
                </c:pt>
                <c:pt idx="2010">
                  <c:v>79231220</c:v>
                </c:pt>
                <c:pt idx="2011">
                  <c:v>2147483647</c:v>
                </c:pt>
                <c:pt idx="2012">
                  <c:v>647197716</c:v>
                </c:pt>
                <c:pt idx="2013">
                  <c:v>1107747803</c:v>
                </c:pt>
                <c:pt idx="2014">
                  <c:v>1713475152</c:v>
                </c:pt>
                <c:pt idx="2015">
                  <c:v>159293036</c:v>
                </c:pt>
                <c:pt idx="2016">
                  <c:v>244408247</c:v>
                </c:pt>
                <c:pt idx="2017">
                  <c:v>119105524</c:v>
                </c:pt>
                <c:pt idx="2018">
                  <c:v>333308832</c:v>
                </c:pt>
                <c:pt idx="2019">
                  <c:v>343666820</c:v>
                </c:pt>
                <c:pt idx="2020">
                  <c:v>185100240</c:v>
                </c:pt>
                <c:pt idx="2021">
                  <c:v>1089712272</c:v>
                </c:pt>
                <c:pt idx="2022">
                  <c:v>1578075135</c:v>
                </c:pt>
                <c:pt idx="2023">
                  <c:v>1105234796</c:v>
                </c:pt>
                <c:pt idx="2024">
                  <c:v>168571800</c:v>
                </c:pt>
                <c:pt idx="2025">
                  <c:v>49646240</c:v>
                </c:pt>
                <c:pt idx="2026">
                  <c:v>328933198</c:v>
                </c:pt>
                <c:pt idx="2027">
                  <c:v>1263194100</c:v>
                </c:pt>
                <c:pt idx="2028">
                  <c:v>1524136808</c:v>
                </c:pt>
                <c:pt idx="2029">
                  <c:v>1522345760</c:v>
                </c:pt>
                <c:pt idx="2030">
                  <c:v>384027854</c:v>
                </c:pt>
                <c:pt idx="2031">
                  <c:v>1246329357</c:v>
                </c:pt>
                <c:pt idx="2032">
                  <c:v>721036050</c:v>
                </c:pt>
                <c:pt idx="2033">
                  <c:v>1210083552</c:v>
                </c:pt>
                <c:pt idx="2034">
                  <c:v>759334875</c:v>
                </c:pt>
                <c:pt idx="2035">
                  <c:v>409747545</c:v>
                </c:pt>
                <c:pt idx="2036">
                  <c:v>604499084</c:v>
                </c:pt>
                <c:pt idx="2037">
                  <c:v>790172373</c:v>
                </c:pt>
                <c:pt idx="2038">
                  <c:v>291999015</c:v>
                </c:pt>
                <c:pt idx="2039">
                  <c:v>1290924152</c:v>
                </c:pt>
                <c:pt idx="2040">
                  <c:v>353101842</c:v>
                </c:pt>
                <c:pt idx="2041">
                  <c:v>2061501424</c:v>
                </c:pt>
                <c:pt idx="2042">
                  <c:v>932755382</c:v>
                </c:pt>
                <c:pt idx="2043">
                  <c:v>2045167344</c:v>
                </c:pt>
                <c:pt idx="2044">
                  <c:v>6063130009</c:v>
                </c:pt>
                <c:pt idx="2045">
                  <c:v>746305280</c:v>
                </c:pt>
                <c:pt idx="2046">
                  <c:v>1482424075</c:v>
                </c:pt>
                <c:pt idx="2047">
                  <c:v>997215840</c:v>
                </c:pt>
                <c:pt idx="2048">
                  <c:v>280223588</c:v>
                </c:pt>
                <c:pt idx="2049">
                  <c:v>502264218</c:v>
                </c:pt>
                <c:pt idx="2050">
                  <c:v>1014868860</c:v>
                </c:pt>
                <c:pt idx="2051">
                  <c:v>599604390</c:v>
                </c:pt>
                <c:pt idx="2052">
                  <c:v>323237409</c:v>
                </c:pt>
                <c:pt idx="2053">
                  <c:v>199132160</c:v>
                </c:pt>
                <c:pt idx="2054">
                  <c:v>604692572</c:v>
                </c:pt>
                <c:pt idx="2055">
                  <c:v>213785180</c:v>
                </c:pt>
                <c:pt idx="2056">
                  <c:v>1011255855</c:v>
                </c:pt>
                <c:pt idx="2057">
                  <c:v>183773952</c:v>
                </c:pt>
                <c:pt idx="2058">
                  <c:v>114830170</c:v>
                </c:pt>
                <c:pt idx="2059">
                  <c:v>2526987188</c:v>
                </c:pt>
                <c:pt idx="2060">
                  <c:v>1839187024</c:v>
                </c:pt>
                <c:pt idx="2061">
                  <c:v>294364350</c:v>
                </c:pt>
                <c:pt idx="2062">
                  <c:v>142613050</c:v>
                </c:pt>
                <c:pt idx="2063">
                  <c:v>1558286926</c:v>
                </c:pt>
                <c:pt idx="2064">
                  <c:v>442680576</c:v>
                </c:pt>
                <c:pt idx="2065">
                  <c:v>680688151</c:v>
                </c:pt>
                <c:pt idx="2066">
                  <c:v>46263308</c:v>
                </c:pt>
                <c:pt idx="2067">
                  <c:v>315107908</c:v>
                </c:pt>
                <c:pt idx="2068">
                  <c:v>448056894</c:v>
                </c:pt>
                <c:pt idx="2069">
                  <c:v>301629300</c:v>
                </c:pt>
                <c:pt idx="2070">
                  <c:v>2058817860</c:v>
                </c:pt>
                <c:pt idx="2071">
                  <c:v>151791030</c:v>
                </c:pt>
                <c:pt idx="2072">
                  <c:v>4266123148</c:v>
                </c:pt>
                <c:pt idx="2073">
                  <c:v>333739854</c:v>
                </c:pt>
                <c:pt idx="2074">
                  <c:v>103577770</c:v>
                </c:pt>
                <c:pt idx="2075">
                  <c:v>180193572</c:v>
                </c:pt>
                <c:pt idx="2076">
                  <c:v>2347011658</c:v>
                </c:pt>
                <c:pt idx="2077">
                  <c:v>152748656</c:v>
                </c:pt>
                <c:pt idx="2078">
                  <c:v>467678520</c:v>
                </c:pt>
                <c:pt idx="2079">
                  <c:v>296456348</c:v>
                </c:pt>
                <c:pt idx="2080">
                  <c:v>637308808</c:v>
                </c:pt>
                <c:pt idx="2081">
                  <c:v>1011073980</c:v>
                </c:pt>
                <c:pt idx="2082">
                  <c:v>652371589</c:v>
                </c:pt>
                <c:pt idx="2083">
                  <c:v>1044974730</c:v>
                </c:pt>
                <c:pt idx="2084">
                  <c:v>4243098239</c:v>
                </c:pt>
                <c:pt idx="2085">
                  <c:v>132847786</c:v>
                </c:pt>
                <c:pt idx="2086">
                  <c:v>329416004</c:v>
                </c:pt>
                <c:pt idx="2087">
                  <c:v>95796660</c:v>
                </c:pt>
                <c:pt idx="2088">
                  <c:v>149278915</c:v>
                </c:pt>
                <c:pt idx="2089">
                  <c:v>288344800</c:v>
                </c:pt>
                <c:pt idx="2090">
                  <c:v>568779133</c:v>
                </c:pt>
                <c:pt idx="2091">
                  <c:v>82476454</c:v>
                </c:pt>
                <c:pt idx="2092">
                  <c:v>360880000</c:v>
                </c:pt>
                <c:pt idx="2093">
                  <c:v>649602096</c:v>
                </c:pt>
                <c:pt idx="2094">
                  <c:v>371079930</c:v>
                </c:pt>
                <c:pt idx="2095">
                  <c:v>645168750</c:v>
                </c:pt>
                <c:pt idx="2096">
                  <c:v>207129000</c:v>
                </c:pt>
                <c:pt idx="2097">
                  <c:v>248074862</c:v>
                </c:pt>
                <c:pt idx="2098">
                  <c:v>2241829265</c:v>
                </c:pt>
                <c:pt idx="2099">
                  <c:v>167187900</c:v>
                </c:pt>
                <c:pt idx="2100">
                  <c:v>3524933789</c:v>
                </c:pt>
                <c:pt idx="2101">
                  <c:v>655049232</c:v>
                </c:pt>
                <c:pt idx="2102">
                  <c:v>662930472</c:v>
                </c:pt>
                <c:pt idx="2103">
                  <c:v>285488895</c:v>
                </c:pt>
                <c:pt idx="2104">
                  <c:v>514362827</c:v>
                </c:pt>
                <c:pt idx="2105">
                  <c:v>136700784</c:v>
                </c:pt>
                <c:pt idx="2106">
                  <c:v>281491182</c:v>
                </c:pt>
                <c:pt idx="2107">
                  <c:v>164201529</c:v>
                </c:pt>
                <c:pt idx="2108">
                  <c:v>1125995148</c:v>
                </c:pt>
                <c:pt idx="2109">
                  <c:v>2099649201</c:v>
                </c:pt>
                <c:pt idx="2110">
                  <c:v>1577614876</c:v>
                </c:pt>
                <c:pt idx="2111">
                  <c:v>151649250</c:v>
                </c:pt>
                <c:pt idx="2112">
                  <c:v>757091790</c:v>
                </c:pt>
                <c:pt idx="2113">
                  <c:v>893235519</c:v>
                </c:pt>
                <c:pt idx="2114">
                  <c:v>438170617</c:v>
                </c:pt>
                <c:pt idx="2115">
                  <c:v>325057506</c:v>
                </c:pt>
                <c:pt idx="2116">
                  <c:v>262207002</c:v>
                </c:pt>
                <c:pt idx="2117">
                  <c:v>90828522</c:v>
                </c:pt>
                <c:pt idx="2118">
                  <c:v>229185285</c:v>
                </c:pt>
                <c:pt idx="2119">
                  <c:v>1797273946</c:v>
                </c:pt>
                <c:pt idx="2120">
                  <c:v>831860757</c:v>
                </c:pt>
                <c:pt idx="2121">
                  <c:v>518795769</c:v>
                </c:pt>
                <c:pt idx="2122">
                  <c:v>78313438</c:v>
                </c:pt>
                <c:pt idx="2123">
                  <c:v>392139342</c:v>
                </c:pt>
                <c:pt idx="2124">
                  <c:v>453902901</c:v>
                </c:pt>
                <c:pt idx="2125">
                  <c:v>116460960</c:v>
                </c:pt>
                <c:pt idx="2126">
                  <c:v>4430902323</c:v>
                </c:pt>
                <c:pt idx="2127">
                  <c:v>1731195294</c:v>
                </c:pt>
                <c:pt idx="2128">
                  <c:v>965736195</c:v>
                </c:pt>
                <c:pt idx="2129">
                  <c:v>816312500</c:v>
                </c:pt>
                <c:pt idx="2130">
                  <c:v>2408680881</c:v>
                </c:pt>
                <c:pt idx="2131">
                  <c:v>917648949</c:v>
                </c:pt>
                <c:pt idx="2132">
                  <c:v>454249929</c:v>
                </c:pt>
                <c:pt idx="2133">
                  <c:v>349438936</c:v>
                </c:pt>
                <c:pt idx="2134">
                  <c:v>1125890145</c:v>
                </c:pt>
                <c:pt idx="2135">
                  <c:v>496573657</c:v>
                </c:pt>
                <c:pt idx="2136">
                  <c:v>504707805</c:v>
                </c:pt>
                <c:pt idx="2137">
                  <c:v>304470986</c:v>
                </c:pt>
                <c:pt idx="2138">
                  <c:v>274372473</c:v>
                </c:pt>
                <c:pt idx="2139">
                  <c:v>252140670</c:v>
                </c:pt>
                <c:pt idx="2140">
                  <c:v>773657193</c:v>
                </c:pt>
                <c:pt idx="2141">
                  <c:v>623975517</c:v>
                </c:pt>
                <c:pt idx="2142">
                  <c:v>11185828</c:v>
                </c:pt>
                <c:pt idx="2143">
                  <c:v>295956628</c:v>
                </c:pt>
                <c:pt idx="2144">
                  <c:v>436952505</c:v>
                </c:pt>
                <c:pt idx="2145">
                  <c:v>2147483647</c:v>
                </c:pt>
                <c:pt idx="2146">
                  <c:v>937547436</c:v>
                </c:pt>
                <c:pt idx="2147">
                  <c:v>12462024406</c:v>
                </c:pt>
                <c:pt idx="2148">
                  <c:v>1069726770</c:v>
                </c:pt>
                <c:pt idx="2149">
                  <c:v>216524305</c:v>
                </c:pt>
                <c:pt idx="2150">
                  <c:v>369057078</c:v>
                </c:pt>
                <c:pt idx="2151">
                  <c:v>265205147</c:v>
                </c:pt>
                <c:pt idx="2152">
                  <c:v>489324030</c:v>
                </c:pt>
                <c:pt idx="2153">
                  <c:v>631446731</c:v>
                </c:pt>
                <c:pt idx="2154">
                  <c:v>3136460324</c:v>
                </c:pt>
                <c:pt idx="2155">
                  <c:v>351191680</c:v>
                </c:pt>
                <c:pt idx="2156">
                  <c:v>248095309</c:v>
                </c:pt>
                <c:pt idx="2157">
                  <c:v>1014808790</c:v>
                </c:pt>
                <c:pt idx="2158">
                  <c:v>153181545</c:v>
                </c:pt>
                <c:pt idx="2159">
                  <c:v>120801197</c:v>
                </c:pt>
                <c:pt idx="2160">
                  <c:v>270907572</c:v>
                </c:pt>
                <c:pt idx="2161">
                  <c:v>575684940</c:v>
                </c:pt>
                <c:pt idx="2162">
                  <c:v>588909444</c:v>
                </c:pt>
                <c:pt idx="2163">
                  <c:v>405713655</c:v>
                </c:pt>
                <c:pt idx="2164">
                  <c:v>207910782</c:v>
                </c:pt>
                <c:pt idx="2165">
                  <c:v>706809847</c:v>
                </c:pt>
                <c:pt idx="2166">
                  <c:v>395070325</c:v>
                </c:pt>
                <c:pt idx="2167">
                  <c:v>367051986</c:v>
                </c:pt>
                <c:pt idx="2168">
                  <c:v>3294603298</c:v>
                </c:pt>
                <c:pt idx="2169">
                  <c:v>825897848</c:v>
                </c:pt>
                <c:pt idx="2170">
                  <c:v>804130250</c:v>
                </c:pt>
                <c:pt idx="2171">
                  <c:v>198689715</c:v>
                </c:pt>
                <c:pt idx="2172">
                  <c:v>212869973</c:v>
                </c:pt>
                <c:pt idx="2173">
                  <c:v>1802848410</c:v>
                </c:pt>
                <c:pt idx="2174">
                  <c:v>146699399</c:v>
                </c:pt>
                <c:pt idx="2175">
                  <c:v>1505444645</c:v>
                </c:pt>
                <c:pt idx="2176">
                  <c:v>277190096</c:v>
                </c:pt>
                <c:pt idx="2177">
                  <c:v>149060493</c:v>
                </c:pt>
                <c:pt idx="2178">
                  <c:v>461420883</c:v>
                </c:pt>
                <c:pt idx="2179">
                  <c:v>440178700</c:v>
                </c:pt>
                <c:pt idx="2180">
                  <c:v>160136496</c:v>
                </c:pt>
                <c:pt idx="2181">
                  <c:v>216802528</c:v>
                </c:pt>
                <c:pt idx="2182">
                  <c:v>350032384</c:v>
                </c:pt>
                <c:pt idx="2183">
                  <c:v>157379670</c:v>
                </c:pt>
                <c:pt idx="2184">
                  <c:v>2794208110</c:v>
                </c:pt>
                <c:pt idx="2185">
                  <c:v>960988750</c:v>
                </c:pt>
                <c:pt idx="2186">
                  <c:v>155912692</c:v>
                </c:pt>
                <c:pt idx="2187">
                  <c:v>5142901653</c:v>
                </c:pt>
                <c:pt idx="2188">
                  <c:v>202307525</c:v>
                </c:pt>
                <c:pt idx="2189">
                  <c:v>168894044</c:v>
                </c:pt>
                <c:pt idx="2190">
                  <c:v>231436764</c:v>
                </c:pt>
                <c:pt idx="2191">
                  <c:v>161016945</c:v>
                </c:pt>
                <c:pt idx="2192">
                  <c:v>203215122</c:v>
                </c:pt>
                <c:pt idx="2193">
                  <c:v>170559904</c:v>
                </c:pt>
                <c:pt idx="2194">
                  <c:v>1125201200</c:v>
                </c:pt>
                <c:pt idx="2195">
                  <c:v>117089200</c:v>
                </c:pt>
                <c:pt idx="2196">
                  <c:v>422690301</c:v>
                </c:pt>
                <c:pt idx="2197">
                  <c:v>4387538755</c:v>
                </c:pt>
                <c:pt idx="2198">
                  <c:v>936630080</c:v>
                </c:pt>
                <c:pt idx="2199">
                  <c:v>203718852</c:v>
                </c:pt>
                <c:pt idx="2200">
                  <c:v>942732404</c:v>
                </c:pt>
                <c:pt idx="2201">
                  <c:v>606773259</c:v>
                </c:pt>
                <c:pt idx="2202">
                  <c:v>3800660774</c:v>
                </c:pt>
                <c:pt idx="2203">
                  <c:v>651459600</c:v>
                </c:pt>
                <c:pt idx="2204">
                  <c:v>566049792</c:v>
                </c:pt>
                <c:pt idx="2205">
                  <c:v>31415008</c:v>
                </c:pt>
                <c:pt idx="2206">
                  <c:v>20401346</c:v>
                </c:pt>
                <c:pt idx="2207">
                  <c:v>3509498607</c:v>
                </c:pt>
                <c:pt idx="2208">
                  <c:v>1009205236</c:v>
                </c:pt>
                <c:pt idx="2209">
                  <c:v>174008124</c:v>
                </c:pt>
                <c:pt idx="2210">
                  <c:v>413487942</c:v>
                </c:pt>
                <c:pt idx="2211">
                  <c:v>234143250</c:v>
                </c:pt>
                <c:pt idx="2212">
                  <c:v>124826492</c:v>
                </c:pt>
                <c:pt idx="2213">
                  <c:v>981416814</c:v>
                </c:pt>
                <c:pt idx="2214">
                  <c:v>564244434</c:v>
                </c:pt>
                <c:pt idx="2215">
                  <c:v>333822012</c:v>
                </c:pt>
                <c:pt idx="2216">
                  <c:v>721462812</c:v>
                </c:pt>
                <c:pt idx="2217">
                  <c:v>246055320</c:v>
                </c:pt>
                <c:pt idx="2218">
                  <c:v>357370720</c:v>
                </c:pt>
                <c:pt idx="2219">
                  <c:v>1330117676</c:v>
                </c:pt>
                <c:pt idx="2220">
                  <c:v>481977960</c:v>
                </c:pt>
                <c:pt idx="2221">
                  <c:v>1108516929</c:v>
                </c:pt>
                <c:pt idx="2222">
                  <c:v>90286586</c:v>
                </c:pt>
                <c:pt idx="2223">
                  <c:v>1727728798</c:v>
                </c:pt>
                <c:pt idx="2224">
                  <c:v>215051298</c:v>
                </c:pt>
                <c:pt idx="2225">
                  <c:v>417093154</c:v>
                </c:pt>
                <c:pt idx="2226">
                  <c:v>447827124</c:v>
                </c:pt>
                <c:pt idx="2227">
                  <c:v>1076477280</c:v>
                </c:pt>
                <c:pt idx="2228">
                  <c:v>3386489142</c:v>
                </c:pt>
                <c:pt idx="2229">
                  <c:v>243601067</c:v>
                </c:pt>
                <c:pt idx="2230">
                  <c:v>2153221344</c:v>
                </c:pt>
                <c:pt idx="2231">
                  <c:v>189610569</c:v>
                </c:pt>
                <c:pt idx="2232">
                  <c:v>227791395</c:v>
                </c:pt>
                <c:pt idx="2233">
                  <c:v>346730987</c:v>
                </c:pt>
                <c:pt idx="2234">
                  <c:v>349751872</c:v>
                </c:pt>
                <c:pt idx="2235">
                  <c:v>106428985</c:v>
                </c:pt>
                <c:pt idx="2236">
                  <c:v>1127882002</c:v>
                </c:pt>
                <c:pt idx="2237">
                  <c:v>3264502280</c:v>
                </c:pt>
                <c:pt idx="2238">
                  <c:v>3282207454</c:v>
                </c:pt>
                <c:pt idx="2239">
                  <c:v>915517706</c:v>
                </c:pt>
                <c:pt idx="2240">
                  <c:v>1210597168</c:v>
                </c:pt>
                <c:pt idx="2241">
                  <c:v>543246913</c:v>
                </c:pt>
                <c:pt idx="2242">
                  <c:v>129105390</c:v>
                </c:pt>
                <c:pt idx="2243">
                  <c:v>298369858</c:v>
                </c:pt>
                <c:pt idx="2244">
                  <c:v>147504704</c:v>
                </c:pt>
                <c:pt idx="2245">
                  <c:v>785685825</c:v>
                </c:pt>
                <c:pt idx="2246">
                  <c:v>1100289177</c:v>
                </c:pt>
                <c:pt idx="2247">
                  <c:v>393147405</c:v>
                </c:pt>
                <c:pt idx="2248">
                  <c:v>205075992</c:v>
                </c:pt>
                <c:pt idx="2249">
                  <c:v>721427190</c:v>
                </c:pt>
                <c:pt idx="2250">
                  <c:v>898626339</c:v>
                </c:pt>
                <c:pt idx="2251">
                  <c:v>190297136</c:v>
                </c:pt>
                <c:pt idx="2252">
                  <c:v>513392796</c:v>
                </c:pt>
                <c:pt idx="2253">
                  <c:v>2147483647</c:v>
                </c:pt>
                <c:pt idx="2254">
                  <c:v>974356655</c:v>
                </c:pt>
                <c:pt idx="2255">
                  <c:v>1040951786</c:v>
                </c:pt>
                <c:pt idx="2256">
                  <c:v>1908757221</c:v>
                </c:pt>
                <c:pt idx="2257">
                  <c:v>130004245</c:v>
                </c:pt>
                <c:pt idx="2258">
                  <c:v>122473050</c:v>
                </c:pt>
                <c:pt idx="2259">
                  <c:v>166597298</c:v>
                </c:pt>
                <c:pt idx="2260">
                  <c:v>97580439</c:v>
                </c:pt>
                <c:pt idx="2261">
                  <c:v>1022783892</c:v>
                </c:pt>
                <c:pt idx="2262">
                  <c:v>179614248</c:v>
                </c:pt>
                <c:pt idx="2263">
                  <c:v>350277100</c:v>
                </c:pt>
                <c:pt idx="2264">
                  <c:v>114023600</c:v>
                </c:pt>
                <c:pt idx="2265">
                  <c:v>553428260</c:v>
                </c:pt>
                <c:pt idx="2266">
                  <c:v>5548177846</c:v>
                </c:pt>
                <c:pt idx="2267">
                  <c:v>1658905248</c:v>
                </c:pt>
                <c:pt idx="2268">
                  <c:v>451976772</c:v>
                </c:pt>
                <c:pt idx="2269">
                  <c:v>130508504</c:v>
                </c:pt>
                <c:pt idx="2270">
                  <c:v>859855675</c:v>
                </c:pt>
                <c:pt idx="2271">
                  <c:v>345879045</c:v>
                </c:pt>
                <c:pt idx="2272">
                  <c:v>53230782</c:v>
                </c:pt>
                <c:pt idx="2273">
                  <c:v>1338028100</c:v>
                </c:pt>
                <c:pt idx="2274">
                  <c:v>3113547876</c:v>
                </c:pt>
                <c:pt idx="2275">
                  <c:v>3517042828</c:v>
                </c:pt>
                <c:pt idx="2276">
                  <c:v>172869810</c:v>
                </c:pt>
                <c:pt idx="2277">
                  <c:v>523551600</c:v>
                </c:pt>
                <c:pt idx="2278">
                  <c:v>1438229430</c:v>
                </c:pt>
                <c:pt idx="2279">
                  <c:v>595653288</c:v>
                </c:pt>
                <c:pt idx="2280">
                  <c:v>1091409920</c:v>
                </c:pt>
                <c:pt idx="2281">
                  <c:v>177980250</c:v>
                </c:pt>
                <c:pt idx="2282">
                  <c:v>1052251564</c:v>
                </c:pt>
                <c:pt idx="2283">
                  <c:v>167560659</c:v>
                </c:pt>
                <c:pt idx="2284">
                  <c:v>264075192</c:v>
                </c:pt>
                <c:pt idx="2285">
                  <c:v>510208794</c:v>
                </c:pt>
                <c:pt idx="2286">
                  <c:v>229056768</c:v>
                </c:pt>
                <c:pt idx="2287">
                  <c:v>107829772</c:v>
                </c:pt>
                <c:pt idx="2288">
                  <c:v>187891920</c:v>
                </c:pt>
                <c:pt idx="2289">
                  <c:v>267164412</c:v>
                </c:pt>
                <c:pt idx="2290">
                  <c:v>459209620</c:v>
                </c:pt>
                <c:pt idx="2291">
                  <c:v>1933890623</c:v>
                </c:pt>
                <c:pt idx="2292">
                  <c:v>2759876702</c:v>
                </c:pt>
                <c:pt idx="2293">
                  <c:v>947614626</c:v>
                </c:pt>
                <c:pt idx="2294">
                  <c:v>468377508</c:v>
                </c:pt>
                <c:pt idx="2295">
                  <c:v>86948550</c:v>
                </c:pt>
                <c:pt idx="2296">
                  <c:v>879193575</c:v>
                </c:pt>
                <c:pt idx="2297">
                  <c:v>122913638</c:v>
                </c:pt>
                <c:pt idx="2298">
                  <c:v>158183382</c:v>
                </c:pt>
                <c:pt idx="2299">
                  <c:v>4400375812</c:v>
                </c:pt>
                <c:pt idx="2300">
                  <c:v>484456682</c:v>
                </c:pt>
                <c:pt idx="2301">
                  <c:v>213192913</c:v>
                </c:pt>
                <c:pt idx="2302">
                  <c:v>502097040</c:v>
                </c:pt>
                <c:pt idx="2303">
                  <c:v>795961832</c:v>
                </c:pt>
                <c:pt idx="2304">
                  <c:v>1695808045</c:v>
                </c:pt>
                <c:pt idx="2305">
                  <c:v>488277642</c:v>
                </c:pt>
                <c:pt idx="2306">
                  <c:v>53839566</c:v>
                </c:pt>
                <c:pt idx="2307">
                  <c:v>529541484</c:v>
                </c:pt>
                <c:pt idx="2308">
                  <c:v>700257049</c:v>
                </c:pt>
                <c:pt idx="2309">
                  <c:v>1546759764</c:v>
                </c:pt>
                <c:pt idx="2310">
                  <c:v>4366241251</c:v>
                </c:pt>
                <c:pt idx="2311">
                  <c:v>323289750</c:v>
                </c:pt>
                <c:pt idx="2312">
                  <c:v>3537526508</c:v>
                </c:pt>
                <c:pt idx="2313">
                  <c:v>225449726</c:v>
                </c:pt>
                <c:pt idx="2314">
                  <c:v>65879801</c:v>
                </c:pt>
                <c:pt idx="2315">
                  <c:v>1014741728</c:v>
                </c:pt>
                <c:pt idx="2316">
                  <c:v>3809142050</c:v>
                </c:pt>
                <c:pt idx="2317">
                  <c:v>1181445846</c:v>
                </c:pt>
                <c:pt idx="2318">
                  <c:v>2674371654</c:v>
                </c:pt>
                <c:pt idx="2319">
                  <c:v>151041396</c:v>
                </c:pt>
                <c:pt idx="2320">
                  <c:v>413633745</c:v>
                </c:pt>
                <c:pt idx="2321">
                  <c:v>444780850</c:v>
                </c:pt>
                <c:pt idx="2322">
                  <c:v>197228064</c:v>
                </c:pt>
                <c:pt idx="2323">
                  <c:v>2926079297</c:v>
                </c:pt>
                <c:pt idx="2324">
                  <c:v>290612098</c:v>
                </c:pt>
                <c:pt idx="2325">
                  <c:v>2418125294</c:v>
                </c:pt>
                <c:pt idx="2326">
                  <c:v>1272580540</c:v>
                </c:pt>
                <c:pt idx="2327">
                  <c:v>189865858</c:v>
                </c:pt>
                <c:pt idx="2328">
                  <c:v>323334990</c:v>
                </c:pt>
                <c:pt idx="2329">
                  <c:v>559319104</c:v>
                </c:pt>
                <c:pt idx="2330">
                  <c:v>589244800</c:v>
                </c:pt>
                <c:pt idx="2331">
                  <c:v>796382496</c:v>
                </c:pt>
                <c:pt idx="2332">
                  <c:v>789212798</c:v>
                </c:pt>
                <c:pt idx="2333">
                  <c:v>1465964630</c:v>
                </c:pt>
                <c:pt idx="2334">
                  <c:v>3377646019</c:v>
                </c:pt>
                <c:pt idx="2335">
                  <c:v>1163328120</c:v>
                </c:pt>
                <c:pt idx="2336">
                  <c:v>248189455</c:v>
                </c:pt>
                <c:pt idx="2337">
                  <c:v>656199042</c:v>
                </c:pt>
                <c:pt idx="2338">
                  <c:v>496658996</c:v>
                </c:pt>
                <c:pt idx="2339">
                  <c:v>1045513392</c:v>
                </c:pt>
                <c:pt idx="2340">
                  <c:v>2147483647</c:v>
                </c:pt>
                <c:pt idx="2341">
                  <c:v>287483420</c:v>
                </c:pt>
                <c:pt idx="2342">
                  <c:v>839220756</c:v>
                </c:pt>
                <c:pt idx="2343">
                  <c:v>197429551</c:v>
                </c:pt>
                <c:pt idx="2344">
                  <c:v>77254102</c:v>
                </c:pt>
                <c:pt idx="2345">
                  <c:v>271913148</c:v>
                </c:pt>
                <c:pt idx="2346">
                  <c:v>335530962</c:v>
                </c:pt>
                <c:pt idx="2347">
                  <c:v>358823550</c:v>
                </c:pt>
                <c:pt idx="2348">
                  <c:v>1038536542</c:v>
                </c:pt>
                <c:pt idx="2349">
                  <c:v>832067720</c:v>
                </c:pt>
                <c:pt idx="2350">
                  <c:v>144590446</c:v>
                </c:pt>
                <c:pt idx="2351">
                  <c:v>930623148</c:v>
                </c:pt>
                <c:pt idx="2352">
                  <c:v>1013407830</c:v>
                </c:pt>
                <c:pt idx="2353">
                  <c:v>2395225416</c:v>
                </c:pt>
                <c:pt idx="2354">
                  <c:v>399323090</c:v>
                </c:pt>
                <c:pt idx="2355">
                  <c:v>528070329</c:v>
                </c:pt>
                <c:pt idx="2356">
                  <c:v>315506283</c:v>
                </c:pt>
                <c:pt idx="2357">
                  <c:v>1049626225</c:v>
                </c:pt>
                <c:pt idx="2358">
                  <c:v>1302043428</c:v>
                </c:pt>
                <c:pt idx="2359">
                  <c:v>1366307540</c:v>
                </c:pt>
                <c:pt idx="2360">
                  <c:v>264088008</c:v>
                </c:pt>
                <c:pt idx="2361">
                  <c:v>1118810160</c:v>
                </c:pt>
                <c:pt idx="2362">
                  <c:v>527542375</c:v>
                </c:pt>
                <c:pt idx="2363">
                  <c:v>71204987</c:v>
                </c:pt>
                <c:pt idx="2364">
                  <c:v>1560684895</c:v>
                </c:pt>
                <c:pt idx="2365">
                  <c:v>261874698</c:v>
                </c:pt>
                <c:pt idx="2366">
                  <c:v>407611413</c:v>
                </c:pt>
                <c:pt idx="2367">
                  <c:v>701310804</c:v>
                </c:pt>
                <c:pt idx="2368">
                  <c:v>1930230325</c:v>
                </c:pt>
                <c:pt idx="2369">
                  <c:v>340305490</c:v>
                </c:pt>
                <c:pt idx="2370">
                  <c:v>748520050</c:v>
                </c:pt>
                <c:pt idx="2371">
                  <c:v>1681154180</c:v>
                </c:pt>
                <c:pt idx="2372">
                  <c:v>1604315296</c:v>
                </c:pt>
                <c:pt idx="2373">
                  <c:v>403887601</c:v>
                </c:pt>
                <c:pt idx="2374">
                  <c:v>927809664</c:v>
                </c:pt>
                <c:pt idx="2375">
                  <c:v>1417288084</c:v>
                </c:pt>
                <c:pt idx="2376">
                  <c:v>645629460</c:v>
                </c:pt>
                <c:pt idx="2377">
                  <c:v>245772978</c:v>
                </c:pt>
                <c:pt idx="2378">
                  <c:v>1093119885</c:v>
                </c:pt>
                <c:pt idx="2379">
                  <c:v>644827694</c:v>
                </c:pt>
                <c:pt idx="2380">
                  <c:v>666888170</c:v>
                </c:pt>
                <c:pt idx="2381">
                  <c:v>1212221868</c:v>
                </c:pt>
                <c:pt idx="2382">
                  <c:v>523630296</c:v>
                </c:pt>
                <c:pt idx="2383">
                  <c:v>127939770</c:v>
                </c:pt>
                <c:pt idx="2384">
                  <c:v>2518564396</c:v>
                </c:pt>
                <c:pt idx="2385">
                  <c:v>1104958800</c:v>
                </c:pt>
                <c:pt idx="2386">
                  <c:v>715936200</c:v>
                </c:pt>
                <c:pt idx="2387">
                  <c:v>1675159275</c:v>
                </c:pt>
                <c:pt idx="2388">
                  <c:v>485905515</c:v>
                </c:pt>
                <c:pt idx="2389">
                  <c:v>405931125</c:v>
                </c:pt>
                <c:pt idx="2390">
                  <c:v>883839558</c:v>
                </c:pt>
                <c:pt idx="2391">
                  <c:v>2147483647</c:v>
                </c:pt>
                <c:pt idx="2392">
                  <c:v>331445448</c:v>
                </c:pt>
                <c:pt idx="2393">
                  <c:v>318533240</c:v>
                </c:pt>
                <c:pt idx="2394">
                  <c:v>455944128</c:v>
                </c:pt>
                <c:pt idx="2395">
                  <c:v>649057357</c:v>
                </c:pt>
                <c:pt idx="2396">
                  <c:v>197370602</c:v>
                </c:pt>
                <c:pt idx="2397">
                  <c:v>215825770</c:v>
                </c:pt>
                <c:pt idx="2398">
                  <c:v>1504472585</c:v>
                </c:pt>
                <c:pt idx="2399">
                  <c:v>2147483647</c:v>
                </c:pt>
                <c:pt idx="2400">
                  <c:v>497261472</c:v>
                </c:pt>
                <c:pt idx="2401">
                  <c:v>83332368</c:v>
                </c:pt>
                <c:pt idx="2402">
                  <c:v>1292356520</c:v>
                </c:pt>
                <c:pt idx="2403">
                  <c:v>241018076</c:v>
                </c:pt>
                <c:pt idx="2404">
                  <c:v>657270500</c:v>
                </c:pt>
                <c:pt idx="2405">
                  <c:v>1393044235</c:v>
                </c:pt>
                <c:pt idx="2406">
                  <c:v>82626774</c:v>
                </c:pt>
                <c:pt idx="2407">
                  <c:v>288029115</c:v>
                </c:pt>
                <c:pt idx="2408">
                  <c:v>252937785</c:v>
                </c:pt>
                <c:pt idx="2409">
                  <c:v>526934860</c:v>
                </c:pt>
                <c:pt idx="2410">
                  <c:v>571417524</c:v>
                </c:pt>
                <c:pt idx="2411">
                  <c:v>536992155</c:v>
                </c:pt>
                <c:pt idx="2412">
                  <c:v>812939094</c:v>
                </c:pt>
                <c:pt idx="2413">
                  <c:v>71049011</c:v>
                </c:pt>
                <c:pt idx="2414">
                  <c:v>1884565020</c:v>
                </c:pt>
                <c:pt idx="2415">
                  <c:v>1100208992</c:v>
                </c:pt>
                <c:pt idx="2416">
                  <c:v>328572032</c:v>
                </c:pt>
                <c:pt idx="2417">
                  <c:v>206315552</c:v>
                </c:pt>
                <c:pt idx="2418">
                  <c:v>222202296</c:v>
                </c:pt>
                <c:pt idx="2419">
                  <c:v>288564442</c:v>
                </c:pt>
                <c:pt idx="2420">
                  <c:v>191424761</c:v>
                </c:pt>
                <c:pt idx="2421">
                  <c:v>563861560</c:v>
                </c:pt>
                <c:pt idx="2422">
                  <c:v>1940239428</c:v>
                </c:pt>
                <c:pt idx="2423">
                  <c:v>659026137</c:v>
                </c:pt>
                <c:pt idx="2424">
                  <c:v>188006521</c:v>
                </c:pt>
                <c:pt idx="2425">
                  <c:v>252967260</c:v>
                </c:pt>
                <c:pt idx="2426">
                  <c:v>4976723459</c:v>
                </c:pt>
                <c:pt idx="2427">
                  <c:v>785590522</c:v>
                </c:pt>
                <c:pt idx="2428">
                  <c:v>1481926216</c:v>
                </c:pt>
                <c:pt idx="2429">
                  <c:v>1799830715</c:v>
                </c:pt>
                <c:pt idx="2430">
                  <c:v>267699711</c:v>
                </c:pt>
                <c:pt idx="2431">
                  <c:v>180918808</c:v>
                </c:pt>
                <c:pt idx="2432">
                  <c:v>319435920</c:v>
                </c:pt>
                <c:pt idx="2433">
                  <c:v>794266962</c:v>
                </c:pt>
                <c:pt idx="2434">
                  <c:v>31314935531</c:v>
                </c:pt>
                <c:pt idx="2435">
                  <c:v>422687580</c:v>
                </c:pt>
                <c:pt idx="2436">
                  <c:v>265133700</c:v>
                </c:pt>
                <c:pt idx="2437">
                  <c:v>1508043908</c:v>
                </c:pt>
                <c:pt idx="2438">
                  <c:v>1983912339</c:v>
                </c:pt>
                <c:pt idx="2439">
                  <c:v>148944150</c:v>
                </c:pt>
                <c:pt idx="2440">
                  <c:v>1959828642</c:v>
                </c:pt>
                <c:pt idx="2441">
                  <c:v>436188726</c:v>
                </c:pt>
                <c:pt idx="2442">
                  <c:v>610393896</c:v>
                </c:pt>
                <c:pt idx="2443">
                  <c:v>193651675</c:v>
                </c:pt>
                <c:pt idx="2444">
                  <c:v>199947260</c:v>
                </c:pt>
                <c:pt idx="2445">
                  <c:v>423214626</c:v>
                </c:pt>
                <c:pt idx="2446">
                  <c:v>1583823679</c:v>
                </c:pt>
                <c:pt idx="2447">
                  <c:v>654663072</c:v>
                </c:pt>
                <c:pt idx="2448">
                  <c:v>192423000</c:v>
                </c:pt>
                <c:pt idx="2449">
                  <c:v>1006531960</c:v>
                </c:pt>
                <c:pt idx="2450">
                  <c:v>360623312</c:v>
                </c:pt>
                <c:pt idx="2451">
                  <c:v>440641126</c:v>
                </c:pt>
                <c:pt idx="2452">
                  <c:v>201627258</c:v>
                </c:pt>
                <c:pt idx="2453">
                  <c:v>1405897684</c:v>
                </c:pt>
                <c:pt idx="2454">
                  <c:v>563230630</c:v>
                </c:pt>
                <c:pt idx="2455">
                  <c:v>482915232</c:v>
                </c:pt>
                <c:pt idx="2456">
                  <c:v>488740340</c:v>
                </c:pt>
                <c:pt idx="2457">
                  <c:v>2002791420</c:v>
                </c:pt>
                <c:pt idx="2458">
                  <c:v>794015136</c:v>
                </c:pt>
                <c:pt idx="2459">
                  <c:v>516093956</c:v>
                </c:pt>
                <c:pt idx="2460">
                  <c:v>453342510</c:v>
                </c:pt>
                <c:pt idx="2461">
                  <c:v>1022834713</c:v>
                </c:pt>
                <c:pt idx="2462">
                  <c:v>2147483647</c:v>
                </c:pt>
                <c:pt idx="2463">
                  <c:v>2147483647</c:v>
                </c:pt>
                <c:pt idx="2464">
                  <c:v>899137630</c:v>
                </c:pt>
                <c:pt idx="2465">
                  <c:v>614765748</c:v>
                </c:pt>
                <c:pt idx="2466">
                  <c:v>373645413</c:v>
                </c:pt>
                <c:pt idx="2467">
                  <c:v>1298197152</c:v>
                </c:pt>
                <c:pt idx="2468">
                  <c:v>378962504</c:v>
                </c:pt>
                <c:pt idx="2469">
                  <c:v>1224029752</c:v>
                </c:pt>
                <c:pt idx="2470">
                  <c:v>287152320</c:v>
                </c:pt>
                <c:pt idx="2471">
                  <c:v>1144448126</c:v>
                </c:pt>
                <c:pt idx="2472">
                  <c:v>955644279</c:v>
                </c:pt>
                <c:pt idx="2473">
                  <c:v>557170632</c:v>
                </c:pt>
                <c:pt idx="2474">
                  <c:v>772159220</c:v>
                </c:pt>
                <c:pt idx="2475">
                  <c:v>387853004</c:v>
                </c:pt>
                <c:pt idx="2476">
                  <c:v>1519706028</c:v>
                </c:pt>
                <c:pt idx="2477">
                  <c:v>443668635</c:v>
                </c:pt>
                <c:pt idx="2478">
                  <c:v>2147483647</c:v>
                </c:pt>
                <c:pt idx="2479">
                  <c:v>381820224</c:v>
                </c:pt>
                <c:pt idx="2480">
                  <c:v>815588910</c:v>
                </c:pt>
                <c:pt idx="2481">
                  <c:v>829501992</c:v>
                </c:pt>
                <c:pt idx="2482">
                  <c:v>539763024</c:v>
                </c:pt>
                <c:pt idx="2483">
                  <c:v>3033124460</c:v>
                </c:pt>
                <c:pt idx="2484">
                  <c:v>1022651244</c:v>
                </c:pt>
                <c:pt idx="2485">
                  <c:v>2147483647</c:v>
                </c:pt>
                <c:pt idx="2486">
                  <c:v>676923537</c:v>
                </c:pt>
                <c:pt idx="2487">
                  <c:v>688359414</c:v>
                </c:pt>
                <c:pt idx="2488">
                  <c:v>58741200</c:v>
                </c:pt>
                <c:pt idx="2489">
                  <c:v>1353691278</c:v>
                </c:pt>
                <c:pt idx="2490">
                  <c:v>1043943789</c:v>
                </c:pt>
                <c:pt idx="2491">
                  <c:v>1804583256</c:v>
                </c:pt>
                <c:pt idx="2492">
                  <c:v>502487042</c:v>
                </c:pt>
                <c:pt idx="2493">
                  <c:v>703919387</c:v>
                </c:pt>
                <c:pt idx="2494">
                  <c:v>730806948</c:v>
                </c:pt>
                <c:pt idx="2495">
                  <c:v>681896086</c:v>
                </c:pt>
                <c:pt idx="2496">
                  <c:v>277612184</c:v>
                </c:pt>
                <c:pt idx="2497">
                  <c:v>756659368</c:v>
                </c:pt>
                <c:pt idx="2498">
                  <c:v>761352183</c:v>
                </c:pt>
                <c:pt idx="2499">
                  <c:v>1914309862</c:v>
                </c:pt>
                <c:pt idx="2500">
                  <c:v>3892359865</c:v>
                </c:pt>
                <c:pt idx="2501">
                  <c:v>615969750</c:v>
                </c:pt>
                <c:pt idx="2502">
                  <c:v>810450836</c:v>
                </c:pt>
                <c:pt idx="2503">
                  <c:v>291220779</c:v>
                </c:pt>
                <c:pt idx="2504">
                  <c:v>1555390350</c:v>
                </c:pt>
                <c:pt idx="2505">
                  <c:v>1224554760</c:v>
                </c:pt>
                <c:pt idx="2506">
                  <c:v>3416562668</c:v>
                </c:pt>
                <c:pt idx="2507">
                  <c:v>318236533</c:v>
                </c:pt>
                <c:pt idx="2508">
                  <c:v>590140204</c:v>
                </c:pt>
                <c:pt idx="2509">
                  <c:v>972987015</c:v>
                </c:pt>
                <c:pt idx="2510">
                  <c:v>814700877</c:v>
                </c:pt>
                <c:pt idx="2511">
                  <c:v>851273280</c:v>
                </c:pt>
                <c:pt idx="2512">
                  <c:v>163230717</c:v>
                </c:pt>
                <c:pt idx="2513">
                  <c:v>522685520</c:v>
                </c:pt>
                <c:pt idx="2514">
                  <c:v>678369790</c:v>
                </c:pt>
                <c:pt idx="2515">
                  <c:v>1555660584</c:v>
                </c:pt>
                <c:pt idx="2516">
                  <c:v>339077648</c:v>
                </c:pt>
                <c:pt idx="2517">
                  <c:v>574899996</c:v>
                </c:pt>
                <c:pt idx="2518">
                  <c:v>464291064</c:v>
                </c:pt>
                <c:pt idx="2519">
                  <c:v>1188279200</c:v>
                </c:pt>
                <c:pt idx="2520">
                  <c:v>798870039</c:v>
                </c:pt>
                <c:pt idx="2521">
                  <c:v>882417550</c:v>
                </c:pt>
                <c:pt idx="2522">
                  <c:v>615253056</c:v>
                </c:pt>
                <c:pt idx="2523">
                  <c:v>2147483647</c:v>
                </c:pt>
                <c:pt idx="2524">
                  <c:v>601687808</c:v>
                </c:pt>
                <c:pt idx="2525">
                  <c:v>1769561288</c:v>
                </c:pt>
                <c:pt idx="2526">
                  <c:v>445727700</c:v>
                </c:pt>
                <c:pt idx="2527">
                  <c:v>1182282700</c:v>
                </c:pt>
                <c:pt idx="2528">
                  <c:v>1108154576</c:v>
                </c:pt>
                <c:pt idx="2529">
                  <c:v>4812418059</c:v>
                </c:pt>
                <c:pt idx="2530">
                  <c:v>522653014</c:v>
                </c:pt>
                <c:pt idx="2531">
                  <c:v>1608830227</c:v>
                </c:pt>
                <c:pt idx="2532">
                  <c:v>2579160144</c:v>
                </c:pt>
                <c:pt idx="2533">
                  <c:v>589531296</c:v>
                </c:pt>
                <c:pt idx="2534">
                  <c:v>696640309</c:v>
                </c:pt>
                <c:pt idx="2535">
                  <c:v>408700552</c:v>
                </c:pt>
                <c:pt idx="2536">
                  <c:v>1659557280</c:v>
                </c:pt>
                <c:pt idx="2537">
                  <c:v>2147483647</c:v>
                </c:pt>
                <c:pt idx="2538">
                  <c:v>583240954</c:v>
                </c:pt>
                <c:pt idx="2539">
                  <c:v>1913981724</c:v>
                </c:pt>
                <c:pt idx="2540">
                  <c:v>436314384</c:v>
                </c:pt>
                <c:pt idx="2541">
                  <c:v>512811519</c:v>
                </c:pt>
                <c:pt idx="2542">
                  <c:v>523039650</c:v>
                </c:pt>
                <c:pt idx="2543">
                  <c:v>354498675</c:v>
                </c:pt>
                <c:pt idx="2544">
                  <c:v>317751434</c:v>
                </c:pt>
                <c:pt idx="2545">
                  <c:v>694003608</c:v>
                </c:pt>
                <c:pt idx="2546">
                  <c:v>1852465516</c:v>
                </c:pt>
                <c:pt idx="2547">
                  <c:v>716091931</c:v>
                </c:pt>
                <c:pt idx="2548">
                  <c:v>524284997</c:v>
                </c:pt>
                <c:pt idx="2549">
                  <c:v>953204856</c:v>
                </c:pt>
                <c:pt idx="2550">
                  <c:v>2147483647</c:v>
                </c:pt>
                <c:pt idx="2551">
                  <c:v>223578630</c:v>
                </c:pt>
                <c:pt idx="2552">
                  <c:v>1052650763</c:v>
                </c:pt>
                <c:pt idx="2553">
                  <c:v>425135656</c:v>
                </c:pt>
                <c:pt idx="2554">
                  <c:v>379938044</c:v>
                </c:pt>
                <c:pt idx="2555">
                  <c:v>2147483647</c:v>
                </c:pt>
                <c:pt idx="2556">
                  <c:v>1044183312</c:v>
                </c:pt>
                <c:pt idx="2557">
                  <c:v>202631056</c:v>
                </c:pt>
                <c:pt idx="2558">
                  <c:v>86145942</c:v>
                </c:pt>
                <c:pt idx="2559">
                  <c:v>658765680</c:v>
                </c:pt>
                <c:pt idx="2560">
                  <c:v>776040272</c:v>
                </c:pt>
                <c:pt idx="2561">
                  <c:v>830057580</c:v>
                </c:pt>
                <c:pt idx="2562">
                  <c:v>190932738</c:v>
                </c:pt>
                <c:pt idx="2563">
                  <c:v>359809608</c:v>
                </c:pt>
                <c:pt idx="2564">
                  <c:v>1791172095</c:v>
                </c:pt>
                <c:pt idx="2565">
                  <c:v>1423964264</c:v>
                </c:pt>
                <c:pt idx="2566">
                  <c:v>401316518</c:v>
                </c:pt>
                <c:pt idx="2567">
                  <c:v>1237661140</c:v>
                </c:pt>
                <c:pt idx="2568">
                  <c:v>893469655</c:v>
                </c:pt>
                <c:pt idx="2569">
                  <c:v>444076897</c:v>
                </c:pt>
                <c:pt idx="2570">
                  <c:v>899126022</c:v>
                </c:pt>
                <c:pt idx="2571">
                  <c:v>234009510</c:v>
                </c:pt>
                <c:pt idx="2572">
                  <c:v>803397287</c:v>
                </c:pt>
                <c:pt idx="2573">
                  <c:v>544799016</c:v>
                </c:pt>
                <c:pt idx="2574">
                  <c:v>197113155</c:v>
                </c:pt>
                <c:pt idx="2575">
                  <c:v>975414100</c:v>
                </c:pt>
                <c:pt idx="2576">
                  <c:v>808668000</c:v>
                </c:pt>
                <c:pt idx="2577">
                  <c:v>406468791</c:v>
                </c:pt>
                <c:pt idx="2578">
                  <c:v>735928870</c:v>
                </c:pt>
                <c:pt idx="2579">
                  <c:v>1373224050</c:v>
                </c:pt>
                <c:pt idx="2580">
                  <c:v>2147483647</c:v>
                </c:pt>
                <c:pt idx="2581">
                  <c:v>650946186</c:v>
                </c:pt>
                <c:pt idx="2582">
                  <c:v>769746213</c:v>
                </c:pt>
                <c:pt idx="2583">
                  <c:v>2147483647</c:v>
                </c:pt>
                <c:pt idx="2584">
                  <c:v>491669052</c:v>
                </c:pt>
                <c:pt idx="2585">
                  <c:v>1764892558</c:v>
                </c:pt>
                <c:pt idx="2586">
                  <c:v>1436857600</c:v>
                </c:pt>
                <c:pt idx="2587">
                  <c:v>813537970</c:v>
                </c:pt>
                <c:pt idx="2588">
                  <c:v>2147483647</c:v>
                </c:pt>
                <c:pt idx="2589">
                  <c:v>10588699218</c:v>
                </c:pt>
                <c:pt idx="2590">
                  <c:v>449572272</c:v>
                </c:pt>
                <c:pt idx="2591">
                  <c:v>1326054380</c:v>
                </c:pt>
                <c:pt idx="2592">
                  <c:v>819843198</c:v>
                </c:pt>
                <c:pt idx="2593">
                  <c:v>310055965</c:v>
                </c:pt>
                <c:pt idx="2594">
                  <c:v>841334350</c:v>
                </c:pt>
                <c:pt idx="2595">
                  <c:v>216409020</c:v>
                </c:pt>
                <c:pt idx="2596">
                  <c:v>433141120</c:v>
                </c:pt>
                <c:pt idx="2597">
                  <c:v>456789092</c:v>
                </c:pt>
                <c:pt idx="2598">
                  <c:v>2147483647</c:v>
                </c:pt>
                <c:pt idx="2599">
                  <c:v>310897052</c:v>
                </c:pt>
                <c:pt idx="2600">
                  <c:v>308222892</c:v>
                </c:pt>
                <c:pt idx="2601">
                  <c:v>109014406</c:v>
                </c:pt>
                <c:pt idx="2602">
                  <c:v>1564356640</c:v>
                </c:pt>
                <c:pt idx="2603">
                  <c:v>656278980</c:v>
                </c:pt>
                <c:pt idx="2604">
                  <c:v>167142320</c:v>
                </c:pt>
                <c:pt idx="2605">
                  <c:v>552201920</c:v>
                </c:pt>
                <c:pt idx="2606">
                  <c:v>495145731</c:v>
                </c:pt>
                <c:pt idx="2607">
                  <c:v>472161030</c:v>
                </c:pt>
                <c:pt idx="2608">
                  <c:v>1511710900</c:v>
                </c:pt>
                <c:pt idx="2609">
                  <c:v>1331181799</c:v>
                </c:pt>
                <c:pt idx="2610">
                  <c:v>440480070</c:v>
                </c:pt>
                <c:pt idx="2611">
                  <c:v>2147483647</c:v>
                </c:pt>
                <c:pt idx="2612">
                  <c:v>925707165</c:v>
                </c:pt>
                <c:pt idx="2613">
                  <c:v>1167641517</c:v>
                </c:pt>
                <c:pt idx="2614">
                  <c:v>868877598</c:v>
                </c:pt>
                <c:pt idx="2615">
                  <c:v>645286383</c:v>
                </c:pt>
                <c:pt idx="2616">
                  <c:v>1282563070</c:v>
                </c:pt>
                <c:pt idx="2617">
                  <c:v>177792678</c:v>
                </c:pt>
                <c:pt idx="2618">
                  <c:v>1465874640</c:v>
                </c:pt>
                <c:pt idx="2619">
                  <c:v>55974592</c:v>
                </c:pt>
                <c:pt idx="2620">
                  <c:v>1183920368</c:v>
                </c:pt>
                <c:pt idx="2621">
                  <c:v>1030028135</c:v>
                </c:pt>
                <c:pt idx="2622">
                  <c:v>1272356888</c:v>
                </c:pt>
                <c:pt idx="2623">
                  <c:v>413034000</c:v>
                </c:pt>
                <c:pt idx="2624">
                  <c:v>706330889</c:v>
                </c:pt>
                <c:pt idx="2625">
                  <c:v>1697136360</c:v>
                </c:pt>
                <c:pt idx="2626">
                  <c:v>413667342</c:v>
                </c:pt>
                <c:pt idx="2627">
                  <c:v>1304155208</c:v>
                </c:pt>
                <c:pt idx="2628">
                  <c:v>2147483647</c:v>
                </c:pt>
                <c:pt idx="2629">
                  <c:v>199014852</c:v>
                </c:pt>
                <c:pt idx="2630">
                  <c:v>387247616</c:v>
                </c:pt>
                <c:pt idx="2631">
                  <c:v>1754397994</c:v>
                </c:pt>
                <c:pt idx="2632">
                  <c:v>1115721982</c:v>
                </c:pt>
                <c:pt idx="2633">
                  <c:v>441486615</c:v>
                </c:pt>
                <c:pt idx="2634">
                  <c:v>1756522656</c:v>
                </c:pt>
                <c:pt idx="2635">
                  <c:v>961823632</c:v>
                </c:pt>
                <c:pt idx="2636">
                  <c:v>772702975</c:v>
                </c:pt>
                <c:pt idx="2637">
                  <c:v>1017144513</c:v>
                </c:pt>
                <c:pt idx="2638">
                  <c:v>603514286</c:v>
                </c:pt>
                <c:pt idx="2639">
                  <c:v>1606703267</c:v>
                </c:pt>
                <c:pt idx="2640">
                  <c:v>434229984</c:v>
                </c:pt>
                <c:pt idx="2641">
                  <c:v>637451900</c:v>
                </c:pt>
                <c:pt idx="2642">
                  <c:v>748573449</c:v>
                </c:pt>
                <c:pt idx="2643">
                  <c:v>374763708</c:v>
                </c:pt>
                <c:pt idx="2644">
                  <c:v>1395537525</c:v>
                </c:pt>
                <c:pt idx="2645">
                  <c:v>165499614</c:v>
                </c:pt>
                <c:pt idx="2646">
                  <c:v>1026975774</c:v>
                </c:pt>
                <c:pt idx="2647">
                  <c:v>2147483647</c:v>
                </c:pt>
                <c:pt idx="2648">
                  <c:v>3117749864</c:v>
                </c:pt>
                <c:pt idx="2649">
                  <c:v>546223960</c:v>
                </c:pt>
                <c:pt idx="2650">
                  <c:v>1594336380</c:v>
                </c:pt>
                <c:pt idx="2651">
                  <c:v>1412498824</c:v>
                </c:pt>
                <c:pt idx="2652">
                  <c:v>1275612786</c:v>
                </c:pt>
                <c:pt idx="2653">
                  <c:v>2147483647</c:v>
                </c:pt>
                <c:pt idx="2654">
                  <c:v>1036444224</c:v>
                </c:pt>
                <c:pt idx="2655">
                  <c:v>2147483647</c:v>
                </c:pt>
                <c:pt idx="2656">
                  <c:v>954700862</c:v>
                </c:pt>
                <c:pt idx="2657">
                  <c:v>1635298617</c:v>
                </c:pt>
                <c:pt idx="2658">
                  <c:v>168050718</c:v>
                </c:pt>
                <c:pt idx="2659">
                  <c:v>1161300008</c:v>
                </c:pt>
                <c:pt idx="2660">
                  <c:v>798256480</c:v>
                </c:pt>
                <c:pt idx="2661">
                  <c:v>920008700</c:v>
                </c:pt>
                <c:pt idx="2662">
                  <c:v>5779134314</c:v>
                </c:pt>
                <c:pt idx="2663">
                  <c:v>179550765</c:v>
                </c:pt>
                <c:pt idx="2664">
                  <c:v>1294227720</c:v>
                </c:pt>
                <c:pt idx="2665">
                  <c:v>737515080</c:v>
                </c:pt>
                <c:pt idx="2666">
                  <c:v>2147483647</c:v>
                </c:pt>
                <c:pt idx="2667">
                  <c:v>1999764096</c:v>
                </c:pt>
                <c:pt idx="2668">
                  <c:v>376244916</c:v>
                </c:pt>
                <c:pt idx="2669">
                  <c:v>268448852</c:v>
                </c:pt>
                <c:pt idx="2670">
                  <c:v>317237782</c:v>
                </c:pt>
                <c:pt idx="2671">
                  <c:v>1548123934</c:v>
                </c:pt>
                <c:pt idx="2672">
                  <c:v>580584834</c:v>
                </c:pt>
                <c:pt idx="2673">
                  <c:v>716786682</c:v>
                </c:pt>
                <c:pt idx="2674">
                  <c:v>493960680</c:v>
                </c:pt>
                <c:pt idx="2675">
                  <c:v>704454800</c:v>
                </c:pt>
                <c:pt idx="2676">
                  <c:v>191427264</c:v>
                </c:pt>
                <c:pt idx="2677">
                  <c:v>276633507</c:v>
                </c:pt>
                <c:pt idx="2678">
                  <c:v>88623324</c:v>
                </c:pt>
                <c:pt idx="2679">
                  <c:v>1869550287</c:v>
                </c:pt>
                <c:pt idx="2680">
                  <c:v>803449800</c:v>
                </c:pt>
                <c:pt idx="2681">
                  <c:v>726198560</c:v>
                </c:pt>
                <c:pt idx="2682">
                  <c:v>299600208</c:v>
                </c:pt>
                <c:pt idx="2683">
                  <c:v>1336180530</c:v>
                </c:pt>
                <c:pt idx="2684">
                  <c:v>576538290</c:v>
                </c:pt>
                <c:pt idx="2685">
                  <c:v>959883777</c:v>
                </c:pt>
                <c:pt idx="2686">
                  <c:v>1544386635</c:v>
                </c:pt>
                <c:pt idx="2687">
                  <c:v>1422912894</c:v>
                </c:pt>
                <c:pt idx="2688">
                  <c:v>2892029371</c:v>
                </c:pt>
                <c:pt idx="2689">
                  <c:v>293858213</c:v>
                </c:pt>
                <c:pt idx="2690">
                  <c:v>240569904</c:v>
                </c:pt>
                <c:pt idx="2691">
                  <c:v>830409700</c:v>
                </c:pt>
                <c:pt idx="2692">
                  <c:v>318211470</c:v>
                </c:pt>
                <c:pt idx="2693">
                  <c:v>505237594</c:v>
                </c:pt>
                <c:pt idx="2694">
                  <c:v>430021998</c:v>
                </c:pt>
                <c:pt idx="2695">
                  <c:v>1341707930</c:v>
                </c:pt>
                <c:pt idx="2696">
                  <c:v>1056544230</c:v>
                </c:pt>
                <c:pt idx="2697">
                  <c:v>344289033</c:v>
                </c:pt>
                <c:pt idx="2698">
                  <c:v>2147483647</c:v>
                </c:pt>
                <c:pt idx="2699">
                  <c:v>2096091726</c:v>
                </c:pt>
                <c:pt idx="2700">
                  <c:v>1294652504</c:v>
                </c:pt>
                <c:pt idx="2701">
                  <c:v>452926134</c:v>
                </c:pt>
                <c:pt idx="2702">
                  <c:v>1411084120</c:v>
                </c:pt>
                <c:pt idx="2703">
                  <c:v>500159616</c:v>
                </c:pt>
                <c:pt idx="2704">
                  <c:v>656423808</c:v>
                </c:pt>
                <c:pt idx="2705">
                  <c:v>202171648</c:v>
                </c:pt>
                <c:pt idx="2706">
                  <c:v>154304568</c:v>
                </c:pt>
                <c:pt idx="2707">
                  <c:v>2307295554</c:v>
                </c:pt>
                <c:pt idx="2708">
                  <c:v>1166341256</c:v>
                </c:pt>
                <c:pt idx="2709">
                  <c:v>1080405000</c:v>
                </c:pt>
                <c:pt idx="2710">
                  <c:v>1717822082</c:v>
                </c:pt>
                <c:pt idx="2711">
                  <c:v>1708079988</c:v>
                </c:pt>
                <c:pt idx="2712">
                  <c:v>462639744</c:v>
                </c:pt>
                <c:pt idx="2713">
                  <c:v>520140585</c:v>
                </c:pt>
                <c:pt idx="2714">
                  <c:v>2147483647</c:v>
                </c:pt>
                <c:pt idx="2715">
                  <c:v>655632600</c:v>
                </c:pt>
                <c:pt idx="2716">
                  <c:v>162300996</c:v>
                </c:pt>
                <c:pt idx="2717">
                  <c:v>795206144</c:v>
                </c:pt>
                <c:pt idx="2718">
                  <c:v>215304603</c:v>
                </c:pt>
                <c:pt idx="2719">
                  <c:v>1209491844</c:v>
                </c:pt>
                <c:pt idx="2720">
                  <c:v>1011254400</c:v>
                </c:pt>
                <c:pt idx="2721">
                  <c:v>986505070</c:v>
                </c:pt>
                <c:pt idx="2722">
                  <c:v>307222920</c:v>
                </c:pt>
                <c:pt idx="2723">
                  <c:v>429359756</c:v>
                </c:pt>
                <c:pt idx="2724">
                  <c:v>685937645</c:v>
                </c:pt>
                <c:pt idx="2725">
                  <c:v>552243276</c:v>
                </c:pt>
                <c:pt idx="2726">
                  <c:v>1086770495</c:v>
                </c:pt>
                <c:pt idx="2727">
                  <c:v>270843842</c:v>
                </c:pt>
                <c:pt idx="2728">
                  <c:v>957835200</c:v>
                </c:pt>
                <c:pt idx="2729">
                  <c:v>663272210</c:v>
                </c:pt>
                <c:pt idx="2730">
                  <c:v>1295372000</c:v>
                </c:pt>
                <c:pt idx="2731">
                  <c:v>280985296</c:v>
                </c:pt>
                <c:pt idx="2732">
                  <c:v>1769667116</c:v>
                </c:pt>
                <c:pt idx="2733">
                  <c:v>316464200</c:v>
                </c:pt>
                <c:pt idx="2734">
                  <c:v>171094576</c:v>
                </c:pt>
                <c:pt idx="2735">
                  <c:v>1162144000</c:v>
                </c:pt>
                <c:pt idx="2736">
                  <c:v>131135012</c:v>
                </c:pt>
                <c:pt idx="2737">
                  <c:v>1944025600</c:v>
                </c:pt>
                <c:pt idx="2738">
                  <c:v>268495358</c:v>
                </c:pt>
                <c:pt idx="2739">
                  <c:v>1824251151</c:v>
                </c:pt>
                <c:pt idx="2740">
                  <c:v>374082850</c:v>
                </c:pt>
                <c:pt idx="2741">
                  <c:v>364640085</c:v>
                </c:pt>
                <c:pt idx="2742">
                  <c:v>2147483647</c:v>
                </c:pt>
                <c:pt idx="2743">
                  <c:v>1246364158</c:v>
                </c:pt>
                <c:pt idx="2744">
                  <c:v>909665116</c:v>
                </c:pt>
                <c:pt idx="2745">
                  <c:v>98870475</c:v>
                </c:pt>
                <c:pt idx="2746">
                  <c:v>1270837520</c:v>
                </c:pt>
                <c:pt idx="2747">
                  <c:v>1036144832</c:v>
                </c:pt>
                <c:pt idx="2748">
                  <c:v>574456740</c:v>
                </c:pt>
                <c:pt idx="2749">
                  <c:v>1296234480</c:v>
                </c:pt>
                <c:pt idx="2750">
                  <c:v>329197820</c:v>
                </c:pt>
                <c:pt idx="2751">
                  <c:v>607377414</c:v>
                </c:pt>
                <c:pt idx="2752">
                  <c:v>975865968</c:v>
                </c:pt>
                <c:pt idx="2753">
                  <c:v>363003949</c:v>
                </c:pt>
                <c:pt idx="2754">
                  <c:v>359703124</c:v>
                </c:pt>
                <c:pt idx="2755">
                  <c:v>147260872</c:v>
                </c:pt>
                <c:pt idx="2756">
                  <c:v>2147483647</c:v>
                </c:pt>
                <c:pt idx="2757">
                  <c:v>707402104</c:v>
                </c:pt>
                <c:pt idx="2758">
                  <c:v>952019280</c:v>
                </c:pt>
                <c:pt idx="2759">
                  <c:v>2147483647</c:v>
                </c:pt>
                <c:pt idx="2760">
                  <c:v>339687132</c:v>
                </c:pt>
                <c:pt idx="2761">
                  <c:v>4633123871</c:v>
                </c:pt>
                <c:pt idx="2762">
                  <c:v>507027369</c:v>
                </c:pt>
                <c:pt idx="2763">
                  <c:v>605984280</c:v>
                </c:pt>
                <c:pt idx="2764">
                  <c:v>6790649658</c:v>
                </c:pt>
                <c:pt idx="2765">
                  <c:v>990875470</c:v>
                </c:pt>
                <c:pt idx="2766">
                  <c:v>2147483647</c:v>
                </c:pt>
                <c:pt idx="2767">
                  <c:v>1898189892</c:v>
                </c:pt>
                <c:pt idx="2768">
                  <c:v>93425452</c:v>
                </c:pt>
                <c:pt idx="2769">
                  <c:v>400310078</c:v>
                </c:pt>
                <c:pt idx="2770">
                  <c:v>306823770</c:v>
                </c:pt>
                <c:pt idx="2771">
                  <c:v>1039216608</c:v>
                </c:pt>
                <c:pt idx="2772">
                  <c:v>1070362287</c:v>
                </c:pt>
                <c:pt idx="2773">
                  <c:v>1192894164</c:v>
                </c:pt>
                <c:pt idx="2774">
                  <c:v>1826590318</c:v>
                </c:pt>
                <c:pt idx="2775">
                  <c:v>514302360</c:v>
                </c:pt>
                <c:pt idx="2776">
                  <c:v>486714162</c:v>
                </c:pt>
                <c:pt idx="2777">
                  <c:v>1514617500</c:v>
                </c:pt>
                <c:pt idx="2778">
                  <c:v>598948680</c:v>
                </c:pt>
                <c:pt idx="2779">
                  <c:v>437122296</c:v>
                </c:pt>
                <c:pt idx="2780">
                  <c:v>2147483647</c:v>
                </c:pt>
                <c:pt idx="2781">
                  <c:v>1132155205</c:v>
                </c:pt>
                <c:pt idx="2782">
                  <c:v>200141295</c:v>
                </c:pt>
                <c:pt idx="2783">
                  <c:v>380788488</c:v>
                </c:pt>
                <c:pt idx="2784">
                  <c:v>712608375</c:v>
                </c:pt>
                <c:pt idx="2785">
                  <c:v>2147483647</c:v>
                </c:pt>
                <c:pt idx="2786">
                  <c:v>2147483647</c:v>
                </c:pt>
                <c:pt idx="2787">
                  <c:v>2147483647</c:v>
                </c:pt>
                <c:pt idx="2788">
                  <c:v>342927618</c:v>
                </c:pt>
                <c:pt idx="2789">
                  <c:v>1849397564</c:v>
                </c:pt>
                <c:pt idx="2790">
                  <c:v>498271200</c:v>
                </c:pt>
                <c:pt idx="2791">
                  <c:v>582358010</c:v>
                </c:pt>
                <c:pt idx="2792">
                  <c:v>652271130</c:v>
                </c:pt>
                <c:pt idx="2793">
                  <c:v>590602095</c:v>
                </c:pt>
                <c:pt idx="2794">
                  <c:v>1609777176</c:v>
                </c:pt>
                <c:pt idx="2795">
                  <c:v>1021699377</c:v>
                </c:pt>
                <c:pt idx="2796">
                  <c:v>1379034440</c:v>
                </c:pt>
                <c:pt idx="2797">
                  <c:v>446387935</c:v>
                </c:pt>
                <c:pt idx="2798">
                  <c:v>1347772564</c:v>
                </c:pt>
                <c:pt idx="2799">
                  <c:v>148044000</c:v>
                </c:pt>
                <c:pt idx="2800">
                  <c:v>353144974</c:v>
                </c:pt>
                <c:pt idx="2801">
                  <c:v>4803928132</c:v>
                </c:pt>
                <c:pt idx="2802">
                  <c:v>413025030</c:v>
                </c:pt>
                <c:pt idx="2803">
                  <c:v>301048776</c:v>
                </c:pt>
                <c:pt idx="2804">
                  <c:v>333254880</c:v>
                </c:pt>
                <c:pt idx="2805">
                  <c:v>201687135</c:v>
                </c:pt>
                <c:pt idx="2806">
                  <c:v>1027133496</c:v>
                </c:pt>
                <c:pt idx="2807">
                  <c:v>764789682</c:v>
                </c:pt>
                <c:pt idx="2808">
                  <c:v>284511204</c:v>
                </c:pt>
                <c:pt idx="2809">
                  <c:v>302983582</c:v>
                </c:pt>
                <c:pt idx="2810">
                  <c:v>194622872</c:v>
                </c:pt>
                <c:pt idx="2811">
                  <c:v>467855790</c:v>
                </c:pt>
                <c:pt idx="2812">
                  <c:v>613649020</c:v>
                </c:pt>
                <c:pt idx="2813">
                  <c:v>6756206865</c:v>
                </c:pt>
                <c:pt idx="2814">
                  <c:v>1253514966</c:v>
                </c:pt>
                <c:pt idx="2815">
                  <c:v>269017826</c:v>
                </c:pt>
                <c:pt idx="2816">
                  <c:v>133334628</c:v>
                </c:pt>
                <c:pt idx="2817">
                  <c:v>1621872582</c:v>
                </c:pt>
                <c:pt idx="2818">
                  <c:v>1472028492</c:v>
                </c:pt>
                <c:pt idx="2819">
                  <c:v>868353325</c:v>
                </c:pt>
                <c:pt idx="2820">
                  <c:v>1503641876</c:v>
                </c:pt>
                <c:pt idx="2821">
                  <c:v>88316702</c:v>
                </c:pt>
                <c:pt idx="2822">
                  <c:v>710180435</c:v>
                </c:pt>
                <c:pt idx="2823">
                  <c:v>297398256</c:v>
                </c:pt>
                <c:pt idx="2824">
                  <c:v>2147483647</c:v>
                </c:pt>
                <c:pt idx="2825">
                  <c:v>446621742</c:v>
                </c:pt>
                <c:pt idx="2826">
                  <c:v>2358549162</c:v>
                </c:pt>
                <c:pt idx="2827">
                  <c:v>796041904</c:v>
                </c:pt>
                <c:pt idx="2828">
                  <c:v>377670272</c:v>
                </c:pt>
                <c:pt idx="2829">
                  <c:v>772778656</c:v>
                </c:pt>
                <c:pt idx="2830">
                  <c:v>2077439442</c:v>
                </c:pt>
                <c:pt idx="2831">
                  <c:v>420284480</c:v>
                </c:pt>
                <c:pt idx="2832">
                  <c:v>57690288</c:v>
                </c:pt>
                <c:pt idx="2833">
                  <c:v>129955878</c:v>
                </c:pt>
                <c:pt idx="2834">
                  <c:v>1112342766</c:v>
                </c:pt>
                <c:pt idx="2835">
                  <c:v>2260596907</c:v>
                </c:pt>
                <c:pt idx="2836">
                  <c:v>211853070</c:v>
                </c:pt>
                <c:pt idx="2837">
                  <c:v>192739800</c:v>
                </c:pt>
                <c:pt idx="2838">
                  <c:v>432674340</c:v>
                </c:pt>
                <c:pt idx="2839">
                  <c:v>21793100</c:v>
                </c:pt>
                <c:pt idx="2840">
                  <c:v>189930500</c:v>
                </c:pt>
                <c:pt idx="2841">
                  <c:v>1899857826</c:v>
                </c:pt>
                <c:pt idx="2842">
                  <c:v>294190265</c:v>
                </c:pt>
                <c:pt idx="2843">
                  <c:v>983366622</c:v>
                </c:pt>
                <c:pt idx="2844">
                  <c:v>1079112832</c:v>
                </c:pt>
                <c:pt idx="2845">
                  <c:v>76971428</c:v>
                </c:pt>
                <c:pt idx="2846">
                  <c:v>124413319</c:v>
                </c:pt>
                <c:pt idx="2847">
                  <c:v>527601762</c:v>
                </c:pt>
                <c:pt idx="2848">
                  <c:v>32619353028</c:v>
                </c:pt>
                <c:pt idx="2849">
                  <c:v>1915468356</c:v>
                </c:pt>
                <c:pt idx="2850">
                  <c:v>74997987397</c:v>
                </c:pt>
                <c:pt idx="2851">
                  <c:v>113778280</c:v>
                </c:pt>
                <c:pt idx="2852">
                  <c:v>16141379605</c:v>
                </c:pt>
                <c:pt idx="2853">
                  <c:v>204195900</c:v>
                </c:pt>
                <c:pt idx="2854">
                  <c:v>129988170</c:v>
                </c:pt>
                <c:pt idx="2855">
                  <c:v>95491191</c:v>
                </c:pt>
                <c:pt idx="2856">
                  <c:v>68628504</c:v>
                </c:pt>
                <c:pt idx="2857">
                  <c:v>286322386</c:v>
                </c:pt>
                <c:pt idx="2858">
                  <c:v>790290235</c:v>
                </c:pt>
                <c:pt idx="2859">
                  <c:v>190759128</c:v>
                </c:pt>
                <c:pt idx="2860">
                  <c:v>679020144</c:v>
                </c:pt>
                <c:pt idx="2861">
                  <c:v>1235245212</c:v>
                </c:pt>
                <c:pt idx="2862">
                  <c:v>355457484</c:v>
                </c:pt>
                <c:pt idx="2863">
                  <c:v>304397520</c:v>
                </c:pt>
                <c:pt idx="2864">
                  <c:v>247655998</c:v>
                </c:pt>
                <c:pt idx="2865">
                  <c:v>1184073186</c:v>
                </c:pt>
                <c:pt idx="2866">
                  <c:v>304038294</c:v>
                </c:pt>
                <c:pt idx="2867">
                  <c:v>30848414</c:v>
                </c:pt>
                <c:pt idx="2868">
                  <c:v>329721746</c:v>
                </c:pt>
                <c:pt idx="2869">
                  <c:v>119817009</c:v>
                </c:pt>
                <c:pt idx="2870">
                  <c:v>308992023</c:v>
                </c:pt>
                <c:pt idx="2871">
                  <c:v>357942375</c:v>
                </c:pt>
                <c:pt idx="2872">
                  <c:v>386347775</c:v>
                </c:pt>
                <c:pt idx="2873">
                  <c:v>374281713</c:v>
                </c:pt>
                <c:pt idx="2874">
                  <c:v>1194558000</c:v>
                </c:pt>
                <c:pt idx="2875">
                  <c:v>1022966196</c:v>
                </c:pt>
                <c:pt idx="2876">
                  <c:v>368958786</c:v>
                </c:pt>
                <c:pt idx="2877">
                  <c:v>76934585</c:v>
                </c:pt>
                <c:pt idx="2878">
                  <c:v>85070400</c:v>
                </c:pt>
                <c:pt idx="2879">
                  <c:v>1419333886</c:v>
                </c:pt>
                <c:pt idx="2880">
                  <c:v>79403402</c:v>
                </c:pt>
                <c:pt idx="2881">
                  <c:v>615206130</c:v>
                </c:pt>
                <c:pt idx="2882">
                  <c:v>362995230</c:v>
                </c:pt>
                <c:pt idx="2883">
                  <c:v>273242798</c:v>
                </c:pt>
                <c:pt idx="2884">
                  <c:v>718560880</c:v>
                </c:pt>
                <c:pt idx="2885">
                  <c:v>492392592</c:v>
                </c:pt>
                <c:pt idx="2886">
                  <c:v>2147483647</c:v>
                </c:pt>
                <c:pt idx="2887">
                  <c:v>183806333</c:v>
                </c:pt>
                <c:pt idx="2888">
                  <c:v>413461477</c:v>
                </c:pt>
                <c:pt idx="2889">
                  <c:v>223584606</c:v>
                </c:pt>
                <c:pt idx="2890">
                  <c:v>844963210</c:v>
                </c:pt>
                <c:pt idx="2891">
                  <c:v>748015408</c:v>
                </c:pt>
                <c:pt idx="2892">
                  <c:v>1756723480</c:v>
                </c:pt>
                <c:pt idx="2893">
                  <c:v>463285248</c:v>
                </c:pt>
                <c:pt idx="2894">
                  <c:v>728056406</c:v>
                </c:pt>
                <c:pt idx="2895">
                  <c:v>1187205348</c:v>
                </c:pt>
                <c:pt idx="2896">
                  <c:v>199545519</c:v>
                </c:pt>
                <c:pt idx="2897">
                  <c:v>768193944</c:v>
                </c:pt>
                <c:pt idx="2898">
                  <c:v>262564496</c:v>
                </c:pt>
                <c:pt idx="2899">
                  <c:v>2147483647</c:v>
                </c:pt>
                <c:pt idx="2900">
                  <c:v>811935810</c:v>
                </c:pt>
                <c:pt idx="2901">
                  <c:v>1158952147</c:v>
                </c:pt>
                <c:pt idx="2902">
                  <c:v>127008785</c:v>
                </c:pt>
                <c:pt idx="2903">
                  <c:v>82189088</c:v>
                </c:pt>
                <c:pt idx="2904">
                  <c:v>851019400</c:v>
                </c:pt>
                <c:pt idx="2905">
                  <c:v>146304180</c:v>
                </c:pt>
                <c:pt idx="2906">
                  <c:v>29492390</c:v>
                </c:pt>
                <c:pt idx="2907">
                  <c:v>20391504</c:v>
                </c:pt>
                <c:pt idx="2908">
                  <c:v>304890875</c:v>
                </c:pt>
                <c:pt idx="2909">
                  <c:v>1106552880</c:v>
                </c:pt>
                <c:pt idx="2910">
                  <c:v>159840468</c:v>
                </c:pt>
                <c:pt idx="2911">
                  <c:v>147997456</c:v>
                </c:pt>
                <c:pt idx="2912">
                  <c:v>875505587</c:v>
                </c:pt>
                <c:pt idx="2913">
                  <c:v>204059769</c:v>
                </c:pt>
                <c:pt idx="2914">
                  <c:v>714929164</c:v>
                </c:pt>
                <c:pt idx="2915">
                  <c:v>155274042</c:v>
                </c:pt>
                <c:pt idx="2916">
                  <c:v>164588788</c:v>
                </c:pt>
                <c:pt idx="2917">
                  <c:v>85357935</c:v>
                </c:pt>
                <c:pt idx="2918">
                  <c:v>375793803</c:v>
                </c:pt>
                <c:pt idx="2919">
                  <c:v>1043859056</c:v>
                </c:pt>
                <c:pt idx="2920">
                  <c:v>824966162</c:v>
                </c:pt>
                <c:pt idx="2921">
                  <c:v>1517660246</c:v>
                </c:pt>
                <c:pt idx="2922">
                  <c:v>548132088</c:v>
                </c:pt>
                <c:pt idx="2923">
                  <c:v>1610601888</c:v>
                </c:pt>
                <c:pt idx="2924">
                  <c:v>728201934</c:v>
                </c:pt>
                <c:pt idx="2925">
                  <c:v>1819530144</c:v>
                </c:pt>
                <c:pt idx="2926">
                  <c:v>1751308060</c:v>
                </c:pt>
                <c:pt idx="2927">
                  <c:v>224908267</c:v>
                </c:pt>
                <c:pt idx="2928">
                  <c:v>1262743286</c:v>
                </c:pt>
                <c:pt idx="2929">
                  <c:v>522788949</c:v>
                </c:pt>
                <c:pt idx="2930">
                  <c:v>669655620</c:v>
                </c:pt>
                <c:pt idx="2931">
                  <c:v>105982540</c:v>
                </c:pt>
                <c:pt idx="2932">
                  <c:v>180065104</c:v>
                </c:pt>
                <c:pt idx="2933">
                  <c:v>2147483647</c:v>
                </c:pt>
                <c:pt idx="2934">
                  <c:v>986300178</c:v>
                </c:pt>
                <c:pt idx="2935">
                  <c:v>1583340213</c:v>
                </c:pt>
                <c:pt idx="2936">
                  <c:v>440687875</c:v>
                </c:pt>
                <c:pt idx="2937">
                  <c:v>1473641820</c:v>
                </c:pt>
                <c:pt idx="2938">
                  <c:v>123391744</c:v>
                </c:pt>
                <c:pt idx="2939">
                  <c:v>2147483647</c:v>
                </c:pt>
                <c:pt idx="2940">
                  <c:v>2266504627</c:v>
                </c:pt>
                <c:pt idx="2941">
                  <c:v>1656816675</c:v>
                </c:pt>
                <c:pt idx="2942">
                  <c:v>443990781</c:v>
                </c:pt>
                <c:pt idx="2943">
                  <c:v>757287630</c:v>
                </c:pt>
                <c:pt idx="2944">
                  <c:v>778508337</c:v>
                </c:pt>
                <c:pt idx="2945">
                  <c:v>637554871</c:v>
                </c:pt>
                <c:pt idx="2946">
                  <c:v>1357812768</c:v>
                </c:pt>
                <c:pt idx="2947">
                  <c:v>159604560</c:v>
                </c:pt>
                <c:pt idx="2948">
                  <c:v>6256768197</c:v>
                </c:pt>
                <c:pt idx="2949">
                  <c:v>83186635</c:v>
                </c:pt>
                <c:pt idx="2950">
                  <c:v>2147483647</c:v>
                </c:pt>
                <c:pt idx="2951">
                  <c:v>114055252</c:v>
                </c:pt>
                <c:pt idx="2952">
                  <c:v>335324660</c:v>
                </c:pt>
                <c:pt idx="2953">
                  <c:v>43475333</c:v>
                </c:pt>
                <c:pt idx="2954">
                  <c:v>133029911</c:v>
                </c:pt>
                <c:pt idx="2955">
                  <c:v>253174812</c:v>
                </c:pt>
                <c:pt idx="2956">
                  <c:v>1171750254</c:v>
                </c:pt>
                <c:pt idx="2957">
                  <c:v>409405496</c:v>
                </c:pt>
                <c:pt idx="2958">
                  <c:v>1754006717</c:v>
                </c:pt>
                <c:pt idx="2959">
                  <c:v>179723832</c:v>
                </c:pt>
                <c:pt idx="2960">
                  <c:v>2009384249</c:v>
                </c:pt>
                <c:pt idx="2961">
                  <c:v>733368310</c:v>
                </c:pt>
                <c:pt idx="2962">
                  <c:v>758326212</c:v>
                </c:pt>
                <c:pt idx="2963">
                  <c:v>2147483647</c:v>
                </c:pt>
                <c:pt idx="2964">
                  <c:v>308766352</c:v>
                </c:pt>
                <c:pt idx="2965">
                  <c:v>214985446</c:v>
                </c:pt>
                <c:pt idx="2966">
                  <c:v>277489009</c:v>
                </c:pt>
                <c:pt idx="2967">
                  <c:v>612387542</c:v>
                </c:pt>
                <c:pt idx="2968">
                  <c:v>388487190</c:v>
                </c:pt>
                <c:pt idx="2969">
                  <c:v>1177554897</c:v>
                </c:pt>
                <c:pt idx="2970">
                  <c:v>1218958000</c:v>
                </c:pt>
                <c:pt idx="2971">
                  <c:v>641870724</c:v>
                </c:pt>
                <c:pt idx="2972">
                  <c:v>375452300</c:v>
                </c:pt>
                <c:pt idx="2973">
                  <c:v>496574406</c:v>
                </c:pt>
                <c:pt idx="2974">
                  <c:v>575402128</c:v>
                </c:pt>
                <c:pt idx="2975">
                  <c:v>190948604</c:v>
                </c:pt>
                <c:pt idx="2976">
                  <c:v>580747080</c:v>
                </c:pt>
                <c:pt idx="2977">
                  <c:v>211012362</c:v>
                </c:pt>
                <c:pt idx="2978">
                  <c:v>156377304</c:v>
                </c:pt>
                <c:pt idx="2979">
                  <c:v>966495200</c:v>
                </c:pt>
                <c:pt idx="2980">
                  <c:v>180631594</c:v>
                </c:pt>
                <c:pt idx="2981">
                  <c:v>1998043092</c:v>
                </c:pt>
                <c:pt idx="2982">
                  <c:v>534045722</c:v>
                </c:pt>
                <c:pt idx="2983">
                  <c:v>129878400</c:v>
                </c:pt>
                <c:pt idx="2984">
                  <c:v>227304022</c:v>
                </c:pt>
                <c:pt idx="2985">
                  <c:v>211917401</c:v>
                </c:pt>
                <c:pt idx="2986">
                  <c:v>206227350</c:v>
                </c:pt>
                <c:pt idx="2987">
                  <c:v>1796003098</c:v>
                </c:pt>
                <c:pt idx="2988">
                  <c:v>171707760</c:v>
                </c:pt>
                <c:pt idx="2989">
                  <c:v>870090264</c:v>
                </c:pt>
                <c:pt idx="2990">
                  <c:v>66021480</c:v>
                </c:pt>
                <c:pt idx="2991">
                  <c:v>1029582854</c:v>
                </c:pt>
                <c:pt idx="2992">
                  <c:v>987100225</c:v>
                </c:pt>
                <c:pt idx="2993">
                  <c:v>838510479</c:v>
                </c:pt>
                <c:pt idx="2994">
                  <c:v>1755592992</c:v>
                </c:pt>
                <c:pt idx="2995">
                  <c:v>307436611</c:v>
                </c:pt>
                <c:pt idx="2996">
                  <c:v>546555453</c:v>
                </c:pt>
                <c:pt idx="2997">
                  <c:v>1843835805</c:v>
                </c:pt>
                <c:pt idx="2998">
                  <c:v>538653675</c:v>
                </c:pt>
                <c:pt idx="2999">
                  <c:v>207248640</c:v>
                </c:pt>
                <c:pt idx="3000">
                  <c:v>623874960</c:v>
                </c:pt>
                <c:pt idx="3001">
                  <c:v>66163500</c:v>
                </c:pt>
                <c:pt idx="3002">
                  <c:v>1244921356</c:v>
                </c:pt>
                <c:pt idx="3003">
                  <c:v>973761156</c:v>
                </c:pt>
                <c:pt idx="3004">
                  <c:v>602348160</c:v>
                </c:pt>
                <c:pt idx="3005">
                  <c:v>271215357</c:v>
                </c:pt>
                <c:pt idx="3006">
                  <c:v>459149244</c:v>
                </c:pt>
                <c:pt idx="3007">
                  <c:v>171468649</c:v>
                </c:pt>
                <c:pt idx="3008">
                  <c:v>1346038476</c:v>
                </c:pt>
                <c:pt idx="3009">
                  <c:v>346374020</c:v>
                </c:pt>
                <c:pt idx="3010">
                  <c:v>754698816</c:v>
                </c:pt>
                <c:pt idx="3011">
                  <c:v>1306317460</c:v>
                </c:pt>
                <c:pt idx="3012">
                  <c:v>622165280</c:v>
                </c:pt>
                <c:pt idx="3013">
                  <c:v>20204343</c:v>
                </c:pt>
                <c:pt idx="3014">
                  <c:v>2147483647</c:v>
                </c:pt>
                <c:pt idx="3015">
                  <c:v>2147483647</c:v>
                </c:pt>
                <c:pt idx="3016">
                  <c:v>527412039</c:v>
                </c:pt>
                <c:pt idx="3017">
                  <c:v>71817124</c:v>
                </c:pt>
                <c:pt idx="3018">
                  <c:v>356518657</c:v>
                </c:pt>
                <c:pt idx="3019">
                  <c:v>135013451</c:v>
                </c:pt>
                <c:pt idx="3020">
                  <c:v>667698896</c:v>
                </c:pt>
                <c:pt idx="3021">
                  <c:v>472393753</c:v>
                </c:pt>
                <c:pt idx="3022">
                  <c:v>2147483647</c:v>
                </c:pt>
                <c:pt idx="3023">
                  <c:v>7082804576</c:v>
                </c:pt>
                <c:pt idx="3024">
                  <c:v>943060118</c:v>
                </c:pt>
                <c:pt idx="3025">
                  <c:v>1047479655</c:v>
                </c:pt>
                <c:pt idx="3026">
                  <c:v>391228488</c:v>
                </c:pt>
                <c:pt idx="3027">
                  <c:v>921798416</c:v>
                </c:pt>
                <c:pt idx="3028">
                  <c:v>926266756</c:v>
                </c:pt>
                <c:pt idx="3029">
                  <c:v>914693155</c:v>
                </c:pt>
                <c:pt idx="3030">
                  <c:v>1188332536</c:v>
                </c:pt>
                <c:pt idx="3031">
                  <c:v>105164614</c:v>
                </c:pt>
                <c:pt idx="3032">
                  <c:v>151696106</c:v>
                </c:pt>
                <c:pt idx="3033">
                  <c:v>446836500</c:v>
                </c:pt>
                <c:pt idx="3034">
                  <c:v>543989104</c:v>
                </c:pt>
                <c:pt idx="3035">
                  <c:v>195884000</c:v>
                </c:pt>
                <c:pt idx="3036">
                  <c:v>1621517130</c:v>
                </c:pt>
                <c:pt idx="3037">
                  <c:v>1905432815</c:v>
                </c:pt>
                <c:pt idx="3038">
                  <c:v>828647064</c:v>
                </c:pt>
                <c:pt idx="3039">
                  <c:v>289896880</c:v>
                </c:pt>
                <c:pt idx="3040">
                  <c:v>2002806432</c:v>
                </c:pt>
                <c:pt idx="3041">
                  <c:v>193441395</c:v>
                </c:pt>
                <c:pt idx="3042">
                  <c:v>1755064271</c:v>
                </c:pt>
                <c:pt idx="3043">
                  <c:v>229344136</c:v>
                </c:pt>
                <c:pt idx="3044">
                  <c:v>856912996</c:v>
                </c:pt>
                <c:pt idx="3045">
                  <c:v>1985783029</c:v>
                </c:pt>
                <c:pt idx="3046">
                  <c:v>206342603</c:v>
                </c:pt>
                <c:pt idx="3047">
                  <c:v>74017405</c:v>
                </c:pt>
                <c:pt idx="3048">
                  <c:v>1722428655</c:v>
                </c:pt>
                <c:pt idx="3049">
                  <c:v>2147483647</c:v>
                </c:pt>
                <c:pt idx="3050">
                  <c:v>2060654316</c:v>
                </c:pt>
                <c:pt idx="3051">
                  <c:v>266997234</c:v>
                </c:pt>
                <c:pt idx="3052">
                  <c:v>1250001935</c:v>
                </c:pt>
                <c:pt idx="3053">
                  <c:v>179597876</c:v>
                </c:pt>
                <c:pt idx="3054">
                  <c:v>380030000</c:v>
                </c:pt>
                <c:pt idx="3055">
                  <c:v>1238750968</c:v>
                </c:pt>
                <c:pt idx="3056">
                  <c:v>355816950</c:v>
                </c:pt>
                <c:pt idx="3057">
                  <c:v>1393336080</c:v>
                </c:pt>
                <c:pt idx="3058">
                  <c:v>45277074</c:v>
                </c:pt>
                <c:pt idx="3059">
                  <c:v>2063109448</c:v>
                </c:pt>
                <c:pt idx="3060">
                  <c:v>936873828</c:v>
                </c:pt>
                <c:pt idx="3061">
                  <c:v>618960623</c:v>
                </c:pt>
                <c:pt idx="3062">
                  <c:v>180634239</c:v>
                </c:pt>
                <c:pt idx="3063">
                  <c:v>57088324</c:v>
                </c:pt>
                <c:pt idx="3064">
                  <c:v>310731665</c:v>
                </c:pt>
                <c:pt idx="3065">
                  <c:v>1333649040</c:v>
                </c:pt>
                <c:pt idx="3066">
                  <c:v>2147483647</c:v>
                </c:pt>
                <c:pt idx="3067">
                  <c:v>1216890834</c:v>
                </c:pt>
                <c:pt idx="3068">
                  <c:v>507120312</c:v>
                </c:pt>
                <c:pt idx="3069">
                  <c:v>534602265</c:v>
                </c:pt>
                <c:pt idx="3070">
                  <c:v>455079408</c:v>
                </c:pt>
                <c:pt idx="3071">
                  <c:v>244693974</c:v>
                </c:pt>
                <c:pt idx="3072">
                  <c:v>58642805</c:v>
                </c:pt>
                <c:pt idx="3073">
                  <c:v>791744289</c:v>
                </c:pt>
                <c:pt idx="3074">
                  <c:v>1085795100</c:v>
                </c:pt>
                <c:pt idx="3075">
                  <c:v>308892336</c:v>
                </c:pt>
                <c:pt idx="3076">
                  <c:v>1276669350</c:v>
                </c:pt>
                <c:pt idx="3077">
                  <c:v>2084678228</c:v>
                </c:pt>
                <c:pt idx="3078">
                  <c:v>238868214</c:v>
                </c:pt>
                <c:pt idx="3079">
                  <c:v>562666100</c:v>
                </c:pt>
                <c:pt idx="3080">
                  <c:v>1556802135</c:v>
                </c:pt>
                <c:pt idx="3081">
                  <c:v>2248797972</c:v>
                </c:pt>
                <c:pt idx="3082">
                  <c:v>40923306</c:v>
                </c:pt>
                <c:pt idx="3083">
                  <c:v>619828640</c:v>
                </c:pt>
                <c:pt idx="3084">
                  <c:v>1152379908</c:v>
                </c:pt>
                <c:pt idx="3085">
                  <c:v>42092588</c:v>
                </c:pt>
                <c:pt idx="3086">
                  <c:v>385127154</c:v>
                </c:pt>
                <c:pt idx="3087">
                  <c:v>1491400240</c:v>
                </c:pt>
                <c:pt idx="3088">
                  <c:v>958294792</c:v>
                </c:pt>
                <c:pt idx="3089">
                  <c:v>425458974</c:v>
                </c:pt>
                <c:pt idx="3090">
                  <c:v>332181666</c:v>
                </c:pt>
                <c:pt idx="3091">
                  <c:v>64505454</c:v>
                </c:pt>
                <c:pt idx="3092">
                  <c:v>159294846</c:v>
                </c:pt>
                <c:pt idx="3093">
                  <c:v>1008965780</c:v>
                </c:pt>
                <c:pt idx="3094">
                  <c:v>154065408</c:v>
                </c:pt>
                <c:pt idx="3095">
                  <c:v>593744256</c:v>
                </c:pt>
                <c:pt idx="3096">
                  <c:v>1045605264</c:v>
                </c:pt>
                <c:pt idx="3097">
                  <c:v>1409812634</c:v>
                </c:pt>
                <c:pt idx="3098">
                  <c:v>750908452</c:v>
                </c:pt>
                <c:pt idx="3099">
                  <c:v>1732228680</c:v>
                </c:pt>
                <c:pt idx="3100">
                  <c:v>134104410</c:v>
                </c:pt>
                <c:pt idx="3101">
                  <c:v>792403340</c:v>
                </c:pt>
                <c:pt idx="3102">
                  <c:v>2147483647</c:v>
                </c:pt>
                <c:pt idx="3103">
                  <c:v>656735208</c:v>
                </c:pt>
                <c:pt idx="3104">
                  <c:v>3910589555</c:v>
                </c:pt>
                <c:pt idx="3105">
                  <c:v>1134848604</c:v>
                </c:pt>
                <c:pt idx="3106">
                  <c:v>95190875</c:v>
                </c:pt>
                <c:pt idx="3107">
                  <c:v>378930112</c:v>
                </c:pt>
                <c:pt idx="3108">
                  <c:v>1745954798</c:v>
                </c:pt>
                <c:pt idx="3109">
                  <c:v>1360095316</c:v>
                </c:pt>
                <c:pt idx="3110">
                  <c:v>722995950</c:v>
                </c:pt>
                <c:pt idx="3111">
                  <c:v>1582963650</c:v>
                </c:pt>
                <c:pt idx="3112">
                  <c:v>1512019824</c:v>
                </c:pt>
                <c:pt idx="3113">
                  <c:v>418241376</c:v>
                </c:pt>
                <c:pt idx="3114">
                  <c:v>929936346</c:v>
                </c:pt>
                <c:pt idx="3115">
                  <c:v>465450000</c:v>
                </c:pt>
                <c:pt idx="3116">
                  <c:v>1501113600</c:v>
                </c:pt>
                <c:pt idx="3117">
                  <c:v>1543900636</c:v>
                </c:pt>
                <c:pt idx="3118">
                  <c:v>376575440</c:v>
                </c:pt>
                <c:pt idx="3119">
                  <c:v>270166560</c:v>
                </c:pt>
                <c:pt idx="3120">
                  <c:v>504964005</c:v>
                </c:pt>
                <c:pt idx="3121">
                  <c:v>406594526</c:v>
                </c:pt>
                <c:pt idx="3122">
                  <c:v>566248144</c:v>
                </c:pt>
                <c:pt idx="3123">
                  <c:v>496238344</c:v>
                </c:pt>
                <c:pt idx="3124">
                  <c:v>281704572</c:v>
                </c:pt>
                <c:pt idx="3125">
                  <c:v>1514230144</c:v>
                </c:pt>
                <c:pt idx="3126">
                  <c:v>1024001961</c:v>
                </c:pt>
                <c:pt idx="3127">
                  <c:v>89011226</c:v>
                </c:pt>
                <c:pt idx="3128">
                  <c:v>418697904</c:v>
                </c:pt>
                <c:pt idx="3129">
                  <c:v>796339215</c:v>
                </c:pt>
                <c:pt idx="3130">
                  <c:v>1607770659</c:v>
                </c:pt>
                <c:pt idx="3131">
                  <c:v>427072750</c:v>
                </c:pt>
                <c:pt idx="3132">
                  <c:v>39567268</c:v>
                </c:pt>
                <c:pt idx="3133">
                  <c:v>373505881</c:v>
                </c:pt>
                <c:pt idx="3134">
                  <c:v>100132914</c:v>
                </c:pt>
                <c:pt idx="3135">
                  <c:v>2042094789</c:v>
                </c:pt>
                <c:pt idx="3136">
                  <c:v>248951736</c:v>
                </c:pt>
                <c:pt idx="3137">
                  <c:v>786163198</c:v>
                </c:pt>
                <c:pt idx="3138">
                  <c:v>986965056</c:v>
                </c:pt>
                <c:pt idx="3139">
                  <c:v>1123740310</c:v>
                </c:pt>
                <c:pt idx="3140">
                  <c:v>927537408</c:v>
                </c:pt>
                <c:pt idx="3141">
                  <c:v>355488000</c:v>
                </c:pt>
                <c:pt idx="3142">
                  <c:v>280650184</c:v>
                </c:pt>
                <c:pt idx="3143">
                  <c:v>494161536</c:v>
                </c:pt>
                <c:pt idx="3144">
                  <c:v>2147483647</c:v>
                </c:pt>
                <c:pt idx="3145">
                  <c:v>2063576280</c:v>
                </c:pt>
                <c:pt idx="3146">
                  <c:v>1118610857</c:v>
                </c:pt>
                <c:pt idx="3147">
                  <c:v>429798792</c:v>
                </c:pt>
                <c:pt idx="3148">
                  <c:v>881225592</c:v>
                </c:pt>
                <c:pt idx="3149">
                  <c:v>495162108</c:v>
                </c:pt>
                <c:pt idx="3150">
                  <c:v>125920581</c:v>
                </c:pt>
                <c:pt idx="3151">
                  <c:v>1960783866</c:v>
                </c:pt>
                <c:pt idx="3152">
                  <c:v>98256634</c:v>
                </c:pt>
                <c:pt idx="3153">
                  <c:v>597459456</c:v>
                </c:pt>
                <c:pt idx="3154">
                  <c:v>1028697570</c:v>
                </c:pt>
                <c:pt idx="3155">
                  <c:v>412549273</c:v>
                </c:pt>
                <c:pt idx="3156">
                  <c:v>2147483647</c:v>
                </c:pt>
                <c:pt idx="3157">
                  <c:v>391300800</c:v>
                </c:pt>
                <c:pt idx="3158">
                  <c:v>3371185196</c:v>
                </c:pt>
                <c:pt idx="3159">
                  <c:v>320522355</c:v>
                </c:pt>
                <c:pt idx="3160">
                  <c:v>226853088</c:v>
                </c:pt>
                <c:pt idx="3161">
                  <c:v>276609669</c:v>
                </c:pt>
                <c:pt idx="3162">
                  <c:v>2311011652</c:v>
                </c:pt>
                <c:pt idx="3163">
                  <c:v>1311111683</c:v>
                </c:pt>
                <c:pt idx="3164">
                  <c:v>33307020</c:v>
                </c:pt>
                <c:pt idx="3165">
                  <c:v>199136306</c:v>
                </c:pt>
                <c:pt idx="3166">
                  <c:v>208464930</c:v>
                </c:pt>
                <c:pt idx="3167">
                  <c:v>502775872</c:v>
                </c:pt>
                <c:pt idx="3168">
                  <c:v>1982933790</c:v>
                </c:pt>
                <c:pt idx="3169">
                  <c:v>900592560</c:v>
                </c:pt>
                <c:pt idx="3170">
                  <c:v>499126400</c:v>
                </c:pt>
                <c:pt idx="3171">
                  <c:v>98898800</c:v>
                </c:pt>
                <c:pt idx="3172">
                  <c:v>1142325600</c:v>
                </c:pt>
                <c:pt idx="3173">
                  <c:v>560663928</c:v>
                </c:pt>
                <c:pt idx="3174">
                  <c:v>2147483647</c:v>
                </c:pt>
                <c:pt idx="3175">
                  <c:v>1076779410</c:v>
                </c:pt>
                <c:pt idx="3176">
                  <c:v>13562973135</c:v>
                </c:pt>
                <c:pt idx="3177">
                  <c:v>103522752</c:v>
                </c:pt>
                <c:pt idx="3178">
                  <c:v>951384256</c:v>
                </c:pt>
                <c:pt idx="3179">
                  <c:v>1935380220</c:v>
                </c:pt>
                <c:pt idx="3180">
                  <c:v>556796799</c:v>
                </c:pt>
                <c:pt idx="3181">
                  <c:v>1232465930</c:v>
                </c:pt>
                <c:pt idx="3182">
                  <c:v>1511676936</c:v>
                </c:pt>
                <c:pt idx="3183">
                  <c:v>530555278</c:v>
                </c:pt>
                <c:pt idx="3184">
                  <c:v>1132006089</c:v>
                </c:pt>
                <c:pt idx="3185">
                  <c:v>1303596624</c:v>
                </c:pt>
                <c:pt idx="3186">
                  <c:v>1017637984</c:v>
                </c:pt>
                <c:pt idx="3187">
                  <c:v>2147483647</c:v>
                </c:pt>
                <c:pt idx="3188">
                  <c:v>1267944000</c:v>
                </c:pt>
                <c:pt idx="3189">
                  <c:v>1029972516</c:v>
                </c:pt>
                <c:pt idx="3190">
                  <c:v>150227394</c:v>
                </c:pt>
                <c:pt idx="3191">
                  <c:v>248106235</c:v>
                </c:pt>
                <c:pt idx="3192">
                  <c:v>264736800</c:v>
                </c:pt>
                <c:pt idx="3193">
                  <c:v>2043043504</c:v>
                </c:pt>
                <c:pt idx="3194">
                  <c:v>760763610</c:v>
                </c:pt>
                <c:pt idx="3195">
                  <c:v>909285666</c:v>
                </c:pt>
                <c:pt idx="3196">
                  <c:v>2147483647</c:v>
                </c:pt>
                <c:pt idx="3197">
                  <c:v>5192823154</c:v>
                </c:pt>
                <c:pt idx="3198">
                  <c:v>162748098</c:v>
                </c:pt>
                <c:pt idx="3199">
                  <c:v>41404800</c:v>
                </c:pt>
                <c:pt idx="3200">
                  <c:v>467963440</c:v>
                </c:pt>
                <c:pt idx="3201">
                  <c:v>1258482694</c:v>
                </c:pt>
                <c:pt idx="3202">
                  <c:v>921928163</c:v>
                </c:pt>
                <c:pt idx="3203">
                  <c:v>344879084</c:v>
                </c:pt>
                <c:pt idx="3204">
                  <c:v>1156732445</c:v>
                </c:pt>
                <c:pt idx="3205">
                  <c:v>147717302</c:v>
                </c:pt>
                <c:pt idx="3206">
                  <c:v>87943786</c:v>
                </c:pt>
                <c:pt idx="3207">
                  <c:v>550292238</c:v>
                </c:pt>
                <c:pt idx="3208">
                  <c:v>156280900</c:v>
                </c:pt>
                <c:pt idx="3209">
                  <c:v>1993071680</c:v>
                </c:pt>
                <c:pt idx="3210">
                  <c:v>533463162</c:v>
                </c:pt>
                <c:pt idx="3211">
                  <c:v>286203687</c:v>
                </c:pt>
                <c:pt idx="3212">
                  <c:v>1466217240</c:v>
                </c:pt>
                <c:pt idx="3213">
                  <c:v>1309872128</c:v>
                </c:pt>
                <c:pt idx="3214">
                  <c:v>1275504660</c:v>
                </c:pt>
                <c:pt idx="3215">
                  <c:v>418637205</c:v>
                </c:pt>
                <c:pt idx="3216">
                  <c:v>785976056</c:v>
                </c:pt>
                <c:pt idx="3217">
                  <c:v>1564956394</c:v>
                </c:pt>
                <c:pt idx="3218">
                  <c:v>1519231711</c:v>
                </c:pt>
                <c:pt idx="3219">
                  <c:v>278672658</c:v>
                </c:pt>
                <c:pt idx="3220">
                  <c:v>17085294798</c:v>
                </c:pt>
                <c:pt idx="3221">
                  <c:v>145526952</c:v>
                </c:pt>
                <c:pt idx="3222">
                  <c:v>743967130</c:v>
                </c:pt>
                <c:pt idx="3223">
                  <c:v>607496127</c:v>
                </c:pt>
                <c:pt idx="3224">
                  <c:v>1178316405</c:v>
                </c:pt>
                <c:pt idx="3225">
                  <c:v>1146560688</c:v>
                </c:pt>
                <c:pt idx="3226">
                  <c:v>1957368600</c:v>
                </c:pt>
                <c:pt idx="3227">
                  <c:v>5398314582</c:v>
                </c:pt>
                <c:pt idx="3228">
                  <c:v>1461684556</c:v>
                </c:pt>
                <c:pt idx="3229">
                  <c:v>300713952</c:v>
                </c:pt>
                <c:pt idx="3230">
                  <c:v>160793277</c:v>
                </c:pt>
                <c:pt idx="3231">
                  <c:v>1427701293</c:v>
                </c:pt>
                <c:pt idx="3232">
                  <c:v>2220176340</c:v>
                </c:pt>
                <c:pt idx="3233">
                  <c:v>646269084</c:v>
                </c:pt>
                <c:pt idx="3234">
                  <c:v>245441694</c:v>
                </c:pt>
                <c:pt idx="3235">
                  <c:v>173759468</c:v>
                </c:pt>
                <c:pt idx="3236">
                  <c:v>767494550</c:v>
                </c:pt>
                <c:pt idx="3237">
                  <c:v>1827494543</c:v>
                </c:pt>
                <c:pt idx="3238">
                  <c:v>326977244</c:v>
                </c:pt>
                <c:pt idx="3239">
                  <c:v>2893897207</c:v>
                </c:pt>
                <c:pt idx="3240">
                  <c:v>105837520</c:v>
                </c:pt>
                <c:pt idx="3241">
                  <c:v>1023176479</c:v>
                </c:pt>
                <c:pt idx="3242">
                  <c:v>862319199</c:v>
                </c:pt>
                <c:pt idx="3243">
                  <c:v>493563684</c:v>
                </c:pt>
                <c:pt idx="3244">
                  <c:v>379345476</c:v>
                </c:pt>
                <c:pt idx="3245">
                  <c:v>620567784</c:v>
                </c:pt>
                <c:pt idx="3246">
                  <c:v>157060872</c:v>
                </c:pt>
                <c:pt idx="3247">
                  <c:v>1759136838</c:v>
                </c:pt>
                <c:pt idx="3248">
                  <c:v>1627309777</c:v>
                </c:pt>
                <c:pt idx="3249">
                  <c:v>87932979</c:v>
                </c:pt>
                <c:pt idx="3250">
                  <c:v>137598450</c:v>
                </c:pt>
                <c:pt idx="3251">
                  <c:v>200397435</c:v>
                </c:pt>
                <c:pt idx="3252">
                  <c:v>1110674186</c:v>
                </c:pt>
                <c:pt idx="3253">
                  <c:v>379086670</c:v>
                </c:pt>
                <c:pt idx="3254">
                  <c:v>267698634</c:v>
                </c:pt>
                <c:pt idx="3255">
                  <c:v>317102400</c:v>
                </c:pt>
                <c:pt idx="3256">
                  <c:v>1174247550</c:v>
                </c:pt>
                <c:pt idx="3257">
                  <c:v>650937168</c:v>
                </c:pt>
                <c:pt idx="3258">
                  <c:v>138827096</c:v>
                </c:pt>
                <c:pt idx="3259">
                  <c:v>2147483647</c:v>
                </c:pt>
                <c:pt idx="3260">
                  <c:v>189330649</c:v>
                </c:pt>
                <c:pt idx="3261">
                  <c:v>313139352</c:v>
                </c:pt>
                <c:pt idx="3262">
                  <c:v>1600225920</c:v>
                </c:pt>
                <c:pt idx="3263">
                  <c:v>64684011</c:v>
                </c:pt>
                <c:pt idx="3264">
                  <c:v>684821523</c:v>
                </c:pt>
                <c:pt idx="3265">
                  <c:v>127549796</c:v>
                </c:pt>
                <c:pt idx="3266">
                  <c:v>1095037592</c:v>
                </c:pt>
                <c:pt idx="3267">
                  <c:v>1332150347</c:v>
                </c:pt>
                <c:pt idx="3268">
                  <c:v>440344992</c:v>
                </c:pt>
                <c:pt idx="3269">
                  <c:v>2125523140</c:v>
                </c:pt>
                <c:pt idx="3270">
                  <c:v>136712059</c:v>
                </c:pt>
                <c:pt idx="3271">
                  <c:v>263224122</c:v>
                </c:pt>
                <c:pt idx="3272">
                  <c:v>35611804</c:v>
                </c:pt>
                <c:pt idx="3273">
                  <c:v>3466361488</c:v>
                </c:pt>
                <c:pt idx="3274">
                  <c:v>453328120</c:v>
                </c:pt>
                <c:pt idx="3275">
                  <c:v>1775600736</c:v>
                </c:pt>
                <c:pt idx="3276">
                  <c:v>109494970</c:v>
                </c:pt>
                <c:pt idx="3277">
                  <c:v>306861944</c:v>
                </c:pt>
                <c:pt idx="3278">
                  <c:v>616805226</c:v>
                </c:pt>
                <c:pt idx="3279">
                  <c:v>155709528</c:v>
                </c:pt>
                <c:pt idx="3280">
                  <c:v>147994308</c:v>
                </c:pt>
                <c:pt idx="3281">
                  <c:v>826326450</c:v>
                </c:pt>
                <c:pt idx="3282">
                  <c:v>1188324900</c:v>
                </c:pt>
                <c:pt idx="3283">
                  <c:v>2147483647</c:v>
                </c:pt>
                <c:pt idx="3284">
                  <c:v>290288737</c:v>
                </c:pt>
                <c:pt idx="3285">
                  <c:v>6692816483</c:v>
                </c:pt>
                <c:pt idx="3286">
                  <c:v>1725780738</c:v>
                </c:pt>
                <c:pt idx="3287">
                  <c:v>56140480</c:v>
                </c:pt>
                <c:pt idx="3288">
                  <c:v>158055516</c:v>
                </c:pt>
                <c:pt idx="3289">
                  <c:v>19714400</c:v>
                </c:pt>
                <c:pt idx="3290">
                  <c:v>6252702417</c:v>
                </c:pt>
                <c:pt idx="3291">
                  <c:v>907594844</c:v>
                </c:pt>
                <c:pt idx="3292">
                  <c:v>726074330</c:v>
                </c:pt>
                <c:pt idx="3293">
                  <c:v>817928496</c:v>
                </c:pt>
                <c:pt idx="3294">
                  <c:v>90430236</c:v>
                </c:pt>
                <c:pt idx="3295">
                  <c:v>218023106</c:v>
                </c:pt>
                <c:pt idx="3296">
                  <c:v>915597800</c:v>
                </c:pt>
                <c:pt idx="3297">
                  <c:v>754747227</c:v>
                </c:pt>
                <c:pt idx="3298">
                  <c:v>397267340</c:v>
                </c:pt>
                <c:pt idx="3299">
                  <c:v>772549799</c:v>
                </c:pt>
                <c:pt idx="3300">
                  <c:v>1198353520</c:v>
                </c:pt>
                <c:pt idx="3301">
                  <c:v>38198448</c:v>
                </c:pt>
                <c:pt idx="3302">
                  <c:v>1243107124</c:v>
                </c:pt>
                <c:pt idx="3303">
                  <c:v>1219750056</c:v>
                </c:pt>
                <c:pt idx="3304">
                  <c:v>1210446255</c:v>
                </c:pt>
                <c:pt idx="3305">
                  <c:v>168723975</c:v>
                </c:pt>
                <c:pt idx="3306">
                  <c:v>1274543820</c:v>
                </c:pt>
                <c:pt idx="3307">
                  <c:v>2147483647</c:v>
                </c:pt>
                <c:pt idx="3308">
                  <c:v>929666440</c:v>
                </c:pt>
                <c:pt idx="3309">
                  <c:v>192513492</c:v>
                </c:pt>
                <c:pt idx="3310">
                  <c:v>554624004</c:v>
                </c:pt>
                <c:pt idx="3311">
                  <c:v>588709331</c:v>
                </c:pt>
                <c:pt idx="3312">
                  <c:v>407355216</c:v>
                </c:pt>
                <c:pt idx="3313">
                  <c:v>217612768</c:v>
                </c:pt>
                <c:pt idx="3314">
                  <c:v>98971092</c:v>
                </c:pt>
                <c:pt idx="3315">
                  <c:v>524375766</c:v>
                </c:pt>
                <c:pt idx="3316">
                  <c:v>316137272</c:v>
                </c:pt>
                <c:pt idx="3317">
                  <c:v>1235599953</c:v>
                </c:pt>
                <c:pt idx="3318">
                  <c:v>253903410</c:v>
                </c:pt>
                <c:pt idx="3319">
                  <c:v>209888592</c:v>
                </c:pt>
                <c:pt idx="3320">
                  <c:v>178407768</c:v>
                </c:pt>
                <c:pt idx="3321">
                  <c:v>952728436</c:v>
                </c:pt>
                <c:pt idx="3322">
                  <c:v>809938689</c:v>
                </c:pt>
                <c:pt idx="3323">
                  <c:v>1046027800</c:v>
                </c:pt>
                <c:pt idx="3324">
                  <c:v>526061838</c:v>
                </c:pt>
                <c:pt idx="3325">
                  <c:v>408225120</c:v>
                </c:pt>
                <c:pt idx="3326">
                  <c:v>1644658510</c:v>
                </c:pt>
                <c:pt idx="3327">
                  <c:v>459572122</c:v>
                </c:pt>
                <c:pt idx="3328">
                  <c:v>74350612</c:v>
                </c:pt>
                <c:pt idx="3329">
                  <c:v>501210000</c:v>
                </c:pt>
                <c:pt idx="3330">
                  <c:v>178362096</c:v>
                </c:pt>
                <c:pt idx="3331">
                  <c:v>107768934</c:v>
                </c:pt>
                <c:pt idx="3332">
                  <c:v>132680268</c:v>
                </c:pt>
                <c:pt idx="3333">
                  <c:v>192870916</c:v>
                </c:pt>
                <c:pt idx="3334">
                  <c:v>524503518</c:v>
                </c:pt>
                <c:pt idx="3335">
                  <c:v>178066460</c:v>
                </c:pt>
                <c:pt idx="3336">
                  <c:v>512993291</c:v>
                </c:pt>
                <c:pt idx="3337">
                  <c:v>1381667625</c:v>
                </c:pt>
                <c:pt idx="3338">
                  <c:v>1042420192</c:v>
                </c:pt>
                <c:pt idx="3339">
                  <c:v>3125523794</c:v>
                </c:pt>
                <c:pt idx="3340">
                  <c:v>215802648</c:v>
                </c:pt>
                <c:pt idx="3341">
                  <c:v>178074162</c:v>
                </c:pt>
                <c:pt idx="3342">
                  <c:v>292079860</c:v>
                </c:pt>
                <c:pt idx="3343">
                  <c:v>618649135</c:v>
                </c:pt>
                <c:pt idx="3344">
                  <c:v>2662586999</c:v>
                </c:pt>
                <c:pt idx="3345">
                  <c:v>1048126720</c:v>
                </c:pt>
                <c:pt idx="3346">
                  <c:v>507653270</c:v>
                </c:pt>
                <c:pt idx="3347">
                  <c:v>1493972402</c:v>
                </c:pt>
                <c:pt idx="3348">
                  <c:v>26891261075</c:v>
                </c:pt>
                <c:pt idx="3349">
                  <c:v>677893935</c:v>
                </c:pt>
                <c:pt idx="3350">
                  <c:v>169133952</c:v>
                </c:pt>
                <c:pt idx="3351">
                  <c:v>19989147464</c:v>
                </c:pt>
                <c:pt idx="3352">
                  <c:v>532082000</c:v>
                </c:pt>
                <c:pt idx="3353">
                  <c:v>345334311</c:v>
                </c:pt>
                <c:pt idx="3354">
                  <c:v>288059749</c:v>
                </c:pt>
                <c:pt idx="3355">
                  <c:v>190653888</c:v>
                </c:pt>
                <c:pt idx="3356">
                  <c:v>368894296</c:v>
                </c:pt>
                <c:pt idx="3357">
                  <c:v>27266416930</c:v>
                </c:pt>
                <c:pt idx="3358">
                  <c:v>404863060</c:v>
                </c:pt>
                <c:pt idx="3359">
                  <c:v>612263392</c:v>
                </c:pt>
                <c:pt idx="3360">
                  <c:v>462517083</c:v>
                </c:pt>
                <c:pt idx="3361">
                  <c:v>196881256</c:v>
                </c:pt>
                <c:pt idx="3362">
                  <c:v>1708426533</c:v>
                </c:pt>
                <c:pt idx="3363">
                  <c:v>13808048321</c:v>
                </c:pt>
                <c:pt idx="3364">
                  <c:v>956109000</c:v>
                </c:pt>
                <c:pt idx="3365">
                  <c:v>2147483647</c:v>
                </c:pt>
                <c:pt idx="3366">
                  <c:v>328425720</c:v>
                </c:pt>
                <c:pt idx="3367">
                  <c:v>618309801</c:v>
                </c:pt>
                <c:pt idx="3368">
                  <c:v>119675908</c:v>
                </c:pt>
                <c:pt idx="3369">
                  <c:v>4294967294</c:v>
                </c:pt>
                <c:pt idx="3370">
                  <c:v>541695574</c:v>
                </c:pt>
                <c:pt idx="3371">
                  <c:v>174384540</c:v>
                </c:pt>
                <c:pt idx="3372">
                  <c:v>1073299878</c:v>
                </c:pt>
                <c:pt idx="3373">
                  <c:v>485878239</c:v>
                </c:pt>
                <c:pt idx="3374">
                  <c:v>1667212848</c:v>
                </c:pt>
                <c:pt idx="3375">
                  <c:v>748652980</c:v>
                </c:pt>
                <c:pt idx="3376">
                  <c:v>735883274</c:v>
                </c:pt>
                <c:pt idx="3377">
                  <c:v>1219989000</c:v>
                </c:pt>
                <c:pt idx="3378">
                  <c:v>1556817801</c:v>
                </c:pt>
                <c:pt idx="3379">
                  <c:v>1903640685</c:v>
                </c:pt>
                <c:pt idx="3380">
                  <c:v>473890244</c:v>
                </c:pt>
                <c:pt idx="3381">
                  <c:v>988224808</c:v>
                </c:pt>
                <c:pt idx="3382">
                  <c:v>808811895</c:v>
                </c:pt>
                <c:pt idx="3383">
                  <c:v>804245472</c:v>
                </c:pt>
                <c:pt idx="3384">
                  <c:v>465376191</c:v>
                </c:pt>
                <c:pt idx="3385">
                  <c:v>390202920</c:v>
                </c:pt>
                <c:pt idx="3386">
                  <c:v>1058298232</c:v>
                </c:pt>
                <c:pt idx="3387">
                  <c:v>244331164</c:v>
                </c:pt>
                <c:pt idx="3388">
                  <c:v>293851424</c:v>
                </c:pt>
                <c:pt idx="3389">
                  <c:v>376415766</c:v>
                </c:pt>
                <c:pt idx="3390">
                  <c:v>143404166</c:v>
                </c:pt>
                <c:pt idx="3391">
                  <c:v>218368710</c:v>
                </c:pt>
                <c:pt idx="3392">
                  <c:v>290872269</c:v>
                </c:pt>
                <c:pt idx="3393">
                  <c:v>413200620</c:v>
                </c:pt>
                <c:pt idx="3394">
                  <c:v>353586106</c:v>
                </c:pt>
                <c:pt idx="3395">
                  <c:v>426297699</c:v>
                </c:pt>
                <c:pt idx="3396">
                  <c:v>221302396</c:v>
                </c:pt>
                <c:pt idx="3397">
                  <c:v>624755880</c:v>
                </c:pt>
                <c:pt idx="3398">
                  <c:v>2147483647</c:v>
                </c:pt>
                <c:pt idx="3399">
                  <c:v>479256696</c:v>
                </c:pt>
                <c:pt idx="3400">
                  <c:v>4016332375</c:v>
                </c:pt>
                <c:pt idx="3401">
                  <c:v>845726867</c:v>
                </c:pt>
                <c:pt idx="3402">
                  <c:v>331891510</c:v>
                </c:pt>
                <c:pt idx="3403">
                  <c:v>620856594</c:v>
                </c:pt>
                <c:pt idx="3404">
                  <c:v>199640640</c:v>
                </c:pt>
                <c:pt idx="3405">
                  <c:v>136047890</c:v>
                </c:pt>
                <c:pt idx="3406">
                  <c:v>2147483647</c:v>
                </c:pt>
                <c:pt idx="3407">
                  <c:v>546677160</c:v>
                </c:pt>
                <c:pt idx="3408">
                  <c:v>456391362</c:v>
                </c:pt>
                <c:pt idx="3409">
                  <c:v>1721845620</c:v>
                </c:pt>
                <c:pt idx="3410">
                  <c:v>509940886</c:v>
                </c:pt>
                <c:pt idx="3411">
                  <c:v>917979472</c:v>
                </c:pt>
                <c:pt idx="3412">
                  <c:v>473954998</c:v>
                </c:pt>
                <c:pt idx="3413">
                  <c:v>433239270</c:v>
                </c:pt>
                <c:pt idx="3414">
                  <c:v>231498595</c:v>
                </c:pt>
                <c:pt idx="3415">
                  <c:v>265243360</c:v>
                </c:pt>
                <c:pt idx="3416">
                  <c:v>56017074</c:v>
                </c:pt>
                <c:pt idx="3417">
                  <c:v>597467375</c:v>
                </c:pt>
                <c:pt idx="3418">
                  <c:v>1230343968</c:v>
                </c:pt>
                <c:pt idx="3419">
                  <c:v>340777198</c:v>
                </c:pt>
                <c:pt idx="3420">
                  <c:v>234469728</c:v>
                </c:pt>
                <c:pt idx="3421">
                  <c:v>2063225367</c:v>
                </c:pt>
                <c:pt idx="3422">
                  <c:v>1812326723</c:v>
                </c:pt>
                <c:pt idx="3423">
                  <c:v>1618837704</c:v>
                </c:pt>
                <c:pt idx="3424">
                  <c:v>1711292730</c:v>
                </c:pt>
                <c:pt idx="3425">
                  <c:v>26436885</c:v>
                </c:pt>
                <c:pt idx="3426">
                  <c:v>2275903129</c:v>
                </c:pt>
                <c:pt idx="3427">
                  <c:v>280822035</c:v>
                </c:pt>
                <c:pt idx="3428">
                  <c:v>510797410</c:v>
                </c:pt>
                <c:pt idx="3429">
                  <c:v>649295274</c:v>
                </c:pt>
                <c:pt idx="3430">
                  <c:v>1174928456</c:v>
                </c:pt>
                <c:pt idx="3431">
                  <c:v>148310440</c:v>
                </c:pt>
                <c:pt idx="3432">
                  <c:v>633786624</c:v>
                </c:pt>
                <c:pt idx="3433">
                  <c:v>2147483647</c:v>
                </c:pt>
                <c:pt idx="3434">
                  <c:v>586641151</c:v>
                </c:pt>
                <c:pt idx="3435">
                  <c:v>606271017</c:v>
                </c:pt>
                <c:pt idx="3436">
                  <c:v>93518670</c:v>
                </c:pt>
                <c:pt idx="3437">
                  <c:v>1417717775</c:v>
                </c:pt>
                <c:pt idx="3438">
                  <c:v>58366328</c:v>
                </c:pt>
                <c:pt idx="3439">
                  <c:v>2397268909</c:v>
                </c:pt>
                <c:pt idx="3440">
                  <c:v>267210879</c:v>
                </c:pt>
                <c:pt idx="3441">
                  <c:v>572342244</c:v>
                </c:pt>
                <c:pt idx="3442">
                  <c:v>866936878</c:v>
                </c:pt>
                <c:pt idx="3443">
                  <c:v>1343915880</c:v>
                </c:pt>
                <c:pt idx="3444">
                  <c:v>1275311475</c:v>
                </c:pt>
                <c:pt idx="3445">
                  <c:v>2147483647</c:v>
                </c:pt>
                <c:pt idx="3446">
                  <c:v>2041820853</c:v>
                </c:pt>
                <c:pt idx="3447">
                  <c:v>1318897148</c:v>
                </c:pt>
                <c:pt idx="3448">
                  <c:v>123931197</c:v>
                </c:pt>
                <c:pt idx="3449">
                  <c:v>120783840</c:v>
                </c:pt>
                <c:pt idx="3450">
                  <c:v>121963008</c:v>
                </c:pt>
                <c:pt idx="3451">
                  <c:v>2147483647</c:v>
                </c:pt>
                <c:pt idx="3452">
                  <c:v>2147483647</c:v>
                </c:pt>
                <c:pt idx="3453">
                  <c:v>1272446313</c:v>
                </c:pt>
                <c:pt idx="3454">
                  <c:v>347348025</c:v>
                </c:pt>
                <c:pt idx="3455">
                  <c:v>2615212940</c:v>
                </c:pt>
                <c:pt idx="3456">
                  <c:v>116142176</c:v>
                </c:pt>
                <c:pt idx="3457">
                  <c:v>1382306400</c:v>
                </c:pt>
                <c:pt idx="3458">
                  <c:v>511320881</c:v>
                </c:pt>
                <c:pt idx="3459">
                  <c:v>128848134</c:v>
                </c:pt>
                <c:pt idx="3460">
                  <c:v>309708420</c:v>
                </c:pt>
                <c:pt idx="3461">
                  <c:v>217279124</c:v>
                </c:pt>
                <c:pt idx="3462">
                  <c:v>449580956</c:v>
                </c:pt>
                <c:pt idx="3463">
                  <c:v>445177834</c:v>
                </c:pt>
                <c:pt idx="3464">
                  <c:v>199061577</c:v>
                </c:pt>
                <c:pt idx="3465">
                  <c:v>273408161</c:v>
                </c:pt>
                <c:pt idx="3466">
                  <c:v>239417872</c:v>
                </c:pt>
                <c:pt idx="3467">
                  <c:v>875783325</c:v>
                </c:pt>
                <c:pt idx="3468">
                  <c:v>177498972</c:v>
                </c:pt>
                <c:pt idx="3469">
                  <c:v>457835590</c:v>
                </c:pt>
                <c:pt idx="3470">
                  <c:v>295953197</c:v>
                </c:pt>
                <c:pt idx="3471">
                  <c:v>149644370</c:v>
                </c:pt>
                <c:pt idx="3472">
                  <c:v>2049837056</c:v>
                </c:pt>
                <c:pt idx="3473">
                  <c:v>182319894</c:v>
                </c:pt>
                <c:pt idx="3474">
                  <c:v>187954786</c:v>
                </c:pt>
                <c:pt idx="3475">
                  <c:v>136914336</c:v>
                </c:pt>
                <c:pt idx="3476">
                  <c:v>760136593</c:v>
                </c:pt>
                <c:pt idx="3477">
                  <c:v>386654632</c:v>
                </c:pt>
                <c:pt idx="3478">
                  <c:v>1722962362</c:v>
                </c:pt>
                <c:pt idx="3479">
                  <c:v>194897664</c:v>
                </c:pt>
                <c:pt idx="3480">
                  <c:v>290479900</c:v>
                </c:pt>
                <c:pt idx="3481">
                  <c:v>526808537</c:v>
                </c:pt>
                <c:pt idx="3482">
                  <c:v>105225318</c:v>
                </c:pt>
                <c:pt idx="3483">
                  <c:v>1686661928</c:v>
                </c:pt>
                <c:pt idx="3484">
                  <c:v>107155830</c:v>
                </c:pt>
                <c:pt idx="3485">
                  <c:v>115913054</c:v>
                </c:pt>
                <c:pt idx="3486">
                  <c:v>1230149441</c:v>
                </c:pt>
                <c:pt idx="3487">
                  <c:v>1326349156</c:v>
                </c:pt>
                <c:pt idx="3488">
                  <c:v>1389612300</c:v>
                </c:pt>
                <c:pt idx="3489">
                  <c:v>857460992</c:v>
                </c:pt>
                <c:pt idx="3490">
                  <c:v>268891581</c:v>
                </c:pt>
                <c:pt idx="3491">
                  <c:v>694189412</c:v>
                </c:pt>
                <c:pt idx="3492">
                  <c:v>256278182</c:v>
                </c:pt>
                <c:pt idx="3493">
                  <c:v>157571440</c:v>
                </c:pt>
                <c:pt idx="3494">
                  <c:v>324122084</c:v>
                </c:pt>
                <c:pt idx="3495">
                  <c:v>721095205</c:v>
                </c:pt>
                <c:pt idx="3496">
                  <c:v>412503840</c:v>
                </c:pt>
                <c:pt idx="3497">
                  <c:v>366617784</c:v>
                </c:pt>
                <c:pt idx="3498">
                  <c:v>9737224</c:v>
                </c:pt>
                <c:pt idx="3499">
                  <c:v>611423188</c:v>
                </c:pt>
                <c:pt idx="3500">
                  <c:v>2121075080</c:v>
                </c:pt>
                <c:pt idx="3501">
                  <c:v>1158254113</c:v>
                </c:pt>
                <c:pt idx="3502">
                  <c:v>168235298</c:v>
                </c:pt>
                <c:pt idx="3503">
                  <c:v>160989726</c:v>
                </c:pt>
                <c:pt idx="3504">
                  <c:v>2045091920</c:v>
                </c:pt>
                <c:pt idx="3505">
                  <c:v>1887895620</c:v>
                </c:pt>
                <c:pt idx="3506">
                  <c:v>686001142</c:v>
                </c:pt>
                <c:pt idx="3507">
                  <c:v>812195576</c:v>
                </c:pt>
                <c:pt idx="3508">
                  <c:v>548867340</c:v>
                </c:pt>
                <c:pt idx="3509">
                  <c:v>572115002</c:v>
                </c:pt>
                <c:pt idx="3510">
                  <c:v>2147483647</c:v>
                </c:pt>
                <c:pt idx="3511">
                  <c:v>939188397</c:v>
                </c:pt>
                <c:pt idx="3512">
                  <c:v>1793783706</c:v>
                </c:pt>
                <c:pt idx="3513">
                  <c:v>449933832</c:v>
                </c:pt>
                <c:pt idx="3514">
                  <c:v>102999265</c:v>
                </c:pt>
                <c:pt idx="3515">
                  <c:v>1303839144</c:v>
                </c:pt>
                <c:pt idx="3516">
                  <c:v>56589533</c:v>
                </c:pt>
                <c:pt idx="3517">
                  <c:v>450756208</c:v>
                </c:pt>
                <c:pt idx="3518">
                  <c:v>400936704</c:v>
                </c:pt>
                <c:pt idx="3519">
                  <c:v>746968530</c:v>
                </c:pt>
                <c:pt idx="3520">
                  <c:v>1150529770</c:v>
                </c:pt>
                <c:pt idx="3521">
                  <c:v>59226081</c:v>
                </c:pt>
                <c:pt idx="3522">
                  <c:v>256669950</c:v>
                </c:pt>
                <c:pt idx="3523">
                  <c:v>461501003</c:v>
                </c:pt>
                <c:pt idx="3524">
                  <c:v>371011689</c:v>
                </c:pt>
                <c:pt idx="3525">
                  <c:v>907998819</c:v>
                </c:pt>
                <c:pt idx="3526">
                  <c:v>1444298208</c:v>
                </c:pt>
                <c:pt idx="3527">
                  <c:v>279009198</c:v>
                </c:pt>
                <c:pt idx="3528">
                  <c:v>274220096</c:v>
                </c:pt>
                <c:pt idx="3529">
                  <c:v>1245906522</c:v>
                </c:pt>
                <c:pt idx="3530">
                  <c:v>2393264239</c:v>
                </c:pt>
                <c:pt idx="3531">
                  <c:v>759354716</c:v>
                </c:pt>
                <c:pt idx="3532">
                  <c:v>1613772600</c:v>
                </c:pt>
                <c:pt idx="3533">
                  <c:v>136070963</c:v>
                </c:pt>
                <c:pt idx="3534">
                  <c:v>603143000</c:v>
                </c:pt>
                <c:pt idx="3535">
                  <c:v>2191842623</c:v>
                </c:pt>
                <c:pt idx="3536">
                  <c:v>250085664</c:v>
                </c:pt>
                <c:pt idx="3537">
                  <c:v>622498135</c:v>
                </c:pt>
                <c:pt idx="3538">
                  <c:v>456011668</c:v>
                </c:pt>
                <c:pt idx="3539">
                  <c:v>1645763469</c:v>
                </c:pt>
                <c:pt idx="3540">
                  <c:v>657899632</c:v>
                </c:pt>
                <c:pt idx="3541">
                  <c:v>106978755</c:v>
                </c:pt>
                <c:pt idx="3542">
                  <c:v>828245656</c:v>
                </c:pt>
                <c:pt idx="3543">
                  <c:v>884567976</c:v>
                </c:pt>
                <c:pt idx="3544">
                  <c:v>7359993730</c:v>
                </c:pt>
                <c:pt idx="3545">
                  <c:v>248088966</c:v>
                </c:pt>
                <c:pt idx="3546">
                  <c:v>1287187187</c:v>
                </c:pt>
                <c:pt idx="3547">
                  <c:v>1035087582</c:v>
                </c:pt>
                <c:pt idx="3548">
                  <c:v>172721565</c:v>
                </c:pt>
                <c:pt idx="3549">
                  <c:v>1150807160</c:v>
                </c:pt>
                <c:pt idx="3550">
                  <c:v>338535688</c:v>
                </c:pt>
                <c:pt idx="3551">
                  <c:v>608959120</c:v>
                </c:pt>
                <c:pt idx="3552">
                  <c:v>123528852</c:v>
                </c:pt>
                <c:pt idx="3553">
                  <c:v>51154238</c:v>
                </c:pt>
                <c:pt idx="3554">
                  <c:v>428593194</c:v>
                </c:pt>
                <c:pt idx="3555">
                  <c:v>540015578</c:v>
                </c:pt>
                <c:pt idx="3556">
                  <c:v>684750042</c:v>
                </c:pt>
                <c:pt idx="3557">
                  <c:v>50706460</c:v>
                </c:pt>
                <c:pt idx="3558">
                  <c:v>1311684032</c:v>
                </c:pt>
                <c:pt idx="3559">
                  <c:v>585590070</c:v>
                </c:pt>
                <c:pt idx="3560">
                  <c:v>1833030566</c:v>
                </c:pt>
                <c:pt idx="3561">
                  <c:v>586322452</c:v>
                </c:pt>
                <c:pt idx="3562">
                  <c:v>75019769</c:v>
                </c:pt>
                <c:pt idx="3563">
                  <c:v>369733050</c:v>
                </c:pt>
                <c:pt idx="3564">
                  <c:v>383439798</c:v>
                </c:pt>
                <c:pt idx="3565">
                  <c:v>437752564</c:v>
                </c:pt>
                <c:pt idx="3566">
                  <c:v>80463901</c:v>
                </c:pt>
                <c:pt idx="3567">
                  <c:v>558650050</c:v>
                </c:pt>
                <c:pt idx="3568">
                  <c:v>316493637</c:v>
                </c:pt>
                <c:pt idx="3569">
                  <c:v>185148068</c:v>
                </c:pt>
                <c:pt idx="3570">
                  <c:v>185794215</c:v>
                </c:pt>
                <c:pt idx="3571">
                  <c:v>2147483647</c:v>
                </c:pt>
                <c:pt idx="3572">
                  <c:v>221185181</c:v>
                </c:pt>
                <c:pt idx="3573">
                  <c:v>177948024</c:v>
                </c:pt>
                <c:pt idx="3574">
                  <c:v>226684568</c:v>
                </c:pt>
                <c:pt idx="3575">
                  <c:v>86096010</c:v>
                </c:pt>
                <c:pt idx="3576">
                  <c:v>3960470101</c:v>
                </c:pt>
                <c:pt idx="3577">
                  <c:v>1973381384</c:v>
                </c:pt>
                <c:pt idx="3578">
                  <c:v>345927374</c:v>
                </c:pt>
                <c:pt idx="3579">
                  <c:v>591139742</c:v>
                </c:pt>
                <c:pt idx="3580">
                  <c:v>282873618</c:v>
                </c:pt>
                <c:pt idx="3581">
                  <c:v>1584296560</c:v>
                </c:pt>
                <c:pt idx="3582">
                  <c:v>659981630</c:v>
                </c:pt>
                <c:pt idx="3583">
                  <c:v>165480448</c:v>
                </c:pt>
                <c:pt idx="3584">
                  <c:v>122003544</c:v>
                </c:pt>
                <c:pt idx="3585">
                  <c:v>111035340</c:v>
                </c:pt>
                <c:pt idx="3586">
                  <c:v>1379978236</c:v>
                </c:pt>
                <c:pt idx="3587">
                  <c:v>1371234690</c:v>
                </c:pt>
                <c:pt idx="3588">
                  <c:v>3587084466</c:v>
                </c:pt>
                <c:pt idx="3589">
                  <c:v>1525627727</c:v>
                </c:pt>
                <c:pt idx="3590">
                  <c:v>2104185315</c:v>
                </c:pt>
                <c:pt idx="3591">
                  <c:v>1159024400</c:v>
                </c:pt>
                <c:pt idx="3592">
                  <c:v>585769057</c:v>
                </c:pt>
                <c:pt idx="3593">
                  <c:v>211027012</c:v>
                </c:pt>
                <c:pt idx="3594">
                  <c:v>356038462</c:v>
                </c:pt>
                <c:pt idx="3595">
                  <c:v>8042177614</c:v>
                </c:pt>
                <c:pt idx="3596">
                  <c:v>2332762751</c:v>
                </c:pt>
                <c:pt idx="3597">
                  <c:v>356159046</c:v>
                </c:pt>
                <c:pt idx="3598">
                  <c:v>517924108</c:v>
                </c:pt>
                <c:pt idx="3599">
                  <c:v>90819872</c:v>
                </c:pt>
                <c:pt idx="3600">
                  <c:v>879981600</c:v>
                </c:pt>
                <c:pt idx="3601">
                  <c:v>1045142614</c:v>
                </c:pt>
                <c:pt idx="3602">
                  <c:v>844786878</c:v>
                </c:pt>
                <c:pt idx="3603">
                  <c:v>850608540</c:v>
                </c:pt>
                <c:pt idx="3604">
                  <c:v>491988105</c:v>
                </c:pt>
                <c:pt idx="3605">
                  <c:v>2451684230</c:v>
                </c:pt>
                <c:pt idx="3606">
                  <c:v>494947716</c:v>
                </c:pt>
                <c:pt idx="3607">
                  <c:v>783207180</c:v>
                </c:pt>
                <c:pt idx="3608">
                  <c:v>625536520</c:v>
                </c:pt>
                <c:pt idx="3609">
                  <c:v>517512996</c:v>
                </c:pt>
                <c:pt idx="3610">
                  <c:v>32996855</c:v>
                </c:pt>
                <c:pt idx="3611">
                  <c:v>7287494863</c:v>
                </c:pt>
                <c:pt idx="3612">
                  <c:v>438503364</c:v>
                </c:pt>
                <c:pt idx="3613">
                  <c:v>543487372</c:v>
                </c:pt>
                <c:pt idx="3614">
                  <c:v>515221650</c:v>
                </c:pt>
                <c:pt idx="3615">
                  <c:v>2173423823</c:v>
                </c:pt>
                <c:pt idx="3616">
                  <c:v>2714385471</c:v>
                </c:pt>
                <c:pt idx="3617">
                  <c:v>1490496057</c:v>
                </c:pt>
                <c:pt idx="3618">
                  <c:v>754975270</c:v>
                </c:pt>
                <c:pt idx="3619">
                  <c:v>2147483647</c:v>
                </c:pt>
                <c:pt idx="3620">
                  <c:v>248421912</c:v>
                </c:pt>
                <c:pt idx="3621">
                  <c:v>533052429</c:v>
                </c:pt>
                <c:pt idx="3622">
                  <c:v>823354056</c:v>
                </c:pt>
                <c:pt idx="3623">
                  <c:v>460273677</c:v>
                </c:pt>
                <c:pt idx="3624">
                  <c:v>327663626</c:v>
                </c:pt>
                <c:pt idx="3625">
                  <c:v>888145005</c:v>
                </c:pt>
                <c:pt idx="3626">
                  <c:v>329142440</c:v>
                </c:pt>
                <c:pt idx="3627">
                  <c:v>1198733044</c:v>
                </c:pt>
                <c:pt idx="3628">
                  <c:v>2928730823</c:v>
                </c:pt>
                <c:pt idx="3629">
                  <c:v>293504547</c:v>
                </c:pt>
                <c:pt idx="3630">
                  <c:v>543353583</c:v>
                </c:pt>
                <c:pt idx="3631">
                  <c:v>1252099440</c:v>
                </c:pt>
                <c:pt idx="3632">
                  <c:v>325031058</c:v>
                </c:pt>
                <c:pt idx="3633">
                  <c:v>514952000</c:v>
                </c:pt>
                <c:pt idx="3634">
                  <c:v>122130018</c:v>
                </c:pt>
                <c:pt idx="3635">
                  <c:v>360480140</c:v>
                </c:pt>
                <c:pt idx="3636">
                  <c:v>2147483647</c:v>
                </c:pt>
                <c:pt idx="3637">
                  <c:v>579970639</c:v>
                </c:pt>
                <c:pt idx="3638">
                  <c:v>356426884</c:v>
                </c:pt>
                <c:pt idx="3639">
                  <c:v>112894771</c:v>
                </c:pt>
                <c:pt idx="3640">
                  <c:v>612557520</c:v>
                </c:pt>
                <c:pt idx="3641">
                  <c:v>1329659650</c:v>
                </c:pt>
                <c:pt idx="3642">
                  <c:v>1524042758</c:v>
                </c:pt>
                <c:pt idx="3643">
                  <c:v>7236992393</c:v>
                </c:pt>
                <c:pt idx="3644">
                  <c:v>470889188</c:v>
                </c:pt>
                <c:pt idx="3645">
                  <c:v>1263091726</c:v>
                </c:pt>
                <c:pt idx="3646">
                  <c:v>562213050</c:v>
                </c:pt>
                <c:pt idx="3647">
                  <c:v>2261574749</c:v>
                </c:pt>
                <c:pt idx="3648">
                  <c:v>312280584</c:v>
                </c:pt>
                <c:pt idx="3649">
                  <c:v>399305244</c:v>
                </c:pt>
                <c:pt idx="3650">
                  <c:v>670496789</c:v>
                </c:pt>
                <c:pt idx="3651">
                  <c:v>378655214</c:v>
                </c:pt>
                <c:pt idx="3652">
                  <c:v>651969486</c:v>
                </c:pt>
                <c:pt idx="3653">
                  <c:v>1312971696</c:v>
                </c:pt>
                <c:pt idx="3654">
                  <c:v>1924267932</c:v>
                </c:pt>
                <c:pt idx="3655">
                  <c:v>1116666345</c:v>
                </c:pt>
                <c:pt idx="3656">
                  <c:v>813952672</c:v>
                </c:pt>
                <c:pt idx="3657">
                  <c:v>670812900</c:v>
                </c:pt>
                <c:pt idx="3658">
                  <c:v>130357500</c:v>
                </c:pt>
                <c:pt idx="3659">
                  <c:v>113818190</c:v>
                </c:pt>
                <c:pt idx="3660">
                  <c:v>234204279</c:v>
                </c:pt>
                <c:pt idx="3661">
                  <c:v>1126547170</c:v>
                </c:pt>
                <c:pt idx="3662">
                  <c:v>5060824822</c:v>
                </c:pt>
                <c:pt idx="3663">
                  <c:v>1281756896</c:v>
                </c:pt>
                <c:pt idx="3664">
                  <c:v>1663514176</c:v>
                </c:pt>
                <c:pt idx="3665">
                  <c:v>1963818850</c:v>
                </c:pt>
                <c:pt idx="3666">
                  <c:v>376821322</c:v>
                </c:pt>
                <c:pt idx="3667">
                  <c:v>442177400</c:v>
                </c:pt>
                <c:pt idx="3668">
                  <c:v>213479006</c:v>
                </c:pt>
                <c:pt idx="3669">
                  <c:v>867777120</c:v>
                </c:pt>
                <c:pt idx="3670">
                  <c:v>866823966</c:v>
                </c:pt>
                <c:pt idx="3671">
                  <c:v>191168928</c:v>
                </c:pt>
                <c:pt idx="3672">
                  <c:v>597661668</c:v>
                </c:pt>
                <c:pt idx="3673">
                  <c:v>757988451</c:v>
                </c:pt>
                <c:pt idx="3674">
                  <c:v>607298356</c:v>
                </c:pt>
                <c:pt idx="3675">
                  <c:v>409672224</c:v>
                </c:pt>
                <c:pt idx="3676">
                  <c:v>613180665</c:v>
                </c:pt>
                <c:pt idx="3677">
                  <c:v>916106659</c:v>
                </c:pt>
                <c:pt idx="3678">
                  <c:v>131234450</c:v>
                </c:pt>
                <c:pt idx="3679">
                  <c:v>327630672</c:v>
                </c:pt>
                <c:pt idx="3680">
                  <c:v>553921515</c:v>
                </c:pt>
                <c:pt idx="3681">
                  <c:v>908007708</c:v>
                </c:pt>
                <c:pt idx="3682">
                  <c:v>2147483647</c:v>
                </c:pt>
                <c:pt idx="3683">
                  <c:v>89300320</c:v>
                </c:pt>
                <c:pt idx="3684">
                  <c:v>253643124</c:v>
                </c:pt>
                <c:pt idx="3685">
                  <c:v>550275924</c:v>
                </c:pt>
                <c:pt idx="3686">
                  <c:v>1026531094</c:v>
                </c:pt>
                <c:pt idx="3687">
                  <c:v>1459716960</c:v>
                </c:pt>
                <c:pt idx="3688">
                  <c:v>3669337186</c:v>
                </c:pt>
                <c:pt idx="3689">
                  <c:v>519622272</c:v>
                </c:pt>
                <c:pt idx="3690">
                  <c:v>272854902</c:v>
                </c:pt>
                <c:pt idx="3691">
                  <c:v>386869640</c:v>
                </c:pt>
                <c:pt idx="3692">
                  <c:v>815284224</c:v>
                </c:pt>
                <c:pt idx="3693">
                  <c:v>1472789058</c:v>
                </c:pt>
                <c:pt idx="3694">
                  <c:v>634421016</c:v>
                </c:pt>
                <c:pt idx="3695">
                  <c:v>449037082</c:v>
                </c:pt>
                <c:pt idx="3696">
                  <c:v>32448306</c:v>
                </c:pt>
                <c:pt idx="3697">
                  <c:v>787860384</c:v>
                </c:pt>
                <c:pt idx="3698">
                  <c:v>738748386</c:v>
                </c:pt>
                <c:pt idx="3699">
                  <c:v>138236619</c:v>
                </c:pt>
                <c:pt idx="3700">
                  <c:v>85618710</c:v>
                </c:pt>
                <c:pt idx="3701">
                  <c:v>589968938</c:v>
                </c:pt>
                <c:pt idx="3702">
                  <c:v>285066611</c:v>
                </c:pt>
                <c:pt idx="3703">
                  <c:v>1075189802</c:v>
                </c:pt>
                <c:pt idx="3704">
                  <c:v>1652215488</c:v>
                </c:pt>
                <c:pt idx="3705">
                  <c:v>224380310</c:v>
                </c:pt>
                <c:pt idx="3706">
                  <c:v>1959896918</c:v>
                </c:pt>
                <c:pt idx="3707">
                  <c:v>1372169754</c:v>
                </c:pt>
                <c:pt idx="3708">
                  <c:v>2066577520</c:v>
                </c:pt>
                <c:pt idx="3709">
                  <c:v>446352444</c:v>
                </c:pt>
                <c:pt idx="3710">
                  <c:v>2193113971</c:v>
                </c:pt>
                <c:pt idx="3711">
                  <c:v>763631250</c:v>
                </c:pt>
                <c:pt idx="3712">
                  <c:v>551708304</c:v>
                </c:pt>
                <c:pt idx="3713">
                  <c:v>1123151544</c:v>
                </c:pt>
                <c:pt idx="3714">
                  <c:v>2036165922</c:v>
                </c:pt>
                <c:pt idx="3715">
                  <c:v>321518439</c:v>
                </c:pt>
                <c:pt idx="3716">
                  <c:v>1320766512</c:v>
                </c:pt>
                <c:pt idx="3717">
                  <c:v>328755042</c:v>
                </c:pt>
                <c:pt idx="3718">
                  <c:v>212148674</c:v>
                </c:pt>
                <c:pt idx="3719">
                  <c:v>1053770692</c:v>
                </c:pt>
                <c:pt idx="3720">
                  <c:v>391766491</c:v>
                </c:pt>
                <c:pt idx="3721">
                  <c:v>772580556</c:v>
                </c:pt>
                <c:pt idx="3722">
                  <c:v>187323678</c:v>
                </c:pt>
                <c:pt idx="3723">
                  <c:v>2030890080</c:v>
                </c:pt>
                <c:pt idx="3724">
                  <c:v>2147483647</c:v>
                </c:pt>
                <c:pt idx="3725">
                  <c:v>550681272</c:v>
                </c:pt>
                <c:pt idx="3726">
                  <c:v>520474890</c:v>
                </c:pt>
                <c:pt idx="3727">
                  <c:v>1190481210</c:v>
                </c:pt>
                <c:pt idx="3728">
                  <c:v>790042808</c:v>
                </c:pt>
                <c:pt idx="3729">
                  <c:v>1814349522</c:v>
                </c:pt>
                <c:pt idx="3730">
                  <c:v>304660944</c:v>
                </c:pt>
                <c:pt idx="3731">
                  <c:v>167326768</c:v>
                </c:pt>
                <c:pt idx="3732">
                  <c:v>33079986</c:v>
                </c:pt>
                <c:pt idx="3733">
                  <c:v>1781359975</c:v>
                </c:pt>
                <c:pt idx="3734">
                  <c:v>128315990</c:v>
                </c:pt>
                <c:pt idx="3735">
                  <c:v>264189819</c:v>
                </c:pt>
                <c:pt idx="3736">
                  <c:v>76431012</c:v>
                </c:pt>
                <c:pt idx="3737">
                  <c:v>691502448</c:v>
                </c:pt>
                <c:pt idx="3738">
                  <c:v>701672190</c:v>
                </c:pt>
                <c:pt idx="3739">
                  <c:v>451547616</c:v>
                </c:pt>
                <c:pt idx="3740">
                  <c:v>24094715</c:v>
                </c:pt>
                <c:pt idx="3741">
                  <c:v>220041010</c:v>
                </c:pt>
                <c:pt idx="3742">
                  <c:v>510020688</c:v>
                </c:pt>
                <c:pt idx="3743">
                  <c:v>632268910</c:v>
                </c:pt>
                <c:pt idx="3744">
                  <c:v>726412308</c:v>
                </c:pt>
                <c:pt idx="3745">
                  <c:v>13779559</c:v>
                </c:pt>
                <c:pt idx="3746">
                  <c:v>650098330</c:v>
                </c:pt>
                <c:pt idx="3747">
                  <c:v>966114216</c:v>
                </c:pt>
                <c:pt idx="3748">
                  <c:v>2147483647</c:v>
                </c:pt>
                <c:pt idx="3749">
                  <c:v>3064177384</c:v>
                </c:pt>
                <c:pt idx="3750">
                  <c:v>610398702</c:v>
                </c:pt>
                <c:pt idx="3751">
                  <c:v>1235999634</c:v>
                </c:pt>
                <c:pt idx="3752">
                  <c:v>366678270</c:v>
                </c:pt>
                <c:pt idx="3753">
                  <c:v>583011720</c:v>
                </c:pt>
                <c:pt idx="3754">
                  <c:v>435004491</c:v>
                </c:pt>
                <c:pt idx="3755">
                  <c:v>211529074</c:v>
                </c:pt>
                <c:pt idx="3756">
                  <c:v>174848388</c:v>
                </c:pt>
                <c:pt idx="3757">
                  <c:v>1516517600</c:v>
                </c:pt>
                <c:pt idx="3758">
                  <c:v>3596987557</c:v>
                </c:pt>
                <c:pt idx="3759">
                  <c:v>315343180</c:v>
                </c:pt>
                <c:pt idx="3760">
                  <c:v>336431404</c:v>
                </c:pt>
                <c:pt idx="3761">
                  <c:v>260568000</c:v>
                </c:pt>
                <c:pt idx="3762">
                  <c:v>1099506639</c:v>
                </c:pt>
                <c:pt idx="3763">
                  <c:v>98482140</c:v>
                </c:pt>
                <c:pt idx="3764">
                  <c:v>537791196</c:v>
                </c:pt>
                <c:pt idx="3765">
                  <c:v>271270188</c:v>
                </c:pt>
                <c:pt idx="3766">
                  <c:v>149914196</c:v>
                </c:pt>
                <c:pt idx="3767">
                  <c:v>12127712</c:v>
                </c:pt>
                <c:pt idx="3768">
                  <c:v>717697695</c:v>
                </c:pt>
                <c:pt idx="3769">
                  <c:v>694242764</c:v>
                </c:pt>
                <c:pt idx="3770">
                  <c:v>1086498675</c:v>
                </c:pt>
                <c:pt idx="3771">
                  <c:v>3660759963</c:v>
                </c:pt>
                <c:pt idx="3772">
                  <c:v>400069768</c:v>
                </c:pt>
                <c:pt idx="3773">
                  <c:v>227591622</c:v>
                </c:pt>
                <c:pt idx="3774">
                  <c:v>486681656</c:v>
                </c:pt>
                <c:pt idx="3775">
                  <c:v>1178117998</c:v>
                </c:pt>
                <c:pt idx="3776">
                  <c:v>469652115</c:v>
                </c:pt>
                <c:pt idx="3777">
                  <c:v>1175385078</c:v>
                </c:pt>
                <c:pt idx="3778">
                  <c:v>563850720</c:v>
                </c:pt>
                <c:pt idx="3779">
                  <c:v>318202938</c:v>
                </c:pt>
                <c:pt idx="3780">
                  <c:v>145716016</c:v>
                </c:pt>
                <c:pt idx="3781">
                  <c:v>424786986</c:v>
                </c:pt>
                <c:pt idx="3782">
                  <c:v>154181677</c:v>
                </c:pt>
                <c:pt idx="3783">
                  <c:v>460697434</c:v>
                </c:pt>
                <c:pt idx="3784">
                  <c:v>195166560</c:v>
                </c:pt>
                <c:pt idx="3785">
                  <c:v>699763293</c:v>
                </c:pt>
                <c:pt idx="3786">
                  <c:v>1010563796</c:v>
                </c:pt>
                <c:pt idx="3787">
                  <c:v>1765480233</c:v>
                </c:pt>
                <c:pt idx="3788">
                  <c:v>761915790</c:v>
                </c:pt>
                <c:pt idx="3789">
                  <c:v>291923016</c:v>
                </c:pt>
                <c:pt idx="3790">
                  <c:v>1213214205</c:v>
                </c:pt>
                <c:pt idx="3791">
                  <c:v>440070144</c:v>
                </c:pt>
                <c:pt idx="3792">
                  <c:v>429665544</c:v>
                </c:pt>
                <c:pt idx="3793">
                  <c:v>1518994152</c:v>
                </c:pt>
                <c:pt idx="3794">
                  <c:v>158214238</c:v>
                </c:pt>
                <c:pt idx="3795">
                  <c:v>750227134</c:v>
                </c:pt>
                <c:pt idx="3796">
                  <c:v>2065751975</c:v>
                </c:pt>
                <c:pt idx="3797">
                  <c:v>466832325</c:v>
                </c:pt>
                <c:pt idx="3798">
                  <c:v>62006574</c:v>
                </c:pt>
                <c:pt idx="3799">
                  <c:v>430636200</c:v>
                </c:pt>
                <c:pt idx="3800">
                  <c:v>262983812</c:v>
                </c:pt>
                <c:pt idx="3801">
                  <c:v>87446166</c:v>
                </c:pt>
                <c:pt idx="3802">
                  <c:v>421028400</c:v>
                </c:pt>
                <c:pt idx="3803">
                  <c:v>1820072779</c:v>
                </c:pt>
                <c:pt idx="3804">
                  <c:v>1429197112</c:v>
                </c:pt>
                <c:pt idx="3805">
                  <c:v>5253071022</c:v>
                </c:pt>
                <c:pt idx="3806">
                  <c:v>929302085</c:v>
                </c:pt>
                <c:pt idx="3807">
                  <c:v>835404768</c:v>
                </c:pt>
                <c:pt idx="3808">
                  <c:v>600565406</c:v>
                </c:pt>
                <c:pt idx="3809">
                  <c:v>1774223000</c:v>
                </c:pt>
                <c:pt idx="3810">
                  <c:v>406281414</c:v>
                </c:pt>
                <c:pt idx="3811">
                  <c:v>966823811</c:v>
                </c:pt>
                <c:pt idx="3812">
                  <c:v>504875000</c:v>
                </c:pt>
                <c:pt idx="3813">
                  <c:v>600368405</c:v>
                </c:pt>
                <c:pt idx="3814">
                  <c:v>648510940</c:v>
                </c:pt>
                <c:pt idx="3815">
                  <c:v>545516439</c:v>
                </c:pt>
                <c:pt idx="3816">
                  <c:v>91355879</c:v>
                </c:pt>
                <c:pt idx="3817">
                  <c:v>548762550</c:v>
                </c:pt>
                <c:pt idx="3818">
                  <c:v>351201666</c:v>
                </c:pt>
                <c:pt idx="3819">
                  <c:v>749753220</c:v>
                </c:pt>
                <c:pt idx="3820">
                  <c:v>1220297472</c:v>
                </c:pt>
                <c:pt idx="3821">
                  <c:v>83997270</c:v>
                </c:pt>
                <c:pt idx="3822">
                  <c:v>402593916</c:v>
                </c:pt>
                <c:pt idx="3823">
                  <c:v>1227076008</c:v>
                </c:pt>
                <c:pt idx="3824">
                  <c:v>929964228</c:v>
                </c:pt>
                <c:pt idx="3825">
                  <c:v>1858628350</c:v>
                </c:pt>
                <c:pt idx="3826">
                  <c:v>605304160</c:v>
                </c:pt>
                <c:pt idx="3827">
                  <c:v>628695173</c:v>
                </c:pt>
                <c:pt idx="3828">
                  <c:v>1152409960</c:v>
                </c:pt>
                <c:pt idx="3829">
                  <c:v>334615500</c:v>
                </c:pt>
                <c:pt idx="3830">
                  <c:v>279151301</c:v>
                </c:pt>
                <c:pt idx="3831">
                  <c:v>1291752287</c:v>
                </c:pt>
                <c:pt idx="3832">
                  <c:v>244587252</c:v>
                </c:pt>
                <c:pt idx="3833">
                  <c:v>1331580257</c:v>
                </c:pt>
                <c:pt idx="3834">
                  <c:v>1410314510</c:v>
                </c:pt>
                <c:pt idx="3835">
                  <c:v>957288860</c:v>
                </c:pt>
                <c:pt idx="3836">
                  <c:v>88496749</c:v>
                </c:pt>
                <c:pt idx="3837">
                  <c:v>529099737</c:v>
                </c:pt>
                <c:pt idx="3838">
                  <c:v>264836437</c:v>
                </c:pt>
                <c:pt idx="3839">
                  <c:v>406732672</c:v>
                </c:pt>
                <c:pt idx="3840">
                  <c:v>417440349</c:v>
                </c:pt>
                <c:pt idx="3841">
                  <c:v>5813181149</c:v>
                </c:pt>
                <c:pt idx="3842">
                  <c:v>1547431464</c:v>
                </c:pt>
                <c:pt idx="3843">
                  <c:v>2147483647</c:v>
                </c:pt>
                <c:pt idx="3844">
                  <c:v>894007590</c:v>
                </c:pt>
                <c:pt idx="3845">
                  <c:v>894349720</c:v>
                </c:pt>
                <c:pt idx="3846">
                  <c:v>2098731673</c:v>
                </c:pt>
                <c:pt idx="3847">
                  <c:v>316107792</c:v>
                </c:pt>
                <c:pt idx="3848">
                  <c:v>254079070</c:v>
                </c:pt>
                <c:pt idx="3849">
                  <c:v>632413773</c:v>
                </c:pt>
                <c:pt idx="3850">
                  <c:v>259553712</c:v>
                </c:pt>
                <c:pt idx="3851">
                  <c:v>327291560</c:v>
                </c:pt>
                <c:pt idx="3852">
                  <c:v>1272322309</c:v>
                </c:pt>
                <c:pt idx="3853">
                  <c:v>622429386</c:v>
                </c:pt>
                <c:pt idx="3854">
                  <c:v>534762768</c:v>
                </c:pt>
                <c:pt idx="3855">
                  <c:v>66667060</c:v>
                </c:pt>
                <c:pt idx="3856">
                  <c:v>78133574</c:v>
                </c:pt>
                <c:pt idx="3857">
                  <c:v>2060722026</c:v>
                </c:pt>
                <c:pt idx="3858">
                  <c:v>378911248</c:v>
                </c:pt>
                <c:pt idx="3859">
                  <c:v>147380240</c:v>
                </c:pt>
                <c:pt idx="3860">
                  <c:v>79620817</c:v>
                </c:pt>
                <c:pt idx="3861">
                  <c:v>1248080130</c:v>
                </c:pt>
                <c:pt idx="3862">
                  <c:v>2072318436</c:v>
                </c:pt>
                <c:pt idx="3863">
                  <c:v>796510584</c:v>
                </c:pt>
                <c:pt idx="3864">
                  <c:v>173143676</c:v>
                </c:pt>
                <c:pt idx="3865">
                  <c:v>695442105</c:v>
                </c:pt>
                <c:pt idx="3866">
                  <c:v>1101634680</c:v>
                </c:pt>
                <c:pt idx="3867">
                  <c:v>170867418</c:v>
                </c:pt>
                <c:pt idx="3868">
                  <c:v>141094764</c:v>
                </c:pt>
                <c:pt idx="3869">
                  <c:v>3072006</c:v>
                </c:pt>
                <c:pt idx="3870">
                  <c:v>787354040</c:v>
                </c:pt>
                <c:pt idx="3871">
                  <c:v>423766640</c:v>
                </c:pt>
                <c:pt idx="3872">
                  <c:v>825866845</c:v>
                </c:pt>
                <c:pt idx="3873">
                  <c:v>3805649615</c:v>
                </c:pt>
                <c:pt idx="3874">
                  <c:v>2147483647</c:v>
                </c:pt>
                <c:pt idx="3875">
                  <c:v>251944140</c:v>
                </c:pt>
                <c:pt idx="3876">
                  <c:v>478076517</c:v>
                </c:pt>
                <c:pt idx="3877">
                  <c:v>180694071</c:v>
                </c:pt>
                <c:pt idx="3878">
                  <c:v>249681767</c:v>
                </c:pt>
                <c:pt idx="3879">
                  <c:v>830512866</c:v>
                </c:pt>
                <c:pt idx="3880">
                  <c:v>344184351</c:v>
                </c:pt>
                <c:pt idx="3881">
                  <c:v>220089584</c:v>
                </c:pt>
                <c:pt idx="3882">
                  <c:v>586787773</c:v>
                </c:pt>
                <c:pt idx="3883">
                  <c:v>194642352</c:v>
                </c:pt>
                <c:pt idx="3884">
                  <c:v>137607115</c:v>
                </c:pt>
                <c:pt idx="3885">
                  <c:v>332318881</c:v>
                </c:pt>
                <c:pt idx="3886">
                  <c:v>489568046</c:v>
                </c:pt>
                <c:pt idx="3887">
                  <c:v>391138275</c:v>
                </c:pt>
                <c:pt idx="3888">
                  <c:v>377339468</c:v>
                </c:pt>
                <c:pt idx="3889">
                  <c:v>1069584960</c:v>
                </c:pt>
                <c:pt idx="3890">
                  <c:v>16354896</c:v>
                </c:pt>
                <c:pt idx="3891">
                  <c:v>265119620</c:v>
                </c:pt>
                <c:pt idx="3892">
                  <c:v>232737648</c:v>
                </c:pt>
                <c:pt idx="3893">
                  <c:v>236777989</c:v>
                </c:pt>
                <c:pt idx="3894">
                  <c:v>2147483647</c:v>
                </c:pt>
                <c:pt idx="3895">
                  <c:v>491079564</c:v>
                </c:pt>
                <c:pt idx="3896">
                  <c:v>168618120</c:v>
                </c:pt>
                <c:pt idx="3897">
                  <c:v>787744168</c:v>
                </c:pt>
                <c:pt idx="3898">
                  <c:v>454186773</c:v>
                </c:pt>
                <c:pt idx="3899">
                  <c:v>113595625</c:v>
                </c:pt>
                <c:pt idx="3900">
                  <c:v>118775106</c:v>
                </c:pt>
                <c:pt idx="3901">
                  <c:v>655456610</c:v>
                </c:pt>
                <c:pt idx="3902">
                  <c:v>333316025</c:v>
                </c:pt>
                <c:pt idx="3903">
                  <c:v>795261600</c:v>
                </c:pt>
                <c:pt idx="3904">
                  <c:v>406173534</c:v>
                </c:pt>
                <c:pt idx="3905">
                  <c:v>1069070870</c:v>
                </c:pt>
                <c:pt idx="3906">
                  <c:v>118814274</c:v>
                </c:pt>
                <c:pt idx="3907">
                  <c:v>84895108</c:v>
                </c:pt>
                <c:pt idx="3908">
                  <c:v>1383703034</c:v>
                </c:pt>
                <c:pt idx="3909">
                  <c:v>693226824</c:v>
                </c:pt>
                <c:pt idx="3910">
                  <c:v>351718660</c:v>
                </c:pt>
                <c:pt idx="3911">
                  <c:v>463359840</c:v>
                </c:pt>
                <c:pt idx="3912">
                  <c:v>1302272840</c:v>
                </c:pt>
                <c:pt idx="3913">
                  <c:v>1176281120</c:v>
                </c:pt>
                <c:pt idx="3914">
                  <c:v>102878156</c:v>
                </c:pt>
                <c:pt idx="3915">
                  <c:v>417662784</c:v>
                </c:pt>
                <c:pt idx="3916">
                  <c:v>147498435</c:v>
                </c:pt>
                <c:pt idx="3917">
                  <c:v>112838205</c:v>
                </c:pt>
                <c:pt idx="3918">
                  <c:v>218987990</c:v>
                </c:pt>
                <c:pt idx="3919">
                  <c:v>232847742</c:v>
                </c:pt>
                <c:pt idx="3920">
                  <c:v>2147483647</c:v>
                </c:pt>
                <c:pt idx="3921">
                  <c:v>1475497856</c:v>
                </c:pt>
                <c:pt idx="3922">
                  <c:v>3322517300</c:v>
                </c:pt>
                <c:pt idx="3923">
                  <c:v>410820280</c:v>
                </c:pt>
                <c:pt idx="3924">
                  <c:v>351783036</c:v>
                </c:pt>
                <c:pt idx="3925">
                  <c:v>1553820246</c:v>
                </c:pt>
                <c:pt idx="3926">
                  <c:v>742587225</c:v>
                </c:pt>
                <c:pt idx="3927">
                  <c:v>210155611</c:v>
                </c:pt>
                <c:pt idx="3928">
                  <c:v>523559069</c:v>
                </c:pt>
                <c:pt idx="3929">
                  <c:v>400918376</c:v>
                </c:pt>
                <c:pt idx="3930">
                  <c:v>296408248</c:v>
                </c:pt>
                <c:pt idx="3931">
                  <c:v>197102080</c:v>
                </c:pt>
                <c:pt idx="3932">
                  <c:v>296091499</c:v>
                </c:pt>
                <c:pt idx="3933">
                  <c:v>417859848</c:v>
                </c:pt>
                <c:pt idx="3934">
                  <c:v>585019846</c:v>
                </c:pt>
                <c:pt idx="3935">
                  <c:v>392819544</c:v>
                </c:pt>
                <c:pt idx="3936">
                  <c:v>826671651</c:v>
                </c:pt>
                <c:pt idx="3937">
                  <c:v>463959336</c:v>
                </c:pt>
                <c:pt idx="3938">
                  <c:v>283166498</c:v>
                </c:pt>
                <c:pt idx="3939">
                  <c:v>222445407</c:v>
                </c:pt>
                <c:pt idx="3940">
                  <c:v>455862480</c:v>
                </c:pt>
                <c:pt idx="3941">
                  <c:v>1308183910</c:v>
                </c:pt>
                <c:pt idx="3942">
                  <c:v>112755726</c:v>
                </c:pt>
                <c:pt idx="3943">
                  <c:v>236973048</c:v>
                </c:pt>
                <c:pt idx="3944">
                  <c:v>2147483647</c:v>
                </c:pt>
                <c:pt idx="3945">
                  <c:v>312550429</c:v>
                </c:pt>
                <c:pt idx="3946">
                  <c:v>20740039951</c:v>
                </c:pt>
                <c:pt idx="3947">
                  <c:v>661091222</c:v>
                </c:pt>
                <c:pt idx="3948">
                  <c:v>247696568</c:v>
                </c:pt>
                <c:pt idx="3949">
                  <c:v>849907729</c:v>
                </c:pt>
                <c:pt idx="3950">
                  <c:v>35915877</c:v>
                </c:pt>
                <c:pt idx="3951">
                  <c:v>186621625</c:v>
                </c:pt>
                <c:pt idx="3952">
                  <c:v>101627664</c:v>
                </c:pt>
                <c:pt idx="3953">
                  <c:v>10546375</c:v>
                </c:pt>
                <c:pt idx="3954">
                  <c:v>2532107950</c:v>
                </c:pt>
                <c:pt idx="3955">
                  <c:v>638807096</c:v>
                </c:pt>
                <c:pt idx="3956">
                  <c:v>242843709</c:v>
                </c:pt>
                <c:pt idx="3957">
                  <c:v>1407475120</c:v>
                </c:pt>
                <c:pt idx="3958">
                  <c:v>367494372</c:v>
                </c:pt>
                <c:pt idx="3959">
                  <c:v>6585443226</c:v>
                </c:pt>
                <c:pt idx="3960">
                  <c:v>833707440</c:v>
                </c:pt>
                <c:pt idx="3961">
                  <c:v>705020904</c:v>
                </c:pt>
                <c:pt idx="3962">
                  <c:v>161216976</c:v>
                </c:pt>
                <c:pt idx="3963">
                  <c:v>164957702</c:v>
                </c:pt>
                <c:pt idx="3964">
                  <c:v>1197913320</c:v>
                </c:pt>
                <c:pt idx="3965">
                  <c:v>86347170</c:v>
                </c:pt>
                <c:pt idx="3966">
                  <c:v>415248033</c:v>
                </c:pt>
                <c:pt idx="3967">
                  <c:v>457551360</c:v>
                </c:pt>
                <c:pt idx="3968">
                  <c:v>349926408</c:v>
                </c:pt>
                <c:pt idx="3969">
                  <c:v>24633106</c:v>
                </c:pt>
                <c:pt idx="3970">
                  <c:v>400540199</c:v>
                </c:pt>
                <c:pt idx="3971">
                  <c:v>951175984</c:v>
                </c:pt>
                <c:pt idx="3972">
                  <c:v>2017980597</c:v>
                </c:pt>
                <c:pt idx="3973">
                  <c:v>445388925</c:v>
                </c:pt>
                <c:pt idx="3974">
                  <c:v>519622520</c:v>
                </c:pt>
                <c:pt idx="3975">
                  <c:v>1519553070</c:v>
                </c:pt>
                <c:pt idx="3976">
                  <c:v>209572716</c:v>
                </c:pt>
                <c:pt idx="3977">
                  <c:v>293020728</c:v>
                </c:pt>
                <c:pt idx="3978">
                  <c:v>233598768</c:v>
                </c:pt>
                <c:pt idx="3979">
                  <c:v>418852375</c:v>
                </c:pt>
                <c:pt idx="3980">
                  <c:v>844769500</c:v>
                </c:pt>
                <c:pt idx="3981">
                  <c:v>257319462</c:v>
                </c:pt>
                <c:pt idx="3982">
                  <c:v>367736556</c:v>
                </c:pt>
                <c:pt idx="3983">
                  <c:v>327953484</c:v>
                </c:pt>
                <c:pt idx="3984">
                  <c:v>422565628</c:v>
                </c:pt>
                <c:pt idx="3985">
                  <c:v>558734800</c:v>
                </c:pt>
                <c:pt idx="3986">
                  <c:v>1819562645</c:v>
                </c:pt>
                <c:pt idx="3987">
                  <c:v>1194290173</c:v>
                </c:pt>
                <c:pt idx="3988">
                  <c:v>2318769816</c:v>
                </c:pt>
                <c:pt idx="3989">
                  <c:v>928476422</c:v>
                </c:pt>
                <c:pt idx="3990">
                  <c:v>437858244</c:v>
                </c:pt>
                <c:pt idx="3991">
                  <c:v>541472347</c:v>
                </c:pt>
                <c:pt idx="3992">
                  <c:v>41844032</c:v>
                </c:pt>
                <c:pt idx="3993">
                  <c:v>335283075</c:v>
                </c:pt>
                <c:pt idx="3994">
                  <c:v>120614944</c:v>
                </c:pt>
                <c:pt idx="3995">
                  <c:v>301062800</c:v>
                </c:pt>
                <c:pt idx="3996">
                  <c:v>295425526</c:v>
                </c:pt>
                <c:pt idx="3997">
                  <c:v>93716695</c:v>
                </c:pt>
                <c:pt idx="3998">
                  <c:v>255451068</c:v>
                </c:pt>
                <c:pt idx="3999">
                  <c:v>470629918</c:v>
                </c:pt>
                <c:pt idx="4000">
                  <c:v>82970327</c:v>
                </c:pt>
                <c:pt idx="4001">
                  <c:v>237674496</c:v>
                </c:pt>
                <c:pt idx="4002">
                  <c:v>21701328</c:v>
                </c:pt>
                <c:pt idx="4003">
                  <c:v>114018490</c:v>
                </c:pt>
                <c:pt idx="4004">
                  <c:v>421904000</c:v>
                </c:pt>
                <c:pt idx="4005">
                  <c:v>207314093</c:v>
                </c:pt>
                <c:pt idx="4006">
                  <c:v>875728064</c:v>
                </c:pt>
                <c:pt idx="4007">
                  <c:v>1073544336</c:v>
                </c:pt>
                <c:pt idx="4008">
                  <c:v>581379964</c:v>
                </c:pt>
                <c:pt idx="4009">
                  <c:v>746133740</c:v>
                </c:pt>
                <c:pt idx="4010">
                  <c:v>274948407</c:v>
                </c:pt>
                <c:pt idx="4011">
                  <c:v>1822284256</c:v>
                </c:pt>
                <c:pt idx="4012">
                  <c:v>528147180</c:v>
                </c:pt>
                <c:pt idx="4013">
                  <c:v>30130423</c:v>
                </c:pt>
                <c:pt idx="4014">
                  <c:v>1187003988</c:v>
                </c:pt>
                <c:pt idx="4015">
                  <c:v>1703084760</c:v>
                </c:pt>
                <c:pt idx="4016">
                  <c:v>397369530</c:v>
                </c:pt>
                <c:pt idx="4017">
                  <c:v>2147483647</c:v>
                </c:pt>
                <c:pt idx="4018">
                  <c:v>876804726</c:v>
                </c:pt>
                <c:pt idx="4019">
                  <c:v>359478137</c:v>
                </c:pt>
                <c:pt idx="4020">
                  <c:v>310653135</c:v>
                </c:pt>
                <c:pt idx="4021">
                  <c:v>337919120</c:v>
                </c:pt>
                <c:pt idx="4022">
                  <c:v>4294967294</c:v>
                </c:pt>
                <c:pt idx="4023">
                  <c:v>584584276</c:v>
                </c:pt>
                <c:pt idx="4024">
                  <c:v>1698114968</c:v>
                </c:pt>
                <c:pt idx="4025">
                  <c:v>147960035</c:v>
                </c:pt>
                <c:pt idx="4026">
                  <c:v>955748148</c:v>
                </c:pt>
                <c:pt idx="4027">
                  <c:v>2003328497</c:v>
                </c:pt>
                <c:pt idx="4028">
                  <c:v>323518582</c:v>
                </c:pt>
                <c:pt idx="4029">
                  <c:v>795587310</c:v>
                </c:pt>
                <c:pt idx="4030">
                  <c:v>187169083</c:v>
                </c:pt>
                <c:pt idx="4031">
                  <c:v>311030265</c:v>
                </c:pt>
                <c:pt idx="4032">
                  <c:v>198131205</c:v>
                </c:pt>
                <c:pt idx="4033">
                  <c:v>164310651</c:v>
                </c:pt>
                <c:pt idx="4034">
                  <c:v>131252644</c:v>
                </c:pt>
                <c:pt idx="4035">
                  <c:v>420176992</c:v>
                </c:pt>
                <c:pt idx="4036">
                  <c:v>1290056760</c:v>
                </c:pt>
                <c:pt idx="4037">
                  <c:v>5922530918</c:v>
                </c:pt>
                <c:pt idx="4038">
                  <c:v>98417322</c:v>
                </c:pt>
                <c:pt idx="4039">
                  <c:v>1725121097</c:v>
                </c:pt>
                <c:pt idx="4040">
                  <c:v>659176632</c:v>
                </c:pt>
                <c:pt idx="4041">
                  <c:v>693088488</c:v>
                </c:pt>
                <c:pt idx="4042">
                  <c:v>1909373406</c:v>
                </c:pt>
                <c:pt idx="4043">
                  <c:v>143005041</c:v>
                </c:pt>
                <c:pt idx="4044">
                  <c:v>2147483647</c:v>
                </c:pt>
                <c:pt idx="4045">
                  <c:v>1026523190</c:v>
                </c:pt>
                <c:pt idx="4046">
                  <c:v>128028285</c:v>
                </c:pt>
                <c:pt idx="4047">
                  <c:v>890075906</c:v>
                </c:pt>
                <c:pt idx="4048">
                  <c:v>2147483647</c:v>
                </c:pt>
                <c:pt idx="4049">
                  <c:v>586936755</c:v>
                </c:pt>
                <c:pt idx="4050">
                  <c:v>214745256</c:v>
                </c:pt>
                <c:pt idx="4051">
                  <c:v>1578323725</c:v>
                </c:pt>
                <c:pt idx="4052">
                  <c:v>1628338176</c:v>
                </c:pt>
                <c:pt idx="4053">
                  <c:v>2147483647</c:v>
                </c:pt>
                <c:pt idx="4054">
                  <c:v>369918000</c:v>
                </c:pt>
                <c:pt idx="4055">
                  <c:v>1674737689</c:v>
                </c:pt>
                <c:pt idx="4056">
                  <c:v>726106180</c:v>
                </c:pt>
                <c:pt idx="4057">
                  <c:v>1215537498</c:v>
                </c:pt>
                <c:pt idx="4058">
                  <c:v>319487256</c:v>
                </c:pt>
                <c:pt idx="4059">
                  <c:v>6430578920</c:v>
                </c:pt>
                <c:pt idx="4060">
                  <c:v>2691212798</c:v>
                </c:pt>
                <c:pt idx="4061">
                  <c:v>1966728971</c:v>
                </c:pt>
                <c:pt idx="4062">
                  <c:v>1502876899</c:v>
                </c:pt>
                <c:pt idx="4063">
                  <c:v>298779360</c:v>
                </c:pt>
                <c:pt idx="4064">
                  <c:v>1437475724</c:v>
                </c:pt>
                <c:pt idx="4065">
                  <c:v>1848462672</c:v>
                </c:pt>
                <c:pt idx="4066">
                  <c:v>334777392</c:v>
                </c:pt>
                <c:pt idx="4067">
                  <c:v>1088365392</c:v>
                </c:pt>
                <c:pt idx="4068">
                  <c:v>2887900952</c:v>
                </c:pt>
                <c:pt idx="4069">
                  <c:v>13587279363</c:v>
                </c:pt>
                <c:pt idx="4070">
                  <c:v>3083531062</c:v>
                </c:pt>
                <c:pt idx="4071">
                  <c:v>385266606</c:v>
                </c:pt>
                <c:pt idx="4072">
                  <c:v>1738631784</c:v>
                </c:pt>
                <c:pt idx="4073">
                  <c:v>1130163520</c:v>
                </c:pt>
                <c:pt idx="4074">
                  <c:v>1573176908</c:v>
                </c:pt>
                <c:pt idx="4075">
                  <c:v>370715178</c:v>
                </c:pt>
                <c:pt idx="4076">
                  <c:v>751974678</c:v>
                </c:pt>
                <c:pt idx="4077">
                  <c:v>475766769</c:v>
                </c:pt>
                <c:pt idx="4078">
                  <c:v>1032272025</c:v>
                </c:pt>
                <c:pt idx="4079">
                  <c:v>3767631280</c:v>
                </c:pt>
                <c:pt idx="4080">
                  <c:v>3212127262</c:v>
                </c:pt>
                <c:pt idx="4081">
                  <c:v>584194980</c:v>
                </c:pt>
                <c:pt idx="4082">
                  <c:v>929919663</c:v>
                </c:pt>
                <c:pt idx="4083">
                  <c:v>18335111797</c:v>
                </c:pt>
                <c:pt idx="4084">
                  <c:v>310396800</c:v>
                </c:pt>
                <c:pt idx="4085">
                  <c:v>331275280</c:v>
                </c:pt>
                <c:pt idx="4086">
                  <c:v>2147483647</c:v>
                </c:pt>
                <c:pt idx="4087">
                  <c:v>257595284</c:v>
                </c:pt>
                <c:pt idx="4088">
                  <c:v>13130294005</c:v>
                </c:pt>
                <c:pt idx="4089">
                  <c:v>4294967294</c:v>
                </c:pt>
                <c:pt idx="4090">
                  <c:v>689329080</c:v>
                </c:pt>
                <c:pt idx="4091">
                  <c:v>247123007</c:v>
                </c:pt>
                <c:pt idx="4092">
                  <c:v>250042232</c:v>
                </c:pt>
                <c:pt idx="4093">
                  <c:v>40286820</c:v>
                </c:pt>
                <c:pt idx="4094">
                  <c:v>308176825</c:v>
                </c:pt>
                <c:pt idx="4095">
                  <c:v>575348004</c:v>
                </c:pt>
                <c:pt idx="4096">
                  <c:v>361490805</c:v>
                </c:pt>
                <c:pt idx="4097">
                  <c:v>262660678</c:v>
                </c:pt>
                <c:pt idx="4098">
                  <c:v>1497364640</c:v>
                </c:pt>
                <c:pt idx="4099">
                  <c:v>227722446</c:v>
                </c:pt>
                <c:pt idx="4100">
                  <c:v>99629597</c:v>
                </c:pt>
                <c:pt idx="4101">
                  <c:v>121117248</c:v>
                </c:pt>
                <c:pt idx="4102">
                  <c:v>62010985</c:v>
                </c:pt>
                <c:pt idx="4103">
                  <c:v>286585600</c:v>
                </c:pt>
                <c:pt idx="4104">
                  <c:v>766820028</c:v>
                </c:pt>
                <c:pt idx="4105">
                  <c:v>1592367191</c:v>
                </c:pt>
                <c:pt idx="4106">
                  <c:v>2147483647</c:v>
                </c:pt>
                <c:pt idx="4107">
                  <c:v>167307106</c:v>
                </c:pt>
                <c:pt idx="4108">
                  <c:v>417280565</c:v>
                </c:pt>
                <c:pt idx="4109">
                  <c:v>50608883</c:v>
                </c:pt>
                <c:pt idx="4110">
                  <c:v>117530386</c:v>
                </c:pt>
                <c:pt idx="4111">
                  <c:v>142340652</c:v>
                </c:pt>
                <c:pt idx="4112">
                  <c:v>3406835263</c:v>
                </c:pt>
                <c:pt idx="4113">
                  <c:v>3249320848</c:v>
                </c:pt>
                <c:pt idx="4114">
                  <c:v>3962045088</c:v>
                </c:pt>
                <c:pt idx="4115">
                  <c:v>229349211</c:v>
                </c:pt>
                <c:pt idx="4116">
                  <c:v>8448516480</c:v>
                </c:pt>
                <c:pt idx="4117">
                  <c:v>1871086600</c:v>
                </c:pt>
                <c:pt idx="4118">
                  <c:v>1396319075</c:v>
                </c:pt>
                <c:pt idx="4119">
                  <c:v>143798526</c:v>
                </c:pt>
                <c:pt idx="4120">
                  <c:v>144231444</c:v>
                </c:pt>
                <c:pt idx="4121">
                  <c:v>1010828918</c:v>
                </c:pt>
                <c:pt idx="4122">
                  <c:v>151308849</c:v>
                </c:pt>
                <c:pt idx="4123">
                  <c:v>107818711</c:v>
                </c:pt>
                <c:pt idx="4124">
                  <c:v>131213544</c:v>
                </c:pt>
                <c:pt idx="4125">
                  <c:v>148284036</c:v>
                </c:pt>
                <c:pt idx="4126">
                  <c:v>907736400</c:v>
                </c:pt>
                <c:pt idx="4127">
                  <c:v>364190108</c:v>
                </c:pt>
                <c:pt idx="4128">
                  <c:v>1268257100</c:v>
                </c:pt>
                <c:pt idx="4129">
                  <c:v>168671660</c:v>
                </c:pt>
                <c:pt idx="4130">
                  <c:v>754267815</c:v>
                </c:pt>
                <c:pt idx="4131">
                  <c:v>129403300</c:v>
                </c:pt>
                <c:pt idx="4132">
                  <c:v>249941808</c:v>
                </c:pt>
                <c:pt idx="4133">
                  <c:v>90762012</c:v>
                </c:pt>
                <c:pt idx="4134">
                  <c:v>304930942</c:v>
                </c:pt>
                <c:pt idx="4135">
                  <c:v>100650165</c:v>
                </c:pt>
                <c:pt idx="4136">
                  <c:v>1648577589</c:v>
                </c:pt>
                <c:pt idx="4137">
                  <c:v>318253352</c:v>
                </c:pt>
                <c:pt idx="4138">
                  <c:v>311997312</c:v>
                </c:pt>
                <c:pt idx="4139">
                  <c:v>106256205</c:v>
                </c:pt>
                <c:pt idx="4140">
                  <c:v>8178848230</c:v>
                </c:pt>
                <c:pt idx="4141">
                  <c:v>1497378378</c:v>
                </c:pt>
                <c:pt idx="4142">
                  <c:v>58275558</c:v>
                </c:pt>
                <c:pt idx="4143">
                  <c:v>6593197093</c:v>
                </c:pt>
                <c:pt idx="4144">
                  <c:v>414391968</c:v>
                </c:pt>
                <c:pt idx="4145">
                  <c:v>215931571</c:v>
                </c:pt>
                <c:pt idx="4146">
                  <c:v>1095917445</c:v>
                </c:pt>
                <c:pt idx="4147">
                  <c:v>274927468</c:v>
                </c:pt>
                <c:pt idx="4148">
                  <c:v>353667100</c:v>
                </c:pt>
                <c:pt idx="4149">
                  <c:v>7314249527</c:v>
                </c:pt>
                <c:pt idx="4150">
                  <c:v>1148703606</c:v>
                </c:pt>
                <c:pt idx="4151">
                  <c:v>1817321080</c:v>
                </c:pt>
                <c:pt idx="4152">
                  <c:v>504951912</c:v>
                </c:pt>
                <c:pt idx="4153">
                  <c:v>207450840</c:v>
                </c:pt>
                <c:pt idx="4154">
                  <c:v>3709506407</c:v>
                </c:pt>
                <c:pt idx="4155">
                  <c:v>844265604</c:v>
                </c:pt>
                <c:pt idx="4156">
                  <c:v>71045197</c:v>
                </c:pt>
                <c:pt idx="4157">
                  <c:v>1839285096</c:v>
                </c:pt>
                <c:pt idx="4158">
                  <c:v>68301708</c:v>
                </c:pt>
                <c:pt idx="4159">
                  <c:v>180560610</c:v>
                </c:pt>
                <c:pt idx="4160">
                  <c:v>131450520</c:v>
                </c:pt>
                <c:pt idx="4161">
                  <c:v>142048737</c:v>
                </c:pt>
                <c:pt idx="4162">
                  <c:v>298288452</c:v>
                </c:pt>
                <c:pt idx="4163">
                  <c:v>3813909566</c:v>
                </c:pt>
                <c:pt idx="4164">
                  <c:v>1963261515</c:v>
                </c:pt>
                <c:pt idx="4165">
                  <c:v>412885375</c:v>
                </c:pt>
                <c:pt idx="4166">
                  <c:v>1711309320</c:v>
                </c:pt>
                <c:pt idx="4167">
                  <c:v>6732293100</c:v>
                </c:pt>
                <c:pt idx="4168">
                  <c:v>4294967294</c:v>
                </c:pt>
                <c:pt idx="4169">
                  <c:v>190278540</c:v>
                </c:pt>
                <c:pt idx="4170">
                  <c:v>129006080</c:v>
                </c:pt>
                <c:pt idx="4171">
                  <c:v>152043915</c:v>
                </c:pt>
                <c:pt idx="4172">
                  <c:v>1048240128</c:v>
                </c:pt>
                <c:pt idx="4173">
                  <c:v>74040369</c:v>
                </c:pt>
                <c:pt idx="4174">
                  <c:v>217654994</c:v>
                </c:pt>
                <c:pt idx="4175">
                  <c:v>2147483647</c:v>
                </c:pt>
                <c:pt idx="4176">
                  <c:v>497349447</c:v>
                </c:pt>
                <c:pt idx="4177">
                  <c:v>633318626</c:v>
                </c:pt>
                <c:pt idx="4178">
                  <c:v>1766370392</c:v>
                </c:pt>
                <c:pt idx="4179">
                  <c:v>447451306</c:v>
                </c:pt>
                <c:pt idx="4180">
                  <c:v>34829568</c:v>
                </c:pt>
                <c:pt idx="4181">
                  <c:v>322499466</c:v>
                </c:pt>
                <c:pt idx="4182">
                  <c:v>2558885039</c:v>
                </c:pt>
                <c:pt idx="4183">
                  <c:v>193457880</c:v>
                </c:pt>
                <c:pt idx="4184">
                  <c:v>459032488</c:v>
                </c:pt>
                <c:pt idx="4185">
                  <c:v>479356400</c:v>
                </c:pt>
                <c:pt idx="4186">
                  <c:v>4650935715</c:v>
                </c:pt>
                <c:pt idx="4187">
                  <c:v>362514944</c:v>
                </c:pt>
                <c:pt idx="4188">
                  <c:v>429595411</c:v>
                </c:pt>
                <c:pt idx="4189">
                  <c:v>723030665</c:v>
                </c:pt>
                <c:pt idx="4190">
                  <c:v>183488928</c:v>
                </c:pt>
                <c:pt idx="4191">
                  <c:v>71563327</c:v>
                </c:pt>
                <c:pt idx="4192">
                  <c:v>122529656</c:v>
                </c:pt>
                <c:pt idx="4193">
                  <c:v>1571800881</c:v>
                </c:pt>
                <c:pt idx="4194">
                  <c:v>155210088</c:v>
                </c:pt>
                <c:pt idx="4195">
                  <c:v>5100817734</c:v>
                </c:pt>
                <c:pt idx="4196">
                  <c:v>120226680</c:v>
                </c:pt>
                <c:pt idx="4197">
                  <c:v>26078895</c:v>
                </c:pt>
                <c:pt idx="4198">
                  <c:v>133479593</c:v>
                </c:pt>
                <c:pt idx="4199">
                  <c:v>5569002974</c:v>
                </c:pt>
                <c:pt idx="4200">
                  <c:v>454731666</c:v>
                </c:pt>
                <c:pt idx="4201">
                  <c:v>6720552465</c:v>
                </c:pt>
                <c:pt idx="4202">
                  <c:v>155226246</c:v>
                </c:pt>
                <c:pt idx="4203">
                  <c:v>122290300</c:v>
                </c:pt>
                <c:pt idx="4204">
                  <c:v>1602654104</c:v>
                </c:pt>
                <c:pt idx="4205">
                  <c:v>155486950</c:v>
                </c:pt>
                <c:pt idx="4206">
                  <c:v>305011325</c:v>
                </c:pt>
                <c:pt idx="4207">
                  <c:v>821108090</c:v>
                </c:pt>
                <c:pt idx="4208">
                  <c:v>84371581</c:v>
                </c:pt>
                <c:pt idx="4209">
                  <c:v>1645910271</c:v>
                </c:pt>
                <c:pt idx="4210">
                  <c:v>556602435</c:v>
                </c:pt>
                <c:pt idx="4211">
                  <c:v>2639302178</c:v>
                </c:pt>
                <c:pt idx="4212">
                  <c:v>90675186</c:v>
                </c:pt>
                <c:pt idx="4213">
                  <c:v>1116918296</c:v>
                </c:pt>
                <c:pt idx="4214">
                  <c:v>404579814</c:v>
                </c:pt>
                <c:pt idx="4215">
                  <c:v>1065702980</c:v>
                </c:pt>
                <c:pt idx="4216">
                  <c:v>101464916</c:v>
                </c:pt>
                <c:pt idx="4217">
                  <c:v>311365152</c:v>
                </c:pt>
                <c:pt idx="4218">
                  <c:v>597498823</c:v>
                </c:pt>
                <c:pt idx="4219">
                  <c:v>60620247</c:v>
                </c:pt>
                <c:pt idx="4220">
                  <c:v>129068485</c:v>
                </c:pt>
                <c:pt idx="4221">
                  <c:v>13814089328</c:v>
                </c:pt>
                <c:pt idx="4222">
                  <c:v>178956134</c:v>
                </c:pt>
                <c:pt idx="4223">
                  <c:v>114109632</c:v>
                </c:pt>
                <c:pt idx="4224">
                  <c:v>4808492910</c:v>
                </c:pt>
                <c:pt idx="4225">
                  <c:v>477009400</c:v>
                </c:pt>
                <c:pt idx="4226">
                  <c:v>372375432</c:v>
                </c:pt>
                <c:pt idx="4227">
                  <c:v>138754355</c:v>
                </c:pt>
                <c:pt idx="4228">
                  <c:v>263379492</c:v>
                </c:pt>
                <c:pt idx="4229">
                  <c:v>628050510</c:v>
                </c:pt>
                <c:pt idx="4230">
                  <c:v>1345219512</c:v>
                </c:pt>
                <c:pt idx="4231">
                  <c:v>87312416</c:v>
                </c:pt>
                <c:pt idx="4232">
                  <c:v>20904378</c:v>
                </c:pt>
                <c:pt idx="4233">
                  <c:v>796946368</c:v>
                </c:pt>
                <c:pt idx="4234">
                  <c:v>340979508</c:v>
                </c:pt>
                <c:pt idx="4235">
                  <c:v>226205928</c:v>
                </c:pt>
                <c:pt idx="4236">
                  <c:v>4601322217</c:v>
                </c:pt>
                <c:pt idx="4237">
                  <c:v>3508300897</c:v>
                </c:pt>
                <c:pt idx="4238">
                  <c:v>1211374480</c:v>
                </c:pt>
                <c:pt idx="4239">
                  <c:v>803941515</c:v>
                </c:pt>
                <c:pt idx="4240">
                  <c:v>4461996825</c:v>
                </c:pt>
                <c:pt idx="4241">
                  <c:v>44108368</c:v>
                </c:pt>
                <c:pt idx="4242">
                  <c:v>301662480</c:v>
                </c:pt>
                <c:pt idx="4243">
                  <c:v>3193007695</c:v>
                </c:pt>
                <c:pt idx="4244">
                  <c:v>165300500</c:v>
                </c:pt>
                <c:pt idx="4245">
                  <c:v>134437930</c:v>
                </c:pt>
                <c:pt idx="4246">
                  <c:v>327671992</c:v>
                </c:pt>
                <c:pt idx="4247">
                  <c:v>258497120</c:v>
                </c:pt>
                <c:pt idx="4248">
                  <c:v>152873372</c:v>
                </c:pt>
                <c:pt idx="4249">
                  <c:v>68742576</c:v>
                </c:pt>
                <c:pt idx="4250">
                  <c:v>120521648</c:v>
                </c:pt>
                <c:pt idx="4251">
                  <c:v>4112911397</c:v>
                </c:pt>
                <c:pt idx="4252">
                  <c:v>16113758976</c:v>
                </c:pt>
                <c:pt idx="4253">
                  <c:v>10988107</c:v>
                </c:pt>
                <c:pt idx="4254">
                  <c:v>1729567922</c:v>
                </c:pt>
                <c:pt idx="4255">
                  <c:v>199481580</c:v>
                </c:pt>
                <c:pt idx="4256">
                  <c:v>134857100</c:v>
                </c:pt>
                <c:pt idx="4257">
                  <c:v>1035873820</c:v>
                </c:pt>
                <c:pt idx="4258">
                  <c:v>4061211967</c:v>
                </c:pt>
                <c:pt idx="4259">
                  <c:v>2797476200</c:v>
                </c:pt>
                <c:pt idx="4260">
                  <c:v>203790300</c:v>
                </c:pt>
                <c:pt idx="4261">
                  <c:v>6442450941</c:v>
                </c:pt>
                <c:pt idx="4262">
                  <c:v>208299912</c:v>
                </c:pt>
                <c:pt idx="4263">
                  <c:v>97507918</c:v>
                </c:pt>
                <c:pt idx="4264">
                  <c:v>311250696</c:v>
                </c:pt>
                <c:pt idx="4265">
                  <c:v>413802200</c:v>
                </c:pt>
                <c:pt idx="4266">
                  <c:v>1903052888</c:v>
                </c:pt>
                <c:pt idx="4267">
                  <c:v>559515216</c:v>
                </c:pt>
                <c:pt idx="4268">
                  <c:v>126304310</c:v>
                </c:pt>
                <c:pt idx="4269">
                  <c:v>1100582925</c:v>
                </c:pt>
                <c:pt idx="4270">
                  <c:v>1875429059</c:v>
                </c:pt>
                <c:pt idx="4271">
                  <c:v>2393497524</c:v>
                </c:pt>
                <c:pt idx="4272">
                  <c:v>1898625536</c:v>
                </c:pt>
                <c:pt idx="4273">
                  <c:v>1335819898</c:v>
                </c:pt>
                <c:pt idx="4274">
                  <c:v>414901496</c:v>
                </c:pt>
                <c:pt idx="4275">
                  <c:v>4761447841</c:v>
                </c:pt>
                <c:pt idx="4276">
                  <c:v>706810194</c:v>
                </c:pt>
                <c:pt idx="4277">
                  <c:v>2147483647</c:v>
                </c:pt>
                <c:pt idx="4278">
                  <c:v>5561615717</c:v>
                </c:pt>
                <c:pt idx="4279">
                  <c:v>3068018470</c:v>
                </c:pt>
                <c:pt idx="4280">
                  <c:v>87861928</c:v>
                </c:pt>
                <c:pt idx="4281">
                  <c:v>576292232</c:v>
                </c:pt>
                <c:pt idx="4282">
                  <c:v>464809100</c:v>
                </c:pt>
                <c:pt idx="4283">
                  <c:v>290321733</c:v>
                </c:pt>
                <c:pt idx="4284">
                  <c:v>702519587</c:v>
                </c:pt>
                <c:pt idx="4285">
                  <c:v>830977702</c:v>
                </c:pt>
                <c:pt idx="4286">
                  <c:v>647796864</c:v>
                </c:pt>
                <c:pt idx="4287">
                  <c:v>311632408</c:v>
                </c:pt>
                <c:pt idx="4288">
                  <c:v>361178954</c:v>
                </c:pt>
                <c:pt idx="4289">
                  <c:v>414905400</c:v>
                </c:pt>
                <c:pt idx="4290">
                  <c:v>484534492</c:v>
                </c:pt>
                <c:pt idx="4291">
                  <c:v>633773043</c:v>
                </c:pt>
                <c:pt idx="4292">
                  <c:v>3464712077</c:v>
                </c:pt>
                <c:pt idx="4293">
                  <c:v>1051045877</c:v>
                </c:pt>
                <c:pt idx="4294">
                  <c:v>290525052</c:v>
                </c:pt>
                <c:pt idx="4295">
                  <c:v>1073983833</c:v>
                </c:pt>
                <c:pt idx="4296">
                  <c:v>389018455</c:v>
                </c:pt>
                <c:pt idx="4297">
                  <c:v>3427711288</c:v>
                </c:pt>
                <c:pt idx="4298">
                  <c:v>904143024</c:v>
                </c:pt>
                <c:pt idx="4299">
                  <c:v>401799690</c:v>
                </c:pt>
                <c:pt idx="4300">
                  <c:v>2708665768</c:v>
                </c:pt>
                <c:pt idx="4301">
                  <c:v>215470080</c:v>
                </c:pt>
                <c:pt idx="4302">
                  <c:v>1166875248</c:v>
                </c:pt>
                <c:pt idx="4303">
                  <c:v>294038300</c:v>
                </c:pt>
                <c:pt idx="4304">
                  <c:v>4121674847</c:v>
                </c:pt>
                <c:pt idx="4305">
                  <c:v>778193899</c:v>
                </c:pt>
                <c:pt idx="4306">
                  <c:v>1437054674</c:v>
                </c:pt>
                <c:pt idx="4307">
                  <c:v>1367386384</c:v>
                </c:pt>
                <c:pt idx="4308">
                  <c:v>6180617737</c:v>
                </c:pt>
                <c:pt idx="4309">
                  <c:v>428659420</c:v>
                </c:pt>
                <c:pt idx="4310">
                  <c:v>4294967294</c:v>
                </c:pt>
                <c:pt idx="4311">
                  <c:v>1438206995</c:v>
                </c:pt>
                <c:pt idx="4312">
                  <c:v>2014546668</c:v>
                </c:pt>
                <c:pt idx="4313">
                  <c:v>2123844005</c:v>
                </c:pt>
                <c:pt idx="4314">
                  <c:v>316462336</c:v>
                </c:pt>
                <c:pt idx="4315">
                  <c:v>569843750</c:v>
                </c:pt>
                <c:pt idx="4316">
                  <c:v>1568315295</c:v>
                </c:pt>
                <c:pt idx="4317">
                  <c:v>788704068</c:v>
                </c:pt>
                <c:pt idx="4318">
                  <c:v>4358904961</c:v>
                </c:pt>
                <c:pt idx="4319">
                  <c:v>1827185500</c:v>
                </c:pt>
                <c:pt idx="4320">
                  <c:v>3075456417</c:v>
                </c:pt>
                <c:pt idx="4321">
                  <c:v>261521592</c:v>
                </c:pt>
                <c:pt idx="4322">
                  <c:v>2147483647</c:v>
                </c:pt>
                <c:pt idx="4323">
                  <c:v>1183637147</c:v>
                </c:pt>
                <c:pt idx="4324">
                  <c:v>1297580156</c:v>
                </c:pt>
                <c:pt idx="4325">
                  <c:v>968358132</c:v>
                </c:pt>
                <c:pt idx="4326">
                  <c:v>918267432</c:v>
                </c:pt>
                <c:pt idx="4327">
                  <c:v>1208041008</c:v>
                </c:pt>
                <c:pt idx="4328">
                  <c:v>284724850</c:v>
                </c:pt>
                <c:pt idx="4329">
                  <c:v>881416304</c:v>
                </c:pt>
                <c:pt idx="4330">
                  <c:v>1353544757</c:v>
                </c:pt>
                <c:pt idx="4331">
                  <c:v>217027811</c:v>
                </c:pt>
                <c:pt idx="4332">
                  <c:v>124881750</c:v>
                </c:pt>
                <c:pt idx="4333">
                  <c:v>377455318</c:v>
                </c:pt>
                <c:pt idx="4334">
                  <c:v>97927698</c:v>
                </c:pt>
                <c:pt idx="4335">
                  <c:v>2553897632</c:v>
                </c:pt>
                <c:pt idx="4336">
                  <c:v>659623262</c:v>
                </c:pt>
                <c:pt idx="4337">
                  <c:v>1455529449</c:v>
                </c:pt>
                <c:pt idx="4338">
                  <c:v>371502568</c:v>
                </c:pt>
                <c:pt idx="4339">
                  <c:v>789540478</c:v>
                </c:pt>
                <c:pt idx="4340">
                  <c:v>5805402306</c:v>
                </c:pt>
                <c:pt idx="4341">
                  <c:v>280714883</c:v>
                </c:pt>
                <c:pt idx="4342">
                  <c:v>206277290</c:v>
                </c:pt>
                <c:pt idx="4343">
                  <c:v>4076550455</c:v>
                </c:pt>
                <c:pt idx="4344">
                  <c:v>7247277617</c:v>
                </c:pt>
                <c:pt idx="4345">
                  <c:v>2613399896</c:v>
                </c:pt>
                <c:pt idx="4346">
                  <c:v>1017775246</c:v>
                </c:pt>
                <c:pt idx="4347">
                  <c:v>73147944</c:v>
                </c:pt>
                <c:pt idx="4348">
                  <c:v>462217590</c:v>
                </c:pt>
                <c:pt idx="4349">
                  <c:v>494523965</c:v>
                </c:pt>
                <c:pt idx="4350">
                  <c:v>4294967294</c:v>
                </c:pt>
                <c:pt idx="4351">
                  <c:v>907830618</c:v>
                </c:pt>
                <c:pt idx="4352">
                  <c:v>1213204692</c:v>
                </c:pt>
                <c:pt idx="4353">
                  <c:v>1091415425</c:v>
                </c:pt>
                <c:pt idx="4354">
                  <c:v>1050261250</c:v>
                </c:pt>
                <c:pt idx="4355">
                  <c:v>3442539033</c:v>
                </c:pt>
                <c:pt idx="4356">
                  <c:v>1679011856</c:v>
                </c:pt>
                <c:pt idx="4357">
                  <c:v>12160447961</c:v>
                </c:pt>
                <c:pt idx="4358">
                  <c:v>1042956000</c:v>
                </c:pt>
                <c:pt idx="4359">
                  <c:v>210292344</c:v>
                </c:pt>
                <c:pt idx="4360">
                  <c:v>428174250</c:v>
                </c:pt>
                <c:pt idx="4361">
                  <c:v>227188130</c:v>
                </c:pt>
                <c:pt idx="4362">
                  <c:v>623723796</c:v>
                </c:pt>
                <c:pt idx="4363">
                  <c:v>12323448420</c:v>
                </c:pt>
                <c:pt idx="4364">
                  <c:v>527156080</c:v>
                </c:pt>
                <c:pt idx="4365">
                  <c:v>1316637468</c:v>
                </c:pt>
                <c:pt idx="4366">
                  <c:v>1040435382</c:v>
                </c:pt>
                <c:pt idx="4367">
                  <c:v>1458950100</c:v>
                </c:pt>
                <c:pt idx="4368">
                  <c:v>2834348892</c:v>
                </c:pt>
                <c:pt idx="4369">
                  <c:v>506133265</c:v>
                </c:pt>
                <c:pt idx="4370">
                  <c:v>2378753742</c:v>
                </c:pt>
                <c:pt idx="4371">
                  <c:v>186229680</c:v>
                </c:pt>
                <c:pt idx="4372">
                  <c:v>74026162</c:v>
                </c:pt>
                <c:pt idx="4373">
                  <c:v>107737524</c:v>
                </c:pt>
                <c:pt idx="4374">
                  <c:v>261196959</c:v>
                </c:pt>
                <c:pt idx="4375">
                  <c:v>377667722</c:v>
                </c:pt>
                <c:pt idx="4376">
                  <c:v>5014690079</c:v>
                </c:pt>
                <c:pt idx="4377">
                  <c:v>152947195</c:v>
                </c:pt>
                <c:pt idx="4378">
                  <c:v>319296324</c:v>
                </c:pt>
                <c:pt idx="4379">
                  <c:v>221553505</c:v>
                </c:pt>
                <c:pt idx="4380">
                  <c:v>714666848</c:v>
                </c:pt>
                <c:pt idx="4381">
                  <c:v>146168134</c:v>
                </c:pt>
                <c:pt idx="4382">
                  <c:v>830243085</c:v>
                </c:pt>
                <c:pt idx="4383">
                  <c:v>131731110</c:v>
                </c:pt>
                <c:pt idx="4384">
                  <c:v>1311165345</c:v>
                </c:pt>
                <c:pt idx="4385">
                  <c:v>269204617</c:v>
                </c:pt>
                <c:pt idx="4386">
                  <c:v>301727542</c:v>
                </c:pt>
                <c:pt idx="4387">
                  <c:v>203083643</c:v>
                </c:pt>
                <c:pt idx="4388">
                  <c:v>50664776</c:v>
                </c:pt>
                <c:pt idx="4389">
                  <c:v>181026225</c:v>
                </c:pt>
                <c:pt idx="4390">
                  <c:v>220557528</c:v>
                </c:pt>
                <c:pt idx="4391">
                  <c:v>2678792431</c:v>
                </c:pt>
                <c:pt idx="4392">
                  <c:v>1263235740</c:v>
                </c:pt>
                <c:pt idx="4393">
                  <c:v>70035840</c:v>
                </c:pt>
                <c:pt idx="4394">
                  <c:v>908152800</c:v>
                </c:pt>
                <c:pt idx="4395">
                  <c:v>260588988</c:v>
                </c:pt>
                <c:pt idx="4396">
                  <c:v>1207139804</c:v>
                </c:pt>
                <c:pt idx="4397">
                  <c:v>267665860</c:v>
                </c:pt>
                <c:pt idx="4398">
                  <c:v>92335865</c:v>
                </c:pt>
                <c:pt idx="4399">
                  <c:v>309958242</c:v>
                </c:pt>
                <c:pt idx="4400">
                  <c:v>480504285</c:v>
                </c:pt>
                <c:pt idx="4401">
                  <c:v>170887025</c:v>
                </c:pt>
                <c:pt idx="4402">
                  <c:v>626040358</c:v>
                </c:pt>
                <c:pt idx="4403">
                  <c:v>136017676</c:v>
                </c:pt>
                <c:pt idx="4404">
                  <c:v>2033963876</c:v>
                </c:pt>
                <c:pt idx="4405">
                  <c:v>637418208</c:v>
                </c:pt>
                <c:pt idx="4406">
                  <c:v>441528624</c:v>
                </c:pt>
                <c:pt idx="4407">
                  <c:v>515300786</c:v>
                </c:pt>
                <c:pt idx="4408">
                  <c:v>222632520</c:v>
                </c:pt>
                <c:pt idx="4409">
                  <c:v>257870969</c:v>
                </c:pt>
                <c:pt idx="4410">
                  <c:v>143305610</c:v>
                </c:pt>
                <c:pt idx="4411">
                  <c:v>317596755</c:v>
                </c:pt>
                <c:pt idx="4412">
                  <c:v>451668600</c:v>
                </c:pt>
                <c:pt idx="4413">
                  <c:v>2862903626</c:v>
                </c:pt>
                <c:pt idx="4414">
                  <c:v>436330559</c:v>
                </c:pt>
                <c:pt idx="4415">
                  <c:v>171331200</c:v>
                </c:pt>
                <c:pt idx="4416">
                  <c:v>163419529</c:v>
                </c:pt>
                <c:pt idx="4417">
                  <c:v>685291326</c:v>
                </c:pt>
                <c:pt idx="4418">
                  <c:v>257251518</c:v>
                </c:pt>
                <c:pt idx="4419">
                  <c:v>334498890</c:v>
                </c:pt>
                <c:pt idx="4420">
                  <c:v>2042177511</c:v>
                </c:pt>
                <c:pt idx="4421">
                  <c:v>700237842</c:v>
                </c:pt>
                <c:pt idx="4422">
                  <c:v>1569539457</c:v>
                </c:pt>
                <c:pt idx="4423">
                  <c:v>114735036</c:v>
                </c:pt>
                <c:pt idx="4424">
                  <c:v>910988350</c:v>
                </c:pt>
                <c:pt idx="4425">
                  <c:v>834954480</c:v>
                </c:pt>
                <c:pt idx="4426">
                  <c:v>6269990997</c:v>
                </c:pt>
                <c:pt idx="4427">
                  <c:v>599704770</c:v>
                </c:pt>
                <c:pt idx="4428">
                  <c:v>478056693</c:v>
                </c:pt>
                <c:pt idx="4429">
                  <c:v>296619468</c:v>
                </c:pt>
                <c:pt idx="4430">
                  <c:v>863734360</c:v>
                </c:pt>
                <c:pt idx="4431">
                  <c:v>449826195</c:v>
                </c:pt>
                <c:pt idx="4432">
                  <c:v>1736381898</c:v>
                </c:pt>
                <c:pt idx="4433">
                  <c:v>390368058</c:v>
                </c:pt>
                <c:pt idx="4434">
                  <c:v>2366913854</c:v>
                </c:pt>
                <c:pt idx="4435">
                  <c:v>396865076</c:v>
                </c:pt>
                <c:pt idx="4436">
                  <c:v>161233485</c:v>
                </c:pt>
                <c:pt idx="4437">
                  <c:v>1026526884</c:v>
                </c:pt>
                <c:pt idx="4438">
                  <c:v>3561145117</c:v>
                </c:pt>
                <c:pt idx="4439">
                  <c:v>321403335</c:v>
                </c:pt>
                <c:pt idx="4440">
                  <c:v>233887808</c:v>
                </c:pt>
                <c:pt idx="4441">
                  <c:v>218002140</c:v>
                </c:pt>
                <c:pt idx="4442">
                  <c:v>2041309140</c:v>
                </c:pt>
                <c:pt idx="4443">
                  <c:v>155959647</c:v>
                </c:pt>
                <c:pt idx="4444">
                  <c:v>751334100</c:v>
                </c:pt>
                <c:pt idx="4445">
                  <c:v>327781464</c:v>
                </c:pt>
                <c:pt idx="4446">
                  <c:v>188184870</c:v>
                </c:pt>
                <c:pt idx="4447">
                  <c:v>276391920</c:v>
                </c:pt>
                <c:pt idx="4448">
                  <c:v>113030189</c:v>
                </c:pt>
                <c:pt idx="4449">
                  <c:v>257003768</c:v>
                </c:pt>
                <c:pt idx="4450">
                  <c:v>12290814636</c:v>
                </c:pt>
                <c:pt idx="4451">
                  <c:v>1269345548</c:v>
                </c:pt>
                <c:pt idx="4452">
                  <c:v>155978816</c:v>
                </c:pt>
                <c:pt idx="4453">
                  <c:v>487953680</c:v>
                </c:pt>
                <c:pt idx="4454">
                  <c:v>971713974</c:v>
                </c:pt>
                <c:pt idx="4455">
                  <c:v>227797582</c:v>
                </c:pt>
                <c:pt idx="4456">
                  <c:v>215250984</c:v>
                </c:pt>
                <c:pt idx="4457">
                  <c:v>600327715</c:v>
                </c:pt>
                <c:pt idx="4458">
                  <c:v>329996126</c:v>
                </c:pt>
                <c:pt idx="4459">
                  <c:v>1984499992</c:v>
                </c:pt>
                <c:pt idx="4460">
                  <c:v>729116936</c:v>
                </c:pt>
                <c:pt idx="4461">
                  <c:v>1843853386</c:v>
                </c:pt>
                <c:pt idx="4462">
                  <c:v>591883270</c:v>
                </c:pt>
                <c:pt idx="4463">
                  <c:v>1614305052</c:v>
                </c:pt>
                <c:pt idx="4464">
                  <c:v>519490972</c:v>
                </c:pt>
                <c:pt idx="4465">
                  <c:v>756964610</c:v>
                </c:pt>
                <c:pt idx="4466">
                  <c:v>433818154</c:v>
                </c:pt>
                <c:pt idx="4467">
                  <c:v>906974640</c:v>
                </c:pt>
                <c:pt idx="4468">
                  <c:v>1179785848</c:v>
                </c:pt>
                <c:pt idx="4469">
                  <c:v>1766234300</c:v>
                </c:pt>
                <c:pt idx="4470">
                  <c:v>291301528</c:v>
                </c:pt>
                <c:pt idx="4471">
                  <c:v>1985284244</c:v>
                </c:pt>
                <c:pt idx="4472">
                  <c:v>157097379</c:v>
                </c:pt>
                <c:pt idx="4473">
                  <c:v>553183911</c:v>
                </c:pt>
                <c:pt idx="4474">
                  <c:v>681106320</c:v>
                </c:pt>
                <c:pt idx="4475">
                  <c:v>1494073490</c:v>
                </c:pt>
                <c:pt idx="4476">
                  <c:v>1898103500</c:v>
                </c:pt>
                <c:pt idx="4477">
                  <c:v>224287650</c:v>
                </c:pt>
                <c:pt idx="4478">
                  <c:v>244398700</c:v>
                </c:pt>
                <c:pt idx="4479">
                  <c:v>1114859302</c:v>
                </c:pt>
                <c:pt idx="4480">
                  <c:v>849768714</c:v>
                </c:pt>
                <c:pt idx="4481">
                  <c:v>1863352575</c:v>
                </c:pt>
                <c:pt idx="4482">
                  <c:v>147267186</c:v>
                </c:pt>
                <c:pt idx="4483">
                  <c:v>136588492</c:v>
                </c:pt>
                <c:pt idx="4484">
                  <c:v>1559082448</c:v>
                </c:pt>
                <c:pt idx="4485">
                  <c:v>393591926</c:v>
                </c:pt>
                <c:pt idx="4486">
                  <c:v>736939472</c:v>
                </c:pt>
                <c:pt idx="4487">
                  <c:v>526412040</c:v>
                </c:pt>
                <c:pt idx="4488">
                  <c:v>519069492</c:v>
                </c:pt>
                <c:pt idx="4489">
                  <c:v>463012200</c:v>
                </c:pt>
                <c:pt idx="4490">
                  <c:v>459881090</c:v>
                </c:pt>
                <c:pt idx="4491">
                  <c:v>228642434</c:v>
                </c:pt>
                <c:pt idx="4492">
                  <c:v>214161165</c:v>
                </c:pt>
                <c:pt idx="4493">
                  <c:v>274835700</c:v>
                </c:pt>
                <c:pt idx="4494">
                  <c:v>291377680</c:v>
                </c:pt>
                <c:pt idx="4495">
                  <c:v>4034798224</c:v>
                </c:pt>
                <c:pt idx="4496">
                  <c:v>461751264</c:v>
                </c:pt>
                <c:pt idx="4497">
                  <c:v>680069581</c:v>
                </c:pt>
                <c:pt idx="4498">
                  <c:v>500289501</c:v>
                </c:pt>
                <c:pt idx="4499">
                  <c:v>165497740</c:v>
                </c:pt>
                <c:pt idx="4500">
                  <c:v>286879270</c:v>
                </c:pt>
                <c:pt idx="4501">
                  <c:v>331178452</c:v>
                </c:pt>
                <c:pt idx="4502">
                  <c:v>852492870</c:v>
                </c:pt>
                <c:pt idx="4503">
                  <c:v>179519904</c:v>
                </c:pt>
                <c:pt idx="4504">
                  <c:v>389774498</c:v>
                </c:pt>
                <c:pt idx="4505">
                  <c:v>227819826</c:v>
                </c:pt>
                <c:pt idx="4506">
                  <c:v>684974536</c:v>
                </c:pt>
                <c:pt idx="4507">
                  <c:v>246883721</c:v>
                </c:pt>
                <c:pt idx="4508">
                  <c:v>518885378</c:v>
                </c:pt>
                <c:pt idx="4509">
                  <c:v>1257168040</c:v>
                </c:pt>
                <c:pt idx="4510">
                  <c:v>413699582</c:v>
                </c:pt>
                <c:pt idx="4511">
                  <c:v>635238344</c:v>
                </c:pt>
                <c:pt idx="4512">
                  <c:v>536878764</c:v>
                </c:pt>
                <c:pt idx="4513">
                  <c:v>197335059</c:v>
                </c:pt>
                <c:pt idx="4514">
                  <c:v>122071584</c:v>
                </c:pt>
                <c:pt idx="4515">
                  <c:v>1208364849</c:v>
                </c:pt>
                <c:pt idx="4516">
                  <c:v>845949000</c:v>
                </c:pt>
                <c:pt idx="4517">
                  <c:v>694649358</c:v>
                </c:pt>
                <c:pt idx="4518">
                  <c:v>235158388</c:v>
                </c:pt>
                <c:pt idx="4519">
                  <c:v>1811990201</c:v>
                </c:pt>
                <c:pt idx="4520">
                  <c:v>904047480</c:v>
                </c:pt>
                <c:pt idx="4521">
                  <c:v>115976942</c:v>
                </c:pt>
                <c:pt idx="4522">
                  <c:v>532359890</c:v>
                </c:pt>
                <c:pt idx="4523">
                  <c:v>338649564</c:v>
                </c:pt>
                <c:pt idx="4524">
                  <c:v>90523772</c:v>
                </c:pt>
                <c:pt idx="4525">
                  <c:v>342888804</c:v>
                </c:pt>
                <c:pt idx="4526">
                  <c:v>1548269564</c:v>
                </c:pt>
                <c:pt idx="4527">
                  <c:v>240968480</c:v>
                </c:pt>
                <c:pt idx="4528">
                  <c:v>823105412</c:v>
                </c:pt>
                <c:pt idx="4529">
                  <c:v>899133048</c:v>
                </c:pt>
                <c:pt idx="4530">
                  <c:v>3824907970</c:v>
                </c:pt>
                <c:pt idx="4531">
                  <c:v>1071289632</c:v>
                </c:pt>
                <c:pt idx="4532">
                  <c:v>589287150</c:v>
                </c:pt>
                <c:pt idx="4533">
                  <c:v>404303663</c:v>
                </c:pt>
                <c:pt idx="4534">
                  <c:v>1103761972</c:v>
                </c:pt>
                <c:pt idx="4535">
                  <c:v>216390853</c:v>
                </c:pt>
                <c:pt idx="4536">
                  <c:v>1906986274</c:v>
                </c:pt>
                <c:pt idx="4537">
                  <c:v>100584936</c:v>
                </c:pt>
                <c:pt idx="4538">
                  <c:v>431987288</c:v>
                </c:pt>
                <c:pt idx="4539">
                  <c:v>159146335</c:v>
                </c:pt>
                <c:pt idx="4540">
                  <c:v>346399287</c:v>
                </c:pt>
                <c:pt idx="4541">
                  <c:v>914773008</c:v>
                </c:pt>
                <c:pt idx="4542">
                  <c:v>85090851</c:v>
                </c:pt>
                <c:pt idx="4543">
                  <c:v>172587338</c:v>
                </c:pt>
                <c:pt idx="4544">
                  <c:v>126663208</c:v>
                </c:pt>
                <c:pt idx="4545">
                  <c:v>903188128</c:v>
                </c:pt>
                <c:pt idx="4546">
                  <c:v>769851162</c:v>
                </c:pt>
                <c:pt idx="4547">
                  <c:v>498158316</c:v>
                </c:pt>
                <c:pt idx="4548">
                  <c:v>240750630</c:v>
                </c:pt>
                <c:pt idx="4549">
                  <c:v>608338900</c:v>
                </c:pt>
                <c:pt idx="4550">
                  <c:v>458400844</c:v>
                </c:pt>
                <c:pt idx="4551">
                  <c:v>123583515</c:v>
                </c:pt>
                <c:pt idx="4552">
                  <c:v>796951602</c:v>
                </c:pt>
                <c:pt idx="4553">
                  <c:v>290767961</c:v>
                </c:pt>
                <c:pt idx="4554">
                  <c:v>285552630</c:v>
                </c:pt>
                <c:pt idx="4555">
                  <c:v>1818603600</c:v>
                </c:pt>
                <c:pt idx="4556">
                  <c:v>476117181</c:v>
                </c:pt>
                <c:pt idx="4557">
                  <c:v>26436533</c:v>
                </c:pt>
                <c:pt idx="4558">
                  <c:v>1167711406</c:v>
                </c:pt>
                <c:pt idx="4559">
                  <c:v>14662972803</c:v>
                </c:pt>
                <c:pt idx="4560">
                  <c:v>534969075</c:v>
                </c:pt>
                <c:pt idx="4561">
                  <c:v>303573456</c:v>
                </c:pt>
                <c:pt idx="4562">
                  <c:v>84455070</c:v>
                </c:pt>
                <c:pt idx="4563">
                  <c:v>530625920</c:v>
                </c:pt>
                <c:pt idx="4564">
                  <c:v>209681384</c:v>
                </c:pt>
                <c:pt idx="4565">
                  <c:v>172621672</c:v>
                </c:pt>
                <c:pt idx="4566">
                  <c:v>452797225</c:v>
                </c:pt>
                <c:pt idx="4567">
                  <c:v>187005070</c:v>
                </c:pt>
                <c:pt idx="4568">
                  <c:v>162035166</c:v>
                </c:pt>
                <c:pt idx="4569">
                  <c:v>387199692</c:v>
                </c:pt>
                <c:pt idx="4570">
                  <c:v>233808179</c:v>
                </c:pt>
                <c:pt idx="4571">
                  <c:v>317154840</c:v>
                </c:pt>
                <c:pt idx="4572">
                  <c:v>51258624</c:v>
                </c:pt>
                <c:pt idx="4573">
                  <c:v>992633190</c:v>
                </c:pt>
                <c:pt idx="4574">
                  <c:v>241723176</c:v>
                </c:pt>
                <c:pt idx="4575">
                  <c:v>232296138</c:v>
                </c:pt>
                <c:pt idx="4576">
                  <c:v>1861673422</c:v>
                </c:pt>
                <c:pt idx="4577">
                  <c:v>449306379</c:v>
                </c:pt>
                <c:pt idx="4578">
                  <c:v>2023500617</c:v>
                </c:pt>
                <c:pt idx="4579">
                  <c:v>233210176</c:v>
                </c:pt>
                <c:pt idx="4580">
                  <c:v>1802966346</c:v>
                </c:pt>
                <c:pt idx="4581">
                  <c:v>1156403328</c:v>
                </c:pt>
                <c:pt idx="4582">
                  <c:v>319535664</c:v>
                </c:pt>
                <c:pt idx="4583">
                  <c:v>133952460</c:v>
                </c:pt>
                <c:pt idx="4584">
                  <c:v>207009533</c:v>
                </c:pt>
                <c:pt idx="4585">
                  <c:v>1552498922</c:v>
                </c:pt>
                <c:pt idx="4586">
                  <c:v>151383493</c:v>
                </c:pt>
                <c:pt idx="4587">
                  <c:v>234557202</c:v>
                </c:pt>
                <c:pt idx="4588">
                  <c:v>68551581</c:v>
                </c:pt>
                <c:pt idx="4589">
                  <c:v>1361399447</c:v>
                </c:pt>
                <c:pt idx="4590">
                  <c:v>1072526904</c:v>
                </c:pt>
                <c:pt idx="4591">
                  <c:v>491147071</c:v>
                </c:pt>
                <c:pt idx="4592">
                  <c:v>280019127</c:v>
                </c:pt>
                <c:pt idx="4593">
                  <c:v>428129671</c:v>
                </c:pt>
                <c:pt idx="4594">
                  <c:v>601751718</c:v>
                </c:pt>
                <c:pt idx="4595">
                  <c:v>114244065</c:v>
                </c:pt>
                <c:pt idx="4596">
                  <c:v>398255748</c:v>
                </c:pt>
                <c:pt idx="4597">
                  <c:v>102286474</c:v>
                </c:pt>
                <c:pt idx="4598">
                  <c:v>288043085</c:v>
                </c:pt>
                <c:pt idx="4599">
                  <c:v>115830000</c:v>
                </c:pt>
                <c:pt idx="4600">
                  <c:v>587998236</c:v>
                </c:pt>
                <c:pt idx="4601">
                  <c:v>532140558</c:v>
                </c:pt>
                <c:pt idx="4602">
                  <c:v>271514816</c:v>
                </c:pt>
                <c:pt idx="4603">
                  <c:v>231614943</c:v>
                </c:pt>
                <c:pt idx="4604">
                  <c:v>324544774</c:v>
                </c:pt>
                <c:pt idx="4605">
                  <c:v>750929202</c:v>
                </c:pt>
                <c:pt idx="4606">
                  <c:v>1047047533</c:v>
                </c:pt>
                <c:pt idx="4607">
                  <c:v>216078482</c:v>
                </c:pt>
                <c:pt idx="4608">
                  <c:v>111579204</c:v>
                </c:pt>
                <c:pt idx="4609">
                  <c:v>130195105</c:v>
                </c:pt>
                <c:pt idx="4610">
                  <c:v>5271316905</c:v>
                </c:pt>
                <c:pt idx="4611">
                  <c:v>251759991</c:v>
                </c:pt>
                <c:pt idx="4612">
                  <c:v>194167771</c:v>
                </c:pt>
                <c:pt idx="4613">
                  <c:v>508851464</c:v>
                </c:pt>
                <c:pt idx="4614">
                  <c:v>209239752</c:v>
                </c:pt>
                <c:pt idx="4615">
                  <c:v>217938458</c:v>
                </c:pt>
                <c:pt idx="4616">
                  <c:v>452427981</c:v>
                </c:pt>
                <c:pt idx="4617">
                  <c:v>463837420</c:v>
                </c:pt>
                <c:pt idx="4618">
                  <c:v>230610100</c:v>
                </c:pt>
                <c:pt idx="4619">
                  <c:v>147022204</c:v>
                </c:pt>
                <c:pt idx="4620">
                  <c:v>75462048</c:v>
                </c:pt>
                <c:pt idx="4621">
                  <c:v>313499985</c:v>
                </c:pt>
                <c:pt idx="4622">
                  <c:v>119309388</c:v>
                </c:pt>
                <c:pt idx="4623">
                  <c:v>3132155027</c:v>
                </c:pt>
                <c:pt idx="4624">
                  <c:v>548991545</c:v>
                </c:pt>
                <c:pt idx="4625">
                  <c:v>408196366</c:v>
                </c:pt>
                <c:pt idx="4626">
                  <c:v>399676770</c:v>
                </c:pt>
                <c:pt idx="4627">
                  <c:v>7154960478</c:v>
                </c:pt>
                <c:pt idx="4628">
                  <c:v>195452550</c:v>
                </c:pt>
                <c:pt idx="4629">
                  <c:v>356532620</c:v>
                </c:pt>
                <c:pt idx="4630">
                  <c:v>4196033944</c:v>
                </c:pt>
                <c:pt idx="4631">
                  <c:v>373789832</c:v>
                </c:pt>
                <c:pt idx="4632">
                  <c:v>335915940</c:v>
                </c:pt>
                <c:pt idx="4633">
                  <c:v>55016350</c:v>
                </c:pt>
                <c:pt idx="4634">
                  <c:v>605507430</c:v>
                </c:pt>
                <c:pt idx="4635">
                  <c:v>430682128</c:v>
                </c:pt>
                <c:pt idx="4636">
                  <c:v>1091104427</c:v>
                </c:pt>
                <c:pt idx="4637">
                  <c:v>474104517</c:v>
                </c:pt>
                <c:pt idx="4638">
                  <c:v>979282980</c:v>
                </c:pt>
                <c:pt idx="4639">
                  <c:v>557021280</c:v>
                </c:pt>
                <c:pt idx="4640">
                  <c:v>477547212</c:v>
                </c:pt>
                <c:pt idx="4641">
                  <c:v>1046945464</c:v>
                </c:pt>
                <c:pt idx="4642">
                  <c:v>262828194</c:v>
                </c:pt>
                <c:pt idx="4643">
                  <c:v>1611019166</c:v>
                </c:pt>
                <c:pt idx="4644">
                  <c:v>333170930</c:v>
                </c:pt>
                <c:pt idx="4645">
                  <c:v>577588935</c:v>
                </c:pt>
                <c:pt idx="4646">
                  <c:v>618411436</c:v>
                </c:pt>
                <c:pt idx="4647">
                  <c:v>1529593651</c:v>
                </c:pt>
                <c:pt idx="4648">
                  <c:v>187461225</c:v>
                </c:pt>
                <c:pt idx="4649">
                  <c:v>104610720</c:v>
                </c:pt>
                <c:pt idx="4650">
                  <c:v>228154451</c:v>
                </c:pt>
                <c:pt idx="4651">
                  <c:v>274572832</c:v>
                </c:pt>
                <c:pt idx="4652">
                  <c:v>158965377</c:v>
                </c:pt>
                <c:pt idx="4653">
                  <c:v>237876190</c:v>
                </c:pt>
                <c:pt idx="4654">
                  <c:v>419848692</c:v>
                </c:pt>
                <c:pt idx="4655">
                  <c:v>580140740</c:v>
                </c:pt>
                <c:pt idx="4656">
                  <c:v>309261510</c:v>
                </c:pt>
                <c:pt idx="4657">
                  <c:v>98113728</c:v>
                </c:pt>
                <c:pt idx="4658">
                  <c:v>57706072</c:v>
                </c:pt>
                <c:pt idx="4659">
                  <c:v>577077327</c:v>
                </c:pt>
                <c:pt idx="4660">
                  <c:v>526804096</c:v>
                </c:pt>
                <c:pt idx="4661">
                  <c:v>381709549</c:v>
                </c:pt>
                <c:pt idx="4662">
                  <c:v>649257984</c:v>
                </c:pt>
                <c:pt idx="4663">
                  <c:v>136602480</c:v>
                </c:pt>
                <c:pt idx="4664">
                  <c:v>480195825</c:v>
                </c:pt>
                <c:pt idx="4665">
                  <c:v>245560140</c:v>
                </c:pt>
                <c:pt idx="4666">
                  <c:v>1302328502</c:v>
                </c:pt>
                <c:pt idx="4667">
                  <c:v>2372215872</c:v>
                </c:pt>
                <c:pt idx="4668">
                  <c:v>479423006</c:v>
                </c:pt>
                <c:pt idx="4669">
                  <c:v>195371121</c:v>
                </c:pt>
                <c:pt idx="4670">
                  <c:v>110523076</c:v>
                </c:pt>
                <c:pt idx="4671">
                  <c:v>78026496</c:v>
                </c:pt>
                <c:pt idx="4672">
                  <c:v>388830456</c:v>
                </c:pt>
                <c:pt idx="4673">
                  <c:v>1117931786</c:v>
                </c:pt>
                <c:pt idx="4674">
                  <c:v>158455440</c:v>
                </c:pt>
                <c:pt idx="4675">
                  <c:v>6038316261</c:v>
                </c:pt>
                <c:pt idx="4676">
                  <c:v>1186567920</c:v>
                </c:pt>
                <c:pt idx="4677">
                  <c:v>373669080</c:v>
                </c:pt>
                <c:pt idx="4678">
                  <c:v>1321257960</c:v>
                </c:pt>
                <c:pt idx="4679">
                  <c:v>551619084</c:v>
                </c:pt>
                <c:pt idx="4680">
                  <c:v>926243525</c:v>
                </c:pt>
                <c:pt idx="4681">
                  <c:v>1131041433</c:v>
                </c:pt>
                <c:pt idx="4682">
                  <c:v>124594740</c:v>
                </c:pt>
                <c:pt idx="4683">
                  <c:v>319441832</c:v>
                </c:pt>
                <c:pt idx="4684">
                  <c:v>753350247</c:v>
                </c:pt>
                <c:pt idx="4685">
                  <c:v>1560877248</c:v>
                </c:pt>
                <c:pt idx="4686">
                  <c:v>1632392821</c:v>
                </c:pt>
                <c:pt idx="4687">
                  <c:v>2224358314</c:v>
                </c:pt>
                <c:pt idx="4688">
                  <c:v>55277170</c:v>
                </c:pt>
                <c:pt idx="4689">
                  <c:v>260711541</c:v>
                </c:pt>
                <c:pt idx="4690">
                  <c:v>173807383</c:v>
                </c:pt>
                <c:pt idx="4691">
                  <c:v>1614970224</c:v>
                </c:pt>
                <c:pt idx="4692">
                  <c:v>1140968262</c:v>
                </c:pt>
                <c:pt idx="4693">
                  <c:v>30281880</c:v>
                </c:pt>
                <c:pt idx="4694">
                  <c:v>293435112</c:v>
                </c:pt>
                <c:pt idx="4695">
                  <c:v>293408769</c:v>
                </c:pt>
                <c:pt idx="4696">
                  <c:v>1675440696</c:v>
                </c:pt>
                <c:pt idx="4697">
                  <c:v>1667631952</c:v>
                </c:pt>
                <c:pt idx="4698">
                  <c:v>12182175308</c:v>
                </c:pt>
                <c:pt idx="4699">
                  <c:v>543724656</c:v>
                </c:pt>
                <c:pt idx="4700">
                  <c:v>75668540</c:v>
                </c:pt>
                <c:pt idx="4701">
                  <c:v>352441750</c:v>
                </c:pt>
                <c:pt idx="4702">
                  <c:v>687440404</c:v>
                </c:pt>
                <c:pt idx="4703">
                  <c:v>815261100</c:v>
                </c:pt>
                <c:pt idx="4704">
                  <c:v>39889020</c:v>
                </c:pt>
                <c:pt idx="4705">
                  <c:v>211959050</c:v>
                </c:pt>
                <c:pt idx="4706">
                  <c:v>3070134542</c:v>
                </c:pt>
                <c:pt idx="4707">
                  <c:v>692950098</c:v>
                </c:pt>
                <c:pt idx="4708">
                  <c:v>499686624</c:v>
                </c:pt>
                <c:pt idx="4709">
                  <c:v>1435256728</c:v>
                </c:pt>
                <c:pt idx="4710">
                  <c:v>44078433</c:v>
                </c:pt>
                <c:pt idx="4711">
                  <c:v>11174447012</c:v>
                </c:pt>
                <c:pt idx="4712">
                  <c:v>7979324697</c:v>
                </c:pt>
                <c:pt idx="4713">
                  <c:v>349530984</c:v>
                </c:pt>
                <c:pt idx="4714">
                  <c:v>627873345</c:v>
                </c:pt>
                <c:pt idx="4715">
                  <c:v>3443165986</c:v>
                </c:pt>
                <c:pt idx="4716">
                  <c:v>43808271</c:v>
                </c:pt>
                <c:pt idx="4717">
                  <c:v>954604476</c:v>
                </c:pt>
                <c:pt idx="4718">
                  <c:v>105359826</c:v>
                </c:pt>
                <c:pt idx="4719">
                  <c:v>121416992</c:v>
                </c:pt>
                <c:pt idx="4720">
                  <c:v>805288874</c:v>
                </c:pt>
                <c:pt idx="4721">
                  <c:v>1205295714</c:v>
                </c:pt>
                <c:pt idx="4722">
                  <c:v>206834990</c:v>
                </c:pt>
                <c:pt idx="4723">
                  <c:v>1418787058</c:v>
                </c:pt>
                <c:pt idx="4724">
                  <c:v>1308157838</c:v>
                </c:pt>
                <c:pt idx="4725">
                  <c:v>1925233695</c:v>
                </c:pt>
                <c:pt idx="4726">
                  <c:v>145649625</c:v>
                </c:pt>
                <c:pt idx="4727">
                  <c:v>16895066781</c:v>
                </c:pt>
                <c:pt idx="4728">
                  <c:v>374346324</c:v>
                </c:pt>
                <c:pt idx="4729">
                  <c:v>395386290</c:v>
                </c:pt>
                <c:pt idx="4730">
                  <c:v>2147483647</c:v>
                </c:pt>
                <c:pt idx="4731">
                  <c:v>270799072</c:v>
                </c:pt>
                <c:pt idx="4732">
                  <c:v>775302424</c:v>
                </c:pt>
                <c:pt idx="4733">
                  <c:v>6322198595</c:v>
                </c:pt>
                <c:pt idx="4734">
                  <c:v>170675630</c:v>
                </c:pt>
                <c:pt idx="4735">
                  <c:v>1653663518</c:v>
                </c:pt>
                <c:pt idx="4736">
                  <c:v>1097666640</c:v>
                </c:pt>
                <c:pt idx="4737">
                  <c:v>51018345</c:v>
                </c:pt>
                <c:pt idx="4738">
                  <c:v>2147483647</c:v>
                </c:pt>
                <c:pt idx="4739">
                  <c:v>398883696</c:v>
                </c:pt>
                <c:pt idx="4740">
                  <c:v>941301504</c:v>
                </c:pt>
                <c:pt idx="4741">
                  <c:v>2620814444</c:v>
                </c:pt>
                <c:pt idx="4742">
                  <c:v>15300185669</c:v>
                </c:pt>
                <c:pt idx="4743">
                  <c:v>498375985</c:v>
                </c:pt>
                <c:pt idx="4744">
                  <c:v>509149854</c:v>
                </c:pt>
                <c:pt idx="4745">
                  <c:v>542011393</c:v>
                </c:pt>
                <c:pt idx="4746">
                  <c:v>172932592</c:v>
                </c:pt>
                <c:pt idx="4747">
                  <c:v>54651546</c:v>
                </c:pt>
                <c:pt idx="4748">
                  <c:v>1695839060</c:v>
                </c:pt>
                <c:pt idx="4749">
                  <c:v>1177729768</c:v>
                </c:pt>
                <c:pt idx="4750">
                  <c:v>4065460990</c:v>
                </c:pt>
                <c:pt idx="4751">
                  <c:v>6351184442</c:v>
                </c:pt>
                <c:pt idx="4752">
                  <c:v>991593396</c:v>
                </c:pt>
                <c:pt idx="4753">
                  <c:v>207259800</c:v>
                </c:pt>
                <c:pt idx="4754">
                  <c:v>26802977469</c:v>
                </c:pt>
                <c:pt idx="4755">
                  <c:v>1196102142</c:v>
                </c:pt>
                <c:pt idx="4756">
                  <c:v>458128643</c:v>
                </c:pt>
                <c:pt idx="4757">
                  <c:v>385817040</c:v>
                </c:pt>
                <c:pt idx="4758">
                  <c:v>191103822</c:v>
                </c:pt>
                <c:pt idx="4759">
                  <c:v>173492956</c:v>
                </c:pt>
                <c:pt idx="4760">
                  <c:v>48610576</c:v>
                </c:pt>
                <c:pt idx="4761">
                  <c:v>228326628</c:v>
                </c:pt>
                <c:pt idx="4762">
                  <c:v>2535175902</c:v>
                </c:pt>
                <c:pt idx="4763">
                  <c:v>613701456</c:v>
                </c:pt>
                <c:pt idx="4764">
                  <c:v>333090352</c:v>
                </c:pt>
                <c:pt idx="4765">
                  <c:v>364952791</c:v>
                </c:pt>
                <c:pt idx="4766">
                  <c:v>53094008</c:v>
                </c:pt>
                <c:pt idx="4767">
                  <c:v>215979612</c:v>
                </c:pt>
                <c:pt idx="4768">
                  <c:v>148485513</c:v>
                </c:pt>
                <c:pt idx="4769">
                  <c:v>271953600</c:v>
                </c:pt>
                <c:pt idx="4770">
                  <c:v>132895598</c:v>
                </c:pt>
                <c:pt idx="4771">
                  <c:v>649493100</c:v>
                </c:pt>
                <c:pt idx="4772">
                  <c:v>374476800</c:v>
                </c:pt>
                <c:pt idx="4773">
                  <c:v>1760818179</c:v>
                </c:pt>
                <c:pt idx="4774">
                  <c:v>1830163732</c:v>
                </c:pt>
                <c:pt idx="4775">
                  <c:v>305445630</c:v>
                </c:pt>
                <c:pt idx="4776">
                  <c:v>505980410</c:v>
                </c:pt>
                <c:pt idx="4777">
                  <c:v>178649683</c:v>
                </c:pt>
                <c:pt idx="4778">
                  <c:v>72502596</c:v>
                </c:pt>
                <c:pt idx="4779">
                  <c:v>661257530</c:v>
                </c:pt>
                <c:pt idx="4780">
                  <c:v>1130000625</c:v>
                </c:pt>
                <c:pt idx="4781">
                  <c:v>367379680</c:v>
                </c:pt>
                <c:pt idx="4782">
                  <c:v>682525520</c:v>
                </c:pt>
                <c:pt idx="4783">
                  <c:v>366539463</c:v>
                </c:pt>
                <c:pt idx="4784">
                  <c:v>142198716</c:v>
                </c:pt>
                <c:pt idx="4785">
                  <c:v>2349344071</c:v>
                </c:pt>
                <c:pt idx="4786">
                  <c:v>95521503</c:v>
                </c:pt>
                <c:pt idx="4787">
                  <c:v>286495216</c:v>
                </c:pt>
                <c:pt idx="4788">
                  <c:v>245577957</c:v>
                </c:pt>
                <c:pt idx="4789">
                  <c:v>230808592</c:v>
                </c:pt>
                <c:pt idx="4790">
                  <c:v>112691888</c:v>
                </c:pt>
                <c:pt idx="4791">
                  <c:v>746439066</c:v>
                </c:pt>
                <c:pt idx="4792">
                  <c:v>32424827</c:v>
                </c:pt>
                <c:pt idx="4793">
                  <c:v>122322510</c:v>
                </c:pt>
                <c:pt idx="4794">
                  <c:v>296979111</c:v>
                </c:pt>
                <c:pt idx="4795">
                  <c:v>1261629950</c:v>
                </c:pt>
                <c:pt idx="4796">
                  <c:v>93023592</c:v>
                </c:pt>
                <c:pt idx="4797">
                  <c:v>69694432</c:v>
                </c:pt>
                <c:pt idx="4798">
                  <c:v>279721104</c:v>
                </c:pt>
                <c:pt idx="4799">
                  <c:v>2881481523</c:v>
                </c:pt>
                <c:pt idx="4800">
                  <c:v>72204620</c:v>
                </c:pt>
                <c:pt idx="4801">
                  <c:v>260759122</c:v>
                </c:pt>
                <c:pt idx="4802">
                  <c:v>88414625</c:v>
                </c:pt>
                <c:pt idx="4803">
                  <c:v>548954892</c:v>
                </c:pt>
                <c:pt idx="4804">
                  <c:v>396993243</c:v>
                </c:pt>
                <c:pt idx="4805">
                  <c:v>89368438</c:v>
                </c:pt>
                <c:pt idx="4806">
                  <c:v>139955640</c:v>
                </c:pt>
                <c:pt idx="4807">
                  <c:v>785783070</c:v>
                </c:pt>
                <c:pt idx="4808">
                  <c:v>385212094</c:v>
                </c:pt>
                <c:pt idx="4809">
                  <c:v>351833300</c:v>
                </c:pt>
                <c:pt idx="4810">
                  <c:v>2200950972</c:v>
                </c:pt>
                <c:pt idx="4811">
                  <c:v>639905976</c:v>
                </c:pt>
                <c:pt idx="4812">
                  <c:v>227084554</c:v>
                </c:pt>
                <c:pt idx="4813">
                  <c:v>960550390</c:v>
                </c:pt>
                <c:pt idx="4814">
                  <c:v>2057724704</c:v>
                </c:pt>
                <c:pt idx="4815">
                  <c:v>122661285</c:v>
                </c:pt>
                <c:pt idx="4816">
                  <c:v>7843719824</c:v>
                </c:pt>
                <c:pt idx="4817">
                  <c:v>345805136</c:v>
                </c:pt>
                <c:pt idx="4818">
                  <c:v>382136480</c:v>
                </c:pt>
                <c:pt idx="4819">
                  <c:v>390941180</c:v>
                </c:pt>
                <c:pt idx="4820">
                  <c:v>489235608</c:v>
                </c:pt>
                <c:pt idx="4821">
                  <c:v>505212992</c:v>
                </c:pt>
                <c:pt idx="4822">
                  <c:v>47328924</c:v>
                </c:pt>
                <c:pt idx="4823">
                  <c:v>76239900</c:v>
                </c:pt>
                <c:pt idx="4824">
                  <c:v>1081203396</c:v>
                </c:pt>
                <c:pt idx="4825">
                  <c:v>358543737</c:v>
                </c:pt>
                <c:pt idx="4826">
                  <c:v>348647420</c:v>
                </c:pt>
                <c:pt idx="4827">
                  <c:v>296089692</c:v>
                </c:pt>
                <c:pt idx="4828">
                  <c:v>867463740</c:v>
                </c:pt>
                <c:pt idx="4829">
                  <c:v>245795840</c:v>
                </c:pt>
                <c:pt idx="4830">
                  <c:v>195631938</c:v>
                </c:pt>
                <c:pt idx="4831">
                  <c:v>1382590283</c:v>
                </c:pt>
                <c:pt idx="4832">
                  <c:v>160293969</c:v>
                </c:pt>
                <c:pt idx="4833">
                  <c:v>214861362</c:v>
                </c:pt>
                <c:pt idx="4834">
                  <c:v>938085778</c:v>
                </c:pt>
                <c:pt idx="4835">
                  <c:v>140354904</c:v>
                </c:pt>
                <c:pt idx="4836">
                  <c:v>291493468</c:v>
                </c:pt>
                <c:pt idx="4837">
                  <c:v>107981362</c:v>
                </c:pt>
                <c:pt idx="4838">
                  <c:v>946094716</c:v>
                </c:pt>
                <c:pt idx="4839">
                  <c:v>325861896</c:v>
                </c:pt>
                <c:pt idx="4840">
                  <c:v>1891610571</c:v>
                </c:pt>
                <c:pt idx="4841">
                  <c:v>1000373772</c:v>
                </c:pt>
                <c:pt idx="4842">
                  <c:v>845464565</c:v>
                </c:pt>
                <c:pt idx="4843">
                  <c:v>390646116</c:v>
                </c:pt>
                <c:pt idx="4844">
                  <c:v>1128366560</c:v>
                </c:pt>
                <c:pt idx="4845">
                  <c:v>564510862</c:v>
                </c:pt>
                <c:pt idx="4846">
                  <c:v>2903181550</c:v>
                </c:pt>
                <c:pt idx="4847">
                  <c:v>174594123</c:v>
                </c:pt>
                <c:pt idx="4848">
                  <c:v>252847530</c:v>
                </c:pt>
                <c:pt idx="4849">
                  <c:v>900049224</c:v>
                </c:pt>
                <c:pt idx="4850">
                  <c:v>186971584</c:v>
                </c:pt>
                <c:pt idx="4851">
                  <c:v>931929936</c:v>
                </c:pt>
                <c:pt idx="4852">
                  <c:v>263702706</c:v>
                </c:pt>
                <c:pt idx="4853">
                  <c:v>135400733</c:v>
                </c:pt>
                <c:pt idx="4854">
                  <c:v>155987195</c:v>
                </c:pt>
                <c:pt idx="4855">
                  <c:v>171039232</c:v>
                </c:pt>
                <c:pt idx="4856">
                  <c:v>104036637</c:v>
                </c:pt>
                <c:pt idx="4857">
                  <c:v>498655584</c:v>
                </c:pt>
                <c:pt idx="4858">
                  <c:v>395189778</c:v>
                </c:pt>
                <c:pt idx="4859">
                  <c:v>321430104</c:v>
                </c:pt>
                <c:pt idx="4860">
                  <c:v>140513018</c:v>
                </c:pt>
                <c:pt idx="4861">
                  <c:v>613484160</c:v>
                </c:pt>
                <c:pt idx="4862">
                  <c:v>227761056</c:v>
                </c:pt>
                <c:pt idx="4863">
                  <c:v>1509927340</c:v>
                </c:pt>
                <c:pt idx="4864">
                  <c:v>299934000</c:v>
                </c:pt>
                <c:pt idx="4865">
                  <c:v>989902248</c:v>
                </c:pt>
                <c:pt idx="4866">
                  <c:v>944210691</c:v>
                </c:pt>
                <c:pt idx="4867">
                  <c:v>907222140</c:v>
                </c:pt>
                <c:pt idx="4868">
                  <c:v>1518298538</c:v>
                </c:pt>
                <c:pt idx="4869">
                  <c:v>3500933905</c:v>
                </c:pt>
                <c:pt idx="4870">
                  <c:v>2147483647</c:v>
                </c:pt>
                <c:pt idx="4871">
                  <c:v>1007737152</c:v>
                </c:pt>
                <c:pt idx="4872">
                  <c:v>281662526</c:v>
                </c:pt>
                <c:pt idx="4873">
                  <c:v>539914914</c:v>
                </c:pt>
                <c:pt idx="4874">
                  <c:v>90182455</c:v>
                </c:pt>
                <c:pt idx="4875">
                  <c:v>231178944</c:v>
                </c:pt>
                <c:pt idx="4876">
                  <c:v>582859602</c:v>
                </c:pt>
                <c:pt idx="4877">
                  <c:v>31458669</c:v>
                </c:pt>
                <c:pt idx="4878">
                  <c:v>1579050000</c:v>
                </c:pt>
                <c:pt idx="4879">
                  <c:v>618003000</c:v>
                </c:pt>
                <c:pt idx="4880">
                  <c:v>768832533</c:v>
                </c:pt>
                <c:pt idx="4881">
                  <c:v>282486816</c:v>
                </c:pt>
                <c:pt idx="4882">
                  <c:v>566496920</c:v>
                </c:pt>
                <c:pt idx="4883">
                  <c:v>685112472</c:v>
                </c:pt>
                <c:pt idx="4884">
                  <c:v>3336208362</c:v>
                </c:pt>
                <c:pt idx="4885">
                  <c:v>340878354</c:v>
                </c:pt>
                <c:pt idx="4886">
                  <c:v>2147483647</c:v>
                </c:pt>
                <c:pt idx="4887">
                  <c:v>240510556</c:v>
                </c:pt>
                <c:pt idx="4888">
                  <c:v>219148191</c:v>
                </c:pt>
                <c:pt idx="4889">
                  <c:v>423203361</c:v>
                </c:pt>
                <c:pt idx="4890">
                  <c:v>407688779</c:v>
                </c:pt>
                <c:pt idx="4891">
                  <c:v>223112460</c:v>
                </c:pt>
                <c:pt idx="4892">
                  <c:v>589894197</c:v>
                </c:pt>
                <c:pt idx="4893">
                  <c:v>1469499538</c:v>
                </c:pt>
                <c:pt idx="4894">
                  <c:v>1021370844</c:v>
                </c:pt>
                <c:pt idx="4895">
                  <c:v>380514743</c:v>
                </c:pt>
                <c:pt idx="4896">
                  <c:v>180635738</c:v>
                </c:pt>
                <c:pt idx="4897">
                  <c:v>881998038</c:v>
                </c:pt>
                <c:pt idx="4898">
                  <c:v>1627846792</c:v>
                </c:pt>
                <c:pt idx="4899">
                  <c:v>244594311</c:v>
                </c:pt>
                <c:pt idx="4900">
                  <c:v>3301531903</c:v>
                </c:pt>
                <c:pt idx="4901">
                  <c:v>1114764580</c:v>
                </c:pt>
                <c:pt idx="4902">
                  <c:v>245811345</c:v>
                </c:pt>
                <c:pt idx="4903">
                  <c:v>1842481130</c:v>
                </c:pt>
                <c:pt idx="4904">
                  <c:v>437120886</c:v>
                </c:pt>
                <c:pt idx="4905">
                  <c:v>2147483647</c:v>
                </c:pt>
                <c:pt idx="4906">
                  <c:v>1110307320</c:v>
                </c:pt>
                <c:pt idx="4907">
                  <c:v>1414396615</c:v>
                </c:pt>
                <c:pt idx="4908">
                  <c:v>146730604</c:v>
                </c:pt>
                <c:pt idx="4909">
                  <c:v>2298868636</c:v>
                </c:pt>
                <c:pt idx="4910">
                  <c:v>2718078453</c:v>
                </c:pt>
                <c:pt idx="4911">
                  <c:v>287400870</c:v>
                </c:pt>
                <c:pt idx="4912">
                  <c:v>289231110</c:v>
                </c:pt>
                <c:pt idx="4913">
                  <c:v>575402978</c:v>
                </c:pt>
                <c:pt idx="4914">
                  <c:v>317303988</c:v>
                </c:pt>
                <c:pt idx="4915">
                  <c:v>383061380</c:v>
                </c:pt>
                <c:pt idx="4916">
                  <c:v>305860940</c:v>
                </c:pt>
                <c:pt idx="4917">
                  <c:v>2339763102</c:v>
                </c:pt>
                <c:pt idx="4918">
                  <c:v>356784372</c:v>
                </c:pt>
                <c:pt idx="4919">
                  <c:v>1984474048</c:v>
                </c:pt>
                <c:pt idx="4920">
                  <c:v>412643282</c:v>
                </c:pt>
                <c:pt idx="4921">
                  <c:v>1822542664</c:v>
                </c:pt>
                <c:pt idx="4922">
                  <c:v>2747583565</c:v>
                </c:pt>
                <c:pt idx="4923">
                  <c:v>987747190</c:v>
                </c:pt>
                <c:pt idx="4924">
                  <c:v>185984898</c:v>
                </c:pt>
                <c:pt idx="4925">
                  <c:v>691325184</c:v>
                </c:pt>
                <c:pt idx="4926">
                  <c:v>1243340356</c:v>
                </c:pt>
                <c:pt idx="4927">
                  <c:v>1871231599</c:v>
                </c:pt>
                <c:pt idx="4928">
                  <c:v>2147483647</c:v>
                </c:pt>
                <c:pt idx="4929">
                  <c:v>667713846</c:v>
                </c:pt>
                <c:pt idx="4930">
                  <c:v>387067100</c:v>
                </c:pt>
                <c:pt idx="4931">
                  <c:v>3639293974</c:v>
                </c:pt>
                <c:pt idx="4932">
                  <c:v>758765112</c:v>
                </c:pt>
                <c:pt idx="4933">
                  <c:v>1192176363</c:v>
                </c:pt>
                <c:pt idx="4934">
                  <c:v>1301675975</c:v>
                </c:pt>
                <c:pt idx="4935">
                  <c:v>953019286</c:v>
                </c:pt>
                <c:pt idx="4936">
                  <c:v>545849752</c:v>
                </c:pt>
                <c:pt idx="4937">
                  <c:v>339812642</c:v>
                </c:pt>
                <c:pt idx="4938">
                  <c:v>177527073</c:v>
                </c:pt>
                <c:pt idx="4939">
                  <c:v>1288865424</c:v>
                </c:pt>
                <c:pt idx="4940">
                  <c:v>213771636</c:v>
                </c:pt>
                <c:pt idx="4941">
                  <c:v>65303221</c:v>
                </c:pt>
                <c:pt idx="4942">
                  <c:v>366537343</c:v>
                </c:pt>
                <c:pt idx="4943">
                  <c:v>3965489214</c:v>
                </c:pt>
                <c:pt idx="4944">
                  <c:v>1242713655</c:v>
                </c:pt>
                <c:pt idx="4945">
                  <c:v>334452720</c:v>
                </c:pt>
                <c:pt idx="4946">
                  <c:v>894359070</c:v>
                </c:pt>
                <c:pt idx="4947">
                  <c:v>783923200</c:v>
                </c:pt>
                <c:pt idx="4948">
                  <c:v>639376320</c:v>
                </c:pt>
                <c:pt idx="4949">
                  <c:v>811791450</c:v>
                </c:pt>
                <c:pt idx="4950">
                  <c:v>667489753</c:v>
                </c:pt>
                <c:pt idx="4951">
                  <c:v>261077804</c:v>
                </c:pt>
                <c:pt idx="4952">
                  <c:v>712147896</c:v>
                </c:pt>
                <c:pt idx="4953">
                  <c:v>477095872</c:v>
                </c:pt>
                <c:pt idx="4954">
                  <c:v>461046168</c:v>
                </c:pt>
                <c:pt idx="4955">
                  <c:v>194558574</c:v>
                </c:pt>
                <c:pt idx="4956">
                  <c:v>398442376</c:v>
                </c:pt>
                <c:pt idx="4957">
                  <c:v>291108780</c:v>
                </c:pt>
                <c:pt idx="4958">
                  <c:v>2127534951</c:v>
                </c:pt>
                <c:pt idx="4959">
                  <c:v>1001404656</c:v>
                </c:pt>
                <c:pt idx="4960">
                  <c:v>992268004</c:v>
                </c:pt>
                <c:pt idx="4961">
                  <c:v>223045050</c:v>
                </c:pt>
                <c:pt idx="4962">
                  <c:v>689999232</c:v>
                </c:pt>
                <c:pt idx="4963">
                  <c:v>2055639440</c:v>
                </c:pt>
                <c:pt idx="4964">
                  <c:v>1029121894</c:v>
                </c:pt>
                <c:pt idx="4965">
                  <c:v>476965600</c:v>
                </c:pt>
                <c:pt idx="4966">
                  <c:v>10292155</c:v>
                </c:pt>
                <c:pt idx="4967">
                  <c:v>1500106454</c:v>
                </c:pt>
                <c:pt idx="4968">
                  <c:v>1156296435</c:v>
                </c:pt>
                <c:pt idx="4969">
                  <c:v>1683069712</c:v>
                </c:pt>
                <c:pt idx="4970">
                  <c:v>472101840</c:v>
                </c:pt>
                <c:pt idx="4971">
                  <c:v>483208284</c:v>
                </c:pt>
                <c:pt idx="4972">
                  <c:v>5863215281</c:v>
                </c:pt>
                <c:pt idx="4973">
                  <c:v>375282635</c:v>
                </c:pt>
                <c:pt idx="4974">
                  <c:v>310742895</c:v>
                </c:pt>
                <c:pt idx="4975">
                  <c:v>2101849199</c:v>
                </c:pt>
                <c:pt idx="4976">
                  <c:v>611270744</c:v>
                </c:pt>
                <c:pt idx="4977">
                  <c:v>386196888</c:v>
                </c:pt>
                <c:pt idx="4978">
                  <c:v>363463236</c:v>
                </c:pt>
                <c:pt idx="4979">
                  <c:v>153150400</c:v>
                </c:pt>
                <c:pt idx="4980">
                  <c:v>830756241</c:v>
                </c:pt>
                <c:pt idx="4981">
                  <c:v>1143317208</c:v>
                </c:pt>
                <c:pt idx="4982">
                  <c:v>2014812972</c:v>
                </c:pt>
                <c:pt idx="4983">
                  <c:v>376434168</c:v>
                </c:pt>
                <c:pt idx="4984">
                  <c:v>404636148</c:v>
                </c:pt>
                <c:pt idx="4985">
                  <c:v>1184042310</c:v>
                </c:pt>
                <c:pt idx="4986">
                  <c:v>103205838</c:v>
                </c:pt>
                <c:pt idx="4987">
                  <c:v>1927477710</c:v>
                </c:pt>
                <c:pt idx="4988">
                  <c:v>2732108037</c:v>
                </c:pt>
                <c:pt idx="4989">
                  <c:v>724451784</c:v>
                </c:pt>
                <c:pt idx="4990">
                  <c:v>564292430</c:v>
                </c:pt>
                <c:pt idx="4991">
                  <c:v>219433025</c:v>
                </c:pt>
                <c:pt idx="4992">
                  <c:v>3784775509</c:v>
                </c:pt>
                <c:pt idx="4993">
                  <c:v>1682526156</c:v>
                </c:pt>
                <c:pt idx="4994">
                  <c:v>377103926</c:v>
                </c:pt>
                <c:pt idx="4995">
                  <c:v>2147483647</c:v>
                </c:pt>
                <c:pt idx="4996">
                  <c:v>1338966740</c:v>
                </c:pt>
                <c:pt idx="4997">
                  <c:v>366012416</c:v>
                </c:pt>
                <c:pt idx="4998">
                  <c:v>220782868</c:v>
                </c:pt>
                <c:pt idx="4999">
                  <c:v>1754430672</c:v>
                </c:pt>
                <c:pt idx="5000">
                  <c:v>101942556</c:v>
                </c:pt>
                <c:pt idx="5001">
                  <c:v>1233959814</c:v>
                </c:pt>
                <c:pt idx="5002">
                  <c:v>512338123</c:v>
                </c:pt>
                <c:pt idx="5003">
                  <c:v>374916872</c:v>
                </c:pt>
                <c:pt idx="5004">
                  <c:v>742976107</c:v>
                </c:pt>
                <c:pt idx="5005">
                  <c:v>632212056</c:v>
                </c:pt>
                <c:pt idx="5006">
                  <c:v>1864363072</c:v>
                </c:pt>
                <c:pt idx="5007">
                  <c:v>271718400</c:v>
                </c:pt>
                <c:pt idx="5008">
                  <c:v>545639556</c:v>
                </c:pt>
                <c:pt idx="5009">
                  <c:v>155763744</c:v>
                </c:pt>
                <c:pt idx="5010">
                  <c:v>2110656770</c:v>
                </c:pt>
                <c:pt idx="5011">
                  <c:v>335122356</c:v>
                </c:pt>
                <c:pt idx="5012">
                  <c:v>481245513</c:v>
                </c:pt>
                <c:pt idx="5013">
                  <c:v>281330438</c:v>
                </c:pt>
                <c:pt idx="5014">
                  <c:v>1138368759</c:v>
                </c:pt>
                <c:pt idx="5015">
                  <c:v>352113750</c:v>
                </c:pt>
                <c:pt idx="5016">
                  <c:v>1457588735</c:v>
                </c:pt>
                <c:pt idx="5017">
                  <c:v>2147483647</c:v>
                </c:pt>
                <c:pt idx="5018">
                  <c:v>663623696</c:v>
                </c:pt>
                <c:pt idx="5019">
                  <c:v>1106188272</c:v>
                </c:pt>
                <c:pt idx="5020">
                  <c:v>1973345465</c:v>
                </c:pt>
                <c:pt idx="5021">
                  <c:v>5089111455</c:v>
                </c:pt>
                <c:pt idx="5022">
                  <c:v>358333170</c:v>
                </c:pt>
                <c:pt idx="5023">
                  <c:v>997027640</c:v>
                </c:pt>
                <c:pt idx="5024">
                  <c:v>745974229</c:v>
                </c:pt>
                <c:pt idx="5025">
                  <c:v>766037802</c:v>
                </c:pt>
                <c:pt idx="5026">
                  <c:v>9158622140</c:v>
                </c:pt>
                <c:pt idx="5027">
                  <c:v>693034284</c:v>
                </c:pt>
                <c:pt idx="5028">
                  <c:v>27288000</c:v>
                </c:pt>
                <c:pt idx="5029">
                  <c:v>7151141796</c:v>
                </c:pt>
                <c:pt idx="5030">
                  <c:v>228232488</c:v>
                </c:pt>
                <c:pt idx="5031">
                  <c:v>328494285</c:v>
                </c:pt>
                <c:pt idx="5032">
                  <c:v>464241855</c:v>
                </c:pt>
                <c:pt idx="5033">
                  <c:v>1646547280</c:v>
                </c:pt>
                <c:pt idx="5034">
                  <c:v>2248461993</c:v>
                </c:pt>
                <c:pt idx="5035">
                  <c:v>475014306</c:v>
                </c:pt>
                <c:pt idx="5036">
                  <c:v>1006831870</c:v>
                </c:pt>
                <c:pt idx="5037">
                  <c:v>159930405</c:v>
                </c:pt>
                <c:pt idx="5038">
                  <c:v>453747427</c:v>
                </c:pt>
                <c:pt idx="5039">
                  <c:v>154326835</c:v>
                </c:pt>
                <c:pt idx="5040">
                  <c:v>2580966484</c:v>
                </c:pt>
                <c:pt idx="5041">
                  <c:v>545881366</c:v>
                </c:pt>
                <c:pt idx="5042">
                  <c:v>63355140</c:v>
                </c:pt>
                <c:pt idx="5043">
                  <c:v>227812150</c:v>
                </c:pt>
                <c:pt idx="5044">
                  <c:v>27553422</c:v>
                </c:pt>
                <c:pt idx="5045">
                  <c:v>827569624</c:v>
                </c:pt>
                <c:pt idx="5046">
                  <c:v>4207755692</c:v>
                </c:pt>
                <c:pt idx="5047">
                  <c:v>838994805</c:v>
                </c:pt>
                <c:pt idx="5048">
                  <c:v>531158880</c:v>
                </c:pt>
                <c:pt idx="5049">
                  <c:v>3332808630</c:v>
                </c:pt>
                <c:pt idx="5050">
                  <c:v>1098932829</c:v>
                </c:pt>
                <c:pt idx="5051">
                  <c:v>26541012</c:v>
                </c:pt>
                <c:pt idx="5052">
                  <c:v>1279761384</c:v>
                </c:pt>
                <c:pt idx="5053">
                  <c:v>602828532</c:v>
                </c:pt>
                <c:pt idx="5054">
                  <c:v>801286516</c:v>
                </c:pt>
                <c:pt idx="5055">
                  <c:v>264155815</c:v>
                </c:pt>
                <c:pt idx="5056">
                  <c:v>562481577</c:v>
                </c:pt>
                <c:pt idx="5057">
                  <c:v>70630254</c:v>
                </c:pt>
                <c:pt idx="5058">
                  <c:v>185827350</c:v>
                </c:pt>
                <c:pt idx="5059">
                  <c:v>117030659</c:v>
                </c:pt>
                <c:pt idx="5060">
                  <c:v>303492315</c:v>
                </c:pt>
                <c:pt idx="5061">
                  <c:v>1855073358</c:v>
                </c:pt>
                <c:pt idx="5062">
                  <c:v>562531544</c:v>
                </c:pt>
                <c:pt idx="5063">
                  <c:v>86524516</c:v>
                </c:pt>
                <c:pt idx="5064">
                  <c:v>151579512</c:v>
                </c:pt>
                <c:pt idx="5065">
                  <c:v>610630250</c:v>
                </c:pt>
                <c:pt idx="5066">
                  <c:v>317107344</c:v>
                </c:pt>
                <c:pt idx="5067">
                  <c:v>164733235</c:v>
                </c:pt>
                <c:pt idx="5068">
                  <c:v>1770015654</c:v>
                </c:pt>
                <c:pt idx="5069">
                  <c:v>430237185</c:v>
                </c:pt>
                <c:pt idx="5070">
                  <c:v>871700214</c:v>
                </c:pt>
                <c:pt idx="5071">
                  <c:v>174587161</c:v>
                </c:pt>
                <c:pt idx="5072">
                  <c:v>118602981</c:v>
                </c:pt>
                <c:pt idx="5073">
                  <c:v>700800998</c:v>
                </c:pt>
                <c:pt idx="5074">
                  <c:v>432822720</c:v>
                </c:pt>
                <c:pt idx="5075">
                  <c:v>481646890</c:v>
                </c:pt>
                <c:pt idx="5076">
                  <c:v>628131128</c:v>
                </c:pt>
                <c:pt idx="5077">
                  <c:v>294578772</c:v>
                </c:pt>
                <c:pt idx="5078">
                  <c:v>316264500</c:v>
                </c:pt>
                <c:pt idx="5079">
                  <c:v>1675118698</c:v>
                </c:pt>
                <c:pt idx="5080">
                  <c:v>167917917</c:v>
                </c:pt>
                <c:pt idx="5081">
                  <c:v>136274496</c:v>
                </c:pt>
                <c:pt idx="5082">
                  <c:v>139309932</c:v>
                </c:pt>
                <c:pt idx="5083">
                  <c:v>517018320</c:v>
                </c:pt>
                <c:pt idx="5084">
                  <c:v>4294967294</c:v>
                </c:pt>
                <c:pt idx="5085">
                  <c:v>579202400</c:v>
                </c:pt>
                <c:pt idx="5086">
                  <c:v>565075332</c:v>
                </c:pt>
                <c:pt idx="5087">
                  <c:v>1113237578</c:v>
                </c:pt>
                <c:pt idx="5088">
                  <c:v>259653552</c:v>
                </c:pt>
                <c:pt idx="5089">
                  <c:v>270830330</c:v>
                </c:pt>
                <c:pt idx="5090">
                  <c:v>505124016</c:v>
                </c:pt>
                <c:pt idx="5091">
                  <c:v>164896524</c:v>
                </c:pt>
                <c:pt idx="5092">
                  <c:v>272128122</c:v>
                </c:pt>
                <c:pt idx="5093">
                  <c:v>174358596</c:v>
                </c:pt>
                <c:pt idx="5094">
                  <c:v>779970432</c:v>
                </c:pt>
                <c:pt idx="5095">
                  <c:v>2614818146</c:v>
                </c:pt>
                <c:pt idx="5096">
                  <c:v>566950439</c:v>
                </c:pt>
                <c:pt idx="5097">
                  <c:v>504171418</c:v>
                </c:pt>
                <c:pt idx="5098">
                  <c:v>153485255</c:v>
                </c:pt>
                <c:pt idx="5099">
                  <c:v>847154472</c:v>
                </c:pt>
                <c:pt idx="5100">
                  <c:v>2147483647</c:v>
                </c:pt>
                <c:pt idx="5101">
                  <c:v>105326235</c:v>
                </c:pt>
                <c:pt idx="5102">
                  <c:v>589163016</c:v>
                </c:pt>
                <c:pt idx="5103">
                  <c:v>510246122</c:v>
                </c:pt>
                <c:pt idx="5104">
                  <c:v>242246272</c:v>
                </c:pt>
                <c:pt idx="5105">
                  <c:v>404032463</c:v>
                </c:pt>
                <c:pt idx="5106">
                  <c:v>985814004</c:v>
                </c:pt>
                <c:pt idx="5107">
                  <c:v>513684283</c:v>
                </c:pt>
                <c:pt idx="5108">
                  <c:v>223500847</c:v>
                </c:pt>
                <c:pt idx="5109">
                  <c:v>1981634004</c:v>
                </c:pt>
                <c:pt idx="5110">
                  <c:v>286472361</c:v>
                </c:pt>
                <c:pt idx="5111">
                  <c:v>5150858363</c:v>
                </c:pt>
                <c:pt idx="5112">
                  <c:v>139187636</c:v>
                </c:pt>
                <c:pt idx="5113">
                  <c:v>4062359586</c:v>
                </c:pt>
                <c:pt idx="5114">
                  <c:v>8150454758</c:v>
                </c:pt>
                <c:pt idx="5115">
                  <c:v>551581184</c:v>
                </c:pt>
                <c:pt idx="5116">
                  <c:v>1017143568</c:v>
                </c:pt>
                <c:pt idx="5117">
                  <c:v>245248626</c:v>
                </c:pt>
                <c:pt idx="5118">
                  <c:v>823476402</c:v>
                </c:pt>
                <c:pt idx="5119">
                  <c:v>159715255</c:v>
                </c:pt>
                <c:pt idx="5120">
                  <c:v>76746672</c:v>
                </c:pt>
                <c:pt idx="5121">
                  <c:v>1552159762</c:v>
                </c:pt>
                <c:pt idx="5122">
                  <c:v>1647288840</c:v>
                </c:pt>
                <c:pt idx="5123">
                  <c:v>464784138</c:v>
                </c:pt>
                <c:pt idx="5124">
                  <c:v>1465003410</c:v>
                </c:pt>
                <c:pt idx="5125">
                  <c:v>654752080</c:v>
                </c:pt>
                <c:pt idx="5126">
                  <c:v>3455151067</c:v>
                </c:pt>
                <c:pt idx="5127">
                  <c:v>1557123644</c:v>
                </c:pt>
                <c:pt idx="5128">
                  <c:v>222559830</c:v>
                </c:pt>
                <c:pt idx="5129">
                  <c:v>150026108</c:v>
                </c:pt>
                <c:pt idx="5130">
                  <c:v>354852256</c:v>
                </c:pt>
                <c:pt idx="5131">
                  <c:v>822811616</c:v>
                </c:pt>
                <c:pt idx="5132">
                  <c:v>967020568</c:v>
                </c:pt>
                <c:pt idx="5133">
                  <c:v>110417450</c:v>
                </c:pt>
                <c:pt idx="5134">
                  <c:v>728084987</c:v>
                </c:pt>
                <c:pt idx="5135">
                  <c:v>28679395083</c:v>
                </c:pt>
                <c:pt idx="5136">
                  <c:v>757504350</c:v>
                </c:pt>
                <c:pt idx="5137">
                  <c:v>1411098835</c:v>
                </c:pt>
                <c:pt idx="5138">
                  <c:v>431174876</c:v>
                </c:pt>
                <c:pt idx="5139">
                  <c:v>69257700</c:v>
                </c:pt>
                <c:pt idx="5140">
                  <c:v>151545768</c:v>
                </c:pt>
                <c:pt idx="5141">
                  <c:v>255441387</c:v>
                </c:pt>
                <c:pt idx="5142">
                  <c:v>2239532463</c:v>
                </c:pt>
                <c:pt idx="5143">
                  <c:v>1433646264</c:v>
                </c:pt>
                <c:pt idx="5144">
                  <c:v>2630098236</c:v>
                </c:pt>
                <c:pt idx="5145">
                  <c:v>294445767</c:v>
                </c:pt>
                <c:pt idx="5146">
                  <c:v>260397834</c:v>
                </c:pt>
                <c:pt idx="5147">
                  <c:v>737051624</c:v>
                </c:pt>
                <c:pt idx="5148">
                  <c:v>785886540</c:v>
                </c:pt>
                <c:pt idx="5149">
                  <c:v>209928625</c:v>
                </c:pt>
                <c:pt idx="5150">
                  <c:v>253509399</c:v>
                </c:pt>
                <c:pt idx="5151">
                  <c:v>723102365</c:v>
                </c:pt>
                <c:pt idx="5152">
                  <c:v>223742088</c:v>
                </c:pt>
                <c:pt idx="5153">
                  <c:v>627884005</c:v>
                </c:pt>
                <c:pt idx="5154">
                  <c:v>677865331</c:v>
                </c:pt>
                <c:pt idx="5155">
                  <c:v>1011497880</c:v>
                </c:pt>
                <c:pt idx="5156">
                  <c:v>1039318715</c:v>
                </c:pt>
                <c:pt idx="5157">
                  <c:v>766086301</c:v>
                </c:pt>
                <c:pt idx="5158">
                  <c:v>124841526</c:v>
                </c:pt>
                <c:pt idx="5159">
                  <c:v>1167516000</c:v>
                </c:pt>
                <c:pt idx="5160">
                  <c:v>1178902400</c:v>
                </c:pt>
                <c:pt idx="5161">
                  <c:v>477093470</c:v>
                </c:pt>
                <c:pt idx="5162">
                  <c:v>1676857520</c:v>
                </c:pt>
                <c:pt idx="5163">
                  <c:v>225566880</c:v>
                </c:pt>
                <c:pt idx="5164">
                  <c:v>444539732</c:v>
                </c:pt>
                <c:pt idx="5165">
                  <c:v>844049001</c:v>
                </c:pt>
                <c:pt idx="5166">
                  <c:v>439819314</c:v>
                </c:pt>
                <c:pt idx="5167">
                  <c:v>2199985809</c:v>
                </c:pt>
                <c:pt idx="5168">
                  <c:v>1133387200</c:v>
                </c:pt>
                <c:pt idx="5169">
                  <c:v>346216968</c:v>
                </c:pt>
                <c:pt idx="5170">
                  <c:v>255199490</c:v>
                </c:pt>
                <c:pt idx="5171">
                  <c:v>1424560014</c:v>
                </c:pt>
                <c:pt idx="5172">
                  <c:v>688232685</c:v>
                </c:pt>
                <c:pt idx="5173">
                  <c:v>514774551</c:v>
                </c:pt>
                <c:pt idx="5174">
                  <c:v>606757628</c:v>
                </c:pt>
                <c:pt idx="5175">
                  <c:v>1824317089</c:v>
                </c:pt>
                <c:pt idx="5176">
                  <c:v>3366029712</c:v>
                </c:pt>
                <c:pt idx="5177">
                  <c:v>214260218</c:v>
                </c:pt>
                <c:pt idx="5178">
                  <c:v>547701312</c:v>
                </c:pt>
                <c:pt idx="5179">
                  <c:v>446822628</c:v>
                </c:pt>
                <c:pt idx="5180">
                  <c:v>510459630</c:v>
                </c:pt>
                <c:pt idx="5181">
                  <c:v>557349777</c:v>
                </c:pt>
                <c:pt idx="5182">
                  <c:v>176213255</c:v>
                </c:pt>
                <c:pt idx="5183">
                  <c:v>1303485278</c:v>
                </c:pt>
                <c:pt idx="5184">
                  <c:v>638171100</c:v>
                </c:pt>
                <c:pt idx="5185">
                  <c:v>1179081442</c:v>
                </c:pt>
                <c:pt idx="5186">
                  <c:v>349375400</c:v>
                </c:pt>
                <c:pt idx="5187">
                  <c:v>317746108</c:v>
                </c:pt>
                <c:pt idx="5188">
                  <c:v>75012912</c:v>
                </c:pt>
                <c:pt idx="5189">
                  <c:v>284169620</c:v>
                </c:pt>
                <c:pt idx="5190">
                  <c:v>1188601344</c:v>
                </c:pt>
                <c:pt idx="5191">
                  <c:v>422127506</c:v>
                </c:pt>
                <c:pt idx="5192">
                  <c:v>132246510</c:v>
                </c:pt>
                <c:pt idx="5193">
                  <c:v>268016850</c:v>
                </c:pt>
                <c:pt idx="5194">
                  <c:v>814617542</c:v>
                </c:pt>
                <c:pt idx="5195">
                  <c:v>45334830</c:v>
                </c:pt>
                <c:pt idx="5196">
                  <c:v>360262284</c:v>
                </c:pt>
                <c:pt idx="5197">
                  <c:v>1030329336</c:v>
                </c:pt>
                <c:pt idx="5198">
                  <c:v>356177368</c:v>
                </c:pt>
                <c:pt idx="5199">
                  <c:v>666508191</c:v>
                </c:pt>
                <c:pt idx="5200">
                  <c:v>904611072</c:v>
                </c:pt>
                <c:pt idx="5201">
                  <c:v>840928256</c:v>
                </c:pt>
                <c:pt idx="5202">
                  <c:v>4257863956</c:v>
                </c:pt>
                <c:pt idx="5203">
                  <c:v>305665542</c:v>
                </c:pt>
                <c:pt idx="5204">
                  <c:v>199253712</c:v>
                </c:pt>
                <c:pt idx="5205">
                  <c:v>337891932</c:v>
                </c:pt>
                <c:pt idx="5206">
                  <c:v>2455764844</c:v>
                </c:pt>
                <c:pt idx="5207">
                  <c:v>278938008</c:v>
                </c:pt>
                <c:pt idx="5208">
                  <c:v>218751630</c:v>
                </c:pt>
                <c:pt idx="5209">
                  <c:v>122552924</c:v>
                </c:pt>
                <c:pt idx="5210">
                  <c:v>3310129565</c:v>
                </c:pt>
                <c:pt idx="5211">
                  <c:v>122993118</c:v>
                </c:pt>
                <c:pt idx="5212">
                  <c:v>751913604</c:v>
                </c:pt>
                <c:pt idx="5213">
                  <c:v>499444736</c:v>
                </c:pt>
                <c:pt idx="5214">
                  <c:v>122438544</c:v>
                </c:pt>
                <c:pt idx="5215">
                  <c:v>48083575</c:v>
                </c:pt>
                <c:pt idx="5216">
                  <c:v>252295350</c:v>
                </c:pt>
                <c:pt idx="5217">
                  <c:v>131797260</c:v>
                </c:pt>
                <c:pt idx="5218">
                  <c:v>1049336316</c:v>
                </c:pt>
                <c:pt idx="5219">
                  <c:v>457210460</c:v>
                </c:pt>
                <c:pt idx="5220">
                  <c:v>44030884</c:v>
                </c:pt>
                <c:pt idx="5221">
                  <c:v>1857487856</c:v>
                </c:pt>
                <c:pt idx="5222">
                  <c:v>270455780</c:v>
                </c:pt>
                <c:pt idx="5223">
                  <c:v>2007263376</c:v>
                </c:pt>
                <c:pt idx="5224">
                  <c:v>182811616</c:v>
                </c:pt>
                <c:pt idx="5225">
                  <c:v>416194614</c:v>
                </c:pt>
                <c:pt idx="5226">
                  <c:v>336161934</c:v>
                </c:pt>
                <c:pt idx="5227">
                  <c:v>170834066</c:v>
                </c:pt>
                <c:pt idx="5228">
                  <c:v>249740826</c:v>
                </c:pt>
                <c:pt idx="5229">
                  <c:v>49568435</c:v>
                </c:pt>
                <c:pt idx="5230">
                  <c:v>112412052</c:v>
                </c:pt>
                <c:pt idx="5231">
                  <c:v>258946164</c:v>
                </c:pt>
                <c:pt idx="5232">
                  <c:v>2147483647</c:v>
                </c:pt>
                <c:pt idx="5233">
                  <c:v>237337750</c:v>
                </c:pt>
                <c:pt idx="5234">
                  <c:v>740708048</c:v>
                </c:pt>
                <c:pt idx="5235">
                  <c:v>2099997359</c:v>
                </c:pt>
                <c:pt idx="5236">
                  <c:v>234749421</c:v>
                </c:pt>
                <c:pt idx="5237">
                  <c:v>2954245833</c:v>
                </c:pt>
                <c:pt idx="5238">
                  <c:v>293598243</c:v>
                </c:pt>
                <c:pt idx="5239">
                  <c:v>1911333228</c:v>
                </c:pt>
                <c:pt idx="5240">
                  <c:v>548637814</c:v>
                </c:pt>
                <c:pt idx="5241">
                  <c:v>91343175</c:v>
                </c:pt>
                <c:pt idx="5242">
                  <c:v>923448870</c:v>
                </c:pt>
                <c:pt idx="5243">
                  <c:v>392955605</c:v>
                </c:pt>
                <c:pt idx="5244">
                  <c:v>1557488030</c:v>
                </c:pt>
                <c:pt idx="5245">
                  <c:v>4376786559</c:v>
                </c:pt>
                <c:pt idx="5246">
                  <c:v>136627004</c:v>
                </c:pt>
                <c:pt idx="5247">
                  <c:v>187711650</c:v>
                </c:pt>
                <c:pt idx="5248">
                  <c:v>297630720</c:v>
                </c:pt>
                <c:pt idx="5249">
                  <c:v>206384857</c:v>
                </c:pt>
                <c:pt idx="5250">
                  <c:v>164961016</c:v>
                </c:pt>
                <c:pt idx="5251">
                  <c:v>410986160</c:v>
                </c:pt>
                <c:pt idx="5252">
                  <c:v>746255511</c:v>
                </c:pt>
                <c:pt idx="5253">
                  <c:v>963285657</c:v>
                </c:pt>
                <c:pt idx="5254">
                  <c:v>105388640</c:v>
                </c:pt>
                <c:pt idx="5255">
                  <c:v>949158608</c:v>
                </c:pt>
                <c:pt idx="5256">
                  <c:v>2197130361</c:v>
                </c:pt>
                <c:pt idx="5257">
                  <c:v>243485160</c:v>
                </c:pt>
                <c:pt idx="5258">
                  <c:v>3016865061</c:v>
                </c:pt>
                <c:pt idx="5259">
                  <c:v>294248814</c:v>
                </c:pt>
                <c:pt idx="5260">
                  <c:v>428928576</c:v>
                </c:pt>
                <c:pt idx="5261">
                  <c:v>210232918</c:v>
                </c:pt>
                <c:pt idx="5262">
                  <c:v>6745423251</c:v>
                </c:pt>
                <c:pt idx="5263">
                  <c:v>1273484597</c:v>
                </c:pt>
                <c:pt idx="5264">
                  <c:v>196968480</c:v>
                </c:pt>
                <c:pt idx="5265">
                  <c:v>403745763</c:v>
                </c:pt>
                <c:pt idx="5266">
                  <c:v>198691209</c:v>
                </c:pt>
                <c:pt idx="5267">
                  <c:v>388368232</c:v>
                </c:pt>
                <c:pt idx="5268">
                  <c:v>838218440</c:v>
                </c:pt>
                <c:pt idx="5269">
                  <c:v>344092441</c:v>
                </c:pt>
                <c:pt idx="5270">
                  <c:v>319034268</c:v>
                </c:pt>
                <c:pt idx="5271">
                  <c:v>668741160</c:v>
                </c:pt>
                <c:pt idx="5272">
                  <c:v>410630340</c:v>
                </c:pt>
                <c:pt idx="5273">
                  <c:v>147199902</c:v>
                </c:pt>
                <c:pt idx="5274">
                  <c:v>231694194</c:v>
                </c:pt>
                <c:pt idx="5275">
                  <c:v>295178748</c:v>
                </c:pt>
                <c:pt idx="5276">
                  <c:v>682223255</c:v>
                </c:pt>
                <c:pt idx="5277">
                  <c:v>2889104521</c:v>
                </c:pt>
                <c:pt idx="5278">
                  <c:v>170209238</c:v>
                </c:pt>
                <c:pt idx="5279">
                  <c:v>1214946376</c:v>
                </c:pt>
                <c:pt idx="5280">
                  <c:v>319979688</c:v>
                </c:pt>
                <c:pt idx="5281">
                  <c:v>386611002</c:v>
                </c:pt>
                <c:pt idx="5282">
                  <c:v>426719340</c:v>
                </c:pt>
                <c:pt idx="5283">
                  <c:v>242314740</c:v>
                </c:pt>
                <c:pt idx="5284">
                  <c:v>1647646956</c:v>
                </c:pt>
                <c:pt idx="5285">
                  <c:v>846714309</c:v>
                </c:pt>
                <c:pt idx="5286">
                  <c:v>957406950</c:v>
                </c:pt>
                <c:pt idx="5287">
                  <c:v>89289892</c:v>
                </c:pt>
                <c:pt idx="5288">
                  <c:v>174670866</c:v>
                </c:pt>
                <c:pt idx="5289">
                  <c:v>149115177</c:v>
                </c:pt>
                <c:pt idx="5290">
                  <c:v>333527376</c:v>
                </c:pt>
                <c:pt idx="5291">
                  <c:v>884771972</c:v>
                </c:pt>
                <c:pt idx="5292">
                  <c:v>345316995</c:v>
                </c:pt>
                <c:pt idx="5293">
                  <c:v>201156676</c:v>
                </c:pt>
                <c:pt idx="5294">
                  <c:v>559500600</c:v>
                </c:pt>
                <c:pt idx="5295">
                  <c:v>1023064410</c:v>
                </c:pt>
                <c:pt idx="5296">
                  <c:v>612915660</c:v>
                </c:pt>
                <c:pt idx="5297">
                  <c:v>156830480</c:v>
                </c:pt>
                <c:pt idx="5298">
                  <c:v>42793247</c:v>
                </c:pt>
                <c:pt idx="5299">
                  <c:v>97045385</c:v>
                </c:pt>
                <c:pt idx="5300">
                  <c:v>218381478</c:v>
                </c:pt>
                <c:pt idx="5301">
                  <c:v>435032208</c:v>
                </c:pt>
                <c:pt idx="5302">
                  <c:v>815012730</c:v>
                </c:pt>
                <c:pt idx="5303">
                  <c:v>35250294</c:v>
                </c:pt>
                <c:pt idx="5304">
                  <c:v>528423588</c:v>
                </c:pt>
                <c:pt idx="5305">
                  <c:v>265071197</c:v>
                </c:pt>
                <c:pt idx="5306">
                  <c:v>486918396</c:v>
                </c:pt>
                <c:pt idx="5307">
                  <c:v>229065888</c:v>
                </c:pt>
                <c:pt idx="5308">
                  <c:v>35306616</c:v>
                </c:pt>
                <c:pt idx="5309">
                  <c:v>171613923</c:v>
                </c:pt>
                <c:pt idx="5310">
                  <c:v>134192982</c:v>
                </c:pt>
                <c:pt idx="5311">
                  <c:v>293297675</c:v>
                </c:pt>
                <c:pt idx="5312">
                  <c:v>2400334389</c:v>
                </c:pt>
                <c:pt idx="5313">
                  <c:v>355003614</c:v>
                </c:pt>
                <c:pt idx="5314">
                  <c:v>338712179</c:v>
                </c:pt>
                <c:pt idx="5315">
                  <c:v>21985260</c:v>
                </c:pt>
                <c:pt idx="5316">
                  <c:v>357295484</c:v>
                </c:pt>
                <c:pt idx="5317">
                  <c:v>143854538</c:v>
                </c:pt>
                <c:pt idx="5318">
                  <c:v>74657066</c:v>
                </c:pt>
                <c:pt idx="5319">
                  <c:v>1183182096</c:v>
                </c:pt>
                <c:pt idx="5320">
                  <c:v>257934880</c:v>
                </c:pt>
                <c:pt idx="5321">
                  <c:v>98902374</c:v>
                </c:pt>
                <c:pt idx="5322">
                  <c:v>262569152</c:v>
                </c:pt>
                <c:pt idx="5323">
                  <c:v>2054527970</c:v>
                </c:pt>
                <c:pt idx="5324">
                  <c:v>1181086515</c:v>
                </c:pt>
                <c:pt idx="5325">
                  <c:v>408051448</c:v>
                </c:pt>
                <c:pt idx="5326">
                  <c:v>261889459</c:v>
                </c:pt>
                <c:pt idx="5327">
                  <c:v>133678941</c:v>
                </c:pt>
                <c:pt idx="5328">
                  <c:v>3307653554</c:v>
                </c:pt>
                <c:pt idx="5329">
                  <c:v>164568076</c:v>
                </c:pt>
                <c:pt idx="5330">
                  <c:v>201440031</c:v>
                </c:pt>
                <c:pt idx="5331">
                  <c:v>355541758</c:v>
                </c:pt>
                <c:pt idx="5332">
                  <c:v>607622418</c:v>
                </c:pt>
                <c:pt idx="5333">
                  <c:v>56226014</c:v>
                </c:pt>
                <c:pt idx="5334">
                  <c:v>390938798</c:v>
                </c:pt>
                <c:pt idx="5335">
                  <c:v>305749056</c:v>
                </c:pt>
                <c:pt idx="5336">
                  <c:v>469840518</c:v>
                </c:pt>
                <c:pt idx="5337">
                  <c:v>122241002</c:v>
                </c:pt>
                <c:pt idx="5338">
                  <c:v>101015954</c:v>
                </c:pt>
                <c:pt idx="5339">
                  <c:v>369330600</c:v>
                </c:pt>
                <c:pt idx="5340">
                  <c:v>284957350</c:v>
                </c:pt>
                <c:pt idx="5341">
                  <c:v>257118732</c:v>
                </c:pt>
                <c:pt idx="5342">
                  <c:v>215381025</c:v>
                </c:pt>
                <c:pt idx="5343">
                  <c:v>126311037</c:v>
                </c:pt>
                <c:pt idx="5344">
                  <c:v>153680604</c:v>
                </c:pt>
                <c:pt idx="5345">
                  <c:v>253098288</c:v>
                </c:pt>
                <c:pt idx="5346">
                  <c:v>1032116736</c:v>
                </c:pt>
                <c:pt idx="5347">
                  <c:v>786284005</c:v>
                </c:pt>
                <c:pt idx="5348">
                  <c:v>408125181</c:v>
                </c:pt>
                <c:pt idx="5349">
                  <c:v>734181528</c:v>
                </c:pt>
                <c:pt idx="5350">
                  <c:v>300209243</c:v>
                </c:pt>
                <c:pt idx="5351">
                  <c:v>909452670</c:v>
                </c:pt>
                <c:pt idx="5352">
                  <c:v>820008520</c:v>
                </c:pt>
                <c:pt idx="5353">
                  <c:v>330205372</c:v>
                </c:pt>
                <c:pt idx="5354">
                  <c:v>152770813</c:v>
                </c:pt>
                <c:pt idx="5355">
                  <c:v>470151018</c:v>
                </c:pt>
                <c:pt idx="5356">
                  <c:v>757985880</c:v>
                </c:pt>
                <c:pt idx="5357">
                  <c:v>405236090</c:v>
                </c:pt>
                <c:pt idx="5358">
                  <c:v>124262820</c:v>
                </c:pt>
                <c:pt idx="5359">
                  <c:v>109514295</c:v>
                </c:pt>
                <c:pt idx="5360">
                  <c:v>1378483558</c:v>
                </c:pt>
                <c:pt idx="5361">
                  <c:v>339385632</c:v>
                </c:pt>
                <c:pt idx="5362">
                  <c:v>167357996</c:v>
                </c:pt>
                <c:pt idx="5363">
                  <c:v>652069340</c:v>
                </c:pt>
                <c:pt idx="5364">
                  <c:v>3255566655</c:v>
                </c:pt>
                <c:pt idx="5365">
                  <c:v>124828470</c:v>
                </c:pt>
                <c:pt idx="5366">
                  <c:v>331652286</c:v>
                </c:pt>
                <c:pt idx="5367">
                  <c:v>2796540010</c:v>
                </c:pt>
                <c:pt idx="5368">
                  <c:v>1194813529</c:v>
                </c:pt>
                <c:pt idx="5369">
                  <c:v>2917126656</c:v>
                </c:pt>
                <c:pt idx="5370">
                  <c:v>2322860650</c:v>
                </c:pt>
                <c:pt idx="5371">
                  <c:v>451556336</c:v>
                </c:pt>
                <c:pt idx="5372">
                  <c:v>288778087</c:v>
                </c:pt>
                <c:pt idx="5373">
                  <c:v>1120563370</c:v>
                </c:pt>
                <c:pt idx="5374">
                  <c:v>2758212</c:v>
                </c:pt>
                <c:pt idx="5375">
                  <c:v>539276696</c:v>
                </c:pt>
                <c:pt idx="5376">
                  <c:v>1515674438</c:v>
                </c:pt>
                <c:pt idx="5377">
                  <c:v>588333151</c:v>
                </c:pt>
                <c:pt idx="5378">
                  <c:v>4294967294</c:v>
                </c:pt>
                <c:pt idx="5379">
                  <c:v>438215638</c:v>
                </c:pt>
                <c:pt idx="5380">
                  <c:v>8979868722</c:v>
                </c:pt>
                <c:pt idx="5381">
                  <c:v>522295758</c:v>
                </c:pt>
                <c:pt idx="5382">
                  <c:v>309752418</c:v>
                </c:pt>
                <c:pt idx="5383">
                  <c:v>610665810</c:v>
                </c:pt>
                <c:pt idx="5384">
                  <c:v>1535432282</c:v>
                </c:pt>
                <c:pt idx="5385">
                  <c:v>228673298</c:v>
                </c:pt>
                <c:pt idx="5386">
                  <c:v>136991008</c:v>
                </c:pt>
                <c:pt idx="5387">
                  <c:v>1472898479</c:v>
                </c:pt>
                <c:pt idx="5388">
                  <c:v>115660622</c:v>
                </c:pt>
                <c:pt idx="5389">
                  <c:v>3320838919</c:v>
                </c:pt>
                <c:pt idx="5390">
                  <c:v>487749672</c:v>
                </c:pt>
                <c:pt idx="5391">
                  <c:v>114887202</c:v>
                </c:pt>
                <c:pt idx="5392">
                  <c:v>2425409557</c:v>
                </c:pt>
                <c:pt idx="5393">
                  <c:v>86330160</c:v>
                </c:pt>
                <c:pt idx="5394">
                  <c:v>331743188</c:v>
                </c:pt>
                <c:pt idx="5395">
                  <c:v>96769148</c:v>
                </c:pt>
                <c:pt idx="5396">
                  <c:v>272602778</c:v>
                </c:pt>
                <c:pt idx="5397">
                  <c:v>219909756</c:v>
                </c:pt>
                <c:pt idx="5398">
                  <c:v>12494082739</c:v>
                </c:pt>
                <c:pt idx="5399">
                  <c:v>406587832</c:v>
                </c:pt>
                <c:pt idx="5400">
                  <c:v>890585625</c:v>
                </c:pt>
                <c:pt idx="5401">
                  <c:v>1429748870</c:v>
                </c:pt>
                <c:pt idx="5402">
                  <c:v>605248828</c:v>
                </c:pt>
                <c:pt idx="5403">
                  <c:v>5422242425</c:v>
                </c:pt>
                <c:pt idx="5404">
                  <c:v>1268402400</c:v>
                </c:pt>
                <c:pt idx="5405">
                  <c:v>19268014106</c:v>
                </c:pt>
                <c:pt idx="5406">
                  <c:v>3315286302</c:v>
                </c:pt>
                <c:pt idx="5407">
                  <c:v>214128496</c:v>
                </c:pt>
                <c:pt idx="5408">
                  <c:v>960879870</c:v>
                </c:pt>
                <c:pt idx="5409">
                  <c:v>1051984005</c:v>
                </c:pt>
                <c:pt idx="5410">
                  <c:v>6246297045</c:v>
                </c:pt>
                <c:pt idx="5411">
                  <c:v>5601646035</c:v>
                </c:pt>
                <c:pt idx="5412">
                  <c:v>769089132</c:v>
                </c:pt>
                <c:pt idx="5413">
                  <c:v>200017475</c:v>
                </c:pt>
                <c:pt idx="5414">
                  <c:v>755920368</c:v>
                </c:pt>
                <c:pt idx="5415">
                  <c:v>698557264</c:v>
                </c:pt>
                <c:pt idx="5416">
                  <c:v>616367160</c:v>
                </c:pt>
                <c:pt idx="5417">
                  <c:v>545628333</c:v>
                </c:pt>
                <c:pt idx="5418">
                  <c:v>1293129742</c:v>
                </c:pt>
                <c:pt idx="5419">
                  <c:v>2147483647</c:v>
                </c:pt>
                <c:pt idx="5420">
                  <c:v>499190320</c:v>
                </c:pt>
                <c:pt idx="5421">
                  <c:v>305432582</c:v>
                </c:pt>
                <c:pt idx="5422">
                  <c:v>473830357</c:v>
                </c:pt>
                <c:pt idx="5423">
                  <c:v>2147483647</c:v>
                </c:pt>
                <c:pt idx="5424">
                  <c:v>1340743925</c:v>
                </c:pt>
                <c:pt idx="5425">
                  <c:v>985934008</c:v>
                </c:pt>
                <c:pt idx="5426">
                  <c:v>215153016</c:v>
                </c:pt>
                <c:pt idx="5427">
                  <c:v>1726918635</c:v>
                </c:pt>
                <c:pt idx="5428">
                  <c:v>1418177656</c:v>
                </c:pt>
                <c:pt idx="5429">
                  <c:v>1062737280</c:v>
                </c:pt>
                <c:pt idx="5430">
                  <c:v>4894008182</c:v>
                </c:pt>
                <c:pt idx="5431">
                  <c:v>53255423</c:v>
                </c:pt>
                <c:pt idx="5432">
                  <c:v>100422738</c:v>
                </c:pt>
                <c:pt idx="5433">
                  <c:v>1402648182</c:v>
                </c:pt>
                <c:pt idx="5434">
                  <c:v>1127268618</c:v>
                </c:pt>
                <c:pt idx="5435">
                  <c:v>637822240</c:v>
                </c:pt>
                <c:pt idx="5436">
                  <c:v>218755648</c:v>
                </c:pt>
                <c:pt idx="5437">
                  <c:v>325549005</c:v>
                </c:pt>
                <c:pt idx="5438">
                  <c:v>1013210520</c:v>
                </c:pt>
                <c:pt idx="5439">
                  <c:v>1351997182</c:v>
                </c:pt>
                <c:pt idx="5440">
                  <c:v>1628903306</c:v>
                </c:pt>
                <c:pt idx="5441">
                  <c:v>369475128</c:v>
                </c:pt>
                <c:pt idx="5442">
                  <c:v>1084630582</c:v>
                </c:pt>
                <c:pt idx="5443">
                  <c:v>1192784393</c:v>
                </c:pt>
                <c:pt idx="5444">
                  <c:v>746987022</c:v>
                </c:pt>
                <c:pt idx="5445">
                  <c:v>1629830940</c:v>
                </c:pt>
                <c:pt idx="5446">
                  <c:v>1537653575</c:v>
                </c:pt>
                <c:pt idx="5447">
                  <c:v>4294967294</c:v>
                </c:pt>
                <c:pt idx="5448">
                  <c:v>173941968</c:v>
                </c:pt>
                <c:pt idx="5449">
                  <c:v>1344696051</c:v>
                </c:pt>
                <c:pt idx="5450">
                  <c:v>191938563</c:v>
                </c:pt>
                <c:pt idx="5451">
                  <c:v>571054940</c:v>
                </c:pt>
                <c:pt idx="5452">
                  <c:v>875287215</c:v>
                </c:pt>
                <c:pt idx="5453">
                  <c:v>327909060</c:v>
                </c:pt>
                <c:pt idx="5454">
                  <c:v>2147483647</c:v>
                </c:pt>
                <c:pt idx="5455">
                  <c:v>6304156173</c:v>
                </c:pt>
                <c:pt idx="5456">
                  <c:v>326419956</c:v>
                </c:pt>
                <c:pt idx="5457">
                  <c:v>140975130</c:v>
                </c:pt>
                <c:pt idx="5458">
                  <c:v>559242222</c:v>
                </c:pt>
                <c:pt idx="5459">
                  <c:v>4446128167</c:v>
                </c:pt>
                <c:pt idx="5460">
                  <c:v>822811614</c:v>
                </c:pt>
                <c:pt idx="5461">
                  <c:v>3187213993</c:v>
                </c:pt>
                <c:pt idx="5462">
                  <c:v>3547572366</c:v>
                </c:pt>
                <c:pt idx="5463">
                  <c:v>376052861</c:v>
                </c:pt>
                <c:pt idx="5464">
                  <c:v>118599600</c:v>
                </c:pt>
                <c:pt idx="5465">
                  <c:v>1160518583</c:v>
                </c:pt>
                <c:pt idx="5466">
                  <c:v>1438389920</c:v>
                </c:pt>
                <c:pt idx="5467">
                  <c:v>3116455583</c:v>
                </c:pt>
                <c:pt idx="5468">
                  <c:v>1207215789</c:v>
                </c:pt>
                <c:pt idx="5469">
                  <c:v>666326810</c:v>
                </c:pt>
                <c:pt idx="5470">
                  <c:v>1099264152</c:v>
                </c:pt>
                <c:pt idx="5471">
                  <c:v>980457984</c:v>
                </c:pt>
                <c:pt idx="5472">
                  <c:v>303988300</c:v>
                </c:pt>
                <c:pt idx="5473">
                  <c:v>5186274026</c:v>
                </c:pt>
                <c:pt idx="5474">
                  <c:v>378583766</c:v>
                </c:pt>
                <c:pt idx="5475">
                  <c:v>281359398</c:v>
                </c:pt>
                <c:pt idx="5476">
                  <c:v>461955021</c:v>
                </c:pt>
                <c:pt idx="5477">
                  <c:v>748109568</c:v>
                </c:pt>
                <c:pt idx="5478">
                  <c:v>1394665342</c:v>
                </c:pt>
                <c:pt idx="5479">
                  <c:v>195300354</c:v>
                </c:pt>
                <c:pt idx="5480">
                  <c:v>947494337</c:v>
                </c:pt>
                <c:pt idx="5481">
                  <c:v>1441960891</c:v>
                </c:pt>
                <c:pt idx="5482">
                  <c:v>5083832659</c:v>
                </c:pt>
                <c:pt idx="5483">
                  <c:v>766973968</c:v>
                </c:pt>
                <c:pt idx="5484">
                  <c:v>1040981571</c:v>
                </c:pt>
                <c:pt idx="5485">
                  <c:v>433458368</c:v>
                </c:pt>
                <c:pt idx="5486">
                  <c:v>309732672</c:v>
                </c:pt>
                <c:pt idx="5487">
                  <c:v>948010618</c:v>
                </c:pt>
                <c:pt idx="5488">
                  <c:v>2147483647</c:v>
                </c:pt>
                <c:pt idx="5489">
                  <c:v>1465918240</c:v>
                </c:pt>
                <c:pt idx="5490">
                  <c:v>640724705</c:v>
                </c:pt>
                <c:pt idx="5491">
                  <c:v>922146040</c:v>
                </c:pt>
                <c:pt idx="5492">
                  <c:v>1317631705</c:v>
                </c:pt>
                <c:pt idx="5493">
                  <c:v>1601718354</c:v>
                </c:pt>
                <c:pt idx="5494">
                  <c:v>334283824</c:v>
                </c:pt>
                <c:pt idx="5495">
                  <c:v>259515000</c:v>
                </c:pt>
                <c:pt idx="5496">
                  <c:v>781172565</c:v>
                </c:pt>
                <c:pt idx="5497">
                  <c:v>744660378</c:v>
                </c:pt>
                <c:pt idx="5498">
                  <c:v>1453655040</c:v>
                </c:pt>
                <c:pt idx="5499">
                  <c:v>511420112</c:v>
                </c:pt>
                <c:pt idx="5500">
                  <c:v>607638960</c:v>
                </c:pt>
                <c:pt idx="5501">
                  <c:v>1780723054</c:v>
                </c:pt>
                <c:pt idx="5502">
                  <c:v>1503015930</c:v>
                </c:pt>
                <c:pt idx="5503">
                  <c:v>530950440</c:v>
                </c:pt>
                <c:pt idx="5504">
                  <c:v>2147483647</c:v>
                </c:pt>
                <c:pt idx="5505">
                  <c:v>1044099212</c:v>
                </c:pt>
                <c:pt idx="5506">
                  <c:v>2147483647</c:v>
                </c:pt>
                <c:pt idx="5507">
                  <c:v>2147483647</c:v>
                </c:pt>
                <c:pt idx="5508">
                  <c:v>753367031</c:v>
                </c:pt>
                <c:pt idx="5509">
                  <c:v>584589856</c:v>
                </c:pt>
                <c:pt idx="5510">
                  <c:v>1802083852</c:v>
                </c:pt>
                <c:pt idx="5511">
                  <c:v>205736109</c:v>
                </c:pt>
                <c:pt idx="5512">
                  <c:v>400814322</c:v>
                </c:pt>
                <c:pt idx="5513">
                  <c:v>2147483647</c:v>
                </c:pt>
                <c:pt idx="5514">
                  <c:v>552115674</c:v>
                </c:pt>
                <c:pt idx="5515">
                  <c:v>207332531</c:v>
                </c:pt>
                <c:pt idx="5516">
                  <c:v>1062135542</c:v>
                </c:pt>
                <c:pt idx="5517">
                  <c:v>1717576446</c:v>
                </c:pt>
                <c:pt idx="5518">
                  <c:v>394990596</c:v>
                </c:pt>
                <c:pt idx="5519">
                  <c:v>629639604</c:v>
                </c:pt>
                <c:pt idx="5520">
                  <c:v>6455033172</c:v>
                </c:pt>
                <c:pt idx="5521">
                  <c:v>1146003672</c:v>
                </c:pt>
                <c:pt idx="5522">
                  <c:v>2169279857</c:v>
                </c:pt>
                <c:pt idx="5523">
                  <c:v>1745245550</c:v>
                </c:pt>
                <c:pt idx="5524">
                  <c:v>1925202870</c:v>
                </c:pt>
                <c:pt idx="5525">
                  <c:v>12089844920</c:v>
                </c:pt>
                <c:pt idx="5526">
                  <c:v>364673351</c:v>
                </c:pt>
                <c:pt idx="5527">
                  <c:v>144742896</c:v>
                </c:pt>
                <c:pt idx="5528">
                  <c:v>1071450207</c:v>
                </c:pt>
                <c:pt idx="5529">
                  <c:v>1930828146</c:v>
                </c:pt>
                <c:pt idx="5530">
                  <c:v>1098300330</c:v>
                </c:pt>
                <c:pt idx="5531">
                  <c:v>381866456</c:v>
                </c:pt>
                <c:pt idx="5532">
                  <c:v>1403652925</c:v>
                </c:pt>
                <c:pt idx="5533">
                  <c:v>514582791</c:v>
                </c:pt>
                <c:pt idx="5534">
                  <c:v>2152736781</c:v>
                </c:pt>
                <c:pt idx="5535">
                  <c:v>4294967294</c:v>
                </c:pt>
                <c:pt idx="5536">
                  <c:v>144188496</c:v>
                </c:pt>
                <c:pt idx="5537">
                  <c:v>2212310752</c:v>
                </c:pt>
                <c:pt idx="5538">
                  <c:v>506594966</c:v>
                </c:pt>
                <c:pt idx="5539">
                  <c:v>172505181</c:v>
                </c:pt>
                <c:pt idx="5540">
                  <c:v>64875355</c:v>
                </c:pt>
                <c:pt idx="5541">
                  <c:v>2533544245</c:v>
                </c:pt>
                <c:pt idx="5542">
                  <c:v>209970765</c:v>
                </c:pt>
                <c:pt idx="5543">
                  <c:v>328987978</c:v>
                </c:pt>
                <c:pt idx="5544">
                  <c:v>1213400588</c:v>
                </c:pt>
                <c:pt idx="5545">
                  <c:v>518685498</c:v>
                </c:pt>
                <c:pt idx="5546">
                  <c:v>278931724</c:v>
                </c:pt>
                <c:pt idx="5547">
                  <c:v>329611392</c:v>
                </c:pt>
                <c:pt idx="5548">
                  <c:v>170554472</c:v>
                </c:pt>
                <c:pt idx="5549">
                  <c:v>359911251</c:v>
                </c:pt>
                <c:pt idx="5550">
                  <c:v>93123408</c:v>
                </c:pt>
                <c:pt idx="5551">
                  <c:v>1719780213</c:v>
                </c:pt>
                <c:pt idx="5552">
                  <c:v>403766592</c:v>
                </c:pt>
                <c:pt idx="5553">
                  <c:v>517666818</c:v>
                </c:pt>
                <c:pt idx="5554">
                  <c:v>44873897</c:v>
                </c:pt>
                <c:pt idx="5555">
                  <c:v>412635536</c:v>
                </c:pt>
                <c:pt idx="5556">
                  <c:v>712232721</c:v>
                </c:pt>
                <c:pt idx="5557">
                  <c:v>541122750</c:v>
                </c:pt>
                <c:pt idx="5558">
                  <c:v>296806419</c:v>
                </c:pt>
                <c:pt idx="5559">
                  <c:v>84934520</c:v>
                </c:pt>
                <c:pt idx="5560">
                  <c:v>317765896</c:v>
                </c:pt>
                <c:pt idx="5561">
                  <c:v>399207568</c:v>
                </c:pt>
                <c:pt idx="5562">
                  <c:v>916731965</c:v>
                </c:pt>
                <c:pt idx="5563">
                  <c:v>305267958</c:v>
                </c:pt>
                <c:pt idx="5564">
                  <c:v>151297380</c:v>
                </c:pt>
                <c:pt idx="5565">
                  <c:v>339979776</c:v>
                </c:pt>
                <c:pt idx="5566">
                  <c:v>545960844</c:v>
                </c:pt>
                <c:pt idx="5567">
                  <c:v>85491724</c:v>
                </c:pt>
                <c:pt idx="5568">
                  <c:v>732277784</c:v>
                </c:pt>
                <c:pt idx="5569">
                  <c:v>381907944</c:v>
                </c:pt>
                <c:pt idx="5570">
                  <c:v>359996424</c:v>
                </c:pt>
                <c:pt idx="5571">
                  <c:v>265904301</c:v>
                </c:pt>
                <c:pt idx="5572">
                  <c:v>129960896</c:v>
                </c:pt>
                <c:pt idx="5573">
                  <c:v>367483590</c:v>
                </c:pt>
                <c:pt idx="5574">
                  <c:v>253925991</c:v>
                </c:pt>
                <c:pt idx="5575">
                  <c:v>121126734</c:v>
                </c:pt>
                <c:pt idx="5576">
                  <c:v>274610280</c:v>
                </c:pt>
                <c:pt idx="5577">
                  <c:v>453986096</c:v>
                </c:pt>
                <c:pt idx="5578">
                  <c:v>689235419</c:v>
                </c:pt>
                <c:pt idx="5579">
                  <c:v>464812326</c:v>
                </c:pt>
                <c:pt idx="5580">
                  <c:v>462029064</c:v>
                </c:pt>
                <c:pt idx="5581">
                  <c:v>2317331162</c:v>
                </c:pt>
                <c:pt idx="5582">
                  <c:v>2518229406</c:v>
                </c:pt>
                <c:pt idx="5583">
                  <c:v>163223280</c:v>
                </c:pt>
                <c:pt idx="5584">
                  <c:v>950350752</c:v>
                </c:pt>
                <c:pt idx="5585">
                  <c:v>334087695</c:v>
                </c:pt>
                <c:pt idx="5586">
                  <c:v>605586410</c:v>
                </c:pt>
                <c:pt idx="5587">
                  <c:v>173149353</c:v>
                </c:pt>
                <c:pt idx="5588">
                  <c:v>187298128</c:v>
                </c:pt>
                <c:pt idx="5589">
                  <c:v>202157340</c:v>
                </c:pt>
                <c:pt idx="5590">
                  <c:v>2009740406</c:v>
                </c:pt>
                <c:pt idx="5591">
                  <c:v>323577212</c:v>
                </c:pt>
                <c:pt idx="5592">
                  <c:v>998488434</c:v>
                </c:pt>
                <c:pt idx="5593">
                  <c:v>186822544</c:v>
                </c:pt>
                <c:pt idx="5594">
                  <c:v>347057183</c:v>
                </c:pt>
                <c:pt idx="5595">
                  <c:v>658781376</c:v>
                </c:pt>
                <c:pt idx="5596">
                  <c:v>226574290</c:v>
                </c:pt>
                <c:pt idx="5597">
                  <c:v>93023084</c:v>
                </c:pt>
                <c:pt idx="5598">
                  <c:v>2147483647</c:v>
                </c:pt>
                <c:pt idx="5599">
                  <c:v>179752521</c:v>
                </c:pt>
                <c:pt idx="5600">
                  <c:v>127087205</c:v>
                </c:pt>
                <c:pt idx="5601">
                  <c:v>55402120</c:v>
                </c:pt>
                <c:pt idx="5602">
                  <c:v>350970996</c:v>
                </c:pt>
                <c:pt idx="5603">
                  <c:v>1424368474</c:v>
                </c:pt>
                <c:pt idx="5604">
                  <c:v>99150304</c:v>
                </c:pt>
                <c:pt idx="5605">
                  <c:v>266420320</c:v>
                </c:pt>
                <c:pt idx="5606">
                  <c:v>764932326</c:v>
                </c:pt>
                <c:pt idx="5607">
                  <c:v>586959840</c:v>
                </c:pt>
                <c:pt idx="5608">
                  <c:v>346157565</c:v>
                </c:pt>
                <c:pt idx="5609">
                  <c:v>378958338</c:v>
                </c:pt>
                <c:pt idx="5610">
                  <c:v>114420470</c:v>
                </c:pt>
                <c:pt idx="5611">
                  <c:v>1387325016</c:v>
                </c:pt>
                <c:pt idx="5612">
                  <c:v>2047480952</c:v>
                </c:pt>
                <c:pt idx="5613">
                  <c:v>1400879568</c:v>
                </c:pt>
                <c:pt idx="5614">
                  <c:v>271235213</c:v>
                </c:pt>
                <c:pt idx="5615">
                  <c:v>860697728</c:v>
                </c:pt>
                <c:pt idx="5616">
                  <c:v>279243557</c:v>
                </c:pt>
                <c:pt idx="5617">
                  <c:v>642249552</c:v>
                </c:pt>
                <c:pt idx="5618">
                  <c:v>486529810</c:v>
                </c:pt>
                <c:pt idx="5619">
                  <c:v>642805636</c:v>
                </c:pt>
                <c:pt idx="5620">
                  <c:v>453424248</c:v>
                </c:pt>
                <c:pt idx="5621">
                  <c:v>273912555</c:v>
                </c:pt>
                <c:pt idx="5622">
                  <c:v>93686544</c:v>
                </c:pt>
                <c:pt idx="5623">
                  <c:v>458859080</c:v>
                </c:pt>
                <c:pt idx="5624">
                  <c:v>135964880</c:v>
                </c:pt>
                <c:pt idx="5625">
                  <c:v>189485590</c:v>
                </c:pt>
                <c:pt idx="5626">
                  <c:v>1067925016</c:v>
                </c:pt>
                <c:pt idx="5627">
                  <c:v>259687584</c:v>
                </c:pt>
                <c:pt idx="5628">
                  <c:v>56103850</c:v>
                </c:pt>
                <c:pt idx="5629">
                  <c:v>390738213</c:v>
                </c:pt>
                <c:pt idx="5630">
                  <c:v>144298312</c:v>
                </c:pt>
                <c:pt idx="5631">
                  <c:v>360629828</c:v>
                </c:pt>
                <c:pt idx="5632">
                  <c:v>52966419</c:v>
                </c:pt>
                <c:pt idx="5633">
                  <c:v>1537877376</c:v>
                </c:pt>
                <c:pt idx="5634">
                  <c:v>1172892933</c:v>
                </c:pt>
                <c:pt idx="5635">
                  <c:v>264475324</c:v>
                </c:pt>
                <c:pt idx="5636">
                  <c:v>94013940</c:v>
                </c:pt>
                <c:pt idx="5637">
                  <c:v>1440562216</c:v>
                </c:pt>
                <c:pt idx="5638">
                  <c:v>241165580</c:v>
                </c:pt>
                <c:pt idx="5639">
                  <c:v>1204675810</c:v>
                </c:pt>
                <c:pt idx="5640">
                  <c:v>179485362</c:v>
                </c:pt>
                <c:pt idx="5641">
                  <c:v>325397772</c:v>
                </c:pt>
                <c:pt idx="5642">
                  <c:v>340662420</c:v>
                </c:pt>
                <c:pt idx="5643">
                  <c:v>208411926</c:v>
                </c:pt>
                <c:pt idx="5644">
                  <c:v>135880423</c:v>
                </c:pt>
                <c:pt idx="5645">
                  <c:v>260841504</c:v>
                </c:pt>
                <c:pt idx="5646">
                  <c:v>92430352</c:v>
                </c:pt>
                <c:pt idx="5647">
                  <c:v>1076533688</c:v>
                </c:pt>
                <c:pt idx="5648">
                  <c:v>262811640</c:v>
                </c:pt>
                <c:pt idx="5649">
                  <c:v>301774365</c:v>
                </c:pt>
                <c:pt idx="5650">
                  <c:v>83629018</c:v>
                </c:pt>
                <c:pt idx="5651">
                  <c:v>193746927</c:v>
                </c:pt>
                <c:pt idx="5652">
                  <c:v>4068796004</c:v>
                </c:pt>
                <c:pt idx="5653">
                  <c:v>986861250</c:v>
                </c:pt>
                <c:pt idx="5654">
                  <c:v>99500796</c:v>
                </c:pt>
                <c:pt idx="5655">
                  <c:v>81368416</c:v>
                </c:pt>
                <c:pt idx="5656">
                  <c:v>105621088</c:v>
                </c:pt>
                <c:pt idx="5657">
                  <c:v>2133206648</c:v>
                </c:pt>
                <c:pt idx="5658">
                  <c:v>413868585</c:v>
                </c:pt>
                <c:pt idx="5659">
                  <c:v>336077262</c:v>
                </c:pt>
                <c:pt idx="5660">
                  <c:v>257810746</c:v>
                </c:pt>
                <c:pt idx="5661">
                  <c:v>145087236</c:v>
                </c:pt>
                <c:pt idx="5662">
                  <c:v>733867412</c:v>
                </c:pt>
                <c:pt idx="5663">
                  <c:v>418704000</c:v>
                </c:pt>
                <c:pt idx="5664">
                  <c:v>157049970</c:v>
                </c:pt>
                <c:pt idx="5665">
                  <c:v>288938496</c:v>
                </c:pt>
                <c:pt idx="5666">
                  <c:v>204111780</c:v>
                </c:pt>
                <c:pt idx="5667">
                  <c:v>184125123</c:v>
                </c:pt>
                <c:pt idx="5668">
                  <c:v>219165711</c:v>
                </c:pt>
                <c:pt idx="5669">
                  <c:v>382311160</c:v>
                </c:pt>
                <c:pt idx="5670">
                  <c:v>242833215</c:v>
                </c:pt>
                <c:pt idx="5671">
                  <c:v>1106569030</c:v>
                </c:pt>
                <c:pt idx="5672">
                  <c:v>111799254</c:v>
                </c:pt>
                <c:pt idx="5673">
                  <c:v>576977448</c:v>
                </c:pt>
                <c:pt idx="5674">
                  <c:v>228569000</c:v>
                </c:pt>
                <c:pt idx="5675">
                  <c:v>260834560</c:v>
                </c:pt>
                <c:pt idx="5676">
                  <c:v>87741126</c:v>
                </c:pt>
                <c:pt idx="5677">
                  <c:v>3813665087</c:v>
                </c:pt>
                <c:pt idx="5678">
                  <c:v>317688852</c:v>
                </c:pt>
                <c:pt idx="5679">
                  <c:v>400788756</c:v>
                </c:pt>
                <c:pt idx="5680">
                  <c:v>4738594172</c:v>
                </c:pt>
                <c:pt idx="5681">
                  <c:v>107464932</c:v>
                </c:pt>
                <c:pt idx="5682">
                  <c:v>14949420</c:v>
                </c:pt>
                <c:pt idx="5683">
                  <c:v>189967907</c:v>
                </c:pt>
                <c:pt idx="5684">
                  <c:v>537604852</c:v>
                </c:pt>
                <c:pt idx="5685">
                  <c:v>347098014</c:v>
                </c:pt>
                <c:pt idx="5686">
                  <c:v>145949678</c:v>
                </c:pt>
                <c:pt idx="5687">
                  <c:v>135321552</c:v>
                </c:pt>
                <c:pt idx="5688">
                  <c:v>250285056</c:v>
                </c:pt>
                <c:pt idx="5689">
                  <c:v>826736416</c:v>
                </c:pt>
                <c:pt idx="5690">
                  <c:v>427170416</c:v>
                </c:pt>
                <c:pt idx="5691">
                  <c:v>699921750</c:v>
                </c:pt>
                <c:pt idx="5692">
                  <c:v>1752741570</c:v>
                </c:pt>
                <c:pt idx="5693">
                  <c:v>898979578</c:v>
                </c:pt>
                <c:pt idx="5694">
                  <c:v>2609838140</c:v>
                </c:pt>
                <c:pt idx="5695">
                  <c:v>477513736</c:v>
                </c:pt>
                <c:pt idx="5696">
                  <c:v>296241048</c:v>
                </c:pt>
                <c:pt idx="5697">
                  <c:v>544027132</c:v>
                </c:pt>
                <c:pt idx="5698">
                  <c:v>690637815</c:v>
                </c:pt>
                <c:pt idx="5699">
                  <c:v>663380340</c:v>
                </c:pt>
                <c:pt idx="5700">
                  <c:v>586418580</c:v>
                </c:pt>
                <c:pt idx="5701">
                  <c:v>447518790</c:v>
                </c:pt>
                <c:pt idx="5702">
                  <c:v>58840113</c:v>
                </c:pt>
                <c:pt idx="5703">
                  <c:v>489422763</c:v>
                </c:pt>
                <c:pt idx="5704">
                  <c:v>177213631</c:v>
                </c:pt>
                <c:pt idx="5705">
                  <c:v>607404444</c:v>
                </c:pt>
                <c:pt idx="5706">
                  <c:v>562368176</c:v>
                </c:pt>
                <c:pt idx="5707">
                  <c:v>225626821</c:v>
                </c:pt>
                <c:pt idx="5708">
                  <c:v>296003565</c:v>
                </c:pt>
                <c:pt idx="5709">
                  <c:v>379747380</c:v>
                </c:pt>
                <c:pt idx="5710">
                  <c:v>92540275</c:v>
                </c:pt>
                <c:pt idx="5711">
                  <c:v>954054076</c:v>
                </c:pt>
                <c:pt idx="5712">
                  <c:v>2466780628</c:v>
                </c:pt>
                <c:pt idx="5713">
                  <c:v>86455206</c:v>
                </c:pt>
                <c:pt idx="5714">
                  <c:v>835551250</c:v>
                </c:pt>
                <c:pt idx="5715">
                  <c:v>2230658541</c:v>
                </c:pt>
                <c:pt idx="5716">
                  <c:v>2196745911</c:v>
                </c:pt>
                <c:pt idx="5717">
                  <c:v>43120912</c:v>
                </c:pt>
                <c:pt idx="5718">
                  <c:v>16135519482</c:v>
                </c:pt>
                <c:pt idx="5719">
                  <c:v>643755456</c:v>
                </c:pt>
                <c:pt idx="5720">
                  <c:v>325174934</c:v>
                </c:pt>
                <c:pt idx="5721">
                  <c:v>22296285</c:v>
                </c:pt>
                <c:pt idx="5722">
                  <c:v>542060260</c:v>
                </c:pt>
                <c:pt idx="5723">
                  <c:v>194642560</c:v>
                </c:pt>
                <c:pt idx="5724">
                  <c:v>273448511</c:v>
                </c:pt>
                <c:pt idx="5725">
                  <c:v>1303158036</c:v>
                </c:pt>
                <c:pt idx="5726">
                  <c:v>170751366</c:v>
                </c:pt>
                <c:pt idx="5727">
                  <c:v>715028269</c:v>
                </c:pt>
                <c:pt idx="5728">
                  <c:v>3850589941</c:v>
                </c:pt>
                <c:pt idx="5729">
                  <c:v>195363888</c:v>
                </c:pt>
                <c:pt idx="5730">
                  <c:v>1332855924</c:v>
                </c:pt>
                <c:pt idx="5731">
                  <c:v>125907072</c:v>
                </c:pt>
                <c:pt idx="5732">
                  <c:v>180012635</c:v>
                </c:pt>
                <c:pt idx="5733">
                  <c:v>135786564</c:v>
                </c:pt>
                <c:pt idx="5734">
                  <c:v>102939700</c:v>
                </c:pt>
                <c:pt idx="5735">
                  <c:v>330864625</c:v>
                </c:pt>
                <c:pt idx="5736">
                  <c:v>464033010</c:v>
                </c:pt>
                <c:pt idx="5737">
                  <c:v>893109744</c:v>
                </c:pt>
                <c:pt idx="5738">
                  <c:v>321526920</c:v>
                </c:pt>
                <c:pt idx="5739">
                  <c:v>366877041</c:v>
                </c:pt>
                <c:pt idx="5740">
                  <c:v>372356058</c:v>
                </c:pt>
                <c:pt idx="5741">
                  <c:v>360015516</c:v>
                </c:pt>
                <c:pt idx="5742">
                  <c:v>122730300</c:v>
                </c:pt>
                <c:pt idx="5743">
                  <c:v>43622208</c:v>
                </c:pt>
                <c:pt idx="5744">
                  <c:v>223425146</c:v>
                </c:pt>
                <c:pt idx="5745">
                  <c:v>167203359</c:v>
                </c:pt>
                <c:pt idx="5746">
                  <c:v>109024785</c:v>
                </c:pt>
                <c:pt idx="5747">
                  <c:v>543369879</c:v>
                </c:pt>
                <c:pt idx="5748">
                  <c:v>354470652</c:v>
                </c:pt>
                <c:pt idx="5749">
                  <c:v>108446410</c:v>
                </c:pt>
                <c:pt idx="5750">
                  <c:v>40379416</c:v>
                </c:pt>
                <c:pt idx="5751">
                  <c:v>1102292598</c:v>
                </c:pt>
                <c:pt idx="5752">
                  <c:v>4035087660</c:v>
                </c:pt>
                <c:pt idx="5753">
                  <c:v>376528635</c:v>
                </c:pt>
                <c:pt idx="5754">
                  <c:v>297106575</c:v>
                </c:pt>
                <c:pt idx="5755">
                  <c:v>196374591</c:v>
                </c:pt>
                <c:pt idx="5756">
                  <c:v>158607540</c:v>
                </c:pt>
                <c:pt idx="5757">
                  <c:v>1083085155</c:v>
                </c:pt>
                <c:pt idx="5758">
                  <c:v>477437854</c:v>
                </c:pt>
                <c:pt idx="5759">
                  <c:v>426523648</c:v>
                </c:pt>
                <c:pt idx="5760">
                  <c:v>217197400</c:v>
                </c:pt>
                <c:pt idx="5761">
                  <c:v>108849472</c:v>
                </c:pt>
                <c:pt idx="5762">
                  <c:v>16940882</c:v>
                </c:pt>
                <c:pt idx="5763">
                  <c:v>74873220</c:v>
                </c:pt>
                <c:pt idx="5764">
                  <c:v>491474880</c:v>
                </c:pt>
                <c:pt idx="5765">
                  <c:v>490102384</c:v>
                </c:pt>
                <c:pt idx="5766">
                  <c:v>742444950</c:v>
                </c:pt>
                <c:pt idx="5767">
                  <c:v>109515978</c:v>
                </c:pt>
                <c:pt idx="5768">
                  <c:v>224733300</c:v>
                </c:pt>
                <c:pt idx="5769">
                  <c:v>931411496</c:v>
                </c:pt>
                <c:pt idx="5770">
                  <c:v>230803500</c:v>
                </c:pt>
                <c:pt idx="5771">
                  <c:v>565667498</c:v>
                </c:pt>
                <c:pt idx="5772">
                  <c:v>252075792</c:v>
                </c:pt>
                <c:pt idx="5773">
                  <c:v>66469494</c:v>
                </c:pt>
                <c:pt idx="5774">
                  <c:v>456626085</c:v>
                </c:pt>
                <c:pt idx="5775">
                  <c:v>852918288</c:v>
                </c:pt>
                <c:pt idx="5776">
                  <c:v>373093787</c:v>
                </c:pt>
                <c:pt idx="5777">
                  <c:v>6073958136</c:v>
                </c:pt>
                <c:pt idx="5778">
                  <c:v>288414918</c:v>
                </c:pt>
                <c:pt idx="5779">
                  <c:v>233562000</c:v>
                </c:pt>
                <c:pt idx="5780">
                  <c:v>1801970227</c:v>
                </c:pt>
                <c:pt idx="5781">
                  <c:v>32323819790</c:v>
                </c:pt>
                <c:pt idx="5782">
                  <c:v>2147483647</c:v>
                </c:pt>
                <c:pt idx="5783">
                  <c:v>288505623</c:v>
                </c:pt>
                <c:pt idx="5784">
                  <c:v>386509777</c:v>
                </c:pt>
                <c:pt idx="5785">
                  <c:v>316805632</c:v>
                </c:pt>
                <c:pt idx="5786">
                  <c:v>967895651</c:v>
                </c:pt>
                <c:pt idx="5787">
                  <c:v>168118223</c:v>
                </c:pt>
                <c:pt idx="5788">
                  <c:v>616020500</c:v>
                </c:pt>
                <c:pt idx="5789">
                  <c:v>532215958</c:v>
                </c:pt>
                <c:pt idx="5790">
                  <c:v>7103802076</c:v>
                </c:pt>
                <c:pt idx="5791">
                  <c:v>214552767</c:v>
                </c:pt>
                <c:pt idx="5792">
                  <c:v>438456843</c:v>
                </c:pt>
                <c:pt idx="5793">
                  <c:v>171108868</c:v>
                </c:pt>
                <c:pt idx="5794">
                  <c:v>70823632</c:v>
                </c:pt>
                <c:pt idx="5795">
                  <c:v>200369900</c:v>
                </c:pt>
                <c:pt idx="5796">
                  <c:v>843789278</c:v>
                </c:pt>
                <c:pt idx="5797">
                  <c:v>556917620</c:v>
                </c:pt>
                <c:pt idx="5798">
                  <c:v>332437511</c:v>
                </c:pt>
                <c:pt idx="5799">
                  <c:v>42483104</c:v>
                </c:pt>
                <c:pt idx="5800">
                  <c:v>59640828</c:v>
                </c:pt>
                <c:pt idx="5801">
                  <c:v>136314089</c:v>
                </c:pt>
                <c:pt idx="5802">
                  <c:v>765710572</c:v>
                </c:pt>
                <c:pt idx="5803">
                  <c:v>447012335</c:v>
                </c:pt>
                <c:pt idx="5804">
                  <c:v>258278169</c:v>
                </c:pt>
                <c:pt idx="5805">
                  <c:v>838748548</c:v>
                </c:pt>
                <c:pt idx="5806">
                  <c:v>373323591</c:v>
                </c:pt>
                <c:pt idx="5807">
                  <c:v>387317504</c:v>
                </c:pt>
                <c:pt idx="5808">
                  <c:v>1923874172</c:v>
                </c:pt>
                <c:pt idx="5809">
                  <c:v>561342008</c:v>
                </c:pt>
                <c:pt idx="5810">
                  <c:v>993724891</c:v>
                </c:pt>
                <c:pt idx="5811">
                  <c:v>245319756</c:v>
                </c:pt>
                <c:pt idx="5812">
                  <c:v>117829719</c:v>
                </c:pt>
                <c:pt idx="5813">
                  <c:v>348130536</c:v>
                </c:pt>
                <c:pt idx="5814">
                  <c:v>262716560</c:v>
                </c:pt>
                <c:pt idx="5815">
                  <c:v>5304280912</c:v>
                </c:pt>
                <c:pt idx="5816">
                  <c:v>3466594253</c:v>
                </c:pt>
                <c:pt idx="5817">
                  <c:v>986225280</c:v>
                </c:pt>
                <c:pt idx="5818">
                  <c:v>64502727</c:v>
                </c:pt>
                <c:pt idx="5819">
                  <c:v>162798265</c:v>
                </c:pt>
                <c:pt idx="5820">
                  <c:v>110468160</c:v>
                </c:pt>
                <c:pt idx="5821">
                  <c:v>105276348</c:v>
                </c:pt>
                <c:pt idx="5822">
                  <c:v>220930062</c:v>
                </c:pt>
                <c:pt idx="5823">
                  <c:v>132424422</c:v>
                </c:pt>
                <c:pt idx="5824">
                  <c:v>1027840905</c:v>
                </c:pt>
                <c:pt idx="5825">
                  <c:v>439036880</c:v>
                </c:pt>
                <c:pt idx="5826">
                  <c:v>108183375</c:v>
                </c:pt>
                <c:pt idx="5827">
                  <c:v>339423524</c:v>
                </c:pt>
                <c:pt idx="5828">
                  <c:v>1050444306</c:v>
                </c:pt>
                <c:pt idx="5829">
                  <c:v>1804788755</c:v>
                </c:pt>
                <c:pt idx="5830">
                  <c:v>513652536</c:v>
                </c:pt>
                <c:pt idx="5831">
                  <c:v>269224656</c:v>
                </c:pt>
                <c:pt idx="5832">
                  <c:v>245154558</c:v>
                </c:pt>
                <c:pt idx="5833">
                  <c:v>460035392</c:v>
                </c:pt>
                <c:pt idx="5834">
                  <c:v>351258208</c:v>
                </c:pt>
                <c:pt idx="5835">
                  <c:v>2608915597</c:v>
                </c:pt>
                <c:pt idx="5836">
                  <c:v>351954060</c:v>
                </c:pt>
                <c:pt idx="5837">
                  <c:v>131558340</c:v>
                </c:pt>
                <c:pt idx="5838">
                  <c:v>262509744</c:v>
                </c:pt>
                <c:pt idx="5839">
                  <c:v>62184857</c:v>
                </c:pt>
                <c:pt idx="5840">
                  <c:v>679601670</c:v>
                </c:pt>
                <c:pt idx="5841">
                  <c:v>92440458</c:v>
                </c:pt>
                <c:pt idx="5842">
                  <c:v>277442560</c:v>
                </c:pt>
                <c:pt idx="5843">
                  <c:v>187550202</c:v>
                </c:pt>
                <c:pt idx="5844">
                  <c:v>384759760</c:v>
                </c:pt>
                <c:pt idx="5845">
                  <c:v>1847711439</c:v>
                </c:pt>
                <c:pt idx="5846">
                  <c:v>503504595</c:v>
                </c:pt>
                <c:pt idx="5847">
                  <c:v>150204762</c:v>
                </c:pt>
                <c:pt idx="5848">
                  <c:v>166375710</c:v>
                </c:pt>
                <c:pt idx="5849">
                  <c:v>908967600</c:v>
                </c:pt>
                <c:pt idx="5850">
                  <c:v>1749802663</c:v>
                </c:pt>
                <c:pt idx="5851">
                  <c:v>126567094</c:v>
                </c:pt>
                <c:pt idx="5852">
                  <c:v>896580884</c:v>
                </c:pt>
                <c:pt idx="5853">
                  <c:v>329242200</c:v>
                </c:pt>
                <c:pt idx="5854">
                  <c:v>132506550</c:v>
                </c:pt>
                <c:pt idx="5855">
                  <c:v>1686212556</c:v>
                </c:pt>
                <c:pt idx="5856">
                  <c:v>804465000</c:v>
                </c:pt>
                <c:pt idx="5857">
                  <c:v>819515364</c:v>
                </c:pt>
                <c:pt idx="5858">
                  <c:v>210692440</c:v>
                </c:pt>
                <c:pt idx="5859">
                  <c:v>1269524630</c:v>
                </c:pt>
                <c:pt idx="5860">
                  <c:v>703329984</c:v>
                </c:pt>
                <c:pt idx="5861">
                  <c:v>274477665</c:v>
                </c:pt>
                <c:pt idx="5862">
                  <c:v>9088143465</c:v>
                </c:pt>
                <c:pt idx="5863">
                  <c:v>274458876</c:v>
                </c:pt>
                <c:pt idx="5864">
                  <c:v>257259002</c:v>
                </c:pt>
                <c:pt idx="5865">
                  <c:v>1000780224</c:v>
                </c:pt>
                <c:pt idx="5866">
                  <c:v>870355833</c:v>
                </c:pt>
                <c:pt idx="5867">
                  <c:v>194387578</c:v>
                </c:pt>
                <c:pt idx="5868">
                  <c:v>17320521093</c:v>
                </c:pt>
                <c:pt idx="5869">
                  <c:v>148020586</c:v>
                </c:pt>
                <c:pt idx="5870">
                  <c:v>2066822728</c:v>
                </c:pt>
                <c:pt idx="5871">
                  <c:v>449978746</c:v>
                </c:pt>
                <c:pt idx="5872">
                  <c:v>283961304</c:v>
                </c:pt>
                <c:pt idx="5873">
                  <c:v>209328832</c:v>
                </c:pt>
                <c:pt idx="5874">
                  <c:v>403372400</c:v>
                </c:pt>
                <c:pt idx="5875">
                  <c:v>94583380</c:v>
                </c:pt>
                <c:pt idx="5876">
                  <c:v>158801864</c:v>
                </c:pt>
                <c:pt idx="5877">
                  <c:v>179010456</c:v>
                </c:pt>
                <c:pt idx="5878">
                  <c:v>145944375</c:v>
                </c:pt>
                <c:pt idx="5879">
                  <c:v>353563020</c:v>
                </c:pt>
                <c:pt idx="5880">
                  <c:v>210282960</c:v>
                </c:pt>
                <c:pt idx="5881">
                  <c:v>605188111</c:v>
                </c:pt>
                <c:pt idx="5882">
                  <c:v>956486160</c:v>
                </c:pt>
                <c:pt idx="5883">
                  <c:v>571463910</c:v>
                </c:pt>
                <c:pt idx="5884">
                  <c:v>230397804</c:v>
                </c:pt>
                <c:pt idx="5885">
                  <c:v>508294578</c:v>
                </c:pt>
                <c:pt idx="5886">
                  <c:v>70652988</c:v>
                </c:pt>
                <c:pt idx="5887">
                  <c:v>11372077362</c:v>
                </c:pt>
                <c:pt idx="5888">
                  <c:v>801007020</c:v>
                </c:pt>
                <c:pt idx="5889">
                  <c:v>651067954</c:v>
                </c:pt>
                <c:pt idx="5890">
                  <c:v>472645509</c:v>
                </c:pt>
                <c:pt idx="5891">
                  <c:v>6115624693</c:v>
                </c:pt>
                <c:pt idx="5892">
                  <c:v>663619888</c:v>
                </c:pt>
                <c:pt idx="5893">
                  <c:v>11113474369</c:v>
                </c:pt>
                <c:pt idx="5894">
                  <c:v>8659743</c:v>
                </c:pt>
                <c:pt idx="5895">
                  <c:v>3556875056</c:v>
                </c:pt>
                <c:pt idx="5896">
                  <c:v>174172350</c:v>
                </c:pt>
                <c:pt idx="5897">
                  <c:v>513287610</c:v>
                </c:pt>
                <c:pt idx="5898">
                  <c:v>199359600</c:v>
                </c:pt>
                <c:pt idx="5899">
                  <c:v>30671536</c:v>
                </c:pt>
                <c:pt idx="5900">
                  <c:v>581793896</c:v>
                </c:pt>
                <c:pt idx="5901">
                  <c:v>184614576</c:v>
                </c:pt>
                <c:pt idx="5902">
                  <c:v>166045770</c:v>
                </c:pt>
                <c:pt idx="5903">
                  <c:v>134087350</c:v>
                </c:pt>
                <c:pt idx="5904">
                  <c:v>107936271</c:v>
                </c:pt>
                <c:pt idx="5905">
                  <c:v>60832416</c:v>
                </c:pt>
                <c:pt idx="5906">
                  <c:v>309392928</c:v>
                </c:pt>
                <c:pt idx="5907">
                  <c:v>33463106</c:v>
                </c:pt>
                <c:pt idx="5908">
                  <c:v>1416877668</c:v>
                </c:pt>
                <c:pt idx="5909">
                  <c:v>261584964</c:v>
                </c:pt>
                <c:pt idx="5910">
                  <c:v>224370951</c:v>
                </c:pt>
                <c:pt idx="5911">
                  <c:v>458656578</c:v>
                </c:pt>
                <c:pt idx="5912">
                  <c:v>108865854</c:v>
                </c:pt>
                <c:pt idx="5913">
                  <c:v>184551066</c:v>
                </c:pt>
                <c:pt idx="5914">
                  <c:v>296820288</c:v>
                </c:pt>
                <c:pt idx="5915">
                  <c:v>103391832</c:v>
                </c:pt>
                <c:pt idx="5916">
                  <c:v>187514131</c:v>
                </c:pt>
                <c:pt idx="5917">
                  <c:v>111402576</c:v>
                </c:pt>
                <c:pt idx="5918">
                  <c:v>358059042</c:v>
                </c:pt>
                <c:pt idx="5919">
                  <c:v>102774496</c:v>
                </c:pt>
                <c:pt idx="5920">
                  <c:v>1849412821</c:v>
                </c:pt>
                <c:pt idx="5921">
                  <c:v>308597617</c:v>
                </c:pt>
                <c:pt idx="5922">
                  <c:v>1368112128</c:v>
                </c:pt>
                <c:pt idx="5923">
                  <c:v>1543251888</c:v>
                </c:pt>
                <c:pt idx="5924">
                  <c:v>359927568</c:v>
                </c:pt>
                <c:pt idx="5925">
                  <c:v>139481430</c:v>
                </c:pt>
                <c:pt idx="5926">
                  <c:v>243642168</c:v>
                </c:pt>
                <c:pt idx="5927">
                  <c:v>292239724</c:v>
                </c:pt>
                <c:pt idx="5928">
                  <c:v>184157604</c:v>
                </c:pt>
                <c:pt idx="5929">
                  <c:v>1182709206</c:v>
                </c:pt>
                <c:pt idx="5930">
                  <c:v>97075140</c:v>
                </c:pt>
                <c:pt idx="5931">
                  <c:v>295103322</c:v>
                </c:pt>
                <c:pt idx="5932">
                  <c:v>382410948</c:v>
                </c:pt>
                <c:pt idx="5933">
                  <c:v>611133864</c:v>
                </c:pt>
                <c:pt idx="5934">
                  <c:v>126575097</c:v>
                </c:pt>
                <c:pt idx="5935">
                  <c:v>179896275</c:v>
                </c:pt>
                <c:pt idx="5936">
                  <c:v>244344546</c:v>
                </c:pt>
                <c:pt idx="5937">
                  <c:v>131831460</c:v>
                </c:pt>
                <c:pt idx="5938">
                  <c:v>328693376</c:v>
                </c:pt>
                <c:pt idx="5939">
                  <c:v>869051887</c:v>
                </c:pt>
                <c:pt idx="5940">
                  <c:v>194828672</c:v>
                </c:pt>
                <c:pt idx="5941">
                  <c:v>278414379</c:v>
                </c:pt>
                <c:pt idx="5942">
                  <c:v>128693400</c:v>
                </c:pt>
                <c:pt idx="5943">
                  <c:v>660747230</c:v>
                </c:pt>
                <c:pt idx="5944">
                  <c:v>594885420</c:v>
                </c:pt>
                <c:pt idx="5945">
                  <c:v>1264620344</c:v>
                </c:pt>
                <c:pt idx="5946">
                  <c:v>53330430</c:v>
                </c:pt>
                <c:pt idx="5947">
                  <c:v>196741120</c:v>
                </c:pt>
                <c:pt idx="5948">
                  <c:v>807781480</c:v>
                </c:pt>
                <c:pt idx="5949">
                  <c:v>303147340</c:v>
                </c:pt>
                <c:pt idx="5950">
                  <c:v>572148494</c:v>
                </c:pt>
                <c:pt idx="5951">
                  <c:v>108411030</c:v>
                </c:pt>
                <c:pt idx="5952">
                  <c:v>445462112</c:v>
                </c:pt>
                <c:pt idx="5953">
                  <c:v>227628845</c:v>
                </c:pt>
                <c:pt idx="5954">
                  <c:v>43202368</c:v>
                </c:pt>
                <c:pt idx="5955">
                  <c:v>398488869</c:v>
                </c:pt>
                <c:pt idx="5956">
                  <c:v>279123442</c:v>
                </c:pt>
                <c:pt idx="5957">
                  <c:v>1244502285</c:v>
                </c:pt>
                <c:pt idx="5958">
                  <c:v>190449408</c:v>
                </c:pt>
                <c:pt idx="5959">
                  <c:v>4151940745</c:v>
                </c:pt>
                <c:pt idx="5960">
                  <c:v>282580119</c:v>
                </c:pt>
                <c:pt idx="5961">
                  <c:v>1302043093</c:v>
                </c:pt>
                <c:pt idx="5962">
                  <c:v>650090644</c:v>
                </c:pt>
                <c:pt idx="5963">
                  <c:v>138783456</c:v>
                </c:pt>
                <c:pt idx="5964">
                  <c:v>259615485</c:v>
                </c:pt>
                <c:pt idx="5965">
                  <c:v>3785093890</c:v>
                </c:pt>
                <c:pt idx="5966">
                  <c:v>105382290</c:v>
                </c:pt>
                <c:pt idx="5967">
                  <c:v>82448538</c:v>
                </c:pt>
                <c:pt idx="5968">
                  <c:v>194236838</c:v>
                </c:pt>
                <c:pt idx="5969">
                  <c:v>444971510</c:v>
                </c:pt>
                <c:pt idx="5970">
                  <c:v>232798986</c:v>
                </c:pt>
                <c:pt idx="5971">
                  <c:v>126721872</c:v>
                </c:pt>
                <c:pt idx="5972">
                  <c:v>310614408</c:v>
                </c:pt>
                <c:pt idx="5973">
                  <c:v>45846525</c:v>
                </c:pt>
                <c:pt idx="5974">
                  <c:v>190958274</c:v>
                </c:pt>
                <c:pt idx="5975">
                  <c:v>98460940</c:v>
                </c:pt>
                <c:pt idx="5976">
                  <c:v>648414492</c:v>
                </c:pt>
                <c:pt idx="5977">
                  <c:v>375905284</c:v>
                </c:pt>
                <c:pt idx="5978">
                  <c:v>131203133</c:v>
                </c:pt>
                <c:pt idx="5979">
                  <c:v>350466684</c:v>
                </c:pt>
                <c:pt idx="5980">
                  <c:v>172908008</c:v>
                </c:pt>
                <c:pt idx="5981">
                  <c:v>1410098301</c:v>
                </c:pt>
                <c:pt idx="5982">
                  <c:v>381082858</c:v>
                </c:pt>
                <c:pt idx="5983">
                  <c:v>185347877</c:v>
                </c:pt>
                <c:pt idx="5984">
                  <c:v>1163619510</c:v>
                </c:pt>
                <c:pt idx="5985">
                  <c:v>425394010</c:v>
                </c:pt>
                <c:pt idx="5986">
                  <c:v>1381425780</c:v>
                </c:pt>
                <c:pt idx="5987">
                  <c:v>436754199</c:v>
                </c:pt>
                <c:pt idx="5988">
                  <c:v>406151420</c:v>
                </c:pt>
                <c:pt idx="5989">
                  <c:v>474758698</c:v>
                </c:pt>
                <c:pt idx="5990">
                  <c:v>125319721</c:v>
                </c:pt>
                <c:pt idx="5991">
                  <c:v>418254018</c:v>
                </c:pt>
                <c:pt idx="5992">
                  <c:v>228739221</c:v>
                </c:pt>
                <c:pt idx="5993">
                  <c:v>274961538</c:v>
                </c:pt>
                <c:pt idx="5994">
                  <c:v>61959360</c:v>
                </c:pt>
                <c:pt idx="5995">
                  <c:v>115309211</c:v>
                </c:pt>
                <c:pt idx="5996">
                  <c:v>111668475</c:v>
                </c:pt>
                <c:pt idx="5997">
                  <c:v>385770498</c:v>
                </c:pt>
                <c:pt idx="5998">
                  <c:v>172372112</c:v>
                </c:pt>
                <c:pt idx="5999">
                  <c:v>109266678</c:v>
                </c:pt>
                <c:pt idx="6000">
                  <c:v>178350101</c:v>
                </c:pt>
                <c:pt idx="6001">
                  <c:v>140563488</c:v>
                </c:pt>
                <c:pt idx="6002">
                  <c:v>1025530677</c:v>
                </c:pt>
                <c:pt idx="6003">
                  <c:v>260287090</c:v>
                </c:pt>
                <c:pt idx="6004">
                  <c:v>956333852</c:v>
                </c:pt>
                <c:pt idx="6005">
                  <c:v>19235987165</c:v>
                </c:pt>
                <c:pt idx="6006">
                  <c:v>570017280</c:v>
                </c:pt>
                <c:pt idx="6007">
                  <c:v>370724676</c:v>
                </c:pt>
                <c:pt idx="6008">
                  <c:v>462939217</c:v>
                </c:pt>
                <c:pt idx="6009">
                  <c:v>329091932</c:v>
                </c:pt>
                <c:pt idx="6010">
                  <c:v>1274610070</c:v>
                </c:pt>
                <c:pt idx="6011">
                  <c:v>1113608034</c:v>
                </c:pt>
                <c:pt idx="6012">
                  <c:v>411540282</c:v>
                </c:pt>
                <c:pt idx="6013">
                  <c:v>470033333</c:v>
                </c:pt>
                <c:pt idx="6014">
                  <c:v>454199823</c:v>
                </c:pt>
                <c:pt idx="6015">
                  <c:v>1364837300</c:v>
                </c:pt>
                <c:pt idx="6016">
                  <c:v>514864392</c:v>
                </c:pt>
                <c:pt idx="6017">
                  <c:v>199492230</c:v>
                </c:pt>
                <c:pt idx="6018">
                  <c:v>1924308804</c:v>
                </c:pt>
                <c:pt idx="6019">
                  <c:v>418034199</c:v>
                </c:pt>
                <c:pt idx="6020">
                  <c:v>63970278</c:v>
                </c:pt>
                <c:pt idx="6021">
                  <c:v>1002450816</c:v>
                </c:pt>
                <c:pt idx="6022">
                  <c:v>362914860</c:v>
                </c:pt>
                <c:pt idx="6023">
                  <c:v>45551037</c:v>
                </c:pt>
                <c:pt idx="6024">
                  <c:v>228415668</c:v>
                </c:pt>
                <c:pt idx="6025">
                  <c:v>391565850</c:v>
                </c:pt>
                <c:pt idx="6026">
                  <c:v>161544672</c:v>
                </c:pt>
                <c:pt idx="6027">
                  <c:v>1358078011</c:v>
                </c:pt>
                <c:pt idx="6028">
                  <c:v>229231782</c:v>
                </c:pt>
                <c:pt idx="6029">
                  <c:v>2241759063</c:v>
                </c:pt>
                <c:pt idx="6030">
                  <c:v>74505864</c:v>
                </c:pt>
                <c:pt idx="6031">
                  <c:v>170110743</c:v>
                </c:pt>
                <c:pt idx="6032">
                  <c:v>465234432</c:v>
                </c:pt>
                <c:pt idx="6033">
                  <c:v>184099538</c:v>
                </c:pt>
                <c:pt idx="6034">
                  <c:v>410316572</c:v>
                </c:pt>
                <c:pt idx="6035">
                  <c:v>146129096</c:v>
                </c:pt>
                <c:pt idx="6036">
                  <c:v>124638690</c:v>
                </c:pt>
                <c:pt idx="6037">
                  <c:v>376550352</c:v>
                </c:pt>
                <c:pt idx="6038">
                  <c:v>631514528</c:v>
                </c:pt>
                <c:pt idx="6039">
                  <c:v>242860634</c:v>
                </c:pt>
                <c:pt idx="6040">
                  <c:v>683027712</c:v>
                </c:pt>
                <c:pt idx="6041">
                  <c:v>132016032</c:v>
                </c:pt>
                <c:pt idx="6042">
                  <c:v>663919884</c:v>
                </c:pt>
                <c:pt idx="6043">
                  <c:v>3373418942</c:v>
                </c:pt>
                <c:pt idx="6044">
                  <c:v>824089134</c:v>
                </c:pt>
                <c:pt idx="6045">
                  <c:v>1422028212</c:v>
                </c:pt>
                <c:pt idx="6046">
                  <c:v>4884377309</c:v>
                </c:pt>
                <c:pt idx="6047">
                  <c:v>235487824</c:v>
                </c:pt>
                <c:pt idx="6048">
                  <c:v>263491684</c:v>
                </c:pt>
                <c:pt idx="6049">
                  <c:v>170728441</c:v>
                </c:pt>
                <c:pt idx="6050">
                  <c:v>89701912</c:v>
                </c:pt>
                <c:pt idx="6051">
                  <c:v>1074580777</c:v>
                </c:pt>
                <c:pt idx="6052">
                  <c:v>389662672</c:v>
                </c:pt>
                <c:pt idx="6053">
                  <c:v>172497808</c:v>
                </c:pt>
                <c:pt idx="6054">
                  <c:v>82702620</c:v>
                </c:pt>
                <c:pt idx="6055">
                  <c:v>446945040</c:v>
                </c:pt>
                <c:pt idx="6056">
                  <c:v>167677360</c:v>
                </c:pt>
                <c:pt idx="6057">
                  <c:v>251938090</c:v>
                </c:pt>
                <c:pt idx="6058">
                  <c:v>805816680</c:v>
                </c:pt>
                <c:pt idx="6059">
                  <c:v>642348048</c:v>
                </c:pt>
                <c:pt idx="6060">
                  <c:v>9314655</c:v>
                </c:pt>
                <c:pt idx="6061">
                  <c:v>235899930</c:v>
                </c:pt>
                <c:pt idx="6062">
                  <c:v>59241024</c:v>
                </c:pt>
                <c:pt idx="6063">
                  <c:v>248838804</c:v>
                </c:pt>
                <c:pt idx="6064">
                  <c:v>1537220692</c:v>
                </c:pt>
                <c:pt idx="6065">
                  <c:v>427915775</c:v>
                </c:pt>
                <c:pt idx="6066">
                  <c:v>146432084</c:v>
                </c:pt>
                <c:pt idx="6067">
                  <c:v>885578722</c:v>
                </c:pt>
                <c:pt idx="6068">
                  <c:v>50420232</c:v>
                </c:pt>
                <c:pt idx="6069">
                  <c:v>474466312</c:v>
                </c:pt>
                <c:pt idx="6070">
                  <c:v>325358792</c:v>
                </c:pt>
                <c:pt idx="6071">
                  <c:v>607965757</c:v>
                </c:pt>
                <c:pt idx="6072">
                  <c:v>7089983442</c:v>
                </c:pt>
                <c:pt idx="6073">
                  <c:v>5360604501</c:v>
                </c:pt>
                <c:pt idx="6074">
                  <c:v>35013622216</c:v>
                </c:pt>
                <c:pt idx="6075">
                  <c:v>143988408</c:v>
                </c:pt>
                <c:pt idx="6076">
                  <c:v>361778766</c:v>
                </c:pt>
                <c:pt idx="6077">
                  <c:v>423637851</c:v>
                </c:pt>
                <c:pt idx="6078">
                  <c:v>214224895</c:v>
                </c:pt>
                <c:pt idx="6079">
                  <c:v>312010864</c:v>
                </c:pt>
                <c:pt idx="6080">
                  <c:v>2715114572</c:v>
                </c:pt>
                <c:pt idx="6081">
                  <c:v>1218242234</c:v>
                </c:pt>
                <c:pt idx="6082">
                  <c:v>530340048</c:v>
                </c:pt>
                <c:pt idx="6083">
                  <c:v>172441772</c:v>
                </c:pt>
                <c:pt idx="6084">
                  <c:v>203097408</c:v>
                </c:pt>
                <c:pt idx="6085">
                  <c:v>67873785</c:v>
                </c:pt>
                <c:pt idx="6086">
                  <c:v>3808970457</c:v>
                </c:pt>
                <c:pt idx="6087">
                  <c:v>622048456</c:v>
                </c:pt>
                <c:pt idx="6088">
                  <c:v>1838219095</c:v>
                </c:pt>
                <c:pt idx="6089">
                  <c:v>369219616</c:v>
                </c:pt>
                <c:pt idx="6090">
                  <c:v>162979232</c:v>
                </c:pt>
                <c:pt idx="6091">
                  <c:v>121964330</c:v>
                </c:pt>
                <c:pt idx="6092">
                  <c:v>471132189</c:v>
                </c:pt>
                <c:pt idx="6093">
                  <c:v>1245620430</c:v>
                </c:pt>
                <c:pt idx="6094">
                  <c:v>251719936</c:v>
                </c:pt>
                <c:pt idx="6095">
                  <c:v>195115118</c:v>
                </c:pt>
                <c:pt idx="6096">
                  <c:v>572821513</c:v>
                </c:pt>
                <c:pt idx="6097">
                  <c:v>10185733464</c:v>
                </c:pt>
                <c:pt idx="6098">
                  <c:v>235585080</c:v>
                </c:pt>
                <c:pt idx="6099">
                  <c:v>600267172</c:v>
                </c:pt>
                <c:pt idx="6100">
                  <c:v>336018438</c:v>
                </c:pt>
                <c:pt idx="6101">
                  <c:v>205949994</c:v>
                </c:pt>
                <c:pt idx="6102">
                  <c:v>1092865604</c:v>
                </c:pt>
                <c:pt idx="6103">
                  <c:v>168098324</c:v>
                </c:pt>
                <c:pt idx="6104">
                  <c:v>267596472</c:v>
                </c:pt>
                <c:pt idx="6105">
                  <c:v>216387823</c:v>
                </c:pt>
                <c:pt idx="6106">
                  <c:v>109284824</c:v>
                </c:pt>
                <c:pt idx="6107">
                  <c:v>153108756</c:v>
                </c:pt>
                <c:pt idx="6108">
                  <c:v>245724802</c:v>
                </c:pt>
                <c:pt idx="6109">
                  <c:v>6165577817</c:v>
                </c:pt>
                <c:pt idx="6110">
                  <c:v>287245200</c:v>
                </c:pt>
                <c:pt idx="6111">
                  <c:v>627734492</c:v>
                </c:pt>
                <c:pt idx="6112">
                  <c:v>480405456</c:v>
                </c:pt>
                <c:pt idx="6113">
                  <c:v>233413146</c:v>
                </c:pt>
                <c:pt idx="6114">
                  <c:v>324578309</c:v>
                </c:pt>
                <c:pt idx="6115">
                  <c:v>776814864</c:v>
                </c:pt>
                <c:pt idx="6116">
                  <c:v>404437488</c:v>
                </c:pt>
                <c:pt idx="6117">
                  <c:v>98431810</c:v>
                </c:pt>
                <c:pt idx="6118">
                  <c:v>1982538288</c:v>
                </c:pt>
                <c:pt idx="6119">
                  <c:v>1807945750</c:v>
                </c:pt>
                <c:pt idx="6120">
                  <c:v>59000426</c:v>
                </c:pt>
                <c:pt idx="6121">
                  <c:v>3028468492</c:v>
                </c:pt>
                <c:pt idx="6122">
                  <c:v>1933960550</c:v>
                </c:pt>
                <c:pt idx="6123">
                  <c:v>90034112</c:v>
                </c:pt>
                <c:pt idx="6124">
                  <c:v>600314123</c:v>
                </c:pt>
                <c:pt idx="6125">
                  <c:v>51891280</c:v>
                </c:pt>
                <c:pt idx="6126">
                  <c:v>8791711659</c:v>
                </c:pt>
                <c:pt idx="6127">
                  <c:v>3179091632</c:v>
                </c:pt>
                <c:pt idx="6128">
                  <c:v>151682940</c:v>
                </c:pt>
                <c:pt idx="6129">
                  <c:v>208961584</c:v>
                </c:pt>
                <c:pt idx="6130">
                  <c:v>938033990</c:v>
                </c:pt>
                <c:pt idx="6131">
                  <c:v>811966319</c:v>
                </c:pt>
                <c:pt idx="6132">
                  <c:v>512690240</c:v>
                </c:pt>
                <c:pt idx="6133">
                  <c:v>203588946</c:v>
                </c:pt>
                <c:pt idx="6134">
                  <c:v>332854861</c:v>
                </c:pt>
                <c:pt idx="6135">
                  <c:v>886207487</c:v>
                </c:pt>
                <c:pt idx="6136">
                  <c:v>939810784</c:v>
                </c:pt>
                <c:pt idx="6137">
                  <c:v>341978282</c:v>
                </c:pt>
                <c:pt idx="6138">
                  <c:v>2550990790</c:v>
                </c:pt>
                <c:pt idx="6139">
                  <c:v>3566978444</c:v>
                </c:pt>
                <c:pt idx="6140">
                  <c:v>1404925594</c:v>
                </c:pt>
                <c:pt idx="6141">
                  <c:v>364111230</c:v>
                </c:pt>
                <c:pt idx="6142">
                  <c:v>1854574125</c:v>
                </c:pt>
                <c:pt idx="6143">
                  <c:v>969223840</c:v>
                </c:pt>
                <c:pt idx="6144">
                  <c:v>2147483647</c:v>
                </c:pt>
                <c:pt idx="6145">
                  <c:v>1478742405</c:v>
                </c:pt>
                <c:pt idx="6146">
                  <c:v>42750570</c:v>
                </c:pt>
                <c:pt idx="6147">
                  <c:v>2397521137</c:v>
                </c:pt>
                <c:pt idx="6148">
                  <c:v>635076611</c:v>
                </c:pt>
                <c:pt idx="6149">
                  <c:v>135028829</c:v>
                </c:pt>
                <c:pt idx="6150">
                  <c:v>570087792</c:v>
                </c:pt>
                <c:pt idx="6151">
                  <c:v>79698600</c:v>
                </c:pt>
                <c:pt idx="6152">
                  <c:v>259792115</c:v>
                </c:pt>
                <c:pt idx="6153">
                  <c:v>1989183660</c:v>
                </c:pt>
                <c:pt idx="6154">
                  <c:v>621249261</c:v>
                </c:pt>
                <c:pt idx="6155">
                  <c:v>920158998</c:v>
                </c:pt>
                <c:pt idx="6156">
                  <c:v>450620400</c:v>
                </c:pt>
                <c:pt idx="6157">
                  <c:v>1046869701</c:v>
                </c:pt>
                <c:pt idx="6158">
                  <c:v>331890231</c:v>
                </c:pt>
                <c:pt idx="6159">
                  <c:v>488295998</c:v>
                </c:pt>
                <c:pt idx="6160">
                  <c:v>1307353138</c:v>
                </c:pt>
                <c:pt idx="6161">
                  <c:v>1068001266</c:v>
                </c:pt>
                <c:pt idx="6162">
                  <c:v>2078039424</c:v>
                </c:pt>
                <c:pt idx="6163">
                  <c:v>467771200</c:v>
                </c:pt>
                <c:pt idx="6164">
                  <c:v>1118607024</c:v>
                </c:pt>
                <c:pt idx="6165">
                  <c:v>25890025</c:v>
                </c:pt>
                <c:pt idx="6166">
                  <c:v>635080284</c:v>
                </c:pt>
                <c:pt idx="6167">
                  <c:v>1052890448</c:v>
                </c:pt>
                <c:pt idx="6168">
                  <c:v>300493576</c:v>
                </c:pt>
                <c:pt idx="6169">
                  <c:v>82966147</c:v>
                </c:pt>
                <c:pt idx="6170">
                  <c:v>249807168</c:v>
                </c:pt>
                <c:pt idx="6171">
                  <c:v>787746795</c:v>
                </c:pt>
                <c:pt idx="6172">
                  <c:v>246848903</c:v>
                </c:pt>
                <c:pt idx="6173">
                  <c:v>270910272</c:v>
                </c:pt>
                <c:pt idx="6174">
                  <c:v>295196540</c:v>
                </c:pt>
                <c:pt idx="6175">
                  <c:v>3521594700</c:v>
                </c:pt>
                <c:pt idx="6176">
                  <c:v>1075277070</c:v>
                </c:pt>
                <c:pt idx="6177">
                  <c:v>285464530</c:v>
                </c:pt>
                <c:pt idx="6178">
                  <c:v>118719600</c:v>
                </c:pt>
                <c:pt idx="6179">
                  <c:v>270688540</c:v>
                </c:pt>
                <c:pt idx="6180">
                  <c:v>683965700</c:v>
                </c:pt>
                <c:pt idx="6181">
                  <c:v>1577896590</c:v>
                </c:pt>
                <c:pt idx="6182">
                  <c:v>3514359649</c:v>
                </c:pt>
                <c:pt idx="6183">
                  <c:v>591289226</c:v>
                </c:pt>
                <c:pt idx="6184">
                  <c:v>1345676170</c:v>
                </c:pt>
                <c:pt idx="6185">
                  <c:v>1820249640</c:v>
                </c:pt>
                <c:pt idx="6186">
                  <c:v>891120384</c:v>
                </c:pt>
                <c:pt idx="6187">
                  <c:v>816939048</c:v>
                </c:pt>
                <c:pt idx="6188">
                  <c:v>377054208</c:v>
                </c:pt>
                <c:pt idx="6189">
                  <c:v>138957480</c:v>
                </c:pt>
                <c:pt idx="6190">
                  <c:v>501403826</c:v>
                </c:pt>
                <c:pt idx="6191">
                  <c:v>449321544</c:v>
                </c:pt>
                <c:pt idx="6192">
                  <c:v>2226807901</c:v>
                </c:pt>
                <c:pt idx="6193">
                  <c:v>318213332</c:v>
                </c:pt>
                <c:pt idx="6194">
                  <c:v>214187324</c:v>
                </c:pt>
                <c:pt idx="6195">
                  <c:v>664613565</c:v>
                </c:pt>
                <c:pt idx="6196">
                  <c:v>746435748</c:v>
                </c:pt>
                <c:pt idx="6197">
                  <c:v>137394558</c:v>
                </c:pt>
                <c:pt idx="6198">
                  <c:v>112171384</c:v>
                </c:pt>
                <c:pt idx="6199">
                  <c:v>529488764</c:v>
                </c:pt>
                <c:pt idx="6200">
                  <c:v>40545275</c:v>
                </c:pt>
                <c:pt idx="6201">
                  <c:v>451029512</c:v>
                </c:pt>
                <c:pt idx="6202">
                  <c:v>327018822</c:v>
                </c:pt>
                <c:pt idx="6203">
                  <c:v>182885571</c:v>
                </c:pt>
                <c:pt idx="6204">
                  <c:v>652444260</c:v>
                </c:pt>
                <c:pt idx="6205">
                  <c:v>192021807</c:v>
                </c:pt>
                <c:pt idx="6206">
                  <c:v>400300128</c:v>
                </c:pt>
                <c:pt idx="6207">
                  <c:v>233020854</c:v>
                </c:pt>
                <c:pt idx="6208">
                  <c:v>1102551201</c:v>
                </c:pt>
                <c:pt idx="6209">
                  <c:v>394977534</c:v>
                </c:pt>
                <c:pt idx="6210">
                  <c:v>210930792</c:v>
                </c:pt>
                <c:pt idx="6211">
                  <c:v>223064250</c:v>
                </c:pt>
                <c:pt idx="6212">
                  <c:v>1066765160</c:v>
                </c:pt>
                <c:pt idx="6213">
                  <c:v>137002110</c:v>
                </c:pt>
                <c:pt idx="6214">
                  <c:v>1041324800</c:v>
                </c:pt>
                <c:pt idx="6215">
                  <c:v>22329872429</c:v>
                </c:pt>
                <c:pt idx="6216">
                  <c:v>162377090</c:v>
                </c:pt>
                <c:pt idx="6217">
                  <c:v>427636560</c:v>
                </c:pt>
                <c:pt idx="6218">
                  <c:v>198962620</c:v>
                </c:pt>
                <c:pt idx="6219">
                  <c:v>935012494</c:v>
                </c:pt>
                <c:pt idx="6220">
                  <c:v>76176672</c:v>
                </c:pt>
                <c:pt idx="6221">
                  <c:v>448891575</c:v>
                </c:pt>
                <c:pt idx="6222">
                  <c:v>562198644</c:v>
                </c:pt>
                <c:pt idx="6223">
                  <c:v>160461253</c:v>
                </c:pt>
                <c:pt idx="6224">
                  <c:v>87364020</c:v>
                </c:pt>
                <c:pt idx="6225">
                  <c:v>526953396</c:v>
                </c:pt>
                <c:pt idx="6226">
                  <c:v>256514592</c:v>
                </c:pt>
                <c:pt idx="6227">
                  <c:v>1833383754</c:v>
                </c:pt>
                <c:pt idx="6228">
                  <c:v>274493232</c:v>
                </c:pt>
                <c:pt idx="6229">
                  <c:v>351178905</c:v>
                </c:pt>
                <c:pt idx="6230">
                  <c:v>109505200</c:v>
                </c:pt>
                <c:pt idx="6231">
                  <c:v>216336900</c:v>
                </c:pt>
                <c:pt idx="6232">
                  <c:v>680534635</c:v>
                </c:pt>
                <c:pt idx="6233">
                  <c:v>300951434</c:v>
                </c:pt>
                <c:pt idx="6234">
                  <c:v>484430253</c:v>
                </c:pt>
                <c:pt idx="6235">
                  <c:v>183380944</c:v>
                </c:pt>
                <c:pt idx="6236">
                  <c:v>2308878586</c:v>
                </c:pt>
                <c:pt idx="6237">
                  <c:v>2019875390</c:v>
                </c:pt>
                <c:pt idx="6238">
                  <c:v>439467693</c:v>
                </c:pt>
                <c:pt idx="6239">
                  <c:v>275981493</c:v>
                </c:pt>
                <c:pt idx="6240">
                  <c:v>18937191</c:v>
                </c:pt>
                <c:pt idx="6241">
                  <c:v>1220595437</c:v>
                </c:pt>
                <c:pt idx="6242">
                  <c:v>345844141</c:v>
                </c:pt>
                <c:pt idx="6243">
                  <c:v>461936398</c:v>
                </c:pt>
                <c:pt idx="6244">
                  <c:v>617648607</c:v>
                </c:pt>
                <c:pt idx="6245">
                  <c:v>427602885</c:v>
                </c:pt>
                <c:pt idx="6246">
                  <c:v>201800784</c:v>
                </c:pt>
                <c:pt idx="6247">
                  <c:v>693203200</c:v>
                </c:pt>
                <c:pt idx="6248">
                  <c:v>1017328716</c:v>
                </c:pt>
                <c:pt idx="6249">
                  <c:v>161053970</c:v>
                </c:pt>
                <c:pt idx="6250">
                  <c:v>90672237</c:v>
                </c:pt>
                <c:pt idx="6251">
                  <c:v>559605720</c:v>
                </c:pt>
                <c:pt idx="6252">
                  <c:v>235480440</c:v>
                </c:pt>
                <c:pt idx="6253">
                  <c:v>2001523534</c:v>
                </c:pt>
                <c:pt idx="6254">
                  <c:v>216686596</c:v>
                </c:pt>
                <c:pt idx="6255">
                  <c:v>345605236</c:v>
                </c:pt>
                <c:pt idx="6256">
                  <c:v>237633536</c:v>
                </c:pt>
                <c:pt idx="6257">
                  <c:v>522605544</c:v>
                </c:pt>
                <c:pt idx="6258">
                  <c:v>535936184</c:v>
                </c:pt>
                <c:pt idx="6259">
                  <c:v>135279210</c:v>
                </c:pt>
                <c:pt idx="6260">
                  <c:v>485643730</c:v>
                </c:pt>
                <c:pt idx="6261">
                  <c:v>657873960</c:v>
                </c:pt>
                <c:pt idx="6262">
                  <c:v>1131224868</c:v>
                </c:pt>
                <c:pt idx="6263">
                  <c:v>119653285</c:v>
                </c:pt>
                <c:pt idx="6264">
                  <c:v>349501200</c:v>
                </c:pt>
                <c:pt idx="6265">
                  <c:v>160968444</c:v>
                </c:pt>
                <c:pt idx="6266">
                  <c:v>242578128</c:v>
                </c:pt>
                <c:pt idx="6267">
                  <c:v>43975556</c:v>
                </c:pt>
                <c:pt idx="6268">
                  <c:v>294737480</c:v>
                </c:pt>
                <c:pt idx="6269">
                  <c:v>146949075</c:v>
                </c:pt>
                <c:pt idx="6270">
                  <c:v>222379630</c:v>
                </c:pt>
                <c:pt idx="6271">
                  <c:v>2147483647</c:v>
                </c:pt>
                <c:pt idx="6272">
                  <c:v>196591575</c:v>
                </c:pt>
                <c:pt idx="6273">
                  <c:v>240119724</c:v>
                </c:pt>
                <c:pt idx="6274">
                  <c:v>242777700</c:v>
                </c:pt>
                <c:pt idx="6275">
                  <c:v>124774812</c:v>
                </c:pt>
                <c:pt idx="6276">
                  <c:v>129278660</c:v>
                </c:pt>
                <c:pt idx="6277">
                  <c:v>698071492</c:v>
                </c:pt>
                <c:pt idx="6278">
                  <c:v>2147483647</c:v>
                </c:pt>
                <c:pt idx="6279">
                  <c:v>685421016</c:v>
                </c:pt>
                <c:pt idx="6280">
                  <c:v>701144360</c:v>
                </c:pt>
                <c:pt idx="6281">
                  <c:v>720918522</c:v>
                </c:pt>
                <c:pt idx="6282">
                  <c:v>316686960</c:v>
                </c:pt>
                <c:pt idx="6283">
                  <c:v>183116012</c:v>
                </c:pt>
                <c:pt idx="6284">
                  <c:v>100772562</c:v>
                </c:pt>
                <c:pt idx="6285">
                  <c:v>375764608</c:v>
                </c:pt>
                <c:pt idx="6286">
                  <c:v>400676220</c:v>
                </c:pt>
                <c:pt idx="6287">
                  <c:v>191655632</c:v>
                </c:pt>
                <c:pt idx="6288">
                  <c:v>378658394</c:v>
                </c:pt>
                <c:pt idx="6289">
                  <c:v>331227766</c:v>
                </c:pt>
                <c:pt idx="6290">
                  <c:v>8052269313</c:v>
                </c:pt>
                <c:pt idx="6291">
                  <c:v>1477923020</c:v>
                </c:pt>
                <c:pt idx="6292">
                  <c:v>193560587</c:v>
                </c:pt>
                <c:pt idx="6293">
                  <c:v>189675236</c:v>
                </c:pt>
                <c:pt idx="6294">
                  <c:v>8165106421</c:v>
                </c:pt>
                <c:pt idx="6295">
                  <c:v>990671668</c:v>
                </c:pt>
                <c:pt idx="6296">
                  <c:v>379685985</c:v>
                </c:pt>
                <c:pt idx="6297">
                  <c:v>102864144</c:v>
                </c:pt>
                <c:pt idx="6298">
                  <c:v>648514386</c:v>
                </c:pt>
                <c:pt idx="6299">
                  <c:v>829560834</c:v>
                </c:pt>
                <c:pt idx="6300">
                  <c:v>2686834750</c:v>
                </c:pt>
                <c:pt idx="6301">
                  <c:v>309890875</c:v>
                </c:pt>
                <c:pt idx="6302">
                  <c:v>1041555800</c:v>
                </c:pt>
                <c:pt idx="6303">
                  <c:v>4741623731</c:v>
                </c:pt>
                <c:pt idx="6304">
                  <c:v>2027884465</c:v>
                </c:pt>
                <c:pt idx="6305">
                  <c:v>584200674</c:v>
                </c:pt>
                <c:pt idx="6306">
                  <c:v>1065514107</c:v>
                </c:pt>
                <c:pt idx="6307">
                  <c:v>2086045175</c:v>
                </c:pt>
                <c:pt idx="6308">
                  <c:v>275201360</c:v>
                </c:pt>
                <c:pt idx="6309">
                  <c:v>275380886</c:v>
                </c:pt>
                <c:pt idx="6310">
                  <c:v>1778218116</c:v>
                </c:pt>
                <c:pt idx="6311">
                  <c:v>1385764025</c:v>
                </c:pt>
                <c:pt idx="6312">
                  <c:v>843696472</c:v>
                </c:pt>
                <c:pt idx="6313">
                  <c:v>558370080</c:v>
                </c:pt>
                <c:pt idx="6314">
                  <c:v>189763350</c:v>
                </c:pt>
                <c:pt idx="6315">
                  <c:v>163497534</c:v>
                </c:pt>
                <c:pt idx="6316">
                  <c:v>975033260</c:v>
                </c:pt>
                <c:pt idx="6317">
                  <c:v>212914169</c:v>
                </c:pt>
                <c:pt idx="6318">
                  <c:v>967396725</c:v>
                </c:pt>
                <c:pt idx="6319">
                  <c:v>530079610</c:v>
                </c:pt>
                <c:pt idx="6320">
                  <c:v>1229069387</c:v>
                </c:pt>
                <c:pt idx="6321">
                  <c:v>158154248</c:v>
                </c:pt>
                <c:pt idx="6322">
                  <c:v>251276240</c:v>
                </c:pt>
                <c:pt idx="6323">
                  <c:v>4808625029</c:v>
                </c:pt>
                <c:pt idx="6324">
                  <c:v>231815779</c:v>
                </c:pt>
                <c:pt idx="6325">
                  <c:v>27263556</c:v>
                </c:pt>
                <c:pt idx="6326">
                  <c:v>279127782</c:v>
                </c:pt>
                <c:pt idx="6327">
                  <c:v>208539144</c:v>
                </c:pt>
                <c:pt idx="6328">
                  <c:v>201489300</c:v>
                </c:pt>
                <c:pt idx="6329">
                  <c:v>572389446</c:v>
                </c:pt>
                <c:pt idx="6330">
                  <c:v>920649704</c:v>
                </c:pt>
                <c:pt idx="6331">
                  <c:v>102784656</c:v>
                </c:pt>
                <c:pt idx="6332">
                  <c:v>1451462555</c:v>
                </c:pt>
                <c:pt idx="6333">
                  <c:v>333930100</c:v>
                </c:pt>
                <c:pt idx="6334">
                  <c:v>693759150</c:v>
                </c:pt>
                <c:pt idx="6335">
                  <c:v>426263000</c:v>
                </c:pt>
                <c:pt idx="6336">
                  <c:v>277377720</c:v>
                </c:pt>
                <c:pt idx="6337">
                  <c:v>10224840</c:v>
                </c:pt>
                <c:pt idx="6338">
                  <c:v>749194368</c:v>
                </c:pt>
                <c:pt idx="6339">
                  <c:v>680381430</c:v>
                </c:pt>
                <c:pt idx="6340">
                  <c:v>6979036834</c:v>
                </c:pt>
                <c:pt idx="6341">
                  <c:v>481477929</c:v>
                </c:pt>
                <c:pt idx="6342">
                  <c:v>194142816</c:v>
                </c:pt>
                <c:pt idx="6343">
                  <c:v>392735061</c:v>
                </c:pt>
                <c:pt idx="6344">
                  <c:v>1547365084</c:v>
                </c:pt>
                <c:pt idx="6345">
                  <c:v>226608690</c:v>
                </c:pt>
                <c:pt idx="6346">
                  <c:v>296772758</c:v>
                </c:pt>
                <c:pt idx="6347">
                  <c:v>414109780</c:v>
                </c:pt>
                <c:pt idx="6348">
                  <c:v>449755989</c:v>
                </c:pt>
                <c:pt idx="6349">
                  <c:v>741285675</c:v>
                </c:pt>
                <c:pt idx="6350">
                  <c:v>263895678</c:v>
                </c:pt>
                <c:pt idx="6351">
                  <c:v>213788768</c:v>
                </c:pt>
                <c:pt idx="6352">
                  <c:v>127567330</c:v>
                </c:pt>
                <c:pt idx="6353">
                  <c:v>75808404</c:v>
                </c:pt>
                <c:pt idx="6354">
                  <c:v>167838518</c:v>
                </c:pt>
                <c:pt idx="6355">
                  <c:v>188448627</c:v>
                </c:pt>
                <c:pt idx="6356">
                  <c:v>149151540</c:v>
                </c:pt>
                <c:pt idx="6357">
                  <c:v>890055270</c:v>
                </c:pt>
                <c:pt idx="6358">
                  <c:v>228687705</c:v>
                </c:pt>
                <c:pt idx="6359">
                  <c:v>2073102504</c:v>
                </c:pt>
                <c:pt idx="6360">
                  <c:v>162184356</c:v>
                </c:pt>
                <c:pt idx="6361">
                  <c:v>210943291</c:v>
                </c:pt>
                <c:pt idx="6362">
                  <c:v>215582838</c:v>
                </c:pt>
                <c:pt idx="6363">
                  <c:v>134529840</c:v>
                </c:pt>
                <c:pt idx="6364">
                  <c:v>260432640</c:v>
                </c:pt>
                <c:pt idx="6365">
                  <c:v>733109740</c:v>
                </c:pt>
                <c:pt idx="6366">
                  <c:v>289782948</c:v>
                </c:pt>
                <c:pt idx="6367">
                  <c:v>391021041</c:v>
                </c:pt>
                <c:pt idx="6368">
                  <c:v>236549026</c:v>
                </c:pt>
                <c:pt idx="6369">
                  <c:v>1090557282</c:v>
                </c:pt>
                <c:pt idx="6370">
                  <c:v>988634592</c:v>
                </c:pt>
                <c:pt idx="6371">
                  <c:v>343130466</c:v>
                </c:pt>
                <c:pt idx="6372">
                  <c:v>3831311003</c:v>
                </c:pt>
                <c:pt idx="6373">
                  <c:v>126455196</c:v>
                </c:pt>
                <c:pt idx="6374">
                  <c:v>17291057760</c:v>
                </c:pt>
                <c:pt idx="6375">
                  <c:v>375292095</c:v>
                </c:pt>
                <c:pt idx="6376">
                  <c:v>1741680619</c:v>
                </c:pt>
                <c:pt idx="6377">
                  <c:v>233870097</c:v>
                </c:pt>
                <c:pt idx="6378">
                  <c:v>109300240</c:v>
                </c:pt>
                <c:pt idx="6379">
                  <c:v>122090490</c:v>
                </c:pt>
                <c:pt idx="6380">
                  <c:v>167950616</c:v>
                </c:pt>
                <c:pt idx="6381">
                  <c:v>423404064</c:v>
                </c:pt>
                <c:pt idx="6382">
                  <c:v>865278882</c:v>
                </c:pt>
                <c:pt idx="6383">
                  <c:v>99996312</c:v>
                </c:pt>
                <c:pt idx="6384">
                  <c:v>267388720</c:v>
                </c:pt>
                <c:pt idx="6385">
                  <c:v>452428150</c:v>
                </c:pt>
                <c:pt idx="6386">
                  <c:v>305810116</c:v>
                </c:pt>
                <c:pt idx="6387">
                  <c:v>98213855</c:v>
                </c:pt>
                <c:pt idx="6388">
                  <c:v>307485566</c:v>
                </c:pt>
                <c:pt idx="6389">
                  <c:v>938603388</c:v>
                </c:pt>
                <c:pt idx="6390">
                  <c:v>888047944</c:v>
                </c:pt>
                <c:pt idx="6391">
                  <c:v>102560095</c:v>
                </c:pt>
                <c:pt idx="6392">
                  <c:v>233519700</c:v>
                </c:pt>
                <c:pt idx="6393">
                  <c:v>1107161316</c:v>
                </c:pt>
                <c:pt idx="6394">
                  <c:v>403911900</c:v>
                </c:pt>
                <c:pt idx="6395">
                  <c:v>173061218</c:v>
                </c:pt>
                <c:pt idx="6396">
                  <c:v>1456641024</c:v>
                </c:pt>
                <c:pt idx="6397">
                  <c:v>198123720</c:v>
                </c:pt>
                <c:pt idx="6398">
                  <c:v>138143980</c:v>
                </c:pt>
                <c:pt idx="6399">
                  <c:v>221857023</c:v>
                </c:pt>
                <c:pt idx="6400">
                  <c:v>691224840</c:v>
                </c:pt>
                <c:pt idx="6401">
                  <c:v>267968320</c:v>
                </c:pt>
                <c:pt idx="6402">
                  <c:v>11732543269</c:v>
                </c:pt>
                <c:pt idx="6403">
                  <c:v>241947335</c:v>
                </c:pt>
                <c:pt idx="6404">
                  <c:v>358332240</c:v>
                </c:pt>
                <c:pt idx="6405">
                  <c:v>35198500</c:v>
                </c:pt>
                <c:pt idx="6406">
                  <c:v>389556544</c:v>
                </c:pt>
                <c:pt idx="6407">
                  <c:v>138310638</c:v>
                </c:pt>
                <c:pt idx="6408">
                  <c:v>449798468</c:v>
                </c:pt>
                <c:pt idx="6409">
                  <c:v>2147483647</c:v>
                </c:pt>
                <c:pt idx="6410">
                  <c:v>1906039558</c:v>
                </c:pt>
                <c:pt idx="6411">
                  <c:v>2056853185</c:v>
                </c:pt>
                <c:pt idx="6412">
                  <c:v>2369183913</c:v>
                </c:pt>
                <c:pt idx="6413">
                  <c:v>585296694</c:v>
                </c:pt>
                <c:pt idx="6414">
                  <c:v>1818714855</c:v>
                </c:pt>
                <c:pt idx="6415">
                  <c:v>553290789</c:v>
                </c:pt>
                <c:pt idx="6416">
                  <c:v>4076365864</c:v>
                </c:pt>
                <c:pt idx="6417">
                  <c:v>218877561</c:v>
                </c:pt>
                <c:pt idx="6418">
                  <c:v>106360018</c:v>
                </c:pt>
                <c:pt idx="6419">
                  <c:v>1178065824</c:v>
                </c:pt>
                <c:pt idx="6420">
                  <c:v>897440940</c:v>
                </c:pt>
                <c:pt idx="6421">
                  <c:v>357145038</c:v>
                </c:pt>
                <c:pt idx="6422">
                  <c:v>397062069</c:v>
                </c:pt>
                <c:pt idx="6423">
                  <c:v>297565276</c:v>
                </c:pt>
                <c:pt idx="6424">
                  <c:v>1360031265</c:v>
                </c:pt>
                <c:pt idx="6425">
                  <c:v>2638217219</c:v>
                </c:pt>
                <c:pt idx="6426">
                  <c:v>1613901900</c:v>
                </c:pt>
                <c:pt idx="6427">
                  <c:v>1352221767</c:v>
                </c:pt>
                <c:pt idx="6428">
                  <c:v>706090374</c:v>
                </c:pt>
                <c:pt idx="6429">
                  <c:v>228360916</c:v>
                </c:pt>
                <c:pt idx="6430">
                  <c:v>199044000</c:v>
                </c:pt>
                <c:pt idx="6431">
                  <c:v>354022809</c:v>
                </c:pt>
                <c:pt idx="6432">
                  <c:v>262983303</c:v>
                </c:pt>
                <c:pt idx="6433">
                  <c:v>220609496</c:v>
                </c:pt>
                <c:pt idx="6434">
                  <c:v>1002237185</c:v>
                </c:pt>
                <c:pt idx="6435">
                  <c:v>76338938</c:v>
                </c:pt>
                <c:pt idx="6436">
                  <c:v>844479732</c:v>
                </c:pt>
                <c:pt idx="6437">
                  <c:v>784054960</c:v>
                </c:pt>
                <c:pt idx="6438">
                  <c:v>598787268</c:v>
                </c:pt>
                <c:pt idx="6439">
                  <c:v>1144013738</c:v>
                </c:pt>
                <c:pt idx="6440">
                  <c:v>1159810203</c:v>
                </c:pt>
                <c:pt idx="6441">
                  <c:v>577080513</c:v>
                </c:pt>
                <c:pt idx="6442">
                  <c:v>383310415</c:v>
                </c:pt>
                <c:pt idx="6443">
                  <c:v>502786845</c:v>
                </c:pt>
                <c:pt idx="6444">
                  <c:v>25507088</c:v>
                </c:pt>
                <c:pt idx="6445">
                  <c:v>252289212</c:v>
                </c:pt>
                <c:pt idx="6446">
                  <c:v>2163933911</c:v>
                </c:pt>
                <c:pt idx="6447">
                  <c:v>939308272</c:v>
                </c:pt>
                <c:pt idx="6448">
                  <c:v>6632391622</c:v>
                </c:pt>
                <c:pt idx="6449">
                  <c:v>618261504</c:v>
                </c:pt>
                <c:pt idx="6450">
                  <c:v>412369816</c:v>
                </c:pt>
                <c:pt idx="6451">
                  <c:v>348740740</c:v>
                </c:pt>
                <c:pt idx="6452">
                  <c:v>505239424</c:v>
                </c:pt>
                <c:pt idx="6453">
                  <c:v>687400803</c:v>
                </c:pt>
                <c:pt idx="6454">
                  <c:v>1105206472</c:v>
                </c:pt>
                <c:pt idx="6455">
                  <c:v>471241768</c:v>
                </c:pt>
                <c:pt idx="6456">
                  <c:v>3051614408</c:v>
                </c:pt>
                <c:pt idx="6457">
                  <c:v>303196824</c:v>
                </c:pt>
                <c:pt idx="6458">
                  <c:v>280610109</c:v>
                </c:pt>
                <c:pt idx="6459">
                  <c:v>1105858630</c:v>
                </c:pt>
                <c:pt idx="6460">
                  <c:v>1049340960</c:v>
                </c:pt>
                <c:pt idx="6461">
                  <c:v>1104636722</c:v>
                </c:pt>
                <c:pt idx="6462">
                  <c:v>57639725</c:v>
                </c:pt>
                <c:pt idx="6463">
                  <c:v>2420233170</c:v>
                </c:pt>
                <c:pt idx="6464">
                  <c:v>2723992698</c:v>
                </c:pt>
                <c:pt idx="6465">
                  <c:v>229372010</c:v>
                </c:pt>
                <c:pt idx="6466">
                  <c:v>226059046</c:v>
                </c:pt>
                <c:pt idx="6467">
                  <c:v>211559939</c:v>
                </c:pt>
                <c:pt idx="6468">
                  <c:v>1699348418</c:v>
                </c:pt>
                <c:pt idx="6469">
                  <c:v>155338623</c:v>
                </c:pt>
                <c:pt idx="6470">
                  <c:v>431024000</c:v>
                </c:pt>
                <c:pt idx="6471">
                  <c:v>279658855</c:v>
                </c:pt>
                <c:pt idx="6472">
                  <c:v>209592306</c:v>
                </c:pt>
                <c:pt idx="6473">
                  <c:v>213372364</c:v>
                </c:pt>
                <c:pt idx="6474">
                  <c:v>1944352416</c:v>
                </c:pt>
                <c:pt idx="6475">
                  <c:v>1030806502</c:v>
                </c:pt>
                <c:pt idx="6476">
                  <c:v>858520284</c:v>
                </c:pt>
                <c:pt idx="6477">
                  <c:v>60124482</c:v>
                </c:pt>
                <c:pt idx="6478">
                  <c:v>28516285</c:v>
                </c:pt>
                <c:pt idx="6479">
                  <c:v>596783060</c:v>
                </c:pt>
                <c:pt idx="6480">
                  <c:v>403203438</c:v>
                </c:pt>
                <c:pt idx="6481">
                  <c:v>1256384122</c:v>
                </c:pt>
                <c:pt idx="6482">
                  <c:v>9145263028</c:v>
                </c:pt>
                <c:pt idx="6483">
                  <c:v>295870160</c:v>
                </c:pt>
                <c:pt idx="6484">
                  <c:v>434092240</c:v>
                </c:pt>
                <c:pt idx="6485">
                  <c:v>461732832</c:v>
                </c:pt>
                <c:pt idx="6486">
                  <c:v>497665575</c:v>
                </c:pt>
                <c:pt idx="6487">
                  <c:v>316595100</c:v>
                </c:pt>
                <c:pt idx="6488">
                  <c:v>1320496731</c:v>
                </c:pt>
                <c:pt idx="6489">
                  <c:v>10248723297</c:v>
                </c:pt>
                <c:pt idx="6490">
                  <c:v>1613947552</c:v>
                </c:pt>
                <c:pt idx="6491">
                  <c:v>510897338</c:v>
                </c:pt>
                <c:pt idx="6492">
                  <c:v>59151687</c:v>
                </c:pt>
                <c:pt idx="6493">
                  <c:v>302775747</c:v>
                </c:pt>
                <c:pt idx="6494">
                  <c:v>487496960</c:v>
                </c:pt>
                <c:pt idx="6495">
                  <c:v>2125532082</c:v>
                </c:pt>
                <c:pt idx="6496">
                  <c:v>160956390</c:v>
                </c:pt>
                <c:pt idx="6497">
                  <c:v>1950139196</c:v>
                </c:pt>
                <c:pt idx="6498">
                  <c:v>5347985786</c:v>
                </c:pt>
                <c:pt idx="6499">
                  <c:v>585071504</c:v>
                </c:pt>
                <c:pt idx="6500">
                  <c:v>844037935</c:v>
                </c:pt>
                <c:pt idx="6501">
                  <c:v>156744546</c:v>
                </c:pt>
                <c:pt idx="6502">
                  <c:v>676509135</c:v>
                </c:pt>
                <c:pt idx="6503">
                  <c:v>1788387360</c:v>
                </c:pt>
                <c:pt idx="6504">
                  <c:v>311394992</c:v>
                </c:pt>
                <c:pt idx="6505">
                  <c:v>8383739315</c:v>
                </c:pt>
                <c:pt idx="6506">
                  <c:v>1466578918</c:v>
                </c:pt>
                <c:pt idx="6507">
                  <c:v>3270441690</c:v>
                </c:pt>
                <c:pt idx="6508">
                  <c:v>107035344</c:v>
                </c:pt>
                <c:pt idx="6509">
                  <c:v>663520123</c:v>
                </c:pt>
                <c:pt idx="6510">
                  <c:v>266216775</c:v>
                </c:pt>
                <c:pt idx="6511">
                  <c:v>772125816</c:v>
                </c:pt>
                <c:pt idx="6512">
                  <c:v>2436789434</c:v>
                </c:pt>
                <c:pt idx="6513">
                  <c:v>1059081742</c:v>
                </c:pt>
                <c:pt idx="6514">
                  <c:v>1518267024</c:v>
                </c:pt>
                <c:pt idx="6515">
                  <c:v>1460042100</c:v>
                </c:pt>
                <c:pt idx="6516">
                  <c:v>126471744</c:v>
                </c:pt>
                <c:pt idx="6517">
                  <c:v>282221426</c:v>
                </c:pt>
                <c:pt idx="6518">
                  <c:v>1029182472</c:v>
                </c:pt>
                <c:pt idx="6519">
                  <c:v>299883455</c:v>
                </c:pt>
                <c:pt idx="6520">
                  <c:v>1413079140</c:v>
                </c:pt>
                <c:pt idx="6521">
                  <c:v>130542500</c:v>
                </c:pt>
                <c:pt idx="6522">
                  <c:v>525974736</c:v>
                </c:pt>
                <c:pt idx="6523">
                  <c:v>417560430</c:v>
                </c:pt>
                <c:pt idx="6524">
                  <c:v>3501254518</c:v>
                </c:pt>
                <c:pt idx="6525">
                  <c:v>90907250</c:v>
                </c:pt>
                <c:pt idx="6526">
                  <c:v>629988344</c:v>
                </c:pt>
                <c:pt idx="6527">
                  <c:v>393634752</c:v>
                </c:pt>
                <c:pt idx="6528">
                  <c:v>349941496</c:v>
                </c:pt>
                <c:pt idx="6529">
                  <c:v>393555690</c:v>
                </c:pt>
                <c:pt idx="6530">
                  <c:v>380496952</c:v>
                </c:pt>
                <c:pt idx="6531">
                  <c:v>237064320</c:v>
                </c:pt>
                <c:pt idx="6532">
                  <c:v>514147644</c:v>
                </c:pt>
                <c:pt idx="6533">
                  <c:v>1273498644</c:v>
                </c:pt>
                <c:pt idx="6534">
                  <c:v>4294967294</c:v>
                </c:pt>
                <c:pt idx="6535">
                  <c:v>1218671577</c:v>
                </c:pt>
                <c:pt idx="6536">
                  <c:v>4816297005</c:v>
                </c:pt>
                <c:pt idx="6537">
                  <c:v>493924663</c:v>
                </c:pt>
                <c:pt idx="6538">
                  <c:v>1683027412</c:v>
                </c:pt>
                <c:pt idx="6539">
                  <c:v>2102649422</c:v>
                </c:pt>
                <c:pt idx="6540">
                  <c:v>796252800</c:v>
                </c:pt>
                <c:pt idx="6541">
                  <c:v>888741928</c:v>
                </c:pt>
                <c:pt idx="6542">
                  <c:v>181411490</c:v>
                </c:pt>
                <c:pt idx="6543">
                  <c:v>782983740</c:v>
                </c:pt>
                <c:pt idx="6544">
                  <c:v>299687388</c:v>
                </c:pt>
                <c:pt idx="6545">
                  <c:v>518191722</c:v>
                </c:pt>
                <c:pt idx="6546">
                  <c:v>970873792</c:v>
                </c:pt>
                <c:pt idx="6547">
                  <c:v>232877708</c:v>
                </c:pt>
                <c:pt idx="6548">
                  <c:v>242958205</c:v>
                </c:pt>
                <c:pt idx="6549">
                  <c:v>3825919600</c:v>
                </c:pt>
                <c:pt idx="6550">
                  <c:v>174142750</c:v>
                </c:pt>
                <c:pt idx="6551">
                  <c:v>207621104</c:v>
                </c:pt>
                <c:pt idx="6552">
                  <c:v>217555360</c:v>
                </c:pt>
                <c:pt idx="6553">
                  <c:v>89582376</c:v>
                </c:pt>
                <c:pt idx="6554">
                  <c:v>111346068</c:v>
                </c:pt>
                <c:pt idx="6555">
                  <c:v>1128645944</c:v>
                </c:pt>
                <c:pt idx="6556">
                  <c:v>3406481975</c:v>
                </c:pt>
                <c:pt idx="6557">
                  <c:v>2698904510</c:v>
                </c:pt>
                <c:pt idx="6558">
                  <c:v>136590890</c:v>
                </c:pt>
                <c:pt idx="6559">
                  <c:v>5012003740</c:v>
                </c:pt>
                <c:pt idx="6560">
                  <c:v>2137322850</c:v>
                </c:pt>
                <c:pt idx="6561">
                  <c:v>257322844</c:v>
                </c:pt>
                <c:pt idx="6562">
                  <c:v>751806307</c:v>
                </c:pt>
                <c:pt idx="6563">
                  <c:v>411335288</c:v>
                </c:pt>
                <c:pt idx="6564">
                  <c:v>278743465</c:v>
                </c:pt>
                <c:pt idx="6565">
                  <c:v>471017614</c:v>
                </c:pt>
                <c:pt idx="6566">
                  <c:v>1615518623</c:v>
                </c:pt>
                <c:pt idx="6567">
                  <c:v>157058044</c:v>
                </c:pt>
                <c:pt idx="6568">
                  <c:v>397622424</c:v>
                </c:pt>
                <c:pt idx="6569">
                  <c:v>291263189</c:v>
                </c:pt>
                <c:pt idx="6570">
                  <c:v>474218750</c:v>
                </c:pt>
                <c:pt idx="6571">
                  <c:v>120054306</c:v>
                </c:pt>
                <c:pt idx="6572">
                  <c:v>1046055249</c:v>
                </c:pt>
                <c:pt idx="6573">
                  <c:v>1129079175</c:v>
                </c:pt>
                <c:pt idx="6574">
                  <c:v>532070910</c:v>
                </c:pt>
                <c:pt idx="6575">
                  <c:v>687261600</c:v>
                </c:pt>
                <c:pt idx="6576">
                  <c:v>99563321</c:v>
                </c:pt>
                <c:pt idx="6577">
                  <c:v>123016508</c:v>
                </c:pt>
                <c:pt idx="6578">
                  <c:v>453874076</c:v>
                </c:pt>
                <c:pt idx="6579">
                  <c:v>259475454</c:v>
                </c:pt>
                <c:pt idx="6580">
                  <c:v>564775029</c:v>
                </c:pt>
                <c:pt idx="6581">
                  <c:v>401715888</c:v>
                </c:pt>
                <c:pt idx="6582">
                  <c:v>20195484</c:v>
                </c:pt>
                <c:pt idx="6583">
                  <c:v>607861320</c:v>
                </c:pt>
                <c:pt idx="6584">
                  <c:v>19101706</c:v>
                </c:pt>
                <c:pt idx="6585">
                  <c:v>2852301919</c:v>
                </c:pt>
                <c:pt idx="6586">
                  <c:v>6788799513</c:v>
                </c:pt>
                <c:pt idx="6587">
                  <c:v>650610952</c:v>
                </c:pt>
                <c:pt idx="6588">
                  <c:v>335426740</c:v>
                </c:pt>
                <c:pt idx="6589">
                  <c:v>849288865</c:v>
                </c:pt>
                <c:pt idx="6590">
                  <c:v>100542024</c:v>
                </c:pt>
                <c:pt idx="6591">
                  <c:v>662886994</c:v>
                </c:pt>
                <c:pt idx="6592">
                  <c:v>104877530</c:v>
                </c:pt>
                <c:pt idx="6593">
                  <c:v>249691836</c:v>
                </c:pt>
                <c:pt idx="6594">
                  <c:v>2147483647</c:v>
                </c:pt>
                <c:pt idx="6595">
                  <c:v>1725742685</c:v>
                </c:pt>
                <c:pt idx="6596">
                  <c:v>520604172</c:v>
                </c:pt>
                <c:pt idx="6597">
                  <c:v>654399900</c:v>
                </c:pt>
                <c:pt idx="6598">
                  <c:v>415153401</c:v>
                </c:pt>
                <c:pt idx="6599">
                  <c:v>185299564</c:v>
                </c:pt>
                <c:pt idx="6600">
                  <c:v>124279236</c:v>
                </c:pt>
                <c:pt idx="6601">
                  <c:v>498877296</c:v>
                </c:pt>
                <c:pt idx="6602">
                  <c:v>203504048</c:v>
                </c:pt>
                <c:pt idx="6603">
                  <c:v>2147483647</c:v>
                </c:pt>
                <c:pt idx="6604">
                  <c:v>278319102</c:v>
                </c:pt>
                <c:pt idx="6605">
                  <c:v>1038348219</c:v>
                </c:pt>
                <c:pt idx="6606">
                  <c:v>287247154</c:v>
                </c:pt>
                <c:pt idx="6607">
                  <c:v>107755811</c:v>
                </c:pt>
                <c:pt idx="6608">
                  <c:v>249997377</c:v>
                </c:pt>
                <c:pt idx="6609">
                  <c:v>232973523</c:v>
                </c:pt>
                <c:pt idx="6610">
                  <c:v>97321510</c:v>
                </c:pt>
                <c:pt idx="6611">
                  <c:v>5159624901</c:v>
                </c:pt>
                <c:pt idx="6612">
                  <c:v>319664720</c:v>
                </c:pt>
                <c:pt idx="6613">
                  <c:v>242421516</c:v>
                </c:pt>
                <c:pt idx="6614">
                  <c:v>412074432</c:v>
                </c:pt>
                <c:pt idx="6615">
                  <c:v>5447762826</c:v>
                </c:pt>
                <c:pt idx="6616">
                  <c:v>2683028801</c:v>
                </c:pt>
                <c:pt idx="6617">
                  <c:v>754690460</c:v>
                </c:pt>
                <c:pt idx="6618">
                  <c:v>2147483647</c:v>
                </c:pt>
                <c:pt idx="6619">
                  <c:v>2015723556</c:v>
                </c:pt>
                <c:pt idx="6620">
                  <c:v>1905655893</c:v>
                </c:pt>
                <c:pt idx="6621">
                  <c:v>2936962920</c:v>
                </c:pt>
                <c:pt idx="6622">
                  <c:v>54059104</c:v>
                </c:pt>
                <c:pt idx="6623">
                  <c:v>388228334</c:v>
                </c:pt>
                <c:pt idx="6624">
                  <c:v>959017977</c:v>
                </c:pt>
                <c:pt idx="6625">
                  <c:v>497547870</c:v>
                </c:pt>
                <c:pt idx="6626">
                  <c:v>466758028</c:v>
                </c:pt>
                <c:pt idx="6627">
                  <c:v>200896416</c:v>
                </c:pt>
                <c:pt idx="6628">
                  <c:v>810393093</c:v>
                </c:pt>
                <c:pt idx="6629">
                  <c:v>190501050</c:v>
                </c:pt>
                <c:pt idx="6630">
                  <c:v>162127888</c:v>
                </c:pt>
                <c:pt idx="6631">
                  <c:v>269986154</c:v>
                </c:pt>
                <c:pt idx="6632">
                  <c:v>916863260</c:v>
                </c:pt>
                <c:pt idx="6633">
                  <c:v>800341300</c:v>
                </c:pt>
                <c:pt idx="6634">
                  <c:v>319314137</c:v>
                </c:pt>
                <c:pt idx="6635">
                  <c:v>200172784</c:v>
                </c:pt>
                <c:pt idx="6636">
                  <c:v>451167428</c:v>
                </c:pt>
                <c:pt idx="6637">
                  <c:v>1576948870</c:v>
                </c:pt>
                <c:pt idx="6638">
                  <c:v>665783020</c:v>
                </c:pt>
                <c:pt idx="6639">
                  <c:v>3904795775</c:v>
                </c:pt>
                <c:pt idx="6640">
                  <c:v>2074157450</c:v>
                </c:pt>
                <c:pt idx="6641">
                  <c:v>131910330</c:v>
                </c:pt>
                <c:pt idx="6642">
                  <c:v>2868191000</c:v>
                </c:pt>
                <c:pt idx="6643">
                  <c:v>1128103108</c:v>
                </c:pt>
                <c:pt idx="6644">
                  <c:v>1129843641</c:v>
                </c:pt>
                <c:pt idx="6645">
                  <c:v>96791268</c:v>
                </c:pt>
                <c:pt idx="6646">
                  <c:v>100564000</c:v>
                </c:pt>
                <c:pt idx="6647">
                  <c:v>508823616</c:v>
                </c:pt>
                <c:pt idx="6648">
                  <c:v>198491216</c:v>
                </c:pt>
                <c:pt idx="6649">
                  <c:v>244617153</c:v>
                </c:pt>
                <c:pt idx="6650">
                  <c:v>2147483647</c:v>
                </c:pt>
                <c:pt idx="6651">
                  <c:v>56390388</c:v>
                </c:pt>
                <c:pt idx="6652">
                  <c:v>1356483258</c:v>
                </c:pt>
                <c:pt idx="6653">
                  <c:v>1692009375</c:v>
                </c:pt>
                <c:pt idx="6654">
                  <c:v>214528872</c:v>
                </c:pt>
                <c:pt idx="6655">
                  <c:v>426686650</c:v>
                </c:pt>
                <c:pt idx="6656">
                  <c:v>221118546</c:v>
                </c:pt>
                <c:pt idx="6657">
                  <c:v>10270602</c:v>
                </c:pt>
                <c:pt idx="6658">
                  <c:v>281305783</c:v>
                </c:pt>
                <c:pt idx="6659">
                  <c:v>2303179221</c:v>
                </c:pt>
                <c:pt idx="6660">
                  <c:v>243849350</c:v>
                </c:pt>
                <c:pt idx="6661">
                  <c:v>216247128</c:v>
                </c:pt>
                <c:pt idx="6662">
                  <c:v>352001832</c:v>
                </c:pt>
                <c:pt idx="6663">
                  <c:v>53271666</c:v>
                </c:pt>
                <c:pt idx="6664">
                  <c:v>275239716</c:v>
                </c:pt>
                <c:pt idx="6665">
                  <c:v>3063492413</c:v>
                </c:pt>
                <c:pt idx="6666">
                  <c:v>909669291</c:v>
                </c:pt>
                <c:pt idx="6667">
                  <c:v>2706174620</c:v>
                </c:pt>
                <c:pt idx="6668">
                  <c:v>640106205</c:v>
                </c:pt>
                <c:pt idx="6669">
                  <c:v>13720471513</c:v>
                </c:pt>
                <c:pt idx="6670">
                  <c:v>262442909</c:v>
                </c:pt>
                <c:pt idx="6671">
                  <c:v>1038506931</c:v>
                </c:pt>
                <c:pt idx="6672">
                  <c:v>359075870</c:v>
                </c:pt>
                <c:pt idx="6673">
                  <c:v>550562067</c:v>
                </c:pt>
                <c:pt idx="6674">
                  <c:v>2244898284</c:v>
                </c:pt>
                <c:pt idx="6675">
                  <c:v>1034516348</c:v>
                </c:pt>
                <c:pt idx="6676">
                  <c:v>618648717</c:v>
                </c:pt>
                <c:pt idx="6677">
                  <c:v>414388845</c:v>
                </c:pt>
                <c:pt idx="6678">
                  <c:v>233666751</c:v>
                </c:pt>
                <c:pt idx="6679">
                  <c:v>717667800</c:v>
                </c:pt>
                <c:pt idx="6680">
                  <c:v>493559475</c:v>
                </c:pt>
                <c:pt idx="6681">
                  <c:v>1080323124</c:v>
                </c:pt>
                <c:pt idx="6682">
                  <c:v>399349174</c:v>
                </c:pt>
                <c:pt idx="6683">
                  <c:v>721934864</c:v>
                </c:pt>
                <c:pt idx="6684">
                  <c:v>342229213</c:v>
                </c:pt>
                <c:pt idx="6685">
                  <c:v>1943611951</c:v>
                </c:pt>
                <c:pt idx="6686">
                  <c:v>256864270</c:v>
                </c:pt>
                <c:pt idx="6687">
                  <c:v>161895922</c:v>
                </c:pt>
                <c:pt idx="6688">
                  <c:v>214095168</c:v>
                </c:pt>
                <c:pt idx="6689">
                  <c:v>796761178</c:v>
                </c:pt>
                <c:pt idx="6690">
                  <c:v>265888370</c:v>
                </c:pt>
                <c:pt idx="6691">
                  <c:v>15853333746</c:v>
                </c:pt>
                <c:pt idx="6692">
                  <c:v>307387258</c:v>
                </c:pt>
                <c:pt idx="6693">
                  <c:v>771666420</c:v>
                </c:pt>
                <c:pt idx="6694">
                  <c:v>79382160</c:v>
                </c:pt>
                <c:pt idx="6695">
                  <c:v>1201923640</c:v>
                </c:pt>
                <c:pt idx="6696">
                  <c:v>2147483647</c:v>
                </c:pt>
                <c:pt idx="6697">
                  <c:v>211466045</c:v>
                </c:pt>
                <c:pt idx="6698">
                  <c:v>289553568</c:v>
                </c:pt>
                <c:pt idx="6699">
                  <c:v>313279316</c:v>
                </c:pt>
                <c:pt idx="6700">
                  <c:v>6677226142</c:v>
                </c:pt>
                <c:pt idx="6701">
                  <c:v>19399049437</c:v>
                </c:pt>
                <c:pt idx="6702">
                  <c:v>176018296</c:v>
                </c:pt>
                <c:pt idx="6703">
                  <c:v>177766056</c:v>
                </c:pt>
                <c:pt idx="6704">
                  <c:v>448450618</c:v>
                </c:pt>
                <c:pt idx="6705">
                  <c:v>56617104</c:v>
                </c:pt>
                <c:pt idx="6706">
                  <c:v>1075853568</c:v>
                </c:pt>
                <c:pt idx="6707">
                  <c:v>370956806</c:v>
                </c:pt>
                <c:pt idx="6708">
                  <c:v>968257591</c:v>
                </c:pt>
                <c:pt idx="6709">
                  <c:v>204882183</c:v>
                </c:pt>
                <c:pt idx="6710">
                  <c:v>1542461772</c:v>
                </c:pt>
                <c:pt idx="6711">
                  <c:v>466565376</c:v>
                </c:pt>
                <c:pt idx="6712">
                  <c:v>138475556</c:v>
                </c:pt>
                <c:pt idx="6713">
                  <c:v>139209564</c:v>
                </c:pt>
                <c:pt idx="6714">
                  <c:v>264097572</c:v>
                </c:pt>
                <c:pt idx="6715">
                  <c:v>319093872</c:v>
                </c:pt>
                <c:pt idx="6716">
                  <c:v>304693058</c:v>
                </c:pt>
                <c:pt idx="6717">
                  <c:v>625399740</c:v>
                </c:pt>
                <c:pt idx="6718">
                  <c:v>962500920</c:v>
                </c:pt>
                <c:pt idx="6719">
                  <c:v>440987702</c:v>
                </c:pt>
                <c:pt idx="6720">
                  <c:v>338064288</c:v>
                </c:pt>
                <c:pt idx="6721">
                  <c:v>327546208</c:v>
                </c:pt>
                <c:pt idx="6722">
                  <c:v>150294466</c:v>
                </c:pt>
                <c:pt idx="6723">
                  <c:v>425349380</c:v>
                </c:pt>
                <c:pt idx="6724">
                  <c:v>409575096</c:v>
                </c:pt>
                <c:pt idx="6725">
                  <c:v>163771564</c:v>
                </c:pt>
                <c:pt idx="6726">
                  <c:v>1494760489</c:v>
                </c:pt>
                <c:pt idx="6727">
                  <c:v>810285894</c:v>
                </c:pt>
                <c:pt idx="6728">
                  <c:v>879827224</c:v>
                </c:pt>
                <c:pt idx="6729">
                  <c:v>926757048</c:v>
                </c:pt>
                <c:pt idx="6730">
                  <c:v>340997052</c:v>
                </c:pt>
                <c:pt idx="6731">
                  <c:v>1842452430</c:v>
                </c:pt>
                <c:pt idx="6732">
                  <c:v>934852853</c:v>
                </c:pt>
                <c:pt idx="6733">
                  <c:v>289806283</c:v>
                </c:pt>
                <c:pt idx="6734">
                  <c:v>149511700</c:v>
                </c:pt>
                <c:pt idx="6735">
                  <c:v>585322668</c:v>
                </c:pt>
                <c:pt idx="6736">
                  <c:v>258867133</c:v>
                </c:pt>
                <c:pt idx="6737">
                  <c:v>1794036492</c:v>
                </c:pt>
                <c:pt idx="6738">
                  <c:v>876065718</c:v>
                </c:pt>
                <c:pt idx="6739">
                  <c:v>366678652</c:v>
                </c:pt>
                <c:pt idx="6740">
                  <c:v>267530248</c:v>
                </c:pt>
                <c:pt idx="6741">
                  <c:v>251212624</c:v>
                </c:pt>
                <c:pt idx="6742">
                  <c:v>634168320</c:v>
                </c:pt>
                <c:pt idx="6743">
                  <c:v>197839074</c:v>
                </c:pt>
                <c:pt idx="6744">
                  <c:v>768818952</c:v>
                </c:pt>
                <c:pt idx="6745">
                  <c:v>393561146</c:v>
                </c:pt>
                <c:pt idx="6746">
                  <c:v>209740928</c:v>
                </c:pt>
                <c:pt idx="6747">
                  <c:v>164490340</c:v>
                </c:pt>
                <c:pt idx="6748">
                  <c:v>214146676</c:v>
                </c:pt>
                <c:pt idx="6749">
                  <c:v>578357664</c:v>
                </c:pt>
                <c:pt idx="6750">
                  <c:v>219405384</c:v>
                </c:pt>
                <c:pt idx="6751">
                  <c:v>175835475</c:v>
                </c:pt>
                <c:pt idx="6752">
                  <c:v>47954172</c:v>
                </c:pt>
                <c:pt idx="6753">
                  <c:v>498888000</c:v>
                </c:pt>
                <c:pt idx="6754">
                  <c:v>239977416</c:v>
                </c:pt>
                <c:pt idx="6755">
                  <c:v>1341422046</c:v>
                </c:pt>
                <c:pt idx="6756">
                  <c:v>794443200</c:v>
                </c:pt>
                <c:pt idx="6757">
                  <c:v>549017024</c:v>
                </c:pt>
                <c:pt idx="6758">
                  <c:v>1136616936</c:v>
                </c:pt>
                <c:pt idx="6759">
                  <c:v>576715665</c:v>
                </c:pt>
                <c:pt idx="6760">
                  <c:v>4294967294</c:v>
                </c:pt>
                <c:pt idx="6761">
                  <c:v>534789976</c:v>
                </c:pt>
                <c:pt idx="6762">
                  <c:v>1409691723</c:v>
                </c:pt>
                <c:pt idx="6763">
                  <c:v>4361356504</c:v>
                </c:pt>
                <c:pt idx="6764">
                  <c:v>629537971</c:v>
                </c:pt>
                <c:pt idx="6765">
                  <c:v>1127908132</c:v>
                </c:pt>
                <c:pt idx="6766">
                  <c:v>649590538</c:v>
                </c:pt>
                <c:pt idx="6767">
                  <c:v>98539584</c:v>
                </c:pt>
                <c:pt idx="6768">
                  <c:v>310175058</c:v>
                </c:pt>
                <c:pt idx="6769">
                  <c:v>2024037377</c:v>
                </c:pt>
                <c:pt idx="6770">
                  <c:v>9309875335</c:v>
                </c:pt>
                <c:pt idx="6771">
                  <c:v>193627498</c:v>
                </c:pt>
                <c:pt idx="6772">
                  <c:v>314427879</c:v>
                </c:pt>
                <c:pt idx="6773">
                  <c:v>1789363791</c:v>
                </c:pt>
                <c:pt idx="6774">
                  <c:v>43196018549</c:v>
                </c:pt>
                <c:pt idx="6775">
                  <c:v>1104325467</c:v>
                </c:pt>
                <c:pt idx="6776">
                  <c:v>272352856</c:v>
                </c:pt>
                <c:pt idx="6777">
                  <c:v>89772067</c:v>
                </c:pt>
                <c:pt idx="6778">
                  <c:v>516716116</c:v>
                </c:pt>
                <c:pt idx="6779">
                  <c:v>1076141627</c:v>
                </c:pt>
                <c:pt idx="6780">
                  <c:v>616051368</c:v>
                </c:pt>
                <c:pt idx="6781">
                  <c:v>3720420456</c:v>
                </c:pt>
                <c:pt idx="6782">
                  <c:v>3572565229</c:v>
                </c:pt>
                <c:pt idx="6783">
                  <c:v>1888255109</c:v>
                </c:pt>
                <c:pt idx="6784">
                  <c:v>453390825</c:v>
                </c:pt>
                <c:pt idx="6785">
                  <c:v>1797067280</c:v>
                </c:pt>
                <c:pt idx="6786">
                  <c:v>1394226270</c:v>
                </c:pt>
                <c:pt idx="6787">
                  <c:v>860396292</c:v>
                </c:pt>
                <c:pt idx="6788">
                  <c:v>2147483647</c:v>
                </c:pt>
                <c:pt idx="6789">
                  <c:v>399568416</c:v>
                </c:pt>
                <c:pt idx="6790">
                  <c:v>325281800</c:v>
                </c:pt>
                <c:pt idx="6791">
                  <c:v>310999656</c:v>
                </c:pt>
                <c:pt idx="6792">
                  <c:v>150085440</c:v>
                </c:pt>
                <c:pt idx="6793">
                  <c:v>204316515</c:v>
                </c:pt>
                <c:pt idx="6794">
                  <c:v>988990200</c:v>
                </c:pt>
                <c:pt idx="6795">
                  <c:v>385296750</c:v>
                </c:pt>
                <c:pt idx="6796">
                  <c:v>311813208</c:v>
                </c:pt>
                <c:pt idx="6797">
                  <c:v>414007532</c:v>
                </c:pt>
                <c:pt idx="6798">
                  <c:v>243141565</c:v>
                </c:pt>
                <c:pt idx="6799">
                  <c:v>2266271664</c:v>
                </c:pt>
                <c:pt idx="6800">
                  <c:v>653590782</c:v>
                </c:pt>
                <c:pt idx="6801">
                  <c:v>2154953551</c:v>
                </c:pt>
                <c:pt idx="6802">
                  <c:v>1676917242</c:v>
                </c:pt>
                <c:pt idx="6803">
                  <c:v>121665517</c:v>
                </c:pt>
                <c:pt idx="6804">
                  <c:v>711504118</c:v>
                </c:pt>
                <c:pt idx="6805">
                  <c:v>341024684</c:v>
                </c:pt>
                <c:pt idx="6806">
                  <c:v>2147483647</c:v>
                </c:pt>
                <c:pt idx="6807">
                  <c:v>461864136</c:v>
                </c:pt>
                <c:pt idx="6808">
                  <c:v>264349784</c:v>
                </c:pt>
                <c:pt idx="6809">
                  <c:v>377257856</c:v>
                </c:pt>
                <c:pt idx="6810">
                  <c:v>522523540</c:v>
                </c:pt>
                <c:pt idx="6811">
                  <c:v>762660057</c:v>
                </c:pt>
                <c:pt idx="6812">
                  <c:v>789986416</c:v>
                </c:pt>
                <c:pt idx="6813">
                  <c:v>120845686</c:v>
                </c:pt>
                <c:pt idx="6814">
                  <c:v>5358233440</c:v>
                </c:pt>
                <c:pt idx="6815">
                  <c:v>385943231</c:v>
                </c:pt>
                <c:pt idx="6816">
                  <c:v>269051342</c:v>
                </c:pt>
                <c:pt idx="6817">
                  <c:v>50465604</c:v>
                </c:pt>
                <c:pt idx="6818">
                  <c:v>1585272052</c:v>
                </c:pt>
                <c:pt idx="6819">
                  <c:v>2147483647</c:v>
                </c:pt>
                <c:pt idx="6820">
                  <c:v>1198919558</c:v>
                </c:pt>
                <c:pt idx="6821">
                  <c:v>297155538</c:v>
                </c:pt>
                <c:pt idx="6822">
                  <c:v>262892371</c:v>
                </c:pt>
                <c:pt idx="6823">
                  <c:v>728215296</c:v>
                </c:pt>
                <c:pt idx="6824">
                  <c:v>148530003</c:v>
                </c:pt>
                <c:pt idx="6825">
                  <c:v>1559512476</c:v>
                </c:pt>
                <c:pt idx="6826">
                  <c:v>74940216</c:v>
                </c:pt>
                <c:pt idx="6827">
                  <c:v>1222787640</c:v>
                </c:pt>
                <c:pt idx="6828">
                  <c:v>446472999</c:v>
                </c:pt>
                <c:pt idx="6829">
                  <c:v>556861665</c:v>
                </c:pt>
                <c:pt idx="6830">
                  <c:v>3001706059</c:v>
                </c:pt>
                <c:pt idx="6831">
                  <c:v>2100760732</c:v>
                </c:pt>
                <c:pt idx="6832">
                  <c:v>254345368</c:v>
                </c:pt>
                <c:pt idx="6833">
                  <c:v>240469460</c:v>
                </c:pt>
                <c:pt idx="6834">
                  <c:v>219801338</c:v>
                </c:pt>
                <c:pt idx="6835">
                  <c:v>3827017016</c:v>
                </c:pt>
                <c:pt idx="6836">
                  <c:v>1415702884</c:v>
                </c:pt>
                <c:pt idx="6837">
                  <c:v>2147483647</c:v>
                </c:pt>
                <c:pt idx="6838">
                  <c:v>7665847734</c:v>
                </c:pt>
                <c:pt idx="6839">
                  <c:v>806404970</c:v>
                </c:pt>
                <c:pt idx="6840">
                  <c:v>100459627</c:v>
                </c:pt>
                <c:pt idx="6841">
                  <c:v>290808408</c:v>
                </c:pt>
                <c:pt idx="6842">
                  <c:v>1038870000</c:v>
                </c:pt>
                <c:pt idx="6843">
                  <c:v>927834453</c:v>
                </c:pt>
                <c:pt idx="6844">
                  <c:v>279183024</c:v>
                </c:pt>
                <c:pt idx="6845">
                  <c:v>4294967294</c:v>
                </c:pt>
                <c:pt idx="6846">
                  <c:v>114565815</c:v>
                </c:pt>
                <c:pt idx="6847">
                  <c:v>303337375</c:v>
                </c:pt>
                <c:pt idx="6848">
                  <c:v>48753298351</c:v>
                </c:pt>
                <c:pt idx="6849">
                  <c:v>926325045</c:v>
                </c:pt>
                <c:pt idx="6850">
                  <c:v>710341422</c:v>
                </c:pt>
                <c:pt idx="6851">
                  <c:v>1167036790</c:v>
                </c:pt>
                <c:pt idx="6852">
                  <c:v>898142695</c:v>
                </c:pt>
                <c:pt idx="6853">
                  <c:v>5299449802</c:v>
                </c:pt>
                <c:pt idx="6854">
                  <c:v>224962650</c:v>
                </c:pt>
                <c:pt idx="6855">
                  <c:v>1805991756</c:v>
                </c:pt>
                <c:pt idx="6856">
                  <c:v>280731208</c:v>
                </c:pt>
                <c:pt idx="6857">
                  <c:v>1579679696</c:v>
                </c:pt>
                <c:pt idx="6858">
                  <c:v>597780913</c:v>
                </c:pt>
                <c:pt idx="6859">
                  <c:v>990990812</c:v>
                </c:pt>
                <c:pt idx="6860">
                  <c:v>253980331</c:v>
                </c:pt>
                <c:pt idx="6861">
                  <c:v>353782954</c:v>
                </c:pt>
                <c:pt idx="6862">
                  <c:v>1078623298</c:v>
                </c:pt>
                <c:pt idx="6863">
                  <c:v>170365793</c:v>
                </c:pt>
                <c:pt idx="6864">
                  <c:v>169212876</c:v>
                </c:pt>
                <c:pt idx="6865">
                  <c:v>1090528230</c:v>
                </c:pt>
                <c:pt idx="6866">
                  <c:v>220251010</c:v>
                </c:pt>
                <c:pt idx="6867">
                  <c:v>532144340</c:v>
                </c:pt>
                <c:pt idx="6868">
                  <c:v>14687443510</c:v>
                </c:pt>
                <c:pt idx="6869">
                  <c:v>762467991</c:v>
                </c:pt>
                <c:pt idx="6870">
                  <c:v>154057508</c:v>
                </c:pt>
                <c:pt idx="6871">
                  <c:v>809760600</c:v>
                </c:pt>
                <c:pt idx="6872">
                  <c:v>2429174924</c:v>
                </c:pt>
                <c:pt idx="6873">
                  <c:v>73231896</c:v>
                </c:pt>
                <c:pt idx="6874">
                  <c:v>211542903</c:v>
                </c:pt>
                <c:pt idx="6875">
                  <c:v>100122120</c:v>
                </c:pt>
                <c:pt idx="6876">
                  <c:v>82965433</c:v>
                </c:pt>
                <c:pt idx="6877">
                  <c:v>863079716</c:v>
                </c:pt>
                <c:pt idx="6878">
                  <c:v>3907693571</c:v>
                </c:pt>
                <c:pt idx="6879">
                  <c:v>2147483647</c:v>
                </c:pt>
                <c:pt idx="6880">
                  <c:v>335908899</c:v>
                </c:pt>
                <c:pt idx="6881">
                  <c:v>28812468750</c:v>
                </c:pt>
                <c:pt idx="6882">
                  <c:v>926218580</c:v>
                </c:pt>
                <c:pt idx="6883">
                  <c:v>418235191</c:v>
                </c:pt>
                <c:pt idx="6884">
                  <c:v>2147483647</c:v>
                </c:pt>
                <c:pt idx="6885">
                  <c:v>8185195549</c:v>
                </c:pt>
                <c:pt idx="6886">
                  <c:v>916501782</c:v>
                </c:pt>
                <c:pt idx="6887">
                  <c:v>152949473</c:v>
                </c:pt>
                <c:pt idx="6888">
                  <c:v>1434717531</c:v>
                </c:pt>
                <c:pt idx="6889">
                  <c:v>6553641607</c:v>
                </c:pt>
                <c:pt idx="6890">
                  <c:v>467342106</c:v>
                </c:pt>
                <c:pt idx="6891">
                  <c:v>109475264</c:v>
                </c:pt>
                <c:pt idx="6892">
                  <c:v>4728918126</c:v>
                </c:pt>
                <c:pt idx="6893">
                  <c:v>214390660</c:v>
                </c:pt>
                <c:pt idx="6894">
                  <c:v>606917049</c:v>
                </c:pt>
                <c:pt idx="6895">
                  <c:v>347854290</c:v>
                </c:pt>
                <c:pt idx="6896">
                  <c:v>369337464</c:v>
                </c:pt>
                <c:pt idx="6897">
                  <c:v>448187187</c:v>
                </c:pt>
                <c:pt idx="6898">
                  <c:v>2191038067</c:v>
                </c:pt>
                <c:pt idx="6899">
                  <c:v>4110831027</c:v>
                </c:pt>
                <c:pt idx="6900">
                  <c:v>2147483647</c:v>
                </c:pt>
                <c:pt idx="6901">
                  <c:v>1126409759</c:v>
                </c:pt>
                <c:pt idx="6902">
                  <c:v>496359864</c:v>
                </c:pt>
                <c:pt idx="6903">
                  <c:v>286434487</c:v>
                </c:pt>
                <c:pt idx="6904">
                  <c:v>674462715</c:v>
                </c:pt>
                <c:pt idx="6905">
                  <c:v>943368750</c:v>
                </c:pt>
                <c:pt idx="6906">
                  <c:v>2076834024</c:v>
                </c:pt>
                <c:pt idx="6907">
                  <c:v>1258501180</c:v>
                </c:pt>
                <c:pt idx="6908">
                  <c:v>178445345</c:v>
                </c:pt>
                <c:pt idx="6909">
                  <c:v>345579960</c:v>
                </c:pt>
                <c:pt idx="6910">
                  <c:v>345076992</c:v>
                </c:pt>
                <c:pt idx="6911">
                  <c:v>404318240</c:v>
                </c:pt>
                <c:pt idx="6912">
                  <c:v>260548103</c:v>
                </c:pt>
                <c:pt idx="6913">
                  <c:v>641720436</c:v>
                </c:pt>
                <c:pt idx="6914">
                  <c:v>305315168</c:v>
                </c:pt>
                <c:pt idx="6915">
                  <c:v>5151407257</c:v>
                </c:pt>
                <c:pt idx="6916">
                  <c:v>1277316651</c:v>
                </c:pt>
                <c:pt idx="6917">
                  <c:v>1362744438</c:v>
                </c:pt>
                <c:pt idx="6918">
                  <c:v>52818780</c:v>
                </c:pt>
                <c:pt idx="6919">
                  <c:v>1398259102</c:v>
                </c:pt>
                <c:pt idx="6920">
                  <c:v>300224586</c:v>
                </c:pt>
                <c:pt idx="6921">
                  <c:v>8531361928</c:v>
                </c:pt>
                <c:pt idx="6922">
                  <c:v>111180996</c:v>
                </c:pt>
                <c:pt idx="6923">
                  <c:v>602033082</c:v>
                </c:pt>
                <c:pt idx="6924">
                  <c:v>324739098</c:v>
                </c:pt>
                <c:pt idx="6925">
                  <c:v>377779962</c:v>
                </c:pt>
                <c:pt idx="6926">
                  <c:v>192635160</c:v>
                </c:pt>
                <c:pt idx="6927">
                  <c:v>124173400</c:v>
                </c:pt>
                <c:pt idx="6928">
                  <c:v>102798235</c:v>
                </c:pt>
                <c:pt idx="6929">
                  <c:v>8162800837</c:v>
                </c:pt>
                <c:pt idx="6930">
                  <c:v>609316161</c:v>
                </c:pt>
                <c:pt idx="6931">
                  <c:v>4294967294</c:v>
                </c:pt>
                <c:pt idx="6932">
                  <c:v>362512612</c:v>
                </c:pt>
                <c:pt idx="6933">
                  <c:v>432979085</c:v>
                </c:pt>
                <c:pt idx="6934">
                  <c:v>115447386</c:v>
                </c:pt>
                <c:pt idx="6935">
                  <c:v>182439444</c:v>
                </c:pt>
                <c:pt idx="6936">
                  <c:v>1410012240</c:v>
                </c:pt>
                <c:pt idx="6937">
                  <c:v>630897360</c:v>
                </c:pt>
                <c:pt idx="6938">
                  <c:v>1042244032</c:v>
                </c:pt>
                <c:pt idx="6939">
                  <c:v>681508718</c:v>
                </c:pt>
                <c:pt idx="6940">
                  <c:v>3411898903</c:v>
                </c:pt>
                <c:pt idx="6941">
                  <c:v>1885806890</c:v>
                </c:pt>
                <c:pt idx="6942">
                  <c:v>243144315</c:v>
                </c:pt>
                <c:pt idx="6943">
                  <c:v>325112986</c:v>
                </c:pt>
                <c:pt idx="6944">
                  <c:v>58423410</c:v>
                </c:pt>
                <c:pt idx="6945">
                  <c:v>611116968</c:v>
                </c:pt>
                <c:pt idx="6946">
                  <c:v>1494845712</c:v>
                </c:pt>
                <c:pt idx="6947">
                  <c:v>1250345205</c:v>
                </c:pt>
                <c:pt idx="6948">
                  <c:v>243014432</c:v>
                </c:pt>
                <c:pt idx="6949">
                  <c:v>417780702</c:v>
                </c:pt>
                <c:pt idx="6950">
                  <c:v>1104484527</c:v>
                </c:pt>
                <c:pt idx="6951">
                  <c:v>1672927132</c:v>
                </c:pt>
                <c:pt idx="6952">
                  <c:v>2147483647</c:v>
                </c:pt>
                <c:pt idx="6953">
                  <c:v>2901814066</c:v>
                </c:pt>
                <c:pt idx="6954">
                  <c:v>388084196</c:v>
                </c:pt>
                <c:pt idx="6955">
                  <c:v>4560160167</c:v>
                </c:pt>
                <c:pt idx="6956">
                  <c:v>363362526</c:v>
                </c:pt>
                <c:pt idx="6957">
                  <c:v>733094400</c:v>
                </c:pt>
                <c:pt idx="6958">
                  <c:v>140415156</c:v>
                </c:pt>
                <c:pt idx="6959">
                  <c:v>829708308</c:v>
                </c:pt>
                <c:pt idx="6960">
                  <c:v>530943867</c:v>
                </c:pt>
                <c:pt idx="6961">
                  <c:v>3277386877</c:v>
                </c:pt>
                <c:pt idx="6962">
                  <c:v>329501262</c:v>
                </c:pt>
                <c:pt idx="6963">
                  <c:v>460396798</c:v>
                </c:pt>
                <c:pt idx="6964">
                  <c:v>6797615897</c:v>
                </c:pt>
                <c:pt idx="6965">
                  <c:v>1578258032</c:v>
                </c:pt>
                <c:pt idx="6966">
                  <c:v>738600194</c:v>
                </c:pt>
                <c:pt idx="6967">
                  <c:v>159078762</c:v>
                </c:pt>
                <c:pt idx="6968">
                  <c:v>678067933</c:v>
                </c:pt>
                <c:pt idx="6969">
                  <c:v>173840160</c:v>
                </c:pt>
                <c:pt idx="6970">
                  <c:v>3029002533</c:v>
                </c:pt>
                <c:pt idx="6971">
                  <c:v>171869544</c:v>
                </c:pt>
                <c:pt idx="6972">
                  <c:v>834727104</c:v>
                </c:pt>
                <c:pt idx="6973">
                  <c:v>2147483647</c:v>
                </c:pt>
                <c:pt idx="6974">
                  <c:v>587818656</c:v>
                </c:pt>
                <c:pt idx="6975">
                  <c:v>77050545</c:v>
                </c:pt>
                <c:pt idx="6976">
                  <c:v>810750024</c:v>
                </c:pt>
                <c:pt idx="6977">
                  <c:v>91667200</c:v>
                </c:pt>
                <c:pt idx="6978">
                  <c:v>210912654</c:v>
                </c:pt>
                <c:pt idx="6979">
                  <c:v>3420921356</c:v>
                </c:pt>
                <c:pt idx="6980">
                  <c:v>7882864123</c:v>
                </c:pt>
                <c:pt idx="6981">
                  <c:v>497856856</c:v>
                </c:pt>
                <c:pt idx="6982">
                  <c:v>3673580334</c:v>
                </c:pt>
                <c:pt idx="6983">
                  <c:v>211301193</c:v>
                </c:pt>
                <c:pt idx="6984">
                  <c:v>6187498666</c:v>
                </c:pt>
                <c:pt idx="6985">
                  <c:v>1757459430</c:v>
                </c:pt>
                <c:pt idx="6986">
                  <c:v>410783155</c:v>
                </c:pt>
                <c:pt idx="6987">
                  <c:v>475454905</c:v>
                </c:pt>
                <c:pt idx="6988">
                  <c:v>3355925090</c:v>
                </c:pt>
                <c:pt idx="6989">
                  <c:v>3187165567</c:v>
                </c:pt>
                <c:pt idx="6990">
                  <c:v>335239304</c:v>
                </c:pt>
                <c:pt idx="6991">
                  <c:v>3090458786</c:v>
                </c:pt>
                <c:pt idx="6992">
                  <c:v>591692212</c:v>
                </c:pt>
                <c:pt idx="6993">
                  <c:v>178853488</c:v>
                </c:pt>
                <c:pt idx="6994">
                  <c:v>152746995</c:v>
                </c:pt>
                <c:pt idx="6995">
                  <c:v>839327040</c:v>
                </c:pt>
                <c:pt idx="6996">
                  <c:v>380803885</c:v>
                </c:pt>
                <c:pt idx="6997">
                  <c:v>248467680</c:v>
                </c:pt>
                <c:pt idx="6998">
                  <c:v>4010698855</c:v>
                </c:pt>
                <c:pt idx="6999">
                  <c:v>885935052</c:v>
                </c:pt>
                <c:pt idx="7000">
                  <c:v>2691518635</c:v>
                </c:pt>
                <c:pt idx="7001">
                  <c:v>5256601089</c:v>
                </c:pt>
                <c:pt idx="7002">
                  <c:v>1635709074</c:v>
                </c:pt>
                <c:pt idx="7003">
                  <c:v>725015345</c:v>
                </c:pt>
                <c:pt idx="7004">
                  <c:v>536581051</c:v>
                </c:pt>
                <c:pt idx="7005">
                  <c:v>829464054</c:v>
                </c:pt>
                <c:pt idx="7006">
                  <c:v>3372439920</c:v>
                </c:pt>
                <c:pt idx="7007">
                  <c:v>4210881763</c:v>
                </c:pt>
                <c:pt idx="7008">
                  <c:v>191165208</c:v>
                </c:pt>
                <c:pt idx="7009">
                  <c:v>288007412</c:v>
                </c:pt>
                <c:pt idx="7010">
                  <c:v>262118103</c:v>
                </c:pt>
                <c:pt idx="7011">
                  <c:v>2147483647</c:v>
                </c:pt>
                <c:pt idx="7012">
                  <c:v>1309467029</c:v>
                </c:pt>
                <c:pt idx="7013">
                  <c:v>272801600</c:v>
                </c:pt>
                <c:pt idx="7014">
                  <c:v>321724676</c:v>
                </c:pt>
                <c:pt idx="7015">
                  <c:v>510031812</c:v>
                </c:pt>
                <c:pt idx="7016">
                  <c:v>12799574667</c:v>
                </c:pt>
                <c:pt idx="7017">
                  <c:v>450865680</c:v>
                </c:pt>
                <c:pt idx="7018">
                  <c:v>751491034</c:v>
                </c:pt>
                <c:pt idx="7019">
                  <c:v>491750028</c:v>
                </c:pt>
                <c:pt idx="7020">
                  <c:v>1550746470</c:v>
                </c:pt>
                <c:pt idx="7021">
                  <c:v>704189290</c:v>
                </c:pt>
                <c:pt idx="7022">
                  <c:v>107711031</c:v>
                </c:pt>
                <c:pt idx="7023">
                  <c:v>757842492</c:v>
                </c:pt>
                <c:pt idx="7024">
                  <c:v>2066382939</c:v>
                </c:pt>
                <c:pt idx="7025">
                  <c:v>460538195</c:v>
                </c:pt>
                <c:pt idx="7026">
                  <c:v>184019095</c:v>
                </c:pt>
                <c:pt idx="7027">
                  <c:v>1591598890</c:v>
                </c:pt>
                <c:pt idx="7028">
                  <c:v>60419128</c:v>
                </c:pt>
                <c:pt idx="7029">
                  <c:v>279431092</c:v>
                </c:pt>
                <c:pt idx="7030">
                  <c:v>4918975908</c:v>
                </c:pt>
                <c:pt idx="7031">
                  <c:v>6442025066</c:v>
                </c:pt>
                <c:pt idx="7032">
                  <c:v>683219337</c:v>
                </c:pt>
                <c:pt idx="7033">
                  <c:v>2147483647</c:v>
                </c:pt>
                <c:pt idx="7034">
                  <c:v>613058040</c:v>
                </c:pt>
                <c:pt idx="7035">
                  <c:v>277113501</c:v>
                </c:pt>
                <c:pt idx="7036">
                  <c:v>3805348823</c:v>
                </c:pt>
                <c:pt idx="7037">
                  <c:v>1060686078</c:v>
                </c:pt>
                <c:pt idx="7038">
                  <c:v>6403296077</c:v>
                </c:pt>
                <c:pt idx="7039">
                  <c:v>2340122456</c:v>
                </c:pt>
                <c:pt idx="7040">
                  <c:v>1266337988</c:v>
                </c:pt>
                <c:pt idx="7041">
                  <c:v>236931768</c:v>
                </c:pt>
                <c:pt idx="7042">
                  <c:v>1341655749</c:v>
                </c:pt>
                <c:pt idx="7043">
                  <c:v>3433479572</c:v>
                </c:pt>
                <c:pt idx="7044">
                  <c:v>48364858086</c:v>
                </c:pt>
                <c:pt idx="7045">
                  <c:v>155366232</c:v>
                </c:pt>
                <c:pt idx="7046">
                  <c:v>766208520</c:v>
                </c:pt>
                <c:pt idx="7047">
                  <c:v>610304980</c:v>
                </c:pt>
                <c:pt idx="7048">
                  <c:v>1912636375</c:v>
                </c:pt>
                <c:pt idx="7049">
                  <c:v>656815485</c:v>
                </c:pt>
                <c:pt idx="7050">
                  <c:v>743443192</c:v>
                </c:pt>
                <c:pt idx="7051">
                  <c:v>1490382400</c:v>
                </c:pt>
                <c:pt idx="7052">
                  <c:v>1203603680</c:v>
                </c:pt>
                <c:pt idx="7053">
                  <c:v>494503156</c:v>
                </c:pt>
                <c:pt idx="7054">
                  <c:v>478529415</c:v>
                </c:pt>
                <c:pt idx="7055">
                  <c:v>1497876858</c:v>
                </c:pt>
                <c:pt idx="7056">
                  <c:v>419568048</c:v>
                </c:pt>
                <c:pt idx="7057">
                  <c:v>60216171</c:v>
                </c:pt>
                <c:pt idx="7058">
                  <c:v>139990614</c:v>
                </c:pt>
                <c:pt idx="7059">
                  <c:v>1400459597</c:v>
                </c:pt>
                <c:pt idx="7060">
                  <c:v>437061852</c:v>
                </c:pt>
                <c:pt idx="7061">
                  <c:v>212896049</c:v>
                </c:pt>
                <c:pt idx="7062">
                  <c:v>195551560</c:v>
                </c:pt>
                <c:pt idx="7063">
                  <c:v>396957000</c:v>
                </c:pt>
                <c:pt idx="7064">
                  <c:v>314984480</c:v>
                </c:pt>
                <c:pt idx="7065">
                  <c:v>2147483647</c:v>
                </c:pt>
                <c:pt idx="7066">
                  <c:v>16296079934</c:v>
                </c:pt>
                <c:pt idx="7067">
                  <c:v>813032514</c:v>
                </c:pt>
                <c:pt idx="7068">
                  <c:v>690464511</c:v>
                </c:pt>
                <c:pt idx="7069">
                  <c:v>1018156900</c:v>
                </c:pt>
                <c:pt idx="7070">
                  <c:v>809834058</c:v>
                </c:pt>
                <c:pt idx="7071">
                  <c:v>5241641960</c:v>
                </c:pt>
                <c:pt idx="7072">
                  <c:v>706938750</c:v>
                </c:pt>
                <c:pt idx="7073">
                  <c:v>311834448</c:v>
                </c:pt>
                <c:pt idx="7074">
                  <c:v>573640874</c:v>
                </c:pt>
                <c:pt idx="7075">
                  <c:v>2056967568</c:v>
                </c:pt>
                <c:pt idx="7076">
                  <c:v>692440628</c:v>
                </c:pt>
                <c:pt idx="7077">
                  <c:v>1856424328</c:v>
                </c:pt>
                <c:pt idx="7078">
                  <c:v>963707528</c:v>
                </c:pt>
                <c:pt idx="7079">
                  <c:v>2147483647</c:v>
                </c:pt>
                <c:pt idx="7080">
                  <c:v>62705664</c:v>
                </c:pt>
                <c:pt idx="7081">
                  <c:v>3857273119</c:v>
                </c:pt>
                <c:pt idx="7082">
                  <c:v>266173335</c:v>
                </c:pt>
                <c:pt idx="7083">
                  <c:v>173580232</c:v>
                </c:pt>
                <c:pt idx="7084">
                  <c:v>3229155643</c:v>
                </c:pt>
                <c:pt idx="7085">
                  <c:v>701182080</c:v>
                </c:pt>
                <c:pt idx="7086">
                  <c:v>481369500</c:v>
                </c:pt>
                <c:pt idx="7087">
                  <c:v>311454093</c:v>
                </c:pt>
                <c:pt idx="7088">
                  <c:v>25896107</c:v>
                </c:pt>
                <c:pt idx="7089">
                  <c:v>253755474</c:v>
                </c:pt>
                <c:pt idx="7090">
                  <c:v>2553284147</c:v>
                </c:pt>
                <c:pt idx="7091">
                  <c:v>771904641</c:v>
                </c:pt>
                <c:pt idx="7092">
                  <c:v>3075725348</c:v>
                </c:pt>
                <c:pt idx="7093">
                  <c:v>114739331</c:v>
                </c:pt>
                <c:pt idx="7094">
                  <c:v>1534921586</c:v>
                </c:pt>
                <c:pt idx="7095">
                  <c:v>1895877693</c:v>
                </c:pt>
                <c:pt idx="7096">
                  <c:v>883304266</c:v>
                </c:pt>
                <c:pt idx="7097">
                  <c:v>151010732</c:v>
                </c:pt>
                <c:pt idx="7098">
                  <c:v>235694160</c:v>
                </c:pt>
                <c:pt idx="7099">
                  <c:v>372262989</c:v>
                </c:pt>
                <c:pt idx="7100">
                  <c:v>207874436</c:v>
                </c:pt>
                <c:pt idx="7101">
                  <c:v>487727240</c:v>
                </c:pt>
                <c:pt idx="7102">
                  <c:v>414577986</c:v>
                </c:pt>
                <c:pt idx="7103">
                  <c:v>297821942</c:v>
                </c:pt>
                <c:pt idx="7104">
                  <c:v>2838235263</c:v>
                </c:pt>
                <c:pt idx="7105">
                  <c:v>743741960</c:v>
                </c:pt>
                <c:pt idx="7106">
                  <c:v>394751598</c:v>
                </c:pt>
                <c:pt idx="7107">
                  <c:v>160135992</c:v>
                </c:pt>
                <c:pt idx="7108">
                  <c:v>312694548</c:v>
                </c:pt>
                <c:pt idx="7109">
                  <c:v>220166235</c:v>
                </c:pt>
                <c:pt idx="7110">
                  <c:v>1174899552</c:v>
                </c:pt>
                <c:pt idx="7111">
                  <c:v>2147483647</c:v>
                </c:pt>
                <c:pt idx="7112">
                  <c:v>219252165</c:v>
                </c:pt>
                <c:pt idx="7113">
                  <c:v>545520339</c:v>
                </c:pt>
                <c:pt idx="7114">
                  <c:v>435850624</c:v>
                </c:pt>
                <c:pt idx="7115">
                  <c:v>561982996</c:v>
                </c:pt>
                <c:pt idx="7116">
                  <c:v>1052644180</c:v>
                </c:pt>
                <c:pt idx="7117">
                  <c:v>86460108</c:v>
                </c:pt>
                <c:pt idx="7118">
                  <c:v>22080493</c:v>
                </c:pt>
                <c:pt idx="7119">
                  <c:v>671084843</c:v>
                </c:pt>
                <c:pt idx="7120">
                  <c:v>159746664</c:v>
                </c:pt>
                <c:pt idx="7121">
                  <c:v>1016982810</c:v>
                </c:pt>
                <c:pt idx="7122">
                  <c:v>123932392</c:v>
                </c:pt>
                <c:pt idx="7123">
                  <c:v>57120984</c:v>
                </c:pt>
                <c:pt idx="7124">
                  <c:v>42166551</c:v>
                </c:pt>
                <c:pt idx="7125">
                  <c:v>88612808</c:v>
                </c:pt>
                <c:pt idx="7126">
                  <c:v>183427410</c:v>
                </c:pt>
                <c:pt idx="7127">
                  <c:v>177866370</c:v>
                </c:pt>
                <c:pt idx="7128">
                  <c:v>340852590</c:v>
                </c:pt>
                <c:pt idx="7129">
                  <c:v>549960988</c:v>
                </c:pt>
                <c:pt idx="7130">
                  <c:v>524248152</c:v>
                </c:pt>
                <c:pt idx="7131">
                  <c:v>241517316</c:v>
                </c:pt>
                <c:pt idx="7132">
                  <c:v>85619703</c:v>
                </c:pt>
                <c:pt idx="7133">
                  <c:v>248276043</c:v>
                </c:pt>
                <c:pt idx="7134">
                  <c:v>174963063</c:v>
                </c:pt>
                <c:pt idx="7135">
                  <c:v>84568920</c:v>
                </c:pt>
                <c:pt idx="7136">
                  <c:v>154629475</c:v>
                </c:pt>
                <c:pt idx="7137">
                  <c:v>48061700</c:v>
                </c:pt>
                <c:pt idx="7138">
                  <c:v>675487962</c:v>
                </c:pt>
                <c:pt idx="7139">
                  <c:v>506701430</c:v>
                </c:pt>
                <c:pt idx="7140">
                  <c:v>258838824</c:v>
                </c:pt>
                <c:pt idx="7141">
                  <c:v>452571240</c:v>
                </c:pt>
                <c:pt idx="7142">
                  <c:v>983601398</c:v>
                </c:pt>
                <c:pt idx="7143">
                  <c:v>257955912</c:v>
                </c:pt>
                <c:pt idx="7144">
                  <c:v>334677904</c:v>
                </c:pt>
                <c:pt idx="7145">
                  <c:v>235539040</c:v>
                </c:pt>
                <c:pt idx="7146">
                  <c:v>324564000</c:v>
                </c:pt>
                <c:pt idx="7147">
                  <c:v>554460816</c:v>
                </c:pt>
                <c:pt idx="7148">
                  <c:v>75972630</c:v>
                </c:pt>
                <c:pt idx="7149">
                  <c:v>266658000</c:v>
                </c:pt>
                <c:pt idx="7150">
                  <c:v>7371210</c:v>
                </c:pt>
                <c:pt idx="7151">
                  <c:v>375038825</c:v>
                </c:pt>
                <c:pt idx="7152">
                  <c:v>173615832</c:v>
                </c:pt>
                <c:pt idx="7153">
                  <c:v>817360960</c:v>
                </c:pt>
                <c:pt idx="7154">
                  <c:v>89397538</c:v>
                </c:pt>
                <c:pt idx="7155">
                  <c:v>372966080</c:v>
                </c:pt>
                <c:pt idx="7156">
                  <c:v>415364950</c:v>
                </c:pt>
                <c:pt idx="7157">
                  <c:v>625392012</c:v>
                </c:pt>
                <c:pt idx="7158">
                  <c:v>514674083</c:v>
                </c:pt>
                <c:pt idx="7159">
                  <c:v>14454672</c:v>
                </c:pt>
                <c:pt idx="7160">
                  <c:v>766665456</c:v>
                </c:pt>
                <c:pt idx="7161">
                  <c:v>1323976247</c:v>
                </c:pt>
                <c:pt idx="7162">
                  <c:v>127504594</c:v>
                </c:pt>
                <c:pt idx="7163">
                  <c:v>713183460</c:v>
                </c:pt>
                <c:pt idx="7164">
                  <c:v>47227026</c:v>
                </c:pt>
                <c:pt idx="7165">
                  <c:v>41242848</c:v>
                </c:pt>
                <c:pt idx="7166">
                  <c:v>95726048</c:v>
                </c:pt>
                <c:pt idx="7167">
                  <c:v>241354756</c:v>
                </c:pt>
                <c:pt idx="7168">
                  <c:v>298654980</c:v>
                </c:pt>
                <c:pt idx="7169">
                  <c:v>371998580</c:v>
                </c:pt>
                <c:pt idx="7170">
                  <c:v>13974440</c:v>
                </c:pt>
                <c:pt idx="7171">
                  <c:v>1267185115</c:v>
                </c:pt>
                <c:pt idx="7172">
                  <c:v>467450096</c:v>
                </c:pt>
                <c:pt idx="7173">
                  <c:v>185999492</c:v>
                </c:pt>
                <c:pt idx="7174">
                  <c:v>184500072</c:v>
                </c:pt>
                <c:pt idx="7175">
                  <c:v>8168400</c:v>
                </c:pt>
                <c:pt idx="7176">
                  <c:v>40989260</c:v>
                </c:pt>
                <c:pt idx="7177">
                  <c:v>56157084</c:v>
                </c:pt>
                <c:pt idx="7178">
                  <c:v>254049445</c:v>
                </c:pt>
                <c:pt idx="7179">
                  <c:v>18092340</c:v>
                </c:pt>
                <c:pt idx="7180">
                  <c:v>53867276</c:v>
                </c:pt>
                <c:pt idx="7181">
                  <c:v>531919872</c:v>
                </c:pt>
                <c:pt idx="7182">
                  <c:v>505712480</c:v>
                </c:pt>
                <c:pt idx="7183">
                  <c:v>114613345</c:v>
                </c:pt>
                <c:pt idx="7184">
                  <c:v>1921817029</c:v>
                </c:pt>
                <c:pt idx="7185">
                  <c:v>820108746</c:v>
                </c:pt>
                <c:pt idx="7186">
                  <c:v>415049832</c:v>
                </c:pt>
                <c:pt idx="7187">
                  <c:v>352830780</c:v>
                </c:pt>
                <c:pt idx="7188">
                  <c:v>162325647</c:v>
                </c:pt>
                <c:pt idx="7189">
                  <c:v>124509744</c:v>
                </c:pt>
                <c:pt idx="7190">
                  <c:v>107035731</c:v>
                </c:pt>
                <c:pt idx="7191">
                  <c:v>1992704417</c:v>
                </c:pt>
                <c:pt idx="7192">
                  <c:v>329394450</c:v>
                </c:pt>
                <c:pt idx="7193">
                  <c:v>173291391</c:v>
                </c:pt>
                <c:pt idx="7194">
                  <c:v>178080573</c:v>
                </c:pt>
                <c:pt idx="7195">
                  <c:v>3433500338</c:v>
                </c:pt>
                <c:pt idx="7196">
                  <c:v>381607102</c:v>
                </c:pt>
                <c:pt idx="7197">
                  <c:v>187784459</c:v>
                </c:pt>
                <c:pt idx="7198">
                  <c:v>227908512</c:v>
                </c:pt>
                <c:pt idx="7199">
                  <c:v>1114188974</c:v>
                </c:pt>
                <c:pt idx="7200">
                  <c:v>70071144</c:v>
                </c:pt>
                <c:pt idx="7201">
                  <c:v>129814529</c:v>
                </c:pt>
                <c:pt idx="7202">
                  <c:v>171125075</c:v>
                </c:pt>
                <c:pt idx="7203">
                  <c:v>269599175</c:v>
                </c:pt>
                <c:pt idx="7204">
                  <c:v>778314586</c:v>
                </c:pt>
                <c:pt idx="7205">
                  <c:v>68172093</c:v>
                </c:pt>
                <c:pt idx="7206">
                  <c:v>219015960</c:v>
                </c:pt>
                <c:pt idx="7207">
                  <c:v>185837976</c:v>
                </c:pt>
                <c:pt idx="7208">
                  <c:v>105387436</c:v>
                </c:pt>
                <c:pt idx="7209">
                  <c:v>222373368</c:v>
                </c:pt>
                <c:pt idx="7210">
                  <c:v>136571292</c:v>
                </c:pt>
                <c:pt idx="7211">
                  <c:v>89578237</c:v>
                </c:pt>
                <c:pt idx="7212">
                  <c:v>613119360</c:v>
                </c:pt>
                <c:pt idx="7213">
                  <c:v>171161975</c:v>
                </c:pt>
                <c:pt idx="7214">
                  <c:v>304158879</c:v>
                </c:pt>
                <c:pt idx="7215">
                  <c:v>304528875</c:v>
                </c:pt>
                <c:pt idx="7216">
                  <c:v>158716908</c:v>
                </c:pt>
                <c:pt idx="7217">
                  <c:v>380257600</c:v>
                </c:pt>
                <c:pt idx="7218">
                  <c:v>171430371</c:v>
                </c:pt>
                <c:pt idx="7219">
                  <c:v>237605378</c:v>
                </c:pt>
                <c:pt idx="7220">
                  <c:v>77781319</c:v>
                </c:pt>
                <c:pt idx="7221">
                  <c:v>98704260</c:v>
                </c:pt>
                <c:pt idx="7222">
                  <c:v>667182166</c:v>
                </c:pt>
                <c:pt idx="7223">
                  <c:v>48097322</c:v>
                </c:pt>
                <c:pt idx="7224">
                  <c:v>46023904</c:v>
                </c:pt>
                <c:pt idx="7225">
                  <c:v>217738700</c:v>
                </c:pt>
                <c:pt idx="7226">
                  <c:v>1289575238</c:v>
                </c:pt>
                <c:pt idx="7227">
                  <c:v>234189435</c:v>
                </c:pt>
                <c:pt idx="7228">
                  <c:v>247615658</c:v>
                </c:pt>
                <c:pt idx="7229">
                  <c:v>3596666485</c:v>
                </c:pt>
                <c:pt idx="7230">
                  <c:v>557278428</c:v>
                </c:pt>
                <c:pt idx="7231">
                  <c:v>371653816</c:v>
                </c:pt>
                <c:pt idx="7232">
                  <c:v>119454447</c:v>
                </c:pt>
                <c:pt idx="7233">
                  <c:v>562832991</c:v>
                </c:pt>
                <c:pt idx="7234">
                  <c:v>1143480192</c:v>
                </c:pt>
                <c:pt idx="7235">
                  <c:v>399121406</c:v>
                </c:pt>
                <c:pt idx="7236">
                  <c:v>1102828873</c:v>
                </c:pt>
                <c:pt idx="7237">
                  <c:v>411395646</c:v>
                </c:pt>
                <c:pt idx="7238">
                  <c:v>477259660</c:v>
                </c:pt>
                <c:pt idx="7239">
                  <c:v>928409550</c:v>
                </c:pt>
                <c:pt idx="7240">
                  <c:v>907413666</c:v>
                </c:pt>
                <c:pt idx="7241">
                  <c:v>146962432</c:v>
                </c:pt>
                <c:pt idx="7242">
                  <c:v>285604792</c:v>
                </c:pt>
                <c:pt idx="7243">
                  <c:v>178857350</c:v>
                </c:pt>
                <c:pt idx="7244">
                  <c:v>219113667</c:v>
                </c:pt>
              </c:numCache>
            </c:numRef>
          </c:xVal>
          <c:yVal>
            <c:numRef>
              <c:f>cities!$I$2:$I$7253</c:f>
              <c:numCache>
                <c:formatCode>General</c:formatCode>
                <c:ptCount val="7245"/>
                <c:pt idx="0">
                  <c:v>11</c:v>
                </c:pt>
                <c:pt idx="1">
                  <c:v>5</c:v>
                </c:pt>
                <c:pt idx="2">
                  <c:v>4</c:v>
                </c:pt>
                <c:pt idx="3">
                  <c:v>15</c:v>
                </c:pt>
                <c:pt idx="4">
                  <c:v>16</c:v>
                </c:pt>
                <c:pt idx="5">
                  <c:v>103</c:v>
                </c:pt>
                <c:pt idx="6">
                  <c:v>90</c:v>
                </c:pt>
                <c:pt idx="7">
                  <c:v>86</c:v>
                </c:pt>
                <c:pt idx="8">
                  <c:v>17</c:v>
                </c:pt>
                <c:pt idx="9">
                  <c:v>8</c:v>
                </c:pt>
                <c:pt idx="10">
                  <c:v>7</c:v>
                </c:pt>
                <c:pt idx="11">
                  <c:v>17</c:v>
                </c:pt>
                <c:pt idx="12">
                  <c:v>127</c:v>
                </c:pt>
                <c:pt idx="13">
                  <c:v>9</c:v>
                </c:pt>
                <c:pt idx="14">
                  <c:v>80</c:v>
                </c:pt>
                <c:pt idx="15">
                  <c:v>21</c:v>
                </c:pt>
                <c:pt idx="16">
                  <c:v>14</c:v>
                </c:pt>
                <c:pt idx="17">
                  <c:v>4</c:v>
                </c:pt>
                <c:pt idx="18">
                  <c:v>113</c:v>
                </c:pt>
                <c:pt idx="19">
                  <c:v>62</c:v>
                </c:pt>
                <c:pt idx="20">
                  <c:v>12</c:v>
                </c:pt>
                <c:pt idx="21">
                  <c:v>9</c:v>
                </c:pt>
                <c:pt idx="22">
                  <c:v>56</c:v>
                </c:pt>
                <c:pt idx="23">
                  <c:v>50</c:v>
                </c:pt>
                <c:pt idx="24">
                  <c:v>14</c:v>
                </c:pt>
                <c:pt idx="25">
                  <c:v>14</c:v>
                </c:pt>
                <c:pt idx="26">
                  <c:v>14</c:v>
                </c:pt>
                <c:pt idx="27">
                  <c:v>81</c:v>
                </c:pt>
                <c:pt idx="28">
                  <c:v>4</c:v>
                </c:pt>
                <c:pt idx="29">
                  <c:v>3</c:v>
                </c:pt>
                <c:pt idx="30">
                  <c:v>9</c:v>
                </c:pt>
                <c:pt idx="31">
                  <c:v>121</c:v>
                </c:pt>
                <c:pt idx="32">
                  <c:v>82</c:v>
                </c:pt>
                <c:pt idx="33">
                  <c:v>8</c:v>
                </c:pt>
                <c:pt idx="34">
                  <c:v>10</c:v>
                </c:pt>
                <c:pt idx="35">
                  <c:v>55</c:v>
                </c:pt>
                <c:pt idx="36">
                  <c:v>19</c:v>
                </c:pt>
                <c:pt idx="37">
                  <c:v>11</c:v>
                </c:pt>
                <c:pt idx="38">
                  <c:v>42</c:v>
                </c:pt>
                <c:pt idx="39">
                  <c:v>42</c:v>
                </c:pt>
                <c:pt idx="40">
                  <c:v>0</c:v>
                </c:pt>
                <c:pt idx="41">
                  <c:v>3</c:v>
                </c:pt>
                <c:pt idx="42">
                  <c:v>6</c:v>
                </c:pt>
                <c:pt idx="43">
                  <c:v>2</c:v>
                </c:pt>
                <c:pt idx="44">
                  <c:v>1</c:v>
                </c:pt>
                <c:pt idx="45">
                  <c:v>7</c:v>
                </c:pt>
                <c:pt idx="46">
                  <c:v>7</c:v>
                </c:pt>
                <c:pt idx="47">
                  <c:v>3</c:v>
                </c:pt>
                <c:pt idx="48">
                  <c:v>0</c:v>
                </c:pt>
                <c:pt idx="49">
                  <c:v>2</c:v>
                </c:pt>
                <c:pt idx="50">
                  <c:v>40</c:v>
                </c:pt>
                <c:pt idx="51">
                  <c:v>3</c:v>
                </c:pt>
                <c:pt idx="52">
                  <c:v>1</c:v>
                </c:pt>
                <c:pt idx="53">
                  <c:v>1</c:v>
                </c:pt>
                <c:pt idx="54">
                  <c:v>7</c:v>
                </c:pt>
                <c:pt idx="55">
                  <c:v>2</c:v>
                </c:pt>
                <c:pt idx="56">
                  <c:v>2</c:v>
                </c:pt>
                <c:pt idx="57">
                  <c:v>7</c:v>
                </c:pt>
                <c:pt idx="58">
                  <c:v>0</c:v>
                </c:pt>
                <c:pt idx="59">
                  <c:v>1</c:v>
                </c:pt>
                <c:pt idx="60">
                  <c:v>2</c:v>
                </c:pt>
                <c:pt idx="61">
                  <c:v>0</c:v>
                </c:pt>
                <c:pt idx="62">
                  <c:v>5</c:v>
                </c:pt>
                <c:pt idx="63">
                  <c:v>3</c:v>
                </c:pt>
                <c:pt idx="64">
                  <c:v>12</c:v>
                </c:pt>
                <c:pt idx="65">
                  <c:v>0</c:v>
                </c:pt>
                <c:pt idx="66">
                  <c:v>29</c:v>
                </c:pt>
                <c:pt idx="67">
                  <c:v>5</c:v>
                </c:pt>
                <c:pt idx="68">
                  <c:v>7</c:v>
                </c:pt>
                <c:pt idx="69">
                  <c:v>3</c:v>
                </c:pt>
                <c:pt idx="70">
                  <c:v>4</c:v>
                </c:pt>
                <c:pt idx="71">
                  <c:v>5</c:v>
                </c:pt>
                <c:pt idx="72">
                  <c:v>3</c:v>
                </c:pt>
                <c:pt idx="73">
                  <c:v>4</c:v>
                </c:pt>
                <c:pt idx="74">
                  <c:v>1</c:v>
                </c:pt>
                <c:pt idx="75">
                  <c:v>7</c:v>
                </c:pt>
                <c:pt idx="76">
                  <c:v>2</c:v>
                </c:pt>
                <c:pt idx="77">
                  <c:v>1</c:v>
                </c:pt>
                <c:pt idx="78">
                  <c:v>1</c:v>
                </c:pt>
                <c:pt idx="79">
                  <c:v>2</c:v>
                </c:pt>
                <c:pt idx="80">
                  <c:v>1</c:v>
                </c:pt>
                <c:pt idx="81">
                  <c:v>0</c:v>
                </c:pt>
                <c:pt idx="82">
                  <c:v>2</c:v>
                </c:pt>
                <c:pt idx="83">
                  <c:v>12</c:v>
                </c:pt>
                <c:pt idx="84">
                  <c:v>7</c:v>
                </c:pt>
                <c:pt idx="85">
                  <c:v>2</c:v>
                </c:pt>
                <c:pt idx="86">
                  <c:v>10</c:v>
                </c:pt>
                <c:pt idx="87">
                  <c:v>9</c:v>
                </c:pt>
                <c:pt idx="88">
                  <c:v>0</c:v>
                </c:pt>
                <c:pt idx="89">
                  <c:v>1</c:v>
                </c:pt>
                <c:pt idx="90">
                  <c:v>3</c:v>
                </c:pt>
                <c:pt idx="91">
                  <c:v>1</c:v>
                </c:pt>
                <c:pt idx="92">
                  <c:v>0</c:v>
                </c:pt>
                <c:pt idx="93">
                  <c:v>2</c:v>
                </c:pt>
                <c:pt idx="94">
                  <c:v>14</c:v>
                </c:pt>
                <c:pt idx="95">
                  <c:v>6</c:v>
                </c:pt>
                <c:pt idx="96">
                  <c:v>5</c:v>
                </c:pt>
                <c:pt idx="97">
                  <c:v>4</c:v>
                </c:pt>
                <c:pt idx="98">
                  <c:v>3</c:v>
                </c:pt>
                <c:pt idx="99">
                  <c:v>1</c:v>
                </c:pt>
                <c:pt idx="100">
                  <c:v>9</c:v>
                </c:pt>
                <c:pt idx="101">
                  <c:v>5</c:v>
                </c:pt>
                <c:pt idx="102">
                  <c:v>1</c:v>
                </c:pt>
                <c:pt idx="103">
                  <c:v>11</c:v>
                </c:pt>
                <c:pt idx="104">
                  <c:v>3</c:v>
                </c:pt>
                <c:pt idx="105">
                  <c:v>3</c:v>
                </c:pt>
                <c:pt idx="106">
                  <c:v>2</c:v>
                </c:pt>
                <c:pt idx="107">
                  <c:v>0</c:v>
                </c:pt>
                <c:pt idx="108">
                  <c:v>9</c:v>
                </c:pt>
                <c:pt idx="109">
                  <c:v>6</c:v>
                </c:pt>
                <c:pt idx="110">
                  <c:v>15</c:v>
                </c:pt>
                <c:pt idx="111">
                  <c:v>10</c:v>
                </c:pt>
                <c:pt idx="112">
                  <c:v>7</c:v>
                </c:pt>
                <c:pt idx="113">
                  <c:v>1</c:v>
                </c:pt>
                <c:pt idx="114">
                  <c:v>34</c:v>
                </c:pt>
                <c:pt idx="115">
                  <c:v>7</c:v>
                </c:pt>
                <c:pt idx="116">
                  <c:v>4</c:v>
                </c:pt>
                <c:pt idx="117">
                  <c:v>1</c:v>
                </c:pt>
                <c:pt idx="118">
                  <c:v>15</c:v>
                </c:pt>
                <c:pt idx="119">
                  <c:v>4</c:v>
                </c:pt>
                <c:pt idx="120">
                  <c:v>1</c:v>
                </c:pt>
                <c:pt idx="121">
                  <c:v>6</c:v>
                </c:pt>
                <c:pt idx="122">
                  <c:v>0</c:v>
                </c:pt>
                <c:pt idx="123">
                  <c:v>5</c:v>
                </c:pt>
                <c:pt idx="124">
                  <c:v>13</c:v>
                </c:pt>
                <c:pt idx="125">
                  <c:v>0</c:v>
                </c:pt>
                <c:pt idx="126">
                  <c:v>1</c:v>
                </c:pt>
                <c:pt idx="127">
                  <c:v>15</c:v>
                </c:pt>
                <c:pt idx="128">
                  <c:v>1</c:v>
                </c:pt>
                <c:pt idx="129">
                  <c:v>4</c:v>
                </c:pt>
                <c:pt idx="130">
                  <c:v>18</c:v>
                </c:pt>
                <c:pt idx="131">
                  <c:v>1</c:v>
                </c:pt>
                <c:pt idx="132">
                  <c:v>6</c:v>
                </c:pt>
                <c:pt idx="133">
                  <c:v>0</c:v>
                </c:pt>
                <c:pt idx="134">
                  <c:v>12</c:v>
                </c:pt>
                <c:pt idx="135">
                  <c:v>5</c:v>
                </c:pt>
                <c:pt idx="136">
                  <c:v>6</c:v>
                </c:pt>
                <c:pt idx="137">
                  <c:v>5</c:v>
                </c:pt>
                <c:pt idx="138">
                  <c:v>6</c:v>
                </c:pt>
                <c:pt idx="139">
                  <c:v>9</c:v>
                </c:pt>
                <c:pt idx="140">
                  <c:v>5</c:v>
                </c:pt>
                <c:pt idx="141">
                  <c:v>2</c:v>
                </c:pt>
                <c:pt idx="142">
                  <c:v>3</c:v>
                </c:pt>
                <c:pt idx="143">
                  <c:v>3</c:v>
                </c:pt>
                <c:pt idx="144">
                  <c:v>1</c:v>
                </c:pt>
                <c:pt idx="145">
                  <c:v>3</c:v>
                </c:pt>
                <c:pt idx="146">
                  <c:v>11</c:v>
                </c:pt>
                <c:pt idx="147">
                  <c:v>3</c:v>
                </c:pt>
                <c:pt idx="148">
                  <c:v>14</c:v>
                </c:pt>
                <c:pt idx="149">
                  <c:v>0</c:v>
                </c:pt>
                <c:pt idx="150">
                  <c:v>10</c:v>
                </c:pt>
                <c:pt idx="151">
                  <c:v>6</c:v>
                </c:pt>
                <c:pt idx="152">
                  <c:v>1</c:v>
                </c:pt>
                <c:pt idx="153">
                  <c:v>7</c:v>
                </c:pt>
                <c:pt idx="154">
                  <c:v>5</c:v>
                </c:pt>
                <c:pt idx="155">
                  <c:v>5</c:v>
                </c:pt>
                <c:pt idx="156">
                  <c:v>1</c:v>
                </c:pt>
                <c:pt idx="157">
                  <c:v>9</c:v>
                </c:pt>
                <c:pt idx="158">
                  <c:v>5</c:v>
                </c:pt>
                <c:pt idx="159">
                  <c:v>6</c:v>
                </c:pt>
                <c:pt idx="160">
                  <c:v>1</c:v>
                </c:pt>
                <c:pt idx="161">
                  <c:v>9</c:v>
                </c:pt>
                <c:pt idx="162">
                  <c:v>4</c:v>
                </c:pt>
                <c:pt idx="163">
                  <c:v>8</c:v>
                </c:pt>
                <c:pt idx="164">
                  <c:v>14</c:v>
                </c:pt>
                <c:pt idx="165">
                  <c:v>2</c:v>
                </c:pt>
                <c:pt idx="166">
                  <c:v>1</c:v>
                </c:pt>
                <c:pt idx="167">
                  <c:v>0</c:v>
                </c:pt>
                <c:pt idx="168">
                  <c:v>10</c:v>
                </c:pt>
                <c:pt idx="169">
                  <c:v>8</c:v>
                </c:pt>
                <c:pt idx="170">
                  <c:v>2</c:v>
                </c:pt>
                <c:pt idx="171">
                  <c:v>1</c:v>
                </c:pt>
                <c:pt idx="172">
                  <c:v>1</c:v>
                </c:pt>
                <c:pt idx="173">
                  <c:v>5</c:v>
                </c:pt>
                <c:pt idx="174">
                  <c:v>1</c:v>
                </c:pt>
                <c:pt idx="175">
                  <c:v>0</c:v>
                </c:pt>
                <c:pt idx="176">
                  <c:v>2</c:v>
                </c:pt>
                <c:pt idx="177">
                  <c:v>20</c:v>
                </c:pt>
                <c:pt idx="178">
                  <c:v>48</c:v>
                </c:pt>
                <c:pt idx="179">
                  <c:v>18</c:v>
                </c:pt>
                <c:pt idx="180">
                  <c:v>2</c:v>
                </c:pt>
                <c:pt idx="181">
                  <c:v>17</c:v>
                </c:pt>
                <c:pt idx="182">
                  <c:v>4</c:v>
                </c:pt>
                <c:pt idx="183">
                  <c:v>1</c:v>
                </c:pt>
                <c:pt idx="184">
                  <c:v>7</c:v>
                </c:pt>
                <c:pt idx="185">
                  <c:v>17</c:v>
                </c:pt>
                <c:pt idx="186">
                  <c:v>4</c:v>
                </c:pt>
                <c:pt idx="187">
                  <c:v>1</c:v>
                </c:pt>
                <c:pt idx="188">
                  <c:v>4</c:v>
                </c:pt>
                <c:pt idx="189">
                  <c:v>0</c:v>
                </c:pt>
                <c:pt idx="190">
                  <c:v>3</c:v>
                </c:pt>
                <c:pt idx="191">
                  <c:v>1</c:v>
                </c:pt>
                <c:pt idx="192">
                  <c:v>1</c:v>
                </c:pt>
                <c:pt idx="193">
                  <c:v>1</c:v>
                </c:pt>
                <c:pt idx="194">
                  <c:v>1</c:v>
                </c:pt>
                <c:pt idx="195">
                  <c:v>3</c:v>
                </c:pt>
                <c:pt idx="196">
                  <c:v>1</c:v>
                </c:pt>
                <c:pt idx="197">
                  <c:v>8</c:v>
                </c:pt>
                <c:pt idx="198">
                  <c:v>2</c:v>
                </c:pt>
                <c:pt idx="199">
                  <c:v>1</c:v>
                </c:pt>
                <c:pt idx="200">
                  <c:v>6</c:v>
                </c:pt>
                <c:pt idx="201">
                  <c:v>12</c:v>
                </c:pt>
                <c:pt idx="202">
                  <c:v>5</c:v>
                </c:pt>
                <c:pt idx="203">
                  <c:v>5</c:v>
                </c:pt>
                <c:pt idx="204">
                  <c:v>3</c:v>
                </c:pt>
                <c:pt idx="205">
                  <c:v>3</c:v>
                </c:pt>
                <c:pt idx="206">
                  <c:v>7</c:v>
                </c:pt>
                <c:pt idx="207">
                  <c:v>2</c:v>
                </c:pt>
                <c:pt idx="208">
                  <c:v>0</c:v>
                </c:pt>
                <c:pt idx="209">
                  <c:v>3</c:v>
                </c:pt>
                <c:pt idx="210">
                  <c:v>26</c:v>
                </c:pt>
                <c:pt idx="211">
                  <c:v>2</c:v>
                </c:pt>
                <c:pt idx="212">
                  <c:v>1</c:v>
                </c:pt>
                <c:pt idx="213">
                  <c:v>1</c:v>
                </c:pt>
                <c:pt idx="214">
                  <c:v>6</c:v>
                </c:pt>
                <c:pt idx="215">
                  <c:v>10</c:v>
                </c:pt>
                <c:pt idx="216">
                  <c:v>48</c:v>
                </c:pt>
                <c:pt idx="217">
                  <c:v>2</c:v>
                </c:pt>
                <c:pt idx="218">
                  <c:v>1</c:v>
                </c:pt>
                <c:pt idx="219">
                  <c:v>1</c:v>
                </c:pt>
                <c:pt idx="220">
                  <c:v>1</c:v>
                </c:pt>
                <c:pt idx="221">
                  <c:v>1</c:v>
                </c:pt>
                <c:pt idx="222">
                  <c:v>1</c:v>
                </c:pt>
                <c:pt idx="223">
                  <c:v>7</c:v>
                </c:pt>
                <c:pt idx="224">
                  <c:v>4</c:v>
                </c:pt>
                <c:pt idx="225">
                  <c:v>5</c:v>
                </c:pt>
                <c:pt idx="226">
                  <c:v>7</c:v>
                </c:pt>
                <c:pt idx="227">
                  <c:v>13</c:v>
                </c:pt>
                <c:pt idx="228">
                  <c:v>4</c:v>
                </c:pt>
                <c:pt idx="229">
                  <c:v>2</c:v>
                </c:pt>
                <c:pt idx="230">
                  <c:v>6</c:v>
                </c:pt>
                <c:pt idx="231">
                  <c:v>3</c:v>
                </c:pt>
                <c:pt idx="232">
                  <c:v>2</c:v>
                </c:pt>
                <c:pt idx="233">
                  <c:v>1</c:v>
                </c:pt>
                <c:pt idx="234">
                  <c:v>4</c:v>
                </c:pt>
                <c:pt idx="235">
                  <c:v>4</c:v>
                </c:pt>
                <c:pt idx="236">
                  <c:v>3</c:v>
                </c:pt>
                <c:pt idx="237">
                  <c:v>0</c:v>
                </c:pt>
                <c:pt idx="238">
                  <c:v>7</c:v>
                </c:pt>
                <c:pt idx="239">
                  <c:v>6</c:v>
                </c:pt>
                <c:pt idx="240">
                  <c:v>1</c:v>
                </c:pt>
                <c:pt idx="241">
                  <c:v>1</c:v>
                </c:pt>
                <c:pt idx="242">
                  <c:v>2</c:v>
                </c:pt>
                <c:pt idx="243">
                  <c:v>12</c:v>
                </c:pt>
                <c:pt idx="244">
                  <c:v>0</c:v>
                </c:pt>
                <c:pt idx="245">
                  <c:v>3</c:v>
                </c:pt>
                <c:pt idx="246">
                  <c:v>1</c:v>
                </c:pt>
                <c:pt idx="247">
                  <c:v>3</c:v>
                </c:pt>
                <c:pt idx="248">
                  <c:v>2</c:v>
                </c:pt>
                <c:pt idx="249">
                  <c:v>0</c:v>
                </c:pt>
                <c:pt idx="250">
                  <c:v>2</c:v>
                </c:pt>
                <c:pt idx="251">
                  <c:v>4</c:v>
                </c:pt>
                <c:pt idx="252">
                  <c:v>4</c:v>
                </c:pt>
                <c:pt idx="253">
                  <c:v>2</c:v>
                </c:pt>
                <c:pt idx="254">
                  <c:v>0</c:v>
                </c:pt>
                <c:pt idx="255">
                  <c:v>7</c:v>
                </c:pt>
                <c:pt idx="256">
                  <c:v>1</c:v>
                </c:pt>
                <c:pt idx="257">
                  <c:v>4</c:v>
                </c:pt>
                <c:pt idx="258">
                  <c:v>1</c:v>
                </c:pt>
                <c:pt idx="259">
                  <c:v>3</c:v>
                </c:pt>
                <c:pt idx="260">
                  <c:v>3</c:v>
                </c:pt>
                <c:pt idx="261">
                  <c:v>0</c:v>
                </c:pt>
                <c:pt idx="262">
                  <c:v>42</c:v>
                </c:pt>
                <c:pt idx="263">
                  <c:v>4</c:v>
                </c:pt>
                <c:pt idx="264">
                  <c:v>6</c:v>
                </c:pt>
                <c:pt idx="265">
                  <c:v>5</c:v>
                </c:pt>
                <c:pt idx="266">
                  <c:v>4</c:v>
                </c:pt>
                <c:pt idx="267">
                  <c:v>1</c:v>
                </c:pt>
                <c:pt idx="268">
                  <c:v>0</c:v>
                </c:pt>
                <c:pt idx="269">
                  <c:v>2</c:v>
                </c:pt>
                <c:pt idx="270">
                  <c:v>8</c:v>
                </c:pt>
                <c:pt idx="271">
                  <c:v>3</c:v>
                </c:pt>
                <c:pt idx="272">
                  <c:v>7</c:v>
                </c:pt>
                <c:pt idx="273">
                  <c:v>5</c:v>
                </c:pt>
                <c:pt idx="274">
                  <c:v>5</c:v>
                </c:pt>
                <c:pt idx="275">
                  <c:v>5</c:v>
                </c:pt>
                <c:pt idx="276">
                  <c:v>1</c:v>
                </c:pt>
                <c:pt idx="277">
                  <c:v>1</c:v>
                </c:pt>
                <c:pt idx="278">
                  <c:v>0</c:v>
                </c:pt>
                <c:pt idx="279">
                  <c:v>1</c:v>
                </c:pt>
                <c:pt idx="280">
                  <c:v>0</c:v>
                </c:pt>
                <c:pt idx="281">
                  <c:v>6</c:v>
                </c:pt>
                <c:pt idx="282">
                  <c:v>6</c:v>
                </c:pt>
                <c:pt idx="283">
                  <c:v>3</c:v>
                </c:pt>
                <c:pt idx="284">
                  <c:v>10</c:v>
                </c:pt>
                <c:pt idx="285">
                  <c:v>6</c:v>
                </c:pt>
                <c:pt idx="286">
                  <c:v>3</c:v>
                </c:pt>
                <c:pt idx="287">
                  <c:v>6</c:v>
                </c:pt>
                <c:pt idx="288">
                  <c:v>26</c:v>
                </c:pt>
                <c:pt idx="289">
                  <c:v>0</c:v>
                </c:pt>
                <c:pt idx="290">
                  <c:v>10</c:v>
                </c:pt>
                <c:pt idx="291">
                  <c:v>4</c:v>
                </c:pt>
                <c:pt idx="292">
                  <c:v>3</c:v>
                </c:pt>
                <c:pt idx="293">
                  <c:v>2</c:v>
                </c:pt>
                <c:pt idx="294">
                  <c:v>6</c:v>
                </c:pt>
                <c:pt idx="295">
                  <c:v>2</c:v>
                </c:pt>
                <c:pt idx="296">
                  <c:v>10</c:v>
                </c:pt>
                <c:pt idx="297">
                  <c:v>7</c:v>
                </c:pt>
                <c:pt idx="298">
                  <c:v>1</c:v>
                </c:pt>
                <c:pt idx="299">
                  <c:v>4</c:v>
                </c:pt>
                <c:pt idx="300">
                  <c:v>10</c:v>
                </c:pt>
                <c:pt idx="301">
                  <c:v>3</c:v>
                </c:pt>
                <c:pt idx="302">
                  <c:v>5</c:v>
                </c:pt>
                <c:pt idx="303">
                  <c:v>0</c:v>
                </c:pt>
                <c:pt idx="304">
                  <c:v>5</c:v>
                </c:pt>
                <c:pt idx="305">
                  <c:v>5</c:v>
                </c:pt>
                <c:pt idx="306">
                  <c:v>3</c:v>
                </c:pt>
                <c:pt idx="307">
                  <c:v>10</c:v>
                </c:pt>
                <c:pt idx="308">
                  <c:v>2</c:v>
                </c:pt>
                <c:pt idx="309">
                  <c:v>3</c:v>
                </c:pt>
                <c:pt idx="310">
                  <c:v>2</c:v>
                </c:pt>
                <c:pt idx="311">
                  <c:v>5</c:v>
                </c:pt>
                <c:pt idx="312">
                  <c:v>10</c:v>
                </c:pt>
                <c:pt idx="313">
                  <c:v>15</c:v>
                </c:pt>
                <c:pt idx="314">
                  <c:v>7</c:v>
                </c:pt>
                <c:pt idx="315">
                  <c:v>8</c:v>
                </c:pt>
                <c:pt idx="316">
                  <c:v>1</c:v>
                </c:pt>
                <c:pt idx="317">
                  <c:v>2</c:v>
                </c:pt>
                <c:pt idx="318">
                  <c:v>1</c:v>
                </c:pt>
                <c:pt idx="319">
                  <c:v>13</c:v>
                </c:pt>
                <c:pt idx="320">
                  <c:v>2</c:v>
                </c:pt>
                <c:pt idx="321">
                  <c:v>6</c:v>
                </c:pt>
                <c:pt idx="322">
                  <c:v>15</c:v>
                </c:pt>
                <c:pt idx="323">
                  <c:v>17</c:v>
                </c:pt>
                <c:pt idx="324">
                  <c:v>4</c:v>
                </c:pt>
                <c:pt idx="325">
                  <c:v>3</c:v>
                </c:pt>
                <c:pt idx="326">
                  <c:v>1</c:v>
                </c:pt>
                <c:pt idx="327">
                  <c:v>3</c:v>
                </c:pt>
                <c:pt idx="328">
                  <c:v>17</c:v>
                </c:pt>
                <c:pt idx="329">
                  <c:v>1</c:v>
                </c:pt>
                <c:pt idx="330">
                  <c:v>3</c:v>
                </c:pt>
                <c:pt idx="331">
                  <c:v>1</c:v>
                </c:pt>
                <c:pt idx="332">
                  <c:v>12</c:v>
                </c:pt>
                <c:pt idx="333">
                  <c:v>4</c:v>
                </c:pt>
                <c:pt idx="334">
                  <c:v>11</c:v>
                </c:pt>
                <c:pt idx="335">
                  <c:v>4</c:v>
                </c:pt>
                <c:pt idx="336">
                  <c:v>5</c:v>
                </c:pt>
                <c:pt idx="337">
                  <c:v>2</c:v>
                </c:pt>
                <c:pt idx="338">
                  <c:v>1</c:v>
                </c:pt>
                <c:pt idx="339">
                  <c:v>4</c:v>
                </c:pt>
                <c:pt idx="340">
                  <c:v>1</c:v>
                </c:pt>
                <c:pt idx="341">
                  <c:v>26</c:v>
                </c:pt>
                <c:pt idx="342">
                  <c:v>7</c:v>
                </c:pt>
                <c:pt idx="343">
                  <c:v>2</c:v>
                </c:pt>
                <c:pt idx="344">
                  <c:v>2</c:v>
                </c:pt>
                <c:pt idx="345">
                  <c:v>1</c:v>
                </c:pt>
                <c:pt idx="346">
                  <c:v>6</c:v>
                </c:pt>
                <c:pt idx="347">
                  <c:v>15</c:v>
                </c:pt>
                <c:pt idx="348">
                  <c:v>0</c:v>
                </c:pt>
                <c:pt idx="349">
                  <c:v>4</c:v>
                </c:pt>
                <c:pt idx="350">
                  <c:v>1</c:v>
                </c:pt>
                <c:pt idx="351">
                  <c:v>4</c:v>
                </c:pt>
                <c:pt idx="352">
                  <c:v>5</c:v>
                </c:pt>
                <c:pt idx="353">
                  <c:v>4</c:v>
                </c:pt>
                <c:pt idx="354">
                  <c:v>3</c:v>
                </c:pt>
                <c:pt idx="355">
                  <c:v>8</c:v>
                </c:pt>
                <c:pt idx="356">
                  <c:v>8</c:v>
                </c:pt>
                <c:pt idx="357">
                  <c:v>3</c:v>
                </c:pt>
                <c:pt idx="358">
                  <c:v>5</c:v>
                </c:pt>
                <c:pt idx="359">
                  <c:v>8</c:v>
                </c:pt>
                <c:pt idx="360">
                  <c:v>2</c:v>
                </c:pt>
                <c:pt idx="361">
                  <c:v>12</c:v>
                </c:pt>
                <c:pt idx="362">
                  <c:v>13</c:v>
                </c:pt>
                <c:pt idx="363">
                  <c:v>4</c:v>
                </c:pt>
                <c:pt idx="364">
                  <c:v>5</c:v>
                </c:pt>
                <c:pt idx="365">
                  <c:v>5</c:v>
                </c:pt>
                <c:pt idx="366">
                  <c:v>3</c:v>
                </c:pt>
                <c:pt idx="367">
                  <c:v>10</c:v>
                </c:pt>
                <c:pt idx="368">
                  <c:v>13</c:v>
                </c:pt>
                <c:pt idx="369">
                  <c:v>6</c:v>
                </c:pt>
                <c:pt idx="370">
                  <c:v>8</c:v>
                </c:pt>
                <c:pt idx="371">
                  <c:v>1</c:v>
                </c:pt>
                <c:pt idx="372">
                  <c:v>1</c:v>
                </c:pt>
                <c:pt idx="373">
                  <c:v>3</c:v>
                </c:pt>
                <c:pt idx="374">
                  <c:v>4</c:v>
                </c:pt>
                <c:pt idx="375">
                  <c:v>6</c:v>
                </c:pt>
                <c:pt idx="376">
                  <c:v>2</c:v>
                </c:pt>
                <c:pt idx="377">
                  <c:v>1</c:v>
                </c:pt>
                <c:pt idx="378">
                  <c:v>0</c:v>
                </c:pt>
                <c:pt idx="379">
                  <c:v>2</c:v>
                </c:pt>
                <c:pt idx="380">
                  <c:v>3</c:v>
                </c:pt>
                <c:pt idx="381">
                  <c:v>21</c:v>
                </c:pt>
                <c:pt idx="382">
                  <c:v>9</c:v>
                </c:pt>
                <c:pt idx="383">
                  <c:v>1</c:v>
                </c:pt>
                <c:pt idx="384">
                  <c:v>7</c:v>
                </c:pt>
                <c:pt idx="385">
                  <c:v>5</c:v>
                </c:pt>
                <c:pt idx="386">
                  <c:v>29</c:v>
                </c:pt>
                <c:pt idx="387">
                  <c:v>3</c:v>
                </c:pt>
                <c:pt idx="388">
                  <c:v>36</c:v>
                </c:pt>
                <c:pt idx="389">
                  <c:v>1</c:v>
                </c:pt>
                <c:pt idx="390">
                  <c:v>9</c:v>
                </c:pt>
                <c:pt idx="391">
                  <c:v>5</c:v>
                </c:pt>
                <c:pt idx="392">
                  <c:v>3</c:v>
                </c:pt>
                <c:pt idx="393">
                  <c:v>3</c:v>
                </c:pt>
                <c:pt idx="394">
                  <c:v>150</c:v>
                </c:pt>
                <c:pt idx="395">
                  <c:v>9</c:v>
                </c:pt>
                <c:pt idx="396">
                  <c:v>1</c:v>
                </c:pt>
                <c:pt idx="397">
                  <c:v>2</c:v>
                </c:pt>
                <c:pt idx="398">
                  <c:v>3</c:v>
                </c:pt>
                <c:pt idx="399">
                  <c:v>4</c:v>
                </c:pt>
                <c:pt idx="400">
                  <c:v>5</c:v>
                </c:pt>
                <c:pt idx="401">
                  <c:v>2</c:v>
                </c:pt>
                <c:pt idx="402">
                  <c:v>16</c:v>
                </c:pt>
                <c:pt idx="403">
                  <c:v>13</c:v>
                </c:pt>
                <c:pt idx="404">
                  <c:v>17</c:v>
                </c:pt>
                <c:pt idx="405">
                  <c:v>3</c:v>
                </c:pt>
                <c:pt idx="406">
                  <c:v>4</c:v>
                </c:pt>
                <c:pt idx="407">
                  <c:v>8</c:v>
                </c:pt>
                <c:pt idx="408">
                  <c:v>12</c:v>
                </c:pt>
                <c:pt idx="409">
                  <c:v>3</c:v>
                </c:pt>
                <c:pt idx="410">
                  <c:v>21</c:v>
                </c:pt>
                <c:pt idx="411">
                  <c:v>14</c:v>
                </c:pt>
                <c:pt idx="412">
                  <c:v>20</c:v>
                </c:pt>
                <c:pt idx="413">
                  <c:v>10</c:v>
                </c:pt>
                <c:pt idx="414">
                  <c:v>1</c:v>
                </c:pt>
                <c:pt idx="415">
                  <c:v>4</c:v>
                </c:pt>
                <c:pt idx="416">
                  <c:v>12</c:v>
                </c:pt>
                <c:pt idx="417">
                  <c:v>2</c:v>
                </c:pt>
                <c:pt idx="418">
                  <c:v>32</c:v>
                </c:pt>
                <c:pt idx="419">
                  <c:v>6</c:v>
                </c:pt>
                <c:pt idx="420">
                  <c:v>3</c:v>
                </c:pt>
                <c:pt idx="421">
                  <c:v>4</c:v>
                </c:pt>
                <c:pt idx="422">
                  <c:v>4</c:v>
                </c:pt>
                <c:pt idx="423">
                  <c:v>6</c:v>
                </c:pt>
                <c:pt idx="424">
                  <c:v>2</c:v>
                </c:pt>
                <c:pt idx="425">
                  <c:v>2</c:v>
                </c:pt>
                <c:pt idx="426">
                  <c:v>0</c:v>
                </c:pt>
                <c:pt idx="427">
                  <c:v>13</c:v>
                </c:pt>
                <c:pt idx="428">
                  <c:v>4</c:v>
                </c:pt>
                <c:pt idx="429">
                  <c:v>1</c:v>
                </c:pt>
                <c:pt idx="430">
                  <c:v>1</c:v>
                </c:pt>
                <c:pt idx="431">
                  <c:v>11</c:v>
                </c:pt>
                <c:pt idx="432">
                  <c:v>1</c:v>
                </c:pt>
                <c:pt idx="433">
                  <c:v>2</c:v>
                </c:pt>
                <c:pt idx="434">
                  <c:v>2</c:v>
                </c:pt>
                <c:pt idx="435">
                  <c:v>2</c:v>
                </c:pt>
                <c:pt idx="436">
                  <c:v>2</c:v>
                </c:pt>
                <c:pt idx="437">
                  <c:v>2</c:v>
                </c:pt>
                <c:pt idx="438">
                  <c:v>3</c:v>
                </c:pt>
                <c:pt idx="439">
                  <c:v>3</c:v>
                </c:pt>
                <c:pt idx="440">
                  <c:v>4</c:v>
                </c:pt>
                <c:pt idx="441">
                  <c:v>4</c:v>
                </c:pt>
                <c:pt idx="442">
                  <c:v>6</c:v>
                </c:pt>
                <c:pt idx="443">
                  <c:v>8</c:v>
                </c:pt>
                <c:pt idx="444">
                  <c:v>6</c:v>
                </c:pt>
                <c:pt idx="445">
                  <c:v>1</c:v>
                </c:pt>
                <c:pt idx="446">
                  <c:v>3</c:v>
                </c:pt>
                <c:pt idx="447">
                  <c:v>19</c:v>
                </c:pt>
                <c:pt idx="448">
                  <c:v>1</c:v>
                </c:pt>
                <c:pt idx="449">
                  <c:v>3</c:v>
                </c:pt>
                <c:pt idx="450">
                  <c:v>2</c:v>
                </c:pt>
                <c:pt idx="451">
                  <c:v>1</c:v>
                </c:pt>
                <c:pt idx="452">
                  <c:v>1</c:v>
                </c:pt>
                <c:pt idx="453">
                  <c:v>14</c:v>
                </c:pt>
                <c:pt idx="454">
                  <c:v>2</c:v>
                </c:pt>
                <c:pt idx="455">
                  <c:v>3</c:v>
                </c:pt>
                <c:pt idx="456">
                  <c:v>2</c:v>
                </c:pt>
                <c:pt idx="457">
                  <c:v>3</c:v>
                </c:pt>
                <c:pt idx="458">
                  <c:v>2</c:v>
                </c:pt>
                <c:pt idx="459">
                  <c:v>13</c:v>
                </c:pt>
                <c:pt idx="460">
                  <c:v>2</c:v>
                </c:pt>
                <c:pt idx="461">
                  <c:v>3</c:v>
                </c:pt>
                <c:pt idx="462">
                  <c:v>1</c:v>
                </c:pt>
                <c:pt idx="463">
                  <c:v>13</c:v>
                </c:pt>
                <c:pt idx="464">
                  <c:v>2</c:v>
                </c:pt>
                <c:pt idx="465">
                  <c:v>31</c:v>
                </c:pt>
                <c:pt idx="466">
                  <c:v>6</c:v>
                </c:pt>
                <c:pt idx="467">
                  <c:v>9</c:v>
                </c:pt>
                <c:pt idx="468">
                  <c:v>6</c:v>
                </c:pt>
                <c:pt idx="469">
                  <c:v>4</c:v>
                </c:pt>
                <c:pt idx="470">
                  <c:v>13</c:v>
                </c:pt>
                <c:pt idx="471">
                  <c:v>11</c:v>
                </c:pt>
                <c:pt idx="472">
                  <c:v>2</c:v>
                </c:pt>
                <c:pt idx="473">
                  <c:v>3</c:v>
                </c:pt>
                <c:pt idx="474">
                  <c:v>6</c:v>
                </c:pt>
                <c:pt idx="475">
                  <c:v>6</c:v>
                </c:pt>
                <c:pt idx="476">
                  <c:v>0</c:v>
                </c:pt>
                <c:pt idx="477">
                  <c:v>14</c:v>
                </c:pt>
                <c:pt idx="478">
                  <c:v>14</c:v>
                </c:pt>
                <c:pt idx="479">
                  <c:v>7</c:v>
                </c:pt>
                <c:pt idx="480">
                  <c:v>2</c:v>
                </c:pt>
                <c:pt idx="481">
                  <c:v>1</c:v>
                </c:pt>
                <c:pt idx="482">
                  <c:v>2</c:v>
                </c:pt>
                <c:pt idx="483">
                  <c:v>11</c:v>
                </c:pt>
                <c:pt idx="484">
                  <c:v>3</c:v>
                </c:pt>
                <c:pt idx="485">
                  <c:v>18</c:v>
                </c:pt>
                <c:pt idx="486">
                  <c:v>0</c:v>
                </c:pt>
                <c:pt idx="487">
                  <c:v>14</c:v>
                </c:pt>
                <c:pt idx="488">
                  <c:v>12</c:v>
                </c:pt>
                <c:pt idx="489">
                  <c:v>5</c:v>
                </c:pt>
                <c:pt idx="490">
                  <c:v>11</c:v>
                </c:pt>
                <c:pt idx="491">
                  <c:v>1</c:v>
                </c:pt>
                <c:pt idx="492">
                  <c:v>5</c:v>
                </c:pt>
                <c:pt idx="493">
                  <c:v>1</c:v>
                </c:pt>
                <c:pt idx="494">
                  <c:v>1</c:v>
                </c:pt>
                <c:pt idx="495">
                  <c:v>7</c:v>
                </c:pt>
                <c:pt idx="496">
                  <c:v>2</c:v>
                </c:pt>
                <c:pt idx="497">
                  <c:v>3</c:v>
                </c:pt>
                <c:pt idx="498">
                  <c:v>4</c:v>
                </c:pt>
                <c:pt idx="499">
                  <c:v>0</c:v>
                </c:pt>
                <c:pt idx="500">
                  <c:v>8</c:v>
                </c:pt>
                <c:pt idx="501">
                  <c:v>11</c:v>
                </c:pt>
                <c:pt idx="502">
                  <c:v>3</c:v>
                </c:pt>
                <c:pt idx="503">
                  <c:v>1</c:v>
                </c:pt>
                <c:pt idx="504">
                  <c:v>1</c:v>
                </c:pt>
                <c:pt idx="505">
                  <c:v>1</c:v>
                </c:pt>
                <c:pt idx="506">
                  <c:v>0</c:v>
                </c:pt>
                <c:pt idx="507">
                  <c:v>5</c:v>
                </c:pt>
                <c:pt idx="508">
                  <c:v>2</c:v>
                </c:pt>
                <c:pt idx="509">
                  <c:v>1</c:v>
                </c:pt>
                <c:pt idx="510">
                  <c:v>6</c:v>
                </c:pt>
                <c:pt idx="511">
                  <c:v>17</c:v>
                </c:pt>
                <c:pt idx="512">
                  <c:v>7</c:v>
                </c:pt>
                <c:pt idx="513">
                  <c:v>2</c:v>
                </c:pt>
                <c:pt idx="514">
                  <c:v>1</c:v>
                </c:pt>
                <c:pt idx="515">
                  <c:v>4</c:v>
                </c:pt>
                <c:pt idx="516">
                  <c:v>2</c:v>
                </c:pt>
                <c:pt idx="517">
                  <c:v>1</c:v>
                </c:pt>
                <c:pt idx="518">
                  <c:v>2</c:v>
                </c:pt>
                <c:pt idx="519">
                  <c:v>15</c:v>
                </c:pt>
                <c:pt idx="520">
                  <c:v>1</c:v>
                </c:pt>
                <c:pt idx="521">
                  <c:v>35</c:v>
                </c:pt>
                <c:pt idx="522">
                  <c:v>4</c:v>
                </c:pt>
                <c:pt idx="523">
                  <c:v>2</c:v>
                </c:pt>
                <c:pt idx="524">
                  <c:v>4</c:v>
                </c:pt>
                <c:pt idx="525">
                  <c:v>1</c:v>
                </c:pt>
                <c:pt idx="526">
                  <c:v>13</c:v>
                </c:pt>
                <c:pt idx="527">
                  <c:v>19</c:v>
                </c:pt>
                <c:pt idx="528">
                  <c:v>0</c:v>
                </c:pt>
                <c:pt idx="529">
                  <c:v>0</c:v>
                </c:pt>
                <c:pt idx="530">
                  <c:v>2</c:v>
                </c:pt>
                <c:pt idx="531">
                  <c:v>1</c:v>
                </c:pt>
                <c:pt idx="532">
                  <c:v>10</c:v>
                </c:pt>
                <c:pt idx="533">
                  <c:v>1</c:v>
                </c:pt>
                <c:pt idx="534">
                  <c:v>2</c:v>
                </c:pt>
                <c:pt idx="535">
                  <c:v>0</c:v>
                </c:pt>
                <c:pt idx="536">
                  <c:v>58</c:v>
                </c:pt>
                <c:pt idx="537">
                  <c:v>7</c:v>
                </c:pt>
                <c:pt idx="538">
                  <c:v>3</c:v>
                </c:pt>
                <c:pt idx="539">
                  <c:v>1</c:v>
                </c:pt>
                <c:pt idx="540">
                  <c:v>1</c:v>
                </c:pt>
                <c:pt idx="541">
                  <c:v>0</c:v>
                </c:pt>
                <c:pt idx="542">
                  <c:v>3</c:v>
                </c:pt>
                <c:pt idx="543">
                  <c:v>3</c:v>
                </c:pt>
                <c:pt idx="544">
                  <c:v>2</c:v>
                </c:pt>
                <c:pt idx="545">
                  <c:v>1</c:v>
                </c:pt>
                <c:pt idx="546">
                  <c:v>0</c:v>
                </c:pt>
                <c:pt idx="547">
                  <c:v>5</c:v>
                </c:pt>
                <c:pt idx="548">
                  <c:v>1</c:v>
                </c:pt>
                <c:pt idx="549">
                  <c:v>27</c:v>
                </c:pt>
                <c:pt idx="550">
                  <c:v>2</c:v>
                </c:pt>
                <c:pt idx="551">
                  <c:v>2</c:v>
                </c:pt>
                <c:pt idx="552">
                  <c:v>0</c:v>
                </c:pt>
                <c:pt idx="553">
                  <c:v>4</c:v>
                </c:pt>
                <c:pt idx="554">
                  <c:v>18</c:v>
                </c:pt>
                <c:pt idx="555">
                  <c:v>1</c:v>
                </c:pt>
                <c:pt idx="556">
                  <c:v>1</c:v>
                </c:pt>
                <c:pt idx="557">
                  <c:v>2</c:v>
                </c:pt>
                <c:pt idx="558">
                  <c:v>1</c:v>
                </c:pt>
                <c:pt idx="559">
                  <c:v>4</c:v>
                </c:pt>
                <c:pt idx="560">
                  <c:v>8</c:v>
                </c:pt>
                <c:pt idx="561">
                  <c:v>1</c:v>
                </c:pt>
                <c:pt idx="562">
                  <c:v>12</c:v>
                </c:pt>
                <c:pt idx="563">
                  <c:v>14</c:v>
                </c:pt>
                <c:pt idx="564">
                  <c:v>1</c:v>
                </c:pt>
                <c:pt idx="565">
                  <c:v>0</c:v>
                </c:pt>
                <c:pt idx="566">
                  <c:v>2</c:v>
                </c:pt>
                <c:pt idx="567">
                  <c:v>4</c:v>
                </c:pt>
                <c:pt idx="568">
                  <c:v>0</c:v>
                </c:pt>
                <c:pt idx="569">
                  <c:v>0</c:v>
                </c:pt>
                <c:pt idx="570">
                  <c:v>6</c:v>
                </c:pt>
                <c:pt idx="571">
                  <c:v>0</c:v>
                </c:pt>
                <c:pt idx="572">
                  <c:v>0</c:v>
                </c:pt>
                <c:pt idx="573">
                  <c:v>40</c:v>
                </c:pt>
                <c:pt idx="574">
                  <c:v>7</c:v>
                </c:pt>
                <c:pt idx="575">
                  <c:v>22</c:v>
                </c:pt>
                <c:pt idx="576">
                  <c:v>7</c:v>
                </c:pt>
                <c:pt idx="577">
                  <c:v>4</c:v>
                </c:pt>
                <c:pt idx="578">
                  <c:v>0</c:v>
                </c:pt>
                <c:pt idx="579">
                  <c:v>6</c:v>
                </c:pt>
                <c:pt idx="580">
                  <c:v>5</c:v>
                </c:pt>
                <c:pt idx="581">
                  <c:v>0</c:v>
                </c:pt>
                <c:pt idx="582">
                  <c:v>0</c:v>
                </c:pt>
                <c:pt idx="583">
                  <c:v>1</c:v>
                </c:pt>
                <c:pt idx="584">
                  <c:v>1</c:v>
                </c:pt>
                <c:pt idx="585">
                  <c:v>2</c:v>
                </c:pt>
                <c:pt idx="586">
                  <c:v>0</c:v>
                </c:pt>
                <c:pt idx="587">
                  <c:v>1</c:v>
                </c:pt>
                <c:pt idx="588">
                  <c:v>2</c:v>
                </c:pt>
                <c:pt idx="589">
                  <c:v>3</c:v>
                </c:pt>
                <c:pt idx="590">
                  <c:v>0</c:v>
                </c:pt>
                <c:pt idx="591">
                  <c:v>2</c:v>
                </c:pt>
                <c:pt idx="592">
                  <c:v>6</c:v>
                </c:pt>
                <c:pt idx="593">
                  <c:v>1</c:v>
                </c:pt>
                <c:pt idx="594">
                  <c:v>7</c:v>
                </c:pt>
                <c:pt idx="595">
                  <c:v>7</c:v>
                </c:pt>
                <c:pt idx="596">
                  <c:v>4</c:v>
                </c:pt>
                <c:pt idx="597">
                  <c:v>3</c:v>
                </c:pt>
                <c:pt idx="598">
                  <c:v>3</c:v>
                </c:pt>
                <c:pt idx="599">
                  <c:v>2</c:v>
                </c:pt>
                <c:pt idx="600">
                  <c:v>0</c:v>
                </c:pt>
                <c:pt idx="601">
                  <c:v>3</c:v>
                </c:pt>
                <c:pt idx="602">
                  <c:v>0</c:v>
                </c:pt>
                <c:pt idx="603">
                  <c:v>0</c:v>
                </c:pt>
                <c:pt idx="604">
                  <c:v>0</c:v>
                </c:pt>
                <c:pt idx="605">
                  <c:v>0</c:v>
                </c:pt>
                <c:pt idx="606">
                  <c:v>0</c:v>
                </c:pt>
                <c:pt idx="607">
                  <c:v>0</c:v>
                </c:pt>
                <c:pt idx="608">
                  <c:v>0</c:v>
                </c:pt>
                <c:pt idx="609">
                  <c:v>1</c:v>
                </c:pt>
                <c:pt idx="610">
                  <c:v>0</c:v>
                </c:pt>
                <c:pt idx="611">
                  <c:v>0</c:v>
                </c:pt>
                <c:pt idx="612">
                  <c:v>0</c:v>
                </c:pt>
                <c:pt idx="613">
                  <c:v>0</c:v>
                </c:pt>
                <c:pt idx="614">
                  <c:v>11</c:v>
                </c:pt>
                <c:pt idx="615">
                  <c:v>0</c:v>
                </c:pt>
                <c:pt idx="616">
                  <c:v>1</c:v>
                </c:pt>
                <c:pt idx="617">
                  <c:v>9</c:v>
                </c:pt>
                <c:pt idx="618">
                  <c:v>6</c:v>
                </c:pt>
                <c:pt idx="619">
                  <c:v>0</c:v>
                </c:pt>
                <c:pt idx="620">
                  <c:v>2</c:v>
                </c:pt>
                <c:pt idx="621">
                  <c:v>0</c:v>
                </c:pt>
                <c:pt idx="622">
                  <c:v>2</c:v>
                </c:pt>
                <c:pt idx="623">
                  <c:v>2</c:v>
                </c:pt>
                <c:pt idx="624">
                  <c:v>0</c:v>
                </c:pt>
                <c:pt idx="625">
                  <c:v>0</c:v>
                </c:pt>
                <c:pt idx="626">
                  <c:v>0</c:v>
                </c:pt>
                <c:pt idx="627">
                  <c:v>4</c:v>
                </c:pt>
                <c:pt idx="628">
                  <c:v>3</c:v>
                </c:pt>
                <c:pt idx="629">
                  <c:v>0</c:v>
                </c:pt>
                <c:pt idx="630">
                  <c:v>9</c:v>
                </c:pt>
                <c:pt idx="631">
                  <c:v>3</c:v>
                </c:pt>
                <c:pt idx="632">
                  <c:v>3</c:v>
                </c:pt>
                <c:pt idx="633">
                  <c:v>0</c:v>
                </c:pt>
                <c:pt idx="634">
                  <c:v>0</c:v>
                </c:pt>
                <c:pt idx="635">
                  <c:v>3</c:v>
                </c:pt>
                <c:pt idx="636">
                  <c:v>0</c:v>
                </c:pt>
                <c:pt idx="637">
                  <c:v>0</c:v>
                </c:pt>
                <c:pt idx="638">
                  <c:v>1</c:v>
                </c:pt>
                <c:pt idx="639">
                  <c:v>0</c:v>
                </c:pt>
                <c:pt idx="640">
                  <c:v>1</c:v>
                </c:pt>
                <c:pt idx="641">
                  <c:v>15</c:v>
                </c:pt>
                <c:pt idx="642">
                  <c:v>1</c:v>
                </c:pt>
                <c:pt idx="643">
                  <c:v>5</c:v>
                </c:pt>
                <c:pt idx="644">
                  <c:v>0</c:v>
                </c:pt>
                <c:pt idx="645">
                  <c:v>0</c:v>
                </c:pt>
                <c:pt idx="646">
                  <c:v>4</c:v>
                </c:pt>
                <c:pt idx="647">
                  <c:v>0</c:v>
                </c:pt>
                <c:pt idx="648">
                  <c:v>0</c:v>
                </c:pt>
                <c:pt idx="649">
                  <c:v>6</c:v>
                </c:pt>
                <c:pt idx="650">
                  <c:v>0</c:v>
                </c:pt>
                <c:pt idx="651">
                  <c:v>1</c:v>
                </c:pt>
                <c:pt idx="652">
                  <c:v>0</c:v>
                </c:pt>
                <c:pt idx="653">
                  <c:v>0</c:v>
                </c:pt>
                <c:pt idx="654">
                  <c:v>0</c:v>
                </c:pt>
                <c:pt idx="655">
                  <c:v>0</c:v>
                </c:pt>
                <c:pt idx="656">
                  <c:v>0</c:v>
                </c:pt>
                <c:pt idx="657">
                  <c:v>0</c:v>
                </c:pt>
                <c:pt idx="658">
                  <c:v>2</c:v>
                </c:pt>
                <c:pt idx="659">
                  <c:v>0</c:v>
                </c:pt>
                <c:pt idx="660">
                  <c:v>0</c:v>
                </c:pt>
                <c:pt idx="661">
                  <c:v>0</c:v>
                </c:pt>
                <c:pt idx="662">
                  <c:v>4</c:v>
                </c:pt>
                <c:pt idx="663">
                  <c:v>5</c:v>
                </c:pt>
                <c:pt idx="664">
                  <c:v>57</c:v>
                </c:pt>
                <c:pt idx="665">
                  <c:v>0</c:v>
                </c:pt>
                <c:pt idx="666">
                  <c:v>14</c:v>
                </c:pt>
                <c:pt idx="667">
                  <c:v>2</c:v>
                </c:pt>
                <c:pt idx="668">
                  <c:v>4</c:v>
                </c:pt>
                <c:pt idx="669">
                  <c:v>0</c:v>
                </c:pt>
                <c:pt idx="670">
                  <c:v>0</c:v>
                </c:pt>
                <c:pt idx="671">
                  <c:v>16</c:v>
                </c:pt>
                <c:pt idx="672">
                  <c:v>0</c:v>
                </c:pt>
                <c:pt idx="673">
                  <c:v>0</c:v>
                </c:pt>
                <c:pt idx="674">
                  <c:v>0</c:v>
                </c:pt>
                <c:pt idx="675">
                  <c:v>1</c:v>
                </c:pt>
                <c:pt idx="676">
                  <c:v>0</c:v>
                </c:pt>
                <c:pt idx="677">
                  <c:v>2</c:v>
                </c:pt>
                <c:pt idx="678">
                  <c:v>0</c:v>
                </c:pt>
                <c:pt idx="679">
                  <c:v>5</c:v>
                </c:pt>
                <c:pt idx="680">
                  <c:v>0</c:v>
                </c:pt>
                <c:pt idx="681">
                  <c:v>0</c:v>
                </c:pt>
                <c:pt idx="682">
                  <c:v>1</c:v>
                </c:pt>
                <c:pt idx="683">
                  <c:v>0</c:v>
                </c:pt>
                <c:pt idx="684">
                  <c:v>0</c:v>
                </c:pt>
                <c:pt idx="685">
                  <c:v>0</c:v>
                </c:pt>
                <c:pt idx="686">
                  <c:v>0</c:v>
                </c:pt>
                <c:pt idx="687">
                  <c:v>0</c:v>
                </c:pt>
                <c:pt idx="688">
                  <c:v>0</c:v>
                </c:pt>
                <c:pt idx="689">
                  <c:v>1</c:v>
                </c:pt>
                <c:pt idx="690">
                  <c:v>0</c:v>
                </c:pt>
                <c:pt idx="691">
                  <c:v>0</c:v>
                </c:pt>
                <c:pt idx="692">
                  <c:v>42</c:v>
                </c:pt>
                <c:pt idx="693">
                  <c:v>1</c:v>
                </c:pt>
                <c:pt idx="694">
                  <c:v>4</c:v>
                </c:pt>
                <c:pt idx="695">
                  <c:v>2</c:v>
                </c:pt>
                <c:pt idx="696">
                  <c:v>4</c:v>
                </c:pt>
                <c:pt idx="697">
                  <c:v>0</c:v>
                </c:pt>
                <c:pt idx="698">
                  <c:v>2</c:v>
                </c:pt>
                <c:pt idx="699">
                  <c:v>0</c:v>
                </c:pt>
                <c:pt idx="700">
                  <c:v>0</c:v>
                </c:pt>
                <c:pt idx="701">
                  <c:v>1</c:v>
                </c:pt>
                <c:pt idx="702">
                  <c:v>4</c:v>
                </c:pt>
                <c:pt idx="703">
                  <c:v>0</c:v>
                </c:pt>
                <c:pt idx="704">
                  <c:v>0</c:v>
                </c:pt>
                <c:pt idx="705">
                  <c:v>5</c:v>
                </c:pt>
                <c:pt idx="706">
                  <c:v>1</c:v>
                </c:pt>
                <c:pt idx="707">
                  <c:v>3</c:v>
                </c:pt>
                <c:pt idx="708">
                  <c:v>0</c:v>
                </c:pt>
                <c:pt idx="709">
                  <c:v>5</c:v>
                </c:pt>
                <c:pt idx="710">
                  <c:v>0</c:v>
                </c:pt>
                <c:pt idx="711">
                  <c:v>0</c:v>
                </c:pt>
                <c:pt idx="712">
                  <c:v>0</c:v>
                </c:pt>
                <c:pt idx="713">
                  <c:v>0</c:v>
                </c:pt>
                <c:pt idx="714">
                  <c:v>5</c:v>
                </c:pt>
                <c:pt idx="715">
                  <c:v>0</c:v>
                </c:pt>
                <c:pt idx="716">
                  <c:v>0</c:v>
                </c:pt>
                <c:pt idx="717">
                  <c:v>1</c:v>
                </c:pt>
                <c:pt idx="718">
                  <c:v>1</c:v>
                </c:pt>
                <c:pt idx="719">
                  <c:v>0</c:v>
                </c:pt>
                <c:pt idx="720">
                  <c:v>1</c:v>
                </c:pt>
                <c:pt idx="721">
                  <c:v>0</c:v>
                </c:pt>
                <c:pt idx="722">
                  <c:v>0</c:v>
                </c:pt>
                <c:pt idx="723">
                  <c:v>9</c:v>
                </c:pt>
                <c:pt idx="724">
                  <c:v>105</c:v>
                </c:pt>
                <c:pt idx="725">
                  <c:v>7</c:v>
                </c:pt>
                <c:pt idx="726">
                  <c:v>1</c:v>
                </c:pt>
                <c:pt idx="727">
                  <c:v>0</c:v>
                </c:pt>
                <c:pt idx="728">
                  <c:v>0</c:v>
                </c:pt>
                <c:pt idx="729">
                  <c:v>0</c:v>
                </c:pt>
                <c:pt idx="730">
                  <c:v>1</c:v>
                </c:pt>
                <c:pt idx="731">
                  <c:v>0</c:v>
                </c:pt>
                <c:pt idx="732">
                  <c:v>2</c:v>
                </c:pt>
                <c:pt idx="733">
                  <c:v>0</c:v>
                </c:pt>
                <c:pt idx="734">
                  <c:v>0</c:v>
                </c:pt>
                <c:pt idx="735">
                  <c:v>7</c:v>
                </c:pt>
                <c:pt idx="736">
                  <c:v>0</c:v>
                </c:pt>
                <c:pt idx="737">
                  <c:v>1</c:v>
                </c:pt>
                <c:pt idx="738">
                  <c:v>1</c:v>
                </c:pt>
                <c:pt idx="739">
                  <c:v>0</c:v>
                </c:pt>
                <c:pt idx="740">
                  <c:v>3</c:v>
                </c:pt>
                <c:pt idx="741">
                  <c:v>1</c:v>
                </c:pt>
                <c:pt idx="742">
                  <c:v>0</c:v>
                </c:pt>
                <c:pt idx="743">
                  <c:v>8</c:v>
                </c:pt>
                <c:pt idx="744">
                  <c:v>1</c:v>
                </c:pt>
                <c:pt idx="745">
                  <c:v>2</c:v>
                </c:pt>
                <c:pt idx="746">
                  <c:v>0</c:v>
                </c:pt>
                <c:pt idx="747">
                  <c:v>0</c:v>
                </c:pt>
                <c:pt idx="748">
                  <c:v>2</c:v>
                </c:pt>
                <c:pt idx="749">
                  <c:v>1</c:v>
                </c:pt>
                <c:pt idx="750">
                  <c:v>2</c:v>
                </c:pt>
                <c:pt idx="751">
                  <c:v>2</c:v>
                </c:pt>
                <c:pt idx="752">
                  <c:v>81</c:v>
                </c:pt>
                <c:pt idx="753">
                  <c:v>1</c:v>
                </c:pt>
                <c:pt idx="754">
                  <c:v>0</c:v>
                </c:pt>
                <c:pt idx="755">
                  <c:v>2</c:v>
                </c:pt>
                <c:pt idx="756">
                  <c:v>0</c:v>
                </c:pt>
                <c:pt idx="757">
                  <c:v>1</c:v>
                </c:pt>
                <c:pt idx="758">
                  <c:v>2</c:v>
                </c:pt>
                <c:pt idx="759">
                  <c:v>6</c:v>
                </c:pt>
                <c:pt idx="760">
                  <c:v>1</c:v>
                </c:pt>
                <c:pt idx="761">
                  <c:v>3</c:v>
                </c:pt>
                <c:pt idx="762">
                  <c:v>3</c:v>
                </c:pt>
                <c:pt idx="763">
                  <c:v>1</c:v>
                </c:pt>
                <c:pt idx="764">
                  <c:v>3</c:v>
                </c:pt>
                <c:pt idx="765">
                  <c:v>1</c:v>
                </c:pt>
                <c:pt idx="766">
                  <c:v>16</c:v>
                </c:pt>
                <c:pt idx="767">
                  <c:v>0</c:v>
                </c:pt>
                <c:pt idx="768">
                  <c:v>0</c:v>
                </c:pt>
                <c:pt idx="769">
                  <c:v>4</c:v>
                </c:pt>
                <c:pt idx="770">
                  <c:v>0</c:v>
                </c:pt>
                <c:pt idx="771">
                  <c:v>10</c:v>
                </c:pt>
                <c:pt idx="772">
                  <c:v>1</c:v>
                </c:pt>
                <c:pt idx="773">
                  <c:v>1</c:v>
                </c:pt>
                <c:pt idx="774">
                  <c:v>2</c:v>
                </c:pt>
                <c:pt idx="775">
                  <c:v>2</c:v>
                </c:pt>
                <c:pt idx="776">
                  <c:v>1</c:v>
                </c:pt>
                <c:pt idx="777">
                  <c:v>0</c:v>
                </c:pt>
                <c:pt idx="778">
                  <c:v>6</c:v>
                </c:pt>
                <c:pt idx="779">
                  <c:v>1</c:v>
                </c:pt>
                <c:pt idx="780">
                  <c:v>0</c:v>
                </c:pt>
                <c:pt idx="781">
                  <c:v>1</c:v>
                </c:pt>
                <c:pt idx="782">
                  <c:v>2</c:v>
                </c:pt>
                <c:pt idx="783">
                  <c:v>0</c:v>
                </c:pt>
                <c:pt idx="784">
                  <c:v>1</c:v>
                </c:pt>
                <c:pt idx="785">
                  <c:v>6</c:v>
                </c:pt>
                <c:pt idx="786">
                  <c:v>1</c:v>
                </c:pt>
                <c:pt idx="787">
                  <c:v>2</c:v>
                </c:pt>
                <c:pt idx="788">
                  <c:v>13</c:v>
                </c:pt>
                <c:pt idx="789">
                  <c:v>8</c:v>
                </c:pt>
                <c:pt idx="790">
                  <c:v>0</c:v>
                </c:pt>
                <c:pt idx="791">
                  <c:v>15</c:v>
                </c:pt>
                <c:pt idx="792">
                  <c:v>0</c:v>
                </c:pt>
                <c:pt idx="793">
                  <c:v>0</c:v>
                </c:pt>
                <c:pt idx="794">
                  <c:v>0</c:v>
                </c:pt>
                <c:pt idx="795">
                  <c:v>0</c:v>
                </c:pt>
                <c:pt idx="796">
                  <c:v>2</c:v>
                </c:pt>
                <c:pt idx="797">
                  <c:v>0</c:v>
                </c:pt>
                <c:pt idx="798">
                  <c:v>3</c:v>
                </c:pt>
                <c:pt idx="799">
                  <c:v>0</c:v>
                </c:pt>
                <c:pt idx="800">
                  <c:v>0</c:v>
                </c:pt>
                <c:pt idx="801">
                  <c:v>0</c:v>
                </c:pt>
                <c:pt idx="802">
                  <c:v>9</c:v>
                </c:pt>
                <c:pt idx="803">
                  <c:v>59</c:v>
                </c:pt>
                <c:pt idx="804">
                  <c:v>2</c:v>
                </c:pt>
                <c:pt idx="805">
                  <c:v>0</c:v>
                </c:pt>
                <c:pt idx="806">
                  <c:v>0</c:v>
                </c:pt>
                <c:pt idx="807">
                  <c:v>3</c:v>
                </c:pt>
                <c:pt idx="808">
                  <c:v>0</c:v>
                </c:pt>
                <c:pt idx="809">
                  <c:v>3</c:v>
                </c:pt>
                <c:pt idx="810">
                  <c:v>0</c:v>
                </c:pt>
                <c:pt idx="811">
                  <c:v>0</c:v>
                </c:pt>
                <c:pt idx="812">
                  <c:v>2</c:v>
                </c:pt>
                <c:pt idx="813">
                  <c:v>2</c:v>
                </c:pt>
                <c:pt idx="814">
                  <c:v>1</c:v>
                </c:pt>
                <c:pt idx="815">
                  <c:v>0</c:v>
                </c:pt>
                <c:pt idx="816">
                  <c:v>0</c:v>
                </c:pt>
                <c:pt idx="817">
                  <c:v>5</c:v>
                </c:pt>
                <c:pt idx="818">
                  <c:v>1</c:v>
                </c:pt>
                <c:pt idx="819">
                  <c:v>20</c:v>
                </c:pt>
                <c:pt idx="820">
                  <c:v>0</c:v>
                </c:pt>
                <c:pt idx="821">
                  <c:v>0</c:v>
                </c:pt>
                <c:pt idx="822">
                  <c:v>0</c:v>
                </c:pt>
                <c:pt idx="823">
                  <c:v>1</c:v>
                </c:pt>
                <c:pt idx="824">
                  <c:v>3</c:v>
                </c:pt>
                <c:pt idx="825">
                  <c:v>2</c:v>
                </c:pt>
                <c:pt idx="826">
                  <c:v>7</c:v>
                </c:pt>
                <c:pt idx="827">
                  <c:v>1</c:v>
                </c:pt>
                <c:pt idx="828">
                  <c:v>2</c:v>
                </c:pt>
                <c:pt idx="829">
                  <c:v>0</c:v>
                </c:pt>
                <c:pt idx="830">
                  <c:v>6</c:v>
                </c:pt>
                <c:pt idx="831">
                  <c:v>0</c:v>
                </c:pt>
                <c:pt idx="832">
                  <c:v>0</c:v>
                </c:pt>
                <c:pt idx="833">
                  <c:v>3</c:v>
                </c:pt>
                <c:pt idx="834">
                  <c:v>0</c:v>
                </c:pt>
                <c:pt idx="835">
                  <c:v>16</c:v>
                </c:pt>
                <c:pt idx="836">
                  <c:v>0</c:v>
                </c:pt>
                <c:pt idx="837">
                  <c:v>0</c:v>
                </c:pt>
                <c:pt idx="838">
                  <c:v>8</c:v>
                </c:pt>
                <c:pt idx="839">
                  <c:v>0</c:v>
                </c:pt>
                <c:pt idx="840">
                  <c:v>12</c:v>
                </c:pt>
                <c:pt idx="841">
                  <c:v>0</c:v>
                </c:pt>
                <c:pt idx="842">
                  <c:v>0</c:v>
                </c:pt>
                <c:pt idx="843">
                  <c:v>0</c:v>
                </c:pt>
                <c:pt idx="844">
                  <c:v>2</c:v>
                </c:pt>
                <c:pt idx="845">
                  <c:v>1</c:v>
                </c:pt>
                <c:pt idx="846">
                  <c:v>0</c:v>
                </c:pt>
                <c:pt idx="847">
                  <c:v>1</c:v>
                </c:pt>
                <c:pt idx="848">
                  <c:v>0</c:v>
                </c:pt>
                <c:pt idx="849">
                  <c:v>1</c:v>
                </c:pt>
                <c:pt idx="850">
                  <c:v>0</c:v>
                </c:pt>
                <c:pt idx="851">
                  <c:v>2</c:v>
                </c:pt>
                <c:pt idx="852">
                  <c:v>1</c:v>
                </c:pt>
                <c:pt idx="853">
                  <c:v>1</c:v>
                </c:pt>
                <c:pt idx="854">
                  <c:v>4</c:v>
                </c:pt>
                <c:pt idx="855">
                  <c:v>8</c:v>
                </c:pt>
                <c:pt idx="856">
                  <c:v>0</c:v>
                </c:pt>
                <c:pt idx="857">
                  <c:v>0</c:v>
                </c:pt>
                <c:pt idx="858">
                  <c:v>3</c:v>
                </c:pt>
                <c:pt idx="859">
                  <c:v>0</c:v>
                </c:pt>
                <c:pt idx="860">
                  <c:v>9</c:v>
                </c:pt>
                <c:pt idx="861">
                  <c:v>0</c:v>
                </c:pt>
                <c:pt idx="862">
                  <c:v>8</c:v>
                </c:pt>
                <c:pt idx="863">
                  <c:v>9</c:v>
                </c:pt>
                <c:pt idx="864">
                  <c:v>0</c:v>
                </c:pt>
                <c:pt idx="865">
                  <c:v>1</c:v>
                </c:pt>
                <c:pt idx="866">
                  <c:v>0</c:v>
                </c:pt>
                <c:pt idx="867">
                  <c:v>0</c:v>
                </c:pt>
                <c:pt idx="868">
                  <c:v>1</c:v>
                </c:pt>
                <c:pt idx="869">
                  <c:v>1</c:v>
                </c:pt>
                <c:pt idx="870">
                  <c:v>0</c:v>
                </c:pt>
                <c:pt idx="871">
                  <c:v>5</c:v>
                </c:pt>
                <c:pt idx="872">
                  <c:v>4</c:v>
                </c:pt>
                <c:pt idx="873">
                  <c:v>4</c:v>
                </c:pt>
                <c:pt idx="874">
                  <c:v>0</c:v>
                </c:pt>
                <c:pt idx="875">
                  <c:v>1</c:v>
                </c:pt>
                <c:pt idx="876">
                  <c:v>0</c:v>
                </c:pt>
                <c:pt idx="877">
                  <c:v>9</c:v>
                </c:pt>
                <c:pt idx="878">
                  <c:v>2</c:v>
                </c:pt>
                <c:pt idx="879">
                  <c:v>1</c:v>
                </c:pt>
                <c:pt idx="880">
                  <c:v>1</c:v>
                </c:pt>
                <c:pt idx="881">
                  <c:v>3</c:v>
                </c:pt>
                <c:pt idx="882">
                  <c:v>0</c:v>
                </c:pt>
                <c:pt idx="883">
                  <c:v>0</c:v>
                </c:pt>
                <c:pt idx="884">
                  <c:v>2</c:v>
                </c:pt>
                <c:pt idx="885">
                  <c:v>5</c:v>
                </c:pt>
                <c:pt idx="886">
                  <c:v>0</c:v>
                </c:pt>
                <c:pt idx="887">
                  <c:v>3</c:v>
                </c:pt>
                <c:pt idx="888">
                  <c:v>0</c:v>
                </c:pt>
                <c:pt idx="889">
                  <c:v>2</c:v>
                </c:pt>
                <c:pt idx="890">
                  <c:v>7</c:v>
                </c:pt>
                <c:pt idx="891">
                  <c:v>0</c:v>
                </c:pt>
                <c:pt idx="892">
                  <c:v>0</c:v>
                </c:pt>
                <c:pt idx="893">
                  <c:v>1</c:v>
                </c:pt>
                <c:pt idx="894">
                  <c:v>0</c:v>
                </c:pt>
                <c:pt idx="895">
                  <c:v>2</c:v>
                </c:pt>
                <c:pt idx="896">
                  <c:v>3</c:v>
                </c:pt>
                <c:pt idx="897">
                  <c:v>0</c:v>
                </c:pt>
                <c:pt idx="898">
                  <c:v>4</c:v>
                </c:pt>
                <c:pt idx="899">
                  <c:v>0</c:v>
                </c:pt>
                <c:pt idx="900">
                  <c:v>4</c:v>
                </c:pt>
                <c:pt idx="901">
                  <c:v>0</c:v>
                </c:pt>
                <c:pt idx="902">
                  <c:v>0</c:v>
                </c:pt>
                <c:pt idx="903">
                  <c:v>0</c:v>
                </c:pt>
                <c:pt idx="904">
                  <c:v>0</c:v>
                </c:pt>
                <c:pt idx="905">
                  <c:v>0</c:v>
                </c:pt>
                <c:pt idx="906">
                  <c:v>8</c:v>
                </c:pt>
                <c:pt idx="907">
                  <c:v>0</c:v>
                </c:pt>
                <c:pt idx="908">
                  <c:v>1</c:v>
                </c:pt>
                <c:pt idx="909">
                  <c:v>0</c:v>
                </c:pt>
                <c:pt idx="910">
                  <c:v>0</c:v>
                </c:pt>
                <c:pt idx="911">
                  <c:v>5</c:v>
                </c:pt>
                <c:pt idx="912">
                  <c:v>2</c:v>
                </c:pt>
                <c:pt idx="913">
                  <c:v>1</c:v>
                </c:pt>
                <c:pt idx="914">
                  <c:v>1</c:v>
                </c:pt>
                <c:pt idx="915">
                  <c:v>0</c:v>
                </c:pt>
                <c:pt idx="916">
                  <c:v>0</c:v>
                </c:pt>
                <c:pt idx="917">
                  <c:v>0</c:v>
                </c:pt>
                <c:pt idx="918">
                  <c:v>1</c:v>
                </c:pt>
                <c:pt idx="919">
                  <c:v>2</c:v>
                </c:pt>
                <c:pt idx="920">
                  <c:v>2</c:v>
                </c:pt>
                <c:pt idx="921">
                  <c:v>0</c:v>
                </c:pt>
                <c:pt idx="922">
                  <c:v>0</c:v>
                </c:pt>
                <c:pt idx="923">
                  <c:v>0</c:v>
                </c:pt>
                <c:pt idx="924">
                  <c:v>2</c:v>
                </c:pt>
                <c:pt idx="925">
                  <c:v>1</c:v>
                </c:pt>
                <c:pt idx="926">
                  <c:v>0</c:v>
                </c:pt>
                <c:pt idx="927">
                  <c:v>0</c:v>
                </c:pt>
                <c:pt idx="928">
                  <c:v>15</c:v>
                </c:pt>
                <c:pt idx="929">
                  <c:v>1</c:v>
                </c:pt>
                <c:pt idx="930">
                  <c:v>0</c:v>
                </c:pt>
                <c:pt idx="931">
                  <c:v>1</c:v>
                </c:pt>
                <c:pt idx="932">
                  <c:v>0</c:v>
                </c:pt>
                <c:pt idx="933">
                  <c:v>0</c:v>
                </c:pt>
                <c:pt idx="934">
                  <c:v>14</c:v>
                </c:pt>
                <c:pt idx="935">
                  <c:v>0</c:v>
                </c:pt>
                <c:pt idx="936">
                  <c:v>1</c:v>
                </c:pt>
                <c:pt idx="937">
                  <c:v>0</c:v>
                </c:pt>
                <c:pt idx="938">
                  <c:v>0</c:v>
                </c:pt>
                <c:pt idx="939">
                  <c:v>2</c:v>
                </c:pt>
                <c:pt idx="940">
                  <c:v>2</c:v>
                </c:pt>
                <c:pt idx="941">
                  <c:v>0</c:v>
                </c:pt>
                <c:pt idx="942">
                  <c:v>1</c:v>
                </c:pt>
                <c:pt idx="943">
                  <c:v>0</c:v>
                </c:pt>
                <c:pt idx="944">
                  <c:v>3</c:v>
                </c:pt>
                <c:pt idx="945">
                  <c:v>1</c:v>
                </c:pt>
                <c:pt idx="946">
                  <c:v>0</c:v>
                </c:pt>
                <c:pt idx="947">
                  <c:v>18</c:v>
                </c:pt>
                <c:pt idx="948">
                  <c:v>0</c:v>
                </c:pt>
                <c:pt idx="949">
                  <c:v>0</c:v>
                </c:pt>
                <c:pt idx="950">
                  <c:v>3</c:v>
                </c:pt>
                <c:pt idx="951">
                  <c:v>0</c:v>
                </c:pt>
                <c:pt idx="952">
                  <c:v>2</c:v>
                </c:pt>
                <c:pt idx="953">
                  <c:v>0</c:v>
                </c:pt>
                <c:pt idx="954">
                  <c:v>2</c:v>
                </c:pt>
                <c:pt idx="955">
                  <c:v>0</c:v>
                </c:pt>
                <c:pt idx="956">
                  <c:v>0</c:v>
                </c:pt>
                <c:pt idx="957">
                  <c:v>0</c:v>
                </c:pt>
                <c:pt idx="958">
                  <c:v>0</c:v>
                </c:pt>
                <c:pt idx="959">
                  <c:v>0</c:v>
                </c:pt>
                <c:pt idx="960">
                  <c:v>1</c:v>
                </c:pt>
                <c:pt idx="961">
                  <c:v>0</c:v>
                </c:pt>
                <c:pt idx="962">
                  <c:v>10</c:v>
                </c:pt>
                <c:pt idx="963">
                  <c:v>5</c:v>
                </c:pt>
                <c:pt idx="964">
                  <c:v>1</c:v>
                </c:pt>
                <c:pt idx="965">
                  <c:v>0</c:v>
                </c:pt>
                <c:pt idx="966">
                  <c:v>4</c:v>
                </c:pt>
                <c:pt idx="967">
                  <c:v>3</c:v>
                </c:pt>
                <c:pt idx="968">
                  <c:v>0</c:v>
                </c:pt>
                <c:pt idx="969">
                  <c:v>1</c:v>
                </c:pt>
                <c:pt idx="970">
                  <c:v>1</c:v>
                </c:pt>
                <c:pt idx="971">
                  <c:v>3</c:v>
                </c:pt>
                <c:pt idx="972">
                  <c:v>0</c:v>
                </c:pt>
                <c:pt idx="973">
                  <c:v>2</c:v>
                </c:pt>
                <c:pt idx="974">
                  <c:v>0</c:v>
                </c:pt>
                <c:pt idx="975">
                  <c:v>0</c:v>
                </c:pt>
                <c:pt idx="976">
                  <c:v>0</c:v>
                </c:pt>
                <c:pt idx="977">
                  <c:v>0</c:v>
                </c:pt>
                <c:pt idx="978">
                  <c:v>0</c:v>
                </c:pt>
                <c:pt idx="979">
                  <c:v>0</c:v>
                </c:pt>
                <c:pt idx="980">
                  <c:v>2</c:v>
                </c:pt>
                <c:pt idx="981">
                  <c:v>0</c:v>
                </c:pt>
                <c:pt idx="982">
                  <c:v>0</c:v>
                </c:pt>
                <c:pt idx="983">
                  <c:v>0</c:v>
                </c:pt>
                <c:pt idx="984">
                  <c:v>4</c:v>
                </c:pt>
                <c:pt idx="985">
                  <c:v>0</c:v>
                </c:pt>
                <c:pt idx="986">
                  <c:v>15</c:v>
                </c:pt>
                <c:pt idx="987">
                  <c:v>0</c:v>
                </c:pt>
                <c:pt idx="988">
                  <c:v>0</c:v>
                </c:pt>
                <c:pt idx="989">
                  <c:v>1</c:v>
                </c:pt>
                <c:pt idx="990">
                  <c:v>0</c:v>
                </c:pt>
                <c:pt idx="991">
                  <c:v>17</c:v>
                </c:pt>
                <c:pt idx="992">
                  <c:v>0</c:v>
                </c:pt>
                <c:pt idx="993">
                  <c:v>4</c:v>
                </c:pt>
                <c:pt idx="994">
                  <c:v>8</c:v>
                </c:pt>
                <c:pt idx="995">
                  <c:v>3</c:v>
                </c:pt>
                <c:pt idx="996">
                  <c:v>0</c:v>
                </c:pt>
                <c:pt idx="997">
                  <c:v>6</c:v>
                </c:pt>
                <c:pt idx="998">
                  <c:v>1</c:v>
                </c:pt>
                <c:pt idx="999">
                  <c:v>1</c:v>
                </c:pt>
                <c:pt idx="1000">
                  <c:v>0</c:v>
                </c:pt>
                <c:pt idx="1001">
                  <c:v>3</c:v>
                </c:pt>
                <c:pt idx="1002">
                  <c:v>0</c:v>
                </c:pt>
                <c:pt idx="1003">
                  <c:v>0</c:v>
                </c:pt>
                <c:pt idx="1004">
                  <c:v>0</c:v>
                </c:pt>
                <c:pt idx="1005">
                  <c:v>1</c:v>
                </c:pt>
                <c:pt idx="1006">
                  <c:v>1</c:v>
                </c:pt>
                <c:pt idx="1007">
                  <c:v>2</c:v>
                </c:pt>
                <c:pt idx="1008">
                  <c:v>0</c:v>
                </c:pt>
                <c:pt idx="1009">
                  <c:v>2</c:v>
                </c:pt>
                <c:pt idx="1010">
                  <c:v>1</c:v>
                </c:pt>
                <c:pt idx="1011">
                  <c:v>0</c:v>
                </c:pt>
                <c:pt idx="1012">
                  <c:v>0</c:v>
                </c:pt>
                <c:pt idx="1013">
                  <c:v>3</c:v>
                </c:pt>
                <c:pt idx="1014">
                  <c:v>0</c:v>
                </c:pt>
                <c:pt idx="1015">
                  <c:v>5</c:v>
                </c:pt>
                <c:pt idx="1016">
                  <c:v>1</c:v>
                </c:pt>
                <c:pt idx="1017">
                  <c:v>0</c:v>
                </c:pt>
                <c:pt idx="1018">
                  <c:v>1</c:v>
                </c:pt>
                <c:pt idx="1019">
                  <c:v>3</c:v>
                </c:pt>
                <c:pt idx="1020">
                  <c:v>0</c:v>
                </c:pt>
                <c:pt idx="1021">
                  <c:v>4</c:v>
                </c:pt>
                <c:pt idx="1022">
                  <c:v>0</c:v>
                </c:pt>
                <c:pt idx="1023">
                  <c:v>0</c:v>
                </c:pt>
                <c:pt idx="1024">
                  <c:v>2</c:v>
                </c:pt>
                <c:pt idx="1025">
                  <c:v>4</c:v>
                </c:pt>
                <c:pt idx="1026">
                  <c:v>0</c:v>
                </c:pt>
                <c:pt idx="1027">
                  <c:v>1</c:v>
                </c:pt>
                <c:pt idx="1028">
                  <c:v>2</c:v>
                </c:pt>
                <c:pt idx="1029">
                  <c:v>1</c:v>
                </c:pt>
                <c:pt idx="1030">
                  <c:v>1</c:v>
                </c:pt>
                <c:pt idx="1031">
                  <c:v>11</c:v>
                </c:pt>
                <c:pt idx="1032">
                  <c:v>4</c:v>
                </c:pt>
                <c:pt idx="1033">
                  <c:v>1</c:v>
                </c:pt>
                <c:pt idx="1034">
                  <c:v>2</c:v>
                </c:pt>
                <c:pt idx="1035">
                  <c:v>1</c:v>
                </c:pt>
                <c:pt idx="1036">
                  <c:v>9</c:v>
                </c:pt>
                <c:pt idx="1037">
                  <c:v>0</c:v>
                </c:pt>
                <c:pt idx="1038">
                  <c:v>0</c:v>
                </c:pt>
                <c:pt idx="1039">
                  <c:v>6</c:v>
                </c:pt>
                <c:pt idx="1040">
                  <c:v>1</c:v>
                </c:pt>
                <c:pt idx="1041">
                  <c:v>7</c:v>
                </c:pt>
                <c:pt idx="1042">
                  <c:v>0</c:v>
                </c:pt>
                <c:pt idx="1043">
                  <c:v>3</c:v>
                </c:pt>
                <c:pt idx="1044">
                  <c:v>1</c:v>
                </c:pt>
                <c:pt idx="1045">
                  <c:v>2</c:v>
                </c:pt>
                <c:pt idx="1046">
                  <c:v>1</c:v>
                </c:pt>
                <c:pt idx="1047">
                  <c:v>2</c:v>
                </c:pt>
                <c:pt idx="1048">
                  <c:v>1</c:v>
                </c:pt>
                <c:pt idx="1049">
                  <c:v>4</c:v>
                </c:pt>
                <c:pt idx="1050">
                  <c:v>0</c:v>
                </c:pt>
                <c:pt idx="1051">
                  <c:v>5</c:v>
                </c:pt>
                <c:pt idx="1052">
                  <c:v>2</c:v>
                </c:pt>
                <c:pt idx="1053">
                  <c:v>0</c:v>
                </c:pt>
                <c:pt idx="1054">
                  <c:v>0</c:v>
                </c:pt>
                <c:pt idx="1055">
                  <c:v>4</c:v>
                </c:pt>
                <c:pt idx="1056">
                  <c:v>2</c:v>
                </c:pt>
                <c:pt idx="1057">
                  <c:v>0</c:v>
                </c:pt>
                <c:pt idx="1058">
                  <c:v>0</c:v>
                </c:pt>
                <c:pt idx="1059">
                  <c:v>0</c:v>
                </c:pt>
                <c:pt idx="1060">
                  <c:v>2</c:v>
                </c:pt>
                <c:pt idx="1061">
                  <c:v>0</c:v>
                </c:pt>
                <c:pt idx="1062">
                  <c:v>7</c:v>
                </c:pt>
                <c:pt idx="1063">
                  <c:v>7</c:v>
                </c:pt>
                <c:pt idx="1064">
                  <c:v>9</c:v>
                </c:pt>
                <c:pt idx="1065">
                  <c:v>1</c:v>
                </c:pt>
                <c:pt idx="1066">
                  <c:v>3</c:v>
                </c:pt>
                <c:pt idx="1067">
                  <c:v>0</c:v>
                </c:pt>
                <c:pt idx="1068">
                  <c:v>0</c:v>
                </c:pt>
                <c:pt idx="1069">
                  <c:v>5</c:v>
                </c:pt>
                <c:pt idx="1070">
                  <c:v>0</c:v>
                </c:pt>
                <c:pt idx="1071">
                  <c:v>3</c:v>
                </c:pt>
                <c:pt idx="1072">
                  <c:v>1</c:v>
                </c:pt>
                <c:pt idx="1073">
                  <c:v>0</c:v>
                </c:pt>
                <c:pt idx="1074">
                  <c:v>0</c:v>
                </c:pt>
                <c:pt idx="1075">
                  <c:v>1</c:v>
                </c:pt>
                <c:pt idx="1076">
                  <c:v>0</c:v>
                </c:pt>
                <c:pt idx="1077">
                  <c:v>4</c:v>
                </c:pt>
                <c:pt idx="1078">
                  <c:v>26</c:v>
                </c:pt>
                <c:pt idx="1079">
                  <c:v>0</c:v>
                </c:pt>
                <c:pt idx="1080">
                  <c:v>2</c:v>
                </c:pt>
                <c:pt idx="1081">
                  <c:v>0</c:v>
                </c:pt>
                <c:pt idx="1082">
                  <c:v>6</c:v>
                </c:pt>
                <c:pt idx="1083">
                  <c:v>3</c:v>
                </c:pt>
                <c:pt idx="1084">
                  <c:v>0</c:v>
                </c:pt>
                <c:pt idx="1085">
                  <c:v>0</c:v>
                </c:pt>
                <c:pt idx="1086">
                  <c:v>1</c:v>
                </c:pt>
                <c:pt idx="1087">
                  <c:v>0</c:v>
                </c:pt>
                <c:pt idx="1088">
                  <c:v>2</c:v>
                </c:pt>
                <c:pt idx="1089">
                  <c:v>1</c:v>
                </c:pt>
                <c:pt idx="1090">
                  <c:v>4</c:v>
                </c:pt>
                <c:pt idx="1091">
                  <c:v>0</c:v>
                </c:pt>
                <c:pt idx="1092">
                  <c:v>0</c:v>
                </c:pt>
                <c:pt idx="1093">
                  <c:v>1</c:v>
                </c:pt>
                <c:pt idx="1094">
                  <c:v>1</c:v>
                </c:pt>
                <c:pt idx="1095">
                  <c:v>4</c:v>
                </c:pt>
                <c:pt idx="1096">
                  <c:v>0</c:v>
                </c:pt>
                <c:pt idx="1097">
                  <c:v>0</c:v>
                </c:pt>
                <c:pt idx="1098">
                  <c:v>0</c:v>
                </c:pt>
                <c:pt idx="1099">
                  <c:v>2</c:v>
                </c:pt>
                <c:pt idx="1100">
                  <c:v>2</c:v>
                </c:pt>
                <c:pt idx="1101">
                  <c:v>0</c:v>
                </c:pt>
                <c:pt idx="1102">
                  <c:v>1</c:v>
                </c:pt>
                <c:pt idx="1103">
                  <c:v>0</c:v>
                </c:pt>
                <c:pt idx="1104">
                  <c:v>0</c:v>
                </c:pt>
                <c:pt idx="1105">
                  <c:v>22</c:v>
                </c:pt>
                <c:pt idx="1106">
                  <c:v>0</c:v>
                </c:pt>
                <c:pt idx="1107">
                  <c:v>1</c:v>
                </c:pt>
                <c:pt idx="1108">
                  <c:v>0</c:v>
                </c:pt>
                <c:pt idx="1109">
                  <c:v>0</c:v>
                </c:pt>
                <c:pt idx="1110">
                  <c:v>0</c:v>
                </c:pt>
                <c:pt idx="1111">
                  <c:v>0</c:v>
                </c:pt>
                <c:pt idx="1112">
                  <c:v>0</c:v>
                </c:pt>
                <c:pt idx="1113">
                  <c:v>2</c:v>
                </c:pt>
                <c:pt idx="1114">
                  <c:v>2</c:v>
                </c:pt>
                <c:pt idx="1115">
                  <c:v>0</c:v>
                </c:pt>
                <c:pt idx="1116">
                  <c:v>0</c:v>
                </c:pt>
                <c:pt idx="1117">
                  <c:v>1</c:v>
                </c:pt>
                <c:pt idx="1118">
                  <c:v>0</c:v>
                </c:pt>
                <c:pt idx="1119">
                  <c:v>0</c:v>
                </c:pt>
                <c:pt idx="1120">
                  <c:v>0</c:v>
                </c:pt>
                <c:pt idx="1121">
                  <c:v>1</c:v>
                </c:pt>
                <c:pt idx="1122">
                  <c:v>0</c:v>
                </c:pt>
                <c:pt idx="1123">
                  <c:v>7</c:v>
                </c:pt>
                <c:pt idx="1124">
                  <c:v>1</c:v>
                </c:pt>
                <c:pt idx="1125">
                  <c:v>1</c:v>
                </c:pt>
                <c:pt idx="1126">
                  <c:v>3</c:v>
                </c:pt>
                <c:pt idx="1127">
                  <c:v>1</c:v>
                </c:pt>
                <c:pt idx="1128">
                  <c:v>7</c:v>
                </c:pt>
                <c:pt idx="1129">
                  <c:v>46</c:v>
                </c:pt>
                <c:pt idx="1130">
                  <c:v>0</c:v>
                </c:pt>
                <c:pt idx="1131">
                  <c:v>0</c:v>
                </c:pt>
                <c:pt idx="1132">
                  <c:v>8</c:v>
                </c:pt>
                <c:pt idx="1133">
                  <c:v>0</c:v>
                </c:pt>
                <c:pt idx="1134">
                  <c:v>3</c:v>
                </c:pt>
                <c:pt idx="1135">
                  <c:v>0</c:v>
                </c:pt>
                <c:pt idx="1136">
                  <c:v>1</c:v>
                </c:pt>
                <c:pt idx="1137">
                  <c:v>2</c:v>
                </c:pt>
                <c:pt idx="1138">
                  <c:v>0</c:v>
                </c:pt>
                <c:pt idx="1139">
                  <c:v>1</c:v>
                </c:pt>
                <c:pt idx="1140">
                  <c:v>5</c:v>
                </c:pt>
                <c:pt idx="1141">
                  <c:v>1</c:v>
                </c:pt>
                <c:pt idx="1142">
                  <c:v>0</c:v>
                </c:pt>
                <c:pt idx="1143">
                  <c:v>1</c:v>
                </c:pt>
                <c:pt idx="1144">
                  <c:v>0</c:v>
                </c:pt>
                <c:pt idx="1145">
                  <c:v>6</c:v>
                </c:pt>
                <c:pt idx="1146">
                  <c:v>4</c:v>
                </c:pt>
                <c:pt idx="1147">
                  <c:v>4</c:v>
                </c:pt>
                <c:pt idx="1148">
                  <c:v>1</c:v>
                </c:pt>
                <c:pt idx="1149">
                  <c:v>0</c:v>
                </c:pt>
                <c:pt idx="1150">
                  <c:v>7</c:v>
                </c:pt>
                <c:pt idx="1151">
                  <c:v>3</c:v>
                </c:pt>
                <c:pt idx="1152">
                  <c:v>0</c:v>
                </c:pt>
                <c:pt idx="1153">
                  <c:v>3</c:v>
                </c:pt>
                <c:pt idx="1154">
                  <c:v>0</c:v>
                </c:pt>
                <c:pt idx="1155">
                  <c:v>0</c:v>
                </c:pt>
                <c:pt idx="1156">
                  <c:v>0</c:v>
                </c:pt>
                <c:pt idx="1157">
                  <c:v>0</c:v>
                </c:pt>
                <c:pt idx="1158">
                  <c:v>0</c:v>
                </c:pt>
                <c:pt idx="1159">
                  <c:v>0</c:v>
                </c:pt>
                <c:pt idx="1160">
                  <c:v>1</c:v>
                </c:pt>
                <c:pt idx="1161">
                  <c:v>2</c:v>
                </c:pt>
                <c:pt idx="1162">
                  <c:v>1</c:v>
                </c:pt>
                <c:pt idx="1163">
                  <c:v>0</c:v>
                </c:pt>
                <c:pt idx="1164">
                  <c:v>1</c:v>
                </c:pt>
                <c:pt idx="1165">
                  <c:v>0</c:v>
                </c:pt>
                <c:pt idx="1166">
                  <c:v>3</c:v>
                </c:pt>
                <c:pt idx="1167">
                  <c:v>0</c:v>
                </c:pt>
                <c:pt idx="1168">
                  <c:v>6</c:v>
                </c:pt>
                <c:pt idx="1169">
                  <c:v>0</c:v>
                </c:pt>
                <c:pt idx="1170">
                  <c:v>0</c:v>
                </c:pt>
                <c:pt idx="1171">
                  <c:v>0</c:v>
                </c:pt>
                <c:pt idx="1172">
                  <c:v>0</c:v>
                </c:pt>
                <c:pt idx="1173">
                  <c:v>0</c:v>
                </c:pt>
                <c:pt idx="1174">
                  <c:v>4</c:v>
                </c:pt>
                <c:pt idx="1175">
                  <c:v>1</c:v>
                </c:pt>
                <c:pt idx="1176">
                  <c:v>1</c:v>
                </c:pt>
                <c:pt idx="1177">
                  <c:v>9</c:v>
                </c:pt>
                <c:pt idx="1178">
                  <c:v>0</c:v>
                </c:pt>
                <c:pt idx="1179">
                  <c:v>0</c:v>
                </c:pt>
                <c:pt idx="1180">
                  <c:v>2</c:v>
                </c:pt>
                <c:pt idx="1181">
                  <c:v>0</c:v>
                </c:pt>
                <c:pt idx="1182">
                  <c:v>8</c:v>
                </c:pt>
                <c:pt idx="1183">
                  <c:v>0</c:v>
                </c:pt>
                <c:pt idx="1184">
                  <c:v>0</c:v>
                </c:pt>
                <c:pt idx="1185">
                  <c:v>1</c:v>
                </c:pt>
                <c:pt idx="1186">
                  <c:v>0</c:v>
                </c:pt>
                <c:pt idx="1187">
                  <c:v>0</c:v>
                </c:pt>
                <c:pt idx="1188">
                  <c:v>0</c:v>
                </c:pt>
                <c:pt idx="1189">
                  <c:v>3</c:v>
                </c:pt>
                <c:pt idx="1190">
                  <c:v>0</c:v>
                </c:pt>
                <c:pt idx="1191">
                  <c:v>0</c:v>
                </c:pt>
                <c:pt idx="1192">
                  <c:v>0</c:v>
                </c:pt>
                <c:pt idx="1193">
                  <c:v>0</c:v>
                </c:pt>
                <c:pt idx="1194">
                  <c:v>0</c:v>
                </c:pt>
                <c:pt idx="1195">
                  <c:v>4</c:v>
                </c:pt>
                <c:pt idx="1196">
                  <c:v>0</c:v>
                </c:pt>
                <c:pt idx="1197">
                  <c:v>1</c:v>
                </c:pt>
                <c:pt idx="1198">
                  <c:v>2</c:v>
                </c:pt>
                <c:pt idx="1199">
                  <c:v>8</c:v>
                </c:pt>
                <c:pt idx="1200">
                  <c:v>3</c:v>
                </c:pt>
                <c:pt idx="1201">
                  <c:v>3</c:v>
                </c:pt>
                <c:pt idx="1202">
                  <c:v>0</c:v>
                </c:pt>
                <c:pt idx="1203">
                  <c:v>3</c:v>
                </c:pt>
                <c:pt idx="1204">
                  <c:v>1</c:v>
                </c:pt>
                <c:pt idx="1205">
                  <c:v>0</c:v>
                </c:pt>
                <c:pt idx="1206">
                  <c:v>2</c:v>
                </c:pt>
                <c:pt idx="1207">
                  <c:v>0</c:v>
                </c:pt>
                <c:pt idx="1208">
                  <c:v>0</c:v>
                </c:pt>
                <c:pt idx="1209">
                  <c:v>0</c:v>
                </c:pt>
                <c:pt idx="1210">
                  <c:v>4</c:v>
                </c:pt>
                <c:pt idx="1211">
                  <c:v>0</c:v>
                </c:pt>
                <c:pt idx="1212">
                  <c:v>6</c:v>
                </c:pt>
                <c:pt idx="1213">
                  <c:v>0</c:v>
                </c:pt>
                <c:pt idx="1214">
                  <c:v>0</c:v>
                </c:pt>
                <c:pt idx="1215">
                  <c:v>6</c:v>
                </c:pt>
                <c:pt idx="1216">
                  <c:v>0</c:v>
                </c:pt>
                <c:pt idx="1217">
                  <c:v>2</c:v>
                </c:pt>
                <c:pt idx="1218">
                  <c:v>2</c:v>
                </c:pt>
                <c:pt idx="1219">
                  <c:v>5</c:v>
                </c:pt>
                <c:pt idx="1220">
                  <c:v>1</c:v>
                </c:pt>
                <c:pt idx="1221">
                  <c:v>2</c:v>
                </c:pt>
                <c:pt idx="1222">
                  <c:v>5</c:v>
                </c:pt>
                <c:pt idx="1223">
                  <c:v>0</c:v>
                </c:pt>
                <c:pt idx="1224">
                  <c:v>0</c:v>
                </c:pt>
                <c:pt idx="1225">
                  <c:v>0</c:v>
                </c:pt>
                <c:pt idx="1226">
                  <c:v>0</c:v>
                </c:pt>
                <c:pt idx="1227">
                  <c:v>2</c:v>
                </c:pt>
                <c:pt idx="1228">
                  <c:v>0</c:v>
                </c:pt>
                <c:pt idx="1229">
                  <c:v>4</c:v>
                </c:pt>
                <c:pt idx="1230">
                  <c:v>0</c:v>
                </c:pt>
                <c:pt idx="1231">
                  <c:v>2</c:v>
                </c:pt>
                <c:pt idx="1232">
                  <c:v>3</c:v>
                </c:pt>
                <c:pt idx="1233">
                  <c:v>1</c:v>
                </c:pt>
                <c:pt idx="1234">
                  <c:v>0</c:v>
                </c:pt>
                <c:pt idx="1235">
                  <c:v>1</c:v>
                </c:pt>
                <c:pt idx="1236">
                  <c:v>2</c:v>
                </c:pt>
                <c:pt idx="1237">
                  <c:v>1</c:v>
                </c:pt>
                <c:pt idx="1238">
                  <c:v>1</c:v>
                </c:pt>
                <c:pt idx="1239">
                  <c:v>2</c:v>
                </c:pt>
                <c:pt idx="1240">
                  <c:v>2</c:v>
                </c:pt>
                <c:pt idx="1241">
                  <c:v>0</c:v>
                </c:pt>
                <c:pt idx="1242">
                  <c:v>0</c:v>
                </c:pt>
                <c:pt idx="1243">
                  <c:v>1</c:v>
                </c:pt>
                <c:pt idx="1244">
                  <c:v>0</c:v>
                </c:pt>
                <c:pt idx="1245">
                  <c:v>3</c:v>
                </c:pt>
                <c:pt idx="1246">
                  <c:v>0</c:v>
                </c:pt>
                <c:pt idx="1247">
                  <c:v>0</c:v>
                </c:pt>
                <c:pt idx="1248">
                  <c:v>0</c:v>
                </c:pt>
                <c:pt idx="1249">
                  <c:v>1</c:v>
                </c:pt>
                <c:pt idx="1250">
                  <c:v>1</c:v>
                </c:pt>
                <c:pt idx="1251">
                  <c:v>0</c:v>
                </c:pt>
                <c:pt idx="1252">
                  <c:v>0</c:v>
                </c:pt>
                <c:pt idx="1253">
                  <c:v>0</c:v>
                </c:pt>
                <c:pt idx="1254">
                  <c:v>7</c:v>
                </c:pt>
                <c:pt idx="1255">
                  <c:v>3</c:v>
                </c:pt>
                <c:pt idx="1256">
                  <c:v>0</c:v>
                </c:pt>
                <c:pt idx="1257">
                  <c:v>0</c:v>
                </c:pt>
                <c:pt idx="1258">
                  <c:v>0</c:v>
                </c:pt>
                <c:pt idx="1259">
                  <c:v>0</c:v>
                </c:pt>
                <c:pt idx="1260">
                  <c:v>1</c:v>
                </c:pt>
                <c:pt idx="1261">
                  <c:v>0</c:v>
                </c:pt>
                <c:pt idx="1262">
                  <c:v>2</c:v>
                </c:pt>
                <c:pt idx="1263">
                  <c:v>5</c:v>
                </c:pt>
                <c:pt idx="1264">
                  <c:v>0</c:v>
                </c:pt>
                <c:pt idx="1265">
                  <c:v>0</c:v>
                </c:pt>
                <c:pt idx="1266">
                  <c:v>1</c:v>
                </c:pt>
                <c:pt idx="1267">
                  <c:v>0</c:v>
                </c:pt>
                <c:pt idx="1268">
                  <c:v>2</c:v>
                </c:pt>
                <c:pt idx="1269">
                  <c:v>0</c:v>
                </c:pt>
                <c:pt idx="1270">
                  <c:v>1</c:v>
                </c:pt>
                <c:pt idx="1271">
                  <c:v>2</c:v>
                </c:pt>
                <c:pt idx="1272">
                  <c:v>0</c:v>
                </c:pt>
                <c:pt idx="1273">
                  <c:v>2</c:v>
                </c:pt>
                <c:pt idx="1274">
                  <c:v>0</c:v>
                </c:pt>
                <c:pt idx="1275">
                  <c:v>2</c:v>
                </c:pt>
                <c:pt idx="1276">
                  <c:v>3</c:v>
                </c:pt>
                <c:pt idx="1277">
                  <c:v>0</c:v>
                </c:pt>
                <c:pt idx="1278">
                  <c:v>15</c:v>
                </c:pt>
                <c:pt idx="1279">
                  <c:v>0</c:v>
                </c:pt>
                <c:pt idx="1280">
                  <c:v>0</c:v>
                </c:pt>
                <c:pt idx="1281">
                  <c:v>5</c:v>
                </c:pt>
                <c:pt idx="1282">
                  <c:v>3</c:v>
                </c:pt>
                <c:pt idx="1283">
                  <c:v>15</c:v>
                </c:pt>
                <c:pt idx="1284">
                  <c:v>1</c:v>
                </c:pt>
                <c:pt idx="1285">
                  <c:v>0</c:v>
                </c:pt>
                <c:pt idx="1286">
                  <c:v>3</c:v>
                </c:pt>
                <c:pt idx="1287">
                  <c:v>6</c:v>
                </c:pt>
                <c:pt idx="1288">
                  <c:v>1</c:v>
                </c:pt>
                <c:pt idx="1289">
                  <c:v>3</c:v>
                </c:pt>
                <c:pt idx="1290">
                  <c:v>4</c:v>
                </c:pt>
                <c:pt idx="1291">
                  <c:v>0</c:v>
                </c:pt>
                <c:pt idx="1292">
                  <c:v>0</c:v>
                </c:pt>
                <c:pt idx="1293">
                  <c:v>0</c:v>
                </c:pt>
                <c:pt idx="1294">
                  <c:v>0</c:v>
                </c:pt>
                <c:pt idx="1295">
                  <c:v>0</c:v>
                </c:pt>
                <c:pt idx="1296">
                  <c:v>0</c:v>
                </c:pt>
                <c:pt idx="1297">
                  <c:v>9</c:v>
                </c:pt>
                <c:pt idx="1298">
                  <c:v>3</c:v>
                </c:pt>
                <c:pt idx="1299">
                  <c:v>1</c:v>
                </c:pt>
                <c:pt idx="1300">
                  <c:v>8</c:v>
                </c:pt>
                <c:pt idx="1301">
                  <c:v>1</c:v>
                </c:pt>
                <c:pt idx="1302">
                  <c:v>0</c:v>
                </c:pt>
                <c:pt idx="1303">
                  <c:v>0</c:v>
                </c:pt>
                <c:pt idx="1304">
                  <c:v>0</c:v>
                </c:pt>
                <c:pt idx="1305">
                  <c:v>0</c:v>
                </c:pt>
                <c:pt idx="1306">
                  <c:v>2</c:v>
                </c:pt>
                <c:pt idx="1307">
                  <c:v>1</c:v>
                </c:pt>
                <c:pt idx="1308">
                  <c:v>11</c:v>
                </c:pt>
                <c:pt idx="1309">
                  <c:v>0</c:v>
                </c:pt>
                <c:pt idx="1310">
                  <c:v>3</c:v>
                </c:pt>
                <c:pt idx="1311">
                  <c:v>0</c:v>
                </c:pt>
                <c:pt idx="1312">
                  <c:v>0</c:v>
                </c:pt>
                <c:pt idx="1313">
                  <c:v>8</c:v>
                </c:pt>
                <c:pt idx="1314">
                  <c:v>0</c:v>
                </c:pt>
                <c:pt idx="1315">
                  <c:v>0</c:v>
                </c:pt>
                <c:pt idx="1316">
                  <c:v>0</c:v>
                </c:pt>
                <c:pt idx="1317">
                  <c:v>0</c:v>
                </c:pt>
                <c:pt idx="1318">
                  <c:v>6</c:v>
                </c:pt>
                <c:pt idx="1319">
                  <c:v>0</c:v>
                </c:pt>
                <c:pt idx="1320">
                  <c:v>0</c:v>
                </c:pt>
                <c:pt idx="1321">
                  <c:v>0</c:v>
                </c:pt>
                <c:pt idx="1322">
                  <c:v>0</c:v>
                </c:pt>
                <c:pt idx="1323">
                  <c:v>1</c:v>
                </c:pt>
                <c:pt idx="1324">
                  <c:v>2</c:v>
                </c:pt>
                <c:pt idx="1325">
                  <c:v>0</c:v>
                </c:pt>
                <c:pt idx="1326">
                  <c:v>1</c:v>
                </c:pt>
                <c:pt idx="1327">
                  <c:v>0</c:v>
                </c:pt>
                <c:pt idx="1328">
                  <c:v>0</c:v>
                </c:pt>
                <c:pt idx="1329">
                  <c:v>0</c:v>
                </c:pt>
                <c:pt idx="1330">
                  <c:v>1</c:v>
                </c:pt>
                <c:pt idx="1331">
                  <c:v>9</c:v>
                </c:pt>
                <c:pt idx="1332">
                  <c:v>2</c:v>
                </c:pt>
                <c:pt idx="1333">
                  <c:v>1</c:v>
                </c:pt>
                <c:pt idx="1334">
                  <c:v>0</c:v>
                </c:pt>
                <c:pt idx="1335">
                  <c:v>1</c:v>
                </c:pt>
                <c:pt idx="1336">
                  <c:v>1</c:v>
                </c:pt>
                <c:pt idx="1337">
                  <c:v>5</c:v>
                </c:pt>
                <c:pt idx="1338">
                  <c:v>0</c:v>
                </c:pt>
                <c:pt idx="1339">
                  <c:v>0</c:v>
                </c:pt>
                <c:pt idx="1340">
                  <c:v>0</c:v>
                </c:pt>
                <c:pt idx="1341">
                  <c:v>1</c:v>
                </c:pt>
                <c:pt idx="1342">
                  <c:v>0</c:v>
                </c:pt>
                <c:pt idx="1343">
                  <c:v>1</c:v>
                </c:pt>
                <c:pt idx="1344">
                  <c:v>1</c:v>
                </c:pt>
                <c:pt idx="1345">
                  <c:v>3</c:v>
                </c:pt>
                <c:pt idx="1346">
                  <c:v>0</c:v>
                </c:pt>
                <c:pt idx="1347">
                  <c:v>1</c:v>
                </c:pt>
                <c:pt idx="1348">
                  <c:v>3</c:v>
                </c:pt>
                <c:pt idx="1349">
                  <c:v>0</c:v>
                </c:pt>
                <c:pt idx="1350">
                  <c:v>1</c:v>
                </c:pt>
                <c:pt idx="1351">
                  <c:v>0</c:v>
                </c:pt>
                <c:pt idx="1352">
                  <c:v>10</c:v>
                </c:pt>
                <c:pt idx="1353">
                  <c:v>0</c:v>
                </c:pt>
                <c:pt idx="1354">
                  <c:v>1</c:v>
                </c:pt>
                <c:pt idx="1355">
                  <c:v>0</c:v>
                </c:pt>
                <c:pt idx="1356">
                  <c:v>2</c:v>
                </c:pt>
                <c:pt idx="1357">
                  <c:v>1</c:v>
                </c:pt>
                <c:pt idx="1358">
                  <c:v>1</c:v>
                </c:pt>
                <c:pt idx="1359">
                  <c:v>0</c:v>
                </c:pt>
                <c:pt idx="1360">
                  <c:v>0</c:v>
                </c:pt>
                <c:pt idx="1361">
                  <c:v>4</c:v>
                </c:pt>
                <c:pt idx="1362">
                  <c:v>1</c:v>
                </c:pt>
                <c:pt idx="1363">
                  <c:v>2</c:v>
                </c:pt>
                <c:pt idx="1364">
                  <c:v>3</c:v>
                </c:pt>
                <c:pt idx="1365">
                  <c:v>0</c:v>
                </c:pt>
                <c:pt idx="1366">
                  <c:v>0</c:v>
                </c:pt>
                <c:pt idx="1367">
                  <c:v>16</c:v>
                </c:pt>
                <c:pt idx="1368">
                  <c:v>0</c:v>
                </c:pt>
                <c:pt idx="1369">
                  <c:v>0</c:v>
                </c:pt>
                <c:pt idx="1370">
                  <c:v>2</c:v>
                </c:pt>
                <c:pt idx="1371">
                  <c:v>0</c:v>
                </c:pt>
                <c:pt idx="1372">
                  <c:v>2</c:v>
                </c:pt>
                <c:pt idx="1373">
                  <c:v>0</c:v>
                </c:pt>
                <c:pt idx="1374">
                  <c:v>1</c:v>
                </c:pt>
                <c:pt idx="1375">
                  <c:v>0</c:v>
                </c:pt>
                <c:pt idx="1376">
                  <c:v>0</c:v>
                </c:pt>
                <c:pt idx="1377">
                  <c:v>0</c:v>
                </c:pt>
                <c:pt idx="1378">
                  <c:v>0</c:v>
                </c:pt>
                <c:pt idx="1379">
                  <c:v>3</c:v>
                </c:pt>
                <c:pt idx="1380">
                  <c:v>2</c:v>
                </c:pt>
                <c:pt idx="1381">
                  <c:v>0</c:v>
                </c:pt>
                <c:pt idx="1382">
                  <c:v>2</c:v>
                </c:pt>
                <c:pt idx="1383">
                  <c:v>4</c:v>
                </c:pt>
                <c:pt idx="1384">
                  <c:v>3</c:v>
                </c:pt>
                <c:pt idx="1385">
                  <c:v>7</c:v>
                </c:pt>
                <c:pt idx="1386">
                  <c:v>2</c:v>
                </c:pt>
                <c:pt idx="1387">
                  <c:v>0</c:v>
                </c:pt>
                <c:pt idx="1388">
                  <c:v>0</c:v>
                </c:pt>
                <c:pt idx="1389">
                  <c:v>4</c:v>
                </c:pt>
                <c:pt idx="1390">
                  <c:v>2</c:v>
                </c:pt>
                <c:pt idx="1391">
                  <c:v>0</c:v>
                </c:pt>
                <c:pt idx="1392">
                  <c:v>0</c:v>
                </c:pt>
                <c:pt idx="1393">
                  <c:v>0</c:v>
                </c:pt>
                <c:pt idx="1394">
                  <c:v>3</c:v>
                </c:pt>
                <c:pt idx="1395">
                  <c:v>1</c:v>
                </c:pt>
                <c:pt idx="1396">
                  <c:v>0</c:v>
                </c:pt>
                <c:pt idx="1397">
                  <c:v>4</c:v>
                </c:pt>
                <c:pt idx="1398">
                  <c:v>2</c:v>
                </c:pt>
                <c:pt idx="1399">
                  <c:v>0</c:v>
                </c:pt>
                <c:pt idx="1400">
                  <c:v>0</c:v>
                </c:pt>
                <c:pt idx="1401">
                  <c:v>2</c:v>
                </c:pt>
                <c:pt idx="1402">
                  <c:v>0</c:v>
                </c:pt>
                <c:pt idx="1403">
                  <c:v>0</c:v>
                </c:pt>
                <c:pt idx="1404">
                  <c:v>1</c:v>
                </c:pt>
                <c:pt idx="1405">
                  <c:v>0</c:v>
                </c:pt>
                <c:pt idx="1406">
                  <c:v>1</c:v>
                </c:pt>
                <c:pt idx="1407">
                  <c:v>0</c:v>
                </c:pt>
                <c:pt idx="1408">
                  <c:v>0</c:v>
                </c:pt>
                <c:pt idx="1409">
                  <c:v>0</c:v>
                </c:pt>
                <c:pt idx="1410">
                  <c:v>0</c:v>
                </c:pt>
                <c:pt idx="1411">
                  <c:v>0</c:v>
                </c:pt>
                <c:pt idx="1412">
                  <c:v>13</c:v>
                </c:pt>
                <c:pt idx="1413">
                  <c:v>0</c:v>
                </c:pt>
                <c:pt idx="1414">
                  <c:v>1</c:v>
                </c:pt>
                <c:pt idx="1415">
                  <c:v>0</c:v>
                </c:pt>
                <c:pt idx="1416">
                  <c:v>0</c:v>
                </c:pt>
                <c:pt idx="1417">
                  <c:v>0</c:v>
                </c:pt>
                <c:pt idx="1418">
                  <c:v>0</c:v>
                </c:pt>
                <c:pt idx="1419">
                  <c:v>0</c:v>
                </c:pt>
                <c:pt idx="1420">
                  <c:v>0</c:v>
                </c:pt>
                <c:pt idx="1421">
                  <c:v>0</c:v>
                </c:pt>
                <c:pt idx="1422">
                  <c:v>0</c:v>
                </c:pt>
                <c:pt idx="1423">
                  <c:v>0</c:v>
                </c:pt>
                <c:pt idx="1424">
                  <c:v>0</c:v>
                </c:pt>
                <c:pt idx="1425">
                  <c:v>0</c:v>
                </c:pt>
                <c:pt idx="1426">
                  <c:v>1</c:v>
                </c:pt>
                <c:pt idx="1427">
                  <c:v>0</c:v>
                </c:pt>
                <c:pt idx="1428">
                  <c:v>0</c:v>
                </c:pt>
                <c:pt idx="1429">
                  <c:v>1</c:v>
                </c:pt>
                <c:pt idx="1430">
                  <c:v>1</c:v>
                </c:pt>
                <c:pt idx="1431">
                  <c:v>0</c:v>
                </c:pt>
                <c:pt idx="1432">
                  <c:v>0</c:v>
                </c:pt>
                <c:pt idx="1433">
                  <c:v>4</c:v>
                </c:pt>
                <c:pt idx="1434">
                  <c:v>0</c:v>
                </c:pt>
                <c:pt idx="1435">
                  <c:v>2</c:v>
                </c:pt>
                <c:pt idx="1436">
                  <c:v>0</c:v>
                </c:pt>
                <c:pt idx="1437">
                  <c:v>0</c:v>
                </c:pt>
                <c:pt idx="1438">
                  <c:v>0</c:v>
                </c:pt>
                <c:pt idx="1439">
                  <c:v>6</c:v>
                </c:pt>
                <c:pt idx="1440">
                  <c:v>1</c:v>
                </c:pt>
                <c:pt idx="1441">
                  <c:v>3</c:v>
                </c:pt>
                <c:pt idx="1442">
                  <c:v>0</c:v>
                </c:pt>
                <c:pt idx="1443">
                  <c:v>2</c:v>
                </c:pt>
                <c:pt idx="1444">
                  <c:v>0</c:v>
                </c:pt>
                <c:pt idx="1445">
                  <c:v>4</c:v>
                </c:pt>
                <c:pt idx="1446">
                  <c:v>0</c:v>
                </c:pt>
                <c:pt idx="1447">
                  <c:v>1</c:v>
                </c:pt>
                <c:pt idx="1448">
                  <c:v>0</c:v>
                </c:pt>
                <c:pt idx="1449">
                  <c:v>0</c:v>
                </c:pt>
                <c:pt idx="1450">
                  <c:v>0</c:v>
                </c:pt>
                <c:pt idx="1451">
                  <c:v>0</c:v>
                </c:pt>
                <c:pt idx="1452">
                  <c:v>0</c:v>
                </c:pt>
                <c:pt idx="1453">
                  <c:v>0</c:v>
                </c:pt>
                <c:pt idx="1454">
                  <c:v>0</c:v>
                </c:pt>
                <c:pt idx="1455">
                  <c:v>0</c:v>
                </c:pt>
                <c:pt idx="1456">
                  <c:v>2</c:v>
                </c:pt>
                <c:pt idx="1457">
                  <c:v>1</c:v>
                </c:pt>
                <c:pt idx="1458">
                  <c:v>1</c:v>
                </c:pt>
                <c:pt idx="1459">
                  <c:v>0</c:v>
                </c:pt>
                <c:pt idx="1460">
                  <c:v>1</c:v>
                </c:pt>
                <c:pt idx="1461">
                  <c:v>0</c:v>
                </c:pt>
                <c:pt idx="1462">
                  <c:v>1</c:v>
                </c:pt>
                <c:pt idx="1463">
                  <c:v>0</c:v>
                </c:pt>
                <c:pt idx="1464">
                  <c:v>0</c:v>
                </c:pt>
                <c:pt idx="1465">
                  <c:v>0</c:v>
                </c:pt>
                <c:pt idx="1466">
                  <c:v>1</c:v>
                </c:pt>
                <c:pt idx="1467">
                  <c:v>0</c:v>
                </c:pt>
                <c:pt idx="1468">
                  <c:v>0</c:v>
                </c:pt>
                <c:pt idx="1469">
                  <c:v>0</c:v>
                </c:pt>
                <c:pt idx="1470">
                  <c:v>0</c:v>
                </c:pt>
                <c:pt idx="1471">
                  <c:v>0</c:v>
                </c:pt>
                <c:pt idx="1472">
                  <c:v>0</c:v>
                </c:pt>
                <c:pt idx="1473">
                  <c:v>23</c:v>
                </c:pt>
                <c:pt idx="1474">
                  <c:v>0</c:v>
                </c:pt>
                <c:pt idx="1475">
                  <c:v>2</c:v>
                </c:pt>
                <c:pt idx="1476">
                  <c:v>0</c:v>
                </c:pt>
                <c:pt idx="1477">
                  <c:v>0</c:v>
                </c:pt>
                <c:pt idx="1478">
                  <c:v>0</c:v>
                </c:pt>
                <c:pt idx="1479">
                  <c:v>0</c:v>
                </c:pt>
                <c:pt idx="1480">
                  <c:v>0</c:v>
                </c:pt>
                <c:pt idx="1481">
                  <c:v>0</c:v>
                </c:pt>
                <c:pt idx="1482">
                  <c:v>0</c:v>
                </c:pt>
                <c:pt idx="1483">
                  <c:v>1</c:v>
                </c:pt>
                <c:pt idx="1484">
                  <c:v>0</c:v>
                </c:pt>
                <c:pt idx="1485">
                  <c:v>0</c:v>
                </c:pt>
                <c:pt idx="1486">
                  <c:v>3</c:v>
                </c:pt>
                <c:pt idx="1487">
                  <c:v>0</c:v>
                </c:pt>
                <c:pt idx="1488">
                  <c:v>0</c:v>
                </c:pt>
                <c:pt idx="1489">
                  <c:v>0</c:v>
                </c:pt>
                <c:pt idx="1490">
                  <c:v>0</c:v>
                </c:pt>
                <c:pt idx="1491">
                  <c:v>0</c:v>
                </c:pt>
                <c:pt idx="1492">
                  <c:v>0</c:v>
                </c:pt>
                <c:pt idx="1493">
                  <c:v>2</c:v>
                </c:pt>
                <c:pt idx="1494">
                  <c:v>6</c:v>
                </c:pt>
                <c:pt idx="1495">
                  <c:v>1</c:v>
                </c:pt>
                <c:pt idx="1496">
                  <c:v>1</c:v>
                </c:pt>
                <c:pt idx="1497">
                  <c:v>0</c:v>
                </c:pt>
                <c:pt idx="1498">
                  <c:v>5</c:v>
                </c:pt>
                <c:pt idx="1499">
                  <c:v>0</c:v>
                </c:pt>
                <c:pt idx="1500">
                  <c:v>0</c:v>
                </c:pt>
                <c:pt idx="1501">
                  <c:v>2</c:v>
                </c:pt>
                <c:pt idx="1502">
                  <c:v>0</c:v>
                </c:pt>
                <c:pt idx="1503">
                  <c:v>0</c:v>
                </c:pt>
                <c:pt idx="1504">
                  <c:v>2</c:v>
                </c:pt>
                <c:pt idx="1505">
                  <c:v>0</c:v>
                </c:pt>
                <c:pt idx="1506">
                  <c:v>1</c:v>
                </c:pt>
                <c:pt idx="1507">
                  <c:v>0</c:v>
                </c:pt>
                <c:pt idx="1508">
                  <c:v>1</c:v>
                </c:pt>
                <c:pt idx="1509">
                  <c:v>0</c:v>
                </c:pt>
                <c:pt idx="1510">
                  <c:v>0</c:v>
                </c:pt>
                <c:pt idx="1511">
                  <c:v>4</c:v>
                </c:pt>
                <c:pt idx="1512">
                  <c:v>0</c:v>
                </c:pt>
                <c:pt idx="1513">
                  <c:v>0</c:v>
                </c:pt>
                <c:pt idx="1514">
                  <c:v>0</c:v>
                </c:pt>
                <c:pt idx="1515">
                  <c:v>0</c:v>
                </c:pt>
                <c:pt idx="1516">
                  <c:v>0</c:v>
                </c:pt>
                <c:pt idx="1517">
                  <c:v>0</c:v>
                </c:pt>
                <c:pt idx="1518">
                  <c:v>0</c:v>
                </c:pt>
                <c:pt idx="1519">
                  <c:v>1</c:v>
                </c:pt>
                <c:pt idx="1520">
                  <c:v>1</c:v>
                </c:pt>
                <c:pt idx="1521">
                  <c:v>0</c:v>
                </c:pt>
                <c:pt idx="1522">
                  <c:v>0</c:v>
                </c:pt>
                <c:pt idx="1523">
                  <c:v>0</c:v>
                </c:pt>
                <c:pt idx="1524">
                  <c:v>0</c:v>
                </c:pt>
                <c:pt idx="1525">
                  <c:v>0</c:v>
                </c:pt>
                <c:pt idx="1526">
                  <c:v>0</c:v>
                </c:pt>
                <c:pt idx="1527">
                  <c:v>0</c:v>
                </c:pt>
                <c:pt idx="1528">
                  <c:v>0</c:v>
                </c:pt>
                <c:pt idx="1529">
                  <c:v>0</c:v>
                </c:pt>
                <c:pt idx="1530">
                  <c:v>0</c:v>
                </c:pt>
                <c:pt idx="1531">
                  <c:v>2</c:v>
                </c:pt>
                <c:pt idx="1532">
                  <c:v>0</c:v>
                </c:pt>
                <c:pt idx="1533">
                  <c:v>1</c:v>
                </c:pt>
                <c:pt idx="1534">
                  <c:v>0</c:v>
                </c:pt>
                <c:pt idx="1535">
                  <c:v>0</c:v>
                </c:pt>
                <c:pt idx="1536">
                  <c:v>0</c:v>
                </c:pt>
                <c:pt idx="1537">
                  <c:v>0</c:v>
                </c:pt>
                <c:pt idx="1538">
                  <c:v>1</c:v>
                </c:pt>
                <c:pt idx="1539">
                  <c:v>2</c:v>
                </c:pt>
                <c:pt idx="1540">
                  <c:v>0</c:v>
                </c:pt>
                <c:pt idx="1541">
                  <c:v>6</c:v>
                </c:pt>
                <c:pt idx="1542">
                  <c:v>0</c:v>
                </c:pt>
                <c:pt idx="1543">
                  <c:v>0</c:v>
                </c:pt>
                <c:pt idx="1544">
                  <c:v>0</c:v>
                </c:pt>
                <c:pt idx="1545">
                  <c:v>0</c:v>
                </c:pt>
                <c:pt idx="1546">
                  <c:v>18</c:v>
                </c:pt>
                <c:pt idx="1547">
                  <c:v>0</c:v>
                </c:pt>
                <c:pt idx="1548">
                  <c:v>4</c:v>
                </c:pt>
                <c:pt idx="1549">
                  <c:v>0</c:v>
                </c:pt>
                <c:pt idx="1550">
                  <c:v>0</c:v>
                </c:pt>
                <c:pt idx="1551">
                  <c:v>1</c:v>
                </c:pt>
                <c:pt idx="1552">
                  <c:v>0</c:v>
                </c:pt>
                <c:pt idx="1553">
                  <c:v>0</c:v>
                </c:pt>
                <c:pt idx="1554">
                  <c:v>0</c:v>
                </c:pt>
                <c:pt idx="1555">
                  <c:v>0</c:v>
                </c:pt>
                <c:pt idx="1556">
                  <c:v>0</c:v>
                </c:pt>
                <c:pt idx="1557">
                  <c:v>3</c:v>
                </c:pt>
                <c:pt idx="1558">
                  <c:v>0</c:v>
                </c:pt>
                <c:pt idx="1559">
                  <c:v>0</c:v>
                </c:pt>
                <c:pt idx="1560">
                  <c:v>3</c:v>
                </c:pt>
                <c:pt idx="1561">
                  <c:v>0</c:v>
                </c:pt>
                <c:pt idx="1562">
                  <c:v>0</c:v>
                </c:pt>
                <c:pt idx="1563">
                  <c:v>0</c:v>
                </c:pt>
                <c:pt idx="1564">
                  <c:v>0</c:v>
                </c:pt>
                <c:pt idx="1565">
                  <c:v>0</c:v>
                </c:pt>
                <c:pt idx="1566">
                  <c:v>0</c:v>
                </c:pt>
                <c:pt idx="1567">
                  <c:v>0</c:v>
                </c:pt>
                <c:pt idx="1568">
                  <c:v>0</c:v>
                </c:pt>
                <c:pt idx="1569">
                  <c:v>0</c:v>
                </c:pt>
                <c:pt idx="1570">
                  <c:v>0</c:v>
                </c:pt>
                <c:pt idx="1571">
                  <c:v>1</c:v>
                </c:pt>
                <c:pt idx="1572">
                  <c:v>0</c:v>
                </c:pt>
                <c:pt idx="1573">
                  <c:v>0</c:v>
                </c:pt>
                <c:pt idx="1574">
                  <c:v>0</c:v>
                </c:pt>
                <c:pt idx="1575">
                  <c:v>0</c:v>
                </c:pt>
                <c:pt idx="1576">
                  <c:v>2</c:v>
                </c:pt>
                <c:pt idx="1577">
                  <c:v>8</c:v>
                </c:pt>
                <c:pt idx="1578">
                  <c:v>4</c:v>
                </c:pt>
                <c:pt idx="1579">
                  <c:v>0</c:v>
                </c:pt>
                <c:pt idx="1580">
                  <c:v>0</c:v>
                </c:pt>
                <c:pt idx="1581">
                  <c:v>2</c:v>
                </c:pt>
                <c:pt idx="1582">
                  <c:v>0</c:v>
                </c:pt>
                <c:pt idx="1583">
                  <c:v>0</c:v>
                </c:pt>
                <c:pt idx="1584">
                  <c:v>0</c:v>
                </c:pt>
                <c:pt idx="1585">
                  <c:v>0</c:v>
                </c:pt>
                <c:pt idx="1586">
                  <c:v>10</c:v>
                </c:pt>
                <c:pt idx="1587">
                  <c:v>2</c:v>
                </c:pt>
                <c:pt idx="1588">
                  <c:v>0</c:v>
                </c:pt>
                <c:pt idx="1589">
                  <c:v>11</c:v>
                </c:pt>
                <c:pt idx="1590">
                  <c:v>4</c:v>
                </c:pt>
                <c:pt idx="1591">
                  <c:v>1</c:v>
                </c:pt>
                <c:pt idx="1592">
                  <c:v>0</c:v>
                </c:pt>
                <c:pt idx="1593">
                  <c:v>0</c:v>
                </c:pt>
                <c:pt idx="1594">
                  <c:v>3</c:v>
                </c:pt>
                <c:pt idx="1595">
                  <c:v>0</c:v>
                </c:pt>
                <c:pt idx="1596">
                  <c:v>0</c:v>
                </c:pt>
                <c:pt idx="1597">
                  <c:v>0</c:v>
                </c:pt>
                <c:pt idx="1598">
                  <c:v>0</c:v>
                </c:pt>
                <c:pt idx="1599">
                  <c:v>1</c:v>
                </c:pt>
                <c:pt idx="1600">
                  <c:v>0</c:v>
                </c:pt>
                <c:pt idx="1601">
                  <c:v>0</c:v>
                </c:pt>
                <c:pt idx="1602">
                  <c:v>10</c:v>
                </c:pt>
                <c:pt idx="1603">
                  <c:v>0</c:v>
                </c:pt>
                <c:pt idx="1604">
                  <c:v>5</c:v>
                </c:pt>
                <c:pt idx="1605">
                  <c:v>0</c:v>
                </c:pt>
                <c:pt idx="1606">
                  <c:v>0</c:v>
                </c:pt>
                <c:pt idx="1607">
                  <c:v>1</c:v>
                </c:pt>
                <c:pt idx="1608">
                  <c:v>20</c:v>
                </c:pt>
                <c:pt idx="1609">
                  <c:v>0</c:v>
                </c:pt>
                <c:pt idx="1610">
                  <c:v>0</c:v>
                </c:pt>
                <c:pt idx="1611">
                  <c:v>0</c:v>
                </c:pt>
                <c:pt idx="1612">
                  <c:v>0</c:v>
                </c:pt>
                <c:pt idx="1613">
                  <c:v>0</c:v>
                </c:pt>
                <c:pt idx="1614">
                  <c:v>2</c:v>
                </c:pt>
                <c:pt idx="1615">
                  <c:v>0</c:v>
                </c:pt>
                <c:pt idx="1616">
                  <c:v>0</c:v>
                </c:pt>
                <c:pt idx="1617">
                  <c:v>0</c:v>
                </c:pt>
                <c:pt idx="1618">
                  <c:v>0</c:v>
                </c:pt>
                <c:pt idx="1619">
                  <c:v>1</c:v>
                </c:pt>
                <c:pt idx="1620">
                  <c:v>0</c:v>
                </c:pt>
                <c:pt idx="1621">
                  <c:v>0</c:v>
                </c:pt>
                <c:pt idx="1622">
                  <c:v>0</c:v>
                </c:pt>
                <c:pt idx="1623">
                  <c:v>0</c:v>
                </c:pt>
                <c:pt idx="1624">
                  <c:v>1</c:v>
                </c:pt>
                <c:pt idx="1625">
                  <c:v>0</c:v>
                </c:pt>
                <c:pt idx="1626">
                  <c:v>0</c:v>
                </c:pt>
                <c:pt idx="1627">
                  <c:v>0</c:v>
                </c:pt>
                <c:pt idx="1628">
                  <c:v>0</c:v>
                </c:pt>
                <c:pt idx="1629">
                  <c:v>5</c:v>
                </c:pt>
                <c:pt idx="1630">
                  <c:v>5</c:v>
                </c:pt>
                <c:pt idx="1631">
                  <c:v>0</c:v>
                </c:pt>
                <c:pt idx="1632">
                  <c:v>0</c:v>
                </c:pt>
                <c:pt idx="1633">
                  <c:v>1</c:v>
                </c:pt>
                <c:pt idx="1634">
                  <c:v>0</c:v>
                </c:pt>
                <c:pt idx="1635">
                  <c:v>1</c:v>
                </c:pt>
                <c:pt idx="1636">
                  <c:v>0</c:v>
                </c:pt>
                <c:pt idx="1637">
                  <c:v>0</c:v>
                </c:pt>
                <c:pt idx="1638">
                  <c:v>1</c:v>
                </c:pt>
                <c:pt idx="1639">
                  <c:v>1</c:v>
                </c:pt>
                <c:pt idx="1640">
                  <c:v>0</c:v>
                </c:pt>
                <c:pt idx="1641">
                  <c:v>0</c:v>
                </c:pt>
                <c:pt idx="1642">
                  <c:v>0</c:v>
                </c:pt>
                <c:pt idx="1643">
                  <c:v>0</c:v>
                </c:pt>
                <c:pt idx="1644">
                  <c:v>0</c:v>
                </c:pt>
                <c:pt idx="1645">
                  <c:v>0</c:v>
                </c:pt>
                <c:pt idx="1646">
                  <c:v>2</c:v>
                </c:pt>
                <c:pt idx="1647">
                  <c:v>2</c:v>
                </c:pt>
                <c:pt idx="1648">
                  <c:v>2</c:v>
                </c:pt>
                <c:pt idx="1649">
                  <c:v>0</c:v>
                </c:pt>
                <c:pt idx="1650">
                  <c:v>0</c:v>
                </c:pt>
                <c:pt idx="1651">
                  <c:v>0</c:v>
                </c:pt>
                <c:pt idx="1652">
                  <c:v>3</c:v>
                </c:pt>
                <c:pt idx="1653">
                  <c:v>0</c:v>
                </c:pt>
                <c:pt idx="1654">
                  <c:v>0</c:v>
                </c:pt>
                <c:pt idx="1655">
                  <c:v>0</c:v>
                </c:pt>
                <c:pt idx="1656">
                  <c:v>0</c:v>
                </c:pt>
                <c:pt idx="1657">
                  <c:v>3</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1</c:v>
                </c:pt>
                <c:pt idx="1675">
                  <c:v>0</c:v>
                </c:pt>
                <c:pt idx="1676">
                  <c:v>1</c:v>
                </c:pt>
                <c:pt idx="1677">
                  <c:v>2</c:v>
                </c:pt>
                <c:pt idx="1678">
                  <c:v>0</c:v>
                </c:pt>
                <c:pt idx="1679">
                  <c:v>0</c:v>
                </c:pt>
                <c:pt idx="1680">
                  <c:v>0</c:v>
                </c:pt>
                <c:pt idx="1681">
                  <c:v>0</c:v>
                </c:pt>
                <c:pt idx="1682">
                  <c:v>0</c:v>
                </c:pt>
                <c:pt idx="1683">
                  <c:v>0</c:v>
                </c:pt>
                <c:pt idx="1684">
                  <c:v>0</c:v>
                </c:pt>
                <c:pt idx="1685">
                  <c:v>4</c:v>
                </c:pt>
                <c:pt idx="1686">
                  <c:v>4</c:v>
                </c:pt>
                <c:pt idx="1687">
                  <c:v>1</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7</c:v>
                </c:pt>
                <c:pt idx="1706">
                  <c:v>0</c:v>
                </c:pt>
                <c:pt idx="1707">
                  <c:v>0</c:v>
                </c:pt>
                <c:pt idx="1708">
                  <c:v>0</c:v>
                </c:pt>
                <c:pt idx="1709">
                  <c:v>0</c:v>
                </c:pt>
                <c:pt idx="1710">
                  <c:v>0</c:v>
                </c:pt>
                <c:pt idx="1711">
                  <c:v>0</c:v>
                </c:pt>
                <c:pt idx="1712">
                  <c:v>1</c:v>
                </c:pt>
                <c:pt idx="1713">
                  <c:v>0</c:v>
                </c:pt>
                <c:pt idx="1714">
                  <c:v>7</c:v>
                </c:pt>
                <c:pt idx="1715">
                  <c:v>0</c:v>
                </c:pt>
                <c:pt idx="1716">
                  <c:v>0</c:v>
                </c:pt>
                <c:pt idx="1717">
                  <c:v>0</c:v>
                </c:pt>
                <c:pt idx="1718">
                  <c:v>0</c:v>
                </c:pt>
                <c:pt idx="1719">
                  <c:v>0</c:v>
                </c:pt>
                <c:pt idx="1720">
                  <c:v>3</c:v>
                </c:pt>
                <c:pt idx="1721">
                  <c:v>0</c:v>
                </c:pt>
                <c:pt idx="1722">
                  <c:v>0</c:v>
                </c:pt>
                <c:pt idx="1723">
                  <c:v>0</c:v>
                </c:pt>
                <c:pt idx="1724">
                  <c:v>2</c:v>
                </c:pt>
                <c:pt idx="1725">
                  <c:v>0</c:v>
                </c:pt>
                <c:pt idx="1726">
                  <c:v>0</c:v>
                </c:pt>
                <c:pt idx="1727">
                  <c:v>1</c:v>
                </c:pt>
                <c:pt idx="1728">
                  <c:v>0</c:v>
                </c:pt>
                <c:pt idx="1729">
                  <c:v>0</c:v>
                </c:pt>
                <c:pt idx="1730">
                  <c:v>0</c:v>
                </c:pt>
                <c:pt idx="1731">
                  <c:v>0</c:v>
                </c:pt>
                <c:pt idx="1732">
                  <c:v>0</c:v>
                </c:pt>
                <c:pt idx="1733">
                  <c:v>0</c:v>
                </c:pt>
                <c:pt idx="1734">
                  <c:v>0</c:v>
                </c:pt>
                <c:pt idx="1735">
                  <c:v>0</c:v>
                </c:pt>
                <c:pt idx="1736">
                  <c:v>1</c:v>
                </c:pt>
                <c:pt idx="1737">
                  <c:v>1</c:v>
                </c:pt>
                <c:pt idx="1738">
                  <c:v>0</c:v>
                </c:pt>
                <c:pt idx="1739">
                  <c:v>0</c:v>
                </c:pt>
                <c:pt idx="1740">
                  <c:v>0</c:v>
                </c:pt>
                <c:pt idx="1741">
                  <c:v>3</c:v>
                </c:pt>
                <c:pt idx="1742">
                  <c:v>0</c:v>
                </c:pt>
                <c:pt idx="1743">
                  <c:v>1</c:v>
                </c:pt>
                <c:pt idx="1744">
                  <c:v>3</c:v>
                </c:pt>
                <c:pt idx="1745">
                  <c:v>1</c:v>
                </c:pt>
                <c:pt idx="1746">
                  <c:v>0</c:v>
                </c:pt>
                <c:pt idx="1747">
                  <c:v>0</c:v>
                </c:pt>
                <c:pt idx="1748">
                  <c:v>1</c:v>
                </c:pt>
                <c:pt idx="1749">
                  <c:v>0</c:v>
                </c:pt>
                <c:pt idx="1750">
                  <c:v>1</c:v>
                </c:pt>
                <c:pt idx="1751">
                  <c:v>1</c:v>
                </c:pt>
                <c:pt idx="1752">
                  <c:v>0</c:v>
                </c:pt>
                <c:pt idx="1753">
                  <c:v>0</c:v>
                </c:pt>
                <c:pt idx="1754">
                  <c:v>0</c:v>
                </c:pt>
                <c:pt idx="1755">
                  <c:v>0</c:v>
                </c:pt>
                <c:pt idx="1756">
                  <c:v>1</c:v>
                </c:pt>
                <c:pt idx="1757">
                  <c:v>0</c:v>
                </c:pt>
                <c:pt idx="1758">
                  <c:v>0</c:v>
                </c:pt>
                <c:pt idx="1759">
                  <c:v>3</c:v>
                </c:pt>
                <c:pt idx="1760">
                  <c:v>0</c:v>
                </c:pt>
                <c:pt idx="1761">
                  <c:v>0</c:v>
                </c:pt>
                <c:pt idx="1762">
                  <c:v>5</c:v>
                </c:pt>
                <c:pt idx="1763">
                  <c:v>0</c:v>
                </c:pt>
                <c:pt idx="1764">
                  <c:v>0</c:v>
                </c:pt>
                <c:pt idx="1765">
                  <c:v>0</c:v>
                </c:pt>
                <c:pt idx="1766">
                  <c:v>0</c:v>
                </c:pt>
                <c:pt idx="1767">
                  <c:v>0</c:v>
                </c:pt>
                <c:pt idx="1768">
                  <c:v>0</c:v>
                </c:pt>
                <c:pt idx="1769">
                  <c:v>0</c:v>
                </c:pt>
                <c:pt idx="1770">
                  <c:v>4</c:v>
                </c:pt>
                <c:pt idx="1771">
                  <c:v>0</c:v>
                </c:pt>
                <c:pt idx="1772">
                  <c:v>0</c:v>
                </c:pt>
                <c:pt idx="1773">
                  <c:v>2</c:v>
                </c:pt>
                <c:pt idx="1774">
                  <c:v>2</c:v>
                </c:pt>
                <c:pt idx="1775">
                  <c:v>4</c:v>
                </c:pt>
                <c:pt idx="1776">
                  <c:v>5</c:v>
                </c:pt>
                <c:pt idx="1777">
                  <c:v>1</c:v>
                </c:pt>
                <c:pt idx="1778">
                  <c:v>0</c:v>
                </c:pt>
                <c:pt idx="1779">
                  <c:v>0</c:v>
                </c:pt>
                <c:pt idx="1780">
                  <c:v>0</c:v>
                </c:pt>
                <c:pt idx="1781">
                  <c:v>1</c:v>
                </c:pt>
                <c:pt idx="1782">
                  <c:v>0</c:v>
                </c:pt>
                <c:pt idx="1783">
                  <c:v>0</c:v>
                </c:pt>
                <c:pt idx="1784">
                  <c:v>1</c:v>
                </c:pt>
                <c:pt idx="1785">
                  <c:v>2</c:v>
                </c:pt>
                <c:pt idx="1786">
                  <c:v>0</c:v>
                </c:pt>
                <c:pt idx="1787">
                  <c:v>4</c:v>
                </c:pt>
                <c:pt idx="1788">
                  <c:v>2</c:v>
                </c:pt>
                <c:pt idx="1789">
                  <c:v>0</c:v>
                </c:pt>
                <c:pt idx="1790">
                  <c:v>1</c:v>
                </c:pt>
                <c:pt idx="1791">
                  <c:v>1</c:v>
                </c:pt>
                <c:pt idx="1792">
                  <c:v>2</c:v>
                </c:pt>
                <c:pt idx="1793">
                  <c:v>2</c:v>
                </c:pt>
                <c:pt idx="1794">
                  <c:v>2</c:v>
                </c:pt>
                <c:pt idx="1795">
                  <c:v>0</c:v>
                </c:pt>
                <c:pt idx="1796">
                  <c:v>0</c:v>
                </c:pt>
                <c:pt idx="1797">
                  <c:v>2</c:v>
                </c:pt>
                <c:pt idx="1798">
                  <c:v>0</c:v>
                </c:pt>
                <c:pt idx="1799">
                  <c:v>0</c:v>
                </c:pt>
                <c:pt idx="1800">
                  <c:v>0</c:v>
                </c:pt>
                <c:pt idx="1801">
                  <c:v>1</c:v>
                </c:pt>
                <c:pt idx="1802">
                  <c:v>0</c:v>
                </c:pt>
                <c:pt idx="1803">
                  <c:v>0</c:v>
                </c:pt>
                <c:pt idx="1804">
                  <c:v>1</c:v>
                </c:pt>
                <c:pt idx="1805">
                  <c:v>25</c:v>
                </c:pt>
                <c:pt idx="1806">
                  <c:v>0</c:v>
                </c:pt>
                <c:pt idx="1807">
                  <c:v>0</c:v>
                </c:pt>
                <c:pt idx="1808">
                  <c:v>0</c:v>
                </c:pt>
                <c:pt idx="1809">
                  <c:v>1</c:v>
                </c:pt>
                <c:pt idx="1810">
                  <c:v>0</c:v>
                </c:pt>
                <c:pt idx="1811">
                  <c:v>0</c:v>
                </c:pt>
                <c:pt idx="1812">
                  <c:v>0</c:v>
                </c:pt>
                <c:pt idx="1813">
                  <c:v>0</c:v>
                </c:pt>
                <c:pt idx="1814">
                  <c:v>0</c:v>
                </c:pt>
                <c:pt idx="1815">
                  <c:v>0</c:v>
                </c:pt>
                <c:pt idx="1816">
                  <c:v>2</c:v>
                </c:pt>
                <c:pt idx="1817">
                  <c:v>0</c:v>
                </c:pt>
                <c:pt idx="1818">
                  <c:v>1</c:v>
                </c:pt>
                <c:pt idx="1819">
                  <c:v>1</c:v>
                </c:pt>
                <c:pt idx="1820">
                  <c:v>0</c:v>
                </c:pt>
                <c:pt idx="1821">
                  <c:v>0</c:v>
                </c:pt>
                <c:pt idx="1822">
                  <c:v>0</c:v>
                </c:pt>
                <c:pt idx="1823">
                  <c:v>2</c:v>
                </c:pt>
                <c:pt idx="1824">
                  <c:v>6</c:v>
                </c:pt>
                <c:pt idx="1825">
                  <c:v>3</c:v>
                </c:pt>
                <c:pt idx="1826">
                  <c:v>0</c:v>
                </c:pt>
                <c:pt idx="1827">
                  <c:v>0</c:v>
                </c:pt>
                <c:pt idx="1828">
                  <c:v>2</c:v>
                </c:pt>
                <c:pt idx="1829">
                  <c:v>0</c:v>
                </c:pt>
                <c:pt idx="1830">
                  <c:v>0</c:v>
                </c:pt>
                <c:pt idx="1831">
                  <c:v>0</c:v>
                </c:pt>
                <c:pt idx="1832">
                  <c:v>0</c:v>
                </c:pt>
                <c:pt idx="1833">
                  <c:v>0</c:v>
                </c:pt>
                <c:pt idx="1834">
                  <c:v>0</c:v>
                </c:pt>
                <c:pt idx="1835">
                  <c:v>2</c:v>
                </c:pt>
                <c:pt idx="1836">
                  <c:v>0</c:v>
                </c:pt>
                <c:pt idx="1837">
                  <c:v>0</c:v>
                </c:pt>
                <c:pt idx="1838">
                  <c:v>3</c:v>
                </c:pt>
                <c:pt idx="1839">
                  <c:v>0</c:v>
                </c:pt>
                <c:pt idx="1840">
                  <c:v>0</c:v>
                </c:pt>
                <c:pt idx="1841">
                  <c:v>1</c:v>
                </c:pt>
                <c:pt idx="1842">
                  <c:v>0</c:v>
                </c:pt>
                <c:pt idx="1843">
                  <c:v>3</c:v>
                </c:pt>
                <c:pt idx="1844">
                  <c:v>2</c:v>
                </c:pt>
                <c:pt idx="1845">
                  <c:v>0</c:v>
                </c:pt>
                <c:pt idx="1846">
                  <c:v>0</c:v>
                </c:pt>
                <c:pt idx="1847">
                  <c:v>0</c:v>
                </c:pt>
                <c:pt idx="1848">
                  <c:v>0</c:v>
                </c:pt>
                <c:pt idx="1849">
                  <c:v>0</c:v>
                </c:pt>
                <c:pt idx="1850">
                  <c:v>2</c:v>
                </c:pt>
                <c:pt idx="1851">
                  <c:v>0</c:v>
                </c:pt>
                <c:pt idx="1852">
                  <c:v>0</c:v>
                </c:pt>
                <c:pt idx="1853">
                  <c:v>3</c:v>
                </c:pt>
                <c:pt idx="1854">
                  <c:v>0</c:v>
                </c:pt>
                <c:pt idx="1855">
                  <c:v>0</c:v>
                </c:pt>
                <c:pt idx="1856">
                  <c:v>0</c:v>
                </c:pt>
                <c:pt idx="1857">
                  <c:v>0</c:v>
                </c:pt>
                <c:pt idx="1858">
                  <c:v>2</c:v>
                </c:pt>
                <c:pt idx="1859">
                  <c:v>0</c:v>
                </c:pt>
                <c:pt idx="1860">
                  <c:v>0</c:v>
                </c:pt>
                <c:pt idx="1861">
                  <c:v>1</c:v>
                </c:pt>
                <c:pt idx="1862">
                  <c:v>0</c:v>
                </c:pt>
                <c:pt idx="1863">
                  <c:v>0</c:v>
                </c:pt>
                <c:pt idx="1864">
                  <c:v>0</c:v>
                </c:pt>
                <c:pt idx="1865">
                  <c:v>2</c:v>
                </c:pt>
                <c:pt idx="1866">
                  <c:v>6</c:v>
                </c:pt>
                <c:pt idx="1867">
                  <c:v>1</c:v>
                </c:pt>
                <c:pt idx="1868">
                  <c:v>1</c:v>
                </c:pt>
                <c:pt idx="1869">
                  <c:v>4</c:v>
                </c:pt>
                <c:pt idx="1870">
                  <c:v>5</c:v>
                </c:pt>
                <c:pt idx="1871">
                  <c:v>0</c:v>
                </c:pt>
                <c:pt idx="1872">
                  <c:v>0</c:v>
                </c:pt>
                <c:pt idx="1873">
                  <c:v>1</c:v>
                </c:pt>
                <c:pt idx="1874">
                  <c:v>0</c:v>
                </c:pt>
                <c:pt idx="1875">
                  <c:v>0</c:v>
                </c:pt>
                <c:pt idx="1876">
                  <c:v>1</c:v>
                </c:pt>
                <c:pt idx="1877">
                  <c:v>1</c:v>
                </c:pt>
                <c:pt idx="1878">
                  <c:v>0</c:v>
                </c:pt>
                <c:pt idx="1879">
                  <c:v>4</c:v>
                </c:pt>
                <c:pt idx="1880">
                  <c:v>4</c:v>
                </c:pt>
                <c:pt idx="1881">
                  <c:v>0</c:v>
                </c:pt>
                <c:pt idx="1882">
                  <c:v>1</c:v>
                </c:pt>
                <c:pt idx="1883">
                  <c:v>0</c:v>
                </c:pt>
                <c:pt idx="1884">
                  <c:v>0</c:v>
                </c:pt>
                <c:pt idx="1885">
                  <c:v>0</c:v>
                </c:pt>
                <c:pt idx="1886">
                  <c:v>1</c:v>
                </c:pt>
                <c:pt idx="1887">
                  <c:v>2</c:v>
                </c:pt>
                <c:pt idx="1888">
                  <c:v>1</c:v>
                </c:pt>
                <c:pt idx="1889">
                  <c:v>1</c:v>
                </c:pt>
                <c:pt idx="1890">
                  <c:v>0</c:v>
                </c:pt>
                <c:pt idx="1891">
                  <c:v>0</c:v>
                </c:pt>
                <c:pt idx="1892">
                  <c:v>2</c:v>
                </c:pt>
                <c:pt idx="1893">
                  <c:v>0</c:v>
                </c:pt>
                <c:pt idx="1894">
                  <c:v>1</c:v>
                </c:pt>
                <c:pt idx="1895">
                  <c:v>3</c:v>
                </c:pt>
                <c:pt idx="1896">
                  <c:v>0</c:v>
                </c:pt>
                <c:pt idx="1897">
                  <c:v>0</c:v>
                </c:pt>
                <c:pt idx="1898">
                  <c:v>0</c:v>
                </c:pt>
                <c:pt idx="1899">
                  <c:v>0</c:v>
                </c:pt>
                <c:pt idx="1900">
                  <c:v>4</c:v>
                </c:pt>
                <c:pt idx="1901">
                  <c:v>1</c:v>
                </c:pt>
                <c:pt idx="1902">
                  <c:v>1</c:v>
                </c:pt>
                <c:pt idx="1903">
                  <c:v>0</c:v>
                </c:pt>
                <c:pt idx="1904">
                  <c:v>0</c:v>
                </c:pt>
                <c:pt idx="1905">
                  <c:v>1</c:v>
                </c:pt>
                <c:pt idx="1906">
                  <c:v>1</c:v>
                </c:pt>
                <c:pt idx="1907">
                  <c:v>4</c:v>
                </c:pt>
                <c:pt idx="1908">
                  <c:v>1</c:v>
                </c:pt>
                <c:pt idx="1909">
                  <c:v>1</c:v>
                </c:pt>
                <c:pt idx="1910">
                  <c:v>1</c:v>
                </c:pt>
                <c:pt idx="1911">
                  <c:v>1</c:v>
                </c:pt>
                <c:pt idx="1912">
                  <c:v>0</c:v>
                </c:pt>
                <c:pt idx="1913">
                  <c:v>0</c:v>
                </c:pt>
                <c:pt idx="1914">
                  <c:v>1</c:v>
                </c:pt>
                <c:pt idx="1915">
                  <c:v>1</c:v>
                </c:pt>
                <c:pt idx="1916">
                  <c:v>1</c:v>
                </c:pt>
                <c:pt idx="1917">
                  <c:v>0</c:v>
                </c:pt>
                <c:pt idx="1918">
                  <c:v>2</c:v>
                </c:pt>
                <c:pt idx="1919">
                  <c:v>0</c:v>
                </c:pt>
                <c:pt idx="1920">
                  <c:v>0</c:v>
                </c:pt>
                <c:pt idx="1921">
                  <c:v>0</c:v>
                </c:pt>
                <c:pt idx="1922">
                  <c:v>0</c:v>
                </c:pt>
                <c:pt idx="1923">
                  <c:v>1</c:v>
                </c:pt>
                <c:pt idx="1924">
                  <c:v>0</c:v>
                </c:pt>
                <c:pt idx="1925">
                  <c:v>5</c:v>
                </c:pt>
                <c:pt idx="1926">
                  <c:v>0</c:v>
                </c:pt>
                <c:pt idx="1927">
                  <c:v>0</c:v>
                </c:pt>
                <c:pt idx="1928">
                  <c:v>0</c:v>
                </c:pt>
                <c:pt idx="1929">
                  <c:v>2</c:v>
                </c:pt>
                <c:pt idx="1930">
                  <c:v>1</c:v>
                </c:pt>
                <c:pt idx="1931">
                  <c:v>0</c:v>
                </c:pt>
                <c:pt idx="1932">
                  <c:v>0</c:v>
                </c:pt>
                <c:pt idx="1933">
                  <c:v>0</c:v>
                </c:pt>
                <c:pt idx="1934">
                  <c:v>0</c:v>
                </c:pt>
                <c:pt idx="1935">
                  <c:v>0</c:v>
                </c:pt>
                <c:pt idx="1936">
                  <c:v>0</c:v>
                </c:pt>
                <c:pt idx="1937">
                  <c:v>6</c:v>
                </c:pt>
                <c:pt idx="1938">
                  <c:v>0</c:v>
                </c:pt>
                <c:pt idx="1939">
                  <c:v>0</c:v>
                </c:pt>
                <c:pt idx="1940">
                  <c:v>1</c:v>
                </c:pt>
                <c:pt idx="1941">
                  <c:v>2</c:v>
                </c:pt>
                <c:pt idx="1942">
                  <c:v>0</c:v>
                </c:pt>
                <c:pt idx="1943">
                  <c:v>8</c:v>
                </c:pt>
                <c:pt idx="1944">
                  <c:v>0</c:v>
                </c:pt>
                <c:pt idx="1945">
                  <c:v>0</c:v>
                </c:pt>
                <c:pt idx="1946">
                  <c:v>2</c:v>
                </c:pt>
                <c:pt idx="1947">
                  <c:v>0</c:v>
                </c:pt>
                <c:pt idx="1948">
                  <c:v>1</c:v>
                </c:pt>
                <c:pt idx="1949">
                  <c:v>1</c:v>
                </c:pt>
                <c:pt idx="1950">
                  <c:v>0</c:v>
                </c:pt>
                <c:pt idx="1951">
                  <c:v>0</c:v>
                </c:pt>
                <c:pt idx="1952">
                  <c:v>0</c:v>
                </c:pt>
                <c:pt idx="1953">
                  <c:v>0</c:v>
                </c:pt>
                <c:pt idx="1954">
                  <c:v>0</c:v>
                </c:pt>
                <c:pt idx="1955">
                  <c:v>0</c:v>
                </c:pt>
                <c:pt idx="1956">
                  <c:v>0</c:v>
                </c:pt>
                <c:pt idx="1957">
                  <c:v>3</c:v>
                </c:pt>
                <c:pt idx="1958">
                  <c:v>0</c:v>
                </c:pt>
                <c:pt idx="1959">
                  <c:v>0</c:v>
                </c:pt>
                <c:pt idx="1960">
                  <c:v>4</c:v>
                </c:pt>
                <c:pt idx="1961">
                  <c:v>0</c:v>
                </c:pt>
                <c:pt idx="1962">
                  <c:v>0</c:v>
                </c:pt>
                <c:pt idx="1963">
                  <c:v>1</c:v>
                </c:pt>
                <c:pt idx="1964">
                  <c:v>0</c:v>
                </c:pt>
                <c:pt idx="1965">
                  <c:v>0</c:v>
                </c:pt>
                <c:pt idx="1966">
                  <c:v>3</c:v>
                </c:pt>
                <c:pt idx="1967">
                  <c:v>0</c:v>
                </c:pt>
                <c:pt idx="1968">
                  <c:v>3</c:v>
                </c:pt>
                <c:pt idx="1969">
                  <c:v>1</c:v>
                </c:pt>
                <c:pt idx="1970">
                  <c:v>0</c:v>
                </c:pt>
                <c:pt idx="1971">
                  <c:v>0</c:v>
                </c:pt>
                <c:pt idx="1972">
                  <c:v>1</c:v>
                </c:pt>
                <c:pt idx="1973">
                  <c:v>2</c:v>
                </c:pt>
                <c:pt idx="1974">
                  <c:v>0</c:v>
                </c:pt>
                <c:pt idx="1975">
                  <c:v>0</c:v>
                </c:pt>
                <c:pt idx="1976">
                  <c:v>0</c:v>
                </c:pt>
                <c:pt idx="1977">
                  <c:v>1</c:v>
                </c:pt>
                <c:pt idx="1978">
                  <c:v>0</c:v>
                </c:pt>
                <c:pt idx="1979">
                  <c:v>0</c:v>
                </c:pt>
                <c:pt idx="1980">
                  <c:v>1</c:v>
                </c:pt>
                <c:pt idx="1981">
                  <c:v>0</c:v>
                </c:pt>
                <c:pt idx="1982">
                  <c:v>0</c:v>
                </c:pt>
                <c:pt idx="1983">
                  <c:v>0</c:v>
                </c:pt>
                <c:pt idx="1984">
                  <c:v>4</c:v>
                </c:pt>
                <c:pt idx="1985">
                  <c:v>0</c:v>
                </c:pt>
                <c:pt idx="1986">
                  <c:v>0</c:v>
                </c:pt>
                <c:pt idx="1987">
                  <c:v>0</c:v>
                </c:pt>
                <c:pt idx="1988">
                  <c:v>0</c:v>
                </c:pt>
                <c:pt idx="1989">
                  <c:v>0</c:v>
                </c:pt>
                <c:pt idx="1990">
                  <c:v>0</c:v>
                </c:pt>
                <c:pt idx="1991">
                  <c:v>1</c:v>
                </c:pt>
                <c:pt idx="1992">
                  <c:v>0</c:v>
                </c:pt>
                <c:pt idx="1993">
                  <c:v>2</c:v>
                </c:pt>
                <c:pt idx="1994">
                  <c:v>2</c:v>
                </c:pt>
                <c:pt idx="1995">
                  <c:v>1</c:v>
                </c:pt>
                <c:pt idx="1996">
                  <c:v>0</c:v>
                </c:pt>
                <c:pt idx="1997">
                  <c:v>0</c:v>
                </c:pt>
                <c:pt idx="1998">
                  <c:v>0</c:v>
                </c:pt>
                <c:pt idx="1999">
                  <c:v>0</c:v>
                </c:pt>
                <c:pt idx="2000">
                  <c:v>0</c:v>
                </c:pt>
                <c:pt idx="2001">
                  <c:v>0</c:v>
                </c:pt>
                <c:pt idx="2002">
                  <c:v>0</c:v>
                </c:pt>
                <c:pt idx="2003">
                  <c:v>0</c:v>
                </c:pt>
                <c:pt idx="2004">
                  <c:v>1</c:v>
                </c:pt>
                <c:pt idx="2005">
                  <c:v>0</c:v>
                </c:pt>
                <c:pt idx="2006">
                  <c:v>1</c:v>
                </c:pt>
                <c:pt idx="2007">
                  <c:v>0</c:v>
                </c:pt>
                <c:pt idx="2008">
                  <c:v>0</c:v>
                </c:pt>
                <c:pt idx="2009">
                  <c:v>0</c:v>
                </c:pt>
                <c:pt idx="2010">
                  <c:v>0</c:v>
                </c:pt>
                <c:pt idx="2011">
                  <c:v>4</c:v>
                </c:pt>
                <c:pt idx="2012">
                  <c:v>1</c:v>
                </c:pt>
                <c:pt idx="2013">
                  <c:v>2</c:v>
                </c:pt>
                <c:pt idx="2014">
                  <c:v>2</c:v>
                </c:pt>
                <c:pt idx="2015">
                  <c:v>0</c:v>
                </c:pt>
                <c:pt idx="2016">
                  <c:v>2</c:v>
                </c:pt>
                <c:pt idx="2017">
                  <c:v>0</c:v>
                </c:pt>
                <c:pt idx="2018">
                  <c:v>0</c:v>
                </c:pt>
                <c:pt idx="2019">
                  <c:v>0</c:v>
                </c:pt>
                <c:pt idx="2020">
                  <c:v>0</c:v>
                </c:pt>
                <c:pt idx="2021">
                  <c:v>0</c:v>
                </c:pt>
                <c:pt idx="2022">
                  <c:v>2</c:v>
                </c:pt>
                <c:pt idx="2023">
                  <c:v>1</c:v>
                </c:pt>
                <c:pt idx="2024">
                  <c:v>2</c:v>
                </c:pt>
                <c:pt idx="2025">
                  <c:v>0</c:v>
                </c:pt>
                <c:pt idx="2026">
                  <c:v>0</c:v>
                </c:pt>
                <c:pt idx="2027">
                  <c:v>3</c:v>
                </c:pt>
                <c:pt idx="2028">
                  <c:v>1</c:v>
                </c:pt>
                <c:pt idx="2029">
                  <c:v>2</c:v>
                </c:pt>
                <c:pt idx="2030">
                  <c:v>0</c:v>
                </c:pt>
                <c:pt idx="2031">
                  <c:v>0</c:v>
                </c:pt>
                <c:pt idx="2032">
                  <c:v>0</c:v>
                </c:pt>
                <c:pt idx="2033">
                  <c:v>3</c:v>
                </c:pt>
                <c:pt idx="2034">
                  <c:v>0</c:v>
                </c:pt>
                <c:pt idx="2035">
                  <c:v>0</c:v>
                </c:pt>
                <c:pt idx="2036">
                  <c:v>0</c:v>
                </c:pt>
                <c:pt idx="2037">
                  <c:v>0</c:v>
                </c:pt>
                <c:pt idx="2038">
                  <c:v>0</c:v>
                </c:pt>
                <c:pt idx="2039">
                  <c:v>2</c:v>
                </c:pt>
                <c:pt idx="2040">
                  <c:v>0</c:v>
                </c:pt>
                <c:pt idx="2041">
                  <c:v>1</c:v>
                </c:pt>
                <c:pt idx="2042">
                  <c:v>0</c:v>
                </c:pt>
                <c:pt idx="2043">
                  <c:v>1</c:v>
                </c:pt>
                <c:pt idx="2044">
                  <c:v>3</c:v>
                </c:pt>
                <c:pt idx="2045">
                  <c:v>1</c:v>
                </c:pt>
                <c:pt idx="2046">
                  <c:v>1</c:v>
                </c:pt>
                <c:pt idx="2047">
                  <c:v>1</c:v>
                </c:pt>
                <c:pt idx="2048">
                  <c:v>0</c:v>
                </c:pt>
                <c:pt idx="2049">
                  <c:v>0</c:v>
                </c:pt>
                <c:pt idx="2050">
                  <c:v>3</c:v>
                </c:pt>
                <c:pt idx="2051">
                  <c:v>1</c:v>
                </c:pt>
                <c:pt idx="2052">
                  <c:v>1</c:v>
                </c:pt>
                <c:pt idx="2053">
                  <c:v>0</c:v>
                </c:pt>
                <c:pt idx="2054">
                  <c:v>0</c:v>
                </c:pt>
                <c:pt idx="2055">
                  <c:v>0</c:v>
                </c:pt>
                <c:pt idx="2056">
                  <c:v>1</c:v>
                </c:pt>
                <c:pt idx="2057">
                  <c:v>0</c:v>
                </c:pt>
                <c:pt idx="2058">
                  <c:v>0</c:v>
                </c:pt>
                <c:pt idx="2059">
                  <c:v>1</c:v>
                </c:pt>
                <c:pt idx="2060">
                  <c:v>1</c:v>
                </c:pt>
                <c:pt idx="2061">
                  <c:v>0</c:v>
                </c:pt>
                <c:pt idx="2062">
                  <c:v>0</c:v>
                </c:pt>
                <c:pt idx="2063">
                  <c:v>1</c:v>
                </c:pt>
                <c:pt idx="2064">
                  <c:v>1</c:v>
                </c:pt>
                <c:pt idx="2065">
                  <c:v>0</c:v>
                </c:pt>
                <c:pt idx="2066">
                  <c:v>0</c:v>
                </c:pt>
                <c:pt idx="2067">
                  <c:v>0</c:v>
                </c:pt>
                <c:pt idx="2068">
                  <c:v>2</c:v>
                </c:pt>
                <c:pt idx="2069">
                  <c:v>1</c:v>
                </c:pt>
                <c:pt idx="2070">
                  <c:v>2</c:v>
                </c:pt>
                <c:pt idx="2071">
                  <c:v>0</c:v>
                </c:pt>
                <c:pt idx="2072">
                  <c:v>6</c:v>
                </c:pt>
                <c:pt idx="2073">
                  <c:v>1</c:v>
                </c:pt>
                <c:pt idx="2074">
                  <c:v>0</c:v>
                </c:pt>
                <c:pt idx="2075">
                  <c:v>0</c:v>
                </c:pt>
                <c:pt idx="2076">
                  <c:v>8</c:v>
                </c:pt>
                <c:pt idx="2077">
                  <c:v>0</c:v>
                </c:pt>
                <c:pt idx="2078">
                  <c:v>0</c:v>
                </c:pt>
                <c:pt idx="2079">
                  <c:v>0</c:v>
                </c:pt>
                <c:pt idx="2080">
                  <c:v>1</c:v>
                </c:pt>
                <c:pt idx="2081">
                  <c:v>3</c:v>
                </c:pt>
                <c:pt idx="2082">
                  <c:v>1</c:v>
                </c:pt>
                <c:pt idx="2083">
                  <c:v>1</c:v>
                </c:pt>
                <c:pt idx="2084">
                  <c:v>8</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3</c:v>
                </c:pt>
                <c:pt idx="2099">
                  <c:v>0</c:v>
                </c:pt>
                <c:pt idx="2100">
                  <c:v>3</c:v>
                </c:pt>
                <c:pt idx="2101">
                  <c:v>0</c:v>
                </c:pt>
                <c:pt idx="2102">
                  <c:v>0</c:v>
                </c:pt>
                <c:pt idx="2103">
                  <c:v>0</c:v>
                </c:pt>
                <c:pt idx="2104">
                  <c:v>0</c:v>
                </c:pt>
                <c:pt idx="2105">
                  <c:v>0</c:v>
                </c:pt>
                <c:pt idx="2106">
                  <c:v>0</c:v>
                </c:pt>
                <c:pt idx="2107">
                  <c:v>0</c:v>
                </c:pt>
                <c:pt idx="2108">
                  <c:v>1</c:v>
                </c:pt>
                <c:pt idx="2109">
                  <c:v>2</c:v>
                </c:pt>
                <c:pt idx="2110">
                  <c:v>4</c:v>
                </c:pt>
                <c:pt idx="2111">
                  <c:v>0</c:v>
                </c:pt>
                <c:pt idx="2112">
                  <c:v>0</c:v>
                </c:pt>
                <c:pt idx="2113">
                  <c:v>2</c:v>
                </c:pt>
                <c:pt idx="2114">
                  <c:v>0</c:v>
                </c:pt>
                <c:pt idx="2115">
                  <c:v>0</c:v>
                </c:pt>
                <c:pt idx="2116">
                  <c:v>0</c:v>
                </c:pt>
                <c:pt idx="2117">
                  <c:v>0</c:v>
                </c:pt>
                <c:pt idx="2118">
                  <c:v>0</c:v>
                </c:pt>
                <c:pt idx="2119">
                  <c:v>5</c:v>
                </c:pt>
                <c:pt idx="2120">
                  <c:v>0</c:v>
                </c:pt>
                <c:pt idx="2121">
                  <c:v>0</c:v>
                </c:pt>
                <c:pt idx="2122">
                  <c:v>0</c:v>
                </c:pt>
                <c:pt idx="2123">
                  <c:v>0</c:v>
                </c:pt>
                <c:pt idx="2124">
                  <c:v>2</c:v>
                </c:pt>
                <c:pt idx="2125">
                  <c:v>0</c:v>
                </c:pt>
                <c:pt idx="2126">
                  <c:v>8</c:v>
                </c:pt>
                <c:pt idx="2127">
                  <c:v>4</c:v>
                </c:pt>
                <c:pt idx="2128">
                  <c:v>1</c:v>
                </c:pt>
                <c:pt idx="2129">
                  <c:v>0</c:v>
                </c:pt>
                <c:pt idx="2130">
                  <c:v>2</c:v>
                </c:pt>
                <c:pt idx="2131">
                  <c:v>0</c:v>
                </c:pt>
                <c:pt idx="2132">
                  <c:v>0</c:v>
                </c:pt>
                <c:pt idx="2133">
                  <c:v>0</c:v>
                </c:pt>
                <c:pt idx="2134">
                  <c:v>1</c:v>
                </c:pt>
                <c:pt idx="2135">
                  <c:v>2</c:v>
                </c:pt>
                <c:pt idx="2136">
                  <c:v>0</c:v>
                </c:pt>
                <c:pt idx="2137">
                  <c:v>1</c:v>
                </c:pt>
                <c:pt idx="2138">
                  <c:v>0</c:v>
                </c:pt>
                <c:pt idx="2139">
                  <c:v>0</c:v>
                </c:pt>
                <c:pt idx="2140">
                  <c:v>0</c:v>
                </c:pt>
                <c:pt idx="2141">
                  <c:v>2</c:v>
                </c:pt>
                <c:pt idx="2142">
                  <c:v>0</c:v>
                </c:pt>
                <c:pt idx="2143">
                  <c:v>0</c:v>
                </c:pt>
                <c:pt idx="2144">
                  <c:v>0</c:v>
                </c:pt>
                <c:pt idx="2145">
                  <c:v>3</c:v>
                </c:pt>
                <c:pt idx="2146">
                  <c:v>0</c:v>
                </c:pt>
                <c:pt idx="2147">
                  <c:v>39</c:v>
                </c:pt>
                <c:pt idx="2148">
                  <c:v>5</c:v>
                </c:pt>
                <c:pt idx="2149">
                  <c:v>0</c:v>
                </c:pt>
                <c:pt idx="2150">
                  <c:v>0</c:v>
                </c:pt>
                <c:pt idx="2151">
                  <c:v>1</c:v>
                </c:pt>
                <c:pt idx="2152">
                  <c:v>0</c:v>
                </c:pt>
                <c:pt idx="2153">
                  <c:v>1</c:v>
                </c:pt>
                <c:pt idx="2154">
                  <c:v>3</c:v>
                </c:pt>
                <c:pt idx="2155">
                  <c:v>0</c:v>
                </c:pt>
                <c:pt idx="2156">
                  <c:v>0</c:v>
                </c:pt>
                <c:pt idx="2157">
                  <c:v>0</c:v>
                </c:pt>
                <c:pt idx="2158">
                  <c:v>0</c:v>
                </c:pt>
                <c:pt idx="2159">
                  <c:v>0</c:v>
                </c:pt>
                <c:pt idx="2160">
                  <c:v>0</c:v>
                </c:pt>
                <c:pt idx="2161">
                  <c:v>0</c:v>
                </c:pt>
                <c:pt idx="2162">
                  <c:v>1</c:v>
                </c:pt>
                <c:pt idx="2163">
                  <c:v>0</c:v>
                </c:pt>
                <c:pt idx="2164">
                  <c:v>0</c:v>
                </c:pt>
                <c:pt idx="2165">
                  <c:v>0</c:v>
                </c:pt>
                <c:pt idx="2166">
                  <c:v>0</c:v>
                </c:pt>
                <c:pt idx="2167">
                  <c:v>0</c:v>
                </c:pt>
                <c:pt idx="2168">
                  <c:v>9</c:v>
                </c:pt>
                <c:pt idx="2169">
                  <c:v>0</c:v>
                </c:pt>
                <c:pt idx="2170">
                  <c:v>1</c:v>
                </c:pt>
                <c:pt idx="2171">
                  <c:v>0</c:v>
                </c:pt>
                <c:pt idx="2172">
                  <c:v>0</c:v>
                </c:pt>
                <c:pt idx="2173">
                  <c:v>0</c:v>
                </c:pt>
                <c:pt idx="2174">
                  <c:v>0</c:v>
                </c:pt>
                <c:pt idx="2175">
                  <c:v>2</c:v>
                </c:pt>
                <c:pt idx="2176">
                  <c:v>0</c:v>
                </c:pt>
                <c:pt idx="2177">
                  <c:v>0</c:v>
                </c:pt>
                <c:pt idx="2178">
                  <c:v>0</c:v>
                </c:pt>
                <c:pt idx="2179">
                  <c:v>0</c:v>
                </c:pt>
                <c:pt idx="2180">
                  <c:v>0</c:v>
                </c:pt>
                <c:pt idx="2181">
                  <c:v>0</c:v>
                </c:pt>
                <c:pt idx="2182">
                  <c:v>0</c:v>
                </c:pt>
                <c:pt idx="2183">
                  <c:v>0</c:v>
                </c:pt>
                <c:pt idx="2184">
                  <c:v>3</c:v>
                </c:pt>
                <c:pt idx="2185">
                  <c:v>0</c:v>
                </c:pt>
                <c:pt idx="2186">
                  <c:v>0</c:v>
                </c:pt>
                <c:pt idx="2187">
                  <c:v>11</c:v>
                </c:pt>
                <c:pt idx="2188">
                  <c:v>0</c:v>
                </c:pt>
                <c:pt idx="2189">
                  <c:v>0</c:v>
                </c:pt>
                <c:pt idx="2190">
                  <c:v>0</c:v>
                </c:pt>
                <c:pt idx="2191">
                  <c:v>0</c:v>
                </c:pt>
                <c:pt idx="2192">
                  <c:v>0</c:v>
                </c:pt>
                <c:pt idx="2193">
                  <c:v>0</c:v>
                </c:pt>
                <c:pt idx="2194">
                  <c:v>4</c:v>
                </c:pt>
                <c:pt idx="2195">
                  <c:v>0</c:v>
                </c:pt>
                <c:pt idx="2196">
                  <c:v>1</c:v>
                </c:pt>
                <c:pt idx="2197">
                  <c:v>5</c:v>
                </c:pt>
                <c:pt idx="2198">
                  <c:v>1</c:v>
                </c:pt>
                <c:pt idx="2199">
                  <c:v>0</c:v>
                </c:pt>
                <c:pt idx="2200">
                  <c:v>2</c:v>
                </c:pt>
                <c:pt idx="2201">
                  <c:v>0</c:v>
                </c:pt>
                <c:pt idx="2202">
                  <c:v>2</c:v>
                </c:pt>
                <c:pt idx="2203">
                  <c:v>0</c:v>
                </c:pt>
                <c:pt idx="2204">
                  <c:v>1</c:v>
                </c:pt>
                <c:pt idx="2205">
                  <c:v>3</c:v>
                </c:pt>
                <c:pt idx="2206">
                  <c:v>3</c:v>
                </c:pt>
                <c:pt idx="2207">
                  <c:v>4</c:v>
                </c:pt>
                <c:pt idx="2208">
                  <c:v>4</c:v>
                </c:pt>
                <c:pt idx="2209">
                  <c:v>0</c:v>
                </c:pt>
                <c:pt idx="2210">
                  <c:v>0</c:v>
                </c:pt>
                <c:pt idx="2211">
                  <c:v>0</c:v>
                </c:pt>
                <c:pt idx="2212">
                  <c:v>0</c:v>
                </c:pt>
                <c:pt idx="2213">
                  <c:v>6</c:v>
                </c:pt>
                <c:pt idx="2214">
                  <c:v>1</c:v>
                </c:pt>
                <c:pt idx="2215">
                  <c:v>1</c:v>
                </c:pt>
                <c:pt idx="2216">
                  <c:v>0</c:v>
                </c:pt>
                <c:pt idx="2217">
                  <c:v>0</c:v>
                </c:pt>
                <c:pt idx="2218">
                  <c:v>0</c:v>
                </c:pt>
                <c:pt idx="2219">
                  <c:v>1</c:v>
                </c:pt>
                <c:pt idx="2220">
                  <c:v>0</c:v>
                </c:pt>
                <c:pt idx="2221">
                  <c:v>4</c:v>
                </c:pt>
                <c:pt idx="2222">
                  <c:v>0</c:v>
                </c:pt>
                <c:pt idx="2223">
                  <c:v>2</c:v>
                </c:pt>
                <c:pt idx="2224">
                  <c:v>0</c:v>
                </c:pt>
                <c:pt idx="2225">
                  <c:v>0</c:v>
                </c:pt>
                <c:pt idx="2226">
                  <c:v>0</c:v>
                </c:pt>
                <c:pt idx="2227">
                  <c:v>4</c:v>
                </c:pt>
                <c:pt idx="2228">
                  <c:v>2</c:v>
                </c:pt>
                <c:pt idx="2229">
                  <c:v>0</c:v>
                </c:pt>
                <c:pt idx="2230">
                  <c:v>2</c:v>
                </c:pt>
                <c:pt idx="2231">
                  <c:v>1</c:v>
                </c:pt>
                <c:pt idx="2232">
                  <c:v>0</c:v>
                </c:pt>
                <c:pt idx="2233">
                  <c:v>1</c:v>
                </c:pt>
                <c:pt idx="2234">
                  <c:v>0</c:v>
                </c:pt>
                <c:pt idx="2235">
                  <c:v>0</c:v>
                </c:pt>
                <c:pt idx="2236">
                  <c:v>1</c:v>
                </c:pt>
                <c:pt idx="2237">
                  <c:v>2</c:v>
                </c:pt>
                <c:pt idx="2238">
                  <c:v>9</c:v>
                </c:pt>
                <c:pt idx="2239">
                  <c:v>1</c:v>
                </c:pt>
                <c:pt idx="2240">
                  <c:v>2</c:v>
                </c:pt>
                <c:pt idx="2241">
                  <c:v>0</c:v>
                </c:pt>
                <c:pt idx="2242">
                  <c:v>0</c:v>
                </c:pt>
                <c:pt idx="2243">
                  <c:v>1</c:v>
                </c:pt>
                <c:pt idx="2244">
                  <c:v>0</c:v>
                </c:pt>
                <c:pt idx="2245">
                  <c:v>0</c:v>
                </c:pt>
                <c:pt idx="2246">
                  <c:v>0</c:v>
                </c:pt>
                <c:pt idx="2247">
                  <c:v>1</c:v>
                </c:pt>
                <c:pt idx="2248">
                  <c:v>0</c:v>
                </c:pt>
                <c:pt idx="2249">
                  <c:v>2</c:v>
                </c:pt>
                <c:pt idx="2250">
                  <c:v>1</c:v>
                </c:pt>
                <c:pt idx="2251">
                  <c:v>0</c:v>
                </c:pt>
                <c:pt idx="2252">
                  <c:v>1</c:v>
                </c:pt>
                <c:pt idx="2253">
                  <c:v>2</c:v>
                </c:pt>
                <c:pt idx="2254">
                  <c:v>1</c:v>
                </c:pt>
                <c:pt idx="2255">
                  <c:v>0</c:v>
                </c:pt>
                <c:pt idx="2256">
                  <c:v>4</c:v>
                </c:pt>
                <c:pt idx="2257">
                  <c:v>0</c:v>
                </c:pt>
                <c:pt idx="2258">
                  <c:v>0</c:v>
                </c:pt>
                <c:pt idx="2259">
                  <c:v>0</c:v>
                </c:pt>
                <c:pt idx="2260">
                  <c:v>0</c:v>
                </c:pt>
                <c:pt idx="2261">
                  <c:v>3</c:v>
                </c:pt>
                <c:pt idx="2262">
                  <c:v>0</c:v>
                </c:pt>
                <c:pt idx="2263">
                  <c:v>0</c:v>
                </c:pt>
                <c:pt idx="2264">
                  <c:v>0</c:v>
                </c:pt>
                <c:pt idx="2265">
                  <c:v>1</c:v>
                </c:pt>
                <c:pt idx="2266">
                  <c:v>8</c:v>
                </c:pt>
                <c:pt idx="2267">
                  <c:v>1</c:v>
                </c:pt>
                <c:pt idx="2268">
                  <c:v>1</c:v>
                </c:pt>
                <c:pt idx="2269">
                  <c:v>0</c:v>
                </c:pt>
                <c:pt idx="2270">
                  <c:v>8</c:v>
                </c:pt>
                <c:pt idx="2271">
                  <c:v>0</c:v>
                </c:pt>
                <c:pt idx="2272">
                  <c:v>0</c:v>
                </c:pt>
                <c:pt idx="2273">
                  <c:v>1</c:v>
                </c:pt>
                <c:pt idx="2274">
                  <c:v>4</c:v>
                </c:pt>
                <c:pt idx="2275">
                  <c:v>5</c:v>
                </c:pt>
                <c:pt idx="2276">
                  <c:v>0</c:v>
                </c:pt>
                <c:pt idx="2277">
                  <c:v>0</c:v>
                </c:pt>
                <c:pt idx="2278">
                  <c:v>4</c:v>
                </c:pt>
                <c:pt idx="2279">
                  <c:v>0</c:v>
                </c:pt>
                <c:pt idx="2280">
                  <c:v>1</c:v>
                </c:pt>
                <c:pt idx="2281">
                  <c:v>0</c:v>
                </c:pt>
                <c:pt idx="2282">
                  <c:v>0</c:v>
                </c:pt>
                <c:pt idx="2283">
                  <c:v>0</c:v>
                </c:pt>
                <c:pt idx="2284">
                  <c:v>0</c:v>
                </c:pt>
                <c:pt idx="2285">
                  <c:v>1</c:v>
                </c:pt>
                <c:pt idx="2286">
                  <c:v>0</c:v>
                </c:pt>
                <c:pt idx="2287">
                  <c:v>0</c:v>
                </c:pt>
                <c:pt idx="2288">
                  <c:v>2</c:v>
                </c:pt>
                <c:pt idx="2289">
                  <c:v>0</c:v>
                </c:pt>
                <c:pt idx="2290">
                  <c:v>0</c:v>
                </c:pt>
                <c:pt idx="2291">
                  <c:v>0</c:v>
                </c:pt>
                <c:pt idx="2292">
                  <c:v>7</c:v>
                </c:pt>
                <c:pt idx="2293">
                  <c:v>0</c:v>
                </c:pt>
                <c:pt idx="2294">
                  <c:v>1</c:v>
                </c:pt>
                <c:pt idx="2295">
                  <c:v>0</c:v>
                </c:pt>
                <c:pt idx="2296">
                  <c:v>0</c:v>
                </c:pt>
                <c:pt idx="2297">
                  <c:v>0</c:v>
                </c:pt>
                <c:pt idx="2298">
                  <c:v>0</c:v>
                </c:pt>
                <c:pt idx="2299">
                  <c:v>5</c:v>
                </c:pt>
                <c:pt idx="2300">
                  <c:v>1</c:v>
                </c:pt>
                <c:pt idx="2301">
                  <c:v>0</c:v>
                </c:pt>
                <c:pt idx="2302">
                  <c:v>0</c:v>
                </c:pt>
                <c:pt idx="2303">
                  <c:v>0</c:v>
                </c:pt>
                <c:pt idx="2304">
                  <c:v>4</c:v>
                </c:pt>
                <c:pt idx="2305">
                  <c:v>1</c:v>
                </c:pt>
                <c:pt idx="2306">
                  <c:v>0</c:v>
                </c:pt>
                <c:pt idx="2307">
                  <c:v>1</c:v>
                </c:pt>
                <c:pt idx="2308">
                  <c:v>2</c:v>
                </c:pt>
                <c:pt idx="2309">
                  <c:v>2</c:v>
                </c:pt>
                <c:pt idx="2310">
                  <c:v>19</c:v>
                </c:pt>
                <c:pt idx="2311">
                  <c:v>0</c:v>
                </c:pt>
                <c:pt idx="2312">
                  <c:v>6</c:v>
                </c:pt>
                <c:pt idx="2313">
                  <c:v>0</c:v>
                </c:pt>
                <c:pt idx="2314">
                  <c:v>0</c:v>
                </c:pt>
                <c:pt idx="2315">
                  <c:v>1</c:v>
                </c:pt>
                <c:pt idx="2316">
                  <c:v>5</c:v>
                </c:pt>
                <c:pt idx="2317">
                  <c:v>2</c:v>
                </c:pt>
                <c:pt idx="2318">
                  <c:v>1</c:v>
                </c:pt>
                <c:pt idx="2319">
                  <c:v>0</c:v>
                </c:pt>
                <c:pt idx="2320">
                  <c:v>0</c:v>
                </c:pt>
                <c:pt idx="2321">
                  <c:v>0</c:v>
                </c:pt>
                <c:pt idx="2322">
                  <c:v>0</c:v>
                </c:pt>
                <c:pt idx="2323">
                  <c:v>3</c:v>
                </c:pt>
                <c:pt idx="2324">
                  <c:v>0</c:v>
                </c:pt>
                <c:pt idx="2325">
                  <c:v>2</c:v>
                </c:pt>
                <c:pt idx="2326">
                  <c:v>3</c:v>
                </c:pt>
                <c:pt idx="2327">
                  <c:v>0</c:v>
                </c:pt>
                <c:pt idx="2328">
                  <c:v>0</c:v>
                </c:pt>
                <c:pt idx="2329">
                  <c:v>0</c:v>
                </c:pt>
                <c:pt idx="2330">
                  <c:v>1</c:v>
                </c:pt>
                <c:pt idx="2331">
                  <c:v>1</c:v>
                </c:pt>
                <c:pt idx="2332">
                  <c:v>0</c:v>
                </c:pt>
                <c:pt idx="2333">
                  <c:v>2</c:v>
                </c:pt>
                <c:pt idx="2334">
                  <c:v>5</c:v>
                </c:pt>
                <c:pt idx="2335">
                  <c:v>1</c:v>
                </c:pt>
                <c:pt idx="2336">
                  <c:v>0</c:v>
                </c:pt>
                <c:pt idx="2337">
                  <c:v>0</c:v>
                </c:pt>
                <c:pt idx="2338">
                  <c:v>1</c:v>
                </c:pt>
                <c:pt idx="2339">
                  <c:v>2</c:v>
                </c:pt>
                <c:pt idx="2340">
                  <c:v>1</c:v>
                </c:pt>
                <c:pt idx="2341">
                  <c:v>0</c:v>
                </c:pt>
                <c:pt idx="2342">
                  <c:v>0</c:v>
                </c:pt>
                <c:pt idx="2343">
                  <c:v>0</c:v>
                </c:pt>
                <c:pt idx="2344">
                  <c:v>0</c:v>
                </c:pt>
                <c:pt idx="2345">
                  <c:v>0</c:v>
                </c:pt>
                <c:pt idx="2346">
                  <c:v>0</c:v>
                </c:pt>
                <c:pt idx="2347">
                  <c:v>0</c:v>
                </c:pt>
                <c:pt idx="2348">
                  <c:v>2</c:v>
                </c:pt>
                <c:pt idx="2349">
                  <c:v>0</c:v>
                </c:pt>
                <c:pt idx="2350">
                  <c:v>0</c:v>
                </c:pt>
                <c:pt idx="2351">
                  <c:v>3</c:v>
                </c:pt>
                <c:pt idx="2352">
                  <c:v>1</c:v>
                </c:pt>
                <c:pt idx="2353">
                  <c:v>5</c:v>
                </c:pt>
                <c:pt idx="2354">
                  <c:v>0</c:v>
                </c:pt>
                <c:pt idx="2355">
                  <c:v>1</c:v>
                </c:pt>
                <c:pt idx="2356">
                  <c:v>0</c:v>
                </c:pt>
                <c:pt idx="2357">
                  <c:v>2</c:v>
                </c:pt>
                <c:pt idx="2358">
                  <c:v>2</c:v>
                </c:pt>
                <c:pt idx="2359">
                  <c:v>2</c:v>
                </c:pt>
                <c:pt idx="2360">
                  <c:v>0</c:v>
                </c:pt>
                <c:pt idx="2361">
                  <c:v>1</c:v>
                </c:pt>
                <c:pt idx="2362">
                  <c:v>0</c:v>
                </c:pt>
                <c:pt idx="2363">
                  <c:v>0</c:v>
                </c:pt>
                <c:pt idx="2364">
                  <c:v>3</c:v>
                </c:pt>
                <c:pt idx="2365">
                  <c:v>0</c:v>
                </c:pt>
                <c:pt idx="2366">
                  <c:v>0</c:v>
                </c:pt>
                <c:pt idx="2367">
                  <c:v>0</c:v>
                </c:pt>
                <c:pt idx="2368">
                  <c:v>3</c:v>
                </c:pt>
                <c:pt idx="2369">
                  <c:v>0</c:v>
                </c:pt>
                <c:pt idx="2370">
                  <c:v>3</c:v>
                </c:pt>
                <c:pt idx="2371">
                  <c:v>2</c:v>
                </c:pt>
                <c:pt idx="2372">
                  <c:v>1</c:v>
                </c:pt>
                <c:pt idx="2373">
                  <c:v>0</c:v>
                </c:pt>
                <c:pt idx="2374">
                  <c:v>0</c:v>
                </c:pt>
                <c:pt idx="2375">
                  <c:v>0</c:v>
                </c:pt>
                <c:pt idx="2376">
                  <c:v>0</c:v>
                </c:pt>
                <c:pt idx="2377">
                  <c:v>0</c:v>
                </c:pt>
                <c:pt idx="2378">
                  <c:v>3</c:v>
                </c:pt>
                <c:pt idx="2379">
                  <c:v>1</c:v>
                </c:pt>
                <c:pt idx="2380">
                  <c:v>2</c:v>
                </c:pt>
                <c:pt idx="2381">
                  <c:v>0</c:v>
                </c:pt>
                <c:pt idx="2382">
                  <c:v>0</c:v>
                </c:pt>
                <c:pt idx="2383">
                  <c:v>0</c:v>
                </c:pt>
                <c:pt idx="2384">
                  <c:v>5</c:v>
                </c:pt>
                <c:pt idx="2385">
                  <c:v>0</c:v>
                </c:pt>
                <c:pt idx="2386">
                  <c:v>1</c:v>
                </c:pt>
                <c:pt idx="2387">
                  <c:v>1</c:v>
                </c:pt>
                <c:pt idx="2388">
                  <c:v>0</c:v>
                </c:pt>
                <c:pt idx="2389">
                  <c:v>0</c:v>
                </c:pt>
                <c:pt idx="2390">
                  <c:v>2</c:v>
                </c:pt>
                <c:pt idx="2391">
                  <c:v>2</c:v>
                </c:pt>
                <c:pt idx="2392">
                  <c:v>0</c:v>
                </c:pt>
                <c:pt idx="2393">
                  <c:v>0</c:v>
                </c:pt>
                <c:pt idx="2394">
                  <c:v>0</c:v>
                </c:pt>
                <c:pt idx="2395">
                  <c:v>0</c:v>
                </c:pt>
                <c:pt idx="2396">
                  <c:v>0</c:v>
                </c:pt>
                <c:pt idx="2397">
                  <c:v>0</c:v>
                </c:pt>
                <c:pt idx="2398">
                  <c:v>3</c:v>
                </c:pt>
                <c:pt idx="2399">
                  <c:v>3</c:v>
                </c:pt>
                <c:pt idx="2400">
                  <c:v>1</c:v>
                </c:pt>
                <c:pt idx="2401">
                  <c:v>0</c:v>
                </c:pt>
                <c:pt idx="2402">
                  <c:v>1</c:v>
                </c:pt>
                <c:pt idx="2403">
                  <c:v>0</c:v>
                </c:pt>
                <c:pt idx="2404">
                  <c:v>1</c:v>
                </c:pt>
                <c:pt idx="2405">
                  <c:v>2</c:v>
                </c:pt>
                <c:pt idx="2406">
                  <c:v>0</c:v>
                </c:pt>
                <c:pt idx="2407">
                  <c:v>0</c:v>
                </c:pt>
                <c:pt idx="2408">
                  <c:v>0</c:v>
                </c:pt>
                <c:pt idx="2409">
                  <c:v>0</c:v>
                </c:pt>
                <c:pt idx="2410">
                  <c:v>0</c:v>
                </c:pt>
                <c:pt idx="2411">
                  <c:v>0</c:v>
                </c:pt>
                <c:pt idx="2412">
                  <c:v>2</c:v>
                </c:pt>
                <c:pt idx="2413">
                  <c:v>0</c:v>
                </c:pt>
                <c:pt idx="2414">
                  <c:v>3</c:v>
                </c:pt>
                <c:pt idx="2415">
                  <c:v>3</c:v>
                </c:pt>
                <c:pt idx="2416">
                  <c:v>0</c:v>
                </c:pt>
                <c:pt idx="2417">
                  <c:v>0</c:v>
                </c:pt>
                <c:pt idx="2418">
                  <c:v>0</c:v>
                </c:pt>
                <c:pt idx="2419">
                  <c:v>0</c:v>
                </c:pt>
                <c:pt idx="2420">
                  <c:v>0</c:v>
                </c:pt>
                <c:pt idx="2421">
                  <c:v>0</c:v>
                </c:pt>
                <c:pt idx="2422">
                  <c:v>0</c:v>
                </c:pt>
                <c:pt idx="2423">
                  <c:v>1</c:v>
                </c:pt>
                <c:pt idx="2424">
                  <c:v>0</c:v>
                </c:pt>
                <c:pt idx="2425">
                  <c:v>0</c:v>
                </c:pt>
                <c:pt idx="2426">
                  <c:v>9</c:v>
                </c:pt>
                <c:pt idx="2427">
                  <c:v>2</c:v>
                </c:pt>
                <c:pt idx="2428">
                  <c:v>1</c:v>
                </c:pt>
                <c:pt idx="2429">
                  <c:v>6</c:v>
                </c:pt>
                <c:pt idx="2430">
                  <c:v>0</c:v>
                </c:pt>
                <c:pt idx="2431">
                  <c:v>0</c:v>
                </c:pt>
                <c:pt idx="2432">
                  <c:v>0</c:v>
                </c:pt>
                <c:pt idx="2433">
                  <c:v>1</c:v>
                </c:pt>
                <c:pt idx="2434">
                  <c:v>52</c:v>
                </c:pt>
                <c:pt idx="2435">
                  <c:v>1</c:v>
                </c:pt>
                <c:pt idx="2436">
                  <c:v>0</c:v>
                </c:pt>
                <c:pt idx="2437">
                  <c:v>4</c:v>
                </c:pt>
                <c:pt idx="2438">
                  <c:v>3</c:v>
                </c:pt>
                <c:pt idx="2439">
                  <c:v>0</c:v>
                </c:pt>
                <c:pt idx="2440">
                  <c:v>3</c:v>
                </c:pt>
                <c:pt idx="2441">
                  <c:v>0</c:v>
                </c:pt>
                <c:pt idx="2442">
                  <c:v>2</c:v>
                </c:pt>
                <c:pt idx="2443">
                  <c:v>0</c:v>
                </c:pt>
                <c:pt idx="2444">
                  <c:v>2</c:v>
                </c:pt>
                <c:pt idx="2445">
                  <c:v>0</c:v>
                </c:pt>
                <c:pt idx="2446">
                  <c:v>1</c:v>
                </c:pt>
                <c:pt idx="2447">
                  <c:v>2</c:v>
                </c:pt>
                <c:pt idx="2448">
                  <c:v>0</c:v>
                </c:pt>
                <c:pt idx="2449">
                  <c:v>1</c:v>
                </c:pt>
                <c:pt idx="2450">
                  <c:v>1</c:v>
                </c:pt>
                <c:pt idx="2451">
                  <c:v>0</c:v>
                </c:pt>
                <c:pt idx="2452">
                  <c:v>0</c:v>
                </c:pt>
                <c:pt idx="2453">
                  <c:v>0</c:v>
                </c:pt>
                <c:pt idx="2454">
                  <c:v>1</c:v>
                </c:pt>
                <c:pt idx="2455">
                  <c:v>0</c:v>
                </c:pt>
                <c:pt idx="2456">
                  <c:v>0</c:v>
                </c:pt>
                <c:pt idx="2457">
                  <c:v>3</c:v>
                </c:pt>
                <c:pt idx="2458">
                  <c:v>6</c:v>
                </c:pt>
                <c:pt idx="2459">
                  <c:v>0</c:v>
                </c:pt>
                <c:pt idx="2460">
                  <c:v>0</c:v>
                </c:pt>
                <c:pt idx="2461">
                  <c:v>3</c:v>
                </c:pt>
                <c:pt idx="2462">
                  <c:v>2</c:v>
                </c:pt>
                <c:pt idx="2463">
                  <c:v>2</c:v>
                </c:pt>
                <c:pt idx="2464">
                  <c:v>0</c:v>
                </c:pt>
                <c:pt idx="2465">
                  <c:v>1</c:v>
                </c:pt>
                <c:pt idx="2466">
                  <c:v>0</c:v>
                </c:pt>
                <c:pt idx="2467">
                  <c:v>0</c:v>
                </c:pt>
                <c:pt idx="2468">
                  <c:v>0</c:v>
                </c:pt>
                <c:pt idx="2469">
                  <c:v>2</c:v>
                </c:pt>
                <c:pt idx="2470">
                  <c:v>0</c:v>
                </c:pt>
                <c:pt idx="2471">
                  <c:v>0</c:v>
                </c:pt>
                <c:pt idx="2472">
                  <c:v>2</c:v>
                </c:pt>
                <c:pt idx="2473">
                  <c:v>0</c:v>
                </c:pt>
                <c:pt idx="2474">
                  <c:v>1</c:v>
                </c:pt>
                <c:pt idx="2475">
                  <c:v>0</c:v>
                </c:pt>
                <c:pt idx="2476">
                  <c:v>4</c:v>
                </c:pt>
                <c:pt idx="2477">
                  <c:v>0</c:v>
                </c:pt>
                <c:pt idx="2478">
                  <c:v>1</c:v>
                </c:pt>
                <c:pt idx="2479">
                  <c:v>0</c:v>
                </c:pt>
                <c:pt idx="2480">
                  <c:v>1</c:v>
                </c:pt>
                <c:pt idx="2481">
                  <c:v>1</c:v>
                </c:pt>
                <c:pt idx="2482">
                  <c:v>0</c:v>
                </c:pt>
                <c:pt idx="2483">
                  <c:v>0</c:v>
                </c:pt>
                <c:pt idx="2484">
                  <c:v>0</c:v>
                </c:pt>
                <c:pt idx="2485">
                  <c:v>4</c:v>
                </c:pt>
                <c:pt idx="2486">
                  <c:v>0</c:v>
                </c:pt>
                <c:pt idx="2487">
                  <c:v>0</c:v>
                </c:pt>
                <c:pt idx="2488">
                  <c:v>0</c:v>
                </c:pt>
                <c:pt idx="2489">
                  <c:v>2</c:v>
                </c:pt>
                <c:pt idx="2490">
                  <c:v>0</c:v>
                </c:pt>
                <c:pt idx="2491">
                  <c:v>1</c:v>
                </c:pt>
                <c:pt idx="2492">
                  <c:v>0</c:v>
                </c:pt>
                <c:pt idx="2493">
                  <c:v>3</c:v>
                </c:pt>
                <c:pt idx="2494">
                  <c:v>0</c:v>
                </c:pt>
                <c:pt idx="2495">
                  <c:v>0</c:v>
                </c:pt>
                <c:pt idx="2496">
                  <c:v>0</c:v>
                </c:pt>
                <c:pt idx="2497">
                  <c:v>0</c:v>
                </c:pt>
                <c:pt idx="2498">
                  <c:v>0</c:v>
                </c:pt>
                <c:pt idx="2499">
                  <c:v>2</c:v>
                </c:pt>
                <c:pt idx="2500">
                  <c:v>9</c:v>
                </c:pt>
                <c:pt idx="2501">
                  <c:v>2</c:v>
                </c:pt>
                <c:pt idx="2502">
                  <c:v>1</c:v>
                </c:pt>
                <c:pt idx="2503">
                  <c:v>0</c:v>
                </c:pt>
                <c:pt idx="2504">
                  <c:v>0</c:v>
                </c:pt>
                <c:pt idx="2505">
                  <c:v>0</c:v>
                </c:pt>
                <c:pt idx="2506">
                  <c:v>2</c:v>
                </c:pt>
                <c:pt idx="2507">
                  <c:v>0</c:v>
                </c:pt>
                <c:pt idx="2508">
                  <c:v>2</c:v>
                </c:pt>
                <c:pt idx="2509">
                  <c:v>1</c:v>
                </c:pt>
                <c:pt idx="2510">
                  <c:v>0</c:v>
                </c:pt>
                <c:pt idx="2511">
                  <c:v>0</c:v>
                </c:pt>
                <c:pt idx="2512">
                  <c:v>6</c:v>
                </c:pt>
                <c:pt idx="2513">
                  <c:v>0</c:v>
                </c:pt>
                <c:pt idx="2514">
                  <c:v>4</c:v>
                </c:pt>
                <c:pt idx="2515">
                  <c:v>2</c:v>
                </c:pt>
                <c:pt idx="2516">
                  <c:v>0</c:v>
                </c:pt>
                <c:pt idx="2517">
                  <c:v>0</c:v>
                </c:pt>
                <c:pt idx="2518">
                  <c:v>0</c:v>
                </c:pt>
                <c:pt idx="2519">
                  <c:v>2</c:v>
                </c:pt>
                <c:pt idx="2520">
                  <c:v>4</c:v>
                </c:pt>
                <c:pt idx="2521">
                  <c:v>0</c:v>
                </c:pt>
                <c:pt idx="2522">
                  <c:v>1</c:v>
                </c:pt>
                <c:pt idx="2523">
                  <c:v>5</c:v>
                </c:pt>
                <c:pt idx="2524">
                  <c:v>1</c:v>
                </c:pt>
                <c:pt idx="2525">
                  <c:v>0</c:v>
                </c:pt>
                <c:pt idx="2526">
                  <c:v>4</c:v>
                </c:pt>
                <c:pt idx="2527">
                  <c:v>1</c:v>
                </c:pt>
                <c:pt idx="2528">
                  <c:v>0</c:v>
                </c:pt>
                <c:pt idx="2529">
                  <c:v>3</c:v>
                </c:pt>
                <c:pt idx="2530">
                  <c:v>0</c:v>
                </c:pt>
                <c:pt idx="2531">
                  <c:v>2</c:v>
                </c:pt>
                <c:pt idx="2532">
                  <c:v>3</c:v>
                </c:pt>
                <c:pt idx="2533">
                  <c:v>0</c:v>
                </c:pt>
                <c:pt idx="2534">
                  <c:v>0</c:v>
                </c:pt>
                <c:pt idx="2535">
                  <c:v>1</c:v>
                </c:pt>
                <c:pt idx="2536">
                  <c:v>1</c:v>
                </c:pt>
                <c:pt idx="2537">
                  <c:v>4</c:v>
                </c:pt>
                <c:pt idx="2538">
                  <c:v>0</c:v>
                </c:pt>
                <c:pt idx="2539">
                  <c:v>1</c:v>
                </c:pt>
                <c:pt idx="2540">
                  <c:v>1</c:v>
                </c:pt>
                <c:pt idx="2541">
                  <c:v>0</c:v>
                </c:pt>
                <c:pt idx="2542">
                  <c:v>0</c:v>
                </c:pt>
                <c:pt idx="2543">
                  <c:v>0</c:v>
                </c:pt>
                <c:pt idx="2544">
                  <c:v>0</c:v>
                </c:pt>
                <c:pt idx="2545">
                  <c:v>0</c:v>
                </c:pt>
                <c:pt idx="2546">
                  <c:v>1</c:v>
                </c:pt>
                <c:pt idx="2547">
                  <c:v>1</c:v>
                </c:pt>
                <c:pt idx="2548">
                  <c:v>0</c:v>
                </c:pt>
                <c:pt idx="2549">
                  <c:v>1</c:v>
                </c:pt>
                <c:pt idx="2550">
                  <c:v>4</c:v>
                </c:pt>
                <c:pt idx="2551">
                  <c:v>1</c:v>
                </c:pt>
                <c:pt idx="2552">
                  <c:v>1</c:v>
                </c:pt>
                <c:pt idx="2553">
                  <c:v>1</c:v>
                </c:pt>
                <c:pt idx="2554">
                  <c:v>0</c:v>
                </c:pt>
                <c:pt idx="2555">
                  <c:v>5</c:v>
                </c:pt>
                <c:pt idx="2556">
                  <c:v>0</c:v>
                </c:pt>
                <c:pt idx="2557">
                  <c:v>0</c:v>
                </c:pt>
                <c:pt idx="2558">
                  <c:v>0</c:v>
                </c:pt>
                <c:pt idx="2559">
                  <c:v>0</c:v>
                </c:pt>
                <c:pt idx="2560">
                  <c:v>1</c:v>
                </c:pt>
                <c:pt idx="2561">
                  <c:v>1</c:v>
                </c:pt>
                <c:pt idx="2562">
                  <c:v>0</c:v>
                </c:pt>
                <c:pt idx="2563">
                  <c:v>0</c:v>
                </c:pt>
                <c:pt idx="2564">
                  <c:v>2</c:v>
                </c:pt>
                <c:pt idx="2565">
                  <c:v>2</c:v>
                </c:pt>
                <c:pt idx="2566">
                  <c:v>0</c:v>
                </c:pt>
                <c:pt idx="2567">
                  <c:v>3</c:v>
                </c:pt>
                <c:pt idx="2568">
                  <c:v>0</c:v>
                </c:pt>
                <c:pt idx="2569">
                  <c:v>1</c:v>
                </c:pt>
                <c:pt idx="2570">
                  <c:v>2</c:v>
                </c:pt>
                <c:pt idx="2571">
                  <c:v>0</c:v>
                </c:pt>
                <c:pt idx="2572">
                  <c:v>0</c:v>
                </c:pt>
                <c:pt idx="2573">
                  <c:v>1</c:v>
                </c:pt>
                <c:pt idx="2574">
                  <c:v>0</c:v>
                </c:pt>
                <c:pt idx="2575">
                  <c:v>0</c:v>
                </c:pt>
                <c:pt idx="2576">
                  <c:v>1</c:v>
                </c:pt>
                <c:pt idx="2577">
                  <c:v>0</c:v>
                </c:pt>
                <c:pt idx="2578">
                  <c:v>0</c:v>
                </c:pt>
                <c:pt idx="2579">
                  <c:v>1</c:v>
                </c:pt>
                <c:pt idx="2580">
                  <c:v>1</c:v>
                </c:pt>
                <c:pt idx="2581">
                  <c:v>1</c:v>
                </c:pt>
                <c:pt idx="2582">
                  <c:v>1</c:v>
                </c:pt>
                <c:pt idx="2583">
                  <c:v>6</c:v>
                </c:pt>
                <c:pt idx="2584">
                  <c:v>0</c:v>
                </c:pt>
                <c:pt idx="2585">
                  <c:v>4</c:v>
                </c:pt>
                <c:pt idx="2586">
                  <c:v>0</c:v>
                </c:pt>
                <c:pt idx="2587">
                  <c:v>0</c:v>
                </c:pt>
                <c:pt idx="2588">
                  <c:v>0</c:v>
                </c:pt>
                <c:pt idx="2589">
                  <c:v>10</c:v>
                </c:pt>
                <c:pt idx="2590">
                  <c:v>0</c:v>
                </c:pt>
                <c:pt idx="2591">
                  <c:v>0</c:v>
                </c:pt>
                <c:pt idx="2592">
                  <c:v>1</c:v>
                </c:pt>
                <c:pt idx="2593">
                  <c:v>1</c:v>
                </c:pt>
                <c:pt idx="2594">
                  <c:v>0</c:v>
                </c:pt>
                <c:pt idx="2595">
                  <c:v>2</c:v>
                </c:pt>
                <c:pt idx="2596">
                  <c:v>0</c:v>
                </c:pt>
                <c:pt idx="2597">
                  <c:v>0</c:v>
                </c:pt>
                <c:pt idx="2598">
                  <c:v>2</c:v>
                </c:pt>
                <c:pt idx="2599">
                  <c:v>0</c:v>
                </c:pt>
                <c:pt idx="2600">
                  <c:v>0</c:v>
                </c:pt>
                <c:pt idx="2601">
                  <c:v>0</c:v>
                </c:pt>
                <c:pt idx="2602">
                  <c:v>6</c:v>
                </c:pt>
                <c:pt idx="2603">
                  <c:v>0</c:v>
                </c:pt>
                <c:pt idx="2604">
                  <c:v>1</c:v>
                </c:pt>
                <c:pt idx="2605">
                  <c:v>1</c:v>
                </c:pt>
                <c:pt idx="2606">
                  <c:v>0</c:v>
                </c:pt>
                <c:pt idx="2607">
                  <c:v>1</c:v>
                </c:pt>
                <c:pt idx="2608">
                  <c:v>1</c:v>
                </c:pt>
                <c:pt idx="2609">
                  <c:v>0</c:v>
                </c:pt>
                <c:pt idx="2610">
                  <c:v>1</c:v>
                </c:pt>
                <c:pt idx="2611">
                  <c:v>3</c:v>
                </c:pt>
                <c:pt idx="2612">
                  <c:v>0</c:v>
                </c:pt>
                <c:pt idx="2613">
                  <c:v>0</c:v>
                </c:pt>
                <c:pt idx="2614">
                  <c:v>0</c:v>
                </c:pt>
                <c:pt idx="2615">
                  <c:v>2</c:v>
                </c:pt>
                <c:pt idx="2616">
                  <c:v>1</c:v>
                </c:pt>
                <c:pt idx="2617">
                  <c:v>0</c:v>
                </c:pt>
                <c:pt idx="2618">
                  <c:v>4</c:v>
                </c:pt>
                <c:pt idx="2619">
                  <c:v>0</c:v>
                </c:pt>
                <c:pt idx="2620">
                  <c:v>2</c:v>
                </c:pt>
                <c:pt idx="2621">
                  <c:v>0</c:v>
                </c:pt>
                <c:pt idx="2622">
                  <c:v>0</c:v>
                </c:pt>
                <c:pt idx="2623">
                  <c:v>0</c:v>
                </c:pt>
                <c:pt idx="2624">
                  <c:v>0</c:v>
                </c:pt>
                <c:pt idx="2625">
                  <c:v>3</c:v>
                </c:pt>
                <c:pt idx="2626">
                  <c:v>1</c:v>
                </c:pt>
                <c:pt idx="2627">
                  <c:v>0</c:v>
                </c:pt>
                <c:pt idx="2628">
                  <c:v>3</c:v>
                </c:pt>
                <c:pt idx="2629">
                  <c:v>0</c:v>
                </c:pt>
                <c:pt idx="2630">
                  <c:v>0</c:v>
                </c:pt>
                <c:pt idx="2631">
                  <c:v>2</c:v>
                </c:pt>
                <c:pt idx="2632">
                  <c:v>3</c:v>
                </c:pt>
                <c:pt idx="2633">
                  <c:v>1</c:v>
                </c:pt>
                <c:pt idx="2634">
                  <c:v>2</c:v>
                </c:pt>
                <c:pt idx="2635">
                  <c:v>0</c:v>
                </c:pt>
                <c:pt idx="2636">
                  <c:v>1</c:v>
                </c:pt>
                <c:pt idx="2637">
                  <c:v>0</c:v>
                </c:pt>
                <c:pt idx="2638">
                  <c:v>0</c:v>
                </c:pt>
                <c:pt idx="2639">
                  <c:v>2</c:v>
                </c:pt>
                <c:pt idx="2640">
                  <c:v>1</c:v>
                </c:pt>
                <c:pt idx="2641">
                  <c:v>1</c:v>
                </c:pt>
                <c:pt idx="2642">
                  <c:v>0</c:v>
                </c:pt>
                <c:pt idx="2643">
                  <c:v>1</c:v>
                </c:pt>
                <c:pt idx="2644">
                  <c:v>2</c:v>
                </c:pt>
                <c:pt idx="2645">
                  <c:v>0</c:v>
                </c:pt>
                <c:pt idx="2646">
                  <c:v>1</c:v>
                </c:pt>
                <c:pt idx="2647">
                  <c:v>5</c:v>
                </c:pt>
                <c:pt idx="2648">
                  <c:v>2</c:v>
                </c:pt>
                <c:pt idx="2649">
                  <c:v>3</c:v>
                </c:pt>
                <c:pt idx="2650">
                  <c:v>2</c:v>
                </c:pt>
                <c:pt idx="2651">
                  <c:v>0</c:v>
                </c:pt>
                <c:pt idx="2652">
                  <c:v>2</c:v>
                </c:pt>
                <c:pt idx="2653">
                  <c:v>3</c:v>
                </c:pt>
                <c:pt idx="2654">
                  <c:v>4</c:v>
                </c:pt>
                <c:pt idx="2655">
                  <c:v>3</c:v>
                </c:pt>
                <c:pt idx="2656">
                  <c:v>0</c:v>
                </c:pt>
                <c:pt idx="2657">
                  <c:v>6</c:v>
                </c:pt>
                <c:pt idx="2658">
                  <c:v>0</c:v>
                </c:pt>
                <c:pt idx="2659">
                  <c:v>3</c:v>
                </c:pt>
                <c:pt idx="2660">
                  <c:v>0</c:v>
                </c:pt>
                <c:pt idx="2661">
                  <c:v>1</c:v>
                </c:pt>
                <c:pt idx="2662">
                  <c:v>16</c:v>
                </c:pt>
                <c:pt idx="2663">
                  <c:v>0</c:v>
                </c:pt>
                <c:pt idx="2664">
                  <c:v>0</c:v>
                </c:pt>
                <c:pt idx="2665">
                  <c:v>0</c:v>
                </c:pt>
                <c:pt idx="2666">
                  <c:v>3</c:v>
                </c:pt>
                <c:pt idx="2667">
                  <c:v>2</c:v>
                </c:pt>
                <c:pt idx="2668">
                  <c:v>0</c:v>
                </c:pt>
                <c:pt idx="2669">
                  <c:v>3</c:v>
                </c:pt>
                <c:pt idx="2670">
                  <c:v>0</c:v>
                </c:pt>
                <c:pt idx="2671">
                  <c:v>1</c:v>
                </c:pt>
                <c:pt idx="2672">
                  <c:v>0</c:v>
                </c:pt>
                <c:pt idx="2673">
                  <c:v>1</c:v>
                </c:pt>
                <c:pt idx="2674">
                  <c:v>0</c:v>
                </c:pt>
                <c:pt idx="2675">
                  <c:v>1</c:v>
                </c:pt>
                <c:pt idx="2676">
                  <c:v>0</c:v>
                </c:pt>
                <c:pt idx="2677">
                  <c:v>0</c:v>
                </c:pt>
                <c:pt idx="2678">
                  <c:v>0</c:v>
                </c:pt>
                <c:pt idx="2679">
                  <c:v>1</c:v>
                </c:pt>
                <c:pt idx="2680">
                  <c:v>0</c:v>
                </c:pt>
                <c:pt idx="2681">
                  <c:v>0</c:v>
                </c:pt>
                <c:pt idx="2682">
                  <c:v>0</c:v>
                </c:pt>
                <c:pt idx="2683">
                  <c:v>4</c:v>
                </c:pt>
                <c:pt idx="2684">
                  <c:v>1</c:v>
                </c:pt>
                <c:pt idx="2685">
                  <c:v>3</c:v>
                </c:pt>
                <c:pt idx="2686">
                  <c:v>2</c:v>
                </c:pt>
                <c:pt idx="2687">
                  <c:v>0</c:v>
                </c:pt>
                <c:pt idx="2688">
                  <c:v>0</c:v>
                </c:pt>
                <c:pt idx="2689">
                  <c:v>0</c:v>
                </c:pt>
                <c:pt idx="2690">
                  <c:v>0</c:v>
                </c:pt>
                <c:pt idx="2691">
                  <c:v>1</c:v>
                </c:pt>
                <c:pt idx="2692">
                  <c:v>0</c:v>
                </c:pt>
                <c:pt idx="2693">
                  <c:v>0</c:v>
                </c:pt>
                <c:pt idx="2694">
                  <c:v>0</c:v>
                </c:pt>
                <c:pt idx="2695">
                  <c:v>0</c:v>
                </c:pt>
                <c:pt idx="2696">
                  <c:v>3</c:v>
                </c:pt>
                <c:pt idx="2697">
                  <c:v>0</c:v>
                </c:pt>
                <c:pt idx="2698">
                  <c:v>9</c:v>
                </c:pt>
                <c:pt idx="2699">
                  <c:v>0</c:v>
                </c:pt>
                <c:pt idx="2700">
                  <c:v>0</c:v>
                </c:pt>
                <c:pt idx="2701">
                  <c:v>0</c:v>
                </c:pt>
                <c:pt idx="2702">
                  <c:v>0</c:v>
                </c:pt>
                <c:pt idx="2703">
                  <c:v>1</c:v>
                </c:pt>
                <c:pt idx="2704">
                  <c:v>0</c:v>
                </c:pt>
                <c:pt idx="2705">
                  <c:v>0</c:v>
                </c:pt>
                <c:pt idx="2706">
                  <c:v>0</c:v>
                </c:pt>
                <c:pt idx="2707">
                  <c:v>3</c:v>
                </c:pt>
                <c:pt idx="2708">
                  <c:v>0</c:v>
                </c:pt>
                <c:pt idx="2709">
                  <c:v>2</c:v>
                </c:pt>
                <c:pt idx="2710">
                  <c:v>0</c:v>
                </c:pt>
                <c:pt idx="2711">
                  <c:v>1</c:v>
                </c:pt>
                <c:pt idx="2712">
                  <c:v>0</c:v>
                </c:pt>
                <c:pt idx="2713">
                  <c:v>0</c:v>
                </c:pt>
                <c:pt idx="2714">
                  <c:v>4</c:v>
                </c:pt>
                <c:pt idx="2715">
                  <c:v>0</c:v>
                </c:pt>
                <c:pt idx="2716">
                  <c:v>2</c:v>
                </c:pt>
                <c:pt idx="2717">
                  <c:v>0</c:v>
                </c:pt>
                <c:pt idx="2718">
                  <c:v>1</c:v>
                </c:pt>
                <c:pt idx="2719">
                  <c:v>3</c:v>
                </c:pt>
                <c:pt idx="2720">
                  <c:v>1</c:v>
                </c:pt>
                <c:pt idx="2721">
                  <c:v>2</c:v>
                </c:pt>
                <c:pt idx="2722">
                  <c:v>1</c:v>
                </c:pt>
                <c:pt idx="2723">
                  <c:v>1</c:v>
                </c:pt>
                <c:pt idx="2724">
                  <c:v>0</c:v>
                </c:pt>
                <c:pt idx="2725">
                  <c:v>0</c:v>
                </c:pt>
                <c:pt idx="2726">
                  <c:v>0</c:v>
                </c:pt>
                <c:pt idx="2727">
                  <c:v>0</c:v>
                </c:pt>
                <c:pt idx="2728">
                  <c:v>2</c:v>
                </c:pt>
                <c:pt idx="2729">
                  <c:v>0</c:v>
                </c:pt>
                <c:pt idx="2730">
                  <c:v>3</c:v>
                </c:pt>
                <c:pt idx="2731">
                  <c:v>0</c:v>
                </c:pt>
                <c:pt idx="2732">
                  <c:v>0</c:v>
                </c:pt>
                <c:pt idx="2733">
                  <c:v>0</c:v>
                </c:pt>
                <c:pt idx="2734">
                  <c:v>0</c:v>
                </c:pt>
                <c:pt idx="2735">
                  <c:v>3</c:v>
                </c:pt>
                <c:pt idx="2736">
                  <c:v>2</c:v>
                </c:pt>
                <c:pt idx="2737">
                  <c:v>4</c:v>
                </c:pt>
                <c:pt idx="2738">
                  <c:v>1</c:v>
                </c:pt>
                <c:pt idx="2739">
                  <c:v>3</c:v>
                </c:pt>
                <c:pt idx="2740">
                  <c:v>0</c:v>
                </c:pt>
                <c:pt idx="2741">
                  <c:v>0</c:v>
                </c:pt>
                <c:pt idx="2742">
                  <c:v>1</c:v>
                </c:pt>
                <c:pt idx="2743">
                  <c:v>1</c:v>
                </c:pt>
                <c:pt idx="2744">
                  <c:v>3</c:v>
                </c:pt>
                <c:pt idx="2745">
                  <c:v>1</c:v>
                </c:pt>
                <c:pt idx="2746">
                  <c:v>1</c:v>
                </c:pt>
                <c:pt idx="2747">
                  <c:v>0</c:v>
                </c:pt>
                <c:pt idx="2748">
                  <c:v>0</c:v>
                </c:pt>
                <c:pt idx="2749">
                  <c:v>2</c:v>
                </c:pt>
                <c:pt idx="2750">
                  <c:v>0</c:v>
                </c:pt>
                <c:pt idx="2751">
                  <c:v>0</c:v>
                </c:pt>
                <c:pt idx="2752">
                  <c:v>1</c:v>
                </c:pt>
                <c:pt idx="2753">
                  <c:v>0</c:v>
                </c:pt>
                <c:pt idx="2754">
                  <c:v>1</c:v>
                </c:pt>
                <c:pt idx="2755">
                  <c:v>0</c:v>
                </c:pt>
                <c:pt idx="2756">
                  <c:v>1</c:v>
                </c:pt>
                <c:pt idx="2757">
                  <c:v>0</c:v>
                </c:pt>
                <c:pt idx="2758">
                  <c:v>1</c:v>
                </c:pt>
                <c:pt idx="2759">
                  <c:v>1</c:v>
                </c:pt>
                <c:pt idx="2760">
                  <c:v>0</c:v>
                </c:pt>
                <c:pt idx="2761">
                  <c:v>7</c:v>
                </c:pt>
                <c:pt idx="2762">
                  <c:v>0</c:v>
                </c:pt>
                <c:pt idx="2763">
                  <c:v>0</c:v>
                </c:pt>
                <c:pt idx="2764">
                  <c:v>7</c:v>
                </c:pt>
                <c:pt idx="2765">
                  <c:v>0</c:v>
                </c:pt>
                <c:pt idx="2766">
                  <c:v>1</c:v>
                </c:pt>
                <c:pt idx="2767">
                  <c:v>0</c:v>
                </c:pt>
                <c:pt idx="2768">
                  <c:v>1</c:v>
                </c:pt>
                <c:pt idx="2769">
                  <c:v>0</c:v>
                </c:pt>
                <c:pt idx="2770">
                  <c:v>1</c:v>
                </c:pt>
                <c:pt idx="2771">
                  <c:v>0</c:v>
                </c:pt>
                <c:pt idx="2772">
                  <c:v>0</c:v>
                </c:pt>
                <c:pt idx="2773">
                  <c:v>1</c:v>
                </c:pt>
                <c:pt idx="2774">
                  <c:v>4</c:v>
                </c:pt>
                <c:pt idx="2775">
                  <c:v>0</c:v>
                </c:pt>
                <c:pt idx="2776">
                  <c:v>0</c:v>
                </c:pt>
                <c:pt idx="2777">
                  <c:v>1</c:v>
                </c:pt>
                <c:pt idx="2778">
                  <c:v>0</c:v>
                </c:pt>
                <c:pt idx="2779">
                  <c:v>1</c:v>
                </c:pt>
                <c:pt idx="2780">
                  <c:v>5</c:v>
                </c:pt>
                <c:pt idx="2781">
                  <c:v>0</c:v>
                </c:pt>
                <c:pt idx="2782">
                  <c:v>0</c:v>
                </c:pt>
                <c:pt idx="2783">
                  <c:v>0</c:v>
                </c:pt>
                <c:pt idx="2784">
                  <c:v>0</c:v>
                </c:pt>
                <c:pt idx="2785">
                  <c:v>1</c:v>
                </c:pt>
                <c:pt idx="2786">
                  <c:v>0</c:v>
                </c:pt>
                <c:pt idx="2787">
                  <c:v>2</c:v>
                </c:pt>
                <c:pt idx="2788">
                  <c:v>0</c:v>
                </c:pt>
                <c:pt idx="2789">
                  <c:v>1</c:v>
                </c:pt>
                <c:pt idx="2790">
                  <c:v>4</c:v>
                </c:pt>
                <c:pt idx="2791">
                  <c:v>0</c:v>
                </c:pt>
                <c:pt idx="2792">
                  <c:v>1</c:v>
                </c:pt>
                <c:pt idx="2793">
                  <c:v>0</c:v>
                </c:pt>
                <c:pt idx="2794">
                  <c:v>0</c:v>
                </c:pt>
                <c:pt idx="2795">
                  <c:v>0</c:v>
                </c:pt>
                <c:pt idx="2796">
                  <c:v>3</c:v>
                </c:pt>
                <c:pt idx="2797">
                  <c:v>0</c:v>
                </c:pt>
                <c:pt idx="2798">
                  <c:v>1</c:v>
                </c:pt>
                <c:pt idx="2799">
                  <c:v>0</c:v>
                </c:pt>
                <c:pt idx="2800">
                  <c:v>0</c:v>
                </c:pt>
                <c:pt idx="2801">
                  <c:v>17</c:v>
                </c:pt>
                <c:pt idx="2802">
                  <c:v>0</c:v>
                </c:pt>
                <c:pt idx="2803">
                  <c:v>0</c:v>
                </c:pt>
                <c:pt idx="2804">
                  <c:v>0</c:v>
                </c:pt>
                <c:pt idx="2805">
                  <c:v>0</c:v>
                </c:pt>
                <c:pt idx="2806">
                  <c:v>3</c:v>
                </c:pt>
                <c:pt idx="2807">
                  <c:v>3</c:v>
                </c:pt>
                <c:pt idx="2808">
                  <c:v>0</c:v>
                </c:pt>
                <c:pt idx="2809">
                  <c:v>0</c:v>
                </c:pt>
                <c:pt idx="2810">
                  <c:v>0</c:v>
                </c:pt>
                <c:pt idx="2811">
                  <c:v>1</c:v>
                </c:pt>
                <c:pt idx="2812">
                  <c:v>0</c:v>
                </c:pt>
                <c:pt idx="2813">
                  <c:v>5</c:v>
                </c:pt>
                <c:pt idx="2814">
                  <c:v>1</c:v>
                </c:pt>
                <c:pt idx="2815">
                  <c:v>0</c:v>
                </c:pt>
                <c:pt idx="2816">
                  <c:v>0</c:v>
                </c:pt>
                <c:pt idx="2817">
                  <c:v>2</c:v>
                </c:pt>
                <c:pt idx="2818">
                  <c:v>0</c:v>
                </c:pt>
                <c:pt idx="2819">
                  <c:v>0</c:v>
                </c:pt>
                <c:pt idx="2820">
                  <c:v>2</c:v>
                </c:pt>
                <c:pt idx="2821">
                  <c:v>0</c:v>
                </c:pt>
                <c:pt idx="2822">
                  <c:v>1</c:v>
                </c:pt>
                <c:pt idx="2823">
                  <c:v>0</c:v>
                </c:pt>
                <c:pt idx="2824">
                  <c:v>4</c:v>
                </c:pt>
                <c:pt idx="2825">
                  <c:v>1</c:v>
                </c:pt>
                <c:pt idx="2826">
                  <c:v>2</c:v>
                </c:pt>
                <c:pt idx="2827">
                  <c:v>0</c:v>
                </c:pt>
                <c:pt idx="2828">
                  <c:v>0</c:v>
                </c:pt>
                <c:pt idx="2829">
                  <c:v>0</c:v>
                </c:pt>
                <c:pt idx="2830">
                  <c:v>0</c:v>
                </c:pt>
                <c:pt idx="2831">
                  <c:v>0</c:v>
                </c:pt>
                <c:pt idx="2832">
                  <c:v>0</c:v>
                </c:pt>
                <c:pt idx="2833">
                  <c:v>0</c:v>
                </c:pt>
                <c:pt idx="2834">
                  <c:v>1</c:v>
                </c:pt>
                <c:pt idx="2835">
                  <c:v>0</c:v>
                </c:pt>
                <c:pt idx="2836">
                  <c:v>0</c:v>
                </c:pt>
                <c:pt idx="2837">
                  <c:v>1</c:v>
                </c:pt>
                <c:pt idx="2838">
                  <c:v>2</c:v>
                </c:pt>
                <c:pt idx="2839">
                  <c:v>0</c:v>
                </c:pt>
                <c:pt idx="2840">
                  <c:v>0</c:v>
                </c:pt>
                <c:pt idx="2841">
                  <c:v>0</c:v>
                </c:pt>
                <c:pt idx="2842">
                  <c:v>0</c:v>
                </c:pt>
                <c:pt idx="2843">
                  <c:v>0</c:v>
                </c:pt>
                <c:pt idx="2844">
                  <c:v>2</c:v>
                </c:pt>
                <c:pt idx="2845">
                  <c:v>1</c:v>
                </c:pt>
                <c:pt idx="2846">
                  <c:v>0</c:v>
                </c:pt>
                <c:pt idx="2847">
                  <c:v>0</c:v>
                </c:pt>
                <c:pt idx="2848">
                  <c:v>19</c:v>
                </c:pt>
                <c:pt idx="2849">
                  <c:v>3</c:v>
                </c:pt>
                <c:pt idx="2850">
                  <c:v>59</c:v>
                </c:pt>
                <c:pt idx="2851">
                  <c:v>0</c:v>
                </c:pt>
                <c:pt idx="2852">
                  <c:v>22</c:v>
                </c:pt>
                <c:pt idx="2853">
                  <c:v>0</c:v>
                </c:pt>
                <c:pt idx="2854">
                  <c:v>0</c:v>
                </c:pt>
                <c:pt idx="2855">
                  <c:v>0</c:v>
                </c:pt>
                <c:pt idx="2856">
                  <c:v>0</c:v>
                </c:pt>
                <c:pt idx="2857">
                  <c:v>3</c:v>
                </c:pt>
                <c:pt idx="2858">
                  <c:v>0</c:v>
                </c:pt>
                <c:pt idx="2859">
                  <c:v>0</c:v>
                </c:pt>
                <c:pt idx="2860">
                  <c:v>0</c:v>
                </c:pt>
                <c:pt idx="2861">
                  <c:v>1</c:v>
                </c:pt>
                <c:pt idx="2862">
                  <c:v>2</c:v>
                </c:pt>
                <c:pt idx="2863">
                  <c:v>0</c:v>
                </c:pt>
                <c:pt idx="2864">
                  <c:v>0</c:v>
                </c:pt>
                <c:pt idx="2865">
                  <c:v>1</c:v>
                </c:pt>
                <c:pt idx="2866">
                  <c:v>0</c:v>
                </c:pt>
                <c:pt idx="2867">
                  <c:v>0</c:v>
                </c:pt>
                <c:pt idx="2868">
                  <c:v>0</c:v>
                </c:pt>
                <c:pt idx="2869">
                  <c:v>0</c:v>
                </c:pt>
                <c:pt idx="2870">
                  <c:v>0</c:v>
                </c:pt>
                <c:pt idx="2871">
                  <c:v>0</c:v>
                </c:pt>
                <c:pt idx="2872">
                  <c:v>1</c:v>
                </c:pt>
                <c:pt idx="2873">
                  <c:v>0</c:v>
                </c:pt>
                <c:pt idx="2874">
                  <c:v>4</c:v>
                </c:pt>
                <c:pt idx="2875">
                  <c:v>1</c:v>
                </c:pt>
                <c:pt idx="2876">
                  <c:v>0</c:v>
                </c:pt>
                <c:pt idx="2877">
                  <c:v>1</c:v>
                </c:pt>
                <c:pt idx="2878">
                  <c:v>0</c:v>
                </c:pt>
                <c:pt idx="2879">
                  <c:v>2</c:v>
                </c:pt>
                <c:pt idx="2880">
                  <c:v>0</c:v>
                </c:pt>
                <c:pt idx="2881">
                  <c:v>0</c:v>
                </c:pt>
                <c:pt idx="2882">
                  <c:v>2</c:v>
                </c:pt>
                <c:pt idx="2883">
                  <c:v>0</c:v>
                </c:pt>
                <c:pt idx="2884">
                  <c:v>0</c:v>
                </c:pt>
                <c:pt idx="2885">
                  <c:v>0</c:v>
                </c:pt>
                <c:pt idx="2886">
                  <c:v>4</c:v>
                </c:pt>
                <c:pt idx="2887">
                  <c:v>2</c:v>
                </c:pt>
                <c:pt idx="2888">
                  <c:v>0</c:v>
                </c:pt>
                <c:pt idx="2889">
                  <c:v>0</c:v>
                </c:pt>
                <c:pt idx="2890">
                  <c:v>0</c:v>
                </c:pt>
                <c:pt idx="2891">
                  <c:v>2</c:v>
                </c:pt>
                <c:pt idx="2892">
                  <c:v>2</c:v>
                </c:pt>
                <c:pt idx="2893">
                  <c:v>0</c:v>
                </c:pt>
                <c:pt idx="2894">
                  <c:v>1</c:v>
                </c:pt>
                <c:pt idx="2895">
                  <c:v>1</c:v>
                </c:pt>
                <c:pt idx="2896">
                  <c:v>0</c:v>
                </c:pt>
                <c:pt idx="2897">
                  <c:v>0</c:v>
                </c:pt>
                <c:pt idx="2898">
                  <c:v>0</c:v>
                </c:pt>
                <c:pt idx="2899">
                  <c:v>0</c:v>
                </c:pt>
                <c:pt idx="2900">
                  <c:v>1</c:v>
                </c:pt>
                <c:pt idx="2901">
                  <c:v>1</c:v>
                </c:pt>
                <c:pt idx="2902">
                  <c:v>0</c:v>
                </c:pt>
                <c:pt idx="2903">
                  <c:v>0</c:v>
                </c:pt>
                <c:pt idx="2904">
                  <c:v>0</c:v>
                </c:pt>
                <c:pt idx="2905">
                  <c:v>0</c:v>
                </c:pt>
                <c:pt idx="2906">
                  <c:v>0</c:v>
                </c:pt>
                <c:pt idx="2907">
                  <c:v>0</c:v>
                </c:pt>
                <c:pt idx="2908">
                  <c:v>0</c:v>
                </c:pt>
                <c:pt idx="2909">
                  <c:v>4</c:v>
                </c:pt>
                <c:pt idx="2910">
                  <c:v>0</c:v>
                </c:pt>
                <c:pt idx="2911">
                  <c:v>0</c:v>
                </c:pt>
                <c:pt idx="2912">
                  <c:v>1</c:v>
                </c:pt>
                <c:pt idx="2913">
                  <c:v>0</c:v>
                </c:pt>
                <c:pt idx="2914">
                  <c:v>1</c:v>
                </c:pt>
                <c:pt idx="2915">
                  <c:v>0</c:v>
                </c:pt>
                <c:pt idx="2916">
                  <c:v>0</c:v>
                </c:pt>
                <c:pt idx="2917">
                  <c:v>0</c:v>
                </c:pt>
                <c:pt idx="2918">
                  <c:v>1</c:v>
                </c:pt>
                <c:pt idx="2919">
                  <c:v>1</c:v>
                </c:pt>
                <c:pt idx="2920">
                  <c:v>1</c:v>
                </c:pt>
                <c:pt idx="2921">
                  <c:v>0</c:v>
                </c:pt>
                <c:pt idx="2922">
                  <c:v>0</c:v>
                </c:pt>
                <c:pt idx="2923">
                  <c:v>1</c:v>
                </c:pt>
                <c:pt idx="2924">
                  <c:v>0</c:v>
                </c:pt>
                <c:pt idx="2925">
                  <c:v>2</c:v>
                </c:pt>
                <c:pt idx="2926">
                  <c:v>1</c:v>
                </c:pt>
                <c:pt idx="2927">
                  <c:v>0</c:v>
                </c:pt>
                <c:pt idx="2928">
                  <c:v>2</c:v>
                </c:pt>
                <c:pt idx="2929">
                  <c:v>0</c:v>
                </c:pt>
                <c:pt idx="2930">
                  <c:v>0</c:v>
                </c:pt>
                <c:pt idx="2931">
                  <c:v>0</c:v>
                </c:pt>
                <c:pt idx="2932">
                  <c:v>0</c:v>
                </c:pt>
                <c:pt idx="2933">
                  <c:v>5</c:v>
                </c:pt>
                <c:pt idx="2934">
                  <c:v>2</c:v>
                </c:pt>
                <c:pt idx="2935">
                  <c:v>1</c:v>
                </c:pt>
                <c:pt idx="2936">
                  <c:v>2</c:v>
                </c:pt>
                <c:pt idx="2937">
                  <c:v>0</c:v>
                </c:pt>
                <c:pt idx="2938">
                  <c:v>0</c:v>
                </c:pt>
                <c:pt idx="2939">
                  <c:v>3</c:v>
                </c:pt>
                <c:pt idx="2940">
                  <c:v>0</c:v>
                </c:pt>
                <c:pt idx="2941">
                  <c:v>5</c:v>
                </c:pt>
                <c:pt idx="2942">
                  <c:v>0</c:v>
                </c:pt>
                <c:pt idx="2943">
                  <c:v>2</c:v>
                </c:pt>
                <c:pt idx="2944">
                  <c:v>2</c:v>
                </c:pt>
                <c:pt idx="2945">
                  <c:v>1</c:v>
                </c:pt>
                <c:pt idx="2946">
                  <c:v>1</c:v>
                </c:pt>
                <c:pt idx="2947">
                  <c:v>0</c:v>
                </c:pt>
                <c:pt idx="2948">
                  <c:v>6</c:v>
                </c:pt>
                <c:pt idx="2949">
                  <c:v>0</c:v>
                </c:pt>
                <c:pt idx="2950">
                  <c:v>5</c:v>
                </c:pt>
                <c:pt idx="2951">
                  <c:v>0</c:v>
                </c:pt>
                <c:pt idx="2952">
                  <c:v>0</c:v>
                </c:pt>
                <c:pt idx="2953">
                  <c:v>0</c:v>
                </c:pt>
                <c:pt idx="2954">
                  <c:v>0</c:v>
                </c:pt>
                <c:pt idx="2955">
                  <c:v>0</c:v>
                </c:pt>
                <c:pt idx="2956">
                  <c:v>1</c:v>
                </c:pt>
                <c:pt idx="2957">
                  <c:v>1</c:v>
                </c:pt>
                <c:pt idx="2958">
                  <c:v>1</c:v>
                </c:pt>
                <c:pt idx="2959">
                  <c:v>0</c:v>
                </c:pt>
                <c:pt idx="2960">
                  <c:v>2</c:v>
                </c:pt>
                <c:pt idx="2961">
                  <c:v>0</c:v>
                </c:pt>
                <c:pt idx="2962">
                  <c:v>0</c:v>
                </c:pt>
                <c:pt idx="2963">
                  <c:v>6</c:v>
                </c:pt>
                <c:pt idx="2964">
                  <c:v>0</c:v>
                </c:pt>
                <c:pt idx="2965">
                  <c:v>0</c:v>
                </c:pt>
                <c:pt idx="2966">
                  <c:v>1</c:v>
                </c:pt>
                <c:pt idx="2967">
                  <c:v>0</c:v>
                </c:pt>
                <c:pt idx="2968">
                  <c:v>0</c:v>
                </c:pt>
                <c:pt idx="2969">
                  <c:v>1</c:v>
                </c:pt>
                <c:pt idx="2970">
                  <c:v>2</c:v>
                </c:pt>
                <c:pt idx="2971">
                  <c:v>0</c:v>
                </c:pt>
                <c:pt idx="2972">
                  <c:v>1</c:v>
                </c:pt>
                <c:pt idx="2973">
                  <c:v>0</c:v>
                </c:pt>
                <c:pt idx="2974">
                  <c:v>0</c:v>
                </c:pt>
                <c:pt idx="2975">
                  <c:v>0</c:v>
                </c:pt>
                <c:pt idx="2976">
                  <c:v>0</c:v>
                </c:pt>
                <c:pt idx="2977">
                  <c:v>0</c:v>
                </c:pt>
                <c:pt idx="2978">
                  <c:v>0</c:v>
                </c:pt>
                <c:pt idx="2979">
                  <c:v>0</c:v>
                </c:pt>
                <c:pt idx="2980">
                  <c:v>0</c:v>
                </c:pt>
                <c:pt idx="2981">
                  <c:v>2</c:v>
                </c:pt>
                <c:pt idx="2982">
                  <c:v>0</c:v>
                </c:pt>
                <c:pt idx="2983">
                  <c:v>0</c:v>
                </c:pt>
                <c:pt idx="2984">
                  <c:v>0</c:v>
                </c:pt>
                <c:pt idx="2985">
                  <c:v>0</c:v>
                </c:pt>
                <c:pt idx="2986">
                  <c:v>1</c:v>
                </c:pt>
                <c:pt idx="2987">
                  <c:v>2</c:v>
                </c:pt>
                <c:pt idx="2988">
                  <c:v>0</c:v>
                </c:pt>
                <c:pt idx="2989">
                  <c:v>1</c:v>
                </c:pt>
                <c:pt idx="2990">
                  <c:v>0</c:v>
                </c:pt>
                <c:pt idx="2991">
                  <c:v>0</c:v>
                </c:pt>
                <c:pt idx="2992">
                  <c:v>2</c:v>
                </c:pt>
                <c:pt idx="2993">
                  <c:v>1</c:v>
                </c:pt>
                <c:pt idx="2994">
                  <c:v>0</c:v>
                </c:pt>
                <c:pt idx="2995">
                  <c:v>0</c:v>
                </c:pt>
                <c:pt idx="2996">
                  <c:v>1</c:v>
                </c:pt>
                <c:pt idx="2997">
                  <c:v>4</c:v>
                </c:pt>
                <c:pt idx="2998">
                  <c:v>0</c:v>
                </c:pt>
                <c:pt idx="2999">
                  <c:v>0</c:v>
                </c:pt>
                <c:pt idx="3000">
                  <c:v>0</c:v>
                </c:pt>
                <c:pt idx="3001">
                  <c:v>0</c:v>
                </c:pt>
                <c:pt idx="3002">
                  <c:v>3</c:v>
                </c:pt>
                <c:pt idx="3003">
                  <c:v>0</c:v>
                </c:pt>
                <c:pt idx="3004">
                  <c:v>0</c:v>
                </c:pt>
                <c:pt idx="3005">
                  <c:v>0</c:v>
                </c:pt>
                <c:pt idx="3006">
                  <c:v>0</c:v>
                </c:pt>
                <c:pt idx="3007">
                  <c:v>0</c:v>
                </c:pt>
                <c:pt idx="3008">
                  <c:v>0</c:v>
                </c:pt>
                <c:pt idx="3009">
                  <c:v>0</c:v>
                </c:pt>
                <c:pt idx="3010">
                  <c:v>3</c:v>
                </c:pt>
                <c:pt idx="3011">
                  <c:v>1</c:v>
                </c:pt>
                <c:pt idx="3012">
                  <c:v>0</c:v>
                </c:pt>
                <c:pt idx="3013">
                  <c:v>0</c:v>
                </c:pt>
                <c:pt idx="3014">
                  <c:v>1</c:v>
                </c:pt>
                <c:pt idx="3015">
                  <c:v>5</c:v>
                </c:pt>
                <c:pt idx="3016">
                  <c:v>0</c:v>
                </c:pt>
                <c:pt idx="3017">
                  <c:v>0</c:v>
                </c:pt>
                <c:pt idx="3018">
                  <c:v>1</c:v>
                </c:pt>
                <c:pt idx="3019">
                  <c:v>1</c:v>
                </c:pt>
                <c:pt idx="3020">
                  <c:v>1</c:v>
                </c:pt>
                <c:pt idx="3021">
                  <c:v>0</c:v>
                </c:pt>
                <c:pt idx="3022">
                  <c:v>3</c:v>
                </c:pt>
                <c:pt idx="3023">
                  <c:v>4</c:v>
                </c:pt>
                <c:pt idx="3024">
                  <c:v>1</c:v>
                </c:pt>
                <c:pt idx="3025">
                  <c:v>1</c:v>
                </c:pt>
                <c:pt idx="3026">
                  <c:v>0</c:v>
                </c:pt>
                <c:pt idx="3027">
                  <c:v>0</c:v>
                </c:pt>
                <c:pt idx="3028">
                  <c:v>0</c:v>
                </c:pt>
                <c:pt idx="3029">
                  <c:v>0</c:v>
                </c:pt>
                <c:pt idx="3030">
                  <c:v>2</c:v>
                </c:pt>
                <c:pt idx="3031">
                  <c:v>0</c:v>
                </c:pt>
                <c:pt idx="3032">
                  <c:v>0</c:v>
                </c:pt>
                <c:pt idx="3033">
                  <c:v>0</c:v>
                </c:pt>
                <c:pt idx="3034">
                  <c:v>3</c:v>
                </c:pt>
                <c:pt idx="3035">
                  <c:v>1</c:v>
                </c:pt>
                <c:pt idx="3036">
                  <c:v>0</c:v>
                </c:pt>
                <c:pt idx="3037">
                  <c:v>2</c:v>
                </c:pt>
                <c:pt idx="3038">
                  <c:v>8</c:v>
                </c:pt>
                <c:pt idx="3039">
                  <c:v>0</c:v>
                </c:pt>
                <c:pt idx="3040">
                  <c:v>3</c:v>
                </c:pt>
                <c:pt idx="3041">
                  <c:v>0</c:v>
                </c:pt>
                <c:pt idx="3042">
                  <c:v>1</c:v>
                </c:pt>
                <c:pt idx="3043">
                  <c:v>2</c:v>
                </c:pt>
                <c:pt idx="3044">
                  <c:v>1</c:v>
                </c:pt>
                <c:pt idx="3045">
                  <c:v>1</c:v>
                </c:pt>
                <c:pt idx="3046">
                  <c:v>0</c:v>
                </c:pt>
                <c:pt idx="3047">
                  <c:v>0</c:v>
                </c:pt>
                <c:pt idx="3048">
                  <c:v>0</c:v>
                </c:pt>
                <c:pt idx="3049">
                  <c:v>2</c:v>
                </c:pt>
                <c:pt idx="3050">
                  <c:v>7</c:v>
                </c:pt>
                <c:pt idx="3051">
                  <c:v>0</c:v>
                </c:pt>
                <c:pt idx="3052">
                  <c:v>1</c:v>
                </c:pt>
                <c:pt idx="3053">
                  <c:v>0</c:v>
                </c:pt>
                <c:pt idx="3054">
                  <c:v>0</c:v>
                </c:pt>
                <c:pt idx="3055">
                  <c:v>1</c:v>
                </c:pt>
                <c:pt idx="3056">
                  <c:v>0</c:v>
                </c:pt>
                <c:pt idx="3057">
                  <c:v>1</c:v>
                </c:pt>
                <c:pt idx="3058">
                  <c:v>0</c:v>
                </c:pt>
                <c:pt idx="3059">
                  <c:v>3</c:v>
                </c:pt>
                <c:pt idx="3060">
                  <c:v>0</c:v>
                </c:pt>
                <c:pt idx="3061">
                  <c:v>2</c:v>
                </c:pt>
                <c:pt idx="3062">
                  <c:v>0</c:v>
                </c:pt>
                <c:pt idx="3063">
                  <c:v>0</c:v>
                </c:pt>
                <c:pt idx="3064">
                  <c:v>0</c:v>
                </c:pt>
                <c:pt idx="3065">
                  <c:v>0</c:v>
                </c:pt>
                <c:pt idx="3066">
                  <c:v>1</c:v>
                </c:pt>
                <c:pt idx="3067">
                  <c:v>0</c:v>
                </c:pt>
                <c:pt idx="3068">
                  <c:v>0</c:v>
                </c:pt>
                <c:pt idx="3069">
                  <c:v>0</c:v>
                </c:pt>
                <c:pt idx="3070">
                  <c:v>0</c:v>
                </c:pt>
                <c:pt idx="3071">
                  <c:v>1</c:v>
                </c:pt>
                <c:pt idx="3072">
                  <c:v>0</c:v>
                </c:pt>
                <c:pt idx="3073">
                  <c:v>0</c:v>
                </c:pt>
                <c:pt idx="3074">
                  <c:v>4</c:v>
                </c:pt>
                <c:pt idx="3075">
                  <c:v>0</c:v>
                </c:pt>
                <c:pt idx="3076">
                  <c:v>1</c:v>
                </c:pt>
                <c:pt idx="3077">
                  <c:v>4</c:v>
                </c:pt>
                <c:pt idx="3078">
                  <c:v>0</c:v>
                </c:pt>
                <c:pt idx="3079">
                  <c:v>0</c:v>
                </c:pt>
                <c:pt idx="3080">
                  <c:v>0</c:v>
                </c:pt>
                <c:pt idx="3081">
                  <c:v>4</c:v>
                </c:pt>
                <c:pt idx="3082">
                  <c:v>0</c:v>
                </c:pt>
                <c:pt idx="3083">
                  <c:v>1</c:v>
                </c:pt>
                <c:pt idx="3084">
                  <c:v>1</c:v>
                </c:pt>
                <c:pt idx="3085">
                  <c:v>0</c:v>
                </c:pt>
                <c:pt idx="3086">
                  <c:v>0</c:v>
                </c:pt>
                <c:pt idx="3087">
                  <c:v>1</c:v>
                </c:pt>
                <c:pt idx="3088">
                  <c:v>0</c:v>
                </c:pt>
                <c:pt idx="3089">
                  <c:v>0</c:v>
                </c:pt>
                <c:pt idx="3090">
                  <c:v>0</c:v>
                </c:pt>
                <c:pt idx="3091">
                  <c:v>0</c:v>
                </c:pt>
                <c:pt idx="3092">
                  <c:v>0</c:v>
                </c:pt>
                <c:pt idx="3093">
                  <c:v>3</c:v>
                </c:pt>
                <c:pt idx="3094">
                  <c:v>0</c:v>
                </c:pt>
                <c:pt idx="3095">
                  <c:v>0</c:v>
                </c:pt>
                <c:pt idx="3096">
                  <c:v>0</c:v>
                </c:pt>
                <c:pt idx="3097">
                  <c:v>4</c:v>
                </c:pt>
                <c:pt idx="3098">
                  <c:v>1</c:v>
                </c:pt>
                <c:pt idx="3099">
                  <c:v>1</c:v>
                </c:pt>
                <c:pt idx="3100">
                  <c:v>0</c:v>
                </c:pt>
                <c:pt idx="3101">
                  <c:v>0</c:v>
                </c:pt>
                <c:pt idx="3102">
                  <c:v>2</c:v>
                </c:pt>
                <c:pt idx="3103">
                  <c:v>2</c:v>
                </c:pt>
                <c:pt idx="3104">
                  <c:v>4</c:v>
                </c:pt>
                <c:pt idx="3105">
                  <c:v>1</c:v>
                </c:pt>
                <c:pt idx="3106">
                  <c:v>0</c:v>
                </c:pt>
                <c:pt idx="3107">
                  <c:v>0</c:v>
                </c:pt>
                <c:pt idx="3108">
                  <c:v>5</c:v>
                </c:pt>
                <c:pt idx="3109">
                  <c:v>3</c:v>
                </c:pt>
                <c:pt idx="3110">
                  <c:v>1</c:v>
                </c:pt>
                <c:pt idx="3111">
                  <c:v>1</c:v>
                </c:pt>
                <c:pt idx="3112">
                  <c:v>1</c:v>
                </c:pt>
                <c:pt idx="3113">
                  <c:v>0</c:v>
                </c:pt>
                <c:pt idx="3114">
                  <c:v>1</c:v>
                </c:pt>
                <c:pt idx="3115">
                  <c:v>0</c:v>
                </c:pt>
                <c:pt idx="3116">
                  <c:v>1</c:v>
                </c:pt>
                <c:pt idx="3117">
                  <c:v>1</c:v>
                </c:pt>
                <c:pt idx="3118">
                  <c:v>0</c:v>
                </c:pt>
                <c:pt idx="3119">
                  <c:v>0</c:v>
                </c:pt>
                <c:pt idx="3120">
                  <c:v>0</c:v>
                </c:pt>
                <c:pt idx="3121">
                  <c:v>0</c:v>
                </c:pt>
                <c:pt idx="3122">
                  <c:v>3</c:v>
                </c:pt>
                <c:pt idx="3123">
                  <c:v>0</c:v>
                </c:pt>
                <c:pt idx="3124">
                  <c:v>0</c:v>
                </c:pt>
                <c:pt idx="3125">
                  <c:v>2</c:v>
                </c:pt>
                <c:pt idx="3126">
                  <c:v>0</c:v>
                </c:pt>
                <c:pt idx="3127">
                  <c:v>0</c:v>
                </c:pt>
                <c:pt idx="3128">
                  <c:v>0</c:v>
                </c:pt>
                <c:pt idx="3129">
                  <c:v>0</c:v>
                </c:pt>
                <c:pt idx="3130">
                  <c:v>0</c:v>
                </c:pt>
                <c:pt idx="3131">
                  <c:v>0</c:v>
                </c:pt>
                <c:pt idx="3132">
                  <c:v>0</c:v>
                </c:pt>
                <c:pt idx="3133">
                  <c:v>0</c:v>
                </c:pt>
                <c:pt idx="3134">
                  <c:v>0</c:v>
                </c:pt>
                <c:pt idx="3135">
                  <c:v>0</c:v>
                </c:pt>
                <c:pt idx="3136">
                  <c:v>1</c:v>
                </c:pt>
                <c:pt idx="3137">
                  <c:v>0</c:v>
                </c:pt>
                <c:pt idx="3138">
                  <c:v>0</c:v>
                </c:pt>
                <c:pt idx="3139">
                  <c:v>1</c:v>
                </c:pt>
                <c:pt idx="3140">
                  <c:v>3</c:v>
                </c:pt>
                <c:pt idx="3141">
                  <c:v>0</c:v>
                </c:pt>
                <c:pt idx="3142">
                  <c:v>0</c:v>
                </c:pt>
                <c:pt idx="3143">
                  <c:v>0</c:v>
                </c:pt>
                <c:pt idx="3144">
                  <c:v>1</c:v>
                </c:pt>
                <c:pt idx="3145">
                  <c:v>1</c:v>
                </c:pt>
                <c:pt idx="3146">
                  <c:v>3</c:v>
                </c:pt>
                <c:pt idx="3147">
                  <c:v>0</c:v>
                </c:pt>
                <c:pt idx="3148">
                  <c:v>1</c:v>
                </c:pt>
                <c:pt idx="3149">
                  <c:v>0</c:v>
                </c:pt>
                <c:pt idx="3150">
                  <c:v>0</c:v>
                </c:pt>
                <c:pt idx="3151">
                  <c:v>2</c:v>
                </c:pt>
                <c:pt idx="3152">
                  <c:v>0</c:v>
                </c:pt>
                <c:pt idx="3153">
                  <c:v>1</c:v>
                </c:pt>
                <c:pt idx="3154">
                  <c:v>0</c:v>
                </c:pt>
                <c:pt idx="3155">
                  <c:v>0</c:v>
                </c:pt>
                <c:pt idx="3156">
                  <c:v>2</c:v>
                </c:pt>
                <c:pt idx="3157">
                  <c:v>0</c:v>
                </c:pt>
                <c:pt idx="3158">
                  <c:v>3</c:v>
                </c:pt>
                <c:pt idx="3159">
                  <c:v>0</c:v>
                </c:pt>
                <c:pt idx="3160">
                  <c:v>0</c:v>
                </c:pt>
                <c:pt idx="3161">
                  <c:v>2</c:v>
                </c:pt>
                <c:pt idx="3162">
                  <c:v>0</c:v>
                </c:pt>
                <c:pt idx="3163">
                  <c:v>4</c:v>
                </c:pt>
                <c:pt idx="3164">
                  <c:v>0</c:v>
                </c:pt>
                <c:pt idx="3165">
                  <c:v>0</c:v>
                </c:pt>
                <c:pt idx="3166">
                  <c:v>0</c:v>
                </c:pt>
                <c:pt idx="3167">
                  <c:v>0</c:v>
                </c:pt>
                <c:pt idx="3168">
                  <c:v>3</c:v>
                </c:pt>
                <c:pt idx="3169">
                  <c:v>3</c:v>
                </c:pt>
                <c:pt idx="3170">
                  <c:v>1</c:v>
                </c:pt>
                <c:pt idx="3171">
                  <c:v>0</c:v>
                </c:pt>
                <c:pt idx="3172">
                  <c:v>0</c:v>
                </c:pt>
                <c:pt idx="3173">
                  <c:v>0</c:v>
                </c:pt>
                <c:pt idx="3174">
                  <c:v>0</c:v>
                </c:pt>
                <c:pt idx="3175">
                  <c:v>4</c:v>
                </c:pt>
                <c:pt idx="3176">
                  <c:v>17</c:v>
                </c:pt>
                <c:pt idx="3177">
                  <c:v>0</c:v>
                </c:pt>
                <c:pt idx="3178">
                  <c:v>0</c:v>
                </c:pt>
                <c:pt idx="3179">
                  <c:v>1</c:v>
                </c:pt>
                <c:pt idx="3180">
                  <c:v>1</c:v>
                </c:pt>
                <c:pt idx="3181">
                  <c:v>0</c:v>
                </c:pt>
                <c:pt idx="3182">
                  <c:v>3</c:v>
                </c:pt>
                <c:pt idx="3183">
                  <c:v>0</c:v>
                </c:pt>
                <c:pt idx="3184">
                  <c:v>0</c:v>
                </c:pt>
                <c:pt idx="3185">
                  <c:v>0</c:v>
                </c:pt>
                <c:pt idx="3186">
                  <c:v>1</c:v>
                </c:pt>
                <c:pt idx="3187">
                  <c:v>1</c:v>
                </c:pt>
                <c:pt idx="3188">
                  <c:v>0</c:v>
                </c:pt>
                <c:pt idx="3189">
                  <c:v>2</c:v>
                </c:pt>
                <c:pt idx="3190">
                  <c:v>0</c:v>
                </c:pt>
                <c:pt idx="3191">
                  <c:v>0</c:v>
                </c:pt>
                <c:pt idx="3192">
                  <c:v>0</c:v>
                </c:pt>
                <c:pt idx="3193">
                  <c:v>4</c:v>
                </c:pt>
                <c:pt idx="3194">
                  <c:v>0</c:v>
                </c:pt>
                <c:pt idx="3195">
                  <c:v>1</c:v>
                </c:pt>
                <c:pt idx="3196">
                  <c:v>8</c:v>
                </c:pt>
                <c:pt idx="3197">
                  <c:v>8</c:v>
                </c:pt>
                <c:pt idx="3198">
                  <c:v>0</c:v>
                </c:pt>
                <c:pt idx="3199">
                  <c:v>0</c:v>
                </c:pt>
                <c:pt idx="3200">
                  <c:v>0</c:v>
                </c:pt>
                <c:pt idx="3201">
                  <c:v>1</c:v>
                </c:pt>
                <c:pt idx="3202">
                  <c:v>2</c:v>
                </c:pt>
                <c:pt idx="3203">
                  <c:v>0</c:v>
                </c:pt>
                <c:pt idx="3204">
                  <c:v>0</c:v>
                </c:pt>
                <c:pt idx="3205">
                  <c:v>0</c:v>
                </c:pt>
                <c:pt idx="3206">
                  <c:v>0</c:v>
                </c:pt>
                <c:pt idx="3207">
                  <c:v>1</c:v>
                </c:pt>
                <c:pt idx="3208">
                  <c:v>2</c:v>
                </c:pt>
                <c:pt idx="3209">
                  <c:v>2</c:v>
                </c:pt>
                <c:pt idx="3210">
                  <c:v>0</c:v>
                </c:pt>
                <c:pt idx="3211">
                  <c:v>0</c:v>
                </c:pt>
                <c:pt idx="3212">
                  <c:v>3</c:v>
                </c:pt>
                <c:pt idx="3213">
                  <c:v>0</c:v>
                </c:pt>
                <c:pt idx="3214">
                  <c:v>1</c:v>
                </c:pt>
                <c:pt idx="3215">
                  <c:v>0</c:v>
                </c:pt>
                <c:pt idx="3216">
                  <c:v>0</c:v>
                </c:pt>
                <c:pt idx="3217">
                  <c:v>1</c:v>
                </c:pt>
                <c:pt idx="3218">
                  <c:v>0</c:v>
                </c:pt>
                <c:pt idx="3219">
                  <c:v>0</c:v>
                </c:pt>
                <c:pt idx="3220">
                  <c:v>15</c:v>
                </c:pt>
                <c:pt idx="3221">
                  <c:v>0</c:v>
                </c:pt>
                <c:pt idx="3222">
                  <c:v>4</c:v>
                </c:pt>
                <c:pt idx="3223">
                  <c:v>0</c:v>
                </c:pt>
                <c:pt idx="3224">
                  <c:v>1</c:v>
                </c:pt>
                <c:pt idx="3225">
                  <c:v>1</c:v>
                </c:pt>
                <c:pt idx="3226">
                  <c:v>2</c:v>
                </c:pt>
                <c:pt idx="3227">
                  <c:v>10</c:v>
                </c:pt>
                <c:pt idx="3228">
                  <c:v>1</c:v>
                </c:pt>
                <c:pt idx="3229">
                  <c:v>0</c:v>
                </c:pt>
                <c:pt idx="3230">
                  <c:v>0</c:v>
                </c:pt>
                <c:pt idx="3231">
                  <c:v>0</c:v>
                </c:pt>
                <c:pt idx="3232">
                  <c:v>1</c:v>
                </c:pt>
                <c:pt idx="3233">
                  <c:v>0</c:v>
                </c:pt>
                <c:pt idx="3234">
                  <c:v>0</c:v>
                </c:pt>
                <c:pt idx="3235">
                  <c:v>0</c:v>
                </c:pt>
                <c:pt idx="3236">
                  <c:v>3</c:v>
                </c:pt>
                <c:pt idx="3237">
                  <c:v>0</c:v>
                </c:pt>
                <c:pt idx="3238">
                  <c:v>0</c:v>
                </c:pt>
                <c:pt idx="3239">
                  <c:v>4</c:v>
                </c:pt>
                <c:pt idx="3240">
                  <c:v>0</c:v>
                </c:pt>
                <c:pt idx="3241">
                  <c:v>2</c:v>
                </c:pt>
                <c:pt idx="3242">
                  <c:v>3</c:v>
                </c:pt>
                <c:pt idx="3243">
                  <c:v>0</c:v>
                </c:pt>
                <c:pt idx="3244">
                  <c:v>0</c:v>
                </c:pt>
                <c:pt idx="3245">
                  <c:v>0</c:v>
                </c:pt>
                <c:pt idx="3246">
                  <c:v>0</c:v>
                </c:pt>
                <c:pt idx="3247">
                  <c:v>0</c:v>
                </c:pt>
                <c:pt idx="3248">
                  <c:v>2</c:v>
                </c:pt>
                <c:pt idx="3249">
                  <c:v>0</c:v>
                </c:pt>
                <c:pt idx="3250">
                  <c:v>0</c:v>
                </c:pt>
                <c:pt idx="3251">
                  <c:v>0</c:v>
                </c:pt>
                <c:pt idx="3252">
                  <c:v>0</c:v>
                </c:pt>
                <c:pt idx="3253">
                  <c:v>0</c:v>
                </c:pt>
                <c:pt idx="3254">
                  <c:v>0</c:v>
                </c:pt>
                <c:pt idx="3255">
                  <c:v>0</c:v>
                </c:pt>
                <c:pt idx="3256">
                  <c:v>2</c:v>
                </c:pt>
                <c:pt idx="3257">
                  <c:v>0</c:v>
                </c:pt>
                <c:pt idx="3258">
                  <c:v>0</c:v>
                </c:pt>
                <c:pt idx="3259">
                  <c:v>3</c:v>
                </c:pt>
                <c:pt idx="3260">
                  <c:v>0</c:v>
                </c:pt>
                <c:pt idx="3261">
                  <c:v>0</c:v>
                </c:pt>
                <c:pt idx="3262">
                  <c:v>2</c:v>
                </c:pt>
                <c:pt idx="3263">
                  <c:v>2</c:v>
                </c:pt>
                <c:pt idx="3264">
                  <c:v>0</c:v>
                </c:pt>
                <c:pt idx="3265">
                  <c:v>0</c:v>
                </c:pt>
                <c:pt idx="3266">
                  <c:v>1</c:v>
                </c:pt>
                <c:pt idx="3267">
                  <c:v>0</c:v>
                </c:pt>
                <c:pt idx="3268">
                  <c:v>2</c:v>
                </c:pt>
                <c:pt idx="3269">
                  <c:v>1</c:v>
                </c:pt>
                <c:pt idx="3270">
                  <c:v>0</c:v>
                </c:pt>
                <c:pt idx="3271">
                  <c:v>0</c:v>
                </c:pt>
                <c:pt idx="3272">
                  <c:v>2</c:v>
                </c:pt>
                <c:pt idx="3273">
                  <c:v>5</c:v>
                </c:pt>
                <c:pt idx="3274">
                  <c:v>1</c:v>
                </c:pt>
                <c:pt idx="3275">
                  <c:v>0</c:v>
                </c:pt>
                <c:pt idx="3276">
                  <c:v>0</c:v>
                </c:pt>
                <c:pt idx="3277">
                  <c:v>0</c:v>
                </c:pt>
                <c:pt idx="3278">
                  <c:v>0</c:v>
                </c:pt>
                <c:pt idx="3279">
                  <c:v>0</c:v>
                </c:pt>
                <c:pt idx="3280">
                  <c:v>0</c:v>
                </c:pt>
                <c:pt idx="3281">
                  <c:v>1</c:v>
                </c:pt>
                <c:pt idx="3282">
                  <c:v>0</c:v>
                </c:pt>
                <c:pt idx="3283">
                  <c:v>3</c:v>
                </c:pt>
                <c:pt idx="3284">
                  <c:v>0</c:v>
                </c:pt>
                <c:pt idx="3285">
                  <c:v>4</c:v>
                </c:pt>
                <c:pt idx="3286">
                  <c:v>2</c:v>
                </c:pt>
                <c:pt idx="3287">
                  <c:v>0</c:v>
                </c:pt>
                <c:pt idx="3288">
                  <c:v>0</c:v>
                </c:pt>
                <c:pt idx="3289">
                  <c:v>0</c:v>
                </c:pt>
                <c:pt idx="3290">
                  <c:v>16</c:v>
                </c:pt>
                <c:pt idx="3291">
                  <c:v>1</c:v>
                </c:pt>
                <c:pt idx="3292">
                  <c:v>1</c:v>
                </c:pt>
                <c:pt idx="3293">
                  <c:v>5</c:v>
                </c:pt>
                <c:pt idx="3294">
                  <c:v>0</c:v>
                </c:pt>
                <c:pt idx="3295">
                  <c:v>0</c:v>
                </c:pt>
                <c:pt idx="3296">
                  <c:v>1</c:v>
                </c:pt>
                <c:pt idx="3297">
                  <c:v>0</c:v>
                </c:pt>
                <c:pt idx="3298">
                  <c:v>0</c:v>
                </c:pt>
                <c:pt idx="3299">
                  <c:v>2</c:v>
                </c:pt>
                <c:pt idx="3300">
                  <c:v>1</c:v>
                </c:pt>
                <c:pt idx="3301">
                  <c:v>0</c:v>
                </c:pt>
                <c:pt idx="3302">
                  <c:v>3</c:v>
                </c:pt>
                <c:pt idx="3303">
                  <c:v>1</c:v>
                </c:pt>
                <c:pt idx="3304">
                  <c:v>0</c:v>
                </c:pt>
                <c:pt idx="3305">
                  <c:v>0</c:v>
                </c:pt>
                <c:pt idx="3306">
                  <c:v>0</c:v>
                </c:pt>
                <c:pt idx="3307">
                  <c:v>2</c:v>
                </c:pt>
                <c:pt idx="3308">
                  <c:v>0</c:v>
                </c:pt>
                <c:pt idx="3309">
                  <c:v>0</c:v>
                </c:pt>
                <c:pt idx="3310">
                  <c:v>1</c:v>
                </c:pt>
                <c:pt idx="3311">
                  <c:v>0</c:v>
                </c:pt>
                <c:pt idx="3312">
                  <c:v>0</c:v>
                </c:pt>
                <c:pt idx="3313">
                  <c:v>0</c:v>
                </c:pt>
                <c:pt idx="3314">
                  <c:v>0</c:v>
                </c:pt>
                <c:pt idx="3315">
                  <c:v>1</c:v>
                </c:pt>
                <c:pt idx="3316">
                  <c:v>0</c:v>
                </c:pt>
                <c:pt idx="3317">
                  <c:v>1</c:v>
                </c:pt>
                <c:pt idx="3318">
                  <c:v>0</c:v>
                </c:pt>
                <c:pt idx="3319">
                  <c:v>0</c:v>
                </c:pt>
                <c:pt idx="3320">
                  <c:v>0</c:v>
                </c:pt>
                <c:pt idx="3321">
                  <c:v>4</c:v>
                </c:pt>
                <c:pt idx="3322">
                  <c:v>2</c:v>
                </c:pt>
                <c:pt idx="3323">
                  <c:v>6</c:v>
                </c:pt>
                <c:pt idx="3324">
                  <c:v>6</c:v>
                </c:pt>
                <c:pt idx="3325">
                  <c:v>0</c:v>
                </c:pt>
                <c:pt idx="3326">
                  <c:v>1</c:v>
                </c:pt>
                <c:pt idx="3327">
                  <c:v>0</c:v>
                </c:pt>
                <c:pt idx="3328">
                  <c:v>0</c:v>
                </c:pt>
                <c:pt idx="3329">
                  <c:v>0</c:v>
                </c:pt>
                <c:pt idx="3330">
                  <c:v>0</c:v>
                </c:pt>
                <c:pt idx="3331">
                  <c:v>0</c:v>
                </c:pt>
                <c:pt idx="3332">
                  <c:v>0</c:v>
                </c:pt>
                <c:pt idx="3333">
                  <c:v>0</c:v>
                </c:pt>
                <c:pt idx="3334">
                  <c:v>2</c:v>
                </c:pt>
                <c:pt idx="3335">
                  <c:v>0</c:v>
                </c:pt>
                <c:pt idx="3336">
                  <c:v>0</c:v>
                </c:pt>
                <c:pt idx="3337">
                  <c:v>1</c:v>
                </c:pt>
                <c:pt idx="3338">
                  <c:v>1</c:v>
                </c:pt>
                <c:pt idx="3339">
                  <c:v>5</c:v>
                </c:pt>
                <c:pt idx="3340">
                  <c:v>0</c:v>
                </c:pt>
                <c:pt idx="3341">
                  <c:v>0</c:v>
                </c:pt>
                <c:pt idx="3342">
                  <c:v>0</c:v>
                </c:pt>
                <c:pt idx="3343">
                  <c:v>0</c:v>
                </c:pt>
                <c:pt idx="3344">
                  <c:v>1</c:v>
                </c:pt>
                <c:pt idx="3345">
                  <c:v>0</c:v>
                </c:pt>
                <c:pt idx="3346">
                  <c:v>0</c:v>
                </c:pt>
                <c:pt idx="3347">
                  <c:v>2</c:v>
                </c:pt>
                <c:pt idx="3348">
                  <c:v>65</c:v>
                </c:pt>
                <c:pt idx="3349">
                  <c:v>2</c:v>
                </c:pt>
                <c:pt idx="3350">
                  <c:v>1</c:v>
                </c:pt>
                <c:pt idx="3351">
                  <c:v>37</c:v>
                </c:pt>
                <c:pt idx="3352">
                  <c:v>1</c:v>
                </c:pt>
                <c:pt idx="3353">
                  <c:v>0</c:v>
                </c:pt>
                <c:pt idx="3354">
                  <c:v>0</c:v>
                </c:pt>
                <c:pt idx="3355">
                  <c:v>0</c:v>
                </c:pt>
                <c:pt idx="3356">
                  <c:v>0</c:v>
                </c:pt>
                <c:pt idx="3357">
                  <c:v>62</c:v>
                </c:pt>
                <c:pt idx="3358">
                  <c:v>0</c:v>
                </c:pt>
                <c:pt idx="3359">
                  <c:v>0</c:v>
                </c:pt>
                <c:pt idx="3360">
                  <c:v>0</c:v>
                </c:pt>
                <c:pt idx="3361">
                  <c:v>0</c:v>
                </c:pt>
                <c:pt idx="3362">
                  <c:v>4</c:v>
                </c:pt>
                <c:pt idx="3363">
                  <c:v>25</c:v>
                </c:pt>
                <c:pt idx="3364">
                  <c:v>0</c:v>
                </c:pt>
                <c:pt idx="3365">
                  <c:v>2</c:v>
                </c:pt>
                <c:pt idx="3366">
                  <c:v>0</c:v>
                </c:pt>
                <c:pt idx="3367">
                  <c:v>1</c:v>
                </c:pt>
                <c:pt idx="3368">
                  <c:v>0</c:v>
                </c:pt>
                <c:pt idx="3369">
                  <c:v>13</c:v>
                </c:pt>
                <c:pt idx="3370">
                  <c:v>0</c:v>
                </c:pt>
                <c:pt idx="3371">
                  <c:v>0</c:v>
                </c:pt>
                <c:pt idx="3372">
                  <c:v>0</c:v>
                </c:pt>
                <c:pt idx="3373">
                  <c:v>0</c:v>
                </c:pt>
                <c:pt idx="3374">
                  <c:v>0</c:v>
                </c:pt>
                <c:pt idx="3375">
                  <c:v>0</c:v>
                </c:pt>
                <c:pt idx="3376">
                  <c:v>0</c:v>
                </c:pt>
                <c:pt idx="3377">
                  <c:v>3</c:v>
                </c:pt>
                <c:pt idx="3378">
                  <c:v>2</c:v>
                </c:pt>
                <c:pt idx="3379">
                  <c:v>2</c:v>
                </c:pt>
                <c:pt idx="3380">
                  <c:v>0</c:v>
                </c:pt>
                <c:pt idx="3381">
                  <c:v>3</c:v>
                </c:pt>
                <c:pt idx="3382">
                  <c:v>2</c:v>
                </c:pt>
                <c:pt idx="3383">
                  <c:v>1</c:v>
                </c:pt>
                <c:pt idx="3384">
                  <c:v>0</c:v>
                </c:pt>
                <c:pt idx="3385">
                  <c:v>0</c:v>
                </c:pt>
                <c:pt idx="3386">
                  <c:v>2</c:v>
                </c:pt>
                <c:pt idx="3387">
                  <c:v>0</c:v>
                </c:pt>
                <c:pt idx="3388">
                  <c:v>2</c:v>
                </c:pt>
                <c:pt idx="3389">
                  <c:v>0</c:v>
                </c:pt>
                <c:pt idx="3390">
                  <c:v>0</c:v>
                </c:pt>
                <c:pt idx="3391">
                  <c:v>0</c:v>
                </c:pt>
                <c:pt idx="3392">
                  <c:v>0</c:v>
                </c:pt>
                <c:pt idx="3393">
                  <c:v>2</c:v>
                </c:pt>
                <c:pt idx="3394">
                  <c:v>0</c:v>
                </c:pt>
                <c:pt idx="3395">
                  <c:v>0</c:v>
                </c:pt>
                <c:pt idx="3396">
                  <c:v>0</c:v>
                </c:pt>
                <c:pt idx="3397">
                  <c:v>0</c:v>
                </c:pt>
                <c:pt idx="3398">
                  <c:v>7</c:v>
                </c:pt>
                <c:pt idx="3399">
                  <c:v>1</c:v>
                </c:pt>
                <c:pt idx="3400">
                  <c:v>4</c:v>
                </c:pt>
                <c:pt idx="3401">
                  <c:v>1</c:v>
                </c:pt>
                <c:pt idx="3402">
                  <c:v>2</c:v>
                </c:pt>
                <c:pt idx="3403">
                  <c:v>1</c:v>
                </c:pt>
                <c:pt idx="3404">
                  <c:v>1</c:v>
                </c:pt>
                <c:pt idx="3405">
                  <c:v>0</c:v>
                </c:pt>
                <c:pt idx="3406">
                  <c:v>3</c:v>
                </c:pt>
                <c:pt idx="3407">
                  <c:v>0</c:v>
                </c:pt>
                <c:pt idx="3408">
                  <c:v>0</c:v>
                </c:pt>
                <c:pt idx="3409">
                  <c:v>1</c:v>
                </c:pt>
                <c:pt idx="3410">
                  <c:v>0</c:v>
                </c:pt>
                <c:pt idx="3411">
                  <c:v>1</c:v>
                </c:pt>
                <c:pt idx="3412">
                  <c:v>0</c:v>
                </c:pt>
                <c:pt idx="3413">
                  <c:v>0</c:v>
                </c:pt>
                <c:pt idx="3414">
                  <c:v>0</c:v>
                </c:pt>
                <c:pt idx="3415">
                  <c:v>0</c:v>
                </c:pt>
                <c:pt idx="3416">
                  <c:v>1</c:v>
                </c:pt>
                <c:pt idx="3417">
                  <c:v>0</c:v>
                </c:pt>
                <c:pt idx="3418">
                  <c:v>8</c:v>
                </c:pt>
                <c:pt idx="3419">
                  <c:v>0</c:v>
                </c:pt>
                <c:pt idx="3420">
                  <c:v>0</c:v>
                </c:pt>
                <c:pt idx="3421">
                  <c:v>1</c:v>
                </c:pt>
                <c:pt idx="3422">
                  <c:v>4</c:v>
                </c:pt>
                <c:pt idx="3423">
                  <c:v>3</c:v>
                </c:pt>
                <c:pt idx="3424">
                  <c:v>3</c:v>
                </c:pt>
                <c:pt idx="3425">
                  <c:v>0</c:v>
                </c:pt>
                <c:pt idx="3426">
                  <c:v>2</c:v>
                </c:pt>
                <c:pt idx="3427">
                  <c:v>0</c:v>
                </c:pt>
                <c:pt idx="3428">
                  <c:v>1</c:v>
                </c:pt>
                <c:pt idx="3429">
                  <c:v>0</c:v>
                </c:pt>
                <c:pt idx="3430">
                  <c:v>2</c:v>
                </c:pt>
                <c:pt idx="3431">
                  <c:v>0</c:v>
                </c:pt>
                <c:pt idx="3432">
                  <c:v>0</c:v>
                </c:pt>
                <c:pt idx="3433">
                  <c:v>2</c:v>
                </c:pt>
                <c:pt idx="3434">
                  <c:v>2</c:v>
                </c:pt>
                <c:pt idx="3435">
                  <c:v>0</c:v>
                </c:pt>
                <c:pt idx="3436">
                  <c:v>0</c:v>
                </c:pt>
                <c:pt idx="3437">
                  <c:v>3</c:v>
                </c:pt>
                <c:pt idx="3438">
                  <c:v>0</c:v>
                </c:pt>
                <c:pt idx="3439">
                  <c:v>6</c:v>
                </c:pt>
                <c:pt idx="3440">
                  <c:v>0</c:v>
                </c:pt>
                <c:pt idx="3441">
                  <c:v>0</c:v>
                </c:pt>
                <c:pt idx="3442">
                  <c:v>1</c:v>
                </c:pt>
                <c:pt idx="3443">
                  <c:v>2</c:v>
                </c:pt>
                <c:pt idx="3444">
                  <c:v>2</c:v>
                </c:pt>
                <c:pt idx="3445">
                  <c:v>8</c:v>
                </c:pt>
                <c:pt idx="3446">
                  <c:v>2</c:v>
                </c:pt>
                <c:pt idx="3447">
                  <c:v>2</c:v>
                </c:pt>
                <c:pt idx="3448">
                  <c:v>0</c:v>
                </c:pt>
                <c:pt idx="3449">
                  <c:v>0</c:v>
                </c:pt>
                <c:pt idx="3450">
                  <c:v>0</c:v>
                </c:pt>
                <c:pt idx="3451">
                  <c:v>3</c:v>
                </c:pt>
                <c:pt idx="3452">
                  <c:v>6</c:v>
                </c:pt>
                <c:pt idx="3453">
                  <c:v>4</c:v>
                </c:pt>
                <c:pt idx="3454">
                  <c:v>0</c:v>
                </c:pt>
                <c:pt idx="3455">
                  <c:v>0</c:v>
                </c:pt>
                <c:pt idx="3456">
                  <c:v>0</c:v>
                </c:pt>
                <c:pt idx="3457">
                  <c:v>3</c:v>
                </c:pt>
                <c:pt idx="3458">
                  <c:v>0</c:v>
                </c:pt>
                <c:pt idx="3459">
                  <c:v>0</c:v>
                </c:pt>
                <c:pt idx="3460">
                  <c:v>0</c:v>
                </c:pt>
                <c:pt idx="3461">
                  <c:v>0</c:v>
                </c:pt>
                <c:pt idx="3462">
                  <c:v>0</c:v>
                </c:pt>
                <c:pt idx="3463">
                  <c:v>0</c:v>
                </c:pt>
                <c:pt idx="3464">
                  <c:v>0</c:v>
                </c:pt>
                <c:pt idx="3465">
                  <c:v>0</c:v>
                </c:pt>
                <c:pt idx="3466">
                  <c:v>1</c:v>
                </c:pt>
                <c:pt idx="3467">
                  <c:v>2</c:v>
                </c:pt>
                <c:pt idx="3468">
                  <c:v>0</c:v>
                </c:pt>
                <c:pt idx="3469">
                  <c:v>0</c:v>
                </c:pt>
                <c:pt idx="3470">
                  <c:v>0</c:v>
                </c:pt>
                <c:pt idx="3471">
                  <c:v>0</c:v>
                </c:pt>
                <c:pt idx="3472">
                  <c:v>3</c:v>
                </c:pt>
                <c:pt idx="3473">
                  <c:v>0</c:v>
                </c:pt>
                <c:pt idx="3474">
                  <c:v>0</c:v>
                </c:pt>
                <c:pt idx="3475">
                  <c:v>0</c:v>
                </c:pt>
                <c:pt idx="3476">
                  <c:v>1</c:v>
                </c:pt>
                <c:pt idx="3477">
                  <c:v>0</c:v>
                </c:pt>
                <c:pt idx="3478">
                  <c:v>2</c:v>
                </c:pt>
                <c:pt idx="3479">
                  <c:v>0</c:v>
                </c:pt>
                <c:pt idx="3480">
                  <c:v>0</c:v>
                </c:pt>
                <c:pt idx="3481">
                  <c:v>3</c:v>
                </c:pt>
                <c:pt idx="3482">
                  <c:v>0</c:v>
                </c:pt>
                <c:pt idx="3483">
                  <c:v>7</c:v>
                </c:pt>
                <c:pt idx="3484">
                  <c:v>0</c:v>
                </c:pt>
                <c:pt idx="3485">
                  <c:v>0</c:v>
                </c:pt>
                <c:pt idx="3486">
                  <c:v>4</c:v>
                </c:pt>
                <c:pt idx="3487">
                  <c:v>0</c:v>
                </c:pt>
                <c:pt idx="3488">
                  <c:v>0</c:v>
                </c:pt>
                <c:pt idx="3489">
                  <c:v>2</c:v>
                </c:pt>
                <c:pt idx="3490">
                  <c:v>0</c:v>
                </c:pt>
                <c:pt idx="3491">
                  <c:v>0</c:v>
                </c:pt>
                <c:pt idx="3492">
                  <c:v>0</c:v>
                </c:pt>
                <c:pt idx="3493">
                  <c:v>0</c:v>
                </c:pt>
                <c:pt idx="3494">
                  <c:v>0</c:v>
                </c:pt>
                <c:pt idx="3495">
                  <c:v>1</c:v>
                </c:pt>
                <c:pt idx="3496">
                  <c:v>0</c:v>
                </c:pt>
                <c:pt idx="3497">
                  <c:v>0</c:v>
                </c:pt>
                <c:pt idx="3498">
                  <c:v>0</c:v>
                </c:pt>
                <c:pt idx="3499">
                  <c:v>5</c:v>
                </c:pt>
                <c:pt idx="3500">
                  <c:v>3</c:v>
                </c:pt>
                <c:pt idx="3501">
                  <c:v>1</c:v>
                </c:pt>
                <c:pt idx="3502">
                  <c:v>0</c:v>
                </c:pt>
                <c:pt idx="3503">
                  <c:v>0</c:v>
                </c:pt>
                <c:pt idx="3504">
                  <c:v>3</c:v>
                </c:pt>
                <c:pt idx="3505">
                  <c:v>2</c:v>
                </c:pt>
                <c:pt idx="3506">
                  <c:v>1</c:v>
                </c:pt>
                <c:pt idx="3507">
                  <c:v>0</c:v>
                </c:pt>
                <c:pt idx="3508">
                  <c:v>0</c:v>
                </c:pt>
                <c:pt idx="3509">
                  <c:v>0</c:v>
                </c:pt>
                <c:pt idx="3510">
                  <c:v>3</c:v>
                </c:pt>
                <c:pt idx="3511">
                  <c:v>1</c:v>
                </c:pt>
                <c:pt idx="3512">
                  <c:v>9</c:v>
                </c:pt>
                <c:pt idx="3513">
                  <c:v>0</c:v>
                </c:pt>
                <c:pt idx="3514">
                  <c:v>0</c:v>
                </c:pt>
                <c:pt idx="3515">
                  <c:v>4</c:v>
                </c:pt>
                <c:pt idx="3516">
                  <c:v>0</c:v>
                </c:pt>
                <c:pt idx="3517">
                  <c:v>2</c:v>
                </c:pt>
                <c:pt idx="3518">
                  <c:v>1</c:v>
                </c:pt>
                <c:pt idx="3519">
                  <c:v>0</c:v>
                </c:pt>
                <c:pt idx="3520">
                  <c:v>3</c:v>
                </c:pt>
                <c:pt idx="3521">
                  <c:v>0</c:v>
                </c:pt>
                <c:pt idx="3522">
                  <c:v>1</c:v>
                </c:pt>
                <c:pt idx="3523">
                  <c:v>0</c:v>
                </c:pt>
                <c:pt idx="3524">
                  <c:v>0</c:v>
                </c:pt>
                <c:pt idx="3525">
                  <c:v>1</c:v>
                </c:pt>
                <c:pt idx="3526">
                  <c:v>2</c:v>
                </c:pt>
                <c:pt idx="3527">
                  <c:v>2</c:v>
                </c:pt>
                <c:pt idx="3528">
                  <c:v>0</c:v>
                </c:pt>
                <c:pt idx="3529">
                  <c:v>1</c:v>
                </c:pt>
                <c:pt idx="3530">
                  <c:v>4</c:v>
                </c:pt>
                <c:pt idx="3531">
                  <c:v>1</c:v>
                </c:pt>
                <c:pt idx="3532">
                  <c:v>3</c:v>
                </c:pt>
                <c:pt idx="3533">
                  <c:v>0</c:v>
                </c:pt>
                <c:pt idx="3534">
                  <c:v>2</c:v>
                </c:pt>
                <c:pt idx="3535">
                  <c:v>8</c:v>
                </c:pt>
                <c:pt idx="3536">
                  <c:v>0</c:v>
                </c:pt>
                <c:pt idx="3537">
                  <c:v>3</c:v>
                </c:pt>
                <c:pt idx="3538">
                  <c:v>0</c:v>
                </c:pt>
                <c:pt idx="3539">
                  <c:v>3</c:v>
                </c:pt>
                <c:pt idx="3540">
                  <c:v>2</c:v>
                </c:pt>
                <c:pt idx="3541">
                  <c:v>0</c:v>
                </c:pt>
                <c:pt idx="3542">
                  <c:v>0</c:v>
                </c:pt>
                <c:pt idx="3543">
                  <c:v>6</c:v>
                </c:pt>
                <c:pt idx="3544">
                  <c:v>20</c:v>
                </c:pt>
                <c:pt idx="3545">
                  <c:v>0</c:v>
                </c:pt>
                <c:pt idx="3546">
                  <c:v>2</c:v>
                </c:pt>
                <c:pt idx="3547">
                  <c:v>1</c:v>
                </c:pt>
                <c:pt idx="3548">
                  <c:v>0</c:v>
                </c:pt>
                <c:pt idx="3549">
                  <c:v>2</c:v>
                </c:pt>
                <c:pt idx="3550">
                  <c:v>0</c:v>
                </c:pt>
                <c:pt idx="3551">
                  <c:v>0</c:v>
                </c:pt>
                <c:pt idx="3552">
                  <c:v>1</c:v>
                </c:pt>
                <c:pt idx="3553">
                  <c:v>0</c:v>
                </c:pt>
                <c:pt idx="3554">
                  <c:v>0</c:v>
                </c:pt>
                <c:pt idx="3555">
                  <c:v>6</c:v>
                </c:pt>
                <c:pt idx="3556">
                  <c:v>0</c:v>
                </c:pt>
                <c:pt idx="3557">
                  <c:v>5</c:v>
                </c:pt>
                <c:pt idx="3558">
                  <c:v>2</c:v>
                </c:pt>
                <c:pt idx="3559">
                  <c:v>0</c:v>
                </c:pt>
                <c:pt idx="3560">
                  <c:v>4</c:v>
                </c:pt>
                <c:pt idx="3561">
                  <c:v>1</c:v>
                </c:pt>
                <c:pt idx="3562">
                  <c:v>0</c:v>
                </c:pt>
                <c:pt idx="3563">
                  <c:v>1</c:v>
                </c:pt>
                <c:pt idx="3564">
                  <c:v>0</c:v>
                </c:pt>
                <c:pt idx="3565">
                  <c:v>1</c:v>
                </c:pt>
                <c:pt idx="3566">
                  <c:v>0</c:v>
                </c:pt>
                <c:pt idx="3567">
                  <c:v>0</c:v>
                </c:pt>
                <c:pt idx="3568">
                  <c:v>0</c:v>
                </c:pt>
                <c:pt idx="3569">
                  <c:v>0</c:v>
                </c:pt>
                <c:pt idx="3570">
                  <c:v>0</c:v>
                </c:pt>
                <c:pt idx="3571">
                  <c:v>9</c:v>
                </c:pt>
                <c:pt idx="3572">
                  <c:v>0</c:v>
                </c:pt>
                <c:pt idx="3573">
                  <c:v>0</c:v>
                </c:pt>
                <c:pt idx="3574">
                  <c:v>0</c:v>
                </c:pt>
                <c:pt idx="3575">
                  <c:v>2</c:v>
                </c:pt>
                <c:pt idx="3576">
                  <c:v>7</c:v>
                </c:pt>
                <c:pt idx="3577">
                  <c:v>5</c:v>
                </c:pt>
                <c:pt idx="3578">
                  <c:v>0</c:v>
                </c:pt>
                <c:pt idx="3579">
                  <c:v>0</c:v>
                </c:pt>
                <c:pt idx="3580">
                  <c:v>0</c:v>
                </c:pt>
                <c:pt idx="3581">
                  <c:v>5</c:v>
                </c:pt>
                <c:pt idx="3582">
                  <c:v>1</c:v>
                </c:pt>
                <c:pt idx="3583">
                  <c:v>0</c:v>
                </c:pt>
                <c:pt idx="3584">
                  <c:v>0</c:v>
                </c:pt>
                <c:pt idx="3585">
                  <c:v>0</c:v>
                </c:pt>
                <c:pt idx="3586">
                  <c:v>1</c:v>
                </c:pt>
                <c:pt idx="3587">
                  <c:v>0</c:v>
                </c:pt>
                <c:pt idx="3588">
                  <c:v>7</c:v>
                </c:pt>
                <c:pt idx="3589">
                  <c:v>2</c:v>
                </c:pt>
                <c:pt idx="3590">
                  <c:v>7</c:v>
                </c:pt>
                <c:pt idx="3591">
                  <c:v>4</c:v>
                </c:pt>
                <c:pt idx="3592">
                  <c:v>1</c:v>
                </c:pt>
                <c:pt idx="3593">
                  <c:v>0</c:v>
                </c:pt>
                <c:pt idx="3594">
                  <c:v>2</c:v>
                </c:pt>
                <c:pt idx="3595">
                  <c:v>25</c:v>
                </c:pt>
                <c:pt idx="3596">
                  <c:v>2</c:v>
                </c:pt>
                <c:pt idx="3597">
                  <c:v>1</c:v>
                </c:pt>
                <c:pt idx="3598">
                  <c:v>0</c:v>
                </c:pt>
                <c:pt idx="3599">
                  <c:v>1</c:v>
                </c:pt>
                <c:pt idx="3600">
                  <c:v>2</c:v>
                </c:pt>
                <c:pt idx="3601">
                  <c:v>1</c:v>
                </c:pt>
                <c:pt idx="3602">
                  <c:v>5</c:v>
                </c:pt>
                <c:pt idx="3603">
                  <c:v>2</c:v>
                </c:pt>
                <c:pt idx="3604">
                  <c:v>6</c:v>
                </c:pt>
                <c:pt idx="3605">
                  <c:v>6</c:v>
                </c:pt>
                <c:pt idx="3606">
                  <c:v>1</c:v>
                </c:pt>
                <c:pt idx="3607">
                  <c:v>2</c:v>
                </c:pt>
                <c:pt idx="3608">
                  <c:v>2</c:v>
                </c:pt>
                <c:pt idx="3609">
                  <c:v>1</c:v>
                </c:pt>
                <c:pt idx="3610">
                  <c:v>0</c:v>
                </c:pt>
                <c:pt idx="3611">
                  <c:v>18</c:v>
                </c:pt>
                <c:pt idx="3612">
                  <c:v>1</c:v>
                </c:pt>
                <c:pt idx="3613">
                  <c:v>1</c:v>
                </c:pt>
                <c:pt idx="3614">
                  <c:v>1</c:v>
                </c:pt>
                <c:pt idx="3615">
                  <c:v>8</c:v>
                </c:pt>
                <c:pt idx="3616">
                  <c:v>10</c:v>
                </c:pt>
                <c:pt idx="3617">
                  <c:v>4</c:v>
                </c:pt>
                <c:pt idx="3618">
                  <c:v>2</c:v>
                </c:pt>
                <c:pt idx="3619">
                  <c:v>10</c:v>
                </c:pt>
                <c:pt idx="3620">
                  <c:v>1</c:v>
                </c:pt>
                <c:pt idx="3621">
                  <c:v>3</c:v>
                </c:pt>
                <c:pt idx="3622">
                  <c:v>2</c:v>
                </c:pt>
                <c:pt idx="3623">
                  <c:v>2</c:v>
                </c:pt>
                <c:pt idx="3624">
                  <c:v>0</c:v>
                </c:pt>
                <c:pt idx="3625">
                  <c:v>2</c:v>
                </c:pt>
                <c:pt idx="3626">
                  <c:v>1</c:v>
                </c:pt>
                <c:pt idx="3627">
                  <c:v>4</c:v>
                </c:pt>
                <c:pt idx="3628">
                  <c:v>14</c:v>
                </c:pt>
                <c:pt idx="3629">
                  <c:v>0</c:v>
                </c:pt>
                <c:pt idx="3630">
                  <c:v>1</c:v>
                </c:pt>
                <c:pt idx="3631">
                  <c:v>2</c:v>
                </c:pt>
                <c:pt idx="3632">
                  <c:v>2</c:v>
                </c:pt>
                <c:pt idx="3633">
                  <c:v>1</c:v>
                </c:pt>
                <c:pt idx="3634">
                  <c:v>1</c:v>
                </c:pt>
                <c:pt idx="3635">
                  <c:v>1</c:v>
                </c:pt>
                <c:pt idx="3636">
                  <c:v>7</c:v>
                </c:pt>
                <c:pt idx="3637">
                  <c:v>2</c:v>
                </c:pt>
                <c:pt idx="3638">
                  <c:v>0</c:v>
                </c:pt>
                <c:pt idx="3639">
                  <c:v>0</c:v>
                </c:pt>
                <c:pt idx="3640">
                  <c:v>1</c:v>
                </c:pt>
                <c:pt idx="3641">
                  <c:v>4</c:v>
                </c:pt>
                <c:pt idx="3642">
                  <c:v>4</c:v>
                </c:pt>
                <c:pt idx="3643">
                  <c:v>20</c:v>
                </c:pt>
                <c:pt idx="3644">
                  <c:v>2</c:v>
                </c:pt>
                <c:pt idx="3645">
                  <c:v>8</c:v>
                </c:pt>
                <c:pt idx="3646">
                  <c:v>2</c:v>
                </c:pt>
                <c:pt idx="3647">
                  <c:v>5</c:v>
                </c:pt>
                <c:pt idx="3648">
                  <c:v>1</c:v>
                </c:pt>
                <c:pt idx="3649">
                  <c:v>1</c:v>
                </c:pt>
                <c:pt idx="3650">
                  <c:v>3</c:v>
                </c:pt>
                <c:pt idx="3651">
                  <c:v>2</c:v>
                </c:pt>
                <c:pt idx="3652">
                  <c:v>4</c:v>
                </c:pt>
                <c:pt idx="3653">
                  <c:v>4</c:v>
                </c:pt>
                <c:pt idx="3654">
                  <c:v>2</c:v>
                </c:pt>
                <c:pt idx="3655">
                  <c:v>6</c:v>
                </c:pt>
                <c:pt idx="3656">
                  <c:v>5</c:v>
                </c:pt>
                <c:pt idx="3657">
                  <c:v>4</c:v>
                </c:pt>
                <c:pt idx="3658">
                  <c:v>0</c:v>
                </c:pt>
                <c:pt idx="3659">
                  <c:v>0</c:v>
                </c:pt>
                <c:pt idx="3660">
                  <c:v>2</c:v>
                </c:pt>
                <c:pt idx="3661">
                  <c:v>0</c:v>
                </c:pt>
                <c:pt idx="3662">
                  <c:v>10</c:v>
                </c:pt>
                <c:pt idx="3663">
                  <c:v>1</c:v>
                </c:pt>
                <c:pt idx="3664">
                  <c:v>0</c:v>
                </c:pt>
                <c:pt idx="3665">
                  <c:v>1</c:v>
                </c:pt>
                <c:pt idx="3666">
                  <c:v>0</c:v>
                </c:pt>
                <c:pt idx="3667">
                  <c:v>0</c:v>
                </c:pt>
                <c:pt idx="3668">
                  <c:v>0</c:v>
                </c:pt>
                <c:pt idx="3669">
                  <c:v>1</c:v>
                </c:pt>
                <c:pt idx="3670">
                  <c:v>0</c:v>
                </c:pt>
                <c:pt idx="3671">
                  <c:v>0</c:v>
                </c:pt>
                <c:pt idx="3672">
                  <c:v>0</c:v>
                </c:pt>
                <c:pt idx="3673">
                  <c:v>2</c:v>
                </c:pt>
                <c:pt idx="3674">
                  <c:v>0</c:v>
                </c:pt>
                <c:pt idx="3675">
                  <c:v>0</c:v>
                </c:pt>
                <c:pt idx="3676">
                  <c:v>0</c:v>
                </c:pt>
                <c:pt idx="3677">
                  <c:v>0</c:v>
                </c:pt>
                <c:pt idx="3678">
                  <c:v>0</c:v>
                </c:pt>
                <c:pt idx="3679">
                  <c:v>3</c:v>
                </c:pt>
                <c:pt idx="3680">
                  <c:v>1</c:v>
                </c:pt>
                <c:pt idx="3681">
                  <c:v>0</c:v>
                </c:pt>
                <c:pt idx="3682">
                  <c:v>2</c:v>
                </c:pt>
                <c:pt idx="3683">
                  <c:v>0</c:v>
                </c:pt>
                <c:pt idx="3684">
                  <c:v>0</c:v>
                </c:pt>
                <c:pt idx="3685">
                  <c:v>0</c:v>
                </c:pt>
                <c:pt idx="3686">
                  <c:v>1</c:v>
                </c:pt>
                <c:pt idx="3687">
                  <c:v>3</c:v>
                </c:pt>
                <c:pt idx="3688">
                  <c:v>4</c:v>
                </c:pt>
                <c:pt idx="3689">
                  <c:v>2</c:v>
                </c:pt>
                <c:pt idx="3690">
                  <c:v>0</c:v>
                </c:pt>
                <c:pt idx="3691">
                  <c:v>0</c:v>
                </c:pt>
                <c:pt idx="3692">
                  <c:v>9</c:v>
                </c:pt>
                <c:pt idx="3693">
                  <c:v>1</c:v>
                </c:pt>
                <c:pt idx="3694">
                  <c:v>1</c:v>
                </c:pt>
                <c:pt idx="3695">
                  <c:v>0</c:v>
                </c:pt>
                <c:pt idx="3696">
                  <c:v>1</c:v>
                </c:pt>
                <c:pt idx="3697">
                  <c:v>1</c:v>
                </c:pt>
                <c:pt idx="3698">
                  <c:v>0</c:v>
                </c:pt>
                <c:pt idx="3699">
                  <c:v>0</c:v>
                </c:pt>
                <c:pt idx="3700">
                  <c:v>0</c:v>
                </c:pt>
                <c:pt idx="3701">
                  <c:v>1</c:v>
                </c:pt>
                <c:pt idx="3702">
                  <c:v>0</c:v>
                </c:pt>
                <c:pt idx="3703">
                  <c:v>2</c:v>
                </c:pt>
                <c:pt idx="3704">
                  <c:v>2</c:v>
                </c:pt>
                <c:pt idx="3705">
                  <c:v>0</c:v>
                </c:pt>
                <c:pt idx="3706">
                  <c:v>1</c:v>
                </c:pt>
                <c:pt idx="3707">
                  <c:v>5</c:v>
                </c:pt>
                <c:pt idx="3708">
                  <c:v>2</c:v>
                </c:pt>
                <c:pt idx="3709">
                  <c:v>0</c:v>
                </c:pt>
                <c:pt idx="3710">
                  <c:v>6</c:v>
                </c:pt>
                <c:pt idx="3711">
                  <c:v>0</c:v>
                </c:pt>
                <c:pt idx="3712">
                  <c:v>1</c:v>
                </c:pt>
                <c:pt idx="3713">
                  <c:v>1</c:v>
                </c:pt>
                <c:pt idx="3714">
                  <c:v>6</c:v>
                </c:pt>
                <c:pt idx="3715">
                  <c:v>0</c:v>
                </c:pt>
                <c:pt idx="3716">
                  <c:v>0</c:v>
                </c:pt>
                <c:pt idx="3717">
                  <c:v>1</c:v>
                </c:pt>
                <c:pt idx="3718">
                  <c:v>1</c:v>
                </c:pt>
                <c:pt idx="3719">
                  <c:v>1</c:v>
                </c:pt>
                <c:pt idx="3720">
                  <c:v>0</c:v>
                </c:pt>
                <c:pt idx="3721">
                  <c:v>0</c:v>
                </c:pt>
                <c:pt idx="3722">
                  <c:v>0</c:v>
                </c:pt>
                <c:pt idx="3723">
                  <c:v>1</c:v>
                </c:pt>
                <c:pt idx="3724">
                  <c:v>1</c:v>
                </c:pt>
                <c:pt idx="3725">
                  <c:v>0</c:v>
                </c:pt>
                <c:pt idx="3726">
                  <c:v>0</c:v>
                </c:pt>
                <c:pt idx="3727">
                  <c:v>1</c:v>
                </c:pt>
                <c:pt idx="3728">
                  <c:v>0</c:v>
                </c:pt>
                <c:pt idx="3729">
                  <c:v>7</c:v>
                </c:pt>
                <c:pt idx="3730">
                  <c:v>0</c:v>
                </c:pt>
                <c:pt idx="3731">
                  <c:v>0</c:v>
                </c:pt>
                <c:pt idx="3732">
                  <c:v>0</c:v>
                </c:pt>
                <c:pt idx="3733">
                  <c:v>4</c:v>
                </c:pt>
                <c:pt idx="3734">
                  <c:v>0</c:v>
                </c:pt>
                <c:pt idx="3735">
                  <c:v>0</c:v>
                </c:pt>
                <c:pt idx="3736">
                  <c:v>0</c:v>
                </c:pt>
                <c:pt idx="3737">
                  <c:v>0</c:v>
                </c:pt>
                <c:pt idx="3738">
                  <c:v>0</c:v>
                </c:pt>
                <c:pt idx="3739">
                  <c:v>0</c:v>
                </c:pt>
                <c:pt idx="3740">
                  <c:v>0</c:v>
                </c:pt>
                <c:pt idx="3741">
                  <c:v>0</c:v>
                </c:pt>
                <c:pt idx="3742">
                  <c:v>0</c:v>
                </c:pt>
                <c:pt idx="3743">
                  <c:v>2</c:v>
                </c:pt>
                <c:pt idx="3744">
                  <c:v>1</c:v>
                </c:pt>
                <c:pt idx="3745">
                  <c:v>0</c:v>
                </c:pt>
                <c:pt idx="3746">
                  <c:v>0</c:v>
                </c:pt>
                <c:pt idx="3747">
                  <c:v>0</c:v>
                </c:pt>
                <c:pt idx="3748">
                  <c:v>3</c:v>
                </c:pt>
                <c:pt idx="3749">
                  <c:v>4</c:v>
                </c:pt>
                <c:pt idx="3750">
                  <c:v>1</c:v>
                </c:pt>
                <c:pt idx="3751">
                  <c:v>0</c:v>
                </c:pt>
                <c:pt idx="3752">
                  <c:v>0</c:v>
                </c:pt>
                <c:pt idx="3753">
                  <c:v>0</c:v>
                </c:pt>
                <c:pt idx="3754">
                  <c:v>0</c:v>
                </c:pt>
                <c:pt idx="3755">
                  <c:v>0</c:v>
                </c:pt>
                <c:pt idx="3756">
                  <c:v>0</c:v>
                </c:pt>
                <c:pt idx="3757">
                  <c:v>4</c:v>
                </c:pt>
                <c:pt idx="3758">
                  <c:v>2</c:v>
                </c:pt>
                <c:pt idx="3759">
                  <c:v>1</c:v>
                </c:pt>
                <c:pt idx="3760">
                  <c:v>0</c:v>
                </c:pt>
                <c:pt idx="3761">
                  <c:v>0</c:v>
                </c:pt>
                <c:pt idx="3762">
                  <c:v>1</c:v>
                </c:pt>
                <c:pt idx="3763">
                  <c:v>0</c:v>
                </c:pt>
                <c:pt idx="3764">
                  <c:v>0</c:v>
                </c:pt>
                <c:pt idx="3765">
                  <c:v>3</c:v>
                </c:pt>
                <c:pt idx="3766">
                  <c:v>0</c:v>
                </c:pt>
                <c:pt idx="3767">
                  <c:v>0</c:v>
                </c:pt>
                <c:pt idx="3768">
                  <c:v>0</c:v>
                </c:pt>
                <c:pt idx="3769">
                  <c:v>1</c:v>
                </c:pt>
                <c:pt idx="3770">
                  <c:v>1</c:v>
                </c:pt>
                <c:pt idx="3771">
                  <c:v>6</c:v>
                </c:pt>
                <c:pt idx="3772">
                  <c:v>0</c:v>
                </c:pt>
                <c:pt idx="3773">
                  <c:v>0</c:v>
                </c:pt>
                <c:pt idx="3774">
                  <c:v>0</c:v>
                </c:pt>
                <c:pt idx="3775">
                  <c:v>6</c:v>
                </c:pt>
                <c:pt idx="3776">
                  <c:v>0</c:v>
                </c:pt>
                <c:pt idx="3777">
                  <c:v>4</c:v>
                </c:pt>
                <c:pt idx="3778">
                  <c:v>0</c:v>
                </c:pt>
                <c:pt idx="3779">
                  <c:v>2</c:v>
                </c:pt>
                <c:pt idx="3780">
                  <c:v>0</c:v>
                </c:pt>
                <c:pt idx="3781">
                  <c:v>0</c:v>
                </c:pt>
                <c:pt idx="3782">
                  <c:v>0</c:v>
                </c:pt>
                <c:pt idx="3783">
                  <c:v>0</c:v>
                </c:pt>
                <c:pt idx="3784">
                  <c:v>0</c:v>
                </c:pt>
                <c:pt idx="3785">
                  <c:v>0</c:v>
                </c:pt>
                <c:pt idx="3786">
                  <c:v>2</c:v>
                </c:pt>
                <c:pt idx="3787">
                  <c:v>3</c:v>
                </c:pt>
                <c:pt idx="3788">
                  <c:v>0</c:v>
                </c:pt>
                <c:pt idx="3789">
                  <c:v>0</c:v>
                </c:pt>
                <c:pt idx="3790">
                  <c:v>1</c:v>
                </c:pt>
                <c:pt idx="3791">
                  <c:v>2</c:v>
                </c:pt>
                <c:pt idx="3792">
                  <c:v>0</c:v>
                </c:pt>
                <c:pt idx="3793">
                  <c:v>0</c:v>
                </c:pt>
                <c:pt idx="3794">
                  <c:v>0</c:v>
                </c:pt>
                <c:pt idx="3795">
                  <c:v>0</c:v>
                </c:pt>
                <c:pt idx="3796">
                  <c:v>3</c:v>
                </c:pt>
                <c:pt idx="3797">
                  <c:v>0</c:v>
                </c:pt>
                <c:pt idx="3798">
                  <c:v>0</c:v>
                </c:pt>
                <c:pt idx="3799">
                  <c:v>0</c:v>
                </c:pt>
                <c:pt idx="3800">
                  <c:v>0</c:v>
                </c:pt>
                <c:pt idx="3801">
                  <c:v>0</c:v>
                </c:pt>
                <c:pt idx="3802">
                  <c:v>1</c:v>
                </c:pt>
                <c:pt idx="3803">
                  <c:v>3</c:v>
                </c:pt>
                <c:pt idx="3804">
                  <c:v>0</c:v>
                </c:pt>
                <c:pt idx="3805">
                  <c:v>11</c:v>
                </c:pt>
                <c:pt idx="3806">
                  <c:v>0</c:v>
                </c:pt>
                <c:pt idx="3807">
                  <c:v>0</c:v>
                </c:pt>
                <c:pt idx="3808">
                  <c:v>1</c:v>
                </c:pt>
                <c:pt idx="3809">
                  <c:v>2</c:v>
                </c:pt>
                <c:pt idx="3810">
                  <c:v>0</c:v>
                </c:pt>
                <c:pt idx="3811">
                  <c:v>3</c:v>
                </c:pt>
                <c:pt idx="3812">
                  <c:v>0</c:v>
                </c:pt>
                <c:pt idx="3813">
                  <c:v>1</c:v>
                </c:pt>
                <c:pt idx="3814">
                  <c:v>5</c:v>
                </c:pt>
                <c:pt idx="3815">
                  <c:v>3</c:v>
                </c:pt>
                <c:pt idx="3816">
                  <c:v>0</c:v>
                </c:pt>
                <c:pt idx="3817">
                  <c:v>2</c:v>
                </c:pt>
                <c:pt idx="3818">
                  <c:v>0</c:v>
                </c:pt>
                <c:pt idx="3819">
                  <c:v>1</c:v>
                </c:pt>
                <c:pt idx="3820">
                  <c:v>5</c:v>
                </c:pt>
                <c:pt idx="3821">
                  <c:v>3</c:v>
                </c:pt>
                <c:pt idx="3822">
                  <c:v>0</c:v>
                </c:pt>
                <c:pt idx="3823">
                  <c:v>0</c:v>
                </c:pt>
                <c:pt idx="3824">
                  <c:v>3</c:v>
                </c:pt>
                <c:pt idx="3825">
                  <c:v>3</c:v>
                </c:pt>
                <c:pt idx="3826">
                  <c:v>1</c:v>
                </c:pt>
                <c:pt idx="3827">
                  <c:v>0</c:v>
                </c:pt>
                <c:pt idx="3828">
                  <c:v>3</c:v>
                </c:pt>
                <c:pt idx="3829">
                  <c:v>0</c:v>
                </c:pt>
                <c:pt idx="3830">
                  <c:v>2</c:v>
                </c:pt>
                <c:pt idx="3831">
                  <c:v>1</c:v>
                </c:pt>
                <c:pt idx="3832">
                  <c:v>0</c:v>
                </c:pt>
                <c:pt idx="3833">
                  <c:v>1</c:v>
                </c:pt>
                <c:pt idx="3834">
                  <c:v>10</c:v>
                </c:pt>
                <c:pt idx="3835">
                  <c:v>1</c:v>
                </c:pt>
                <c:pt idx="3836">
                  <c:v>0</c:v>
                </c:pt>
                <c:pt idx="3837">
                  <c:v>0</c:v>
                </c:pt>
                <c:pt idx="3838">
                  <c:v>0</c:v>
                </c:pt>
                <c:pt idx="3839">
                  <c:v>2</c:v>
                </c:pt>
                <c:pt idx="3840">
                  <c:v>0</c:v>
                </c:pt>
                <c:pt idx="3841">
                  <c:v>13</c:v>
                </c:pt>
                <c:pt idx="3842">
                  <c:v>4</c:v>
                </c:pt>
                <c:pt idx="3843">
                  <c:v>1</c:v>
                </c:pt>
                <c:pt idx="3844">
                  <c:v>0</c:v>
                </c:pt>
                <c:pt idx="3845">
                  <c:v>1</c:v>
                </c:pt>
                <c:pt idx="3846">
                  <c:v>1</c:v>
                </c:pt>
                <c:pt idx="3847">
                  <c:v>0</c:v>
                </c:pt>
                <c:pt idx="3848">
                  <c:v>0</c:v>
                </c:pt>
                <c:pt idx="3849">
                  <c:v>1</c:v>
                </c:pt>
                <c:pt idx="3850">
                  <c:v>0</c:v>
                </c:pt>
                <c:pt idx="3851">
                  <c:v>0</c:v>
                </c:pt>
                <c:pt idx="3852">
                  <c:v>0</c:v>
                </c:pt>
                <c:pt idx="3853">
                  <c:v>3</c:v>
                </c:pt>
                <c:pt idx="3854">
                  <c:v>0</c:v>
                </c:pt>
                <c:pt idx="3855">
                  <c:v>0</c:v>
                </c:pt>
                <c:pt idx="3856">
                  <c:v>0</c:v>
                </c:pt>
                <c:pt idx="3857">
                  <c:v>2</c:v>
                </c:pt>
                <c:pt idx="3858">
                  <c:v>0</c:v>
                </c:pt>
                <c:pt idx="3859">
                  <c:v>0</c:v>
                </c:pt>
                <c:pt idx="3860">
                  <c:v>0</c:v>
                </c:pt>
                <c:pt idx="3861">
                  <c:v>0</c:v>
                </c:pt>
                <c:pt idx="3862">
                  <c:v>4</c:v>
                </c:pt>
                <c:pt idx="3863">
                  <c:v>0</c:v>
                </c:pt>
                <c:pt idx="3864">
                  <c:v>0</c:v>
                </c:pt>
                <c:pt idx="3865">
                  <c:v>0</c:v>
                </c:pt>
                <c:pt idx="3866">
                  <c:v>1</c:v>
                </c:pt>
                <c:pt idx="3867">
                  <c:v>0</c:v>
                </c:pt>
                <c:pt idx="3868">
                  <c:v>0</c:v>
                </c:pt>
                <c:pt idx="3869">
                  <c:v>0</c:v>
                </c:pt>
                <c:pt idx="3870">
                  <c:v>0</c:v>
                </c:pt>
                <c:pt idx="3871">
                  <c:v>0</c:v>
                </c:pt>
                <c:pt idx="3872">
                  <c:v>0</c:v>
                </c:pt>
                <c:pt idx="3873">
                  <c:v>7</c:v>
                </c:pt>
                <c:pt idx="3874">
                  <c:v>1</c:v>
                </c:pt>
                <c:pt idx="3875">
                  <c:v>0</c:v>
                </c:pt>
                <c:pt idx="3876">
                  <c:v>1</c:v>
                </c:pt>
                <c:pt idx="3877">
                  <c:v>0</c:v>
                </c:pt>
                <c:pt idx="3878">
                  <c:v>0</c:v>
                </c:pt>
                <c:pt idx="3879">
                  <c:v>2</c:v>
                </c:pt>
                <c:pt idx="3880">
                  <c:v>0</c:v>
                </c:pt>
                <c:pt idx="3881">
                  <c:v>0</c:v>
                </c:pt>
                <c:pt idx="3882">
                  <c:v>0</c:v>
                </c:pt>
                <c:pt idx="3883">
                  <c:v>3</c:v>
                </c:pt>
                <c:pt idx="3884">
                  <c:v>0</c:v>
                </c:pt>
                <c:pt idx="3885">
                  <c:v>0</c:v>
                </c:pt>
                <c:pt idx="3886">
                  <c:v>0</c:v>
                </c:pt>
                <c:pt idx="3887">
                  <c:v>2</c:v>
                </c:pt>
                <c:pt idx="3888">
                  <c:v>0</c:v>
                </c:pt>
                <c:pt idx="3889">
                  <c:v>2</c:v>
                </c:pt>
                <c:pt idx="3890">
                  <c:v>1</c:v>
                </c:pt>
                <c:pt idx="3891">
                  <c:v>0</c:v>
                </c:pt>
                <c:pt idx="3892">
                  <c:v>1</c:v>
                </c:pt>
                <c:pt idx="3893">
                  <c:v>1</c:v>
                </c:pt>
                <c:pt idx="3894">
                  <c:v>1</c:v>
                </c:pt>
                <c:pt idx="3895">
                  <c:v>0</c:v>
                </c:pt>
                <c:pt idx="3896">
                  <c:v>0</c:v>
                </c:pt>
                <c:pt idx="3897">
                  <c:v>0</c:v>
                </c:pt>
                <c:pt idx="3898">
                  <c:v>0</c:v>
                </c:pt>
                <c:pt idx="3899">
                  <c:v>3</c:v>
                </c:pt>
                <c:pt idx="3900">
                  <c:v>0</c:v>
                </c:pt>
                <c:pt idx="3901">
                  <c:v>0</c:v>
                </c:pt>
                <c:pt idx="3902">
                  <c:v>1</c:v>
                </c:pt>
                <c:pt idx="3903">
                  <c:v>0</c:v>
                </c:pt>
                <c:pt idx="3904">
                  <c:v>0</c:v>
                </c:pt>
                <c:pt idx="3905">
                  <c:v>1</c:v>
                </c:pt>
                <c:pt idx="3906">
                  <c:v>0</c:v>
                </c:pt>
                <c:pt idx="3907">
                  <c:v>0</c:v>
                </c:pt>
                <c:pt idx="3908">
                  <c:v>0</c:v>
                </c:pt>
                <c:pt idx="3909">
                  <c:v>0</c:v>
                </c:pt>
                <c:pt idx="3910">
                  <c:v>1</c:v>
                </c:pt>
                <c:pt idx="3911">
                  <c:v>0</c:v>
                </c:pt>
                <c:pt idx="3912">
                  <c:v>2</c:v>
                </c:pt>
                <c:pt idx="3913">
                  <c:v>1</c:v>
                </c:pt>
                <c:pt idx="3914">
                  <c:v>0</c:v>
                </c:pt>
                <c:pt idx="3915">
                  <c:v>0</c:v>
                </c:pt>
                <c:pt idx="3916">
                  <c:v>0</c:v>
                </c:pt>
                <c:pt idx="3917">
                  <c:v>2</c:v>
                </c:pt>
                <c:pt idx="3918">
                  <c:v>0</c:v>
                </c:pt>
                <c:pt idx="3919">
                  <c:v>0</c:v>
                </c:pt>
                <c:pt idx="3920">
                  <c:v>3</c:v>
                </c:pt>
                <c:pt idx="3921">
                  <c:v>2</c:v>
                </c:pt>
                <c:pt idx="3922">
                  <c:v>4</c:v>
                </c:pt>
                <c:pt idx="3923">
                  <c:v>0</c:v>
                </c:pt>
                <c:pt idx="3924">
                  <c:v>0</c:v>
                </c:pt>
                <c:pt idx="3925">
                  <c:v>5</c:v>
                </c:pt>
                <c:pt idx="3926">
                  <c:v>0</c:v>
                </c:pt>
                <c:pt idx="3927">
                  <c:v>0</c:v>
                </c:pt>
                <c:pt idx="3928">
                  <c:v>1</c:v>
                </c:pt>
                <c:pt idx="3929">
                  <c:v>0</c:v>
                </c:pt>
                <c:pt idx="3930">
                  <c:v>0</c:v>
                </c:pt>
                <c:pt idx="3931">
                  <c:v>0</c:v>
                </c:pt>
                <c:pt idx="3932">
                  <c:v>0</c:v>
                </c:pt>
                <c:pt idx="3933">
                  <c:v>0</c:v>
                </c:pt>
                <c:pt idx="3934">
                  <c:v>1</c:v>
                </c:pt>
                <c:pt idx="3935">
                  <c:v>0</c:v>
                </c:pt>
                <c:pt idx="3936">
                  <c:v>0</c:v>
                </c:pt>
                <c:pt idx="3937">
                  <c:v>2</c:v>
                </c:pt>
                <c:pt idx="3938">
                  <c:v>0</c:v>
                </c:pt>
                <c:pt idx="3939">
                  <c:v>0</c:v>
                </c:pt>
                <c:pt idx="3940">
                  <c:v>0</c:v>
                </c:pt>
                <c:pt idx="3941">
                  <c:v>0</c:v>
                </c:pt>
                <c:pt idx="3942">
                  <c:v>0</c:v>
                </c:pt>
                <c:pt idx="3943">
                  <c:v>0</c:v>
                </c:pt>
                <c:pt idx="3944">
                  <c:v>0</c:v>
                </c:pt>
                <c:pt idx="3945">
                  <c:v>0</c:v>
                </c:pt>
                <c:pt idx="3946">
                  <c:v>46</c:v>
                </c:pt>
                <c:pt idx="3947">
                  <c:v>0</c:v>
                </c:pt>
                <c:pt idx="3948">
                  <c:v>0</c:v>
                </c:pt>
                <c:pt idx="3949">
                  <c:v>4</c:v>
                </c:pt>
                <c:pt idx="3950">
                  <c:v>0</c:v>
                </c:pt>
                <c:pt idx="3951">
                  <c:v>0</c:v>
                </c:pt>
                <c:pt idx="3952">
                  <c:v>0</c:v>
                </c:pt>
                <c:pt idx="3953">
                  <c:v>0</c:v>
                </c:pt>
                <c:pt idx="3954">
                  <c:v>5</c:v>
                </c:pt>
                <c:pt idx="3955">
                  <c:v>0</c:v>
                </c:pt>
                <c:pt idx="3956">
                  <c:v>0</c:v>
                </c:pt>
                <c:pt idx="3957">
                  <c:v>2</c:v>
                </c:pt>
                <c:pt idx="3958">
                  <c:v>0</c:v>
                </c:pt>
                <c:pt idx="3959">
                  <c:v>8</c:v>
                </c:pt>
                <c:pt idx="3960">
                  <c:v>1</c:v>
                </c:pt>
                <c:pt idx="3961">
                  <c:v>1</c:v>
                </c:pt>
                <c:pt idx="3962">
                  <c:v>0</c:v>
                </c:pt>
                <c:pt idx="3963">
                  <c:v>0</c:v>
                </c:pt>
                <c:pt idx="3964">
                  <c:v>3</c:v>
                </c:pt>
                <c:pt idx="3965">
                  <c:v>0</c:v>
                </c:pt>
                <c:pt idx="3966">
                  <c:v>0</c:v>
                </c:pt>
                <c:pt idx="3967">
                  <c:v>0</c:v>
                </c:pt>
                <c:pt idx="3968">
                  <c:v>0</c:v>
                </c:pt>
                <c:pt idx="3969">
                  <c:v>0</c:v>
                </c:pt>
                <c:pt idx="3970">
                  <c:v>0</c:v>
                </c:pt>
                <c:pt idx="3971">
                  <c:v>0</c:v>
                </c:pt>
                <c:pt idx="3972">
                  <c:v>8</c:v>
                </c:pt>
                <c:pt idx="3973">
                  <c:v>6</c:v>
                </c:pt>
                <c:pt idx="3974">
                  <c:v>0</c:v>
                </c:pt>
                <c:pt idx="3975">
                  <c:v>2</c:v>
                </c:pt>
                <c:pt idx="3976">
                  <c:v>0</c:v>
                </c:pt>
                <c:pt idx="3977">
                  <c:v>0</c:v>
                </c:pt>
                <c:pt idx="3978">
                  <c:v>0</c:v>
                </c:pt>
                <c:pt idx="3979">
                  <c:v>0</c:v>
                </c:pt>
                <c:pt idx="3980">
                  <c:v>3</c:v>
                </c:pt>
                <c:pt idx="3981">
                  <c:v>1</c:v>
                </c:pt>
                <c:pt idx="3982">
                  <c:v>0</c:v>
                </c:pt>
                <c:pt idx="3983">
                  <c:v>2</c:v>
                </c:pt>
                <c:pt idx="3984">
                  <c:v>5</c:v>
                </c:pt>
                <c:pt idx="3985">
                  <c:v>0</c:v>
                </c:pt>
                <c:pt idx="3986">
                  <c:v>2</c:v>
                </c:pt>
                <c:pt idx="3987">
                  <c:v>3</c:v>
                </c:pt>
                <c:pt idx="3988">
                  <c:v>21</c:v>
                </c:pt>
                <c:pt idx="3989">
                  <c:v>3</c:v>
                </c:pt>
                <c:pt idx="3990">
                  <c:v>2</c:v>
                </c:pt>
                <c:pt idx="3991">
                  <c:v>0</c:v>
                </c:pt>
                <c:pt idx="3992">
                  <c:v>0</c:v>
                </c:pt>
                <c:pt idx="3993">
                  <c:v>0</c:v>
                </c:pt>
                <c:pt idx="3994">
                  <c:v>0</c:v>
                </c:pt>
                <c:pt idx="3995">
                  <c:v>0</c:v>
                </c:pt>
                <c:pt idx="3996">
                  <c:v>0</c:v>
                </c:pt>
                <c:pt idx="3997">
                  <c:v>1</c:v>
                </c:pt>
                <c:pt idx="3998">
                  <c:v>0</c:v>
                </c:pt>
                <c:pt idx="3999">
                  <c:v>0</c:v>
                </c:pt>
                <c:pt idx="4000">
                  <c:v>0</c:v>
                </c:pt>
                <c:pt idx="4001">
                  <c:v>0</c:v>
                </c:pt>
                <c:pt idx="4002">
                  <c:v>1</c:v>
                </c:pt>
                <c:pt idx="4003">
                  <c:v>0</c:v>
                </c:pt>
                <c:pt idx="4004">
                  <c:v>0</c:v>
                </c:pt>
                <c:pt idx="4005">
                  <c:v>0</c:v>
                </c:pt>
                <c:pt idx="4006">
                  <c:v>1</c:v>
                </c:pt>
                <c:pt idx="4007">
                  <c:v>1</c:v>
                </c:pt>
                <c:pt idx="4008">
                  <c:v>0</c:v>
                </c:pt>
                <c:pt idx="4009">
                  <c:v>3</c:v>
                </c:pt>
                <c:pt idx="4010">
                  <c:v>0</c:v>
                </c:pt>
                <c:pt idx="4011">
                  <c:v>1</c:v>
                </c:pt>
                <c:pt idx="4012">
                  <c:v>0</c:v>
                </c:pt>
                <c:pt idx="4013">
                  <c:v>0</c:v>
                </c:pt>
                <c:pt idx="4014">
                  <c:v>1</c:v>
                </c:pt>
                <c:pt idx="4015">
                  <c:v>3</c:v>
                </c:pt>
                <c:pt idx="4016">
                  <c:v>0</c:v>
                </c:pt>
                <c:pt idx="4017">
                  <c:v>11</c:v>
                </c:pt>
                <c:pt idx="4018">
                  <c:v>1</c:v>
                </c:pt>
                <c:pt idx="4019">
                  <c:v>0</c:v>
                </c:pt>
                <c:pt idx="4020">
                  <c:v>0</c:v>
                </c:pt>
                <c:pt idx="4021">
                  <c:v>0</c:v>
                </c:pt>
                <c:pt idx="4022">
                  <c:v>13</c:v>
                </c:pt>
                <c:pt idx="4023">
                  <c:v>1</c:v>
                </c:pt>
                <c:pt idx="4024">
                  <c:v>3</c:v>
                </c:pt>
                <c:pt idx="4025">
                  <c:v>0</c:v>
                </c:pt>
                <c:pt idx="4026">
                  <c:v>1</c:v>
                </c:pt>
                <c:pt idx="4027">
                  <c:v>3</c:v>
                </c:pt>
                <c:pt idx="4028">
                  <c:v>0</c:v>
                </c:pt>
                <c:pt idx="4029">
                  <c:v>3</c:v>
                </c:pt>
                <c:pt idx="4030">
                  <c:v>0</c:v>
                </c:pt>
                <c:pt idx="4031">
                  <c:v>0</c:v>
                </c:pt>
                <c:pt idx="4032">
                  <c:v>0</c:v>
                </c:pt>
                <c:pt idx="4033">
                  <c:v>0</c:v>
                </c:pt>
                <c:pt idx="4034">
                  <c:v>0</c:v>
                </c:pt>
                <c:pt idx="4035">
                  <c:v>2</c:v>
                </c:pt>
                <c:pt idx="4036">
                  <c:v>3</c:v>
                </c:pt>
                <c:pt idx="4037">
                  <c:v>13</c:v>
                </c:pt>
                <c:pt idx="4038">
                  <c:v>0</c:v>
                </c:pt>
                <c:pt idx="4039">
                  <c:v>2</c:v>
                </c:pt>
                <c:pt idx="4040">
                  <c:v>1</c:v>
                </c:pt>
                <c:pt idx="4041">
                  <c:v>1</c:v>
                </c:pt>
                <c:pt idx="4042">
                  <c:v>3</c:v>
                </c:pt>
                <c:pt idx="4043">
                  <c:v>0</c:v>
                </c:pt>
                <c:pt idx="4044">
                  <c:v>2</c:v>
                </c:pt>
                <c:pt idx="4045">
                  <c:v>1</c:v>
                </c:pt>
                <c:pt idx="4046">
                  <c:v>0</c:v>
                </c:pt>
                <c:pt idx="4047">
                  <c:v>1</c:v>
                </c:pt>
                <c:pt idx="4048">
                  <c:v>2</c:v>
                </c:pt>
                <c:pt idx="4049">
                  <c:v>0</c:v>
                </c:pt>
                <c:pt idx="4050">
                  <c:v>0</c:v>
                </c:pt>
                <c:pt idx="4051">
                  <c:v>1</c:v>
                </c:pt>
                <c:pt idx="4052">
                  <c:v>2</c:v>
                </c:pt>
                <c:pt idx="4053">
                  <c:v>3</c:v>
                </c:pt>
                <c:pt idx="4054">
                  <c:v>0</c:v>
                </c:pt>
                <c:pt idx="4055">
                  <c:v>3</c:v>
                </c:pt>
                <c:pt idx="4056">
                  <c:v>0</c:v>
                </c:pt>
                <c:pt idx="4057">
                  <c:v>0</c:v>
                </c:pt>
                <c:pt idx="4058">
                  <c:v>1</c:v>
                </c:pt>
                <c:pt idx="4059">
                  <c:v>9</c:v>
                </c:pt>
                <c:pt idx="4060">
                  <c:v>1</c:v>
                </c:pt>
                <c:pt idx="4061">
                  <c:v>5</c:v>
                </c:pt>
                <c:pt idx="4062">
                  <c:v>0</c:v>
                </c:pt>
                <c:pt idx="4063">
                  <c:v>1</c:v>
                </c:pt>
                <c:pt idx="4064">
                  <c:v>2</c:v>
                </c:pt>
                <c:pt idx="4065">
                  <c:v>1</c:v>
                </c:pt>
                <c:pt idx="4066">
                  <c:v>0</c:v>
                </c:pt>
                <c:pt idx="4067">
                  <c:v>0</c:v>
                </c:pt>
                <c:pt idx="4068">
                  <c:v>5</c:v>
                </c:pt>
                <c:pt idx="4069">
                  <c:v>38</c:v>
                </c:pt>
                <c:pt idx="4070">
                  <c:v>7</c:v>
                </c:pt>
                <c:pt idx="4071">
                  <c:v>0</c:v>
                </c:pt>
                <c:pt idx="4072">
                  <c:v>1</c:v>
                </c:pt>
                <c:pt idx="4073">
                  <c:v>0</c:v>
                </c:pt>
                <c:pt idx="4074">
                  <c:v>1</c:v>
                </c:pt>
                <c:pt idx="4075">
                  <c:v>0</c:v>
                </c:pt>
                <c:pt idx="4076">
                  <c:v>0</c:v>
                </c:pt>
                <c:pt idx="4077">
                  <c:v>2</c:v>
                </c:pt>
                <c:pt idx="4078">
                  <c:v>5</c:v>
                </c:pt>
                <c:pt idx="4079">
                  <c:v>8</c:v>
                </c:pt>
                <c:pt idx="4080">
                  <c:v>7</c:v>
                </c:pt>
                <c:pt idx="4081">
                  <c:v>1</c:v>
                </c:pt>
                <c:pt idx="4082">
                  <c:v>4</c:v>
                </c:pt>
                <c:pt idx="4083">
                  <c:v>33</c:v>
                </c:pt>
                <c:pt idx="4084">
                  <c:v>0</c:v>
                </c:pt>
                <c:pt idx="4085">
                  <c:v>0</c:v>
                </c:pt>
                <c:pt idx="4086">
                  <c:v>0</c:v>
                </c:pt>
                <c:pt idx="4087">
                  <c:v>0</c:v>
                </c:pt>
                <c:pt idx="4088">
                  <c:v>47</c:v>
                </c:pt>
                <c:pt idx="4089">
                  <c:v>9</c:v>
                </c:pt>
                <c:pt idx="4090">
                  <c:v>1</c:v>
                </c:pt>
                <c:pt idx="4091">
                  <c:v>0</c:v>
                </c:pt>
                <c:pt idx="4092">
                  <c:v>0</c:v>
                </c:pt>
                <c:pt idx="4093">
                  <c:v>0</c:v>
                </c:pt>
                <c:pt idx="4094">
                  <c:v>0</c:v>
                </c:pt>
                <c:pt idx="4095">
                  <c:v>0</c:v>
                </c:pt>
                <c:pt idx="4096">
                  <c:v>0</c:v>
                </c:pt>
                <c:pt idx="4097">
                  <c:v>0</c:v>
                </c:pt>
                <c:pt idx="4098">
                  <c:v>6</c:v>
                </c:pt>
                <c:pt idx="4099">
                  <c:v>0</c:v>
                </c:pt>
                <c:pt idx="4100">
                  <c:v>0</c:v>
                </c:pt>
                <c:pt idx="4101">
                  <c:v>0</c:v>
                </c:pt>
                <c:pt idx="4102">
                  <c:v>0</c:v>
                </c:pt>
                <c:pt idx="4103">
                  <c:v>0</c:v>
                </c:pt>
                <c:pt idx="4104">
                  <c:v>4</c:v>
                </c:pt>
                <c:pt idx="4105">
                  <c:v>3</c:v>
                </c:pt>
                <c:pt idx="4106">
                  <c:v>3</c:v>
                </c:pt>
                <c:pt idx="4107">
                  <c:v>0</c:v>
                </c:pt>
                <c:pt idx="4108">
                  <c:v>0</c:v>
                </c:pt>
                <c:pt idx="4109">
                  <c:v>1</c:v>
                </c:pt>
                <c:pt idx="4110">
                  <c:v>0</c:v>
                </c:pt>
                <c:pt idx="4111">
                  <c:v>0</c:v>
                </c:pt>
                <c:pt idx="4112">
                  <c:v>1</c:v>
                </c:pt>
                <c:pt idx="4113">
                  <c:v>8</c:v>
                </c:pt>
                <c:pt idx="4114">
                  <c:v>8</c:v>
                </c:pt>
                <c:pt idx="4115">
                  <c:v>0</c:v>
                </c:pt>
                <c:pt idx="4116">
                  <c:v>14</c:v>
                </c:pt>
                <c:pt idx="4117">
                  <c:v>2</c:v>
                </c:pt>
                <c:pt idx="4118">
                  <c:v>6</c:v>
                </c:pt>
                <c:pt idx="4119">
                  <c:v>0</c:v>
                </c:pt>
                <c:pt idx="4120">
                  <c:v>0</c:v>
                </c:pt>
                <c:pt idx="4121">
                  <c:v>5</c:v>
                </c:pt>
                <c:pt idx="4122">
                  <c:v>0</c:v>
                </c:pt>
                <c:pt idx="4123">
                  <c:v>0</c:v>
                </c:pt>
                <c:pt idx="4124">
                  <c:v>0</c:v>
                </c:pt>
                <c:pt idx="4125">
                  <c:v>0</c:v>
                </c:pt>
                <c:pt idx="4126">
                  <c:v>1</c:v>
                </c:pt>
                <c:pt idx="4127">
                  <c:v>0</c:v>
                </c:pt>
                <c:pt idx="4128">
                  <c:v>2</c:v>
                </c:pt>
                <c:pt idx="4129">
                  <c:v>0</c:v>
                </c:pt>
                <c:pt idx="4130">
                  <c:v>2</c:v>
                </c:pt>
                <c:pt idx="4131">
                  <c:v>0</c:v>
                </c:pt>
                <c:pt idx="4132">
                  <c:v>0</c:v>
                </c:pt>
                <c:pt idx="4133">
                  <c:v>2</c:v>
                </c:pt>
                <c:pt idx="4134">
                  <c:v>0</c:v>
                </c:pt>
                <c:pt idx="4135">
                  <c:v>0</c:v>
                </c:pt>
                <c:pt idx="4136">
                  <c:v>2</c:v>
                </c:pt>
                <c:pt idx="4137">
                  <c:v>0</c:v>
                </c:pt>
                <c:pt idx="4138">
                  <c:v>0</c:v>
                </c:pt>
                <c:pt idx="4139">
                  <c:v>0</c:v>
                </c:pt>
                <c:pt idx="4140">
                  <c:v>30</c:v>
                </c:pt>
                <c:pt idx="4141">
                  <c:v>1</c:v>
                </c:pt>
                <c:pt idx="4142">
                  <c:v>0</c:v>
                </c:pt>
                <c:pt idx="4143">
                  <c:v>9</c:v>
                </c:pt>
                <c:pt idx="4144">
                  <c:v>3</c:v>
                </c:pt>
                <c:pt idx="4145">
                  <c:v>0</c:v>
                </c:pt>
                <c:pt idx="4146">
                  <c:v>0</c:v>
                </c:pt>
                <c:pt idx="4147">
                  <c:v>3</c:v>
                </c:pt>
                <c:pt idx="4148">
                  <c:v>0</c:v>
                </c:pt>
                <c:pt idx="4149">
                  <c:v>16</c:v>
                </c:pt>
                <c:pt idx="4150">
                  <c:v>2</c:v>
                </c:pt>
                <c:pt idx="4151">
                  <c:v>5</c:v>
                </c:pt>
                <c:pt idx="4152">
                  <c:v>1</c:v>
                </c:pt>
                <c:pt idx="4153">
                  <c:v>0</c:v>
                </c:pt>
                <c:pt idx="4154">
                  <c:v>6</c:v>
                </c:pt>
                <c:pt idx="4155">
                  <c:v>1</c:v>
                </c:pt>
                <c:pt idx="4156">
                  <c:v>0</c:v>
                </c:pt>
                <c:pt idx="4157">
                  <c:v>1</c:v>
                </c:pt>
                <c:pt idx="4158">
                  <c:v>0</c:v>
                </c:pt>
                <c:pt idx="4159">
                  <c:v>0</c:v>
                </c:pt>
                <c:pt idx="4160">
                  <c:v>0</c:v>
                </c:pt>
                <c:pt idx="4161">
                  <c:v>0</c:v>
                </c:pt>
                <c:pt idx="4162">
                  <c:v>0</c:v>
                </c:pt>
                <c:pt idx="4163">
                  <c:v>6</c:v>
                </c:pt>
                <c:pt idx="4164">
                  <c:v>26</c:v>
                </c:pt>
                <c:pt idx="4165">
                  <c:v>1</c:v>
                </c:pt>
                <c:pt idx="4166">
                  <c:v>1</c:v>
                </c:pt>
                <c:pt idx="4167">
                  <c:v>21</c:v>
                </c:pt>
                <c:pt idx="4168">
                  <c:v>5</c:v>
                </c:pt>
                <c:pt idx="4169">
                  <c:v>0</c:v>
                </c:pt>
                <c:pt idx="4170">
                  <c:v>0</c:v>
                </c:pt>
                <c:pt idx="4171">
                  <c:v>0</c:v>
                </c:pt>
                <c:pt idx="4172">
                  <c:v>0</c:v>
                </c:pt>
                <c:pt idx="4173">
                  <c:v>0</c:v>
                </c:pt>
                <c:pt idx="4174">
                  <c:v>0</c:v>
                </c:pt>
                <c:pt idx="4175">
                  <c:v>2</c:v>
                </c:pt>
                <c:pt idx="4176">
                  <c:v>0</c:v>
                </c:pt>
                <c:pt idx="4177">
                  <c:v>0</c:v>
                </c:pt>
                <c:pt idx="4178">
                  <c:v>0</c:v>
                </c:pt>
                <c:pt idx="4179">
                  <c:v>0</c:v>
                </c:pt>
                <c:pt idx="4180">
                  <c:v>0</c:v>
                </c:pt>
                <c:pt idx="4181">
                  <c:v>0</c:v>
                </c:pt>
                <c:pt idx="4182">
                  <c:v>17</c:v>
                </c:pt>
                <c:pt idx="4183">
                  <c:v>0</c:v>
                </c:pt>
                <c:pt idx="4184">
                  <c:v>0</c:v>
                </c:pt>
                <c:pt idx="4185">
                  <c:v>2</c:v>
                </c:pt>
                <c:pt idx="4186">
                  <c:v>8</c:v>
                </c:pt>
                <c:pt idx="4187">
                  <c:v>0</c:v>
                </c:pt>
                <c:pt idx="4188">
                  <c:v>0</c:v>
                </c:pt>
                <c:pt idx="4189">
                  <c:v>0</c:v>
                </c:pt>
                <c:pt idx="4190">
                  <c:v>0</c:v>
                </c:pt>
                <c:pt idx="4191">
                  <c:v>0</c:v>
                </c:pt>
                <c:pt idx="4192">
                  <c:v>0</c:v>
                </c:pt>
                <c:pt idx="4193">
                  <c:v>1</c:v>
                </c:pt>
                <c:pt idx="4194">
                  <c:v>0</c:v>
                </c:pt>
                <c:pt idx="4195">
                  <c:v>15</c:v>
                </c:pt>
                <c:pt idx="4196">
                  <c:v>0</c:v>
                </c:pt>
                <c:pt idx="4197">
                  <c:v>0</c:v>
                </c:pt>
                <c:pt idx="4198">
                  <c:v>0</c:v>
                </c:pt>
                <c:pt idx="4199">
                  <c:v>9</c:v>
                </c:pt>
                <c:pt idx="4200">
                  <c:v>1</c:v>
                </c:pt>
                <c:pt idx="4201">
                  <c:v>17</c:v>
                </c:pt>
                <c:pt idx="4202">
                  <c:v>0</c:v>
                </c:pt>
                <c:pt idx="4203">
                  <c:v>1</c:v>
                </c:pt>
                <c:pt idx="4204">
                  <c:v>1</c:v>
                </c:pt>
                <c:pt idx="4205">
                  <c:v>0</c:v>
                </c:pt>
                <c:pt idx="4206">
                  <c:v>0</c:v>
                </c:pt>
                <c:pt idx="4207">
                  <c:v>0</c:v>
                </c:pt>
                <c:pt idx="4208">
                  <c:v>0</c:v>
                </c:pt>
                <c:pt idx="4209">
                  <c:v>0</c:v>
                </c:pt>
                <c:pt idx="4210">
                  <c:v>0</c:v>
                </c:pt>
                <c:pt idx="4211">
                  <c:v>3</c:v>
                </c:pt>
                <c:pt idx="4212">
                  <c:v>0</c:v>
                </c:pt>
                <c:pt idx="4213">
                  <c:v>0</c:v>
                </c:pt>
                <c:pt idx="4214">
                  <c:v>0</c:v>
                </c:pt>
                <c:pt idx="4215">
                  <c:v>2</c:v>
                </c:pt>
                <c:pt idx="4216">
                  <c:v>0</c:v>
                </c:pt>
                <c:pt idx="4217">
                  <c:v>0</c:v>
                </c:pt>
                <c:pt idx="4218">
                  <c:v>4</c:v>
                </c:pt>
                <c:pt idx="4219">
                  <c:v>0</c:v>
                </c:pt>
                <c:pt idx="4220">
                  <c:v>0</c:v>
                </c:pt>
                <c:pt idx="4221">
                  <c:v>38</c:v>
                </c:pt>
                <c:pt idx="4222">
                  <c:v>0</c:v>
                </c:pt>
                <c:pt idx="4223">
                  <c:v>0</c:v>
                </c:pt>
                <c:pt idx="4224">
                  <c:v>7</c:v>
                </c:pt>
                <c:pt idx="4225">
                  <c:v>0</c:v>
                </c:pt>
                <c:pt idx="4226">
                  <c:v>0</c:v>
                </c:pt>
                <c:pt idx="4227">
                  <c:v>0</c:v>
                </c:pt>
                <c:pt idx="4228">
                  <c:v>0</c:v>
                </c:pt>
                <c:pt idx="4229">
                  <c:v>2</c:v>
                </c:pt>
                <c:pt idx="4230">
                  <c:v>3</c:v>
                </c:pt>
                <c:pt idx="4231">
                  <c:v>0</c:v>
                </c:pt>
                <c:pt idx="4232">
                  <c:v>0</c:v>
                </c:pt>
                <c:pt idx="4233">
                  <c:v>1</c:v>
                </c:pt>
                <c:pt idx="4234">
                  <c:v>0</c:v>
                </c:pt>
                <c:pt idx="4235">
                  <c:v>0</c:v>
                </c:pt>
                <c:pt idx="4236">
                  <c:v>10</c:v>
                </c:pt>
                <c:pt idx="4237">
                  <c:v>3</c:v>
                </c:pt>
                <c:pt idx="4238">
                  <c:v>1</c:v>
                </c:pt>
                <c:pt idx="4239">
                  <c:v>2</c:v>
                </c:pt>
                <c:pt idx="4240">
                  <c:v>22</c:v>
                </c:pt>
                <c:pt idx="4241">
                  <c:v>1</c:v>
                </c:pt>
                <c:pt idx="4242">
                  <c:v>0</c:v>
                </c:pt>
                <c:pt idx="4243">
                  <c:v>5</c:v>
                </c:pt>
                <c:pt idx="4244">
                  <c:v>0</c:v>
                </c:pt>
                <c:pt idx="4245">
                  <c:v>0</c:v>
                </c:pt>
                <c:pt idx="4246">
                  <c:v>0</c:v>
                </c:pt>
                <c:pt idx="4247">
                  <c:v>0</c:v>
                </c:pt>
                <c:pt idx="4248">
                  <c:v>0</c:v>
                </c:pt>
                <c:pt idx="4249">
                  <c:v>0</c:v>
                </c:pt>
                <c:pt idx="4250">
                  <c:v>0</c:v>
                </c:pt>
                <c:pt idx="4251">
                  <c:v>4</c:v>
                </c:pt>
                <c:pt idx="4252">
                  <c:v>33</c:v>
                </c:pt>
                <c:pt idx="4253">
                  <c:v>0</c:v>
                </c:pt>
                <c:pt idx="4254">
                  <c:v>7</c:v>
                </c:pt>
                <c:pt idx="4255">
                  <c:v>0</c:v>
                </c:pt>
                <c:pt idx="4256">
                  <c:v>0</c:v>
                </c:pt>
                <c:pt idx="4257">
                  <c:v>2</c:v>
                </c:pt>
                <c:pt idx="4258">
                  <c:v>10</c:v>
                </c:pt>
                <c:pt idx="4259">
                  <c:v>9</c:v>
                </c:pt>
                <c:pt idx="4260">
                  <c:v>1</c:v>
                </c:pt>
                <c:pt idx="4261">
                  <c:v>13</c:v>
                </c:pt>
                <c:pt idx="4262">
                  <c:v>0</c:v>
                </c:pt>
                <c:pt idx="4263">
                  <c:v>0</c:v>
                </c:pt>
                <c:pt idx="4264">
                  <c:v>1</c:v>
                </c:pt>
                <c:pt idx="4265">
                  <c:v>1</c:v>
                </c:pt>
                <c:pt idx="4266">
                  <c:v>6</c:v>
                </c:pt>
                <c:pt idx="4267">
                  <c:v>2</c:v>
                </c:pt>
                <c:pt idx="4268">
                  <c:v>1</c:v>
                </c:pt>
                <c:pt idx="4269">
                  <c:v>2</c:v>
                </c:pt>
                <c:pt idx="4270">
                  <c:v>2</c:v>
                </c:pt>
                <c:pt idx="4271">
                  <c:v>10</c:v>
                </c:pt>
                <c:pt idx="4272">
                  <c:v>2</c:v>
                </c:pt>
                <c:pt idx="4273">
                  <c:v>4</c:v>
                </c:pt>
                <c:pt idx="4274">
                  <c:v>4</c:v>
                </c:pt>
                <c:pt idx="4275">
                  <c:v>21</c:v>
                </c:pt>
                <c:pt idx="4276">
                  <c:v>1</c:v>
                </c:pt>
                <c:pt idx="4277">
                  <c:v>7</c:v>
                </c:pt>
                <c:pt idx="4278">
                  <c:v>16</c:v>
                </c:pt>
                <c:pt idx="4279">
                  <c:v>7</c:v>
                </c:pt>
                <c:pt idx="4280">
                  <c:v>0</c:v>
                </c:pt>
                <c:pt idx="4281">
                  <c:v>4</c:v>
                </c:pt>
                <c:pt idx="4282">
                  <c:v>1</c:v>
                </c:pt>
                <c:pt idx="4283">
                  <c:v>0</c:v>
                </c:pt>
                <c:pt idx="4284">
                  <c:v>6</c:v>
                </c:pt>
                <c:pt idx="4285">
                  <c:v>5</c:v>
                </c:pt>
                <c:pt idx="4286">
                  <c:v>2</c:v>
                </c:pt>
                <c:pt idx="4287">
                  <c:v>1</c:v>
                </c:pt>
                <c:pt idx="4288">
                  <c:v>1</c:v>
                </c:pt>
                <c:pt idx="4289">
                  <c:v>0</c:v>
                </c:pt>
                <c:pt idx="4290">
                  <c:v>1</c:v>
                </c:pt>
                <c:pt idx="4291">
                  <c:v>2</c:v>
                </c:pt>
                <c:pt idx="4292">
                  <c:v>8</c:v>
                </c:pt>
                <c:pt idx="4293">
                  <c:v>4</c:v>
                </c:pt>
                <c:pt idx="4294">
                  <c:v>1</c:v>
                </c:pt>
                <c:pt idx="4295">
                  <c:v>3</c:v>
                </c:pt>
                <c:pt idx="4296">
                  <c:v>1</c:v>
                </c:pt>
                <c:pt idx="4297">
                  <c:v>14</c:v>
                </c:pt>
                <c:pt idx="4298">
                  <c:v>2</c:v>
                </c:pt>
                <c:pt idx="4299">
                  <c:v>1</c:v>
                </c:pt>
                <c:pt idx="4300">
                  <c:v>9</c:v>
                </c:pt>
                <c:pt idx="4301">
                  <c:v>0</c:v>
                </c:pt>
                <c:pt idx="4302">
                  <c:v>2</c:v>
                </c:pt>
                <c:pt idx="4303">
                  <c:v>1</c:v>
                </c:pt>
                <c:pt idx="4304">
                  <c:v>19</c:v>
                </c:pt>
                <c:pt idx="4305">
                  <c:v>4</c:v>
                </c:pt>
                <c:pt idx="4306">
                  <c:v>2</c:v>
                </c:pt>
                <c:pt idx="4307">
                  <c:v>4</c:v>
                </c:pt>
                <c:pt idx="4308">
                  <c:v>26</c:v>
                </c:pt>
                <c:pt idx="4309">
                  <c:v>2</c:v>
                </c:pt>
                <c:pt idx="4310">
                  <c:v>17</c:v>
                </c:pt>
                <c:pt idx="4311">
                  <c:v>1</c:v>
                </c:pt>
                <c:pt idx="4312">
                  <c:v>4</c:v>
                </c:pt>
                <c:pt idx="4313">
                  <c:v>8</c:v>
                </c:pt>
                <c:pt idx="4314">
                  <c:v>2</c:v>
                </c:pt>
                <c:pt idx="4315">
                  <c:v>2</c:v>
                </c:pt>
                <c:pt idx="4316">
                  <c:v>0</c:v>
                </c:pt>
                <c:pt idx="4317">
                  <c:v>2</c:v>
                </c:pt>
                <c:pt idx="4318">
                  <c:v>29</c:v>
                </c:pt>
                <c:pt idx="4319">
                  <c:v>1</c:v>
                </c:pt>
                <c:pt idx="4320">
                  <c:v>10</c:v>
                </c:pt>
                <c:pt idx="4321">
                  <c:v>1</c:v>
                </c:pt>
                <c:pt idx="4322">
                  <c:v>2</c:v>
                </c:pt>
                <c:pt idx="4323">
                  <c:v>4</c:v>
                </c:pt>
                <c:pt idx="4324">
                  <c:v>3</c:v>
                </c:pt>
                <c:pt idx="4325">
                  <c:v>7</c:v>
                </c:pt>
                <c:pt idx="4326">
                  <c:v>3</c:v>
                </c:pt>
                <c:pt idx="4327">
                  <c:v>2</c:v>
                </c:pt>
                <c:pt idx="4328">
                  <c:v>1</c:v>
                </c:pt>
                <c:pt idx="4329">
                  <c:v>3</c:v>
                </c:pt>
                <c:pt idx="4330">
                  <c:v>5</c:v>
                </c:pt>
                <c:pt idx="4331">
                  <c:v>0</c:v>
                </c:pt>
                <c:pt idx="4332">
                  <c:v>1</c:v>
                </c:pt>
                <c:pt idx="4333">
                  <c:v>0</c:v>
                </c:pt>
                <c:pt idx="4334">
                  <c:v>1</c:v>
                </c:pt>
                <c:pt idx="4335">
                  <c:v>10</c:v>
                </c:pt>
                <c:pt idx="4336">
                  <c:v>1</c:v>
                </c:pt>
                <c:pt idx="4337">
                  <c:v>3</c:v>
                </c:pt>
                <c:pt idx="4338">
                  <c:v>2</c:v>
                </c:pt>
                <c:pt idx="4339">
                  <c:v>6</c:v>
                </c:pt>
                <c:pt idx="4340">
                  <c:v>28</c:v>
                </c:pt>
                <c:pt idx="4341">
                  <c:v>0</c:v>
                </c:pt>
                <c:pt idx="4342">
                  <c:v>0</c:v>
                </c:pt>
                <c:pt idx="4343">
                  <c:v>16</c:v>
                </c:pt>
                <c:pt idx="4344">
                  <c:v>19</c:v>
                </c:pt>
                <c:pt idx="4345">
                  <c:v>8</c:v>
                </c:pt>
                <c:pt idx="4346">
                  <c:v>1</c:v>
                </c:pt>
                <c:pt idx="4347">
                  <c:v>1</c:v>
                </c:pt>
                <c:pt idx="4348">
                  <c:v>3</c:v>
                </c:pt>
                <c:pt idx="4349">
                  <c:v>2</c:v>
                </c:pt>
                <c:pt idx="4350">
                  <c:v>7</c:v>
                </c:pt>
                <c:pt idx="4351">
                  <c:v>0</c:v>
                </c:pt>
                <c:pt idx="4352">
                  <c:v>2</c:v>
                </c:pt>
                <c:pt idx="4353">
                  <c:v>3</c:v>
                </c:pt>
                <c:pt idx="4354">
                  <c:v>4</c:v>
                </c:pt>
                <c:pt idx="4355">
                  <c:v>7</c:v>
                </c:pt>
                <c:pt idx="4356">
                  <c:v>1</c:v>
                </c:pt>
                <c:pt idx="4357">
                  <c:v>60</c:v>
                </c:pt>
                <c:pt idx="4358">
                  <c:v>3</c:v>
                </c:pt>
                <c:pt idx="4359">
                  <c:v>0</c:v>
                </c:pt>
                <c:pt idx="4360">
                  <c:v>2</c:v>
                </c:pt>
                <c:pt idx="4361">
                  <c:v>1</c:v>
                </c:pt>
                <c:pt idx="4362">
                  <c:v>1</c:v>
                </c:pt>
                <c:pt idx="4363">
                  <c:v>34</c:v>
                </c:pt>
                <c:pt idx="4364">
                  <c:v>2</c:v>
                </c:pt>
                <c:pt idx="4365">
                  <c:v>5</c:v>
                </c:pt>
                <c:pt idx="4366">
                  <c:v>1</c:v>
                </c:pt>
                <c:pt idx="4367">
                  <c:v>6</c:v>
                </c:pt>
                <c:pt idx="4368">
                  <c:v>6</c:v>
                </c:pt>
                <c:pt idx="4369">
                  <c:v>2</c:v>
                </c:pt>
                <c:pt idx="4370">
                  <c:v>5</c:v>
                </c:pt>
                <c:pt idx="4371">
                  <c:v>0</c:v>
                </c:pt>
                <c:pt idx="4372">
                  <c:v>0</c:v>
                </c:pt>
                <c:pt idx="4373">
                  <c:v>0</c:v>
                </c:pt>
                <c:pt idx="4374">
                  <c:v>0</c:v>
                </c:pt>
                <c:pt idx="4375">
                  <c:v>0</c:v>
                </c:pt>
                <c:pt idx="4376">
                  <c:v>7</c:v>
                </c:pt>
                <c:pt idx="4377">
                  <c:v>0</c:v>
                </c:pt>
                <c:pt idx="4378">
                  <c:v>0</c:v>
                </c:pt>
                <c:pt idx="4379">
                  <c:v>0</c:v>
                </c:pt>
                <c:pt idx="4380">
                  <c:v>1</c:v>
                </c:pt>
                <c:pt idx="4381">
                  <c:v>0</c:v>
                </c:pt>
                <c:pt idx="4382">
                  <c:v>0</c:v>
                </c:pt>
                <c:pt idx="4383">
                  <c:v>0</c:v>
                </c:pt>
                <c:pt idx="4384">
                  <c:v>1</c:v>
                </c:pt>
                <c:pt idx="4385">
                  <c:v>0</c:v>
                </c:pt>
                <c:pt idx="4386">
                  <c:v>0</c:v>
                </c:pt>
                <c:pt idx="4387">
                  <c:v>0</c:v>
                </c:pt>
                <c:pt idx="4388">
                  <c:v>0</c:v>
                </c:pt>
                <c:pt idx="4389">
                  <c:v>0</c:v>
                </c:pt>
                <c:pt idx="4390">
                  <c:v>0</c:v>
                </c:pt>
                <c:pt idx="4391">
                  <c:v>3</c:v>
                </c:pt>
                <c:pt idx="4392">
                  <c:v>1</c:v>
                </c:pt>
                <c:pt idx="4393">
                  <c:v>0</c:v>
                </c:pt>
                <c:pt idx="4394">
                  <c:v>1</c:v>
                </c:pt>
                <c:pt idx="4395">
                  <c:v>0</c:v>
                </c:pt>
                <c:pt idx="4396">
                  <c:v>0</c:v>
                </c:pt>
                <c:pt idx="4397">
                  <c:v>0</c:v>
                </c:pt>
                <c:pt idx="4398">
                  <c:v>0</c:v>
                </c:pt>
                <c:pt idx="4399">
                  <c:v>0</c:v>
                </c:pt>
                <c:pt idx="4400">
                  <c:v>0</c:v>
                </c:pt>
                <c:pt idx="4401">
                  <c:v>0</c:v>
                </c:pt>
                <c:pt idx="4402">
                  <c:v>0</c:v>
                </c:pt>
                <c:pt idx="4403">
                  <c:v>0</c:v>
                </c:pt>
                <c:pt idx="4404">
                  <c:v>3</c:v>
                </c:pt>
                <c:pt idx="4405">
                  <c:v>0</c:v>
                </c:pt>
                <c:pt idx="4406">
                  <c:v>2</c:v>
                </c:pt>
                <c:pt idx="4407">
                  <c:v>1</c:v>
                </c:pt>
                <c:pt idx="4408">
                  <c:v>0</c:v>
                </c:pt>
                <c:pt idx="4409">
                  <c:v>0</c:v>
                </c:pt>
                <c:pt idx="4410">
                  <c:v>0</c:v>
                </c:pt>
                <c:pt idx="4411">
                  <c:v>0</c:v>
                </c:pt>
                <c:pt idx="4412">
                  <c:v>0</c:v>
                </c:pt>
                <c:pt idx="4413">
                  <c:v>7</c:v>
                </c:pt>
                <c:pt idx="4414">
                  <c:v>0</c:v>
                </c:pt>
                <c:pt idx="4415">
                  <c:v>0</c:v>
                </c:pt>
                <c:pt idx="4416">
                  <c:v>0</c:v>
                </c:pt>
                <c:pt idx="4417">
                  <c:v>0</c:v>
                </c:pt>
                <c:pt idx="4418">
                  <c:v>0</c:v>
                </c:pt>
                <c:pt idx="4419">
                  <c:v>0</c:v>
                </c:pt>
                <c:pt idx="4420">
                  <c:v>4</c:v>
                </c:pt>
                <c:pt idx="4421">
                  <c:v>0</c:v>
                </c:pt>
                <c:pt idx="4422">
                  <c:v>1</c:v>
                </c:pt>
                <c:pt idx="4423">
                  <c:v>0</c:v>
                </c:pt>
                <c:pt idx="4424">
                  <c:v>3</c:v>
                </c:pt>
                <c:pt idx="4425">
                  <c:v>3</c:v>
                </c:pt>
                <c:pt idx="4426">
                  <c:v>10</c:v>
                </c:pt>
                <c:pt idx="4427">
                  <c:v>1</c:v>
                </c:pt>
                <c:pt idx="4428">
                  <c:v>0</c:v>
                </c:pt>
                <c:pt idx="4429">
                  <c:v>1</c:v>
                </c:pt>
                <c:pt idx="4430">
                  <c:v>0</c:v>
                </c:pt>
                <c:pt idx="4431">
                  <c:v>0</c:v>
                </c:pt>
                <c:pt idx="4432">
                  <c:v>2</c:v>
                </c:pt>
                <c:pt idx="4433">
                  <c:v>0</c:v>
                </c:pt>
                <c:pt idx="4434">
                  <c:v>2</c:v>
                </c:pt>
                <c:pt idx="4435">
                  <c:v>0</c:v>
                </c:pt>
                <c:pt idx="4436">
                  <c:v>1</c:v>
                </c:pt>
                <c:pt idx="4437">
                  <c:v>0</c:v>
                </c:pt>
                <c:pt idx="4438">
                  <c:v>8</c:v>
                </c:pt>
                <c:pt idx="4439">
                  <c:v>0</c:v>
                </c:pt>
                <c:pt idx="4440">
                  <c:v>0</c:v>
                </c:pt>
                <c:pt idx="4441">
                  <c:v>0</c:v>
                </c:pt>
                <c:pt idx="4442">
                  <c:v>1</c:v>
                </c:pt>
                <c:pt idx="4443">
                  <c:v>0</c:v>
                </c:pt>
                <c:pt idx="4444">
                  <c:v>3</c:v>
                </c:pt>
                <c:pt idx="4445">
                  <c:v>0</c:v>
                </c:pt>
                <c:pt idx="4446">
                  <c:v>0</c:v>
                </c:pt>
                <c:pt idx="4447">
                  <c:v>0</c:v>
                </c:pt>
                <c:pt idx="4448">
                  <c:v>0</c:v>
                </c:pt>
                <c:pt idx="4449">
                  <c:v>0</c:v>
                </c:pt>
                <c:pt idx="4450">
                  <c:v>16</c:v>
                </c:pt>
                <c:pt idx="4451">
                  <c:v>1</c:v>
                </c:pt>
                <c:pt idx="4452">
                  <c:v>0</c:v>
                </c:pt>
                <c:pt idx="4453">
                  <c:v>1</c:v>
                </c:pt>
                <c:pt idx="4454">
                  <c:v>1</c:v>
                </c:pt>
                <c:pt idx="4455">
                  <c:v>0</c:v>
                </c:pt>
                <c:pt idx="4456">
                  <c:v>0</c:v>
                </c:pt>
                <c:pt idx="4457">
                  <c:v>0</c:v>
                </c:pt>
                <c:pt idx="4458">
                  <c:v>0</c:v>
                </c:pt>
                <c:pt idx="4459">
                  <c:v>3</c:v>
                </c:pt>
                <c:pt idx="4460">
                  <c:v>1</c:v>
                </c:pt>
                <c:pt idx="4461">
                  <c:v>1</c:v>
                </c:pt>
                <c:pt idx="4462">
                  <c:v>0</c:v>
                </c:pt>
                <c:pt idx="4463">
                  <c:v>2</c:v>
                </c:pt>
                <c:pt idx="4464">
                  <c:v>0</c:v>
                </c:pt>
                <c:pt idx="4465">
                  <c:v>0</c:v>
                </c:pt>
                <c:pt idx="4466">
                  <c:v>0</c:v>
                </c:pt>
                <c:pt idx="4467">
                  <c:v>2</c:v>
                </c:pt>
                <c:pt idx="4468">
                  <c:v>1</c:v>
                </c:pt>
                <c:pt idx="4469">
                  <c:v>1</c:v>
                </c:pt>
                <c:pt idx="4470">
                  <c:v>0</c:v>
                </c:pt>
                <c:pt idx="4471">
                  <c:v>2</c:v>
                </c:pt>
                <c:pt idx="4472">
                  <c:v>0</c:v>
                </c:pt>
                <c:pt idx="4473">
                  <c:v>0</c:v>
                </c:pt>
                <c:pt idx="4474">
                  <c:v>0</c:v>
                </c:pt>
                <c:pt idx="4475">
                  <c:v>5</c:v>
                </c:pt>
                <c:pt idx="4476">
                  <c:v>1</c:v>
                </c:pt>
                <c:pt idx="4477">
                  <c:v>0</c:v>
                </c:pt>
                <c:pt idx="4478">
                  <c:v>0</c:v>
                </c:pt>
                <c:pt idx="4479">
                  <c:v>2</c:v>
                </c:pt>
                <c:pt idx="4480">
                  <c:v>0</c:v>
                </c:pt>
                <c:pt idx="4481">
                  <c:v>4</c:v>
                </c:pt>
                <c:pt idx="4482">
                  <c:v>0</c:v>
                </c:pt>
                <c:pt idx="4483">
                  <c:v>0</c:v>
                </c:pt>
                <c:pt idx="4484">
                  <c:v>4</c:v>
                </c:pt>
                <c:pt idx="4485">
                  <c:v>0</c:v>
                </c:pt>
                <c:pt idx="4486">
                  <c:v>2</c:v>
                </c:pt>
                <c:pt idx="4487">
                  <c:v>0</c:v>
                </c:pt>
                <c:pt idx="4488">
                  <c:v>0</c:v>
                </c:pt>
                <c:pt idx="4489">
                  <c:v>0</c:v>
                </c:pt>
                <c:pt idx="4490">
                  <c:v>0</c:v>
                </c:pt>
                <c:pt idx="4491">
                  <c:v>0</c:v>
                </c:pt>
                <c:pt idx="4492">
                  <c:v>0</c:v>
                </c:pt>
                <c:pt idx="4493">
                  <c:v>0</c:v>
                </c:pt>
                <c:pt idx="4494">
                  <c:v>0</c:v>
                </c:pt>
                <c:pt idx="4495">
                  <c:v>5</c:v>
                </c:pt>
                <c:pt idx="4496">
                  <c:v>0</c:v>
                </c:pt>
                <c:pt idx="4497">
                  <c:v>0</c:v>
                </c:pt>
                <c:pt idx="4498">
                  <c:v>0</c:v>
                </c:pt>
                <c:pt idx="4499">
                  <c:v>0</c:v>
                </c:pt>
                <c:pt idx="4500">
                  <c:v>0</c:v>
                </c:pt>
                <c:pt idx="4501">
                  <c:v>0</c:v>
                </c:pt>
                <c:pt idx="4502">
                  <c:v>0</c:v>
                </c:pt>
                <c:pt idx="4503">
                  <c:v>0</c:v>
                </c:pt>
                <c:pt idx="4504">
                  <c:v>0</c:v>
                </c:pt>
                <c:pt idx="4505">
                  <c:v>0</c:v>
                </c:pt>
                <c:pt idx="4506">
                  <c:v>2</c:v>
                </c:pt>
                <c:pt idx="4507">
                  <c:v>0</c:v>
                </c:pt>
                <c:pt idx="4508">
                  <c:v>0</c:v>
                </c:pt>
                <c:pt idx="4509">
                  <c:v>2</c:v>
                </c:pt>
                <c:pt idx="4510">
                  <c:v>1</c:v>
                </c:pt>
                <c:pt idx="4511">
                  <c:v>0</c:v>
                </c:pt>
                <c:pt idx="4512">
                  <c:v>0</c:v>
                </c:pt>
                <c:pt idx="4513">
                  <c:v>0</c:v>
                </c:pt>
                <c:pt idx="4514">
                  <c:v>0</c:v>
                </c:pt>
                <c:pt idx="4515">
                  <c:v>5</c:v>
                </c:pt>
                <c:pt idx="4516">
                  <c:v>0</c:v>
                </c:pt>
                <c:pt idx="4517">
                  <c:v>1</c:v>
                </c:pt>
                <c:pt idx="4518">
                  <c:v>2</c:v>
                </c:pt>
                <c:pt idx="4519">
                  <c:v>2</c:v>
                </c:pt>
                <c:pt idx="4520">
                  <c:v>2</c:v>
                </c:pt>
                <c:pt idx="4521">
                  <c:v>0</c:v>
                </c:pt>
                <c:pt idx="4522">
                  <c:v>1</c:v>
                </c:pt>
                <c:pt idx="4523">
                  <c:v>0</c:v>
                </c:pt>
                <c:pt idx="4524">
                  <c:v>0</c:v>
                </c:pt>
                <c:pt idx="4525">
                  <c:v>0</c:v>
                </c:pt>
                <c:pt idx="4526">
                  <c:v>0</c:v>
                </c:pt>
                <c:pt idx="4527">
                  <c:v>0</c:v>
                </c:pt>
                <c:pt idx="4528">
                  <c:v>0</c:v>
                </c:pt>
                <c:pt idx="4529">
                  <c:v>1</c:v>
                </c:pt>
                <c:pt idx="4530">
                  <c:v>10</c:v>
                </c:pt>
                <c:pt idx="4531">
                  <c:v>0</c:v>
                </c:pt>
                <c:pt idx="4532">
                  <c:v>0</c:v>
                </c:pt>
                <c:pt idx="4533">
                  <c:v>0</c:v>
                </c:pt>
                <c:pt idx="4534">
                  <c:v>4</c:v>
                </c:pt>
                <c:pt idx="4535">
                  <c:v>0</c:v>
                </c:pt>
                <c:pt idx="4536">
                  <c:v>5</c:v>
                </c:pt>
                <c:pt idx="4537">
                  <c:v>0</c:v>
                </c:pt>
                <c:pt idx="4538">
                  <c:v>0</c:v>
                </c:pt>
                <c:pt idx="4539">
                  <c:v>0</c:v>
                </c:pt>
                <c:pt idx="4540">
                  <c:v>2</c:v>
                </c:pt>
                <c:pt idx="4541">
                  <c:v>0</c:v>
                </c:pt>
                <c:pt idx="4542">
                  <c:v>0</c:v>
                </c:pt>
                <c:pt idx="4543">
                  <c:v>0</c:v>
                </c:pt>
                <c:pt idx="4544">
                  <c:v>0</c:v>
                </c:pt>
                <c:pt idx="4545">
                  <c:v>3</c:v>
                </c:pt>
                <c:pt idx="4546">
                  <c:v>3</c:v>
                </c:pt>
                <c:pt idx="4547">
                  <c:v>0</c:v>
                </c:pt>
                <c:pt idx="4548">
                  <c:v>0</c:v>
                </c:pt>
                <c:pt idx="4549">
                  <c:v>0</c:v>
                </c:pt>
                <c:pt idx="4550">
                  <c:v>0</c:v>
                </c:pt>
                <c:pt idx="4551">
                  <c:v>0</c:v>
                </c:pt>
                <c:pt idx="4552">
                  <c:v>1</c:v>
                </c:pt>
                <c:pt idx="4553">
                  <c:v>0</c:v>
                </c:pt>
                <c:pt idx="4554">
                  <c:v>0</c:v>
                </c:pt>
                <c:pt idx="4555">
                  <c:v>8</c:v>
                </c:pt>
                <c:pt idx="4556">
                  <c:v>0</c:v>
                </c:pt>
                <c:pt idx="4557">
                  <c:v>0</c:v>
                </c:pt>
                <c:pt idx="4558">
                  <c:v>1</c:v>
                </c:pt>
                <c:pt idx="4559">
                  <c:v>43</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3</c:v>
                </c:pt>
                <c:pt idx="4577">
                  <c:v>0</c:v>
                </c:pt>
                <c:pt idx="4578">
                  <c:v>2</c:v>
                </c:pt>
                <c:pt idx="4579">
                  <c:v>0</c:v>
                </c:pt>
                <c:pt idx="4580">
                  <c:v>5</c:v>
                </c:pt>
                <c:pt idx="4581">
                  <c:v>0</c:v>
                </c:pt>
                <c:pt idx="4582">
                  <c:v>0</c:v>
                </c:pt>
                <c:pt idx="4583">
                  <c:v>0</c:v>
                </c:pt>
                <c:pt idx="4584">
                  <c:v>0</c:v>
                </c:pt>
                <c:pt idx="4585">
                  <c:v>0</c:v>
                </c:pt>
                <c:pt idx="4586">
                  <c:v>0</c:v>
                </c:pt>
                <c:pt idx="4587">
                  <c:v>0</c:v>
                </c:pt>
                <c:pt idx="4588">
                  <c:v>0</c:v>
                </c:pt>
                <c:pt idx="4589">
                  <c:v>3</c:v>
                </c:pt>
                <c:pt idx="4590">
                  <c:v>1</c:v>
                </c:pt>
                <c:pt idx="4591">
                  <c:v>0</c:v>
                </c:pt>
                <c:pt idx="4592">
                  <c:v>1</c:v>
                </c:pt>
                <c:pt idx="4593">
                  <c:v>0</c:v>
                </c:pt>
                <c:pt idx="4594">
                  <c:v>1</c:v>
                </c:pt>
                <c:pt idx="4595">
                  <c:v>0</c:v>
                </c:pt>
                <c:pt idx="4596">
                  <c:v>0</c:v>
                </c:pt>
                <c:pt idx="4597">
                  <c:v>0</c:v>
                </c:pt>
                <c:pt idx="4598">
                  <c:v>0</c:v>
                </c:pt>
                <c:pt idx="4599">
                  <c:v>0</c:v>
                </c:pt>
                <c:pt idx="4600">
                  <c:v>1</c:v>
                </c:pt>
                <c:pt idx="4601">
                  <c:v>1</c:v>
                </c:pt>
                <c:pt idx="4602">
                  <c:v>0</c:v>
                </c:pt>
                <c:pt idx="4603">
                  <c:v>0</c:v>
                </c:pt>
                <c:pt idx="4604">
                  <c:v>0</c:v>
                </c:pt>
                <c:pt idx="4605">
                  <c:v>0</c:v>
                </c:pt>
                <c:pt idx="4606">
                  <c:v>0</c:v>
                </c:pt>
                <c:pt idx="4607">
                  <c:v>0</c:v>
                </c:pt>
                <c:pt idx="4608">
                  <c:v>0</c:v>
                </c:pt>
                <c:pt idx="4609">
                  <c:v>0</c:v>
                </c:pt>
                <c:pt idx="4610">
                  <c:v>9</c:v>
                </c:pt>
                <c:pt idx="4611">
                  <c:v>0</c:v>
                </c:pt>
                <c:pt idx="4612">
                  <c:v>0</c:v>
                </c:pt>
                <c:pt idx="4613">
                  <c:v>1</c:v>
                </c:pt>
                <c:pt idx="4614">
                  <c:v>0</c:v>
                </c:pt>
                <c:pt idx="4615">
                  <c:v>0</c:v>
                </c:pt>
                <c:pt idx="4616">
                  <c:v>0</c:v>
                </c:pt>
                <c:pt idx="4617">
                  <c:v>0</c:v>
                </c:pt>
                <c:pt idx="4618">
                  <c:v>0</c:v>
                </c:pt>
                <c:pt idx="4619">
                  <c:v>0</c:v>
                </c:pt>
                <c:pt idx="4620">
                  <c:v>0</c:v>
                </c:pt>
                <c:pt idx="4621">
                  <c:v>0</c:v>
                </c:pt>
                <c:pt idx="4622">
                  <c:v>0</c:v>
                </c:pt>
                <c:pt idx="4623">
                  <c:v>3</c:v>
                </c:pt>
                <c:pt idx="4624">
                  <c:v>0</c:v>
                </c:pt>
                <c:pt idx="4625">
                  <c:v>0</c:v>
                </c:pt>
                <c:pt idx="4626">
                  <c:v>2</c:v>
                </c:pt>
                <c:pt idx="4627">
                  <c:v>8</c:v>
                </c:pt>
                <c:pt idx="4628">
                  <c:v>0</c:v>
                </c:pt>
                <c:pt idx="4629">
                  <c:v>0</c:v>
                </c:pt>
                <c:pt idx="4630">
                  <c:v>6</c:v>
                </c:pt>
                <c:pt idx="4631">
                  <c:v>0</c:v>
                </c:pt>
                <c:pt idx="4632">
                  <c:v>0</c:v>
                </c:pt>
                <c:pt idx="4633">
                  <c:v>0</c:v>
                </c:pt>
                <c:pt idx="4634">
                  <c:v>0</c:v>
                </c:pt>
                <c:pt idx="4635">
                  <c:v>0</c:v>
                </c:pt>
                <c:pt idx="4636">
                  <c:v>3</c:v>
                </c:pt>
                <c:pt idx="4637">
                  <c:v>1</c:v>
                </c:pt>
                <c:pt idx="4638">
                  <c:v>0</c:v>
                </c:pt>
                <c:pt idx="4639">
                  <c:v>2</c:v>
                </c:pt>
                <c:pt idx="4640">
                  <c:v>0</c:v>
                </c:pt>
                <c:pt idx="4641">
                  <c:v>2</c:v>
                </c:pt>
                <c:pt idx="4642">
                  <c:v>0</c:v>
                </c:pt>
                <c:pt idx="4643">
                  <c:v>0</c:v>
                </c:pt>
                <c:pt idx="4644">
                  <c:v>0</c:v>
                </c:pt>
                <c:pt idx="4645">
                  <c:v>1</c:v>
                </c:pt>
                <c:pt idx="4646">
                  <c:v>0</c:v>
                </c:pt>
                <c:pt idx="4647">
                  <c:v>2</c:v>
                </c:pt>
                <c:pt idx="4648">
                  <c:v>0</c:v>
                </c:pt>
                <c:pt idx="4649">
                  <c:v>0</c:v>
                </c:pt>
                <c:pt idx="4650">
                  <c:v>0</c:v>
                </c:pt>
                <c:pt idx="4651">
                  <c:v>0</c:v>
                </c:pt>
                <c:pt idx="4652">
                  <c:v>0</c:v>
                </c:pt>
                <c:pt idx="4653">
                  <c:v>0</c:v>
                </c:pt>
                <c:pt idx="4654">
                  <c:v>0</c:v>
                </c:pt>
                <c:pt idx="4655">
                  <c:v>0</c:v>
                </c:pt>
                <c:pt idx="4656">
                  <c:v>0</c:v>
                </c:pt>
                <c:pt idx="4657">
                  <c:v>0</c:v>
                </c:pt>
                <c:pt idx="4658">
                  <c:v>0</c:v>
                </c:pt>
                <c:pt idx="4659">
                  <c:v>2</c:v>
                </c:pt>
                <c:pt idx="4660">
                  <c:v>0</c:v>
                </c:pt>
                <c:pt idx="4661">
                  <c:v>0</c:v>
                </c:pt>
                <c:pt idx="4662">
                  <c:v>0</c:v>
                </c:pt>
                <c:pt idx="4663">
                  <c:v>0</c:v>
                </c:pt>
                <c:pt idx="4664">
                  <c:v>0</c:v>
                </c:pt>
                <c:pt idx="4665">
                  <c:v>0</c:v>
                </c:pt>
                <c:pt idx="4666">
                  <c:v>0</c:v>
                </c:pt>
                <c:pt idx="4667">
                  <c:v>1</c:v>
                </c:pt>
                <c:pt idx="4668">
                  <c:v>0</c:v>
                </c:pt>
                <c:pt idx="4669">
                  <c:v>0</c:v>
                </c:pt>
                <c:pt idx="4670">
                  <c:v>0</c:v>
                </c:pt>
                <c:pt idx="4671">
                  <c:v>0</c:v>
                </c:pt>
                <c:pt idx="4672">
                  <c:v>0</c:v>
                </c:pt>
                <c:pt idx="4673">
                  <c:v>2</c:v>
                </c:pt>
                <c:pt idx="4674">
                  <c:v>0</c:v>
                </c:pt>
                <c:pt idx="4675">
                  <c:v>18</c:v>
                </c:pt>
                <c:pt idx="4676">
                  <c:v>6</c:v>
                </c:pt>
                <c:pt idx="4677">
                  <c:v>1</c:v>
                </c:pt>
                <c:pt idx="4678">
                  <c:v>2</c:v>
                </c:pt>
                <c:pt idx="4679">
                  <c:v>1</c:v>
                </c:pt>
                <c:pt idx="4680">
                  <c:v>1</c:v>
                </c:pt>
                <c:pt idx="4681">
                  <c:v>2</c:v>
                </c:pt>
                <c:pt idx="4682">
                  <c:v>1</c:v>
                </c:pt>
                <c:pt idx="4683">
                  <c:v>0</c:v>
                </c:pt>
                <c:pt idx="4684">
                  <c:v>2</c:v>
                </c:pt>
                <c:pt idx="4685">
                  <c:v>4</c:v>
                </c:pt>
                <c:pt idx="4686">
                  <c:v>5</c:v>
                </c:pt>
                <c:pt idx="4687">
                  <c:v>2</c:v>
                </c:pt>
                <c:pt idx="4688">
                  <c:v>0</c:v>
                </c:pt>
                <c:pt idx="4689">
                  <c:v>1</c:v>
                </c:pt>
                <c:pt idx="4690">
                  <c:v>1</c:v>
                </c:pt>
                <c:pt idx="4691">
                  <c:v>1</c:v>
                </c:pt>
                <c:pt idx="4692">
                  <c:v>3</c:v>
                </c:pt>
                <c:pt idx="4693">
                  <c:v>0</c:v>
                </c:pt>
                <c:pt idx="4694">
                  <c:v>2</c:v>
                </c:pt>
                <c:pt idx="4695">
                  <c:v>1</c:v>
                </c:pt>
                <c:pt idx="4696">
                  <c:v>3</c:v>
                </c:pt>
                <c:pt idx="4697">
                  <c:v>3</c:v>
                </c:pt>
                <c:pt idx="4698">
                  <c:v>29</c:v>
                </c:pt>
                <c:pt idx="4699">
                  <c:v>1</c:v>
                </c:pt>
                <c:pt idx="4700">
                  <c:v>1</c:v>
                </c:pt>
                <c:pt idx="4701">
                  <c:v>2</c:v>
                </c:pt>
                <c:pt idx="4702">
                  <c:v>3</c:v>
                </c:pt>
                <c:pt idx="4703">
                  <c:v>0</c:v>
                </c:pt>
                <c:pt idx="4704">
                  <c:v>1</c:v>
                </c:pt>
                <c:pt idx="4705">
                  <c:v>0</c:v>
                </c:pt>
                <c:pt idx="4706">
                  <c:v>4</c:v>
                </c:pt>
                <c:pt idx="4707">
                  <c:v>0</c:v>
                </c:pt>
                <c:pt idx="4708">
                  <c:v>3</c:v>
                </c:pt>
                <c:pt idx="4709">
                  <c:v>2</c:v>
                </c:pt>
                <c:pt idx="4710">
                  <c:v>0</c:v>
                </c:pt>
                <c:pt idx="4711">
                  <c:v>28</c:v>
                </c:pt>
                <c:pt idx="4712">
                  <c:v>12</c:v>
                </c:pt>
                <c:pt idx="4713">
                  <c:v>1</c:v>
                </c:pt>
                <c:pt idx="4714">
                  <c:v>1</c:v>
                </c:pt>
                <c:pt idx="4715">
                  <c:v>6</c:v>
                </c:pt>
                <c:pt idx="4716">
                  <c:v>1</c:v>
                </c:pt>
                <c:pt idx="4717">
                  <c:v>1</c:v>
                </c:pt>
                <c:pt idx="4718">
                  <c:v>0</c:v>
                </c:pt>
                <c:pt idx="4719">
                  <c:v>0</c:v>
                </c:pt>
                <c:pt idx="4720">
                  <c:v>0</c:v>
                </c:pt>
                <c:pt idx="4721">
                  <c:v>5</c:v>
                </c:pt>
                <c:pt idx="4722">
                  <c:v>2</c:v>
                </c:pt>
                <c:pt idx="4723">
                  <c:v>1</c:v>
                </c:pt>
                <c:pt idx="4724">
                  <c:v>1</c:v>
                </c:pt>
                <c:pt idx="4725">
                  <c:v>3</c:v>
                </c:pt>
                <c:pt idx="4726">
                  <c:v>0</c:v>
                </c:pt>
                <c:pt idx="4727">
                  <c:v>49</c:v>
                </c:pt>
                <c:pt idx="4728">
                  <c:v>2</c:v>
                </c:pt>
                <c:pt idx="4729">
                  <c:v>2</c:v>
                </c:pt>
                <c:pt idx="4730">
                  <c:v>3</c:v>
                </c:pt>
                <c:pt idx="4731">
                  <c:v>1</c:v>
                </c:pt>
                <c:pt idx="4732">
                  <c:v>3</c:v>
                </c:pt>
                <c:pt idx="4733">
                  <c:v>9</c:v>
                </c:pt>
                <c:pt idx="4734">
                  <c:v>2</c:v>
                </c:pt>
                <c:pt idx="4735">
                  <c:v>7</c:v>
                </c:pt>
                <c:pt idx="4736">
                  <c:v>3</c:v>
                </c:pt>
                <c:pt idx="4737">
                  <c:v>0</c:v>
                </c:pt>
                <c:pt idx="4738">
                  <c:v>10</c:v>
                </c:pt>
                <c:pt idx="4739">
                  <c:v>1</c:v>
                </c:pt>
                <c:pt idx="4740">
                  <c:v>4</c:v>
                </c:pt>
                <c:pt idx="4741">
                  <c:v>5</c:v>
                </c:pt>
                <c:pt idx="4742">
                  <c:v>56</c:v>
                </c:pt>
                <c:pt idx="4743">
                  <c:v>4</c:v>
                </c:pt>
                <c:pt idx="4744">
                  <c:v>2</c:v>
                </c:pt>
                <c:pt idx="4745">
                  <c:v>0</c:v>
                </c:pt>
                <c:pt idx="4746">
                  <c:v>0</c:v>
                </c:pt>
                <c:pt idx="4747">
                  <c:v>0</c:v>
                </c:pt>
                <c:pt idx="4748">
                  <c:v>4</c:v>
                </c:pt>
                <c:pt idx="4749">
                  <c:v>4</c:v>
                </c:pt>
                <c:pt idx="4750">
                  <c:v>10</c:v>
                </c:pt>
                <c:pt idx="4751">
                  <c:v>59</c:v>
                </c:pt>
                <c:pt idx="4752">
                  <c:v>3</c:v>
                </c:pt>
                <c:pt idx="4753">
                  <c:v>0</c:v>
                </c:pt>
                <c:pt idx="4754">
                  <c:v>74</c:v>
                </c:pt>
                <c:pt idx="4755">
                  <c:v>2</c:v>
                </c:pt>
                <c:pt idx="4756">
                  <c:v>0</c:v>
                </c:pt>
                <c:pt idx="4757">
                  <c:v>1</c:v>
                </c:pt>
                <c:pt idx="4758">
                  <c:v>1</c:v>
                </c:pt>
                <c:pt idx="4759">
                  <c:v>1</c:v>
                </c:pt>
                <c:pt idx="4760">
                  <c:v>1</c:v>
                </c:pt>
                <c:pt idx="4761">
                  <c:v>0</c:v>
                </c:pt>
                <c:pt idx="4762">
                  <c:v>9</c:v>
                </c:pt>
                <c:pt idx="4763">
                  <c:v>3</c:v>
                </c:pt>
                <c:pt idx="4764">
                  <c:v>0</c:v>
                </c:pt>
                <c:pt idx="4765">
                  <c:v>2</c:v>
                </c:pt>
                <c:pt idx="4766">
                  <c:v>0</c:v>
                </c:pt>
                <c:pt idx="4767">
                  <c:v>0</c:v>
                </c:pt>
                <c:pt idx="4768">
                  <c:v>0</c:v>
                </c:pt>
                <c:pt idx="4769">
                  <c:v>2</c:v>
                </c:pt>
                <c:pt idx="4770">
                  <c:v>0</c:v>
                </c:pt>
                <c:pt idx="4771">
                  <c:v>0</c:v>
                </c:pt>
                <c:pt idx="4772">
                  <c:v>0</c:v>
                </c:pt>
                <c:pt idx="4773">
                  <c:v>0</c:v>
                </c:pt>
                <c:pt idx="4774">
                  <c:v>3</c:v>
                </c:pt>
                <c:pt idx="4775">
                  <c:v>0</c:v>
                </c:pt>
                <c:pt idx="4776">
                  <c:v>0</c:v>
                </c:pt>
                <c:pt idx="4777">
                  <c:v>0</c:v>
                </c:pt>
                <c:pt idx="4778">
                  <c:v>0</c:v>
                </c:pt>
                <c:pt idx="4779">
                  <c:v>0</c:v>
                </c:pt>
                <c:pt idx="4780">
                  <c:v>2</c:v>
                </c:pt>
                <c:pt idx="4781">
                  <c:v>0</c:v>
                </c:pt>
                <c:pt idx="4782">
                  <c:v>0</c:v>
                </c:pt>
                <c:pt idx="4783">
                  <c:v>0</c:v>
                </c:pt>
                <c:pt idx="4784">
                  <c:v>0</c:v>
                </c:pt>
                <c:pt idx="4785">
                  <c:v>10</c:v>
                </c:pt>
                <c:pt idx="4786">
                  <c:v>0</c:v>
                </c:pt>
                <c:pt idx="4787">
                  <c:v>0</c:v>
                </c:pt>
                <c:pt idx="4788">
                  <c:v>0</c:v>
                </c:pt>
                <c:pt idx="4789">
                  <c:v>0</c:v>
                </c:pt>
                <c:pt idx="4790">
                  <c:v>0</c:v>
                </c:pt>
                <c:pt idx="4791">
                  <c:v>0</c:v>
                </c:pt>
                <c:pt idx="4792">
                  <c:v>0</c:v>
                </c:pt>
                <c:pt idx="4793">
                  <c:v>0</c:v>
                </c:pt>
                <c:pt idx="4794">
                  <c:v>1</c:v>
                </c:pt>
                <c:pt idx="4795">
                  <c:v>0</c:v>
                </c:pt>
                <c:pt idx="4796">
                  <c:v>0</c:v>
                </c:pt>
                <c:pt idx="4797">
                  <c:v>0</c:v>
                </c:pt>
                <c:pt idx="4798">
                  <c:v>0</c:v>
                </c:pt>
                <c:pt idx="4799">
                  <c:v>3</c:v>
                </c:pt>
                <c:pt idx="4800">
                  <c:v>0</c:v>
                </c:pt>
                <c:pt idx="4801">
                  <c:v>0</c:v>
                </c:pt>
                <c:pt idx="4802">
                  <c:v>0</c:v>
                </c:pt>
                <c:pt idx="4803">
                  <c:v>0</c:v>
                </c:pt>
                <c:pt idx="4804">
                  <c:v>0</c:v>
                </c:pt>
                <c:pt idx="4805">
                  <c:v>0</c:v>
                </c:pt>
                <c:pt idx="4806">
                  <c:v>0</c:v>
                </c:pt>
                <c:pt idx="4807">
                  <c:v>0</c:v>
                </c:pt>
                <c:pt idx="4808">
                  <c:v>0</c:v>
                </c:pt>
                <c:pt idx="4809">
                  <c:v>0</c:v>
                </c:pt>
                <c:pt idx="4810">
                  <c:v>2</c:v>
                </c:pt>
                <c:pt idx="4811">
                  <c:v>0</c:v>
                </c:pt>
                <c:pt idx="4812">
                  <c:v>0</c:v>
                </c:pt>
                <c:pt idx="4813">
                  <c:v>2</c:v>
                </c:pt>
                <c:pt idx="4814">
                  <c:v>6</c:v>
                </c:pt>
                <c:pt idx="4815">
                  <c:v>0</c:v>
                </c:pt>
                <c:pt idx="4816">
                  <c:v>24</c:v>
                </c:pt>
                <c:pt idx="4817">
                  <c:v>0</c:v>
                </c:pt>
                <c:pt idx="4818">
                  <c:v>0</c:v>
                </c:pt>
                <c:pt idx="4819">
                  <c:v>0</c:v>
                </c:pt>
                <c:pt idx="4820">
                  <c:v>0</c:v>
                </c:pt>
                <c:pt idx="4821">
                  <c:v>0</c:v>
                </c:pt>
                <c:pt idx="4822">
                  <c:v>0</c:v>
                </c:pt>
                <c:pt idx="4823">
                  <c:v>0</c:v>
                </c:pt>
                <c:pt idx="4824">
                  <c:v>1</c:v>
                </c:pt>
                <c:pt idx="4825">
                  <c:v>0</c:v>
                </c:pt>
                <c:pt idx="4826">
                  <c:v>0</c:v>
                </c:pt>
                <c:pt idx="4827">
                  <c:v>0</c:v>
                </c:pt>
                <c:pt idx="4828">
                  <c:v>1</c:v>
                </c:pt>
                <c:pt idx="4829">
                  <c:v>0</c:v>
                </c:pt>
                <c:pt idx="4830">
                  <c:v>0</c:v>
                </c:pt>
                <c:pt idx="4831">
                  <c:v>5</c:v>
                </c:pt>
                <c:pt idx="4832">
                  <c:v>0</c:v>
                </c:pt>
                <c:pt idx="4833">
                  <c:v>0</c:v>
                </c:pt>
                <c:pt idx="4834">
                  <c:v>0</c:v>
                </c:pt>
                <c:pt idx="4835">
                  <c:v>0</c:v>
                </c:pt>
                <c:pt idx="4836">
                  <c:v>0</c:v>
                </c:pt>
                <c:pt idx="4837">
                  <c:v>0</c:v>
                </c:pt>
                <c:pt idx="4838">
                  <c:v>0</c:v>
                </c:pt>
                <c:pt idx="4839">
                  <c:v>0</c:v>
                </c:pt>
                <c:pt idx="4840">
                  <c:v>3</c:v>
                </c:pt>
                <c:pt idx="4841">
                  <c:v>1</c:v>
                </c:pt>
                <c:pt idx="4842">
                  <c:v>3</c:v>
                </c:pt>
                <c:pt idx="4843">
                  <c:v>0</c:v>
                </c:pt>
                <c:pt idx="4844">
                  <c:v>0</c:v>
                </c:pt>
                <c:pt idx="4845">
                  <c:v>2</c:v>
                </c:pt>
                <c:pt idx="4846">
                  <c:v>1</c:v>
                </c:pt>
                <c:pt idx="4847">
                  <c:v>0</c:v>
                </c:pt>
                <c:pt idx="4848">
                  <c:v>0</c:v>
                </c:pt>
                <c:pt idx="4849">
                  <c:v>1</c:v>
                </c:pt>
                <c:pt idx="4850">
                  <c:v>0</c:v>
                </c:pt>
                <c:pt idx="4851">
                  <c:v>1</c:v>
                </c:pt>
                <c:pt idx="4852">
                  <c:v>0</c:v>
                </c:pt>
                <c:pt idx="4853">
                  <c:v>0</c:v>
                </c:pt>
                <c:pt idx="4854">
                  <c:v>0</c:v>
                </c:pt>
                <c:pt idx="4855">
                  <c:v>0</c:v>
                </c:pt>
                <c:pt idx="4856">
                  <c:v>0</c:v>
                </c:pt>
                <c:pt idx="4857">
                  <c:v>0</c:v>
                </c:pt>
                <c:pt idx="4858">
                  <c:v>0</c:v>
                </c:pt>
                <c:pt idx="4859">
                  <c:v>0</c:v>
                </c:pt>
                <c:pt idx="4860">
                  <c:v>0</c:v>
                </c:pt>
                <c:pt idx="4861">
                  <c:v>2</c:v>
                </c:pt>
                <c:pt idx="4862">
                  <c:v>0</c:v>
                </c:pt>
                <c:pt idx="4863">
                  <c:v>1</c:v>
                </c:pt>
                <c:pt idx="4864">
                  <c:v>0</c:v>
                </c:pt>
                <c:pt idx="4865">
                  <c:v>0</c:v>
                </c:pt>
                <c:pt idx="4866">
                  <c:v>0</c:v>
                </c:pt>
                <c:pt idx="4867">
                  <c:v>1</c:v>
                </c:pt>
                <c:pt idx="4868">
                  <c:v>2</c:v>
                </c:pt>
                <c:pt idx="4869">
                  <c:v>1</c:v>
                </c:pt>
                <c:pt idx="4870">
                  <c:v>2</c:v>
                </c:pt>
                <c:pt idx="4871">
                  <c:v>0</c:v>
                </c:pt>
                <c:pt idx="4872">
                  <c:v>0</c:v>
                </c:pt>
                <c:pt idx="4873">
                  <c:v>0</c:v>
                </c:pt>
                <c:pt idx="4874">
                  <c:v>0</c:v>
                </c:pt>
                <c:pt idx="4875">
                  <c:v>0</c:v>
                </c:pt>
                <c:pt idx="4876">
                  <c:v>0</c:v>
                </c:pt>
                <c:pt idx="4877">
                  <c:v>0</c:v>
                </c:pt>
                <c:pt idx="4878">
                  <c:v>0</c:v>
                </c:pt>
                <c:pt idx="4879">
                  <c:v>0</c:v>
                </c:pt>
                <c:pt idx="4880">
                  <c:v>1</c:v>
                </c:pt>
                <c:pt idx="4881">
                  <c:v>0</c:v>
                </c:pt>
                <c:pt idx="4882">
                  <c:v>0</c:v>
                </c:pt>
                <c:pt idx="4883">
                  <c:v>0</c:v>
                </c:pt>
                <c:pt idx="4884">
                  <c:v>3</c:v>
                </c:pt>
                <c:pt idx="4885">
                  <c:v>0</c:v>
                </c:pt>
                <c:pt idx="4886">
                  <c:v>2</c:v>
                </c:pt>
                <c:pt idx="4887">
                  <c:v>1</c:v>
                </c:pt>
                <c:pt idx="4888">
                  <c:v>0</c:v>
                </c:pt>
                <c:pt idx="4889">
                  <c:v>2</c:v>
                </c:pt>
                <c:pt idx="4890">
                  <c:v>0</c:v>
                </c:pt>
                <c:pt idx="4891">
                  <c:v>0</c:v>
                </c:pt>
                <c:pt idx="4892">
                  <c:v>0</c:v>
                </c:pt>
                <c:pt idx="4893">
                  <c:v>0</c:v>
                </c:pt>
                <c:pt idx="4894">
                  <c:v>0</c:v>
                </c:pt>
                <c:pt idx="4895">
                  <c:v>2</c:v>
                </c:pt>
                <c:pt idx="4896">
                  <c:v>0</c:v>
                </c:pt>
                <c:pt idx="4897">
                  <c:v>0</c:v>
                </c:pt>
                <c:pt idx="4898">
                  <c:v>3</c:v>
                </c:pt>
                <c:pt idx="4899">
                  <c:v>0</c:v>
                </c:pt>
                <c:pt idx="4900">
                  <c:v>2</c:v>
                </c:pt>
                <c:pt idx="4901">
                  <c:v>3</c:v>
                </c:pt>
                <c:pt idx="4902">
                  <c:v>0</c:v>
                </c:pt>
                <c:pt idx="4903">
                  <c:v>1</c:v>
                </c:pt>
                <c:pt idx="4904">
                  <c:v>1</c:v>
                </c:pt>
                <c:pt idx="4905">
                  <c:v>3</c:v>
                </c:pt>
                <c:pt idx="4906">
                  <c:v>3</c:v>
                </c:pt>
                <c:pt idx="4907">
                  <c:v>0</c:v>
                </c:pt>
                <c:pt idx="4908">
                  <c:v>0</c:v>
                </c:pt>
                <c:pt idx="4909">
                  <c:v>3</c:v>
                </c:pt>
                <c:pt idx="4910">
                  <c:v>7</c:v>
                </c:pt>
                <c:pt idx="4911">
                  <c:v>0</c:v>
                </c:pt>
                <c:pt idx="4912">
                  <c:v>0</c:v>
                </c:pt>
                <c:pt idx="4913">
                  <c:v>1</c:v>
                </c:pt>
                <c:pt idx="4914">
                  <c:v>0</c:v>
                </c:pt>
                <c:pt idx="4915">
                  <c:v>3</c:v>
                </c:pt>
                <c:pt idx="4916">
                  <c:v>0</c:v>
                </c:pt>
                <c:pt idx="4917">
                  <c:v>3</c:v>
                </c:pt>
                <c:pt idx="4918">
                  <c:v>0</c:v>
                </c:pt>
                <c:pt idx="4919">
                  <c:v>0</c:v>
                </c:pt>
                <c:pt idx="4920">
                  <c:v>0</c:v>
                </c:pt>
                <c:pt idx="4921">
                  <c:v>1</c:v>
                </c:pt>
                <c:pt idx="4922">
                  <c:v>4</c:v>
                </c:pt>
                <c:pt idx="4923">
                  <c:v>1</c:v>
                </c:pt>
                <c:pt idx="4924">
                  <c:v>0</c:v>
                </c:pt>
                <c:pt idx="4925">
                  <c:v>1</c:v>
                </c:pt>
                <c:pt idx="4926">
                  <c:v>0</c:v>
                </c:pt>
                <c:pt idx="4927">
                  <c:v>2</c:v>
                </c:pt>
                <c:pt idx="4928">
                  <c:v>1</c:v>
                </c:pt>
                <c:pt idx="4929">
                  <c:v>1</c:v>
                </c:pt>
                <c:pt idx="4930">
                  <c:v>0</c:v>
                </c:pt>
                <c:pt idx="4931">
                  <c:v>3</c:v>
                </c:pt>
                <c:pt idx="4932">
                  <c:v>0</c:v>
                </c:pt>
                <c:pt idx="4933">
                  <c:v>1</c:v>
                </c:pt>
                <c:pt idx="4934">
                  <c:v>5</c:v>
                </c:pt>
                <c:pt idx="4935">
                  <c:v>3</c:v>
                </c:pt>
                <c:pt idx="4936">
                  <c:v>0</c:v>
                </c:pt>
                <c:pt idx="4937">
                  <c:v>0</c:v>
                </c:pt>
                <c:pt idx="4938">
                  <c:v>0</c:v>
                </c:pt>
                <c:pt idx="4939">
                  <c:v>2</c:v>
                </c:pt>
                <c:pt idx="4940">
                  <c:v>0</c:v>
                </c:pt>
                <c:pt idx="4941">
                  <c:v>0</c:v>
                </c:pt>
                <c:pt idx="4942">
                  <c:v>0</c:v>
                </c:pt>
                <c:pt idx="4943">
                  <c:v>3</c:v>
                </c:pt>
                <c:pt idx="4944">
                  <c:v>1</c:v>
                </c:pt>
                <c:pt idx="4945">
                  <c:v>1</c:v>
                </c:pt>
                <c:pt idx="4946">
                  <c:v>0</c:v>
                </c:pt>
                <c:pt idx="4947">
                  <c:v>0</c:v>
                </c:pt>
                <c:pt idx="4948">
                  <c:v>1</c:v>
                </c:pt>
                <c:pt idx="4949">
                  <c:v>2</c:v>
                </c:pt>
                <c:pt idx="4950">
                  <c:v>1</c:v>
                </c:pt>
                <c:pt idx="4951">
                  <c:v>0</c:v>
                </c:pt>
                <c:pt idx="4952">
                  <c:v>1</c:v>
                </c:pt>
                <c:pt idx="4953">
                  <c:v>0</c:v>
                </c:pt>
                <c:pt idx="4954">
                  <c:v>0</c:v>
                </c:pt>
                <c:pt idx="4955">
                  <c:v>0</c:v>
                </c:pt>
                <c:pt idx="4956">
                  <c:v>0</c:v>
                </c:pt>
                <c:pt idx="4957">
                  <c:v>0</c:v>
                </c:pt>
                <c:pt idx="4958">
                  <c:v>1</c:v>
                </c:pt>
                <c:pt idx="4959">
                  <c:v>2</c:v>
                </c:pt>
                <c:pt idx="4960">
                  <c:v>1</c:v>
                </c:pt>
                <c:pt idx="4961">
                  <c:v>0</c:v>
                </c:pt>
                <c:pt idx="4962">
                  <c:v>1</c:v>
                </c:pt>
                <c:pt idx="4963">
                  <c:v>2</c:v>
                </c:pt>
                <c:pt idx="4964">
                  <c:v>2</c:v>
                </c:pt>
                <c:pt idx="4965">
                  <c:v>0</c:v>
                </c:pt>
                <c:pt idx="4966">
                  <c:v>0</c:v>
                </c:pt>
                <c:pt idx="4967">
                  <c:v>3</c:v>
                </c:pt>
                <c:pt idx="4968">
                  <c:v>1</c:v>
                </c:pt>
                <c:pt idx="4969">
                  <c:v>2</c:v>
                </c:pt>
                <c:pt idx="4970">
                  <c:v>1</c:v>
                </c:pt>
                <c:pt idx="4971">
                  <c:v>0</c:v>
                </c:pt>
                <c:pt idx="4972">
                  <c:v>9</c:v>
                </c:pt>
                <c:pt idx="4973">
                  <c:v>1</c:v>
                </c:pt>
                <c:pt idx="4974">
                  <c:v>4</c:v>
                </c:pt>
                <c:pt idx="4975">
                  <c:v>1</c:v>
                </c:pt>
                <c:pt idx="4976">
                  <c:v>0</c:v>
                </c:pt>
                <c:pt idx="4977">
                  <c:v>0</c:v>
                </c:pt>
                <c:pt idx="4978">
                  <c:v>0</c:v>
                </c:pt>
                <c:pt idx="4979">
                  <c:v>0</c:v>
                </c:pt>
                <c:pt idx="4980">
                  <c:v>0</c:v>
                </c:pt>
                <c:pt idx="4981">
                  <c:v>2</c:v>
                </c:pt>
                <c:pt idx="4982">
                  <c:v>4</c:v>
                </c:pt>
                <c:pt idx="4983">
                  <c:v>1</c:v>
                </c:pt>
                <c:pt idx="4984">
                  <c:v>0</c:v>
                </c:pt>
                <c:pt idx="4985">
                  <c:v>1</c:v>
                </c:pt>
                <c:pt idx="4986">
                  <c:v>0</c:v>
                </c:pt>
                <c:pt idx="4987">
                  <c:v>4</c:v>
                </c:pt>
                <c:pt idx="4988">
                  <c:v>4</c:v>
                </c:pt>
                <c:pt idx="4989">
                  <c:v>3</c:v>
                </c:pt>
                <c:pt idx="4990">
                  <c:v>3</c:v>
                </c:pt>
                <c:pt idx="4991">
                  <c:v>0</c:v>
                </c:pt>
                <c:pt idx="4992">
                  <c:v>2</c:v>
                </c:pt>
                <c:pt idx="4993">
                  <c:v>3</c:v>
                </c:pt>
                <c:pt idx="4994">
                  <c:v>0</c:v>
                </c:pt>
                <c:pt idx="4995">
                  <c:v>3</c:v>
                </c:pt>
                <c:pt idx="4996">
                  <c:v>1</c:v>
                </c:pt>
                <c:pt idx="4997">
                  <c:v>0</c:v>
                </c:pt>
                <c:pt idx="4998">
                  <c:v>0</c:v>
                </c:pt>
                <c:pt idx="4999">
                  <c:v>1</c:v>
                </c:pt>
                <c:pt idx="5000">
                  <c:v>0</c:v>
                </c:pt>
                <c:pt idx="5001">
                  <c:v>1</c:v>
                </c:pt>
                <c:pt idx="5002">
                  <c:v>0</c:v>
                </c:pt>
                <c:pt idx="5003">
                  <c:v>0</c:v>
                </c:pt>
                <c:pt idx="5004">
                  <c:v>0</c:v>
                </c:pt>
                <c:pt idx="5005">
                  <c:v>1</c:v>
                </c:pt>
                <c:pt idx="5006">
                  <c:v>1</c:v>
                </c:pt>
                <c:pt idx="5007">
                  <c:v>0</c:v>
                </c:pt>
                <c:pt idx="5008">
                  <c:v>0</c:v>
                </c:pt>
                <c:pt idx="5009">
                  <c:v>0</c:v>
                </c:pt>
                <c:pt idx="5010">
                  <c:v>6</c:v>
                </c:pt>
                <c:pt idx="5011">
                  <c:v>0</c:v>
                </c:pt>
                <c:pt idx="5012">
                  <c:v>1</c:v>
                </c:pt>
                <c:pt idx="5013">
                  <c:v>0</c:v>
                </c:pt>
                <c:pt idx="5014">
                  <c:v>1</c:v>
                </c:pt>
                <c:pt idx="5015">
                  <c:v>0</c:v>
                </c:pt>
                <c:pt idx="5016">
                  <c:v>3</c:v>
                </c:pt>
                <c:pt idx="5017">
                  <c:v>2</c:v>
                </c:pt>
                <c:pt idx="5018">
                  <c:v>1</c:v>
                </c:pt>
                <c:pt idx="5019">
                  <c:v>1</c:v>
                </c:pt>
                <c:pt idx="5020">
                  <c:v>4</c:v>
                </c:pt>
                <c:pt idx="5021">
                  <c:v>7</c:v>
                </c:pt>
                <c:pt idx="5022">
                  <c:v>1</c:v>
                </c:pt>
                <c:pt idx="5023">
                  <c:v>3</c:v>
                </c:pt>
                <c:pt idx="5024">
                  <c:v>1</c:v>
                </c:pt>
                <c:pt idx="5025">
                  <c:v>0</c:v>
                </c:pt>
                <c:pt idx="5026">
                  <c:v>13</c:v>
                </c:pt>
                <c:pt idx="5027">
                  <c:v>0</c:v>
                </c:pt>
                <c:pt idx="5028">
                  <c:v>0</c:v>
                </c:pt>
                <c:pt idx="5029">
                  <c:v>21</c:v>
                </c:pt>
                <c:pt idx="5030">
                  <c:v>1</c:v>
                </c:pt>
                <c:pt idx="5031">
                  <c:v>0</c:v>
                </c:pt>
                <c:pt idx="5032">
                  <c:v>0</c:v>
                </c:pt>
                <c:pt idx="5033">
                  <c:v>2</c:v>
                </c:pt>
                <c:pt idx="5034">
                  <c:v>13</c:v>
                </c:pt>
                <c:pt idx="5035">
                  <c:v>1</c:v>
                </c:pt>
                <c:pt idx="5036">
                  <c:v>1</c:v>
                </c:pt>
                <c:pt idx="5037">
                  <c:v>0</c:v>
                </c:pt>
                <c:pt idx="5038">
                  <c:v>2</c:v>
                </c:pt>
                <c:pt idx="5039">
                  <c:v>0</c:v>
                </c:pt>
                <c:pt idx="5040">
                  <c:v>5</c:v>
                </c:pt>
                <c:pt idx="5041">
                  <c:v>1</c:v>
                </c:pt>
                <c:pt idx="5042">
                  <c:v>0</c:v>
                </c:pt>
                <c:pt idx="5043">
                  <c:v>1</c:v>
                </c:pt>
                <c:pt idx="5044">
                  <c:v>0</c:v>
                </c:pt>
                <c:pt idx="5045">
                  <c:v>2</c:v>
                </c:pt>
                <c:pt idx="5046">
                  <c:v>10</c:v>
                </c:pt>
                <c:pt idx="5047">
                  <c:v>4</c:v>
                </c:pt>
                <c:pt idx="5048">
                  <c:v>2</c:v>
                </c:pt>
                <c:pt idx="5049">
                  <c:v>5</c:v>
                </c:pt>
                <c:pt idx="5050">
                  <c:v>5</c:v>
                </c:pt>
                <c:pt idx="5051">
                  <c:v>1</c:v>
                </c:pt>
                <c:pt idx="5052">
                  <c:v>1</c:v>
                </c:pt>
                <c:pt idx="5053">
                  <c:v>0</c:v>
                </c:pt>
                <c:pt idx="5054">
                  <c:v>0</c:v>
                </c:pt>
                <c:pt idx="5055">
                  <c:v>1</c:v>
                </c:pt>
                <c:pt idx="5056">
                  <c:v>3</c:v>
                </c:pt>
                <c:pt idx="5057">
                  <c:v>1</c:v>
                </c:pt>
                <c:pt idx="5058">
                  <c:v>0</c:v>
                </c:pt>
                <c:pt idx="5059">
                  <c:v>0</c:v>
                </c:pt>
                <c:pt idx="5060">
                  <c:v>0</c:v>
                </c:pt>
                <c:pt idx="5061">
                  <c:v>2</c:v>
                </c:pt>
                <c:pt idx="5062">
                  <c:v>1</c:v>
                </c:pt>
                <c:pt idx="5063">
                  <c:v>0</c:v>
                </c:pt>
                <c:pt idx="5064">
                  <c:v>0</c:v>
                </c:pt>
                <c:pt idx="5065">
                  <c:v>1</c:v>
                </c:pt>
                <c:pt idx="5066">
                  <c:v>0</c:v>
                </c:pt>
                <c:pt idx="5067">
                  <c:v>0</c:v>
                </c:pt>
                <c:pt idx="5068">
                  <c:v>2</c:v>
                </c:pt>
                <c:pt idx="5069">
                  <c:v>0</c:v>
                </c:pt>
                <c:pt idx="5070">
                  <c:v>1</c:v>
                </c:pt>
                <c:pt idx="5071">
                  <c:v>0</c:v>
                </c:pt>
                <c:pt idx="5072">
                  <c:v>0</c:v>
                </c:pt>
                <c:pt idx="5073">
                  <c:v>2</c:v>
                </c:pt>
                <c:pt idx="5074">
                  <c:v>0</c:v>
                </c:pt>
                <c:pt idx="5075">
                  <c:v>0</c:v>
                </c:pt>
                <c:pt idx="5076">
                  <c:v>0</c:v>
                </c:pt>
                <c:pt idx="5077">
                  <c:v>0</c:v>
                </c:pt>
                <c:pt idx="5078">
                  <c:v>0</c:v>
                </c:pt>
                <c:pt idx="5079">
                  <c:v>2</c:v>
                </c:pt>
                <c:pt idx="5080">
                  <c:v>0</c:v>
                </c:pt>
                <c:pt idx="5081">
                  <c:v>0</c:v>
                </c:pt>
                <c:pt idx="5082">
                  <c:v>0</c:v>
                </c:pt>
                <c:pt idx="5083">
                  <c:v>1</c:v>
                </c:pt>
                <c:pt idx="5084">
                  <c:v>8</c:v>
                </c:pt>
                <c:pt idx="5085">
                  <c:v>0</c:v>
                </c:pt>
                <c:pt idx="5086">
                  <c:v>0</c:v>
                </c:pt>
                <c:pt idx="5087">
                  <c:v>1</c:v>
                </c:pt>
                <c:pt idx="5088">
                  <c:v>0</c:v>
                </c:pt>
                <c:pt idx="5089">
                  <c:v>0</c:v>
                </c:pt>
                <c:pt idx="5090">
                  <c:v>2</c:v>
                </c:pt>
                <c:pt idx="5091">
                  <c:v>0</c:v>
                </c:pt>
                <c:pt idx="5092">
                  <c:v>0</c:v>
                </c:pt>
                <c:pt idx="5093">
                  <c:v>0</c:v>
                </c:pt>
                <c:pt idx="5094">
                  <c:v>1</c:v>
                </c:pt>
                <c:pt idx="5095">
                  <c:v>7</c:v>
                </c:pt>
                <c:pt idx="5096">
                  <c:v>0</c:v>
                </c:pt>
                <c:pt idx="5097">
                  <c:v>0</c:v>
                </c:pt>
                <c:pt idx="5098">
                  <c:v>0</c:v>
                </c:pt>
                <c:pt idx="5099">
                  <c:v>1</c:v>
                </c:pt>
                <c:pt idx="5100">
                  <c:v>5</c:v>
                </c:pt>
                <c:pt idx="5101">
                  <c:v>1</c:v>
                </c:pt>
                <c:pt idx="5102">
                  <c:v>1</c:v>
                </c:pt>
                <c:pt idx="5103">
                  <c:v>0</c:v>
                </c:pt>
                <c:pt idx="5104">
                  <c:v>0</c:v>
                </c:pt>
                <c:pt idx="5105">
                  <c:v>0</c:v>
                </c:pt>
                <c:pt idx="5106">
                  <c:v>1</c:v>
                </c:pt>
                <c:pt idx="5107">
                  <c:v>0</c:v>
                </c:pt>
                <c:pt idx="5108">
                  <c:v>1</c:v>
                </c:pt>
                <c:pt idx="5109">
                  <c:v>8</c:v>
                </c:pt>
                <c:pt idx="5110">
                  <c:v>0</c:v>
                </c:pt>
                <c:pt idx="5111">
                  <c:v>15</c:v>
                </c:pt>
                <c:pt idx="5112">
                  <c:v>0</c:v>
                </c:pt>
                <c:pt idx="5113">
                  <c:v>8</c:v>
                </c:pt>
                <c:pt idx="5114">
                  <c:v>18</c:v>
                </c:pt>
                <c:pt idx="5115">
                  <c:v>0</c:v>
                </c:pt>
                <c:pt idx="5116">
                  <c:v>5</c:v>
                </c:pt>
                <c:pt idx="5117">
                  <c:v>0</c:v>
                </c:pt>
                <c:pt idx="5118">
                  <c:v>0</c:v>
                </c:pt>
                <c:pt idx="5119">
                  <c:v>1</c:v>
                </c:pt>
                <c:pt idx="5120">
                  <c:v>0</c:v>
                </c:pt>
                <c:pt idx="5121">
                  <c:v>8</c:v>
                </c:pt>
                <c:pt idx="5122">
                  <c:v>4</c:v>
                </c:pt>
                <c:pt idx="5123">
                  <c:v>2</c:v>
                </c:pt>
                <c:pt idx="5124">
                  <c:v>1</c:v>
                </c:pt>
                <c:pt idx="5125">
                  <c:v>1</c:v>
                </c:pt>
                <c:pt idx="5126">
                  <c:v>16</c:v>
                </c:pt>
                <c:pt idx="5127">
                  <c:v>1</c:v>
                </c:pt>
                <c:pt idx="5128">
                  <c:v>0</c:v>
                </c:pt>
                <c:pt idx="5129">
                  <c:v>0</c:v>
                </c:pt>
                <c:pt idx="5130">
                  <c:v>0</c:v>
                </c:pt>
                <c:pt idx="5131">
                  <c:v>0</c:v>
                </c:pt>
                <c:pt idx="5132">
                  <c:v>0</c:v>
                </c:pt>
                <c:pt idx="5133">
                  <c:v>4</c:v>
                </c:pt>
                <c:pt idx="5134">
                  <c:v>1</c:v>
                </c:pt>
                <c:pt idx="5135">
                  <c:v>95</c:v>
                </c:pt>
                <c:pt idx="5136">
                  <c:v>0</c:v>
                </c:pt>
                <c:pt idx="5137">
                  <c:v>1</c:v>
                </c:pt>
                <c:pt idx="5138">
                  <c:v>0</c:v>
                </c:pt>
                <c:pt idx="5139">
                  <c:v>0</c:v>
                </c:pt>
                <c:pt idx="5140">
                  <c:v>0</c:v>
                </c:pt>
                <c:pt idx="5141">
                  <c:v>0</c:v>
                </c:pt>
                <c:pt idx="5142">
                  <c:v>4</c:v>
                </c:pt>
                <c:pt idx="5143">
                  <c:v>2</c:v>
                </c:pt>
                <c:pt idx="5144">
                  <c:v>6</c:v>
                </c:pt>
                <c:pt idx="5145">
                  <c:v>0</c:v>
                </c:pt>
                <c:pt idx="5146">
                  <c:v>0</c:v>
                </c:pt>
                <c:pt idx="5147">
                  <c:v>0</c:v>
                </c:pt>
                <c:pt idx="5148">
                  <c:v>1</c:v>
                </c:pt>
                <c:pt idx="5149">
                  <c:v>0</c:v>
                </c:pt>
                <c:pt idx="5150">
                  <c:v>0</c:v>
                </c:pt>
                <c:pt idx="5151">
                  <c:v>1</c:v>
                </c:pt>
                <c:pt idx="5152">
                  <c:v>0</c:v>
                </c:pt>
                <c:pt idx="5153">
                  <c:v>0</c:v>
                </c:pt>
                <c:pt idx="5154">
                  <c:v>0</c:v>
                </c:pt>
                <c:pt idx="5155">
                  <c:v>2</c:v>
                </c:pt>
                <c:pt idx="5156">
                  <c:v>1</c:v>
                </c:pt>
                <c:pt idx="5157">
                  <c:v>1</c:v>
                </c:pt>
                <c:pt idx="5158">
                  <c:v>0</c:v>
                </c:pt>
                <c:pt idx="5159">
                  <c:v>3</c:v>
                </c:pt>
                <c:pt idx="5160">
                  <c:v>2</c:v>
                </c:pt>
                <c:pt idx="5161">
                  <c:v>0</c:v>
                </c:pt>
                <c:pt idx="5162">
                  <c:v>4</c:v>
                </c:pt>
                <c:pt idx="5163">
                  <c:v>0</c:v>
                </c:pt>
                <c:pt idx="5164">
                  <c:v>1</c:v>
                </c:pt>
                <c:pt idx="5165">
                  <c:v>1</c:v>
                </c:pt>
                <c:pt idx="5166">
                  <c:v>0</c:v>
                </c:pt>
                <c:pt idx="5167">
                  <c:v>4</c:v>
                </c:pt>
                <c:pt idx="5168">
                  <c:v>2</c:v>
                </c:pt>
                <c:pt idx="5169">
                  <c:v>1</c:v>
                </c:pt>
                <c:pt idx="5170">
                  <c:v>0</c:v>
                </c:pt>
                <c:pt idx="5171">
                  <c:v>2</c:v>
                </c:pt>
                <c:pt idx="5172">
                  <c:v>0</c:v>
                </c:pt>
                <c:pt idx="5173">
                  <c:v>2</c:v>
                </c:pt>
                <c:pt idx="5174">
                  <c:v>0</c:v>
                </c:pt>
                <c:pt idx="5175">
                  <c:v>1</c:v>
                </c:pt>
                <c:pt idx="5176">
                  <c:v>4</c:v>
                </c:pt>
                <c:pt idx="5177">
                  <c:v>0</c:v>
                </c:pt>
                <c:pt idx="5178">
                  <c:v>0</c:v>
                </c:pt>
                <c:pt idx="5179">
                  <c:v>2</c:v>
                </c:pt>
                <c:pt idx="5180">
                  <c:v>0</c:v>
                </c:pt>
                <c:pt idx="5181">
                  <c:v>0</c:v>
                </c:pt>
                <c:pt idx="5182">
                  <c:v>0</c:v>
                </c:pt>
                <c:pt idx="5183">
                  <c:v>2</c:v>
                </c:pt>
                <c:pt idx="5184">
                  <c:v>1</c:v>
                </c:pt>
                <c:pt idx="5185">
                  <c:v>2</c:v>
                </c:pt>
                <c:pt idx="5186">
                  <c:v>0</c:v>
                </c:pt>
                <c:pt idx="5187">
                  <c:v>0</c:v>
                </c:pt>
                <c:pt idx="5188">
                  <c:v>0</c:v>
                </c:pt>
                <c:pt idx="5189">
                  <c:v>0</c:v>
                </c:pt>
                <c:pt idx="5190">
                  <c:v>1</c:v>
                </c:pt>
                <c:pt idx="5191">
                  <c:v>1</c:v>
                </c:pt>
                <c:pt idx="5192">
                  <c:v>2</c:v>
                </c:pt>
                <c:pt idx="5193">
                  <c:v>0</c:v>
                </c:pt>
                <c:pt idx="5194">
                  <c:v>2</c:v>
                </c:pt>
                <c:pt idx="5195">
                  <c:v>0</c:v>
                </c:pt>
                <c:pt idx="5196">
                  <c:v>0</c:v>
                </c:pt>
                <c:pt idx="5197">
                  <c:v>0</c:v>
                </c:pt>
                <c:pt idx="5198">
                  <c:v>0</c:v>
                </c:pt>
                <c:pt idx="5199">
                  <c:v>0</c:v>
                </c:pt>
                <c:pt idx="5200">
                  <c:v>1</c:v>
                </c:pt>
                <c:pt idx="5201">
                  <c:v>1</c:v>
                </c:pt>
                <c:pt idx="5202">
                  <c:v>12</c:v>
                </c:pt>
                <c:pt idx="5203">
                  <c:v>0</c:v>
                </c:pt>
                <c:pt idx="5204">
                  <c:v>0</c:v>
                </c:pt>
                <c:pt idx="5205">
                  <c:v>0</c:v>
                </c:pt>
                <c:pt idx="5206">
                  <c:v>5</c:v>
                </c:pt>
                <c:pt idx="5207">
                  <c:v>0</c:v>
                </c:pt>
                <c:pt idx="5208">
                  <c:v>0</c:v>
                </c:pt>
                <c:pt idx="5209">
                  <c:v>0</c:v>
                </c:pt>
                <c:pt idx="5210">
                  <c:v>9</c:v>
                </c:pt>
                <c:pt idx="5211">
                  <c:v>0</c:v>
                </c:pt>
                <c:pt idx="5212">
                  <c:v>0</c:v>
                </c:pt>
                <c:pt idx="5213">
                  <c:v>0</c:v>
                </c:pt>
                <c:pt idx="5214">
                  <c:v>0</c:v>
                </c:pt>
                <c:pt idx="5215">
                  <c:v>0</c:v>
                </c:pt>
                <c:pt idx="5216">
                  <c:v>0</c:v>
                </c:pt>
                <c:pt idx="5217">
                  <c:v>0</c:v>
                </c:pt>
                <c:pt idx="5218">
                  <c:v>6</c:v>
                </c:pt>
                <c:pt idx="5219">
                  <c:v>0</c:v>
                </c:pt>
                <c:pt idx="5220">
                  <c:v>0</c:v>
                </c:pt>
                <c:pt idx="5221">
                  <c:v>9</c:v>
                </c:pt>
                <c:pt idx="5222">
                  <c:v>1</c:v>
                </c:pt>
                <c:pt idx="5223">
                  <c:v>5</c:v>
                </c:pt>
                <c:pt idx="5224">
                  <c:v>0</c:v>
                </c:pt>
                <c:pt idx="5225">
                  <c:v>0</c:v>
                </c:pt>
                <c:pt idx="5226">
                  <c:v>0</c:v>
                </c:pt>
                <c:pt idx="5227">
                  <c:v>0</c:v>
                </c:pt>
                <c:pt idx="5228">
                  <c:v>0</c:v>
                </c:pt>
                <c:pt idx="5229">
                  <c:v>0</c:v>
                </c:pt>
                <c:pt idx="5230">
                  <c:v>0</c:v>
                </c:pt>
                <c:pt idx="5231">
                  <c:v>0</c:v>
                </c:pt>
                <c:pt idx="5232">
                  <c:v>2</c:v>
                </c:pt>
                <c:pt idx="5233">
                  <c:v>0</c:v>
                </c:pt>
                <c:pt idx="5234">
                  <c:v>4</c:v>
                </c:pt>
                <c:pt idx="5235">
                  <c:v>9</c:v>
                </c:pt>
                <c:pt idx="5236">
                  <c:v>0</c:v>
                </c:pt>
                <c:pt idx="5237">
                  <c:v>8</c:v>
                </c:pt>
                <c:pt idx="5238">
                  <c:v>0</c:v>
                </c:pt>
                <c:pt idx="5239">
                  <c:v>3</c:v>
                </c:pt>
                <c:pt idx="5240">
                  <c:v>0</c:v>
                </c:pt>
                <c:pt idx="5241">
                  <c:v>0</c:v>
                </c:pt>
                <c:pt idx="5242">
                  <c:v>2</c:v>
                </c:pt>
                <c:pt idx="5243">
                  <c:v>1</c:v>
                </c:pt>
                <c:pt idx="5244">
                  <c:v>3</c:v>
                </c:pt>
                <c:pt idx="5245">
                  <c:v>10</c:v>
                </c:pt>
                <c:pt idx="5246">
                  <c:v>0</c:v>
                </c:pt>
                <c:pt idx="5247">
                  <c:v>1</c:v>
                </c:pt>
                <c:pt idx="5248">
                  <c:v>0</c:v>
                </c:pt>
                <c:pt idx="5249">
                  <c:v>0</c:v>
                </c:pt>
                <c:pt idx="5250">
                  <c:v>0</c:v>
                </c:pt>
                <c:pt idx="5251">
                  <c:v>0</c:v>
                </c:pt>
                <c:pt idx="5252">
                  <c:v>1</c:v>
                </c:pt>
                <c:pt idx="5253">
                  <c:v>4</c:v>
                </c:pt>
                <c:pt idx="5254">
                  <c:v>0</c:v>
                </c:pt>
                <c:pt idx="5255">
                  <c:v>4</c:v>
                </c:pt>
                <c:pt idx="5256">
                  <c:v>7</c:v>
                </c:pt>
                <c:pt idx="5257">
                  <c:v>1</c:v>
                </c:pt>
                <c:pt idx="5258">
                  <c:v>4</c:v>
                </c:pt>
                <c:pt idx="5259">
                  <c:v>0</c:v>
                </c:pt>
                <c:pt idx="5260">
                  <c:v>1</c:v>
                </c:pt>
                <c:pt idx="5261">
                  <c:v>0</c:v>
                </c:pt>
                <c:pt idx="5262">
                  <c:v>15</c:v>
                </c:pt>
                <c:pt idx="5263">
                  <c:v>3</c:v>
                </c:pt>
                <c:pt idx="5264">
                  <c:v>0</c:v>
                </c:pt>
                <c:pt idx="5265">
                  <c:v>0</c:v>
                </c:pt>
                <c:pt idx="5266">
                  <c:v>0</c:v>
                </c:pt>
                <c:pt idx="5267">
                  <c:v>1</c:v>
                </c:pt>
                <c:pt idx="5268">
                  <c:v>2</c:v>
                </c:pt>
                <c:pt idx="5269">
                  <c:v>1</c:v>
                </c:pt>
                <c:pt idx="5270">
                  <c:v>0</c:v>
                </c:pt>
                <c:pt idx="5271">
                  <c:v>0</c:v>
                </c:pt>
                <c:pt idx="5272">
                  <c:v>0</c:v>
                </c:pt>
                <c:pt idx="5273">
                  <c:v>0</c:v>
                </c:pt>
                <c:pt idx="5274">
                  <c:v>1</c:v>
                </c:pt>
                <c:pt idx="5275">
                  <c:v>0</c:v>
                </c:pt>
                <c:pt idx="5276">
                  <c:v>1</c:v>
                </c:pt>
                <c:pt idx="5277">
                  <c:v>12</c:v>
                </c:pt>
                <c:pt idx="5278">
                  <c:v>0</c:v>
                </c:pt>
                <c:pt idx="5279">
                  <c:v>1</c:v>
                </c:pt>
                <c:pt idx="5280">
                  <c:v>0</c:v>
                </c:pt>
                <c:pt idx="5281">
                  <c:v>0</c:v>
                </c:pt>
                <c:pt idx="5282">
                  <c:v>0</c:v>
                </c:pt>
                <c:pt idx="5283">
                  <c:v>0</c:v>
                </c:pt>
                <c:pt idx="5284">
                  <c:v>4</c:v>
                </c:pt>
                <c:pt idx="5285">
                  <c:v>1</c:v>
                </c:pt>
                <c:pt idx="5286">
                  <c:v>3</c:v>
                </c:pt>
                <c:pt idx="5287">
                  <c:v>0</c:v>
                </c:pt>
                <c:pt idx="5288">
                  <c:v>0</c:v>
                </c:pt>
                <c:pt idx="5289">
                  <c:v>0</c:v>
                </c:pt>
                <c:pt idx="5290">
                  <c:v>0</c:v>
                </c:pt>
                <c:pt idx="5291">
                  <c:v>2</c:v>
                </c:pt>
                <c:pt idx="5292">
                  <c:v>0</c:v>
                </c:pt>
                <c:pt idx="5293">
                  <c:v>0</c:v>
                </c:pt>
                <c:pt idx="5294">
                  <c:v>1</c:v>
                </c:pt>
                <c:pt idx="5295">
                  <c:v>1</c:v>
                </c:pt>
                <c:pt idx="5296">
                  <c:v>0</c:v>
                </c:pt>
                <c:pt idx="5297">
                  <c:v>0</c:v>
                </c:pt>
                <c:pt idx="5298">
                  <c:v>0</c:v>
                </c:pt>
                <c:pt idx="5299">
                  <c:v>0</c:v>
                </c:pt>
                <c:pt idx="5300">
                  <c:v>0</c:v>
                </c:pt>
                <c:pt idx="5301">
                  <c:v>0</c:v>
                </c:pt>
                <c:pt idx="5302">
                  <c:v>2</c:v>
                </c:pt>
                <c:pt idx="5303">
                  <c:v>0</c:v>
                </c:pt>
                <c:pt idx="5304">
                  <c:v>0</c:v>
                </c:pt>
                <c:pt idx="5305">
                  <c:v>0</c:v>
                </c:pt>
                <c:pt idx="5306">
                  <c:v>0</c:v>
                </c:pt>
                <c:pt idx="5307">
                  <c:v>0</c:v>
                </c:pt>
                <c:pt idx="5308">
                  <c:v>0</c:v>
                </c:pt>
                <c:pt idx="5309">
                  <c:v>0</c:v>
                </c:pt>
                <c:pt idx="5310">
                  <c:v>0</c:v>
                </c:pt>
                <c:pt idx="5311">
                  <c:v>0</c:v>
                </c:pt>
                <c:pt idx="5312">
                  <c:v>7</c:v>
                </c:pt>
                <c:pt idx="5313">
                  <c:v>0</c:v>
                </c:pt>
                <c:pt idx="5314">
                  <c:v>1</c:v>
                </c:pt>
                <c:pt idx="5315">
                  <c:v>0</c:v>
                </c:pt>
                <c:pt idx="5316">
                  <c:v>0</c:v>
                </c:pt>
                <c:pt idx="5317">
                  <c:v>0</c:v>
                </c:pt>
                <c:pt idx="5318">
                  <c:v>0</c:v>
                </c:pt>
                <c:pt idx="5319">
                  <c:v>2</c:v>
                </c:pt>
                <c:pt idx="5320">
                  <c:v>0</c:v>
                </c:pt>
                <c:pt idx="5321">
                  <c:v>0</c:v>
                </c:pt>
                <c:pt idx="5322">
                  <c:v>0</c:v>
                </c:pt>
                <c:pt idx="5323">
                  <c:v>6</c:v>
                </c:pt>
                <c:pt idx="5324">
                  <c:v>1</c:v>
                </c:pt>
                <c:pt idx="5325">
                  <c:v>0</c:v>
                </c:pt>
                <c:pt idx="5326">
                  <c:v>0</c:v>
                </c:pt>
                <c:pt idx="5327">
                  <c:v>0</c:v>
                </c:pt>
                <c:pt idx="5328">
                  <c:v>10</c:v>
                </c:pt>
                <c:pt idx="5329">
                  <c:v>0</c:v>
                </c:pt>
                <c:pt idx="5330">
                  <c:v>2</c:v>
                </c:pt>
                <c:pt idx="5331">
                  <c:v>0</c:v>
                </c:pt>
                <c:pt idx="5332">
                  <c:v>1</c:v>
                </c:pt>
                <c:pt idx="5333">
                  <c:v>0</c:v>
                </c:pt>
                <c:pt idx="5334">
                  <c:v>0</c:v>
                </c:pt>
                <c:pt idx="5335">
                  <c:v>0</c:v>
                </c:pt>
                <c:pt idx="5336">
                  <c:v>0</c:v>
                </c:pt>
                <c:pt idx="5337">
                  <c:v>0</c:v>
                </c:pt>
                <c:pt idx="5338">
                  <c:v>0</c:v>
                </c:pt>
                <c:pt idx="5339">
                  <c:v>0</c:v>
                </c:pt>
                <c:pt idx="5340">
                  <c:v>0</c:v>
                </c:pt>
                <c:pt idx="5341">
                  <c:v>0</c:v>
                </c:pt>
                <c:pt idx="5342">
                  <c:v>2</c:v>
                </c:pt>
                <c:pt idx="5343">
                  <c:v>0</c:v>
                </c:pt>
                <c:pt idx="5344">
                  <c:v>0</c:v>
                </c:pt>
                <c:pt idx="5345">
                  <c:v>0</c:v>
                </c:pt>
                <c:pt idx="5346">
                  <c:v>2</c:v>
                </c:pt>
                <c:pt idx="5347">
                  <c:v>0</c:v>
                </c:pt>
                <c:pt idx="5348">
                  <c:v>0</c:v>
                </c:pt>
                <c:pt idx="5349">
                  <c:v>3</c:v>
                </c:pt>
                <c:pt idx="5350">
                  <c:v>0</c:v>
                </c:pt>
                <c:pt idx="5351">
                  <c:v>1</c:v>
                </c:pt>
                <c:pt idx="5352">
                  <c:v>1</c:v>
                </c:pt>
                <c:pt idx="5353">
                  <c:v>0</c:v>
                </c:pt>
                <c:pt idx="5354">
                  <c:v>0</c:v>
                </c:pt>
                <c:pt idx="5355">
                  <c:v>1</c:v>
                </c:pt>
                <c:pt idx="5356">
                  <c:v>4</c:v>
                </c:pt>
                <c:pt idx="5357">
                  <c:v>0</c:v>
                </c:pt>
                <c:pt idx="5358">
                  <c:v>0</c:v>
                </c:pt>
                <c:pt idx="5359">
                  <c:v>0</c:v>
                </c:pt>
                <c:pt idx="5360">
                  <c:v>3</c:v>
                </c:pt>
                <c:pt idx="5361">
                  <c:v>0</c:v>
                </c:pt>
                <c:pt idx="5362">
                  <c:v>0</c:v>
                </c:pt>
                <c:pt idx="5363">
                  <c:v>2</c:v>
                </c:pt>
                <c:pt idx="5364">
                  <c:v>3</c:v>
                </c:pt>
                <c:pt idx="5365">
                  <c:v>0</c:v>
                </c:pt>
                <c:pt idx="5366">
                  <c:v>1</c:v>
                </c:pt>
                <c:pt idx="5367">
                  <c:v>9</c:v>
                </c:pt>
                <c:pt idx="5368">
                  <c:v>3</c:v>
                </c:pt>
                <c:pt idx="5369">
                  <c:v>6</c:v>
                </c:pt>
                <c:pt idx="5370">
                  <c:v>8</c:v>
                </c:pt>
                <c:pt idx="5371">
                  <c:v>0</c:v>
                </c:pt>
                <c:pt idx="5372">
                  <c:v>0</c:v>
                </c:pt>
                <c:pt idx="5373">
                  <c:v>5</c:v>
                </c:pt>
                <c:pt idx="5374">
                  <c:v>0</c:v>
                </c:pt>
                <c:pt idx="5375">
                  <c:v>0</c:v>
                </c:pt>
                <c:pt idx="5376">
                  <c:v>3</c:v>
                </c:pt>
                <c:pt idx="5377">
                  <c:v>0</c:v>
                </c:pt>
                <c:pt idx="5378">
                  <c:v>5</c:v>
                </c:pt>
                <c:pt idx="5379">
                  <c:v>1</c:v>
                </c:pt>
                <c:pt idx="5380">
                  <c:v>21</c:v>
                </c:pt>
                <c:pt idx="5381">
                  <c:v>0</c:v>
                </c:pt>
                <c:pt idx="5382">
                  <c:v>0</c:v>
                </c:pt>
                <c:pt idx="5383">
                  <c:v>1</c:v>
                </c:pt>
                <c:pt idx="5384">
                  <c:v>3</c:v>
                </c:pt>
                <c:pt idx="5385">
                  <c:v>0</c:v>
                </c:pt>
                <c:pt idx="5386">
                  <c:v>0</c:v>
                </c:pt>
                <c:pt idx="5387">
                  <c:v>5</c:v>
                </c:pt>
                <c:pt idx="5388">
                  <c:v>0</c:v>
                </c:pt>
                <c:pt idx="5389">
                  <c:v>7</c:v>
                </c:pt>
                <c:pt idx="5390">
                  <c:v>0</c:v>
                </c:pt>
                <c:pt idx="5391">
                  <c:v>0</c:v>
                </c:pt>
                <c:pt idx="5392">
                  <c:v>4</c:v>
                </c:pt>
                <c:pt idx="5393">
                  <c:v>0</c:v>
                </c:pt>
                <c:pt idx="5394">
                  <c:v>0</c:v>
                </c:pt>
                <c:pt idx="5395">
                  <c:v>0</c:v>
                </c:pt>
                <c:pt idx="5396">
                  <c:v>0</c:v>
                </c:pt>
                <c:pt idx="5397">
                  <c:v>0</c:v>
                </c:pt>
                <c:pt idx="5398">
                  <c:v>24</c:v>
                </c:pt>
                <c:pt idx="5399">
                  <c:v>0</c:v>
                </c:pt>
                <c:pt idx="5400">
                  <c:v>2</c:v>
                </c:pt>
                <c:pt idx="5401">
                  <c:v>2</c:v>
                </c:pt>
                <c:pt idx="5402">
                  <c:v>1</c:v>
                </c:pt>
                <c:pt idx="5403">
                  <c:v>9</c:v>
                </c:pt>
                <c:pt idx="5404">
                  <c:v>1</c:v>
                </c:pt>
                <c:pt idx="5405">
                  <c:v>28</c:v>
                </c:pt>
                <c:pt idx="5406">
                  <c:v>8</c:v>
                </c:pt>
                <c:pt idx="5407">
                  <c:v>0</c:v>
                </c:pt>
                <c:pt idx="5408">
                  <c:v>1</c:v>
                </c:pt>
                <c:pt idx="5409">
                  <c:v>0</c:v>
                </c:pt>
                <c:pt idx="5410">
                  <c:v>6</c:v>
                </c:pt>
                <c:pt idx="5411">
                  <c:v>5</c:v>
                </c:pt>
                <c:pt idx="5412">
                  <c:v>3</c:v>
                </c:pt>
                <c:pt idx="5413">
                  <c:v>0</c:v>
                </c:pt>
                <c:pt idx="5414">
                  <c:v>0</c:v>
                </c:pt>
                <c:pt idx="5415">
                  <c:v>1</c:v>
                </c:pt>
                <c:pt idx="5416">
                  <c:v>3</c:v>
                </c:pt>
                <c:pt idx="5417">
                  <c:v>1</c:v>
                </c:pt>
                <c:pt idx="5418">
                  <c:v>0</c:v>
                </c:pt>
                <c:pt idx="5419">
                  <c:v>3</c:v>
                </c:pt>
                <c:pt idx="5420">
                  <c:v>1</c:v>
                </c:pt>
                <c:pt idx="5421">
                  <c:v>1</c:v>
                </c:pt>
                <c:pt idx="5422">
                  <c:v>0</c:v>
                </c:pt>
                <c:pt idx="5423">
                  <c:v>8</c:v>
                </c:pt>
                <c:pt idx="5424">
                  <c:v>2</c:v>
                </c:pt>
                <c:pt idx="5425">
                  <c:v>2</c:v>
                </c:pt>
                <c:pt idx="5426">
                  <c:v>0</c:v>
                </c:pt>
                <c:pt idx="5427">
                  <c:v>1</c:v>
                </c:pt>
                <c:pt idx="5428">
                  <c:v>4</c:v>
                </c:pt>
                <c:pt idx="5429">
                  <c:v>3</c:v>
                </c:pt>
                <c:pt idx="5430">
                  <c:v>12</c:v>
                </c:pt>
                <c:pt idx="5431">
                  <c:v>0</c:v>
                </c:pt>
                <c:pt idx="5432">
                  <c:v>0</c:v>
                </c:pt>
                <c:pt idx="5433">
                  <c:v>0</c:v>
                </c:pt>
                <c:pt idx="5434">
                  <c:v>0</c:v>
                </c:pt>
                <c:pt idx="5435">
                  <c:v>2</c:v>
                </c:pt>
                <c:pt idx="5436">
                  <c:v>1</c:v>
                </c:pt>
                <c:pt idx="5437">
                  <c:v>0</c:v>
                </c:pt>
                <c:pt idx="5438">
                  <c:v>1</c:v>
                </c:pt>
                <c:pt idx="5439">
                  <c:v>3</c:v>
                </c:pt>
                <c:pt idx="5440">
                  <c:v>0</c:v>
                </c:pt>
                <c:pt idx="5441">
                  <c:v>2</c:v>
                </c:pt>
                <c:pt idx="5442">
                  <c:v>4</c:v>
                </c:pt>
                <c:pt idx="5443">
                  <c:v>2</c:v>
                </c:pt>
                <c:pt idx="5444">
                  <c:v>0</c:v>
                </c:pt>
                <c:pt idx="5445">
                  <c:v>1</c:v>
                </c:pt>
                <c:pt idx="5446">
                  <c:v>1</c:v>
                </c:pt>
                <c:pt idx="5447">
                  <c:v>6</c:v>
                </c:pt>
                <c:pt idx="5448">
                  <c:v>0</c:v>
                </c:pt>
                <c:pt idx="5449">
                  <c:v>0</c:v>
                </c:pt>
                <c:pt idx="5450">
                  <c:v>0</c:v>
                </c:pt>
                <c:pt idx="5451">
                  <c:v>0</c:v>
                </c:pt>
                <c:pt idx="5452">
                  <c:v>1</c:v>
                </c:pt>
                <c:pt idx="5453">
                  <c:v>1</c:v>
                </c:pt>
                <c:pt idx="5454">
                  <c:v>4</c:v>
                </c:pt>
                <c:pt idx="5455">
                  <c:v>5</c:v>
                </c:pt>
                <c:pt idx="5456">
                  <c:v>1</c:v>
                </c:pt>
                <c:pt idx="5457">
                  <c:v>0</c:v>
                </c:pt>
                <c:pt idx="5458">
                  <c:v>1</c:v>
                </c:pt>
                <c:pt idx="5459">
                  <c:v>10</c:v>
                </c:pt>
                <c:pt idx="5460">
                  <c:v>3</c:v>
                </c:pt>
                <c:pt idx="5461">
                  <c:v>5</c:v>
                </c:pt>
                <c:pt idx="5462">
                  <c:v>3</c:v>
                </c:pt>
                <c:pt idx="5463">
                  <c:v>0</c:v>
                </c:pt>
                <c:pt idx="5464">
                  <c:v>0</c:v>
                </c:pt>
                <c:pt idx="5465">
                  <c:v>3</c:v>
                </c:pt>
                <c:pt idx="5466">
                  <c:v>0</c:v>
                </c:pt>
                <c:pt idx="5467">
                  <c:v>5</c:v>
                </c:pt>
                <c:pt idx="5468">
                  <c:v>0</c:v>
                </c:pt>
                <c:pt idx="5469">
                  <c:v>0</c:v>
                </c:pt>
                <c:pt idx="5470">
                  <c:v>4</c:v>
                </c:pt>
                <c:pt idx="5471">
                  <c:v>0</c:v>
                </c:pt>
                <c:pt idx="5472">
                  <c:v>0</c:v>
                </c:pt>
                <c:pt idx="5473">
                  <c:v>4</c:v>
                </c:pt>
                <c:pt idx="5474">
                  <c:v>2</c:v>
                </c:pt>
                <c:pt idx="5475">
                  <c:v>0</c:v>
                </c:pt>
                <c:pt idx="5476">
                  <c:v>1</c:v>
                </c:pt>
                <c:pt idx="5477">
                  <c:v>2</c:v>
                </c:pt>
                <c:pt idx="5478">
                  <c:v>2</c:v>
                </c:pt>
                <c:pt idx="5479">
                  <c:v>0</c:v>
                </c:pt>
                <c:pt idx="5480">
                  <c:v>3</c:v>
                </c:pt>
                <c:pt idx="5481">
                  <c:v>3</c:v>
                </c:pt>
                <c:pt idx="5482">
                  <c:v>7</c:v>
                </c:pt>
                <c:pt idx="5483">
                  <c:v>0</c:v>
                </c:pt>
                <c:pt idx="5484">
                  <c:v>0</c:v>
                </c:pt>
                <c:pt idx="5485">
                  <c:v>1</c:v>
                </c:pt>
                <c:pt idx="5486">
                  <c:v>0</c:v>
                </c:pt>
                <c:pt idx="5487">
                  <c:v>1</c:v>
                </c:pt>
                <c:pt idx="5488">
                  <c:v>4</c:v>
                </c:pt>
                <c:pt idx="5489">
                  <c:v>0</c:v>
                </c:pt>
                <c:pt idx="5490">
                  <c:v>1</c:v>
                </c:pt>
                <c:pt idx="5491">
                  <c:v>0</c:v>
                </c:pt>
                <c:pt idx="5492">
                  <c:v>1</c:v>
                </c:pt>
                <c:pt idx="5493">
                  <c:v>2</c:v>
                </c:pt>
                <c:pt idx="5494">
                  <c:v>0</c:v>
                </c:pt>
                <c:pt idx="5495">
                  <c:v>0</c:v>
                </c:pt>
                <c:pt idx="5496">
                  <c:v>0</c:v>
                </c:pt>
                <c:pt idx="5497">
                  <c:v>0</c:v>
                </c:pt>
                <c:pt idx="5498">
                  <c:v>3</c:v>
                </c:pt>
                <c:pt idx="5499">
                  <c:v>0</c:v>
                </c:pt>
                <c:pt idx="5500">
                  <c:v>0</c:v>
                </c:pt>
                <c:pt idx="5501">
                  <c:v>2</c:v>
                </c:pt>
                <c:pt idx="5502">
                  <c:v>5</c:v>
                </c:pt>
                <c:pt idx="5503">
                  <c:v>2</c:v>
                </c:pt>
                <c:pt idx="5504">
                  <c:v>5</c:v>
                </c:pt>
                <c:pt idx="5505">
                  <c:v>1</c:v>
                </c:pt>
                <c:pt idx="5506">
                  <c:v>3</c:v>
                </c:pt>
                <c:pt idx="5507">
                  <c:v>0</c:v>
                </c:pt>
                <c:pt idx="5508">
                  <c:v>1</c:v>
                </c:pt>
                <c:pt idx="5509">
                  <c:v>1</c:v>
                </c:pt>
                <c:pt idx="5510">
                  <c:v>3</c:v>
                </c:pt>
                <c:pt idx="5511">
                  <c:v>0</c:v>
                </c:pt>
                <c:pt idx="5512">
                  <c:v>0</c:v>
                </c:pt>
                <c:pt idx="5513">
                  <c:v>1</c:v>
                </c:pt>
                <c:pt idx="5514">
                  <c:v>2</c:v>
                </c:pt>
                <c:pt idx="5515">
                  <c:v>0</c:v>
                </c:pt>
                <c:pt idx="5516">
                  <c:v>0</c:v>
                </c:pt>
                <c:pt idx="5517">
                  <c:v>1</c:v>
                </c:pt>
                <c:pt idx="5518">
                  <c:v>1</c:v>
                </c:pt>
                <c:pt idx="5519">
                  <c:v>0</c:v>
                </c:pt>
                <c:pt idx="5520">
                  <c:v>14</c:v>
                </c:pt>
                <c:pt idx="5521">
                  <c:v>0</c:v>
                </c:pt>
                <c:pt idx="5522">
                  <c:v>2</c:v>
                </c:pt>
                <c:pt idx="5523">
                  <c:v>0</c:v>
                </c:pt>
                <c:pt idx="5524">
                  <c:v>4</c:v>
                </c:pt>
                <c:pt idx="5525">
                  <c:v>17</c:v>
                </c:pt>
                <c:pt idx="5526">
                  <c:v>0</c:v>
                </c:pt>
                <c:pt idx="5527">
                  <c:v>0</c:v>
                </c:pt>
                <c:pt idx="5528">
                  <c:v>0</c:v>
                </c:pt>
                <c:pt idx="5529">
                  <c:v>3</c:v>
                </c:pt>
                <c:pt idx="5530">
                  <c:v>1</c:v>
                </c:pt>
                <c:pt idx="5531">
                  <c:v>0</c:v>
                </c:pt>
                <c:pt idx="5532">
                  <c:v>0</c:v>
                </c:pt>
                <c:pt idx="5533">
                  <c:v>0</c:v>
                </c:pt>
                <c:pt idx="5534">
                  <c:v>5</c:v>
                </c:pt>
                <c:pt idx="5535">
                  <c:v>2</c:v>
                </c:pt>
                <c:pt idx="5536">
                  <c:v>0</c:v>
                </c:pt>
                <c:pt idx="5537">
                  <c:v>8</c:v>
                </c:pt>
                <c:pt idx="5538">
                  <c:v>0</c:v>
                </c:pt>
                <c:pt idx="5539">
                  <c:v>0</c:v>
                </c:pt>
                <c:pt idx="5540">
                  <c:v>0</c:v>
                </c:pt>
                <c:pt idx="5541">
                  <c:v>4</c:v>
                </c:pt>
                <c:pt idx="5542">
                  <c:v>0</c:v>
                </c:pt>
                <c:pt idx="5543">
                  <c:v>0</c:v>
                </c:pt>
                <c:pt idx="5544">
                  <c:v>0</c:v>
                </c:pt>
                <c:pt idx="5545">
                  <c:v>0</c:v>
                </c:pt>
                <c:pt idx="5546">
                  <c:v>0</c:v>
                </c:pt>
                <c:pt idx="5547">
                  <c:v>0</c:v>
                </c:pt>
                <c:pt idx="5548">
                  <c:v>0</c:v>
                </c:pt>
                <c:pt idx="5549">
                  <c:v>0</c:v>
                </c:pt>
                <c:pt idx="5550">
                  <c:v>0</c:v>
                </c:pt>
                <c:pt idx="5551">
                  <c:v>3</c:v>
                </c:pt>
                <c:pt idx="5552">
                  <c:v>0</c:v>
                </c:pt>
                <c:pt idx="5553">
                  <c:v>0</c:v>
                </c:pt>
                <c:pt idx="5554">
                  <c:v>0</c:v>
                </c:pt>
                <c:pt idx="5555">
                  <c:v>0</c:v>
                </c:pt>
                <c:pt idx="5556">
                  <c:v>0</c:v>
                </c:pt>
                <c:pt idx="5557">
                  <c:v>0</c:v>
                </c:pt>
                <c:pt idx="5558">
                  <c:v>0</c:v>
                </c:pt>
                <c:pt idx="5559">
                  <c:v>0</c:v>
                </c:pt>
                <c:pt idx="5560">
                  <c:v>0</c:v>
                </c:pt>
                <c:pt idx="5561">
                  <c:v>0</c:v>
                </c:pt>
                <c:pt idx="5562">
                  <c:v>1</c:v>
                </c:pt>
                <c:pt idx="5563">
                  <c:v>0</c:v>
                </c:pt>
                <c:pt idx="5564">
                  <c:v>0</c:v>
                </c:pt>
                <c:pt idx="5565">
                  <c:v>0</c:v>
                </c:pt>
                <c:pt idx="5566">
                  <c:v>0</c:v>
                </c:pt>
                <c:pt idx="5567">
                  <c:v>0</c:v>
                </c:pt>
                <c:pt idx="5568">
                  <c:v>0</c:v>
                </c:pt>
                <c:pt idx="5569">
                  <c:v>0</c:v>
                </c:pt>
                <c:pt idx="5570">
                  <c:v>2</c:v>
                </c:pt>
                <c:pt idx="5571">
                  <c:v>0</c:v>
                </c:pt>
                <c:pt idx="5572">
                  <c:v>0</c:v>
                </c:pt>
                <c:pt idx="5573">
                  <c:v>2</c:v>
                </c:pt>
                <c:pt idx="5574">
                  <c:v>0</c:v>
                </c:pt>
                <c:pt idx="5575">
                  <c:v>0</c:v>
                </c:pt>
                <c:pt idx="5576">
                  <c:v>0</c:v>
                </c:pt>
                <c:pt idx="5577">
                  <c:v>0</c:v>
                </c:pt>
                <c:pt idx="5578">
                  <c:v>0</c:v>
                </c:pt>
                <c:pt idx="5579">
                  <c:v>0</c:v>
                </c:pt>
                <c:pt idx="5580">
                  <c:v>0</c:v>
                </c:pt>
                <c:pt idx="5581">
                  <c:v>1</c:v>
                </c:pt>
                <c:pt idx="5582">
                  <c:v>7</c:v>
                </c:pt>
                <c:pt idx="5583">
                  <c:v>0</c:v>
                </c:pt>
                <c:pt idx="5584">
                  <c:v>1</c:v>
                </c:pt>
                <c:pt idx="5585">
                  <c:v>0</c:v>
                </c:pt>
                <c:pt idx="5586">
                  <c:v>0</c:v>
                </c:pt>
                <c:pt idx="5587">
                  <c:v>0</c:v>
                </c:pt>
                <c:pt idx="5588">
                  <c:v>0</c:v>
                </c:pt>
                <c:pt idx="5589">
                  <c:v>0</c:v>
                </c:pt>
                <c:pt idx="5590">
                  <c:v>1</c:v>
                </c:pt>
                <c:pt idx="5591">
                  <c:v>0</c:v>
                </c:pt>
                <c:pt idx="5592">
                  <c:v>0</c:v>
                </c:pt>
                <c:pt idx="5593">
                  <c:v>0</c:v>
                </c:pt>
                <c:pt idx="5594">
                  <c:v>0</c:v>
                </c:pt>
                <c:pt idx="5595">
                  <c:v>0</c:v>
                </c:pt>
                <c:pt idx="5596">
                  <c:v>0</c:v>
                </c:pt>
                <c:pt idx="5597">
                  <c:v>0</c:v>
                </c:pt>
                <c:pt idx="5598">
                  <c:v>2</c:v>
                </c:pt>
                <c:pt idx="5599">
                  <c:v>0</c:v>
                </c:pt>
                <c:pt idx="5600">
                  <c:v>0</c:v>
                </c:pt>
                <c:pt idx="5601">
                  <c:v>0</c:v>
                </c:pt>
                <c:pt idx="5602">
                  <c:v>0</c:v>
                </c:pt>
                <c:pt idx="5603">
                  <c:v>0</c:v>
                </c:pt>
                <c:pt idx="5604">
                  <c:v>0</c:v>
                </c:pt>
                <c:pt idx="5605">
                  <c:v>0</c:v>
                </c:pt>
                <c:pt idx="5606">
                  <c:v>0</c:v>
                </c:pt>
                <c:pt idx="5607">
                  <c:v>0</c:v>
                </c:pt>
                <c:pt idx="5608">
                  <c:v>1</c:v>
                </c:pt>
                <c:pt idx="5609">
                  <c:v>0</c:v>
                </c:pt>
                <c:pt idx="5610">
                  <c:v>0</c:v>
                </c:pt>
                <c:pt idx="5611">
                  <c:v>1</c:v>
                </c:pt>
                <c:pt idx="5612">
                  <c:v>2</c:v>
                </c:pt>
                <c:pt idx="5613">
                  <c:v>6</c:v>
                </c:pt>
                <c:pt idx="5614">
                  <c:v>0</c:v>
                </c:pt>
                <c:pt idx="5615">
                  <c:v>1</c:v>
                </c:pt>
                <c:pt idx="5616">
                  <c:v>0</c:v>
                </c:pt>
                <c:pt idx="5617">
                  <c:v>0</c:v>
                </c:pt>
                <c:pt idx="5618">
                  <c:v>0</c:v>
                </c:pt>
                <c:pt idx="5619">
                  <c:v>0</c:v>
                </c:pt>
                <c:pt idx="5620">
                  <c:v>0</c:v>
                </c:pt>
                <c:pt idx="5621">
                  <c:v>0</c:v>
                </c:pt>
                <c:pt idx="5622">
                  <c:v>0</c:v>
                </c:pt>
                <c:pt idx="5623">
                  <c:v>0</c:v>
                </c:pt>
                <c:pt idx="5624">
                  <c:v>0</c:v>
                </c:pt>
                <c:pt idx="5625">
                  <c:v>0</c:v>
                </c:pt>
                <c:pt idx="5626">
                  <c:v>2</c:v>
                </c:pt>
                <c:pt idx="5627">
                  <c:v>0</c:v>
                </c:pt>
                <c:pt idx="5628">
                  <c:v>1</c:v>
                </c:pt>
                <c:pt idx="5629">
                  <c:v>1</c:v>
                </c:pt>
                <c:pt idx="5630">
                  <c:v>0</c:v>
                </c:pt>
                <c:pt idx="5631">
                  <c:v>0</c:v>
                </c:pt>
                <c:pt idx="5632">
                  <c:v>0</c:v>
                </c:pt>
                <c:pt idx="5633">
                  <c:v>4</c:v>
                </c:pt>
                <c:pt idx="5634">
                  <c:v>3</c:v>
                </c:pt>
                <c:pt idx="5635">
                  <c:v>0</c:v>
                </c:pt>
                <c:pt idx="5636">
                  <c:v>0</c:v>
                </c:pt>
                <c:pt idx="5637">
                  <c:v>3</c:v>
                </c:pt>
                <c:pt idx="5638">
                  <c:v>0</c:v>
                </c:pt>
                <c:pt idx="5639">
                  <c:v>1</c:v>
                </c:pt>
                <c:pt idx="5640">
                  <c:v>0</c:v>
                </c:pt>
                <c:pt idx="5641">
                  <c:v>0</c:v>
                </c:pt>
                <c:pt idx="5642">
                  <c:v>0</c:v>
                </c:pt>
                <c:pt idx="5643">
                  <c:v>0</c:v>
                </c:pt>
                <c:pt idx="5644">
                  <c:v>0</c:v>
                </c:pt>
                <c:pt idx="5645">
                  <c:v>0</c:v>
                </c:pt>
                <c:pt idx="5646">
                  <c:v>0</c:v>
                </c:pt>
                <c:pt idx="5647">
                  <c:v>2</c:v>
                </c:pt>
                <c:pt idx="5648">
                  <c:v>0</c:v>
                </c:pt>
                <c:pt idx="5649">
                  <c:v>1</c:v>
                </c:pt>
                <c:pt idx="5650">
                  <c:v>0</c:v>
                </c:pt>
                <c:pt idx="5651">
                  <c:v>0</c:v>
                </c:pt>
                <c:pt idx="5652">
                  <c:v>8</c:v>
                </c:pt>
                <c:pt idx="5653">
                  <c:v>3</c:v>
                </c:pt>
                <c:pt idx="5654">
                  <c:v>0</c:v>
                </c:pt>
                <c:pt idx="5655">
                  <c:v>0</c:v>
                </c:pt>
                <c:pt idx="5656">
                  <c:v>0</c:v>
                </c:pt>
                <c:pt idx="5657">
                  <c:v>5</c:v>
                </c:pt>
                <c:pt idx="5658">
                  <c:v>0</c:v>
                </c:pt>
                <c:pt idx="5659">
                  <c:v>0</c:v>
                </c:pt>
                <c:pt idx="5660">
                  <c:v>0</c:v>
                </c:pt>
                <c:pt idx="5661">
                  <c:v>0</c:v>
                </c:pt>
                <c:pt idx="5662">
                  <c:v>4</c:v>
                </c:pt>
                <c:pt idx="5663">
                  <c:v>2</c:v>
                </c:pt>
                <c:pt idx="5664">
                  <c:v>0</c:v>
                </c:pt>
                <c:pt idx="5665">
                  <c:v>0</c:v>
                </c:pt>
                <c:pt idx="5666">
                  <c:v>0</c:v>
                </c:pt>
                <c:pt idx="5667">
                  <c:v>0</c:v>
                </c:pt>
                <c:pt idx="5668">
                  <c:v>0</c:v>
                </c:pt>
                <c:pt idx="5669">
                  <c:v>0</c:v>
                </c:pt>
                <c:pt idx="5670">
                  <c:v>0</c:v>
                </c:pt>
                <c:pt idx="5671">
                  <c:v>4</c:v>
                </c:pt>
                <c:pt idx="5672">
                  <c:v>0</c:v>
                </c:pt>
                <c:pt idx="5673">
                  <c:v>0</c:v>
                </c:pt>
                <c:pt idx="5674">
                  <c:v>0</c:v>
                </c:pt>
                <c:pt idx="5675">
                  <c:v>0</c:v>
                </c:pt>
                <c:pt idx="5676">
                  <c:v>0</c:v>
                </c:pt>
                <c:pt idx="5677">
                  <c:v>8</c:v>
                </c:pt>
                <c:pt idx="5678">
                  <c:v>0</c:v>
                </c:pt>
                <c:pt idx="5679">
                  <c:v>1</c:v>
                </c:pt>
                <c:pt idx="5680">
                  <c:v>18</c:v>
                </c:pt>
                <c:pt idx="5681">
                  <c:v>0</c:v>
                </c:pt>
                <c:pt idx="5682">
                  <c:v>0</c:v>
                </c:pt>
                <c:pt idx="5683">
                  <c:v>0</c:v>
                </c:pt>
                <c:pt idx="5684">
                  <c:v>0</c:v>
                </c:pt>
                <c:pt idx="5685">
                  <c:v>0</c:v>
                </c:pt>
                <c:pt idx="5686">
                  <c:v>0</c:v>
                </c:pt>
                <c:pt idx="5687">
                  <c:v>0</c:v>
                </c:pt>
                <c:pt idx="5688">
                  <c:v>0</c:v>
                </c:pt>
                <c:pt idx="5689">
                  <c:v>0</c:v>
                </c:pt>
                <c:pt idx="5690">
                  <c:v>0</c:v>
                </c:pt>
                <c:pt idx="5691">
                  <c:v>1</c:v>
                </c:pt>
                <c:pt idx="5692">
                  <c:v>3</c:v>
                </c:pt>
                <c:pt idx="5693">
                  <c:v>1</c:v>
                </c:pt>
                <c:pt idx="5694">
                  <c:v>3</c:v>
                </c:pt>
                <c:pt idx="5695">
                  <c:v>2</c:v>
                </c:pt>
                <c:pt idx="5696">
                  <c:v>0</c:v>
                </c:pt>
                <c:pt idx="5697">
                  <c:v>0</c:v>
                </c:pt>
                <c:pt idx="5698">
                  <c:v>2</c:v>
                </c:pt>
                <c:pt idx="5699">
                  <c:v>1</c:v>
                </c:pt>
                <c:pt idx="5700">
                  <c:v>0</c:v>
                </c:pt>
                <c:pt idx="5701">
                  <c:v>1</c:v>
                </c:pt>
                <c:pt idx="5702">
                  <c:v>0</c:v>
                </c:pt>
                <c:pt idx="5703">
                  <c:v>1</c:v>
                </c:pt>
                <c:pt idx="5704">
                  <c:v>0</c:v>
                </c:pt>
                <c:pt idx="5705">
                  <c:v>0</c:v>
                </c:pt>
                <c:pt idx="5706">
                  <c:v>0</c:v>
                </c:pt>
                <c:pt idx="5707">
                  <c:v>1</c:v>
                </c:pt>
                <c:pt idx="5708">
                  <c:v>0</c:v>
                </c:pt>
                <c:pt idx="5709">
                  <c:v>0</c:v>
                </c:pt>
                <c:pt idx="5710">
                  <c:v>0</c:v>
                </c:pt>
                <c:pt idx="5711">
                  <c:v>1</c:v>
                </c:pt>
                <c:pt idx="5712">
                  <c:v>3</c:v>
                </c:pt>
                <c:pt idx="5713">
                  <c:v>0</c:v>
                </c:pt>
                <c:pt idx="5714">
                  <c:v>0</c:v>
                </c:pt>
                <c:pt idx="5715">
                  <c:v>3</c:v>
                </c:pt>
                <c:pt idx="5716">
                  <c:v>8</c:v>
                </c:pt>
                <c:pt idx="5717">
                  <c:v>3</c:v>
                </c:pt>
                <c:pt idx="5718">
                  <c:v>45</c:v>
                </c:pt>
                <c:pt idx="5719">
                  <c:v>0</c:v>
                </c:pt>
                <c:pt idx="5720">
                  <c:v>0</c:v>
                </c:pt>
                <c:pt idx="5721">
                  <c:v>0</c:v>
                </c:pt>
                <c:pt idx="5722">
                  <c:v>1</c:v>
                </c:pt>
                <c:pt idx="5723">
                  <c:v>1</c:v>
                </c:pt>
                <c:pt idx="5724">
                  <c:v>0</c:v>
                </c:pt>
                <c:pt idx="5725">
                  <c:v>3</c:v>
                </c:pt>
                <c:pt idx="5726">
                  <c:v>0</c:v>
                </c:pt>
                <c:pt idx="5727">
                  <c:v>1</c:v>
                </c:pt>
                <c:pt idx="5728">
                  <c:v>11</c:v>
                </c:pt>
                <c:pt idx="5729">
                  <c:v>0</c:v>
                </c:pt>
                <c:pt idx="5730">
                  <c:v>5</c:v>
                </c:pt>
                <c:pt idx="5731">
                  <c:v>0</c:v>
                </c:pt>
                <c:pt idx="5732">
                  <c:v>0</c:v>
                </c:pt>
                <c:pt idx="5733">
                  <c:v>0</c:v>
                </c:pt>
                <c:pt idx="5734">
                  <c:v>0</c:v>
                </c:pt>
                <c:pt idx="5735">
                  <c:v>0</c:v>
                </c:pt>
                <c:pt idx="5736">
                  <c:v>0</c:v>
                </c:pt>
                <c:pt idx="5737">
                  <c:v>0</c:v>
                </c:pt>
                <c:pt idx="5738">
                  <c:v>3</c:v>
                </c:pt>
                <c:pt idx="5739">
                  <c:v>0</c:v>
                </c:pt>
                <c:pt idx="5740">
                  <c:v>0</c:v>
                </c:pt>
                <c:pt idx="5741">
                  <c:v>1</c:v>
                </c:pt>
                <c:pt idx="5742">
                  <c:v>0</c:v>
                </c:pt>
                <c:pt idx="5743">
                  <c:v>0</c:v>
                </c:pt>
                <c:pt idx="5744">
                  <c:v>0</c:v>
                </c:pt>
                <c:pt idx="5745">
                  <c:v>0</c:v>
                </c:pt>
                <c:pt idx="5746">
                  <c:v>0</c:v>
                </c:pt>
                <c:pt idx="5747">
                  <c:v>0</c:v>
                </c:pt>
                <c:pt idx="5748">
                  <c:v>0</c:v>
                </c:pt>
                <c:pt idx="5749">
                  <c:v>0</c:v>
                </c:pt>
                <c:pt idx="5750">
                  <c:v>0</c:v>
                </c:pt>
                <c:pt idx="5751">
                  <c:v>1</c:v>
                </c:pt>
                <c:pt idx="5752">
                  <c:v>0</c:v>
                </c:pt>
                <c:pt idx="5753">
                  <c:v>1</c:v>
                </c:pt>
                <c:pt idx="5754">
                  <c:v>0</c:v>
                </c:pt>
                <c:pt idx="5755">
                  <c:v>0</c:v>
                </c:pt>
                <c:pt idx="5756">
                  <c:v>0</c:v>
                </c:pt>
                <c:pt idx="5757">
                  <c:v>0</c:v>
                </c:pt>
                <c:pt idx="5758">
                  <c:v>0</c:v>
                </c:pt>
                <c:pt idx="5759">
                  <c:v>0</c:v>
                </c:pt>
                <c:pt idx="5760">
                  <c:v>0</c:v>
                </c:pt>
                <c:pt idx="5761">
                  <c:v>0</c:v>
                </c:pt>
                <c:pt idx="5762">
                  <c:v>0</c:v>
                </c:pt>
                <c:pt idx="5763">
                  <c:v>0</c:v>
                </c:pt>
                <c:pt idx="5764">
                  <c:v>1</c:v>
                </c:pt>
                <c:pt idx="5765">
                  <c:v>0</c:v>
                </c:pt>
                <c:pt idx="5766">
                  <c:v>1</c:v>
                </c:pt>
                <c:pt idx="5767">
                  <c:v>0</c:v>
                </c:pt>
                <c:pt idx="5768">
                  <c:v>0</c:v>
                </c:pt>
                <c:pt idx="5769">
                  <c:v>1</c:v>
                </c:pt>
                <c:pt idx="5770">
                  <c:v>0</c:v>
                </c:pt>
                <c:pt idx="5771">
                  <c:v>1</c:v>
                </c:pt>
                <c:pt idx="5772">
                  <c:v>0</c:v>
                </c:pt>
                <c:pt idx="5773">
                  <c:v>0</c:v>
                </c:pt>
                <c:pt idx="5774">
                  <c:v>0</c:v>
                </c:pt>
                <c:pt idx="5775">
                  <c:v>2</c:v>
                </c:pt>
                <c:pt idx="5776">
                  <c:v>1</c:v>
                </c:pt>
                <c:pt idx="5777">
                  <c:v>4</c:v>
                </c:pt>
                <c:pt idx="5778">
                  <c:v>0</c:v>
                </c:pt>
                <c:pt idx="5779">
                  <c:v>0</c:v>
                </c:pt>
                <c:pt idx="5780">
                  <c:v>9</c:v>
                </c:pt>
                <c:pt idx="5781">
                  <c:v>71</c:v>
                </c:pt>
                <c:pt idx="5782">
                  <c:v>1</c:v>
                </c:pt>
                <c:pt idx="5783">
                  <c:v>1</c:v>
                </c:pt>
                <c:pt idx="5784">
                  <c:v>0</c:v>
                </c:pt>
                <c:pt idx="5785">
                  <c:v>0</c:v>
                </c:pt>
                <c:pt idx="5786">
                  <c:v>1</c:v>
                </c:pt>
                <c:pt idx="5787">
                  <c:v>0</c:v>
                </c:pt>
                <c:pt idx="5788">
                  <c:v>0</c:v>
                </c:pt>
                <c:pt idx="5789">
                  <c:v>0</c:v>
                </c:pt>
                <c:pt idx="5790">
                  <c:v>31</c:v>
                </c:pt>
                <c:pt idx="5791">
                  <c:v>0</c:v>
                </c:pt>
                <c:pt idx="5792">
                  <c:v>1</c:v>
                </c:pt>
                <c:pt idx="5793">
                  <c:v>0</c:v>
                </c:pt>
                <c:pt idx="5794">
                  <c:v>0</c:v>
                </c:pt>
                <c:pt idx="5795">
                  <c:v>0</c:v>
                </c:pt>
                <c:pt idx="5796">
                  <c:v>0</c:v>
                </c:pt>
                <c:pt idx="5797">
                  <c:v>0</c:v>
                </c:pt>
                <c:pt idx="5798">
                  <c:v>1</c:v>
                </c:pt>
                <c:pt idx="5799">
                  <c:v>0</c:v>
                </c:pt>
                <c:pt idx="5800">
                  <c:v>0</c:v>
                </c:pt>
                <c:pt idx="5801">
                  <c:v>0</c:v>
                </c:pt>
                <c:pt idx="5802">
                  <c:v>3</c:v>
                </c:pt>
                <c:pt idx="5803">
                  <c:v>0</c:v>
                </c:pt>
                <c:pt idx="5804">
                  <c:v>0</c:v>
                </c:pt>
                <c:pt idx="5805">
                  <c:v>1</c:v>
                </c:pt>
                <c:pt idx="5806">
                  <c:v>1</c:v>
                </c:pt>
                <c:pt idx="5807">
                  <c:v>0</c:v>
                </c:pt>
                <c:pt idx="5808">
                  <c:v>3</c:v>
                </c:pt>
                <c:pt idx="5809">
                  <c:v>0</c:v>
                </c:pt>
                <c:pt idx="5810">
                  <c:v>2</c:v>
                </c:pt>
                <c:pt idx="5811">
                  <c:v>0</c:v>
                </c:pt>
                <c:pt idx="5812">
                  <c:v>0</c:v>
                </c:pt>
                <c:pt idx="5813">
                  <c:v>0</c:v>
                </c:pt>
                <c:pt idx="5814">
                  <c:v>0</c:v>
                </c:pt>
                <c:pt idx="5815">
                  <c:v>16</c:v>
                </c:pt>
                <c:pt idx="5816">
                  <c:v>10</c:v>
                </c:pt>
                <c:pt idx="5817">
                  <c:v>2</c:v>
                </c:pt>
                <c:pt idx="5818">
                  <c:v>0</c:v>
                </c:pt>
                <c:pt idx="5819">
                  <c:v>0</c:v>
                </c:pt>
                <c:pt idx="5820">
                  <c:v>0</c:v>
                </c:pt>
                <c:pt idx="5821">
                  <c:v>0</c:v>
                </c:pt>
                <c:pt idx="5822">
                  <c:v>1</c:v>
                </c:pt>
                <c:pt idx="5823">
                  <c:v>0</c:v>
                </c:pt>
                <c:pt idx="5824">
                  <c:v>3</c:v>
                </c:pt>
                <c:pt idx="5825">
                  <c:v>1</c:v>
                </c:pt>
                <c:pt idx="5826">
                  <c:v>0</c:v>
                </c:pt>
                <c:pt idx="5827">
                  <c:v>0</c:v>
                </c:pt>
                <c:pt idx="5828">
                  <c:v>3</c:v>
                </c:pt>
                <c:pt idx="5829">
                  <c:v>6</c:v>
                </c:pt>
                <c:pt idx="5830">
                  <c:v>0</c:v>
                </c:pt>
                <c:pt idx="5831">
                  <c:v>1</c:v>
                </c:pt>
                <c:pt idx="5832">
                  <c:v>0</c:v>
                </c:pt>
                <c:pt idx="5833">
                  <c:v>0</c:v>
                </c:pt>
                <c:pt idx="5834">
                  <c:v>0</c:v>
                </c:pt>
                <c:pt idx="5835">
                  <c:v>8</c:v>
                </c:pt>
                <c:pt idx="5836">
                  <c:v>1</c:v>
                </c:pt>
                <c:pt idx="5837">
                  <c:v>0</c:v>
                </c:pt>
                <c:pt idx="5838">
                  <c:v>0</c:v>
                </c:pt>
                <c:pt idx="5839">
                  <c:v>0</c:v>
                </c:pt>
                <c:pt idx="5840">
                  <c:v>2</c:v>
                </c:pt>
                <c:pt idx="5841">
                  <c:v>0</c:v>
                </c:pt>
                <c:pt idx="5842">
                  <c:v>1</c:v>
                </c:pt>
                <c:pt idx="5843">
                  <c:v>0</c:v>
                </c:pt>
                <c:pt idx="5844">
                  <c:v>0</c:v>
                </c:pt>
                <c:pt idx="5845">
                  <c:v>5</c:v>
                </c:pt>
                <c:pt idx="5846">
                  <c:v>1</c:v>
                </c:pt>
                <c:pt idx="5847">
                  <c:v>0</c:v>
                </c:pt>
                <c:pt idx="5848">
                  <c:v>0</c:v>
                </c:pt>
                <c:pt idx="5849">
                  <c:v>2</c:v>
                </c:pt>
                <c:pt idx="5850">
                  <c:v>2</c:v>
                </c:pt>
                <c:pt idx="5851">
                  <c:v>0</c:v>
                </c:pt>
                <c:pt idx="5852">
                  <c:v>2</c:v>
                </c:pt>
                <c:pt idx="5853">
                  <c:v>1</c:v>
                </c:pt>
                <c:pt idx="5854">
                  <c:v>0</c:v>
                </c:pt>
                <c:pt idx="5855">
                  <c:v>2</c:v>
                </c:pt>
                <c:pt idx="5856">
                  <c:v>0</c:v>
                </c:pt>
                <c:pt idx="5857">
                  <c:v>0</c:v>
                </c:pt>
                <c:pt idx="5858">
                  <c:v>0</c:v>
                </c:pt>
                <c:pt idx="5859">
                  <c:v>8</c:v>
                </c:pt>
                <c:pt idx="5860">
                  <c:v>1</c:v>
                </c:pt>
                <c:pt idx="5861">
                  <c:v>0</c:v>
                </c:pt>
                <c:pt idx="5862">
                  <c:v>15</c:v>
                </c:pt>
                <c:pt idx="5863">
                  <c:v>0</c:v>
                </c:pt>
                <c:pt idx="5864">
                  <c:v>0</c:v>
                </c:pt>
                <c:pt idx="5865">
                  <c:v>1</c:v>
                </c:pt>
                <c:pt idx="5866">
                  <c:v>1</c:v>
                </c:pt>
                <c:pt idx="5867">
                  <c:v>0</c:v>
                </c:pt>
                <c:pt idx="5868">
                  <c:v>39</c:v>
                </c:pt>
                <c:pt idx="5869">
                  <c:v>0</c:v>
                </c:pt>
                <c:pt idx="5870">
                  <c:v>4</c:v>
                </c:pt>
                <c:pt idx="5871">
                  <c:v>1</c:v>
                </c:pt>
                <c:pt idx="5872">
                  <c:v>0</c:v>
                </c:pt>
                <c:pt idx="5873">
                  <c:v>1</c:v>
                </c:pt>
                <c:pt idx="5874">
                  <c:v>1</c:v>
                </c:pt>
                <c:pt idx="5875">
                  <c:v>0</c:v>
                </c:pt>
                <c:pt idx="5876">
                  <c:v>0</c:v>
                </c:pt>
                <c:pt idx="5877">
                  <c:v>0</c:v>
                </c:pt>
                <c:pt idx="5878">
                  <c:v>0</c:v>
                </c:pt>
                <c:pt idx="5879">
                  <c:v>1</c:v>
                </c:pt>
                <c:pt idx="5880">
                  <c:v>0</c:v>
                </c:pt>
                <c:pt idx="5881">
                  <c:v>1</c:v>
                </c:pt>
                <c:pt idx="5882">
                  <c:v>2</c:v>
                </c:pt>
                <c:pt idx="5883">
                  <c:v>1</c:v>
                </c:pt>
                <c:pt idx="5884">
                  <c:v>0</c:v>
                </c:pt>
                <c:pt idx="5885">
                  <c:v>2</c:v>
                </c:pt>
                <c:pt idx="5886">
                  <c:v>0</c:v>
                </c:pt>
                <c:pt idx="5887">
                  <c:v>28</c:v>
                </c:pt>
                <c:pt idx="5888">
                  <c:v>1</c:v>
                </c:pt>
                <c:pt idx="5889">
                  <c:v>5</c:v>
                </c:pt>
                <c:pt idx="5890">
                  <c:v>1</c:v>
                </c:pt>
                <c:pt idx="5891">
                  <c:v>13</c:v>
                </c:pt>
                <c:pt idx="5892">
                  <c:v>2</c:v>
                </c:pt>
                <c:pt idx="5893">
                  <c:v>27</c:v>
                </c:pt>
                <c:pt idx="5894">
                  <c:v>0</c:v>
                </c:pt>
                <c:pt idx="5895">
                  <c:v>10</c:v>
                </c:pt>
                <c:pt idx="5896">
                  <c:v>1</c:v>
                </c:pt>
                <c:pt idx="5897">
                  <c:v>0</c:v>
                </c:pt>
                <c:pt idx="5898">
                  <c:v>1</c:v>
                </c:pt>
                <c:pt idx="5899">
                  <c:v>0</c:v>
                </c:pt>
                <c:pt idx="5900">
                  <c:v>0</c:v>
                </c:pt>
                <c:pt idx="5901">
                  <c:v>0</c:v>
                </c:pt>
                <c:pt idx="5902">
                  <c:v>1</c:v>
                </c:pt>
                <c:pt idx="5903">
                  <c:v>0</c:v>
                </c:pt>
                <c:pt idx="5904">
                  <c:v>0</c:v>
                </c:pt>
                <c:pt idx="5905">
                  <c:v>0</c:v>
                </c:pt>
                <c:pt idx="5906">
                  <c:v>0</c:v>
                </c:pt>
                <c:pt idx="5907">
                  <c:v>0</c:v>
                </c:pt>
                <c:pt idx="5908">
                  <c:v>2</c:v>
                </c:pt>
                <c:pt idx="5909">
                  <c:v>0</c:v>
                </c:pt>
                <c:pt idx="5910">
                  <c:v>0</c:v>
                </c:pt>
                <c:pt idx="5911">
                  <c:v>0</c:v>
                </c:pt>
                <c:pt idx="5912">
                  <c:v>0</c:v>
                </c:pt>
                <c:pt idx="5913">
                  <c:v>0</c:v>
                </c:pt>
                <c:pt idx="5914">
                  <c:v>0</c:v>
                </c:pt>
                <c:pt idx="5915">
                  <c:v>0</c:v>
                </c:pt>
                <c:pt idx="5916">
                  <c:v>0</c:v>
                </c:pt>
                <c:pt idx="5917">
                  <c:v>0</c:v>
                </c:pt>
                <c:pt idx="5918">
                  <c:v>0</c:v>
                </c:pt>
                <c:pt idx="5919">
                  <c:v>0</c:v>
                </c:pt>
                <c:pt idx="5920">
                  <c:v>2</c:v>
                </c:pt>
                <c:pt idx="5921">
                  <c:v>0</c:v>
                </c:pt>
                <c:pt idx="5922">
                  <c:v>0</c:v>
                </c:pt>
                <c:pt idx="5923">
                  <c:v>1</c:v>
                </c:pt>
                <c:pt idx="5924">
                  <c:v>0</c:v>
                </c:pt>
                <c:pt idx="5925">
                  <c:v>0</c:v>
                </c:pt>
                <c:pt idx="5926">
                  <c:v>0</c:v>
                </c:pt>
                <c:pt idx="5927">
                  <c:v>1</c:v>
                </c:pt>
                <c:pt idx="5928">
                  <c:v>0</c:v>
                </c:pt>
                <c:pt idx="5929">
                  <c:v>2</c:v>
                </c:pt>
                <c:pt idx="5930">
                  <c:v>0</c:v>
                </c:pt>
                <c:pt idx="5931">
                  <c:v>0</c:v>
                </c:pt>
                <c:pt idx="5932">
                  <c:v>0</c:v>
                </c:pt>
                <c:pt idx="5933">
                  <c:v>0</c:v>
                </c:pt>
                <c:pt idx="5934">
                  <c:v>0</c:v>
                </c:pt>
                <c:pt idx="5935">
                  <c:v>0</c:v>
                </c:pt>
                <c:pt idx="5936">
                  <c:v>1</c:v>
                </c:pt>
                <c:pt idx="5937">
                  <c:v>0</c:v>
                </c:pt>
                <c:pt idx="5938">
                  <c:v>0</c:v>
                </c:pt>
                <c:pt idx="5939">
                  <c:v>0</c:v>
                </c:pt>
                <c:pt idx="5940">
                  <c:v>0</c:v>
                </c:pt>
                <c:pt idx="5941">
                  <c:v>0</c:v>
                </c:pt>
                <c:pt idx="5942">
                  <c:v>0</c:v>
                </c:pt>
                <c:pt idx="5943">
                  <c:v>0</c:v>
                </c:pt>
                <c:pt idx="5944">
                  <c:v>2</c:v>
                </c:pt>
                <c:pt idx="5945">
                  <c:v>1</c:v>
                </c:pt>
                <c:pt idx="5946">
                  <c:v>0</c:v>
                </c:pt>
                <c:pt idx="5947">
                  <c:v>0</c:v>
                </c:pt>
                <c:pt idx="5948">
                  <c:v>2</c:v>
                </c:pt>
                <c:pt idx="5949">
                  <c:v>0</c:v>
                </c:pt>
                <c:pt idx="5950">
                  <c:v>0</c:v>
                </c:pt>
                <c:pt idx="5951">
                  <c:v>0</c:v>
                </c:pt>
                <c:pt idx="5952">
                  <c:v>0</c:v>
                </c:pt>
                <c:pt idx="5953">
                  <c:v>0</c:v>
                </c:pt>
                <c:pt idx="5954">
                  <c:v>0</c:v>
                </c:pt>
                <c:pt idx="5955">
                  <c:v>0</c:v>
                </c:pt>
                <c:pt idx="5956">
                  <c:v>0</c:v>
                </c:pt>
                <c:pt idx="5957">
                  <c:v>1</c:v>
                </c:pt>
                <c:pt idx="5958">
                  <c:v>0</c:v>
                </c:pt>
                <c:pt idx="5959">
                  <c:v>2</c:v>
                </c:pt>
                <c:pt idx="5960">
                  <c:v>0</c:v>
                </c:pt>
                <c:pt idx="5961">
                  <c:v>1</c:v>
                </c:pt>
                <c:pt idx="5962">
                  <c:v>0</c:v>
                </c:pt>
                <c:pt idx="5963">
                  <c:v>0</c:v>
                </c:pt>
                <c:pt idx="5964">
                  <c:v>0</c:v>
                </c:pt>
                <c:pt idx="5965">
                  <c:v>3</c:v>
                </c:pt>
                <c:pt idx="5966">
                  <c:v>0</c:v>
                </c:pt>
                <c:pt idx="5967">
                  <c:v>0</c:v>
                </c:pt>
                <c:pt idx="5968">
                  <c:v>0</c:v>
                </c:pt>
                <c:pt idx="5969">
                  <c:v>0</c:v>
                </c:pt>
                <c:pt idx="5970">
                  <c:v>0</c:v>
                </c:pt>
                <c:pt idx="5971">
                  <c:v>1</c:v>
                </c:pt>
                <c:pt idx="5972">
                  <c:v>0</c:v>
                </c:pt>
                <c:pt idx="5973">
                  <c:v>0</c:v>
                </c:pt>
                <c:pt idx="5974">
                  <c:v>0</c:v>
                </c:pt>
                <c:pt idx="5975">
                  <c:v>0</c:v>
                </c:pt>
                <c:pt idx="5976">
                  <c:v>0</c:v>
                </c:pt>
                <c:pt idx="5977">
                  <c:v>0</c:v>
                </c:pt>
                <c:pt idx="5978">
                  <c:v>0</c:v>
                </c:pt>
                <c:pt idx="5979">
                  <c:v>0</c:v>
                </c:pt>
                <c:pt idx="5980">
                  <c:v>0</c:v>
                </c:pt>
                <c:pt idx="5981">
                  <c:v>3</c:v>
                </c:pt>
                <c:pt idx="5982">
                  <c:v>0</c:v>
                </c:pt>
                <c:pt idx="5983">
                  <c:v>0</c:v>
                </c:pt>
                <c:pt idx="5984">
                  <c:v>1</c:v>
                </c:pt>
                <c:pt idx="5985">
                  <c:v>1</c:v>
                </c:pt>
                <c:pt idx="5986">
                  <c:v>4</c:v>
                </c:pt>
                <c:pt idx="5987">
                  <c:v>1</c:v>
                </c:pt>
                <c:pt idx="5988">
                  <c:v>1</c:v>
                </c:pt>
                <c:pt idx="5989">
                  <c:v>2</c:v>
                </c:pt>
                <c:pt idx="5990">
                  <c:v>0</c:v>
                </c:pt>
                <c:pt idx="5991">
                  <c:v>0</c:v>
                </c:pt>
                <c:pt idx="5992">
                  <c:v>0</c:v>
                </c:pt>
                <c:pt idx="5993">
                  <c:v>0</c:v>
                </c:pt>
                <c:pt idx="5994">
                  <c:v>0</c:v>
                </c:pt>
                <c:pt idx="5995">
                  <c:v>0</c:v>
                </c:pt>
                <c:pt idx="5996">
                  <c:v>0</c:v>
                </c:pt>
                <c:pt idx="5997">
                  <c:v>0</c:v>
                </c:pt>
                <c:pt idx="5998">
                  <c:v>1</c:v>
                </c:pt>
                <c:pt idx="5999">
                  <c:v>0</c:v>
                </c:pt>
                <c:pt idx="6000">
                  <c:v>0</c:v>
                </c:pt>
                <c:pt idx="6001">
                  <c:v>0</c:v>
                </c:pt>
                <c:pt idx="6002">
                  <c:v>0</c:v>
                </c:pt>
                <c:pt idx="6003">
                  <c:v>0</c:v>
                </c:pt>
                <c:pt idx="6004">
                  <c:v>1</c:v>
                </c:pt>
                <c:pt idx="6005">
                  <c:v>50</c:v>
                </c:pt>
                <c:pt idx="6006">
                  <c:v>2</c:v>
                </c:pt>
                <c:pt idx="6007">
                  <c:v>1</c:v>
                </c:pt>
                <c:pt idx="6008">
                  <c:v>2</c:v>
                </c:pt>
                <c:pt idx="6009">
                  <c:v>2</c:v>
                </c:pt>
                <c:pt idx="6010">
                  <c:v>2</c:v>
                </c:pt>
                <c:pt idx="6011">
                  <c:v>3</c:v>
                </c:pt>
                <c:pt idx="6012">
                  <c:v>1</c:v>
                </c:pt>
                <c:pt idx="6013">
                  <c:v>1</c:v>
                </c:pt>
                <c:pt idx="6014">
                  <c:v>1</c:v>
                </c:pt>
                <c:pt idx="6015">
                  <c:v>6</c:v>
                </c:pt>
                <c:pt idx="6016">
                  <c:v>2</c:v>
                </c:pt>
                <c:pt idx="6017">
                  <c:v>0</c:v>
                </c:pt>
                <c:pt idx="6018">
                  <c:v>3</c:v>
                </c:pt>
                <c:pt idx="6019">
                  <c:v>0</c:v>
                </c:pt>
                <c:pt idx="6020">
                  <c:v>0</c:v>
                </c:pt>
                <c:pt idx="6021">
                  <c:v>2</c:v>
                </c:pt>
                <c:pt idx="6022">
                  <c:v>0</c:v>
                </c:pt>
                <c:pt idx="6023">
                  <c:v>1</c:v>
                </c:pt>
                <c:pt idx="6024">
                  <c:v>0</c:v>
                </c:pt>
                <c:pt idx="6025">
                  <c:v>0</c:v>
                </c:pt>
                <c:pt idx="6026">
                  <c:v>0</c:v>
                </c:pt>
                <c:pt idx="6027">
                  <c:v>6</c:v>
                </c:pt>
                <c:pt idx="6028">
                  <c:v>1</c:v>
                </c:pt>
                <c:pt idx="6029">
                  <c:v>6</c:v>
                </c:pt>
                <c:pt idx="6030">
                  <c:v>0</c:v>
                </c:pt>
                <c:pt idx="6031">
                  <c:v>0</c:v>
                </c:pt>
                <c:pt idx="6032">
                  <c:v>0</c:v>
                </c:pt>
                <c:pt idx="6033">
                  <c:v>0</c:v>
                </c:pt>
                <c:pt idx="6034">
                  <c:v>2</c:v>
                </c:pt>
                <c:pt idx="6035">
                  <c:v>0</c:v>
                </c:pt>
                <c:pt idx="6036">
                  <c:v>0</c:v>
                </c:pt>
                <c:pt idx="6037">
                  <c:v>1</c:v>
                </c:pt>
                <c:pt idx="6038">
                  <c:v>0</c:v>
                </c:pt>
                <c:pt idx="6039">
                  <c:v>0</c:v>
                </c:pt>
                <c:pt idx="6040">
                  <c:v>0</c:v>
                </c:pt>
                <c:pt idx="6041">
                  <c:v>0</c:v>
                </c:pt>
                <c:pt idx="6042">
                  <c:v>0</c:v>
                </c:pt>
                <c:pt idx="6043">
                  <c:v>9</c:v>
                </c:pt>
                <c:pt idx="6044">
                  <c:v>5</c:v>
                </c:pt>
                <c:pt idx="6045">
                  <c:v>0</c:v>
                </c:pt>
                <c:pt idx="6046">
                  <c:v>16</c:v>
                </c:pt>
                <c:pt idx="6047">
                  <c:v>0</c:v>
                </c:pt>
                <c:pt idx="6048">
                  <c:v>0</c:v>
                </c:pt>
                <c:pt idx="6049">
                  <c:v>0</c:v>
                </c:pt>
                <c:pt idx="6050">
                  <c:v>0</c:v>
                </c:pt>
                <c:pt idx="6051">
                  <c:v>1</c:v>
                </c:pt>
                <c:pt idx="6052">
                  <c:v>0</c:v>
                </c:pt>
                <c:pt idx="6053">
                  <c:v>0</c:v>
                </c:pt>
                <c:pt idx="6054">
                  <c:v>0</c:v>
                </c:pt>
                <c:pt idx="6055">
                  <c:v>2</c:v>
                </c:pt>
                <c:pt idx="6056">
                  <c:v>0</c:v>
                </c:pt>
                <c:pt idx="6057">
                  <c:v>0</c:v>
                </c:pt>
                <c:pt idx="6058">
                  <c:v>2</c:v>
                </c:pt>
                <c:pt idx="6059">
                  <c:v>2</c:v>
                </c:pt>
                <c:pt idx="6060">
                  <c:v>0</c:v>
                </c:pt>
                <c:pt idx="6061">
                  <c:v>0</c:v>
                </c:pt>
                <c:pt idx="6062">
                  <c:v>0</c:v>
                </c:pt>
                <c:pt idx="6063">
                  <c:v>0</c:v>
                </c:pt>
                <c:pt idx="6064">
                  <c:v>4</c:v>
                </c:pt>
                <c:pt idx="6065">
                  <c:v>1</c:v>
                </c:pt>
                <c:pt idx="6066">
                  <c:v>0</c:v>
                </c:pt>
                <c:pt idx="6067">
                  <c:v>1</c:v>
                </c:pt>
                <c:pt idx="6068">
                  <c:v>0</c:v>
                </c:pt>
                <c:pt idx="6069">
                  <c:v>0</c:v>
                </c:pt>
                <c:pt idx="6070">
                  <c:v>0</c:v>
                </c:pt>
                <c:pt idx="6071">
                  <c:v>0</c:v>
                </c:pt>
                <c:pt idx="6072">
                  <c:v>15</c:v>
                </c:pt>
                <c:pt idx="6073">
                  <c:v>5</c:v>
                </c:pt>
                <c:pt idx="6074">
                  <c:v>100</c:v>
                </c:pt>
                <c:pt idx="6075">
                  <c:v>0</c:v>
                </c:pt>
                <c:pt idx="6076">
                  <c:v>0</c:v>
                </c:pt>
                <c:pt idx="6077">
                  <c:v>0</c:v>
                </c:pt>
                <c:pt idx="6078">
                  <c:v>0</c:v>
                </c:pt>
                <c:pt idx="6079">
                  <c:v>0</c:v>
                </c:pt>
                <c:pt idx="6080">
                  <c:v>2</c:v>
                </c:pt>
                <c:pt idx="6081">
                  <c:v>2</c:v>
                </c:pt>
                <c:pt idx="6082">
                  <c:v>0</c:v>
                </c:pt>
                <c:pt idx="6083">
                  <c:v>0</c:v>
                </c:pt>
                <c:pt idx="6084">
                  <c:v>0</c:v>
                </c:pt>
                <c:pt idx="6085">
                  <c:v>0</c:v>
                </c:pt>
                <c:pt idx="6086">
                  <c:v>7</c:v>
                </c:pt>
                <c:pt idx="6087">
                  <c:v>0</c:v>
                </c:pt>
                <c:pt idx="6088">
                  <c:v>4</c:v>
                </c:pt>
                <c:pt idx="6089">
                  <c:v>0</c:v>
                </c:pt>
                <c:pt idx="6090">
                  <c:v>4</c:v>
                </c:pt>
                <c:pt idx="6091">
                  <c:v>0</c:v>
                </c:pt>
                <c:pt idx="6092">
                  <c:v>1</c:v>
                </c:pt>
                <c:pt idx="6093">
                  <c:v>0</c:v>
                </c:pt>
                <c:pt idx="6094">
                  <c:v>0</c:v>
                </c:pt>
                <c:pt idx="6095">
                  <c:v>0</c:v>
                </c:pt>
                <c:pt idx="6096">
                  <c:v>1</c:v>
                </c:pt>
                <c:pt idx="6097">
                  <c:v>21</c:v>
                </c:pt>
                <c:pt idx="6098">
                  <c:v>0</c:v>
                </c:pt>
                <c:pt idx="6099">
                  <c:v>0</c:v>
                </c:pt>
                <c:pt idx="6100">
                  <c:v>0</c:v>
                </c:pt>
                <c:pt idx="6101">
                  <c:v>0</c:v>
                </c:pt>
                <c:pt idx="6102">
                  <c:v>1</c:v>
                </c:pt>
                <c:pt idx="6103">
                  <c:v>0</c:v>
                </c:pt>
                <c:pt idx="6104">
                  <c:v>0</c:v>
                </c:pt>
                <c:pt idx="6105">
                  <c:v>0</c:v>
                </c:pt>
                <c:pt idx="6106">
                  <c:v>0</c:v>
                </c:pt>
                <c:pt idx="6107">
                  <c:v>0</c:v>
                </c:pt>
                <c:pt idx="6108">
                  <c:v>0</c:v>
                </c:pt>
                <c:pt idx="6109">
                  <c:v>10</c:v>
                </c:pt>
                <c:pt idx="6110">
                  <c:v>1</c:v>
                </c:pt>
                <c:pt idx="6111">
                  <c:v>1</c:v>
                </c:pt>
                <c:pt idx="6112">
                  <c:v>1</c:v>
                </c:pt>
                <c:pt idx="6113">
                  <c:v>3</c:v>
                </c:pt>
                <c:pt idx="6114">
                  <c:v>0</c:v>
                </c:pt>
                <c:pt idx="6115">
                  <c:v>1</c:v>
                </c:pt>
                <c:pt idx="6116">
                  <c:v>0</c:v>
                </c:pt>
                <c:pt idx="6117">
                  <c:v>0</c:v>
                </c:pt>
                <c:pt idx="6118">
                  <c:v>1</c:v>
                </c:pt>
                <c:pt idx="6119">
                  <c:v>3</c:v>
                </c:pt>
                <c:pt idx="6120">
                  <c:v>1</c:v>
                </c:pt>
                <c:pt idx="6121">
                  <c:v>5</c:v>
                </c:pt>
                <c:pt idx="6122">
                  <c:v>3</c:v>
                </c:pt>
                <c:pt idx="6123">
                  <c:v>0</c:v>
                </c:pt>
                <c:pt idx="6124">
                  <c:v>0</c:v>
                </c:pt>
                <c:pt idx="6125">
                  <c:v>0</c:v>
                </c:pt>
                <c:pt idx="6126">
                  <c:v>21</c:v>
                </c:pt>
                <c:pt idx="6127">
                  <c:v>19</c:v>
                </c:pt>
                <c:pt idx="6128">
                  <c:v>0</c:v>
                </c:pt>
                <c:pt idx="6129">
                  <c:v>0</c:v>
                </c:pt>
                <c:pt idx="6130">
                  <c:v>1</c:v>
                </c:pt>
                <c:pt idx="6131">
                  <c:v>2</c:v>
                </c:pt>
                <c:pt idx="6132">
                  <c:v>0</c:v>
                </c:pt>
                <c:pt idx="6133">
                  <c:v>0</c:v>
                </c:pt>
                <c:pt idx="6134">
                  <c:v>1</c:v>
                </c:pt>
                <c:pt idx="6135">
                  <c:v>2</c:v>
                </c:pt>
                <c:pt idx="6136">
                  <c:v>2</c:v>
                </c:pt>
                <c:pt idx="6137">
                  <c:v>0</c:v>
                </c:pt>
                <c:pt idx="6138">
                  <c:v>2</c:v>
                </c:pt>
                <c:pt idx="6139">
                  <c:v>9</c:v>
                </c:pt>
                <c:pt idx="6140">
                  <c:v>0</c:v>
                </c:pt>
                <c:pt idx="6141">
                  <c:v>0</c:v>
                </c:pt>
                <c:pt idx="6142">
                  <c:v>3</c:v>
                </c:pt>
                <c:pt idx="6143">
                  <c:v>0</c:v>
                </c:pt>
                <c:pt idx="6144">
                  <c:v>7</c:v>
                </c:pt>
                <c:pt idx="6145">
                  <c:v>0</c:v>
                </c:pt>
                <c:pt idx="6146">
                  <c:v>0</c:v>
                </c:pt>
                <c:pt idx="6147">
                  <c:v>4</c:v>
                </c:pt>
                <c:pt idx="6148">
                  <c:v>1</c:v>
                </c:pt>
                <c:pt idx="6149">
                  <c:v>0</c:v>
                </c:pt>
                <c:pt idx="6150">
                  <c:v>0</c:v>
                </c:pt>
                <c:pt idx="6151">
                  <c:v>0</c:v>
                </c:pt>
                <c:pt idx="6152">
                  <c:v>0</c:v>
                </c:pt>
                <c:pt idx="6153">
                  <c:v>3</c:v>
                </c:pt>
                <c:pt idx="6154">
                  <c:v>2</c:v>
                </c:pt>
                <c:pt idx="6155">
                  <c:v>1</c:v>
                </c:pt>
                <c:pt idx="6156">
                  <c:v>1</c:v>
                </c:pt>
                <c:pt idx="6157">
                  <c:v>2</c:v>
                </c:pt>
                <c:pt idx="6158">
                  <c:v>0</c:v>
                </c:pt>
                <c:pt idx="6159">
                  <c:v>0</c:v>
                </c:pt>
                <c:pt idx="6160">
                  <c:v>2</c:v>
                </c:pt>
                <c:pt idx="6161">
                  <c:v>2</c:v>
                </c:pt>
                <c:pt idx="6162">
                  <c:v>1</c:v>
                </c:pt>
                <c:pt idx="6163">
                  <c:v>0</c:v>
                </c:pt>
                <c:pt idx="6164">
                  <c:v>3</c:v>
                </c:pt>
                <c:pt idx="6165">
                  <c:v>0</c:v>
                </c:pt>
                <c:pt idx="6166">
                  <c:v>0</c:v>
                </c:pt>
                <c:pt idx="6167">
                  <c:v>2</c:v>
                </c:pt>
                <c:pt idx="6168">
                  <c:v>0</c:v>
                </c:pt>
                <c:pt idx="6169">
                  <c:v>0</c:v>
                </c:pt>
                <c:pt idx="6170">
                  <c:v>0</c:v>
                </c:pt>
                <c:pt idx="6171">
                  <c:v>2</c:v>
                </c:pt>
                <c:pt idx="6172">
                  <c:v>1</c:v>
                </c:pt>
                <c:pt idx="6173">
                  <c:v>1</c:v>
                </c:pt>
                <c:pt idx="6174">
                  <c:v>2</c:v>
                </c:pt>
                <c:pt idx="6175">
                  <c:v>7</c:v>
                </c:pt>
                <c:pt idx="6176">
                  <c:v>1</c:v>
                </c:pt>
                <c:pt idx="6177">
                  <c:v>0</c:v>
                </c:pt>
                <c:pt idx="6178">
                  <c:v>1</c:v>
                </c:pt>
                <c:pt idx="6179">
                  <c:v>1</c:v>
                </c:pt>
                <c:pt idx="6180">
                  <c:v>0</c:v>
                </c:pt>
                <c:pt idx="6181">
                  <c:v>2</c:v>
                </c:pt>
                <c:pt idx="6182">
                  <c:v>6</c:v>
                </c:pt>
                <c:pt idx="6183">
                  <c:v>0</c:v>
                </c:pt>
                <c:pt idx="6184">
                  <c:v>2</c:v>
                </c:pt>
                <c:pt idx="6185">
                  <c:v>15</c:v>
                </c:pt>
                <c:pt idx="6186">
                  <c:v>1</c:v>
                </c:pt>
                <c:pt idx="6187">
                  <c:v>0</c:v>
                </c:pt>
                <c:pt idx="6188">
                  <c:v>0</c:v>
                </c:pt>
                <c:pt idx="6189">
                  <c:v>0</c:v>
                </c:pt>
                <c:pt idx="6190">
                  <c:v>2</c:v>
                </c:pt>
                <c:pt idx="6191">
                  <c:v>0</c:v>
                </c:pt>
                <c:pt idx="6192">
                  <c:v>5</c:v>
                </c:pt>
                <c:pt idx="6193">
                  <c:v>0</c:v>
                </c:pt>
                <c:pt idx="6194">
                  <c:v>0</c:v>
                </c:pt>
                <c:pt idx="6195">
                  <c:v>2</c:v>
                </c:pt>
                <c:pt idx="6196">
                  <c:v>0</c:v>
                </c:pt>
                <c:pt idx="6197">
                  <c:v>0</c:v>
                </c:pt>
                <c:pt idx="6198">
                  <c:v>0</c:v>
                </c:pt>
                <c:pt idx="6199">
                  <c:v>0</c:v>
                </c:pt>
                <c:pt idx="6200">
                  <c:v>0</c:v>
                </c:pt>
                <c:pt idx="6201">
                  <c:v>0</c:v>
                </c:pt>
                <c:pt idx="6202">
                  <c:v>0</c:v>
                </c:pt>
                <c:pt idx="6203">
                  <c:v>0</c:v>
                </c:pt>
                <c:pt idx="6204">
                  <c:v>0</c:v>
                </c:pt>
                <c:pt idx="6205">
                  <c:v>3</c:v>
                </c:pt>
                <c:pt idx="6206">
                  <c:v>0</c:v>
                </c:pt>
                <c:pt idx="6207">
                  <c:v>0</c:v>
                </c:pt>
                <c:pt idx="6208">
                  <c:v>2</c:v>
                </c:pt>
                <c:pt idx="6209">
                  <c:v>2</c:v>
                </c:pt>
                <c:pt idx="6210">
                  <c:v>0</c:v>
                </c:pt>
                <c:pt idx="6211">
                  <c:v>2</c:v>
                </c:pt>
                <c:pt idx="6212">
                  <c:v>0</c:v>
                </c:pt>
                <c:pt idx="6213">
                  <c:v>0</c:v>
                </c:pt>
                <c:pt idx="6214">
                  <c:v>0</c:v>
                </c:pt>
                <c:pt idx="6215">
                  <c:v>42</c:v>
                </c:pt>
                <c:pt idx="6216">
                  <c:v>0</c:v>
                </c:pt>
                <c:pt idx="6217">
                  <c:v>0</c:v>
                </c:pt>
                <c:pt idx="6218">
                  <c:v>0</c:v>
                </c:pt>
                <c:pt idx="6219">
                  <c:v>0</c:v>
                </c:pt>
                <c:pt idx="6220">
                  <c:v>0</c:v>
                </c:pt>
                <c:pt idx="6221">
                  <c:v>0</c:v>
                </c:pt>
                <c:pt idx="6222">
                  <c:v>0</c:v>
                </c:pt>
                <c:pt idx="6223">
                  <c:v>0</c:v>
                </c:pt>
                <c:pt idx="6224">
                  <c:v>0</c:v>
                </c:pt>
                <c:pt idx="6225">
                  <c:v>0</c:v>
                </c:pt>
                <c:pt idx="6226">
                  <c:v>0</c:v>
                </c:pt>
                <c:pt idx="6227">
                  <c:v>2</c:v>
                </c:pt>
                <c:pt idx="6228">
                  <c:v>0</c:v>
                </c:pt>
                <c:pt idx="6229">
                  <c:v>0</c:v>
                </c:pt>
                <c:pt idx="6230">
                  <c:v>0</c:v>
                </c:pt>
                <c:pt idx="6231">
                  <c:v>0</c:v>
                </c:pt>
                <c:pt idx="6232">
                  <c:v>0</c:v>
                </c:pt>
                <c:pt idx="6233">
                  <c:v>0</c:v>
                </c:pt>
                <c:pt idx="6234">
                  <c:v>1</c:v>
                </c:pt>
                <c:pt idx="6235">
                  <c:v>0</c:v>
                </c:pt>
                <c:pt idx="6236">
                  <c:v>2</c:v>
                </c:pt>
                <c:pt idx="6237">
                  <c:v>2</c:v>
                </c:pt>
                <c:pt idx="6238">
                  <c:v>0</c:v>
                </c:pt>
                <c:pt idx="6239">
                  <c:v>1</c:v>
                </c:pt>
                <c:pt idx="6240">
                  <c:v>0</c:v>
                </c:pt>
                <c:pt idx="6241">
                  <c:v>4</c:v>
                </c:pt>
                <c:pt idx="6242">
                  <c:v>0</c:v>
                </c:pt>
                <c:pt idx="6243">
                  <c:v>0</c:v>
                </c:pt>
                <c:pt idx="6244">
                  <c:v>1</c:v>
                </c:pt>
                <c:pt idx="6245">
                  <c:v>0</c:v>
                </c:pt>
                <c:pt idx="6246">
                  <c:v>0</c:v>
                </c:pt>
                <c:pt idx="6247">
                  <c:v>1</c:v>
                </c:pt>
                <c:pt idx="6248">
                  <c:v>0</c:v>
                </c:pt>
                <c:pt idx="6249">
                  <c:v>0</c:v>
                </c:pt>
                <c:pt idx="6250">
                  <c:v>0</c:v>
                </c:pt>
                <c:pt idx="6251">
                  <c:v>1</c:v>
                </c:pt>
                <c:pt idx="6252">
                  <c:v>1</c:v>
                </c:pt>
                <c:pt idx="6253">
                  <c:v>4</c:v>
                </c:pt>
                <c:pt idx="6254">
                  <c:v>0</c:v>
                </c:pt>
                <c:pt idx="6255">
                  <c:v>1</c:v>
                </c:pt>
                <c:pt idx="6256">
                  <c:v>1</c:v>
                </c:pt>
                <c:pt idx="6257">
                  <c:v>0</c:v>
                </c:pt>
                <c:pt idx="6258">
                  <c:v>4</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7</c:v>
                </c:pt>
                <c:pt idx="6272">
                  <c:v>0</c:v>
                </c:pt>
                <c:pt idx="6273">
                  <c:v>0</c:v>
                </c:pt>
                <c:pt idx="6274">
                  <c:v>0</c:v>
                </c:pt>
                <c:pt idx="6275">
                  <c:v>0</c:v>
                </c:pt>
                <c:pt idx="6276">
                  <c:v>0</c:v>
                </c:pt>
                <c:pt idx="6277">
                  <c:v>0</c:v>
                </c:pt>
                <c:pt idx="6278">
                  <c:v>1</c:v>
                </c:pt>
                <c:pt idx="6279">
                  <c:v>3</c:v>
                </c:pt>
                <c:pt idx="6280">
                  <c:v>1</c:v>
                </c:pt>
                <c:pt idx="6281">
                  <c:v>0</c:v>
                </c:pt>
                <c:pt idx="6282">
                  <c:v>2</c:v>
                </c:pt>
                <c:pt idx="6283">
                  <c:v>2</c:v>
                </c:pt>
                <c:pt idx="6284">
                  <c:v>0</c:v>
                </c:pt>
                <c:pt idx="6285">
                  <c:v>0</c:v>
                </c:pt>
                <c:pt idx="6286">
                  <c:v>0</c:v>
                </c:pt>
                <c:pt idx="6287">
                  <c:v>0</c:v>
                </c:pt>
                <c:pt idx="6288">
                  <c:v>2</c:v>
                </c:pt>
                <c:pt idx="6289">
                  <c:v>0</c:v>
                </c:pt>
                <c:pt idx="6290">
                  <c:v>16</c:v>
                </c:pt>
                <c:pt idx="6291">
                  <c:v>2</c:v>
                </c:pt>
                <c:pt idx="6292">
                  <c:v>0</c:v>
                </c:pt>
                <c:pt idx="6293">
                  <c:v>2</c:v>
                </c:pt>
                <c:pt idx="6294">
                  <c:v>20</c:v>
                </c:pt>
                <c:pt idx="6295">
                  <c:v>1</c:v>
                </c:pt>
                <c:pt idx="6296">
                  <c:v>0</c:v>
                </c:pt>
                <c:pt idx="6297">
                  <c:v>0</c:v>
                </c:pt>
                <c:pt idx="6298">
                  <c:v>0</c:v>
                </c:pt>
                <c:pt idx="6299">
                  <c:v>0</c:v>
                </c:pt>
                <c:pt idx="6300">
                  <c:v>3</c:v>
                </c:pt>
                <c:pt idx="6301">
                  <c:v>0</c:v>
                </c:pt>
                <c:pt idx="6302">
                  <c:v>1</c:v>
                </c:pt>
                <c:pt idx="6303">
                  <c:v>6</c:v>
                </c:pt>
                <c:pt idx="6304">
                  <c:v>3</c:v>
                </c:pt>
                <c:pt idx="6305">
                  <c:v>0</c:v>
                </c:pt>
                <c:pt idx="6306">
                  <c:v>5</c:v>
                </c:pt>
                <c:pt idx="6307">
                  <c:v>2</c:v>
                </c:pt>
                <c:pt idx="6308">
                  <c:v>0</c:v>
                </c:pt>
                <c:pt idx="6309">
                  <c:v>0</c:v>
                </c:pt>
                <c:pt idx="6310">
                  <c:v>1</c:v>
                </c:pt>
                <c:pt idx="6311">
                  <c:v>1</c:v>
                </c:pt>
                <c:pt idx="6312">
                  <c:v>0</c:v>
                </c:pt>
                <c:pt idx="6313">
                  <c:v>0</c:v>
                </c:pt>
                <c:pt idx="6314">
                  <c:v>0</c:v>
                </c:pt>
                <c:pt idx="6315">
                  <c:v>0</c:v>
                </c:pt>
                <c:pt idx="6316">
                  <c:v>1</c:v>
                </c:pt>
                <c:pt idx="6317">
                  <c:v>0</c:v>
                </c:pt>
                <c:pt idx="6318">
                  <c:v>1</c:v>
                </c:pt>
                <c:pt idx="6319">
                  <c:v>0</c:v>
                </c:pt>
                <c:pt idx="6320">
                  <c:v>0</c:v>
                </c:pt>
                <c:pt idx="6321">
                  <c:v>0</c:v>
                </c:pt>
                <c:pt idx="6322">
                  <c:v>0</c:v>
                </c:pt>
                <c:pt idx="6323">
                  <c:v>3</c:v>
                </c:pt>
                <c:pt idx="6324">
                  <c:v>0</c:v>
                </c:pt>
                <c:pt idx="6325">
                  <c:v>0</c:v>
                </c:pt>
                <c:pt idx="6326">
                  <c:v>0</c:v>
                </c:pt>
                <c:pt idx="6327">
                  <c:v>0</c:v>
                </c:pt>
                <c:pt idx="6328">
                  <c:v>0</c:v>
                </c:pt>
                <c:pt idx="6329">
                  <c:v>0</c:v>
                </c:pt>
                <c:pt idx="6330">
                  <c:v>1</c:v>
                </c:pt>
                <c:pt idx="6331">
                  <c:v>0</c:v>
                </c:pt>
                <c:pt idx="6332">
                  <c:v>1</c:v>
                </c:pt>
                <c:pt idx="6333">
                  <c:v>0</c:v>
                </c:pt>
                <c:pt idx="6334">
                  <c:v>1</c:v>
                </c:pt>
                <c:pt idx="6335">
                  <c:v>0</c:v>
                </c:pt>
                <c:pt idx="6336">
                  <c:v>0</c:v>
                </c:pt>
                <c:pt idx="6337">
                  <c:v>0</c:v>
                </c:pt>
                <c:pt idx="6338">
                  <c:v>0</c:v>
                </c:pt>
                <c:pt idx="6339">
                  <c:v>0</c:v>
                </c:pt>
                <c:pt idx="6340">
                  <c:v>16</c:v>
                </c:pt>
                <c:pt idx="6341">
                  <c:v>0</c:v>
                </c:pt>
                <c:pt idx="6342">
                  <c:v>0</c:v>
                </c:pt>
                <c:pt idx="6343">
                  <c:v>0</c:v>
                </c:pt>
                <c:pt idx="6344">
                  <c:v>1</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2</c:v>
                </c:pt>
                <c:pt idx="6358">
                  <c:v>0</c:v>
                </c:pt>
                <c:pt idx="6359">
                  <c:v>6</c:v>
                </c:pt>
                <c:pt idx="6360">
                  <c:v>0</c:v>
                </c:pt>
                <c:pt idx="6361">
                  <c:v>0</c:v>
                </c:pt>
                <c:pt idx="6362">
                  <c:v>0</c:v>
                </c:pt>
                <c:pt idx="6363">
                  <c:v>0</c:v>
                </c:pt>
                <c:pt idx="6364">
                  <c:v>0</c:v>
                </c:pt>
                <c:pt idx="6365">
                  <c:v>0</c:v>
                </c:pt>
                <c:pt idx="6366">
                  <c:v>0</c:v>
                </c:pt>
                <c:pt idx="6367">
                  <c:v>0</c:v>
                </c:pt>
                <c:pt idx="6368">
                  <c:v>0</c:v>
                </c:pt>
                <c:pt idx="6369">
                  <c:v>1</c:v>
                </c:pt>
                <c:pt idx="6370">
                  <c:v>1</c:v>
                </c:pt>
                <c:pt idx="6371">
                  <c:v>0</c:v>
                </c:pt>
                <c:pt idx="6372">
                  <c:v>13</c:v>
                </c:pt>
                <c:pt idx="6373">
                  <c:v>0</c:v>
                </c:pt>
                <c:pt idx="6374">
                  <c:v>22</c:v>
                </c:pt>
                <c:pt idx="6375">
                  <c:v>0</c:v>
                </c:pt>
                <c:pt idx="6376">
                  <c:v>3</c:v>
                </c:pt>
                <c:pt idx="6377">
                  <c:v>0</c:v>
                </c:pt>
                <c:pt idx="6378">
                  <c:v>0</c:v>
                </c:pt>
                <c:pt idx="6379">
                  <c:v>0</c:v>
                </c:pt>
                <c:pt idx="6380">
                  <c:v>0</c:v>
                </c:pt>
                <c:pt idx="6381">
                  <c:v>0</c:v>
                </c:pt>
                <c:pt idx="6382">
                  <c:v>2</c:v>
                </c:pt>
                <c:pt idx="6383">
                  <c:v>0</c:v>
                </c:pt>
                <c:pt idx="6384">
                  <c:v>0</c:v>
                </c:pt>
                <c:pt idx="6385">
                  <c:v>0</c:v>
                </c:pt>
                <c:pt idx="6386">
                  <c:v>0</c:v>
                </c:pt>
                <c:pt idx="6387">
                  <c:v>0</c:v>
                </c:pt>
                <c:pt idx="6388">
                  <c:v>0</c:v>
                </c:pt>
                <c:pt idx="6389">
                  <c:v>1</c:v>
                </c:pt>
                <c:pt idx="6390">
                  <c:v>0</c:v>
                </c:pt>
                <c:pt idx="6391">
                  <c:v>0</c:v>
                </c:pt>
                <c:pt idx="6392">
                  <c:v>0</c:v>
                </c:pt>
                <c:pt idx="6393">
                  <c:v>2</c:v>
                </c:pt>
                <c:pt idx="6394">
                  <c:v>0</c:v>
                </c:pt>
                <c:pt idx="6395">
                  <c:v>0</c:v>
                </c:pt>
                <c:pt idx="6396">
                  <c:v>2</c:v>
                </c:pt>
                <c:pt idx="6397">
                  <c:v>0</c:v>
                </c:pt>
                <c:pt idx="6398">
                  <c:v>0</c:v>
                </c:pt>
                <c:pt idx="6399">
                  <c:v>0</c:v>
                </c:pt>
                <c:pt idx="6400">
                  <c:v>1</c:v>
                </c:pt>
                <c:pt idx="6401">
                  <c:v>0</c:v>
                </c:pt>
                <c:pt idx="6402">
                  <c:v>19</c:v>
                </c:pt>
                <c:pt idx="6403">
                  <c:v>0</c:v>
                </c:pt>
                <c:pt idx="6404">
                  <c:v>0</c:v>
                </c:pt>
                <c:pt idx="6405">
                  <c:v>0</c:v>
                </c:pt>
                <c:pt idx="6406">
                  <c:v>1</c:v>
                </c:pt>
                <c:pt idx="6407">
                  <c:v>0</c:v>
                </c:pt>
                <c:pt idx="6408">
                  <c:v>0</c:v>
                </c:pt>
                <c:pt idx="6409">
                  <c:v>2</c:v>
                </c:pt>
                <c:pt idx="6410">
                  <c:v>8</c:v>
                </c:pt>
                <c:pt idx="6411">
                  <c:v>5</c:v>
                </c:pt>
                <c:pt idx="6412">
                  <c:v>5</c:v>
                </c:pt>
                <c:pt idx="6413">
                  <c:v>2</c:v>
                </c:pt>
                <c:pt idx="6414">
                  <c:v>8</c:v>
                </c:pt>
                <c:pt idx="6415">
                  <c:v>4</c:v>
                </c:pt>
                <c:pt idx="6416">
                  <c:v>39</c:v>
                </c:pt>
                <c:pt idx="6417">
                  <c:v>1</c:v>
                </c:pt>
                <c:pt idx="6418">
                  <c:v>0</c:v>
                </c:pt>
                <c:pt idx="6419">
                  <c:v>1</c:v>
                </c:pt>
                <c:pt idx="6420">
                  <c:v>0</c:v>
                </c:pt>
                <c:pt idx="6421">
                  <c:v>0</c:v>
                </c:pt>
                <c:pt idx="6422">
                  <c:v>0</c:v>
                </c:pt>
                <c:pt idx="6423">
                  <c:v>0</c:v>
                </c:pt>
                <c:pt idx="6424">
                  <c:v>0</c:v>
                </c:pt>
                <c:pt idx="6425">
                  <c:v>2</c:v>
                </c:pt>
                <c:pt idx="6426">
                  <c:v>0</c:v>
                </c:pt>
                <c:pt idx="6427">
                  <c:v>2</c:v>
                </c:pt>
                <c:pt idx="6428">
                  <c:v>0</c:v>
                </c:pt>
                <c:pt idx="6429">
                  <c:v>0</c:v>
                </c:pt>
                <c:pt idx="6430">
                  <c:v>0</c:v>
                </c:pt>
                <c:pt idx="6431">
                  <c:v>0</c:v>
                </c:pt>
                <c:pt idx="6432">
                  <c:v>0</c:v>
                </c:pt>
                <c:pt idx="6433">
                  <c:v>0</c:v>
                </c:pt>
                <c:pt idx="6434">
                  <c:v>1</c:v>
                </c:pt>
                <c:pt idx="6435">
                  <c:v>0</c:v>
                </c:pt>
                <c:pt idx="6436">
                  <c:v>1</c:v>
                </c:pt>
                <c:pt idx="6437">
                  <c:v>1</c:v>
                </c:pt>
                <c:pt idx="6438">
                  <c:v>1</c:v>
                </c:pt>
                <c:pt idx="6439">
                  <c:v>1</c:v>
                </c:pt>
                <c:pt idx="6440">
                  <c:v>1</c:v>
                </c:pt>
                <c:pt idx="6441">
                  <c:v>0</c:v>
                </c:pt>
                <c:pt idx="6442">
                  <c:v>0</c:v>
                </c:pt>
                <c:pt idx="6443">
                  <c:v>0</c:v>
                </c:pt>
                <c:pt idx="6444">
                  <c:v>0</c:v>
                </c:pt>
                <c:pt idx="6445">
                  <c:v>0</c:v>
                </c:pt>
                <c:pt idx="6446">
                  <c:v>0</c:v>
                </c:pt>
                <c:pt idx="6447">
                  <c:v>0</c:v>
                </c:pt>
                <c:pt idx="6448">
                  <c:v>9</c:v>
                </c:pt>
                <c:pt idx="6449">
                  <c:v>0</c:v>
                </c:pt>
                <c:pt idx="6450">
                  <c:v>0</c:v>
                </c:pt>
                <c:pt idx="6451">
                  <c:v>0</c:v>
                </c:pt>
                <c:pt idx="6452">
                  <c:v>2</c:v>
                </c:pt>
                <c:pt idx="6453">
                  <c:v>0</c:v>
                </c:pt>
                <c:pt idx="6454">
                  <c:v>1</c:v>
                </c:pt>
                <c:pt idx="6455">
                  <c:v>0</c:v>
                </c:pt>
                <c:pt idx="6456">
                  <c:v>10</c:v>
                </c:pt>
                <c:pt idx="6457">
                  <c:v>0</c:v>
                </c:pt>
                <c:pt idx="6458">
                  <c:v>0</c:v>
                </c:pt>
                <c:pt idx="6459">
                  <c:v>1</c:v>
                </c:pt>
                <c:pt idx="6460">
                  <c:v>0</c:v>
                </c:pt>
                <c:pt idx="6461">
                  <c:v>0</c:v>
                </c:pt>
                <c:pt idx="6462">
                  <c:v>0</c:v>
                </c:pt>
                <c:pt idx="6463">
                  <c:v>5</c:v>
                </c:pt>
                <c:pt idx="6464">
                  <c:v>6</c:v>
                </c:pt>
                <c:pt idx="6465">
                  <c:v>0</c:v>
                </c:pt>
                <c:pt idx="6466">
                  <c:v>0</c:v>
                </c:pt>
                <c:pt idx="6467">
                  <c:v>1</c:v>
                </c:pt>
                <c:pt idx="6468">
                  <c:v>1</c:v>
                </c:pt>
                <c:pt idx="6469">
                  <c:v>0</c:v>
                </c:pt>
                <c:pt idx="6470">
                  <c:v>0</c:v>
                </c:pt>
                <c:pt idx="6471">
                  <c:v>0</c:v>
                </c:pt>
                <c:pt idx="6472">
                  <c:v>0</c:v>
                </c:pt>
                <c:pt idx="6473">
                  <c:v>0</c:v>
                </c:pt>
                <c:pt idx="6474">
                  <c:v>5</c:v>
                </c:pt>
                <c:pt idx="6475">
                  <c:v>3</c:v>
                </c:pt>
                <c:pt idx="6476">
                  <c:v>4</c:v>
                </c:pt>
                <c:pt idx="6477">
                  <c:v>0</c:v>
                </c:pt>
                <c:pt idx="6478">
                  <c:v>0</c:v>
                </c:pt>
                <c:pt idx="6479">
                  <c:v>1</c:v>
                </c:pt>
                <c:pt idx="6480">
                  <c:v>4</c:v>
                </c:pt>
                <c:pt idx="6481">
                  <c:v>0</c:v>
                </c:pt>
                <c:pt idx="6482">
                  <c:v>24</c:v>
                </c:pt>
                <c:pt idx="6483">
                  <c:v>0</c:v>
                </c:pt>
                <c:pt idx="6484">
                  <c:v>0</c:v>
                </c:pt>
                <c:pt idx="6485">
                  <c:v>0</c:v>
                </c:pt>
                <c:pt idx="6486">
                  <c:v>6</c:v>
                </c:pt>
                <c:pt idx="6487">
                  <c:v>0</c:v>
                </c:pt>
                <c:pt idx="6488">
                  <c:v>0</c:v>
                </c:pt>
                <c:pt idx="6489">
                  <c:v>21</c:v>
                </c:pt>
                <c:pt idx="6490">
                  <c:v>3</c:v>
                </c:pt>
                <c:pt idx="6491">
                  <c:v>1</c:v>
                </c:pt>
                <c:pt idx="6492">
                  <c:v>0</c:v>
                </c:pt>
                <c:pt idx="6493">
                  <c:v>1</c:v>
                </c:pt>
                <c:pt idx="6494">
                  <c:v>1</c:v>
                </c:pt>
                <c:pt idx="6495">
                  <c:v>4</c:v>
                </c:pt>
                <c:pt idx="6496">
                  <c:v>0</c:v>
                </c:pt>
                <c:pt idx="6497">
                  <c:v>5</c:v>
                </c:pt>
                <c:pt idx="6498">
                  <c:v>8</c:v>
                </c:pt>
                <c:pt idx="6499">
                  <c:v>2</c:v>
                </c:pt>
                <c:pt idx="6500">
                  <c:v>1</c:v>
                </c:pt>
                <c:pt idx="6501">
                  <c:v>0</c:v>
                </c:pt>
                <c:pt idx="6502">
                  <c:v>1</c:v>
                </c:pt>
                <c:pt idx="6503">
                  <c:v>1</c:v>
                </c:pt>
                <c:pt idx="6504">
                  <c:v>0</c:v>
                </c:pt>
                <c:pt idx="6505">
                  <c:v>15</c:v>
                </c:pt>
                <c:pt idx="6506">
                  <c:v>6</c:v>
                </c:pt>
                <c:pt idx="6507">
                  <c:v>3</c:v>
                </c:pt>
                <c:pt idx="6508">
                  <c:v>0</c:v>
                </c:pt>
                <c:pt idx="6509">
                  <c:v>0</c:v>
                </c:pt>
                <c:pt idx="6510">
                  <c:v>1</c:v>
                </c:pt>
                <c:pt idx="6511">
                  <c:v>1</c:v>
                </c:pt>
                <c:pt idx="6512">
                  <c:v>6</c:v>
                </c:pt>
                <c:pt idx="6513">
                  <c:v>1</c:v>
                </c:pt>
                <c:pt idx="6514">
                  <c:v>1</c:v>
                </c:pt>
                <c:pt idx="6515">
                  <c:v>0</c:v>
                </c:pt>
                <c:pt idx="6516">
                  <c:v>0</c:v>
                </c:pt>
                <c:pt idx="6517">
                  <c:v>0</c:v>
                </c:pt>
                <c:pt idx="6518">
                  <c:v>0</c:v>
                </c:pt>
                <c:pt idx="6519">
                  <c:v>0</c:v>
                </c:pt>
                <c:pt idx="6520">
                  <c:v>0</c:v>
                </c:pt>
                <c:pt idx="6521">
                  <c:v>0</c:v>
                </c:pt>
                <c:pt idx="6522">
                  <c:v>1</c:v>
                </c:pt>
                <c:pt idx="6523">
                  <c:v>1</c:v>
                </c:pt>
                <c:pt idx="6524">
                  <c:v>4</c:v>
                </c:pt>
                <c:pt idx="6525">
                  <c:v>0</c:v>
                </c:pt>
                <c:pt idx="6526">
                  <c:v>0</c:v>
                </c:pt>
                <c:pt idx="6527">
                  <c:v>0</c:v>
                </c:pt>
                <c:pt idx="6528">
                  <c:v>0</c:v>
                </c:pt>
                <c:pt idx="6529">
                  <c:v>1</c:v>
                </c:pt>
                <c:pt idx="6530">
                  <c:v>0</c:v>
                </c:pt>
                <c:pt idx="6531">
                  <c:v>0</c:v>
                </c:pt>
                <c:pt idx="6532">
                  <c:v>1</c:v>
                </c:pt>
                <c:pt idx="6533">
                  <c:v>1</c:v>
                </c:pt>
                <c:pt idx="6534">
                  <c:v>11</c:v>
                </c:pt>
                <c:pt idx="6535">
                  <c:v>2</c:v>
                </c:pt>
                <c:pt idx="6536">
                  <c:v>17</c:v>
                </c:pt>
                <c:pt idx="6537">
                  <c:v>2</c:v>
                </c:pt>
                <c:pt idx="6538">
                  <c:v>1</c:v>
                </c:pt>
                <c:pt idx="6539">
                  <c:v>0</c:v>
                </c:pt>
                <c:pt idx="6540">
                  <c:v>1</c:v>
                </c:pt>
                <c:pt idx="6541">
                  <c:v>2</c:v>
                </c:pt>
                <c:pt idx="6542">
                  <c:v>0</c:v>
                </c:pt>
                <c:pt idx="6543">
                  <c:v>1</c:v>
                </c:pt>
                <c:pt idx="6544">
                  <c:v>0</c:v>
                </c:pt>
                <c:pt idx="6545">
                  <c:v>1</c:v>
                </c:pt>
                <c:pt idx="6546">
                  <c:v>0</c:v>
                </c:pt>
                <c:pt idx="6547">
                  <c:v>0</c:v>
                </c:pt>
                <c:pt idx="6548">
                  <c:v>0</c:v>
                </c:pt>
                <c:pt idx="6549">
                  <c:v>10</c:v>
                </c:pt>
                <c:pt idx="6550">
                  <c:v>0</c:v>
                </c:pt>
                <c:pt idx="6551">
                  <c:v>0</c:v>
                </c:pt>
                <c:pt idx="6552">
                  <c:v>0</c:v>
                </c:pt>
                <c:pt idx="6553">
                  <c:v>1</c:v>
                </c:pt>
                <c:pt idx="6554">
                  <c:v>0</c:v>
                </c:pt>
                <c:pt idx="6555">
                  <c:v>3</c:v>
                </c:pt>
                <c:pt idx="6556">
                  <c:v>4</c:v>
                </c:pt>
                <c:pt idx="6557">
                  <c:v>8</c:v>
                </c:pt>
                <c:pt idx="6558">
                  <c:v>0</c:v>
                </c:pt>
                <c:pt idx="6559">
                  <c:v>4</c:v>
                </c:pt>
                <c:pt idx="6560">
                  <c:v>1</c:v>
                </c:pt>
                <c:pt idx="6561">
                  <c:v>0</c:v>
                </c:pt>
                <c:pt idx="6562">
                  <c:v>1</c:v>
                </c:pt>
                <c:pt idx="6563">
                  <c:v>0</c:v>
                </c:pt>
                <c:pt idx="6564">
                  <c:v>1</c:v>
                </c:pt>
                <c:pt idx="6565">
                  <c:v>1</c:v>
                </c:pt>
                <c:pt idx="6566">
                  <c:v>2</c:v>
                </c:pt>
                <c:pt idx="6567">
                  <c:v>1</c:v>
                </c:pt>
                <c:pt idx="6568">
                  <c:v>0</c:v>
                </c:pt>
                <c:pt idx="6569">
                  <c:v>0</c:v>
                </c:pt>
                <c:pt idx="6570">
                  <c:v>0</c:v>
                </c:pt>
                <c:pt idx="6571">
                  <c:v>0</c:v>
                </c:pt>
                <c:pt idx="6572">
                  <c:v>0</c:v>
                </c:pt>
                <c:pt idx="6573">
                  <c:v>2</c:v>
                </c:pt>
                <c:pt idx="6574">
                  <c:v>0</c:v>
                </c:pt>
                <c:pt idx="6575">
                  <c:v>3</c:v>
                </c:pt>
                <c:pt idx="6576">
                  <c:v>0</c:v>
                </c:pt>
                <c:pt idx="6577">
                  <c:v>0</c:v>
                </c:pt>
                <c:pt idx="6578">
                  <c:v>0</c:v>
                </c:pt>
                <c:pt idx="6579">
                  <c:v>0</c:v>
                </c:pt>
                <c:pt idx="6580">
                  <c:v>1</c:v>
                </c:pt>
                <c:pt idx="6581">
                  <c:v>0</c:v>
                </c:pt>
                <c:pt idx="6582">
                  <c:v>0</c:v>
                </c:pt>
                <c:pt idx="6583">
                  <c:v>0</c:v>
                </c:pt>
                <c:pt idx="6584">
                  <c:v>0</c:v>
                </c:pt>
                <c:pt idx="6585">
                  <c:v>13</c:v>
                </c:pt>
                <c:pt idx="6586">
                  <c:v>13</c:v>
                </c:pt>
                <c:pt idx="6587">
                  <c:v>1</c:v>
                </c:pt>
                <c:pt idx="6588">
                  <c:v>1</c:v>
                </c:pt>
                <c:pt idx="6589">
                  <c:v>1</c:v>
                </c:pt>
                <c:pt idx="6590">
                  <c:v>0</c:v>
                </c:pt>
                <c:pt idx="6591">
                  <c:v>1</c:v>
                </c:pt>
                <c:pt idx="6592">
                  <c:v>1</c:v>
                </c:pt>
                <c:pt idx="6593">
                  <c:v>4</c:v>
                </c:pt>
                <c:pt idx="6594">
                  <c:v>3</c:v>
                </c:pt>
                <c:pt idx="6595">
                  <c:v>1</c:v>
                </c:pt>
                <c:pt idx="6596">
                  <c:v>0</c:v>
                </c:pt>
                <c:pt idx="6597">
                  <c:v>2</c:v>
                </c:pt>
                <c:pt idx="6598">
                  <c:v>0</c:v>
                </c:pt>
                <c:pt idx="6599">
                  <c:v>0</c:v>
                </c:pt>
                <c:pt idx="6600">
                  <c:v>0</c:v>
                </c:pt>
                <c:pt idx="6601">
                  <c:v>0</c:v>
                </c:pt>
                <c:pt idx="6602">
                  <c:v>0</c:v>
                </c:pt>
                <c:pt idx="6603">
                  <c:v>9</c:v>
                </c:pt>
                <c:pt idx="6604">
                  <c:v>0</c:v>
                </c:pt>
                <c:pt idx="6605">
                  <c:v>0</c:v>
                </c:pt>
                <c:pt idx="6606">
                  <c:v>0</c:v>
                </c:pt>
                <c:pt idx="6607">
                  <c:v>0</c:v>
                </c:pt>
                <c:pt idx="6608">
                  <c:v>0</c:v>
                </c:pt>
                <c:pt idx="6609">
                  <c:v>0</c:v>
                </c:pt>
                <c:pt idx="6610">
                  <c:v>0</c:v>
                </c:pt>
                <c:pt idx="6611">
                  <c:v>18</c:v>
                </c:pt>
                <c:pt idx="6612">
                  <c:v>0</c:v>
                </c:pt>
                <c:pt idx="6613">
                  <c:v>0</c:v>
                </c:pt>
                <c:pt idx="6614">
                  <c:v>0</c:v>
                </c:pt>
                <c:pt idx="6615">
                  <c:v>13</c:v>
                </c:pt>
                <c:pt idx="6616">
                  <c:v>3</c:v>
                </c:pt>
                <c:pt idx="6617">
                  <c:v>0</c:v>
                </c:pt>
                <c:pt idx="6618">
                  <c:v>3</c:v>
                </c:pt>
                <c:pt idx="6619">
                  <c:v>6</c:v>
                </c:pt>
                <c:pt idx="6620">
                  <c:v>7</c:v>
                </c:pt>
                <c:pt idx="6621">
                  <c:v>11</c:v>
                </c:pt>
                <c:pt idx="6622">
                  <c:v>0</c:v>
                </c:pt>
                <c:pt idx="6623">
                  <c:v>0</c:v>
                </c:pt>
                <c:pt idx="6624">
                  <c:v>2</c:v>
                </c:pt>
                <c:pt idx="6625">
                  <c:v>1</c:v>
                </c:pt>
                <c:pt idx="6626">
                  <c:v>0</c:v>
                </c:pt>
                <c:pt idx="6627">
                  <c:v>0</c:v>
                </c:pt>
                <c:pt idx="6628">
                  <c:v>0</c:v>
                </c:pt>
                <c:pt idx="6629">
                  <c:v>0</c:v>
                </c:pt>
                <c:pt idx="6630">
                  <c:v>0</c:v>
                </c:pt>
                <c:pt idx="6631">
                  <c:v>0</c:v>
                </c:pt>
                <c:pt idx="6632">
                  <c:v>0</c:v>
                </c:pt>
                <c:pt idx="6633">
                  <c:v>1</c:v>
                </c:pt>
                <c:pt idx="6634">
                  <c:v>0</c:v>
                </c:pt>
                <c:pt idx="6635">
                  <c:v>0</c:v>
                </c:pt>
                <c:pt idx="6636">
                  <c:v>0</c:v>
                </c:pt>
                <c:pt idx="6637">
                  <c:v>3</c:v>
                </c:pt>
                <c:pt idx="6638">
                  <c:v>0</c:v>
                </c:pt>
                <c:pt idx="6639">
                  <c:v>8</c:v>
                </c:pt>
                <c:pt idx="6640">
                  <c:v>2</c:v>
                </c:pt>
                <c:pt idx="6641">
                  <c:v>2</c:v>
                </c:pt>
                <c:pt idx="6642">
                  <c:v>3</c:v>
                </c:pt>
                <c:pt idx="6643">
                  <c:v>4</c:v>
                </c:pt>
                <c:pt idx="6644">
                  <c:v>0</c:v>
                </c:pt>
                <c:pt idx="6645">
                  <c:v>0</c:v>
                </c:pt>
                <c:pt idx="6646">
                  <c:v>0</c:v>
                </c:pt>
                <c:pt idx="6647">
                  <c:v>1</c:v>
                </c:pt>
                <c:pt idx="6648">
                  <c:v>0</c:v>
                </c:pt>
                <c:pt idx="6649">
                  <c:v>0</c:v>
                </c:pt>
                <c:pt idx="6650">
                  <c:v>5</c:v>
                </c:pt>
                <c:pt idx="6651">
                  <c:v>0</c:v>
                </c:pt>
                <c:pt idx="6652">
                  <c:v>0</c:v>
                </c:pt>
                <c:pt idx="6653">
                  <c:v>3</c:v>
                </c:pt>
                <c:pt idx="6654">
                  <c:v>0</c:v>
                </c:pt>
                <c:pt idx="6655">
                  <c:v>0</c:v>
                </c:pt>
                <c:pt idx="6656">
                  <c:v>0</c:v>
                </c:pt>
                <c:pt idx="6657">
                  <c:v>0</c:v>
                </c:pt>
                <c:pt idx="6658">
                  <c:v>0</c:v>
                </c:pt>
                <c:pt idx="6659">
                  <c:v>11</c:v>
                </c:pt>
                <c:pt idx="6660">
                  <c:v>0</c:v>
                </c:pt>
                <c:pt idx="6661">
                  <c:v>0</c:v>
                </c:pt>
                <c:pt idx="6662">
                  <c:v>0</c:v>
                </c:pt>
                <c:pt idx="6663">
                  <c:v>0</c:v>
                </c:pt>
                <c:pt idx="6664">
                  <c:v>0</c:v>
                </c:pt>
                <c:pt idx="6665">
                  <c:v>13</c:v>
                </c:pt>
                <c:pt idx="6666">
                  <c:v>1</c:v>
                </c:pt>
                <c:pt idx="6667">
                  <c:v>5</c:v>
                </c:pt>
                <c:pt idx="6668">
                  <c:v>0</c:v>
                </c:pt>
                <c:pt idx="6669">
                  <c:v>32</c:v>
                </c:pt>
                <c:pt idx="6670">
                  <c:v>0</c:v>
                </c:pt>
                <c:pt idx="6671">
                  <c:v>0</c:v>
                </c:pt>
                <c:pt idx="6672">
                  <c:v>0</c:v>
                </c:pt>
                <c:pt idx="6673">
                  <c:v>0</c:v>
                </c:pt>
                <c:pt idx="6674">
                  <c:v>2</c:v>
                </c:pt>
                <c:pt idx="6675">
                  <c:v>3</c:v>
                </c:pt>
                <c:pt idx="6676">
                  <c:v>0</c:v>
                </c:pt>
                <c:pt idx="6677">
                  <c:v>0</c:v>
                </c:pt>
                <c:pt idx="6678">
                  <c:v>0</c:v>
                </c:pt>
                <c:pt idx="6679">
                  <c:v>0</c:v>
                </c:pt>
                <c:pt idx="6680">
                  <c:v>3</c:v>
                </c:pt>
                <c:pt idx="6681">
                  <c:v>0</c:v>
                </c:pt>
                <c:pt idx="6682">
                  <c:v>0</c:v>
                </c:pt>
                <c:pt idx="6683">
                  <c:v>1</c:v>
                </c:pt>
                <c:pt idx="6684">
                  <c:v>0</c:v>
                </c:pt>
                <c:pt idx="6685">
                  <c:v>3</c:v>
                </c:pt>
                <c:pt idx="6686">
                  <c:v>0</c:v>
                </c:pt>
                <c:pt idx="6687">
                  <c:v>0</c:v>
                </c:pt>
                <c:pt idx="6688">
                  <c:v>0</c:v>
                </c:pt>
                <c:pt idx="6689">
                  <c:v>0</c:v>
                </c:pt>
                <c:pt idx="6690">
                  <c:v>0</c:v>
                </c:pt>
                <c:pt idx="6691">
                  <c:v>49</c:v>
                </c:pt>
                <c:pt idx="6692">
                  <c:v>0</c:v>
                </c:pt>
                <c:pt idx="6693">
                  <c:v>1</c:v>
                </c:pt>
                <c:pt idx="6694">
                  <c:v>0</c:v>
                </c:pt>
                <c:pt idx="6695">
                  <c:v>1</c:v>
                </c:pt>
                <c:pt idx="6696">
                  <c:v>3</c:v>
                </c:pt>
                <c:pt idx="6697">
                  <c:v>0</c:v>
                </c:pt>
                <c:pt idx="6698">
                  <c:v>0</c:v>
                </c:pt>
                <c:pt idx="6699">
                  <c:v>0</c:v>
                </c:pt>
                <c:pt idx="6700">
                  <c:v>14</c:v>
                </c:pt>
                <c:pt idx="6701">
                  <c:v>47</c:v>
                </c:pt>
                <c:pt idx="6702">
                  <c:v>0</c:v>
                </c:pt>
                <c:pt idx="6703">
                  <c:v>0</c:v>
                </c:pt>
                <c:pt idx="6704">
                  <c:v>0</c:v>
                </c:pt>
                <c:pt idx="6705">
                  <c:v>0</c:v>
                </c:pt>
                <c:pt idx="6706">
                  <c:v>2</c:v>
                </c:pt>
                <c:pt idx="6707">
                  <c:v>0</c:v>
                </c:pt>
                <c:pt idx="6708">
                  <c:v>0</c:v>
                </c:pt>
                <c:pt idx="6709">
                  <c:v>0</c:v>
                </c:pt>
                <c:pt idx="6710">
                  <c:v>1</c:v>
                </c:pt>
                <c:pt idx="6711">
                  <c:v>0</c:v>
                </c:pt>
                <c:pt idx="6712">
                  <c:v>0</c:v>
                </c:pt>
                <c:pt idx="6713">
                  <c:v>3</c:v>
                </c:pt>
                <c:pt idx="6714">
                  <c:v>0</c:v>
                </c:pt>
                <c:pt idx="6715">
                  <c:v>0</c:v>
                </c:pt>
                <c:pt idx="6716">
                  <c:v>0</c:v>
                </c:pt>
                <c:pt idx="6717">
                  <c:v>0</c:v>
                </c:pt>
                <c:pt idx="6718">
                  <c:v>3</c:v>
                </c:pt>
                <c:pt idx="6719">
                  <c:v>0</c:v>
                </c:pt>
                <c:pt idx="6720">
                  <c:v>0</c:v>
                </c:pt>
                <c:pt idx="6721">
                  <c:v>0</c:v>
                </c:pt>
                <c:pt idx="6722">
                  <c:v>0</c:v>
                </c:pt>
                <c:pt idx="6723">
                  <c:v>0</c:v>
                </c:pt>
                <c:pt idx="6724">
                  <c:v>0</c:v>
                </c:pt>
                <c:pt idx="6725">
                  <c:v>0</c:v>
                </c:pt>
                <c:pt idx="6726">
                  <c:v>10</c:v>
                </c:pt>
                <c:pt idx="6727">
                  <c:v>0</c:v>
                </c:pt>
                <c:pt idx="6728">
                  <c:v>0</c:v>
                </c:pt>
                <c:pt idx="6729">
                  <c:v>0</c:v>
                </c:pt>
                <c:pt idx="6730">
                  <c:v>0</c:v>
                </c:pt>
                <c:pt idx="6731">
                  <c:v>3</c:v>
                </c:pt>
                <c:pt idx="6732">
                  <c:v>0</c:v>
                </c:pt>
                <c:pt idx="6733">
                  <c:v>0</c:v>
                </c:pt>
                <c:pt idx="6734">
                  <c:v>0</c:v>
                </c:pt>
                <c:pt idx="6735">
                  <c:v>0</c:v>
                </c:pt>
                <c:pt idx="6736">
                  <c:v>0</c:v>
                </c:pt>
                <c:pt idx="6737">
                  <c:v>5</c:v>
                </c:pt>
                <c:pt idx="6738">
                  <c:v>1</c:v>
                </c:pt>
                <c:pt idx="6739">
                  <c:v>0</c:v>
                </c:pt>
                <c:pt idx="6740">
                  <c:v>0</c:v>
                </c:pt>
                <c:pt idx="6741">
                  <c:v>0</c:v>
                </c:pt>
                <c:pt idx="6742">
                  <c:v>2</c:v>
                </c:pt>
                <c:pt idx="6743">
                  <c:v>0</c:v>
                </c:pt>
                <c:pt idx="6744">
                  <c:v>1</c:v>
                </c:pt>
                <c:pt idx="6745">
                  <c:v>0</c:v>
                </c:pt>
                <c:pt idx="6746">
                  <c:v>0</c:v>
                </c:pt>
                <c:pt idx="6747">
                  <c:v>0</c:v>
                </c:pt>
                <c:pt idx="6748">
                  <c:v>0</c:v>
                </c:pt>
                <c:pt idx="6749">
                  <c:v>0</c:v>
                </c:pt>
                <c:pt idx="6750">
                  <c:v>0</c:v>
                </c:pt>
                <c:pt idx="6751">
                  <c:v>0</c:v>
                </c:pt>
                <c:pt idx="6752">
                  <c:v>0</c:v>
                </c:pt>
                <c:pt idx="6753">
                  <c:v>1</c:v>
                </c:pt>
                <c:pt idx="6754">
                  <c:v>0</c:v>
                </c:pt>
                <c:pt idx="6755">
                  <c:v>5</c:v>
                </c:pt>
                <c:pt idx="6756">
                  <c:v>2</c:v>
                </c:pt>
                <c:pt idx="6757">
                  <c:v>0</c:v>
                </c:pt>
                <c:pt idx="6758">
                  <c:v>1</c:v>
                </c:pt>
                <c:pt idx="6759">
                  <c:v>0</c:v>
                </c:pt>
                <c:pt idx="6760">
                  <c:v>12</c:v>
                </c:pt>
                <c:pt idx="6761">
                  <c:v>1</c:v>
                </c:pt>
                <c:pt idx="6762">
                  <c:v>2</c:v>
                </c:pt>
                <c:pt idx="6763">
                  <c:v>6</c:v>
                </c:pt>
                <c:pt idx="6764">
                  <c:v>0</c:v>
                </c:pt>
                <c:pt idx="6765">
                  <c:v>0</c:v>
                </c:pt>
                <c:pt idx="6766">
                  <c:v>1</c:v>
                </c:pt>
                <c:pt idx="6767">
                  <c:v>0</c:v>
                </c:pt>
                <c:pt idx="6768">
                  <c:v>0</c:v>
                </c:pt>
                <c:pt idx="6769">
                  <c:v>2</c:v>
                </c:pt>
                <c:pt idx="6770">
                  <c:v>14</c:v>
                </c:pt>
                <c:pt idx="6771">
                  <c:v>0</c:v>
                </c:pt>
                <c:pt idx="6772">
                  <c:v>0</c:v>
                </c:pt>
                <c:pt idx="6773">
                  <c:v>1</c:v>
                </c:pt>
                <c:pt idx="6774">
                  <c:v>69</c:v>
                </c:pt>
                <c:pt idx="6775">
                  <c:v>2</c:v>
                </c:pt>
                <c:pt idx="6776">
                  <c:v>0</c:v>
                </c:pt>
                <c:pt idx="6777">
                  <c:v>0</c:v>
                </c:pt>
                <c:pt idx="6778">
                  <c:v>0</c:v>
                </c:pt>
                <c:pt idx="6779">
                  <c:v>1</c:v>
                </c:pt>
                <c:pt idx="6780">
                  <c:v>1</c:v>
                </c:pt>
                <c:pt idx="6781">
                  <c:v>6</c:v>
                </c:pt>
                <c:pt idx="6782">
                  <c:v>3</c:v>
                </c:pt>
                <c:pt idx="6783">
                  <c:v>2</c:v>
                </c:pt>
                <c:pt idx="6784">
                  <c:v>0</c:v>
                </c:pt>
                <c:pt idx="6785">
                  <c:v>2</c:v>
                </c:pt>
                <c:pt idx="6786">
                  <c:v>1</c:v>
                </c:pt>
                <c:pt idx="6787">
                  <c:v>1</c:v>
                </c:pt>
                <c:pt idx="6788">
                  <c:v>1</c:v>
                </c:pt>
                <c:pt idx="6789">
                  <c:v>0</c:v>
                </c:pt>
                <c:pt idx="6790">
                  <c:v>0</c:v>
                </c:pt>
                <c:pt idx="6791">
                  <c:v>0</c:v>
                </c:pt>
                <c:pt idx="6792">
                  <c:v>0</c:v>
                </c:pt>
                <c:pt idx="6793">
                  <c:v>0</c:v>
                </c:pt>
                <c:pt idx="6794">
                  <c:v>1</c:v>
                </c:pt>
                <c:pt idx="6795">
                  <c:v>0</c:v>
                </c:pt>
                <c:pt idx="6796">
                  <c:v>0</c:v>
                </c:pt>
                <c:pt idx="6797">
                  <c:v>0</c:v>
                </c:pt>
                <c:pt idx="6798">
                  <c:v>0</c:v>
                </c:pt>
                <c:pt idx="6799">
                  <c:v>3</c:v>
                </c:pt>
                <c:pt idx="6800">
                  <c:v>2</c:v>
                </c:pt>
                <c:pt idx="6801">
                  <c:v>8</c:v>
                </c:pt>
                <c:pt idx="6802">
                  <c:v>4</c:v>
                </c:pt>
                <c:pt idx="6803">
                  <c:v>0</c:v>
                </c:pt>
                <c:pt idx="6804">
                  <c:v>1</c:v>
                </c:pt>
                <c:pt idx="6805">
                  <c:v>0</c:v>
                </c:pt>
                <c:pt idx="6806">
                  <c:v>6</c:v>
                </c:pt>
                <c:pt idx="6807">
                  <c:v>1</c:v>
                </c:pt>
                <c:pt idx="6808">
                  <c:v>0</c:v>
                </c:pt>
                <c:pt idx="6809">
                  <c:v>0</c:v>
                </c:pt>
                <c:pt idx="6810">
                  <c:v>0</c:v>
                </c:pt>
                <c:pt idx="6811">
                  <c:v>2</c:v>
                </c:pt>
                <c:pt idx="6812">
                  <c:v>0</c:v>
                </c:pt>
                <c:pt idx="6813">
                  <c:v>0</c:v>
                </c:pt>
                <c:pt idx="6814">
                  <c:v>8</c:v>
                </c:pt>
                <c:pt idx="6815">
                  <c:v>0</c:v>
                </c:pt>
                <c:pt idx="6816">
                  <c:v>0</c:v>
                </c:pt>
                <c:pt idx="6817">
                  <c:v>0</c:v>
                </c:pt>
                <c:pt idx="6818">
                  <c:v>2</c:v>
                </c:pt>
                <c:pt idx="6819">
                  <c:v>10</c:v>
                </c:pt>
                <c:pt idx="6820">
                  <c:v>0</c:v>
                </c:pt>
                <c:pt idx="6821">
                  <c:v>0</c:v>
                </c:pt>
                <c:pt idx="6822">
                  <c:v>0</c:v>
                </c:pt>
                <c:pt idx="6823">
                  <c:v>0</c:v>
                </c:pt>
                <c:pt idx="6824">
                  <c:v>0</c:v>
                </c:pt>
                <c:pt idx="6825">
                  <c:v>1</c:v>
                </c:pt>
                <c:pt idx="6826">
                  <c:v>0</c:v>
                </c:pt>
                <c:pt idx="6827">
                  <c:v>1</c:v>
                </c:pt>
                <c:pt idx="6828">
                  <c:v>0</c:v>
                </c:pt>
                <c:pt idx="6829">
                  <c:v>1</c:v>
                </c:pt>
                <c:pt idx="6830">
                  <c:v>23</c:v>
                </c:pt>
                <c:pt idx="6831">
                  <c:v>3</c:v>
                </c:pt>
                <c:pt idx="6832">
                  <c:v>0</c:v>
                </c:pt>
                <c:pt idx="6833">
                  <c:v>0</c:v>
                </c:pt>
                <c:pt idx="6834">
                  <c:v>0</c:v>
                </c:pt>
                <c:pt idx="6835">
                  <c:v>8</c:v>
                </c:pt>
                <c:pt idx="6836">
                  <c:v>1</c:v>
                </c:pt>
                <c:pt idx="6837">
                  <c:v>3</c:v>
                </c:pt>
                <c:pt idx="6838">
                  <c:v>6</c:v>
                </c:pt>
                <c:pt idx="6839">
                  <c:v>2</c:v>
                </c:pt>
                <c:pt idx="6840">
                  <c:v>0</c:v>
                </c:pt>
                <c:pt idx="6841">
                  <c:v>0</c:v>
                </c:pt>
                <c:pt idx="6842">
                  <c:v>1</c:v>
                </c:pt>
                <c:pt idx="6843">
                  <c:v>0</c:v>
                </c:pt>
                <c:pt idx="6844">
                  <c:v>0</c:v>
                </c:pt>
                <c:pt idx="6845">
                  <c:v>17</c:v>
                </c:pt>
                <c:pt idx="6846">
                  <c:v>0</c:v>
                </c:pt>
                <c:pt idx="6847">
                  <c:v>0</c:v>
                </c:pt>
                <c:pt idx="6848">
                  <c:v>119</c:v>
                </c:pt>
                <c:pt idx="6849">
                  <c:v>0</c:v>
                </c:pt>
                <c:pt idx="6850">
                  <c:v>1</c:v>
                </c:pt>
                <c:pt idx="6851">
                  <c:v>1</c:v>
                </c:pt>
                <c:pt idx="6852">
                  <c:v>2</c:v>
                </c:pt>
                <c:pt idx="6853">
                  <c:v>24</c:v>
                </c:pt>
                <c:pt idx="6854">
                  <c:v>0</c:v>
                </c:pt>
                <c:pt idx="6855">
                  <c:v>2</c:v>
                </c:pt>
                <c:pt idx="6856">
                  <c:v>0</c:v>
                </c:pt>
                <c:pt idx="6857">
                  <c:v>8</c:v>
                </c:pt>
                <c:pt idx="6858">
                  <c:v>1</c:v>
                </c:pt>
                <c:pt idx="6859">
                  <c:v>1</c:v>
                </c:pt>
                <c:pt idx="6860">
                  <c:v>1</c:v>
                </c:pt>
                <c:pt idx="6861">
                  <c:v>1</c:v>
                </c:pt>
                <c:pt idx="6862">
                  <c:v>3</c:v>
                </c:pt>
                <c:pt idx="6863">
                  <c:v>2</c:v>
                </c:pt>
                <c:pt idx="6864">
                  <c:v>0</c:v>
                </c:pt>
                <c:pt idx="6865">
                  <c:v>2</c:v>
                </c:pt>
                <c:pt idx="6866">
                  <c:v>0</c:v>
                </c:pt>
                <c:pt idx="6867">
                  <c:v>0</c:v>
                </c:pt>
                <c:pt idx="6868">
                  <c:v>38</c:v>
                </c:pt>
                <c:pt idx="6869">
                  <c:v>1</c:v>
                </c:pt>
                <c:pt idx="6870">
                  <c:v>0</c:v>
                </c:pt>
                <c:pt idx="6871">
                  <c:v>1</c:v>
                </c:pt>
                <c:pt idx="6872">
                  <c:v>4</c:v>
                </c:pt>
                <c:pt idx="6873">
                  <c:v>0</c:v>
                </c:pt>
                <c:pt idx="6874">
                  <c:v>0</c:v>
                </c:pt>
                <c:pt idx="6875">
                  <c:v>0</c:v>
                </c:pt>
                <c:pt idx="6876">
                  <c:v>0</c:v>
                </c:pt>
                <c:pt idx="6877">
                  <c:v>1</c:v>
                </c:pt>
                <c:pt idx="6878">
                  <c:v>8</c:v>
                </c:pt>
                <c:pt idx="6879">
                  <c:v>2</c:v>
                </c:pt>
                <c:pt idx="6880">
                  <c:v>0</c:v>
                </c:pt>
                <c:pt idx="6881">
                  <c:v>53</c:v>
                </c:pt>
                <c:pt idx="6882">
                  <c:v>1</c:v>
                </c:pt>
                <c:pt idx="6883">
                  <c:v>1</c:v>
                </c:pt>
                <c:pt idx="6884">
                  <c:v>2</c:v>
                </c:pt>
                <c:pt idx="6885">
                  <c:v>17</c:v>
                </c:pt>
                <c:pt idx="6886">
                  <c:v>2</c:v>
                </c:pt>
                <c:pt idx="6887">
                  <c:v>0</c:v>
                </c:pt>
                <c:pt idx="6888">
                  <c:v>4</c:v>
                </c:pt>
                <c:pt idx="6889">
                  <c:v>9</c:v>
                </c:pt>
                <c:pt idx="6890">
                  <c:v>0</c:v>
                </c:pt>
                <c:pt idx="6891">
                  <c:v>0</c:v>
                </c:pt>
                <c:pt idx="6892">
                  <c:v>10</c:v>
                </c:pt>
                <c:pt idx="6893">
                  <c:v>1</c:v>
                </c:pt>
                <c:pt idx="6894">
                  <c:v>0</c:v>
                </c:pt>
                <c:pt idx="6895">
                  <c:v>0</c:v>
                </c:pt>
                <c:pt idx="6896">
                  <c:v>0</c:v>
                </c:pt>
                <c:pt idx="6897">
                  <c:v>1</c:v>
                </c:pt>
                <c:pt idx="6898">
                  <c:v>6</c:v>
                </c:pt>
                <c:pt idx="6899">
                  <c:v>11</c:v>
                </c:pt>
                <c:pt idx="6900">
                  <c:v>8</c:v>
                </c:pt>
                <c:pt idx="6901">
                  <c:v>1</c:v>
                </c:pt>
                <c:pt idx="6902">
                  <c:v>0</c:v>
                </c:pt>
                <c:pt idx="6903">
                  <c:v>0</c:v>
                </c:pt>
                <c:pt idx="6904">
                  <c:v>1</c:v>
                </c:pt>
                <c:pt idx="6905">
                  <c:v>2</c:v>
                </c:pt>
                <c:pt idx="6906">
                  <c:v>2</c:v>
                </c:pt>
                <c:pt idx="6907">
                  <c:v>1</c:v>
                </c:pt>
                <c:pt idx="6908">
                  <c:v>0</c:v>
                </c:pt>
                <c:pt idx="6909">
                  <c:v>0</c:v>
                </c:pt>
                <c:pt idx="6910">
                  <c:v>0</c:v>
                </c:pt>
                <c:pt idx="6911">
                  <c:v>0</c:v>
                </c:pt>
                <c:pt idx="6912">
                  <c:v>1</c:v>
                </c:pt>
                <c:pt idx="6913">
                  <c:v>2</c:v>
                </c:pt>
                <c:pt idx="6914">
                  <c:v>0</c:v>
                </c:pt>
                <c:pt idx="6915">
                  <c:v>10</c:v>
                </c:pt>
                <c:pt idx="6916">
                  <c:v>16</c:v>
                </c:pt>
                <c:pt idx="6917">
                  <c:v>6</c:v>
                </c:pt>
                <c:pt idx="6918">
                  <c:v>0</c:v>
                </c:pt>
                <c:pt idx="6919">
                  <c:v>1</c:v>
                </c:pt>
                <c:pt idx="6920">
                  <c:v>0</c:v>
                </c:pt>
                <c:pt idx="6921">
                  <c:v>26</c:v>
                </c:pt>
                <c:pt idx="6922">
                  <c:v>0</c:v>
                </c:pt>
                <c:pt idx="6923">
                  <c:v>0</c:v>
                </c:pt>
                <c:pt idx="6924">
                  <c:v>0</c:v>
                </c:pt>
                <c:pt idx="6925">
                  <c:v>0</c:v>
                </c:pt>
                <c:pt idx="6926">
                  <c:v>0</c:v>
                </c:pt>
                <c:pt idx="6927">
                  <c:v>0</c:v>
                </c:pt>
                <c:pt idx="6928">
                  <c:v>0</c:v>
                </c:pt>
                <c:pt idx="6929">
                  <c:v>25</c:v>
                </c:pt>
                <c:pt idx="6930">
                  <c:v>1</c:v>
                </c:pt>
                <c:pt idx="6931">
                  <c:v>8</c:v>
                </c:pt>
                <c:pt idx="6932">
                  <c:v>4</c:v>
                </c:pt>
                <c:pt idx="6933">
                  <c:v>1</c:v>
                </c:pt>
                <c:pt idx="6934">
                  <c:v>0</c:v>
                </c:pt>
                <c:pt idx="6935">
                  <c:v>0</c:v>
                </c:pt>
                <c:pt idx="6936">
                  <c:v>2</c:v>
                </c:pt>
                <c:pt idx="6937">
                  <c:v>0</c:v>
                </c:pt>
                <c:pt idx="6938">
                  <c:v>1</c:v>
                </c:pt>
                <c:pt idx="6939">
                  <c:v>1</c:v>
                </c:pt>
                <c:pt idx="6940">
                  <c:v>7</c:v>
                </c:pt>
                <c:pt idx="6941">
                  <c:v>2</c:v>
                </c:pt>
                <c:pt idx="6942">
                  <c:v>0</c:v>
                </c:pt>
                <c:pt idx="6943">
                  <c:v>0</c:v>
                </c:pt>
                <c:pt idx="6944">
                  <c:v>0</c:v>
                </c:pt>
                <c:pt idx="6945">
                  <c:v>0</c:v>
                </c:pt>
                <c:pt idx="6946">
                  <c:v>1</c:v>
                </c:pt>
                <c:pt idx="6947">
                  <c:v>1</c:v>
                </c:pt>
                <c:pt idx="6948">
                  <c:v>0</c:v>
                </c:pt>
                <c:pt idx="6949">
                  <c:v>0</c:v>
                </c:pt>
                <c:pt idx="6950">
                  <c:v>0</c:v>
                </c:pt>
                <c:pt idx="6951">
                  <c:v>3</c:v>
                </c:pt>
                <c:pt idx="6952">
                  <c:v>11</c:v>
                </c:pt>
                <c:pt idx="6953">
                  <c:v>6</c:v>
                </c:pt>
                <c:pt idx="6954">
                  <c:v>1</c:v>
                </c:pt>
                <c:pt idx="6955">
                  <c:v>10</c:v>
                </c:pt>
                <c:pt idx="6956">
                  <c:v>0</c:v>
                </c:pt>
                <c:pt idx="6957">
                  <c:v>1</c:v>
                </c:pt>
                <c:pt idx="6958">
                  <c:v>0</c:v>
                </c:pt>
                <c:pt idx="6959">
                  <c:v>0</c:v>
                </c:pt>
                <c:pt idx="6960">
                  <c:v>0</c:v>
                </c:pt>
                <c:pt idx="6961">
                  <c:v>4</c:v>
                </c:pt>
                <c:pt idx="6962">
                  <c:v>0</c:v>
                </c:pt>
                <c:pt idx="6963">
                  <c:v>0</c:v>
                </c:pt>
                <c:pt idx="6964">
                  <c:v>18</c:v>
                </c:pt>
                <c:pt idx="6965">
                  <c:v>4</c:v>
                </c:pt>
                <c:pt idx="6966">
                  <c:v>0</c:v>
                </c:pt>
                <c:pt idx="6967">
                  <c:v>0</c:v>
                </c:pt>
                <c:pt idx="6968">
                  <c:v>0</c:v>
                </c:pt>
                <c:pt idx="6969">
                  <c:v>0</c:v>
                </c:pt>
                <c:pt idx="6970">
                  <c:v>1</c:v>
                </c:pt>
                <c:pt idx="6971">
                  <c:v>0</c:v>
                </c:pt>
                <c:pt idx="6972">
                  <c:v>1</c:v>
                </c:pt>
                <c:pt idx="6973">
                  <c:v>10</c:v>
                </c:pt>
                <c:pt idx="6974">
                  <c:v>1</c:v>
                </c:pt>
                <c:pt idx="6975">
                  <c:v>0</c:v>
                </c:pt>
                <c:pt idx="6976">
                  <c:v>2</c:v>
                </c:pt>
                <c:pt idx="6977">
                  <c:v>0</c:v>
                </c:pt>
                <c:pt idx="6978">
                  <c:v>0</c:v>
                </c:pt>
                <c:pt idx="6979">
                  <c:v>7</c:v>
                </c:pt>
                <c:pt idx="6980">
                  <c:v>12</c:v>
                </c:pt>
                <c:pt idx="6981">
                  <c:v>2</c:v>
                </c:pt>
                <c:pt idx="6982">
                  <c:v>5</c:v>
                </c:pt>
                <c:pt idx="6983">
                  <c:v>0</c:v>
                </c:pt>
                <c:pt idx="6984">
                  <c:v>6</c:v>
                </c:pt>
                <c:pt idx="6985">
                  <c:v>1</c:v>
                </c:pt>
                <c:pt idx="6986">
                  <c:v>0</c:v>
                </c:pt>
                <c:pt idx="6987">
                  <c:v>1</c:v>
                </c:pt>
                <c:pt idx="6988">
                  <c:v>0</c:v>
                </c:pt>
                <c:pt idx="6989">
                  <c:v>1</c:v>
                </c:pt>
                <c:pt idx="6990">
                  <c:v>0</c:v>
                </c:pt>
                <c:pt idx="6991">
                  <c:v>5</c:v>
                </c:pt>
                <c:pt idx="6992">
                  <c:v>1</c:v>
                </c:pt>
                <c:pt idx="6993">
                  <c:v>0</c:v>
                </c:pt>
                <c:pt idx="6994">
                  <c:v>0</c:v>
                </c:pt>
                <c:pt idx="6995">
                  <c:v>3</c:v>
                </c:pt>
                <c:pt idx="6996">
                  <c:v>0</c:v>
                </c:pt>
                <c:pt idx="6997">
                  <c:v>0</c:v>
                </c:pt>
                <c:pt idx="6998">
                  <c:v>4</c:v>
                </c:pt>
                <c:pt idx="6999">
                  <c:v>2</c:v>
                </c:pt>
                <c:pt idx="7000">
                  <c:v>2</c:v>
                </c:pt>
                <c:pt idx="7001">
                  <c:v>8</c:v>
                </c:pt>
                <c:pt idx="7002">
                  <c:v>0</c:v>
                </c:pt>
                <c:pt idx="7003">
                  <c:v>0</c:v>
                </c:pt>
                <c:pt idx="7004">
                  <c:v>1</c:v>
                </c:pt>
                <c:pt idx="7005">
                  <c:v>2</c:v>
                </c:pt>
                <c:pt idx="7006">
                  <c:v>4</c:v>
                </c:pt>
                <c:pt idx="7007">
                  <c:v>6</c:v>
                </c:pt>
                <c:pt idx="7008">
                  <c:v>0</c:v>
                </c:pt>
                <c:pt idx="7009">
                  <c:v>0</c:v>
                </c:pt>
                <c:pt idx="7010">
                  <c:v>0</c:v>
                </c:pt>
                <c:pt idx="7011">
                  <c:v>3</c:v>
                </c:pt>
                <c:pt idx="7012">
                  <c:v>3</c:v>
                </c:pt>
                <c:pt idx="7013">
                  <c:v>0</c:v>
                </c:pt>
                <c:pt idx="7014">
                  <c:v>0</c:v>
                </c:pt>
                <c:pt idx="7015">
                  <c:v>1</c:v>
                </c:pt>
                <c:pt idx="7016">
                  <c:v>44</c:v>
                </c:pt>
                <c:pt idx="7017">
                  <c:v>0</c:v>
                </c:pt>
                <c:pt idx="7018">
                  <c:v>0</c:v>
                </c:pt>
                <c:pt idx="7019">
                  <c:v>0</c:v>
                </c:pt>
                <c:pt idx="7020">
                  <c:v>3</c:v>
                </c:pt>
                <c:pt idx="7021">
                  <c:v>1</c:v>
                </c:pt>
                <c:pt idx="7022">
                  <c:v>0</c:v>
                </c:pt>
                <c:pt idx="7023">
                  <c:v>1</c:v>
                </c:pt>
                <c:pt idx="7024">
                  <c:v>2</c:v>
                </c:pt>
                <c:pt idx="7025">
                  <c:v>0</c:v>
                </c:pt>
                <c:pt idx="7026">
                  <c:v>0</c:v>
                </c:pt>
                <c:pt idx="7027">
                  <c:v>1</c:v>
                </c:pt>
                <c:pt idx="7028">
                  <c:v>0</c:v>
                </c:pt>
                <c:pt idx="7029">
                  <c:v>0</c:v>
                </c:pt>
                <c:pt idx="7030">
                  <c:v>13</c:v>
                </c:pt>
                <c:pt idx="7031">
                  <c:v>16</c:v>
                </c:pt>
                <c:pt idx="7032">
                  <c:v>0</c:v>
                </c:pt>
                <c:pt idx="7033">
                  <c:v>4</c:v>
                </c:pt>
                <c:pt idx="7034">
                  <c:v>1</c:v>
                </c:pt>
                <c:pt idx="7035">
                  <c:v>0</c:v>
                </c:pt>
                <c:pt idx="7036">
                  <c:v>12</c:v>
                </c:pt>
                <c:pt idx="7037">
                  <c:v>0</c:v>
                </c:pt>
                <c:pt idx="7038">
                  <c:v>8</c:v>
                </c:pt>
                <c:pt idx="7039">
                  <c:v>4</c:v>
                </c:pt>
                <c:pt idx="7040">
                  <c:v>1</c:v>
                </c:pt>
                <c:pt idx="7041">
                  <c:v>0</c:v>
                </c:pt>
                <c:pt idx="7042">
                  <c:v>1</c:v>
                </c:pt>
                <c:pt idx="7043">
                  <c:v>6</c:v>
                </c:pt>
                <c:pt idx="7044">
                  <c:v>86</c:v>
                </c:pt>
                <c:pt idx="7045">
                  <c:v>0</c:v>
                </c:pt>
                <c:pt idx="7046">
                  <c:v>1</c:v>
                </c:pt>
                <c:pt idx="7047">
                  <c:v>1</c:v>
                </c:pt>
                <c:pt idx="7048">
                  <c:v>6</c:v>
                </c:pt>
                <c:pt idx="7049">
                  <c:v>0</c:v>
                </c:pt>
                <c:pt idx="7050">
                  <c:v>0</c:v>
                </c:pt>
                <c:pt idx="7051">
                  <c:v>2</c:v>
                </c:pt>
                <c:pt idx="7052">
                  <c:v>0</c:v>
                </c:pt>
                <c:pt idx="7053">
                  <c:v>1</c:v>
                </c:pt>
                <c:pt idx="7054">
                  <c:v>1</c:v>
                </c:pt>
                <c:pt idx="7055">
                  <c:v>1</c:v>
                </c:pt>
                <c:pt idx="7056">
                  <c:v>0</c:v>
                </c:pt>
                <c:pt idx="7057">
                  <c:v>0</c:v>
                </c:pt>
                <c:pt idx="7058">
                  <c:v>0</c:v>
                </c:pt>
                <c:pt idx="7059">
                  <c:v>3</c:v>
                </c:pt>
                <c:pt idx="7060">
                  <c:v>0</c:v>
                </c:pt>
                <c:pt idx="7061">
                  <c:v>0</c:v>
                </c:pt>
                <c:pt idx="7062">
                  <c:v>0</c:v>
                </c:pt>
                <c:pt idx="7063">
                  <c:v>0</c:v>
                </c:pt>
                <c:pt idx="7064">
                  <c:v>0</c:v>
                </c:pt>
                <c:pt idx="7065">
                  <c:v>5</c:v>
                </c:pt>
                <c:pt idx="7066">
                  <c:v>32</c:v>
                </c:pt>
                <c:pt idx="7067">
                  <c:v>0</c:v>
                </c:pt>
                <c:pt idx="7068">
                  <c:v>0</c:v>
                </c:pt>
                <c:pt idx="7069">
                  <c:v>2</c:v>
                </c:pt>
                <c:pt idx="7070">
                  <c:v>1</c:v>
                </c:pt>
                <c:pt idx="7071">
                  <c:v>11</c:v>
                </c:pt>
                <c:pt idx="7072">
                  <c:v>1</c:v>
                </c:pt>
                <c:pt idx="7073">
                  <c:v>0</c:v>
                </c:pt>
                <c:pt idx="7074">
                  <c:v>0</c:v>
                </c:pt>
                <c:pt idx="7075">
                  <c:v>8</c:v>
                </c:pt>
                <c:pt idx="7076">
                  <c:v>2</c:v>
                </c:pt>
                <c:pt idx="7077">
                  <c:v>1</c:v>
                </c:pt>
                <c:pt idx="7078">
                  <c:v>1</c:v>
                </c:pt>
                <c:pt idx="7079">
                  <c:v>4</c:v>
                </c:pt>
                <c:pt idx="7080">
                  <c:v>0</c:v>
                </c:pt>
                <c:pt idx="7081">
                  <c:v>9</c:v>
                </c:pt>
                <c:pt idx="7082">
                  <c:v>0</c:v>
                </c:pt>
                <c:pt idx="7083">
                  <c:v>0</c:v>
                </c:pt>
                <c:pt idx="7084">
                  <c:v>10</c:v>
                </c:pt>
                <c:pt idx="7085">
                  <c:v>1</c:v>
                </c:pt>
                <c:pt idx="7086">
                  <c:v>1</c:v>
                </c:pt>
                <c:pt idx="7087">
                  <c:v>0</c:v>
                </c:pt>
                <c:pt idx="7088">
                  <c:v>0</c:v>
                </c:pt>
                <c:pt idx="7089">
                  <c:v>0</c:v>
                </c:pt>
                <c:pt idx="7090">
                  <c:v>4</c:v>
                </c:pt>
                <c:pt idx="7091">
                  <c:v>0</c:v>
                </c:pt>
                <c:pt idx="7092">
                  <c:v>9</c:v>
                </c:pt>
                <c:pt idx="7093">
                  <c:v>0</c:v>
                </c:pt>
                <c:pt idx="7094">
                  <c:v>2</c:v>
                </c:pt>
                <c:pt idx="7095">
                  <c:v>7</c:v>
                </c:pt>
                <c:pt idx="7096">
                  <c:v>8</c:v>
                </c:pt>
                <c:pt idx="7097">
                  <c:v>0</c:v>
                </c:pt>
                <c:pt idx="7098">
                  <c:v>0</c:v>
                </c:pt>
                <c:pt idx="7099">
                  <c:v>0</c:v>
                </c:pt>
                <c:pt idx="7100">
                  <c:v>0</c:v>
                </c:pt>
                <c:pt idx="7101">
                  <c:v>0</c:v>
                </c:pt>
                <c:pt idx="7102">
                  <c:v>0</c:v>
                </c:pt>
                <c:pt idx="7103">
                  <c:v>0</c:v>
                </c:pt>
                <c:pt idx="7104">
                  <c:v>9</c:v>
                </c:pt>
                <c:pt idx="7105">
                  <c:v>1</c:v>
                </c:pt>
                <c:pt idx="7106">
                  <c:v>0</c:v>
                </c:pt>
                <c:pt idx="7107">
                  <c:v>0</c:v>
                </c:pt>
                <c:pt idx="7108">
                  <c:v>0</c:v>
                </c:pt>
                <c:pt idx="7109">
                  <c:v>0</c:v>
                </c:pt>
                <c:pt idx="7110">
                  <c:v>3</c:v>
                </c:pt>
                <c:pt idx="7111">
                  <c:v>4</c:v>
                </c:pt>
                <c:pt idx="7112">
                  <c:v>0</c:v>
                </c:pt>
                <c:pt idx="7113">
                  <c:v>0</c:v>
                </c:pt>
                <c:pt idx="7114">
                  <c:v>1</c:v>
                </c:pt>
                <c:pt idx="7115">
                  <c:v>0</c:v>
                </c:pt>
                <c:pt idx="7116">
                  <c:v>1</c:v>
                </c:pt>
                <c:pt idx="7117">
                  <c:v>0</c:v>
                </c:pt>
                <c:pt idx="7118">
                  <c:v>0</c:v>
                </c:pt>
                <c:pt idx="7119">
                  <c:v>0</c:v>
                </c:pt>
                <c:pt idx="7120">
                  <c:v>0</c:v>
                </c:pt>
                <c:pt idx="7121">
                  <c:v>0</c:v>
                </c:pt>
                <c:pt idx="7122">
                  <c:v>0</c:v>
                </c:pt>
                <c:pt idx="7123">
                  <c:v>0</c:v>
                </c:pt>
                <c:pt idx="7124">
                  <c:v>0</c:v>
                </c:pt>
                <c:pt idx="7125">
                  <c:v>0</c:v>
                </c:pt>
                <c:pt idx="7126">
                  <c:v>0</c:v>
                </c:pt>
                <c:pt idx="7127">
                  <c:v>1</c:v>
                </c:pt>
                <c:pt idx="7128">
                  <c:v>0</c:v>
                </c:pt>
                <c:pt idx="7129">
                  <c:v>0</c:v>
                </c:pt>
                <c:pt idx="7130">
                  <c:v>0</c:v>
                </c:pt>
                <c:pt idx="7131">
                  <c:v>0</c:v>
                </c:pt>
                <c:pt idx="7132">
                  <c:v>0</c:v>
                </c:pt>
                <c:pt idx="7133">
                  <c:v>0</c:v>
                </c:pt>
                <c:pt idx="7134">
                  <c:v>0</c:v>
                </c:pt>
                <c:pt idx="7135">
                  <c:v>0</c:v>
                </c:pt>
                <c:pt idx="7136">
                  <c:v>0</c:v>
                </c:pt>
                <c:pt idx="7137">
                  <c:v>0</c:v>
                </c:pt>
                <c:pt idx="7138">
                  <c:v>2</c:v>
                </c:pt>
                <c:pt idx="7139">
                  <c:v>0</c:v>
                </c:pt>
                <c:pt idx="7140">
                  <c:v>0</c:v>
                </c:pt>
                <c:pt idx="7141">
                  <c:v>0</c:v>
                </c:pt>
                <c:pt idx="7142">
                  <c:v>4</c:v>
                </c:pt>
                <c:pt idx="7143">
                  <c:v>0</c:v>
                </c:pt>
                <c:pt idx="7144">
                  <c:v>0</c:v>
                </c:pt>
                <c:pt idx="7145">
                  <c:v>0</c:v>
                </c:pt>
                <c:pt idx="7146">
                  <c:v>0</c:v>
                </c:pt>
                <c:pt idx="7147">
                  <c:v>2</c:v>
                </c:pt>
                <c:pt idx="7148">
                  <c:v>0</c:v>
                </c:pt>
                <c:pt idx="7149">
                  <c:v>0</c:v>
                </c:pt>
                <c:pt idx="7150">
                  <c:v>0</c:v>
                </c:pt>
                <c:pt idx="7151">
                  <c:v>5</c:v>
                </c:pt>
                <c:pt idx="7152">
                  <c:v>0</c:v>
                </c:pt>
                <c:pt idx="7153">
                  <c:v>3</c:v>
                </c:pt>
                <c:pt idx="7154">
                  <c:v>0</c:v>
                </c:pt>
                <c:pt idx="7155">
                  <c:v>0</c:v>
                </c:pt>
                <c:pt idx="7156">
                  <c:v>0</c:v>
                </c:pt>
                <c:pt idx="7157">
                  <c:v>2</c:v>
                </c:pt>
                <c:pt idx="7158">
                  <c:v>0</c:v>
                </c:pt>
                <c:pt idx="7159">
                  <c:v>0</c:v>
                </c:pt>
                <c:pt idx="7160">
                  <c:v>2</c:v>
                </c:pt>
                <c:pt idx="7161">
                  <c:v>4</c:v>
                </c:pt>
                <c:pt idx="7162">
                  <c:v>0</c:v>
                </c:pt>
                <c:pt idx="7163">
                  <c:v>0</c:v>
                </c:pt>
                <c:pt idx="7164">
                  <c:v>0</c:v>
                </c:pt>
                <c:pt idx="7165">
                  <c:v>0</c:v>
                </c:pt>
                <c:pt idx="7166">
                  <c:v>0</c:v>
                </c:pt>
                <c:pt idx="7167">
                  <c:v>0</c:v>
                </c:pt>
                <c:pt idx="7168">
                  <c:v>0</c:v>
                </c:pt>
                <c:pt idx="7169">
                  <c:v>0</c:v>
                </c:pt>
                <c:pt idx="7170">
                  <c:v>0</c:v>
                </c:pt>
                <c:pt idx="7171">
                  <c:v>1</c:v>
                </c:pt>
                <c:pt idx="7172">
                  <c:v>0</c:v>
                </c:pt>
                <c:pt idx="7173">
                  <c:v>0</c:v>
                </c:pt>
                <c:pt idx="7174">
                  <c:v>0</c:v>
                </c:pt>
                <c:pt idx="7175">
                  <c:v>2</c:v>
                </c:pt>
                <c:pt idx="7176">
                  <c:v>0</c:v>
                </c:pt>
                <c:pt idx="7177">
                  <c:v>0</c:v>
                </c:pt>
                <c:pt idx="7178">
                  <c:v>0</c:v>
                </c:pt>
                <c:pt idx="7179">
                  <c:v>1</c:v>
                </c:pt>
                <c:pt idx="7180">
                  <c:v>0</c:v>
                </c:pt>
                <c:pt idx="7181">
                  <c:v>2</c:v>
                </c:pt>
                <c:pt idx="7182">
                  <c:v>0</c:v>
                </c:pt>
                <c:pt idx="7183">
                  <c:v>0</c:v>
                </c:pt>
                <c:pt idx="7184">
                  <c:v>0</c:v>
                </c:pt>
                <c:pt idx="7185">
                  <c:v>3</c:v>
                </c:pt>
                <c:pt idx="7186">
                  <c:v>0</c:v>
                </c:pt>
                <c:pt idx="7187">
                  <c:v>0</c:v>
                </c:pt>
                <c:pt idx="7188">
                  <c:v>0</c:v>
                </c:pt>
                <c:pt idx="7189">
                  <c:v>0</c:v>
                </c:pt>
                <c:pt idx="7190">
                  <c:v>0</c:v>
                </c:pt>
                <c:pt idx="7191">
                  <c:v>8</c:v>
                </c:pt>
                <c:pt idx="7192">
                  <c:v>0</c:v>
                </c:pt>
                <c:pt idx="7193">
                  <c:v>0</c:v>
                </c:pt>
                <c:pt idx="7194">
                  <c:v>0</c:v>
                </c:pt>
                <c:pt idx="7195">
                  <c:v>16</c:v>
                </c:pt>
                <c:pt idx="7196">
                  <c:v>0</c:v>
                </c:pt>
                <c:pt idx="7197">
                  <c:v>0</c:v>
                </c:pt>
                <c:pt idx="7198">
                  <c:v>0</c:v>
                </c:pt>
                <c:pt idx="7199">
                  <c:v>1</c:v>
                </c:pt>
                <c:pt idx="7200">
                  <c:v>0</c:v>
                </c:pt>
                <c:pt idx="7201">
                  <c:v>0</c:v>
                </c:pt>
                <c:pt idx="7202">
                  <c:v>0</c:v>
                </c:pt>
                <c:pt idx="7203">
                  <c:v>0</c:v>
                </c:pt>
                <c:pt idx="7204">
                  <c:v>1</c:v>
                </c:pt>
                <c:pt idx="7205">
                  <c:v>0</c:v>
                </c:pt>
                <c:pt idx="7206">
                  <c:v>0</c:v>
                </c:pt>
                <c:pt idx="7207">
                  <c:v>0</c:v>
                </c:pt>
                <c:pt idx="7208">
                  <c:v>0</c:v>
                </c:pt>
                <c:pt idx="7209">
                  <c:v>0</c:v>
                </c:pt>
                <c:pt idx="7210">
                  <c:v>0</c:v>
                </c:pt>
                <c:pt idx="7211">
                  <c:v>0</c:v>
                </c:pt>
                <c:pt idx="7212">
                  <c:v>0</c:v>
                </c:pt>
                <c:pt idx="7213">
                  <c:v>0</c:v>
                </c:pt>
                <c:pt idx="7214">
                  <c:v>2</c:v>
                </c:pt>
                <c:pt idx="7215">
                  <c:v>0</c:v>
                </c:pt>
                <c:pt idx="7216">
                  <c:v>0</c:v>
                </c:pt>
                <c:pt idx="7217">
                  <c:v>3</c:v>
                </c:pt>
                <c:pt idx="7218">
                  <c:v>0</c:v>
                </c:pt>
                <c:pt idx="7219">
                  <c:v>1</c:v>
                </c:pt>
                <c:pt idx="7220">
                  <c:v>1</c:v>
                </c:pt>
                <c:pt idx="7221">
                  <c:v>3</c:v>
                </c:pt>
                <c:pt idx="7222">
                  <c:v>1</c:v>
                </c:pt>
                <c:pt idx="7223">
                  <c:v>0</c:v>
                </c:pt>
                <c:pt idx="7224">
                  <c:v>0</c:v>
                </c:pt>
                <c:pt idx="7225">
                  <c:v>0</c:v>
                </c:pt>
                <c:pt idx="7226">
                  <c:v>4</c:v>
                </c:pt>
                <c:pt idx="7227">
                  <c:v>0</c:v>
                </c:pt>
                <c:pt idx="7228">
                  <c:v>0</c:v>
                </c:pt>
                <c:pt idx="7229">
                  <c:v>14</c:v>
                </c:pt>
                <c:pt idx="7230">
                  <c:v>1</c:v>
                </c:pt>
                <c:pt idx="7231">
                  <c:v>1</c:v>
                </c:pt>
                <c:pt idx="7232">
                  <c:v>2</c:v>
                </c:pt>
                <c:pt idx="7233">
                  <c:v>1</c:v>
                </c:pt>
                <c:pt idx="7234">
                  <c:v>3</c:v>
                </c:pt>
                <c:pt idx="7235">
                  <c:v>1</c:v>
                </c:pt>
                <c:pt idx="7236">
                  <c:v>3</c:v>
                </c:pt>
                <c:pt idx="7237">
                  <c:v>0</c:v>
                </c:pt>
                <c:pt idx="7238">
                  <c:v>0</c:v>
                </c:pt>
                <c:pt idx="7239">
                  <c:v>1</c:v>
                </c:pt>
                <c:pt idx="7240">
                  <c:v>1</c:v>
                </c:pt>
                <c:pt idx="7241">
                  <c:v>0</c:v>
                </c:pt>
                <c:pt idx="7242">
                  <c:v>0</c:v>
                </c:pt>
                <c:pt idx="7243">
                  <c:v>2</c:v>
                </c:pt>
                <c:pt idx="7244">
                  <c:v>0</c:v>
                </c:pt>
              </c:numCache>
            </c:numRef>
          </c:yVal>
          <c:smooth val="0"/>
          <c:extLst>
            <c:ext xmlns:c16="http://schemas.microsoft.com/office/drawing/2014/chart" uri="{C3380CC4-5D6E-409C-BE32-E72D297353CC}">
              <c16:uniqueId val="{00000000-9C8D-464A-B50E-E6A3B1EAABE7}"/>
            </c:ext>
          </c:extLst>
        </c:ser>
        <c:dLbls>
          <c:showLegendKey val="0"/>
          <c:showVal val="0"/>
          <c:showCatName val="0"/>
          <c:showSerName val="0"/>
          <c:showPercent val="0"/>
          <c:showBubbleSize val="0"/>
        </c:dLbls>
        <c:axId val="1195238159"/>
        <c:axId val="1728954431"/>
      </c:scatterChart>
      <c:valAx>
        <c:axId val="119523815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GD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728954431"/>
        <c:crosses val="autoZero"/>
        <c:crossBetween val="midCat"/>
      </c:valAx>
      <c:valAx>
        <c:axId val="172895443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19523815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arbucks Stores to City Popula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Helvetica Neue" panose="020B0604020202020204" charset="0"/>
              <a:ea typeface="+mn-ea"/>
              <a:cs typeface="+mn-cs"/>
            </a:defRPr>
          </a:pPr>
          <a:endParaRPr lang="en-US"/>
        </a:p>
      </c:txPr>
    </c:title>
    <c:autoTitleDeleted val="0"/>
    <c:plotArea>
      <c:layout/>
      <c:scatterChart>
        <c:scatterStyle val="lineMarker"/>
        <c:varyColors val="0"/>
        <c:ser>
          <c:idx val="0"/>
          <c:order val="0"/>
          <c:tx>
            <c:strRef>
              <c:f>cities!$I$1</c:f>
              <c:strCache>
                <c:ptCount val="1"/>
                <c:pt idx="0">
                  <c:v>Starbucks</c:v>
                </c:pt>
              </c:strCache>
            </c:strRef>
          </c:tx>
          <c:spPr>
            <a:ln w="19050" cap="rnd">
              <a:noFill/>
              <a:round/>
            </a:ln>
            <a:effectLst/>
          </c:spPr>
          <c:marker>
            <c:symbol val="circle"/>
            <c:size val="5"/>
            <c:spPr>
              <a:solidFill>
                <a:schemeClr val="accent1"/>
              </a:solidFill>
              <a:ln w="9525">
                <a:solidFill>
                  <a:schemeClr val="accent1"/>
                </a:solidFill>
              </a:ln>
              <a:effectLst/>
            </c:spPr>
          </c:marker>
          <c:xVal>
            <c:numRef>
              <c:f>cities!$E$2:$E$7253</c:f>
              <c:numCache>
                <c:formatCode>General</c:formatCode>
                <c:ptCount val="7245"/>
                <c:pt idx="0">
                  <c:v>50840</c:v>
                </c:pt>
                <c:pt idx="1">
                  <c:v>30183</c:v>
                </c:pt>
                <c:pt idx="2">
                  <c:v>37821</c:v>
                </c:pt>
                <c:pt idx="3">
                  <c:v>397994</c:v>
                </c:pt>
                <c:pt idx="4">
                  <c:v>81180</c:v>
                </c:pt>
                <c:pt idx="5">
                  <c:v>810561</c:v>
                </c:pt>
                <c:pt idx="6">
                  <c:v>788079</c:v>
                </c:pt>
                <c:pt idx="7">
                  <c:v>968093</c:v>
                </c:pt>
                <c:pt idx="8">
                  <c:v>82834</c:v>
                </c:pt>
                <c:pt idx="9">
                  <c:v>108430</c:v>
                </c:pt>
                <c:pt idx="10">
                  <c:v>20185</c:v>
                </c:pt>
                <c:pt idx="11">
                  <c:v>95614</c:v>
                </c:pt>
                <c:pt idx="12">
                  <c:v>1089891</c:v>
                </c:pt>
                <c:pt idx="13">
                  <c:v>73165</c:v>
                </c:pt>
                <c:pt idx="14">
                  <c:v>670238</c:v>
                </c:pt>
                <c:pt idx="15">
                  <c:v>452290</c:v>
                </c:pt>
                <c:pt idx="16">
                  <c:v>283488</c:v>
                </c:pt>
                <c:pt idx="17">
                  <c:v>27530</c:v>
                </c:pt>
                <c:pt idx="18">
                  <c:v>930032</c:v>
                </c:pt>
                <c:pt idx="19">
                  <c:v>366221</c:v>
                </c:pt>
                <c:pt idx="20">
                  <c:v>41920</c:v>
                </c:pt>
                <c:pt idx="21">
                  <c:v>54166</c:v>
                </c:pt>
                <c:pt idx="22">
                  <c:v>666190</c:v>
                </c:pt>
                <c:pt idx="23">
                  <c:v>136726</c:v>
                </c:pt>
                <c:pt idx="24">
                  <c:v>117262</c:v>
                </c:pt>
                <c:pt idx="25">
                  <c:v>165577</c:v>
                </c:pt>
                <c:pt idx="26">
                  <c:v>567406</c:v>
                </c:pt>
                <c:pt idx="27">
                  <c:v>1021276</c:v>
                </c:pt>
                <c:pt idx="28">
                  <c:v>21314</c:v>
                </c:pt>
                <c:pt idx="29">
                  <c:v>67991</c:v>
                </c:pt>
                <c:pt idx="30">
                  <c:v>47281</c:v>
                </c:pt>
                <c:pt idx="31">
                  <c:v>924326</c:v>
                </c:pt>
                <c:pt idx="32">
                  <c:v>1527916</c:v>
                </c:pt>
                <c:pt idx="33">
                  <c:v>58510</c:v>
                </c:pt>
                <c:pt idx="34">
                  <c:v>63717</c:v>
                </c:pt>
                <c:pt idx="35">
                  <c:v>154497</c:v>
                </c:pt>
                <c:pt idx="36">
                  <c:v>169416</c:v>
                </c:pt>
                <c:pt idx="37">
                  <c:v>102757</c:v>
                </c:pt>
                <c:pt idx="38">
                  <c:v>318127</c:v>
                </c:pt>
                <c:pt idx="39">
                  <c:v>740135</c:v>
                </c:pt>
                <c:pt idx="40">
                  <c:v>7010</c:v>
                </c:pt>
                <c:pt idx="41">
                  <c:v>25737</c:v>
                </c:pt>
                <c:pt idx="42">
                  <c:v>63588</c:v>
                </c:pt>
                <c:pt idx="43">
                  <c:v>13906</c:v>
                </c:pt>
                <c:pt idx="44">
                  <c:v>20962</c:v>
                </c:pt>
                <c:pt idx="45">
                  <c:v>83199</c:v>
                </c:pt>
                <c:pt idx="46">
                  <c:v>53169</c:v>
                </c:pt>
                <c:pt idx="47">
                  <c:v>18367</c:v>
                </c:pt>
                <c:pt idx="48">
                  <c:v>36867</c:v>
                </c:pt>
                <c:pt idx="49">
                  <c:v>21874</c:v>
                </c:pt>
                <c:pt idx="50">
                  <c:v>366427</c:v>
                </c:pt>
                <c:pt idx="51">
                  <c:v>24666</c:v>
                </c:pt>
                <c:pt idx="52">
                  <c:v>5161</c:v>
                </c:pt>
                <c:pt idx="53">
                  <c:v>48191</c:v>
                </c:pt>
                <c:pt idx="54">
                  <c:v>114736</c:v>
                </c:pt>
                <c:pt idx="55">
                  <c:v>40604</c:v>
                </c:pt>
                <c:pt idx="56">
                  <c:v>25244</c:v>
                </c:pt>
                <c:pt idx="57">
                  <c:v>66188</c:v>
                </c:pt>
                <c:pt idx="58">
                  <c:v>22259</c:v>
                </c:pt>
                <c:pt idx="59">
                  <c:v>31864</c:v>
                </c:pt>
                <c:pt idx="60">
                  <c:v>16390</c:v>
                </c:pt>
                <c:pt idx="61">
                  <c:v>20674</c:v>
                </c:pt>
                <c:pt idx="62">
                  <c:v>33195</c:v>
                </c:pt>
                <c:pt idx="63">
                  <c:v>41015</c:v>
                </c:pt>
                <c:pt idx="64">
                  <c:v>47184</c:v>
                </c:pt>
                <c:pt idx="65">
                  <c:v>61684</c:v>
                </c:pt>
                <c:pt idx="66">
                  <c:v>397108</c:v>
                </c:pt>
                <c:pt idx="67">
                  <c:v>73652</c:v>
                </c:pt>
                <c:pt idx="68">
                  <c:v>32523</c:v>
                </c:pt>
                <c:pt idx="69">
                  <c:v>34204</c:v>
                </c:pt>
                <c:pt idx="70">
                  <c:v>60328</c:v>
                </c:pt>
                <c:pt idx="71">
                  <c:v>96605</c:v>
                </c:pt>
                <c:pt idx="72">
                  <c:v>79070</c:v>
                </c:pt>
                <c:pt idx="73">
                  <c:v>28201</c:v>
                </c:pt>
                <c:pt idx="74">
                  <c:v>27327</c:v>
                </c:pt>
                <c:pt idx="75">
                  <c:v>85966</c:v>
                </c:pt>
                <c:pt idx="76">
                  <c:v>14949</c:v>
                </c:pt>
                <c:pt idx="77">
                  <c:v>28593</c:v>
                </c:pt>
                <c:pt idx="78">
                  <c:v>739</c:v>
                </c:pt>
                <c:pt idx="79">
                  <c:v>21272</c:v>
                </c:pt>
                <c:pt idx="80">
                  <c:v>17759</c:v>
                </c:pt>
                <c:pt idx="81">
                  <c:v>4299</c:v>
                </c:pt>
                <c:pt idx="82">
                  <c:v>27530</c:v>
                </c:pt>
                <c:pt idx="83">
                  <c:v>41286</c:v>
                </c:pt>
                <c:pt idx="84">
                  <c:v>66087</c:v>
                </c:pt>
                <c:pt idx="85">
                  <c:v>5913</c:v>
                </c:pt>
                <c:pt idx="86">
                  <c:v>83489</c:v>
                </c:pt>
                <c:pt idx="87">
                  <c:v>91969</c:v>
                </c:pt>
                <c:pt idx="88">
                  <c:v>4519</c:v>
                </c:pt>
                <c:pt idx="89">
                  <c:v>1665</c:v>
                </c:pt>
                <c:pt idx="90">
                  <c:v>26241</c:v>
                </c:pt>
                <c:pt idx="91">
                  <c:v>38879</c:v>
                </c:pt>
                <c:pt idx="92">
                  <c:v>14914</c:v>
                </c:pt>
                <c:pt idx="93">
                  <c:v>10053</c:v>
                </c:pt>
                <c:pt idx="94">
                  <c:v>83724</c:v>
                </c:pt>
                <c:pt idx="95">
                  <c:v>48786</c:v>
                </c:pt>
                <c:pt idx="96">
                  <c:v>84229</c:v>
                </c:pt>
                <c:pt idx="97">
                  <c:v>78426</c:v>
                </c:pt>
                <c:pt idx="98">
                  <c:v>8808</c:v>
                </c:pt>
                <c:pt idx="99">
                  <c:v>11447</c:v>
                </c:pt>
                <c:pt idx="100">
                  <c:v>98882</c:v>
                </c:pt>
                <c:pt idx="101">
                  <c:v>63730</c:v>
                </c:pt>
                <c:pt idx="102">
                  <c:v>16515</c:v>
                </c:pt>
                <c:pt idx="103">
                  <c:v>86394</c:v>
                </c:pt>
                <c:pt idx="104">
                  <c:v>28693</c:v>
                </c:pt>
                <c:pt idx="105">
                  <c:v>15131</c:v>
                </c:pt>
                <c:pt idx="106">
                  <c:v>51836</c:v>
                </c:pt>
                <c:pt idx="107">
                  <c:v>47666</c:v>
                </c:pt>
                <c:pt idx="108">
                  <c:v>49989</c:v>
                </c:pt>
                <c:pt idx="109">
                  <c:v>41188</c:v>
                </c:pt>
                <c:pt idx="110">
                  <c:v>120486</c:v>
                </c:pt>
                <c:pt idx="111">
                  <c:v>82192</c:v>
                </c:pt>
                <c:pt idx="112">
                  <c:v>78333</c:v>
                </c:pt>
                <c:pt idx="113">
                  <c:v>23575</c:v>
                </c:pt>
                <c:pt idx="114">
                  <c:v>270963</c:v>
                </c:pt>
                <c:pt idx="115">
                  <c:v>88630</c:v>
                </c:pt>
                <c:pt idx="116">
                  <c:v>36841</c:v>
                </c:pt>
                <c:pt idx="117">
                  <c:v>11337</c:v>
                </c:pt>
                <c:pt idx="118">
                  <c:v>132252</c:v>
                </c:pt>
                <c:pt idx="119">
                  <c:v>18733</c:v>
                </c:pt>
                <c:pt idx="120">
                  <c:v>9869</c:v>
                </c:pt>
                <c:pt idx="121">
                  <c:v>57931</c:v>
                </c:pt>
                <c:pt idx="122">
                  <c:v>7963</c:v>
                </c:pt>
                <c:pt idx="123">
                  <c:v>102140</c:v>
                </c:pt>
                <c:pt idx="124">
                  <c:v>127191</c:v>
                </c:pt>
                <c:pt idx="125">
                  <c:v>23148</c:v>
                </c:pt>
                <c:pt idx="126">
                  <c:v>15660</c:v>
                </c:pt>
                <c:pt idx="127">
                  <c:v>260072</c:v>
                </c:pt>
                <c:pt idx="128">
                  <c:v>19672</c:v>
                </c:pt>
                <c:pt idx="129">
                  <c:v>10145</c:v>
                </c:pt>
                <c:pt idx="130">
                  <c:v>112964</c:v>
                </c:pt>
                <c:pt idx="131">
                  <c:v>8966</c:v>
                </c:pt>
                <c:pt idx="132">
                  <c:v>83421</c:v>
                </c:pt>
                <c:pt idx="133">
                  <c:v>8347</c:v>
                </c:pt>
                <c:pt idx="134">
                  <c:v>48962</c:v>
                </c:pt>
                <c:pt idx="135">
                  <c:v>50543</c:v>
                </c:pt>
                <c:pt idx="136">
                  <c:v>112462</c:v>
                </c:pt>
                <c:pt idx="137">
                  <c:v>26929</c:v>
                </c:pt>
                <c:pt idx="138">
                  <c:v>60848</c:v>
                </c:pt>
                <c:pt idx="139">
                  <c:v>79257</c:v>
                </c:pt>
                <c:pt idx="140">
                  <c:v>12823</c:v>
                </c:pt>
                <c:pt idx="141">
                  <c:v>55487</c:v>
                </c:pt>
                <c:pt idx="142">
                  <c:v>46492</c:v>
                </c:pt>
                <c:pt idx="143">
                  <c:v>46270</c:v>
                </c:pt>
                <c:pt idx="144">
                  <c:v>32044</c:v>
                </c:pt>
                <c:pt idx="145">
                  <c:v>21494</c:v>
                </c:pt>
                <c:pt idx="146">
                  <c:v>114293</c:v>
                </c:pt>
                <c:pt idx="147">
                  <c:v>27008</c:v>
                </c:pt>
                <c:pt idx="148">
                  <c:v>69818</c:v>
                </c:pt>
                <c:pt idx="149">
                  <c:v>10047</c:v>
                </c:pt>
                <c:pt idx="150">
                  <c:v>176922</c:v>
                </c:pt>
                <c:pt idx="151">
                  <c:v>49880</c:v>
                </c:pt>
                <c:pt idx="152">
                  <c:v>26461</c:v>
                </c:pt>
                <c:pt idx="153">
                  <c:v>45340</c:v>
                </c:pt>
                <c:pt idx="154">
                  <c:v>87993</c:v>
                </c:pt>
                <c:pt idx="155">
                  <c:v>17243</c:v>
                </c:pt>
                <c:pt idx="156">
                  <c:v>27133</c:v>
                </c:pt>
                <c:pt idx="157">
                  <c:v>185955</c:v>
                </c:pt>
                <c:pt idx="158">
                  <c:v>33755</c:v>
                </c:pt>
                <c:pt idx="159">
                  <c:v>45152</c:v>
                </c:pt>
                <c:pt idx="160">
                  <c:v>12481</c:v>
                </c:pt>
                <c:pt idx="161">
                  <c:v>70297</c:v>
                </c:pt>
                <c:pt idx="162">
                  <c:v>47885</c:v>
                </c:pt>
                <c:pt idx="163">
                  <c:v>42434</c:v>
                </c:pt>
                <c:pt idx="164">
                  <c:v>118983</c:v>
                </c:pt>
                <c:pt idx="165">
                  <c:v>50661</c:v>
                </c:pt>
                <c:pt idx="166">
                  <c:v>18810</c:v>
                </c:pt>
                <c:pt idx="167">
                  <c:v>9483</c:v>
                </c:pt>
                <c:pt idx="168">
                  <c:v>73815</c:v>
                </c:pt>
                <c:pt idx="169">
                  <c:v>234333</c:v>
                </c:pt>
                <c:pt idx="170">
                  <c:v>12524</c:v>
                </c:pt>
                <c:pt idx="171">
                  <c:v>15903</c:v>
                </c:pt>
                <c:pt idx="172">
                  <c:v>14989</c:v>
                </c:pt>
                <c:pt idx="173">
                  <c:v>57139</c:v>
                </c:pt>
                <c:pt idx="174">
                  <c:v>8273</c:v>
                </c:pt>
                <c:pt idx="175">
                  <c:v>5483</c:v>
                </c:pt>
                <c:pt idx="176">
                  <c:v>6912</c:v>
                </c:pt>
                <c:pt idx="177">
                  <c:v>231502</c:v>
                </c:pt>
                <c:pt idx="178">
                  <c:v>511160</c:v>
                </c:pt>
                <c:pt idx="179">
                  <c:v>142684</c:v>
                </c:pt>
                <c:pt idx="180">
                  <c:v>31509</c:v>
                </c:pt>
                <c:pt idx="181">
                  <c:v>174585</c:v>
                </c:pt>
                <c:pt idx="182">
                  <c:v>86047</c:v>
                </c:pt>
                <c:pt idx="183">
                  <c:v>1802</c:v>
                </c:pt>
                <c:pt idx="184">
                  <c:v>67851</c:v>
                </c:pt>
                <c:pt idx="185">
                  <c:v>142355</c:v>
                </c:pt>
                <c:pt idx="186">
                  <c:v>53839</c:v>
                </c:pt>
                <c:pt idx="187">
                  <c:v>9086</c:v>
                </c:pt>
                <c:pt idx="188">
                  <c:v>54465</c:v>
                </c:pt>
                <c:pt idx="189">
                  <c:v>13079</c:v>
                </c:pt>
                <c:pt idx="190">
                  <c:v>48428</c:v>
                </c:pt>
                <c:pt idx="191">
                  <c:v>12010</c:v>
                </c:pt>
                <c:pt idx="192">
                  <c:v>12846</c:v>
                </c:pt>
                <c:pt idx="193">
                  <c:v>4781</c:v>
                </c:pt>
                <c:pt idx="194">
                  <c:v>10012</c:v>
                </c:pt>
                <c:pt idx="195">
                  <c:v>54853</c:v>
                </c:pt>
                <c:pt idx="196">
                  <c:v>15452</c:v>
                </c:pt>
                <c:pt idx="197">
                  <c:v>67486</c:v>
                </c:pt>
                <c:pt idx="198">
                  <c:v>27998</c:v>
                </c:pt>
                <c:pt idx="199">
                  <c:v>14050</c:v>
                </c:pt>
                <c:pt idx="200">
                  <c:v>96730</c:v>
                </c:pt>
                <c:pt idx="201">
                  <c:v>180482</c:v>
                </c:pt>
                <c:pt idx="202">
                  <c:v>16596</c:v>
                </c:pt>
                <c:pt idx="203">
                  <c:v>82209</c:v>
                </c:pt>
                <c:pt idx="204">
                  <c:v>26050</c:v>
                </c:pt>
                <c:pt idx="205">
                  <c:v>19787</c:v>
                </c:pt>
                <c:pt idx="206">
                  <c:v>108762</c:v>
                </c:pt>
                <c:pt idx="207">
                  <c:v>60133</c:v>
                </c:pt>
                <c:pt idx="208">
                  <c:v>8639</c:v>
                </c:pt>
                <c:pt idx="209">
                  <c:v>55905</c:v>
                </c:pt>
                <c:pt idx="210">
                  <c:v>198273</c:v>
                </c:pt>
                <c:pt idx="211">
                  <c:v>72488</c:v>
                </c:pt>
                <c:pt idx="212">
                  <c:v>26375</c:v>
                </c:pt>
                <c:pt idx="213">
                  <c:v>4827</c:v>
                </c:pt>
                <c:pt idx="214">
                  <c:v>96154</c:v>
                </c:pt>
                <c:pt idx="215">
                  <c:v>132550</c:v>
                </c:pt>
                <c:pt idx="216">
                  <c:v>279153</c:v>
                </c:pt>
                <c:pt idx="217">
                  <c:v>6913</c:v>
                </c:pt>
                <c:pt idx="218">
                  <c:v>80036</c:v>
                </c:pt>
                <c:pt idx="219">
                  <c:v>20736</c:v>
                </c:pt>
                <c:pt idx="220">
                  <c:v>16945</c:v>
                </c:pt>
                <c:pt idx="221">
                  <c:v>3480</c:v>
                </c:pt>
                <c:pt idx="222">
                  <c:v>16738</c:v>
                </c:pt>
                <c:pt idx="223">
                  <c:v>20621</c:v>
                </c:pt>
                <c:pt idx="224">
                  <c:v>32009</c:v>
                </c:pt>
                <c:pt idx="225">
                  <c:v>69601</c:v>
                </c:pt>
                <c:pt idx="226">
                  <c:v>37505</c:v>
                </c:pt>
                <c:pt idx="227">
                  <c:v>74721</c:v>
                </c:pt>
                <c:pt idx="228">
                  <c:v>46335</c:v>
                </c:pt>
                <c:pt idx="229">
                  <c:v>15703</c:v>
                </c:pt>
                <c:pt idx="230">
                  <c:v>110681</c:v>
                </c:pt>
                <c:pt idx="231">
                  <c:v>37814</c:v>
                </c:pt>
                <c:pt idx="232">
                  <c:v>33406</c:v>
                </c:pt>
                <c:pt idx="233">
                  <c:v>34879</c:v>
                </c:pt>
                <c:pt idx="234">
                  <c:v>28545</c:v>
                </c:pt>
                <c:pt idx="235">
                  <c:v>64608</c:v>
                </c:pt>
                <c:pt idx="236">
                  <c:v>17546</c:v>
                </c:pt>
                <c:pt idx="237">
                  <c:v>5382</c:v>
                </c:pt>
                <c:pt idx="238">
                  <c:v>85767</c:v>
                </c:pt>
                <c:pt idx="239">
                  <c:v>66621</c:v>
                </c:pt>
                <c:pt idx="240">
                  <c:v>5912</c:v>
                </c:pt>
                <c:pt idx="241">
                  <c:v>11523</c:v>
                </c:pt>
                <c:pt idx="242">
                  <c:v>45371</c:v>
                </c:pt>
                <c:pt idx="243">
                  <c:v>81988</c:v>
                </c:pt>
                <c:pt idx="244">
                  <c:v>16543</c:v>
                </c:pt>
                <c:pt idx="245">
                  <c:v>43535</c:v>
                </c:pt>
                <c:pt idx="246">
                  <c:v>7274</c:v>
                </c:pt>
                <c:pt idx="247">
                  <c:v>28325</c:v>
                </c:pt>
                <c:pt idx="248">
                  <c:v>33794</c:v>
                </c:pt>
                <c:pt idx="249">
                  <c:v>920</c:v>
                </c:pt>
                <c:pt idx="250">
                  <c:v>27685</c:v>
                </c:pt>
                <c:pt idx="251">
                  <c:v>37360</c:v>
                </c:pt>
                <c:pt idx="252">
                  <c:v>54074</c:v>
                </c:pt>
                <c:pt idx="253">
                  <c:v>17182</c:v>
                </c:pt>
                <c:pt idx="254">
                  <c:v>13793</c:v>
                </c:pt>
                <c:pt idx="255">
                  <c:v>40552</c:v>
                </c:pt>
                <c:pt idx="256">
                  <c:v>17253</c:v>
                </c:pt>
                <c:pt idx="257">
                  <c:v>27448</c:v>
                </c:pt>
                <c:pt idx="258">
                  <c:v>22977</c:v>
                </c:pt>
                <c:pt idx="259">
                  <c:v>21727</c:v>
                </c:pt>
                <c:pt idx="260">
                  <c:v>56165</c:v>
                </c:pt>
                <c:pt idx="261">
                  <c:v>1629</c:v>
                </c:pt>
                <c:pt idx="262">
                  <c:v>437841</c:v>
                </c:pt>
                <c:pt idx="263">
                  <c:v>14479</c:v>
                </c:pt>
                <c:pt idx="264">
                  <c:v>23660</c:v>
                </c:pt>
                <c:pt idx="265">
                  <c:v>46606</c:v>
                </c:pt>
                <c:pt idx="266">
                  <c:v>36916</c:v>
                </c:pt>
                <c:pt idx="267">
                  <c:v>15692</c:v>
                </c:pt>
                <c:pt idx="268">
                  <c:v>3178</c:v>
                </c:pt>
                <c:pt idx="269">
                  <c:v>67210</c:v>
                </c:pt>
                <c:pt idx="270">
                  <c:v>92665</c:v>
                </c:pt>
                <c:pt idx="271">
                  <c:v>8779</c:v>
                </c:pt>
                <c:pt idx="272">
                  <c:v>90007</c:v>
                </c:pt>
                <c:pt idx="273">
                  <c:v>26301</c:v>
                </c:pt>
                <c:pt idx="274">
                  <c:v>23951</c:v>
                </c:pt>
                <c:pt idx="275">
                  <c:v>49230</c:v>
                </c:pt>
                <c:pt idx="276">
                  <c:v>36176</c:v>
                </c:pt>
                <c:pt idx="277">
                  <c:v>25415</c:v>
                </c:pt>
                <c:pt idx="278">
                  <c:v>15318</c:v>
                </c:pt>
                <c:pt idx="279">
                  <c:v>18467</c:v>
                </c:pt>
                <c:pt idx="280">
                  <c:v>13884</c:v>
                </c:pt>
                <c:pt idx="281">
                  <c:v>100097</c:v>
                </c:pt>
                <c:pt idx="282">
                  <c:v>71629</c:v>
                </c:pt>
                <c:pt idx="283">
                  <c:v>23083</c:v>
                </c:pt>
                <c:pt idx="284">
                  <c:v>79769</c:v>
                </c:pt>
                <c:pt idx="285">
                  <c:v>35641</c:v>
                </c:pt>
                <c:pt idx="286">
                  <c:v>18752</c:v>
                </c:pt>
                <c:pt idx="287">
                  <c:v>94677</c:v>
                </c:pt>
                <c:pt idx="288">
                  <c:v>267741</c:v>
                </c:pt>
                <c:pt idx="289">
                  <c:v>5128</c:v>
                </c:pt>
                <c:pt idx="290">
                  <c:v>41507</c:v>
                </c:pt>
                <c:pt idx="291">
                  <c:v>62941</c:v>
                </c:pt>
                <c:pt idx="292">
                  <c:v>33931</c:v>
                </c:pt>
                <c:pt idx="293">
                  <c:v>7869</c:v>
                </c:pt>
                <c:pt idx="294">
                  <c:v>38030</c:v>
                </c:pt>
                <c:pt idx="295">
                  <c:v>15672</c:v>
                </c:pt>
                <c:pt idx="296">
                  <c:v>208972</c:v>
                </c:pt>
                <c:pt idx="297">
                  <c:v>52321</c:v>
                </c:pt>
                <c:pt idx="298">
                  <c:v>11250</c:v>
                </c:pt>
                <c:pt idx="299">
                  <c:v>47914</c:v>
                </c:pt>
                <c:pt idx="300">
                  <c:v>76795</c:v>
                </c:pt>
                <c:pt idx="301">
                  <c:v>27913</c:v>
                </c:pt>
                <c:pt idx="302">
                  <c:v>58349</c:v>
                </c:pt>
                <c:pt idx="303">
                  <c:v>5312</c:v>
                </c:pt>
                <c:pt idx="304">
                  <c:v>47815</c:v>
                </c:pt>
                <c:pt idx="305">
                  <c:v>44356</c:v>
                </c:pt>
                <c:pt idx="306">
                  <c:v>35231</c:v>
                </c:pt>
                <c:pt idx="307">
                  <c:v>57623</c:v>
                </c:pt>
                <c:pt idx="308">
                  <c:v>22032</c:v>
                </c:pt>
                <c:pt idx="309">
                  <c:v>26204</c:v>
                </c:pt>
                <c:pt idx="310">
                  <c:v>35649</c:v>
                </c:pt>
                <c:pt idx="311">
                  <c:v>64519</c:v>
                </c:pt>
                <c:pt idx="312">
                  <c:v>151293</c:v>
                </c:pt>
                <c:pt idx="313">
                  <c:v>64683</c:v>
                </c:pt>
                <c:pt idx="314">
                  <c:v>103427</c:v>
                </c:pt>
                <c:pt idx="315">
                  <c:v>61223</c:v>
                </c:pt>
                <c:pt idx="316">
                  <c:v>13561</c:v>
                </c:pt>
                <c:pt idx="317">
                  <c:v>34725</c:v>
                </c:pt>
                <c:pt idx="318">
                  <c:v>44088</c:v>
                </c:pt>
                <c:pt idx="319">
                  <c:v>197342</c:v>
                </c:pt>
                <c:pt idx="320">
                  <c:v>21691</c:v>
                </c:pt>
                <c:pt idx="321">
                  <c:v>1165</c:v>
                </c:pt>
                <c:pt idx="322">
                  <c:v>178349</c:v>
                </c:pt>
                <c:pt idx="323">
                  <c:v>143989</c:v>
                </c:pt>
                <c:pt idx="324">
                  <c:v>33099</c:v>
                </c:pt>
                <c:pt idx="325">
                  <c:v>19454</c:v>
                </c:pt>
                <c:pt idx="326">
                  <c:v>16812</c:v>
                </c:pt>
                <c:pt idx="327">
                  <c:v>51094</c:v>
                </c:pt>
                <c:pt idx="328">
                  <c:v>215025</c:v>
                </c:pt>
                <c:pt idx="329">
                  <c:v>15169</c:v>
                </c:pt>
                <c:pt idx="330">
                  <c:v>38609</c:v>
                </c:pt>
                <c:pt idx="331">
                  <c:v>102553</c:v>
                </c:pt>
                <c:pt idx="332">
                  <c:v>57392</c:v>
                </c:pt>
                <c:pt idx="333">
                  <c:v>45853</c:v>
                </c:pt>
                <c:pt idx="334">
                  <c:v>97926</c:v>
                </c:pt>
                <c:pt idx="335">
                  <c:v>48487</c:v>
                </c:pt>
                <c:pt idx="336">
                  <c:v>24890</c:v>
                </c:pt>
                <c:pt idx="337">
                  <c:v>68076</c:v>
                </c:pt>
                <c:pt idx="338">
                  <c:v>9032</c:v>
                </c:pt>
                <c:pt idx="339">
                  <c:v>53938</c:v>
                </c:pt>
                <c:pt idx="340">
                  <c:v>15507</c:v>
                </c:pt>
                <c:pt idx="341">
                  <c:v>153695</c:v>
                </c:pt>
                <c:pt idx="342">
                  <c:v>46048</c:v>
                </c:pt>
                <c:pt idx="343">
                  <c:v>29364</c:v>
                </c:pt>
                <c:pt idx="344">
                  <c:v>1694</c:v>
                </c:pt>
                <c:pt idx="345">
                  <c:v>3393</c:v>
                </c:pt>
                <c:pt idx="346">
                  <c:v>118440</c:v>
                </c:pt>
                <c:pt idx="347">
                  <c:v>72811</c:v>
                </c:pt>
                <c:pt idx="348">
                  <c:v>21123</c:v>
                </c:pt>
                <c:pt idx="349">
                  <c:v>62383</c:v>
                </c:pt>
                <c:pt idx="350">
                  <c:v>19065</c:v>
                </c:pt>
                <c:pt idx="351">
                  <c:v>100700</c:v>
                </c:pt>
                <c:pt idx="352">
                  <c:v>53126</c:v>
                </c:pt>
                <c:pt idx="353">
                  <c:v>35343</c:v>
                </c:pt>
                <c:pt idx="354">
                  <c:v>11426</c:v>
                </c:pt>
                <c:pt idx="355">
                  <c:v>34957</c:v>
                </c:pt>
                <c:pt idx="356">
                  <c:v>158649</c:v>
                </c:pt>
                <c:pt idx="357">
                  <c:v>36079</c:v>
                </c:pt>
                <c:pt idx="358">
                  <c:v>78754</c:v>
                </c:pt>
                <c:pt idx="359">
                  <c:v>49005</c:v>
                </c:pt>
                <c:pt idx="360">
                  <c:v>36838</c:v>
                </c:pt>
                <c:pt idx="361">
                  <c:v>73640</c:v>
                </c:pt>
                <c:pt idx="362">
                  <c:v>174023</c:v>
                </c:pt>
                <c:pt idx="363">
                  <c:v>17129</c:v>
                </c:pt>
                <c:pt idx="364">
                  <c:v>42417</c:v>
                </c:pt>
                <c:pt idx="365">
                  <c:v>44386</c:v>
                </c:pt>
                <c:pt idx="366">
                  <c:v>31469</c:v>
                </c:pt>
                <c:pt idx="367">
                  <c:v>113468</c:v>
                </c:pt>
                <c:pt idx="368">
                  <c:v>77406</c:v>
                </c:pt>
                <c:pt idx="369">
                  <c:v>79250</c:v>
                </c:pt>
                <c:pt idx="370">
                  <c:v>73418</c:v>
                </c:pt>
                <c:pt idx="371">
                  <c:v>29697</c:v>
                </c:pt>
                <c:pt idx="372">
                  <c:v>5937</c:v>
                </c:pt>
                <c:pt idx="373">
                  <c:v>78205</c:v>
                </c:pt>
                <c:pt idx="374">
                  <c:v>107027</c:v>
                </c:pt>
                <c:pt idx="375">
                  <c:v>91307</c:v>
                </c:pt>
                <c:pt idx="376">
                  <c:v>33060</c:v>
                </c:pt>
                <c:pt idx="377">
                  <c:v>17332</c:v>
                </c:pt>
                <c:pt idx="378">
                  <c:v>10776</c:v>
                </c:pt>
                <c:pt idx="379">
                  <c:v>18462</c:v>
                </c:pt>
                <c:pt idx="380">
                  <c:v>25037</c:v>
                </c:pt>
                <c:pt idx="381">
                  <c:v>362704</c:v>
                </c:pt>
                <c:pt idx="382">
                  <c:v>70211</c:v>
                </c:pt>
                <c:pt idx="383">
                  <c:v>9546</c:v>
                </c:pt>
                <c:pt idx="384">
                  <c:v>45910</c:v>
                </c:pt>
                <c:pt idx="385">
                  <c:v>59685</c:v>
                </c:pt>
                <c:pt idx="386">
                  <c:v>150289</c:v>
                </c:pt>
                <c:pt idx="387">
                  <c:v>45205</c:v>
                </c:pt>
                <c:pt idx="388">
                  <c:v>196739</c:v>
                </c:pt>
                <c:pt idx="389">
                  <c:v>15871</c:v>
                </c:pt>
                <c:pt idx="390">
                  <c:v>251502</c:v>
                </c:pt>
                <c:pt idx="391">
                  <c:v>43846</c:v>
                </c:pt>
                <c:pt idx="392">
                  <c:v>31477</c:v>
                </c:pt>
                <c:pt idx="393">
                  <c:v>30972</c:v>
                </c:pt>
                <c:pt idx="394">
                  <c:v>1315531</c:v>
                </c:pt>
                <c:pt idx="395">
                  <c:v>34407</c:v>
                </c:pt>
                <c:pt idx="396">
                  <c:v>35918</c:v>
                </c:pt>
                <c:pt idx="397">
                  <c:v>62191</c:v>
                </c:pt>
                <c:pt idx="398">
                  <c:v>54683</c:v>
                </c:pt>
                <c:pt idx="399">
                  <c:v>35319</c:v>
                </c:pt>
                <c:pt idx="400">
                  <c:v>91493</c:v>
                </c:pt>
                <c:pt idx="401">
                  <c:v>30262</c:v>
                </c:pt>
                <c:pt idx="402">
                  <c:v>53735</c:v>
                </c:pt>
                <c:pt idx="403">
                  <c:v>53247</c:v>
                </c:pt>
                <c:pt idx="404">
                  <c:v>143098</c:v>
                </c:pt>
                <c:pt idx="405">
                  <c:v>65072</c:v>
                </c:pt>
                <c:pt idx="406">
                  <c:v>84229</c:v>
                </c:pt>
                <c:pt idx="407">
                  <c:v>73457</c:v>
                </c:pt>
                <c:pt idx="408">
                  <c:v>86603</c:v>
                </c:pt>
                <c:pt idx="409">
                  <c:v>29634</c:v>
                </c:pt>
                <c:pt idx="410">
                  <c:v>338059</c:v>
                </c:pt>
                <c:pt idx="411">
                  <c:v>123066</c:v>
                </c:pt>
                <c:pt idx="412">
                  <c:v>124255</c:v>
                </c:pt>
                <c:pt idx="413">
                  <c:v>62024</c:v>
                </c:pt>
                <c:pt idx="414">
                  <c:v>36278</c:v>
                </c:pt>
                <c:pt idx="415">
                  <c:v>17446</c:v>
                </c:pt>
                <c:pt idx="416">
                  <c:v>85415</c:v>
                </c:pt>
                <c:pt idx="417">
                  <c:v>34583</c:v>
                </c:pt>
                <c:pt idx="418">
                  <c:v>212241</c:v>
                </c:pt>
                <c:pt idx="419">
                  <c:v>59826</c:v>
                </c:pt>
                <c:pt idx="420">
                  <c:v>11821</c:v>
                </c:pt>
                <c:pt idx="421">
                  <c:v>15265</c:v>
                </c:pt>
                <c:pt idx="422">
                  <c:v>24721</c:v>
                </c:pt>
                <c:pt idx="423">
                  <c:v>32979</c:v>
                </c:pt>
                <c:pt idx="424">
                  <c:v>29753</c:v>
                </c:pt>
                <c:pt idx="425">
                  <c:v>30123</c:v>
                </c:pt>
                <c:pt idx="426">
                  <c:v>22642</c:v>
                </c:pt>
                <c:pt idx="427">
                  <c:v>57962</c:v>
                </c:pt>
                <c:pt idx="428">
                  <c:v>29836</c:v>
                </c:pt>
                <c:pt idx="429">
                  <c:v>11253</c:v>
                </c:pt>
                <c:pt idx="430">
                  <c:v>11813</c:v>
                </c:pt>
                <c:pt idx="431">
                  <c:v>129189</c:v>
                </c:pt>
                <c:pt idx="432">
                  <c:v>6311</c:v>
                </c:pt>
                <c:pt idx="433">
                  <c:v>12234</c:v>
                </c:pt>
                <c:pt idx="434">
                  <c:v>26357</c:v>
                </c:pt>
                <c:pt idx="435">
                  <c:v>8598</c:v>
                </c:pt>
                <c:pt idx="436">
                  <c:v>2741</c:v>
                </c:pt>
                <c:pt idx="437">
                  <c:v>36578</c:v>
                </c:pt>
                <c:pt idx="438">
                  <c:v>27896</c:v>
                </c:pt>
                <c:pt idx="439">
                  <c:v>43978</c:v>
                </c:pt>
                <c:pt idx="440">
                  <c:v>93207</c:v>
                </c:pt>
                <c:pt idx="441">
                  <c:v>29727</c:v>
                </c:pt>
                <c:pt idx="442">
                  <c:v>26837</c:v>
                </c:pt>
                <c:pt idx="443">
                  <c:v>66652</c:v>
                </c:pt>
                <c:pt idx="444">
                  <c:v>76701</c:v>
                </c:pt>
                <c:pt idx="445">
                  <c:v>30500</c:v>
                </c:pt>
                <c:pt idx="446">
                  <c:v>20193</c:v>
                </c:pt>
                <c:pt idx="447">
                  <c:v>353827</c:v>
                </c:pt>
                <c:pt idx="448">
                  <c:v>6079</c:v>
                </c:pt>
                <c:pt idx="449">
                  <c:v>32680</c:v>
                </c:pt>
                <c:pt idx="450">
                  <c:v>29560</c:v>
                </c:pt>
                <c:pt idx="451">
                  <c:v>45900</c:v>
                </c:pt>
                <c:pt idx="452">
                  <c:v>21289</c:v>
                </c:pt>
                <c:pt idx="453">
                  <c:v>132058</c:v>
                </c:pt>
                <c:pt idx="454">
                  <c:v>21904</c:v>
                </c:pt>
                <c:pt idx="455">
                  <c:v>92764</c:v>
                </c:pt>
                <c:pt idx="456">
                  <c:v>18113</c:v>
                </c:pt>
                <c:pt idx="457">
                  <c:v>29968</c:v>
                </c:pt>
                <c:pt idx="458">
                  <c:v>31281</c:v>
                </c:pt>
                <c:pt idx="459">
                  <c:v>128343</c:v>
                </c:pt>
                <c:pt idx="460">
                  <c:v>35494</c:v>
                </c:pt>
                <c:pt idx="461">
                  <c:v>10192</c:v>
                </c:pt>
                <c:pt idx="462">
                  <c:v>12843</c:v>
                </c:pt>
                <c:pt idx="463">
                  <c:v>79571</c:v>
                </c:pt>
                <c:pt idx="464">
                  <c:v>8052</c:v>
                </c:pt>
                <c:pt idx="465">
                  <c:v>176859</c:v>
                </c:pt>
                <c:pt idx="466">
                  <c:v>31406</c:v>
                </c:pt>
                <c:pt idx="467">
                  <c:v>104529</c:v>
                </c:pt>
                <c:pt idx="468">
                  <c:v>19058</c:v>
                </c:pt>
                <c:pt idx="469">
                  <c:v>78369</c:v>
                </c:pt>
                <c:pt idx="470">
                  <c:v>82872</c:v>
                </c:pt>
                <c:pt idx="471">
                  <c:v>84963</c:v>
                </c:pt>
                <c:pt idx="472">
                  <c:v>26666</c:v>
                </c:pt>
                <c:pt idx="473">
                  <c:v>33744</c:v>
                </c:pt>
                <c:pt idx="474">
                  <c:v>70828</c:v>
                </c:pt>
                <c:pt idx="475">
                  <c:v>81735</c:v>
                </c:pt>
                <c:pt idx="476">
                  <c:v>3042</c:v>
                </c:pt>
                <c:pt idx="477">
                  <c:v>109792</c:v>
                </c:pt>
                <c:pt idx="478">
                  <c:v>64930</c:v>
                </c:pt>
                <c:pt idx="479">
                  <c:v>127418</c:v>
                </c:pt>
                <c:pt idx="480">
                  <c:v>20300</c:v>
                </c:pt>
                <c:pt idx="481">
                  <c:v>14644</c:v>
                </c:pt>
                <c:pt idx="482">
                  <c:v>30921</c:v>
                </c:pt>
                <c:pt idx="483">
                  <c:v>173031</c:v>
                </c:pt>
                <c:pt idx="484">
                  <c:v>25685</c:v>
                </c:pt>
                <c:pt idx="485">
                  <c:v>85137</c:v>
                </c:pt>
                <c:pt idx="486">
                  <c:v>5864</c:v>
                </c:pt>
                <c:pt idx="487">
                  <c:v>159575</c:v>
                </c:pt>
                <c:pt idx="488">
                  <c:v>118578</c:v>
                </c:pt>
                <c:pt idx="489">
                  <c:v>41829</c:v>
                </c:pt>
                <c:pt idx="490">
                  <c:v>64226</c:v>
                </c:pt>
                <c:pt idx="491">
                  <c:v>28337</c:v>
                </c:pt>
                <c:pt idx="492">
                  <c:v>85739</c:v>
                </c:pt>
                <c:pt idx="493">
                  <c:v>4391</c:v>
                </c:pt>
                <c:pt idx="494">
                  <c:v>6846</c:v>
                </c:pt>
                <c:pt idx="495">
                  <c:v>111557</c:v>
                </c:pt>
                <c:pt idx="496">
                  <c:v>25773</c:v>
                </c:pt>
                <c:pt idx="497">
                  <c:v>53689</c:v>
                </c:pt>
                <c:pt idx="498">
                  <c:v>19454</c:v>
                </c:pt>
                <c:pt idx="499">
                  <c:v>1122</c:v>
                </c:pt>
                <c:pt idx="500">
                  <c:v>91267</c:v>
                </c:pt>
                <c:pt idx="501">
                  <c:v>193207</c:v>
                </c:pt>
                <c:pt idx="502">
                  <c:v>34611</c:v>
                </c:pt>
                <c:pt idx="503">
                  <c:v>6370</c:v>
                </c:pt>
                <c:pt idx="504">
                  <c:v>14256</c:v>
                </c:pt>
                <c:pt idx="505">
                  <c:v>8483</c:v>
                </c:pt>
                <c:pt idx="506">
                  <c:v>57030</c:v>
                </c:pt>
                <c:pt idx="507">
                  <c:v>28635</c:v>
                </c:pt>
                <c:pt idx="508">
                  <c:v>49260</c:v>
                </c:pt>
                <c:pt idx="509">
                  <c:v>9858</c:v>
                </c:pt>
                <c:pt idx="510">
                  <c:v>65709</c:v>
                </c:pt>
                <c:pt idx="511">
                  <c:v>73195</c:v>
                </c:pt>
                <c:pt idx="512">
                  <c:v>71159</c:v>
                </c:pt>
                <c:pt idx="513">
                  <c:v>1380</c:v>
                </c:pt>
                <c:pt idx="514">
                  <c:v>10169</c:v>
                </c:pt>
                <c:pt idx="515">
                  <c:v>37993</c:v>
                </c:pt>
                <c:pt idx="516">
                  <c:v>55016</c:v>
                </c:pt>
                <c:pt idx="517">
                  <c:v>25832</c:v>
                </c:pt>
                <c:pt idx="518">
                  <c:v>15110</c:v>
                </c:pt>
                <c:pt idx="519">
                  <c:v>138163</c:v>
                </c:pt>
                <c:pt idx="520">
                  <c:v>10497</c:v>
                </c:pt>
                <c:pt idx="521">
                  <c:v>436544</c:v>
                </c:pt>
                <c:pt idx="522">
                  <c:v>11131</c:v>
                </c:pt>
                <c:pt idx="523">
                  <c:v>6443</c:v>
                </c:pt>
                <c:pt idx="524">
                  <c:v>4167</c:v>
                </c:pt>
                <c:pt idx="525">
                  <c:v>10862</c:v>
                </c:pt>
                <c:pt idx="526">
                  <c:v>94677</c:v>
                </c:pt>
                <c:pt idx="527">
                  <c:v>113436</c:v>
                </c:pt>
                <c:pt idx="528">
                  <c:v>6838</c:v>
                </c:pt>
                <c:pt idx="529">
                  <c:v>4376</c:v>
                </c:pt>
                <c:pt idx="530">
                  <c:v>31899</c:v>
                </c:pt>
                <c:pt idx="531">
                  <c:v>16520</c:v>
                </c:pt>
                <c:pt idx="532">
                  <c:v>92723</c:v>
                </c:pt>
                <c:pt idx="533">
                  <c:v>680</c:v>
                </c:pt>
                <c:pt idx="534">
                  <c:v>14023</c:v>
                </c:pt>
                <c:pt idx="535">
                  <c:v>1943</c:v>
                </c:pt>
                <c:pt idx="536">
                  <c:v>491987</c:v>
                </c:pt>
                <c:pt idx="537">
                  <c:v>57154</c:v>
                </c:pt>
                <c:pt idx="538">
                  <c:v>8531</c:v>
                </c:pt>
                <c:pt idx="539">
                  <c:v>15050</c:v>
                </c:pt>
                <c:pt idx="540">
                  <c:v>12740</c:v>
                </c:pt>
                <c:pt idx="541">
                  <c:v>14258</c:v>
                </c:pt>
                <c:pt idx="542">
                  <c:v>8004</c:v>
                </c:pt>
                <c:pt idx="543">
                  <c:v>403</c:v>
                </c:pt>
                <c:pt idx="544">
                  <c:v>38972</c:v>
                </c:pt>
                <c:pt idx="545">
                  <c:v>8271</c:v>
                </c:pt>
                <c:pt idx="546">
                  <c:v>8931</c:v>
                </c:pt>
                <c:pt idx="547">
                  <c:v>10493</c:v>
                </c:pt>
                <c:pt idx="548">
                  <c:v>13981</c:v>
                </c:pt>
                <c:pt idx="549">
                  <c:v>113601</c:v>
                </c:pt>
                <c:pt idx="550">
                  <c:v>33291</c:v>
                </c:pt>
                <c:pt idx="551">
                  <c:v>10675</c:v>
                </c:pt>
                <c:pt idx="552">
                  <c:v>20828</c:v>
                </c:pt>
                <c:pt idx="553">
                  <c:v>25255</c:v>
                </c:pt>
                <c:pt idx="554">
                  <c:v>198001</c:v>
                </c:pt>
                <c:pt idx="555">
                  <c:v>13534</c:v>
                </c:pt>
                <c:pt idx="556">
                  <c:v>16547</c:v>
                </c:pt>
                <c:pt idx="557">
                  <c:v>4379</c:v>
                </c:pt>
                <c:pt idx="558">
                  <c:v>15859</c:v>
                </c:pt>
                <c:pt idx="559">
                  <c:v>16485</c:v>
                </c:pt>
                <c:pt idx="560">
                  <c:v>63228</c:v>
                </c:pt>
                <c:pt idx="561">
                  <c:v>3612</c:v>
                </c:pt>
                <c:pt idx="562">
                  <c:v>70808</c:v>
                </c:pt>
                <c:pt idx="563">
                  <c:v>115439</c:v>
                </c:pt>
                <c:pt idx="564">
                  <c:v>10676</c:v>
                </c:pt>
                <c:pt idx="565">
                  <c:v>9307</c:v>
                </c:pt>
                <c:pt idx="566">
                  <c:v>13344</c:v>
                </c:pt>
                <c:pt idx="567">
                  <c:v>3289</c:v>
                </c:pt>
                <c:pt idx="568">
                  <c:v>18424</c:v>
                </c:pt>
                <c:pt idx="569">
                  <c:v>9925</c:v>
                </c:pt>
                <c:pt idx="570">
                  <c:v>32607</c:v>
                </c:pt>
                <c:pt idx="571">
                  <c:v>9073</c:v>
                </c:pt>
                <c:pt idx="572">
                  <c:v>1878</c:v>
                </c:pt>
                <c:pt idx="573">
                  <c:v>320842</c:v>
                </c:pt>
                <c:pt idx="574">
                  <c:v>22071</c:v>
                </c:pt>
                <c:pt idx="575">
                  <c:v>139184</c:v>
                </c:pt>
                <c:pt idx="576">
                  <c:v>34423</c:v>
                </c:pt>
                <c:pt idx="577">
                  <c:v>93135</c:v>
                </c:pt>
                <c:pt idx="578">
                  <c:v>8167</c:v>
                </c:pt>
                <c:pt idx="579">
                  <c:v>34751</c:v>
                </c:pt>
                <c:pt idx="580">
                  <c:v>28325</c:v>
                </c:pt>
                <c:pt idx="581">
                  <c:v>15679</c:v>
                </c:pt>
                <c:pt idx="582">
                  <c:v>6605</c:v>
                </c:pt>
                <c:pt idx="583">
                  <c:v>12599</c:v>
                </c:pt>
                <c:pt idx="584">
                  <c:v>30879</c:v>
                </c:pt>
                <c:pt idx="585">
                  <c:v>59241</c:v>
                </c:pt>
                <c:pt idx="586">
                  <c:v>2215</c:v>
                </c:pt>
                <c:pt idx="587">
                  <c:v>9054</c:v>
                </c:pt>
                <c:pt idx="588">
                  <c:v>1458</c:v>
                </c:pt>
                <c:pt idx="589">
                  <c:v>18447</c:v>
                </c:pt>
                <c:pt idx="590">
                  <c:v>17718</c:v>
                </c:pt>
                <c:pt idx="591">
                  <c:v>5508</c:v>
                </c:pt>
                <c:pt idx="592">
                  <c:v>34233</c:v>
                </c:pt>
                <c:pt idx="593">
                  <c:v>11818</c:v>
                </c:pt>
                <c:pt idx="594">
                  <c:v>5164</c:v>
                </c:pt>
                <c:pt idx="595">
                  <c:v>53640</c:v>
                </c:pt>
                <c:pt idx="596">
                  <c:v>27499</c:v>
                </c:pt>
                <c:pt idx="597">
                  <c:v>38494</c:v>
                </c:pt>
                <c:pt idx="598">
                  <c:v>1260</c:v>
                </c:pt>
                <c:pt idx="599">
                  <c:v>13165</c:v>
                </c:pt>
                <c:pt idx="600">
                  <c:v>14933</c:v>
                </c:pt>
                <c:pt idx="601">
                  <c:v>62888</c:v>
                </c:pt>
                <c:pt idx="602">
                  <c:v>6488</c:v>
                </c:pt>
                <c:pt idx="603">
                  <c:v>22771</c:v>
                </c:pt>
                <c:pt idx="604">
                  <c:v>103992</c:v>
                </c:pt>
                <c:pt idx="605">
                  <c:v>28317</c:v>
                </c:pt>
                <c:pt idx="606">
                  <c:v>24489</c:v>
                </c:pt>
                <c:pt idx="607">
                  <c:v>36098</c:v>
                </c:pt>
                <c:pt idx="608">
                  <c:v>25264</c:v>
                </c:pt>
                <c:pt idx="609">
                  <c:v>29151</c:v>
                </c:pt>
                <c:pt idx="610">
                  <c:v>20628</c:v>
                </c:pt>
                <c:pt idx="611">
                  <c:v>18060</c:v>
                </c:pt>
                <c:pt idx="612">
                  <c:v>18483</c:v>
                </c:pt>
                <c:pt idx="613">
                  <c:v>7208</c:v>
                </c:pt>
                <c:pt idx="614">
                  <c:v>234188</c:v>
                </c:pt>
                <c:pt idx="615">
                  <c:v>14135</c:v>
                </c:pt>
                <c:pt idx="616">
                  <c:v>45996</c:v>
                </c:pt>
                <c:pt idx="617">
                  <c:v>164743</c:v>
                </c:pt>
                <c:pt idx="618">
                  <c:v>227754</c:v>
                </c:pt>
                <c:pt idx="619">
                  <c:v>3927</c:v>
                </c:pt>
                <c:pt idx="620">
                  <c:v>88747</c:v>
                </c:pt>
                <c:pt idx="621">
                  <c:v>5920</c:v>
                </c:pt>
                <c:pt idx="622">
                  <c:v>62371</c:v>
                </c:pt>
                <c:pt idx="623">
                  <c:v>8909</c:v>
                </c:pt>
                <c:pt idx="624">
                  <c:v>12781</c:v>
                </c:pt>
                <c:pt idx="625">
                  <c:v>14791</c:v>
                </c:pt>
                <c:pt idx="626">
                  <c:v>29568</c:v>
                </c:pt>
                <c:pt idx="627">
                  <c:v>195972</c:v>
                </c:pt>
                <c:pt idx="628">
                  <c:v>44031</c:v>
                </c:pt>
                <c:pt idx="629">
                  <c:v>8950</c:v>
                </c:pt>
                <c:pt idx="630">
                  <c:v>187234</c:v>
                </c:pt>
                <c:pt idx="631">
                  <c:v>7615</c:v>
                </c:pt>
                <c:pt idx="632">
                  <c:v>89809</c:v>
                </c:pt>
                <c:pt idx="633">
                  <c:v>66919</c:v>
                </c:pt>
                <c:pt idx="634">
                  <c:v>13469</c:v>
                </c:pt>
                <c:pt idx="635">
                  <c:v>99772</c:v>
                </c:pt>
                <c:pt idx="636">
                  <c:v>4412</c:v>
                </c:pt>
                <c:pt idx="637">
                  <c:v>29946</c:v>
                </c:pt>
                <c:pt idx="638">
                  <c:v>55567</c:v>
                </c:pt>
                <c:pt idx="639">
                  <c:v>5262</c:v>
                </c:pt>
                <c:pt idx="640">
                  <c:v>17940</c:v>
                </c:pt>
                <c:pt idx="641">
                  <c:v>15876</c:v>
                </c:pt>
                <c:pt idx="642">
                  <c:v>52258</c:v>
                </c:pt>
                <c:pt idx="643">
                  <c:v>111909</c:v>
                </c:pt>
                <c:pt idx="644">
                  <c:v>4756</c:v>
                </c:pt>
                <c:pt idx="645">
                  <c:v>22154</c:v>
                </c:pt>
                <c:pt idx="646">
                  <c:v>61027</c:v>
                </c:pt>
                <c:pt idx="647">
                  <c:v>6638</c:v>
                </c:pt>
                <c:pt idx="648">
                  <c:v>73396</c:v>
                </c:pt>
                <c:pt idx="649">
                  <c:v>120194</c:v>
                </c:pt>
                <c:pt idx="650">
                  <c:v>97895</c:v>
                </c:pt>
                <c:pt idx="651">
                  <c:v>20559</c:v>
                </c:pt>
                <c:pt idx="652">
                  <c:v>16814</c:v>
                </c:pt>
                <c:pt idx="653">
                  <c:v>5070</c:v>
                </c:pt>
                <c:pt idx="654">
                  <c:v>38390</c:v>
                </c:pt>
                <c:pt idx="655">
                  <c:v>12657</c:v>
                </c:pt>
                <c:pt idx="656">
                  <c:v>4273</c:v>
                </c:pt>
                <c:pt idx="657">
                  <c:v>4666</c:v>
                </c:pt>
                <c:pt idx="658">
                  <c:v>13076</c:v>
                </c:pt>
                <c:pt idx="659">
                  <c:v>34147</c:v>
                </c:pt>
                <c:pt idx="660">
                  <c:v>23236</c:v>
                </c:pt>
                <c:pt idx="661">
                  <c:v>6079</c:v>
                </c:pt>
                <c:pt idx="662">
                  <c:v>38747</c:v>
                </c:pt>
                <c:pt idx="663">
                  <c:v>29505</c:v>
                </c:pt>
                <c:pt idx="664">
                  <c:v>844085</c:v>
                </c:pt>
                <c:pt idx="665">
                  <c:v>8149</c:v>
                </c:pt>
                <c:pt idx="666">
                  <c:v>233907</c:v>
                </c:pt>
                <c:pt idx="667">
                  <c:v>60293</c:v>
                </c:pt>
                <c:pt idx="668">
                  <c:v>55494</c:v>
                </c:pt>
                <c:pt idx="669">
                  <c:v>13306</c:v>
                </c:pt>
                <c:pt idx="670">
                  <c:v>11034</c:v>
                </c:pt>
                <c:pt idx="671">
                  <c:v>195928</c:v>
                </c:pt>
                <c:pt idx="672">
                  <c:v>17859</c:v>
                </c:pt>
                <c:pt idx="673">
                  <c:v>30249</c:v>
                </c:pt>
                <c:pt idx="674">
                  <c:v>23734</c:v>
                </c:pt>
                <c:pt idx="675">
                  <c:v>28186</c:v>
                </c:pt>
                <c:pt idx="676">
                  <c:v>43911</c:v>
                </c:pt>
                <c:pt idx="677">
                  <c:v>43547</c:v>
                </c:pt>
                <c:pt idx="678">
                  <c:v>10543</c:v>
                </c:pt>
                <c:pt idx="679">
                  <c:v>299979</c:v>
                </c:pt>
                <c:pt idx="680">
                  <c:v>21068</c:v>
                </c:pt>
                <c:pt idx="681">
                  <c:v>31910</c:v>
                </c:pt>
                <c:pt idx="682">
                  <c:v>121810</c:v>
                </c:pt>
                <c:pt idx="683">
                  <c:v>28213</c:v>
                </c:pt>
                <c:pt idx="684">
                  <c:v>31137</c:v>
                </c:pt>
                <c:pt idx="685">
                  <c:v>33241</c:v>
                </c:pt>
                <c:pt idx="686">
                  <c:v>14347</c:v>
                </c:pt>
                <c:pt idx="687">
                  <c:v>9751</c:v>
                </c:pt>
                <c:pt idx="688">
                  <c:v>3273</c:v>
                </c:pt>
                <c:pt idx="689">
                  <c:v>2158</c:v>
                </c:pt>
                <c:pt idx="690">
                  <c:v>10552</c:v>
                </c:pt>
                <c:pt idx="691">
                  <c:v>10066</c:v>
                </c:pt>
                <c:pt idx="692">
                  <c:v>829477</c:v>
                </c:pt>
                <c:pt idx="693">
                  <c:v>28859</c:v>
                </c:pt>
                <c:pt idx="694">
                  <c:v>97704</c:v>
                </c:pt>
                <c:pt idx="695">
                  <c:v>37404</c:v>
                </c:pt>
                <c:pt idx="696">
                  <c:v>271690</c:v>
                </c:pt>
                <c:pt idx="697">
                  <c:v>22083</c:v>
                </c:pt>
                <c:pt idx="698">
                  <c:v>29613</c:v>
                </c:pt>
                <c:pt idx="699">
                  <c:v>8535</c:v>
                </c:pt>
                <c:pt idx="700">
                  <c:v>12757</c:v>
                </c:pt>
                <c:pt idx="701">
                  <c:v>39833</c:v>
                </c:pt>
                <c:pt idx="702">
                  <c:v>45145</c:v>
                </c:pt>
                <c:pt idx="703">
                  <c:v>20813</c:v>
                </c:pt>
                <c:pt idx="704">
                  <c:v>22103</c:v>
                </c:pt>
                <c:pt idx="705">
                  <c:v>210347</c:v>
                </c:pt>
                <c:pt idx="706">
                  <c:v>36346</c:v>
                </c:pt>
                <c:pt idx="707">
                  <c:v>191431</c:v>
                </c:pt>
                <c:pt idx="708">
                  <c:v>42893</c:v>
                </c:pt>
                <c:pt idx="709">
                  <c:v>106792</c:v>
                </c:pt>
                <c:pt idx="710">
                  <c:v>12397</c:v>
                </c:pt>
                <c:pt idx="711">
                  <c:v>2670</c:v>
                </c:pt>
                <c:pt idx="712">
                  <c:v>42457</c:v>
                </c:pt>
                <c:pt idx="713">
                  <c:v>23078</c:v>
                </c:pt>
                <c:pt idx="714">
                  <c:v>54137</c:v>
                </c:pt>
                <c:pt idx="715">
                  <c:v>28800</c:v>
                </c:pt>
                <c:pt idx="716">
                  <c:v>53371</c:v>
                </c:pt>
                <c:pt idx="717">
                  <c:v>21148</c:v>
                </c:pt>
                <c:pt idx="718">
                  <c:v>14024</c:v>
                </c:pt>
                <c:pt idx="719">
                  <c:v>10456</c:v>
                </c:pt>
                <c:pt idx="720">
                  <c:v>22671</c:v>
                </c:pt>
                <c:pt idx="721">
                  <c:v>18685</c:v>
                </c:pt>
                <c:pt idx="722">
                  <c:v>12184</c:v>
                </c:pt>
                <c:pt idx="723">
                  <c:v>165950</c:v>
                </c:pt>
                <c:pt idx="724">
                  <c:v>1598938</c:v>
                </c:pt>
                <c:pt idx="725">
                  <c:v>106556</c:v>
                </c:pt>
                <c:pt idx="726">
                  <c:v>37579</c:v>
                </c:pt>
                <c:pt idx="727">
                  <c:v>57231</c:v>
                </c:pt>
                <c:pt idx="728">
                  <c:v>68106</c:v>
                </c:pt>
                <c:pt idx="729">
                  <c:v>12159</c:v>
                </c:pt>
                <c:pt idx="730">
                  <c:v>8648</c:v>
                </c:pt>
                <c:pt idx="731">
                  <c:v>12151</c:v>
                </c:pt>
                <c:pt idx="732">
                  <c:v>29950</c:v>
                </c:pt>
                <c:pt idx="733">
                  <c:v>42753</c:v>
                </c:pt>
                <c:pt idx="734">
                  <c:v>6880</c:v>
                </c:pt>
                <c:pt idx="735">
                  <c:v>127281</c:v>
                </c:pt>
                <c:pt idx="736">
                  <c:v>40460</c:v>
                </c:pt>
                <c:pt idx="737">
                  <c:v>34015</c:v>
                </c:pt>
                <c:pt idx="738">
                  <c:v>19555</c:v>
                </c:pt>
                <c:pt idx="739">
                  <c:v>51629</c:v>
                </c:pt>
                <c:pt idx="740">
                  <c:v>42053</c:v>
                </c:pt>
                <c:pt idx="741">
                  <c:v>18522</c:v>
                </c:pt>
                <c:pt idx="742">
                  <c:v>28218</c:v>
                </c:pt>
                <c:pt idx="743">
                  <c:v>179981</c:v>
                </c:pt>
                <c:pt idx="744">
                  <c:v>46585</c:v>
                </c:pt>
                <c:pt idx="745">
                  <c:v>27729</c:v>
                </c:pt>
                <c:pt idx="746">
                  <c:v>42783</c:v>
                </c:pt>
                <c:pt idx="747">
                  <c:v>10682</c:v>
                </c:pt>
                <c:pt idx="748">
                  <c:v>22528</c:v>
                </c:pt>
                <c:pt idx="749">
                  <c:v>38817</c:v>
                </c:pt>
                <c:pt idx="750">
                  <c:v>23839</c:v>
                </c:pt>
                <c:pt idx="751">
                  <c:v>42278</c:v>
                </c:pt>
                <c:pt idx="752">
                  <c:v>999681</c:v>
                </c:pt>
                <c:pt idx="753">
                  <c:v>65060</c:v>
                </c:pt>
                <c:pt idx="754">
                  <c:v>7820</c:v>
                </c:pt>
                <c:pt idx="755">
                  <c:v>62675</c:v>
                </c:pt>
                <c:pt idx="756">
                  <c:v>26087</c:v>
                </c:pt>
                <c:pt idx="757">
                  <c:v>107438</c:v>
                </c:pt>
                <c:pt idx="758">
                  <c:v>11050</c:v>
                </c:pt>
                <c:pt idx="759">
                  <c:v>78083</c:v>
                </c:pt>
                <c:pt idx="760">
                  <c:v>30156</c:v>
                </c:pt>
                <c:pt idx="761">
                  <c:v>94695</c:v>
                </c:pt>
                <c:pt idx="762">
                  <c:v>78349</c:v>
                </c:pt>
                <c:pt idx="763">
                  <c:v>51531</c:v>
                </c:pt>
                <c:pt idx="764">
                  <c:v>108860</c:v>
                </c:pt>
                <c:pt idx="765">
                  <c:v>14355</c:v>
                </c:pt>
                <c:pt idx="766">
                  <c:v>261408</c:v>
                </c:pt>
                <c:pt idx="767">
                  <c:v>7072</c:v>
                </c:pt>
                <c:pt idx="768">
                  <c:v>49344</c:v>
                </c:pt>
                <c:pt idx="769">
                  <c:v>66906</c:v>
                </c:pt>
                <c:pt idx="770">
                  <c:v>13718</c:v>
                </c:pt>
                <c:pt idx="771">
                  <c:v>376811</c:v>
                </c:pt>
                <c:pt idx="772">
                  <c:v>20867</c:v>
                </c:pt>
                <c:pt idx="773">
                  <c:v>28721</c:v>
                </c:pt>
                <c:pt idx="774">
                  <c:v>62092</c:v>
                </c:pt>
                <c:pt idx="775">
                  <c:v>72617</c:v>
                </c:pt>
                <c:pt idx="776">
                  <c:v>49271</c:v>
                </c:pt>
                <c:pt idx="777">
                  <c:v>8088</c:v>
                </c:pt>
                <c:pt idx="778">
                  <c:v>221198</c:v>
                </c:pt>
                <c:pt idx="779">
                  <c:v>24039</c:v>
                </c:pt>
                <c:pt idx="780">
                  <c:v>22126</c:v>
                </c:pt>
                <c:pt idx="781">
                  <c:v>80096</c:v>
                </c:pt>
                <c:pt idx="782">
                  <c:v>38892</c:v>
                </c:pt>
                <c:pt idx="783">
                  <c:v>30088</c:v>
                </c:pt>
                <c:pt idx="784">
                  <c:v>17778</c:v>
                </c:pt>
                <c:pt idx="785">
                  <c:v>146638</c:v>
                </c:pt>
                <c:pt idx="786">
                  <c:v>61163</c:v>
                </c:pt>
                <c:pt idx="787">
                  <c:v>62354</c:v>
                </c:pt>
                <c:pt idx="788">
                  <c:v>325631</c:v>
                </c:pt>
                <c:pt idx="789">
                  <c:v>88977</c:v>
                </c:pt>
                <c:pt idx="790">
                  <c:v>6437</c:v>
                </c:pt>
                <c:pt idx="791">
                  <c:v>212048</c:v>
                </c:pt>
                <c:pt idx="792">
                  <c:v>27557</c:v>
                </c:pt>
                <c:pt idx="793">
                  <c:v>37098</c:v>
                </c:pt>
                <c:pt idx="794">
                  <c:v>38217</c:v>
                </c:pt>
                <c:pt idx="795">
                  <c:v>26711</c:v>
                </c:pt>
                <c:pt idx="796">
                  <c:v>40773</c:v>
                </c:pt>
                <c:pt idx="797">
                  <c:v>10452</c:v>
                </c:pt>
                <c:pt idx="798">
                  <c:v>132165</c:v>
                </c:pt>
                <c:pt idx="799">
                  <c:v>15618</c:v>
                </c:pt>
                <c:pt idx="800">
                  <c:v>62817</c:v>
                </c:pt>
                <c:pt idx="801">
                  <c:v>26042</c:v>
                </c:pt>
                <c:pt idx="802">
                  <c:v>225293</c:v>
                </c:pt>
                <c:pt idx="803">
                  <c:v>793675</c:v>
                </c:pt>
                <c:pt idx="804">
                  <c:v>26393</c:v>
                </c:pt>
                <c:pt idx="805">
                  <c:v>23210</c:v>
                </c:pt>
                <c:pt idx="806">
                  <c:v>5559</c:v>
                </c:pt>
                <c:pt idx="807">
                  <c:v>75840</c:v>
                </c:pt>
                <c:pt idx="808">
                  <c:v>11771</c:v>
                </c:pt>
                <c:pt idx="809">
                  <c:v>58254</c:v>
                </c:pt>
                <c:pt idx="810">
                  <c:v>10872</c:v>
                </c:pt>
                <c:pt idx="811">
                  <c:v>10929</c:v>
                </c:pt>
                <c:pt idx="812">
                  <c:v>66257</c:v>
                </c:pt>
                <c:pt idx="813">
                  <c:v>79065</c:v>
                </c:pt>
                <c:pt idx="814">
                  <c:v>104455</c:v>
                </c:pt>
                <c:pt idx="815">
                  <c:v>1753</c:v>
                </c:pt>
                <c:pt idx="816">
                  <c:v>13273</c:v>
                </c:pt>
                <c:pt idx="817">
                  <c:v>58505</c:v>
                </c:pt>
                <c:pt idx="818">
                  <c:v>28270</c:v>
                </c:pt>
                <c:pt idx="819">
                  <c:v>382849</c:v>
                </c:pt>
                <c:pt idx="820">
                  <c:v>19972</c:v>
                </c:pt>
                <c:pt idx="821">
                  <c:v>13955</c:v>
                </c:pt>
                <c:pt idx="822">
                  <c:v>26115</c:v>
                </c:pt>
                <c:pt idx="823">
                  <c:v>46817</c:v>
                </c:pt>
                <c:pt idx="824">
                  <c:v>81398</c:v>
                </c:pt>
                <c:pt idx="825">
                  <c:v>79654</c:v>
                </c:pt>
                <c:pt idx="826">
                  <c:v>77730</c:v>
                </c:pt>
                <c:pt idx="827">
                  <c:v>48218</c:v>
                </c:pt>
                <c:pt idx="828">
                  <c:v>20752</c:v>
                </c:pt>
                <c:pt idx="829">
                  <c:v>55816</c:v>
                </c:pt>
                <c:pt idx="830">
                  <c:v>106626</c:v>
                </c:pt>
                <c:pt idx="831">
                  <c:v>14387</c:v>
                </c:pt>
                <c:pt idx="832">
                  <c:v>11236</c:v>
                </c:pt>
                <c:pt idx="833">
                  <c:v>93340</c:v>
                </c:pt>
                <c:pt idx="834">
                  <c:v>9344</c:v>
                </c:pt>
                <c:pt idx="835">
                  <c:v>191979</c:v>
                </c:pt>
                <c:pt idx="836">
                  <c:v>24691</c:v>
                </c:pt>
                <c:pt idx="837">
                  <c:v>6021</c:v>
                </c:pt>
                <c:pt idx="838">
                  <c:v>113107</c:v>
                </c:pt>
                <c:pt idx="839">
                  <c:v>18377</c:v>
                </c:pt>
                <c:pt idx="840">
                  <c:v>178997</c:v>
                </c:pt>
                <c:pt idx="841">
                  <c:v>24737</c:v>
                </c:pt>
                <c:pt idx="842">
                  <c:v>6025</c:v>
                </c:pt>
                <c:pt idx="843">
                  <c:v>11035</c:v>
                </c:pt>
                <c:pt idx="844">
                  <c:v>16089</c:v>
                </c:pt>
                <c:pt idx="845">
                  <c:v>13931</c:v>
                </c:pt>
                <c:pt idx="846">
                  <c:v>15723</c:v>
                </c:pt>
                <c:pt idx="847">
                  <c:v>13262</c:v>
                </c:pt>
                <c:pt idx="848">
                  <c:v>15477</c:v>
                </c:pt>
                <c:pt idx="849">
                  <c:v>22733</c:v>
                </c:pt>
                <c:pt idx="850">
                  <c:v>8624</c:v>
                </c:pt>
                <c:pt idx="851">
                  <c:v>12363</c:v>
                </c:pt>
                <c:pt idx="852">
                  <c:v>15825</c:v>
                </c:pt>
                <c:pt idx="853">
                  <c:v>14386</c:v>
                </c:pt>
                <c:pt idx="854">
                  <c:v>36046</c:v>
                </c:pt>
                <c:pt idx="855">
                  <c:v>111058</c:v>
                </c:pt>
                <c:pt idx="856">
                  <c:v>20955</c:v>
                </c:pt>
                <c:pt idx="857">
                  <c:v>19799</c:v>
                </c:pt>
                <c:pt idx="858">
                  <c:v>41355</c:v>
                </c:pt>
                <c:pt idx="859">
                  <c:v>8103</c:v>
                </c:pt>
                <c:pt idx="860">
                  <c:v>106342</c:v>
                </c:pt>
                <c:pt idx="861">
                  <c:v>5183</c:v>
                </c:pt>
                <c:pt idx="862">
                  <c:v>60262</c:v>
                </c:pt>
                <c:pt idx="863">
                  <c:v>66411</c:v>
                </c:pt>
                <c:pt idx="864">
                  <c:v>23384</c:v>
                </c:pt>
                <c:pt idx="865">
                  <c:v>33347</c:v>
                </c:pt>
                <c:pt idx="866">
                  <c:v>16986</c:v>
                </c:pt>
                <c:pt idx="867">
                  <c:v>11105</c:v>
                </c:pt>
                <c:pt idx="868">
                  <c:v>7556</c:v>
                </c:pt>
                <c:pt idx="869">
                  <c:v>24001</c:v>
                </c:pt>
                <c:pt idx="870">
                  <c:v>12784</c:v>
                </c:pt>
                <c:pt idx="871">
                  <c:v>182049</c:v>
                </c:pt>
                <c:pt idx="872">
                  <c:v>19840</c:v>
                </c:pt>
                <c:pt idx="873">
                  <c:v>59453</c:v>
                </c:pt>
                <c:pt idx="874">
                  <c:v>19401</c:v>
                </c:pt>
                <c:pt idx="875">
                  <c:v>10996</c:v>
                </c:pt>
                <c:pt idx="876">
                  <c:v>97385</c:v>
                </c:pt>
                <c:pt idx="877">
                  <c:v>179918</c:v>
                </c:pt>
                <c:pt idx="878">
                  <c:v>47152</c:v>
                </c:pt>
                <c:pt idx="879">
                  <c:v>26983</c:v>
                </c:pt>
                <c:pt idx="880">
                  <c:v>49757</c:v>
                </c:pt>
                <c:pt idx="881">
                  <c:v>79905</c:v>
                </c:pt>
                <c:pt idx="882">
                  <c:v>5183</c:v>
                </c:pt>
                <c:pt idx="883">
                  <c:v>7659</c:v>
                </c:pt>
                <c:pt idx="884">
                  <c:v>29695</c:v>
                </c:pt>
                <c:pt idx="885">
                  <c:v>175350</c:v>
                </c:pt>
                <c:pt idx="886">
                  <c:v>28995</c:v>
                </c:pt>
                <c:pt idx="887">
                  <c:v>111151</c:v>
                </c:pt>
                <c:pt idx="888">
                  <c:v>1362</c:v>
                </c:pt>
                <c:pt idx="889">
                  <c:v>27821</c:v>
                </c:pt>
                <c:pt idx="890">
                  <c:v>114355</c:v>
                </c:pt>
                <c:pt idx="891">
                  <c:v>14153</c:v>
                </c:pt>
                <c:pt idx="892">
                  <c:v>20644</c:v>
                </c:pt>
                <c:pt idx="893">
                  <c:v>15223</c:v>
                </c:pt>
                <c:pt idx="894">
                  <c:v>41037</c:v>
                </c:pt>
                <c:pt idx="895">
                  <c:v>19621</c:v>
                </c:pt>
                <c:pt idx="896">
                  <c:v>51985</c:v>
                </c:pt>
                <c:pt idx="897">
                  <c:v>43651</c:v>
                </c:pt>
                <c:pt idx="898">
                  <c:v>69222</c:v>
                </c:pt>
                <c:pt idx="899">
                  <c:v>18415</c:v>
                </c:pt>
                <c:pt idx="900">
                  <c:v>37193</c:v>
                </c:pt>
                <c:pt idx="901">
                  <c:v>9996</c:v>
                </c:pt>
                <c:pt idx="902">
                  <c:v>28629</c:v>
                </c:pt>
                <c:pt idx="903">
                  <c:v>16524</c:v>
                </c:pt>
                <c:pt idx="904">
                  <c:v>7539</c:v>
                </c:pt>
                <c:pt idx="905">
                  <c:v>17461</c:v>
                </c:pt>
                <c:pt idx="906">
                  <c:v>106457</c:v>
                </c:pt>
                <c:pt idx="907">
                  <c:v>10332</c:v>
                </c:pt>
                <c:pt idx="908">
                  <c:v>15141</c:v>
                </c:pt>
                <c:pt idx="909">
                  <c:v>24782</c:v>
                </c:pt>
                <c:pt idx="910">
                  <c:v>13601</c:v>
                </c:pt>
                <c:pt idx="911">
                  <c:v>64564</c:v>
                </c:pt>
                <c:pt idx="912">
                  <c:v>45178</c:v>
                </c:pt>
                <c:pt idx="913">
                  <c:v>48687</c:v>
                </c:pt>
                <c:pt idx="914">
                  <c:v>15634</c:v>
                </c:pt>
                <c:pt idx="915">
                  <c:v>10348</c:v>
                </c:pt>
                <c:pt idx="916">
                  <c:v>14543</c:v>
                </c:pt>
                <c:pt idx="917">
                  <c:v>42342</c:v>
                </c:pt>
                <c:pt idx="918">
                  <c:v>7720</c:v>
                </c:pt>
                <c:pt idx="919">
                  <c:v>41967</c:v>
                </c:pt>
                <c:pt idx="920">
                  <c:v>23573</c:v>
                </c:pt>
                <c:pt idx="921">
                  <c:v>9742</c:v>
                </c:pt>
                <c:pt idx="922">
                  <c:v>23006</c:v>
                </c:pt>
                <c:pt idx="923">
                  <c:v>25676</c:v>
                </c:pt>
                <c:pt idx="924">
                  <c:v>24681</c:v>
                </c:pt>
                <c:pt idx="925">
                  <c:v>29191</c:v>
                </c:pt>
                <c:pt idx="926">
                  <c:v>24315</c:v>
                </c:pt>
                <c:pt idx="927">
                  <c:v>51544</c:v>
                </c:pt>
                <c:pt idx="928">
                  <c:v>102924</c:v>
                </c:pt>
                <c:pt idx="929">
                  <c:v>22717</c:v>
                </c:pt>
                <c:pt idx="930">
                  <c:v>19283</c:v>
                </c:pt>
                <c:pt idx="931">
                  <c:v>54934</c:v>
                </c:pt>
                <c:pt idx="932">
                  <c:v>7133</c:v>
                </c:pt>
                <c:pt idx="933">
                  <c:v>8019</c:v>
                </c:pt>
                <c:pt idx="934">
                  <c:v>227834</c:v>
                </c:pt>
                <c:pt idx="935">
                  <c:v>27998</c:v>
                </c:pt>
                <c:pt idx="936">
                  <c:v>67842</c:v>
                </c:pt>
                <c:pt idx="937">
                  <c:v>25716</c:v>
                </c:pt>
                <c:pt idx="938">
                  <c:v>103618</c:v>
                </c:pt>
                <c:pt idx="939">
                  <c:v>30756</c:v>
                </c:pt>
                <c:pt idx="940">
                  <c:v>73299</c:v>
                </c:pt>
                <c:pt idx="941">
                  <c:v>5241</c:v>
                </c:pt>
                <c:pt idx="942">
                  <c:v>11672</c:v>
                </c:pt>
                <c:pt idx="943">
                  <c:v>43134</c:v>
                </c:pt>
                <c:pt idx="944">
                  <c:v>164183</c:v>
                </c:pt>
                <c:pt idx="945">
                  <c:v>13484</c:v>
                </c:pt>
                <c:pt idx="946">
                  <c:v>4956</c:v>
                </c:pt>
                <c:pt idx="947">
                  <c:v>325093</c:v>
                </c:pt>
                <c:pt idx="948">
                  <c:v>4652</c:v>
                </c:pt>
                <c:pt idx="949">
                  <c:v>9126</c:v>
                </c:pt>
                <c:pt idx="950">
                  <c:v>107214</c:v>
                </c:pt>
                <c:pt idx="951">
                  <c:v>10524</c:v>
                </c:pt>
                <c:pt idx="952">
                  <c:v>12477</c:v>
                </c:pt>
                <c:pt idx="953">
                  <c:v>8710</c:v>
                </c:pt>
                <c:pt idx="954">
                  <c:v>41678</c:v>
                </c:pt>
                <c:pt idx="955">
                  <c:v>8595</c:v>
                </c:pt>
                <c:pt idx="956">
                  <c:v>26925</c:v>
                </c:pt>
                <c:pt idx="957">
                  <c:v>4707</c:v>
                </c:pt>
                <c:pt idx="958">
                  <c:v>4230</c:v>
                </c:pt>
                <c:pt idx="959">
                  <c:v>28395</c:v>
                </c:pt>
                <c:pt idx="960">
                  <c:v>22024</c:v>
                </c:pt>
                <c:pt idx="961">
                  <c:v>10523</c:v>
                </c:pt>
                <c:pt idx="962">
                  <c:v>95103</c:v>
                </c:pt>
                <c:pt idx="963">
                  <c:v>77650</c:v>
                </c:pt>
                <c:pt idx="964">
                  <c:v>8590</c:v>
                </c:pt>
                <c:pt idx="965">
                  <c:v>10942</c:v>
                </c:pt>
                <c:pt idx="966">
                  <c:v>38881</c:v>
                </c:pt>
                <c:pt idx="967">
                  <c:v>36526</c:v>
                </c:pt>
                <c:pt idx="968">
                  <c:v>7859</c:v>
                </c:pt>
                <c:pt idx="969">
                  <c:v>22927</c:v>
                </c:pt>
                <c:pt idx="970">
                  <c:v>26399</c:v>
                </c:pt>
                <c:pt idx="971">
                  <c:v>20750</c:v>
                </c:pt>
                <c:pt idx="972">
                  <c:v>2094</c:v>
                </c:pt>
                <c:pt idx="973">
                  <c:v>73312</c:v>
                </c:pt>
                <c:pt idx="974">
                  <c:v>9433</c:v>
                </c:pt>
                <c:pt idx="975">
                  <c:v>9807</c:v>
                </c:pt>
                <c:pt idx="976">
                  <c:v>7220</c:v>
                </c:pt>
                <c:pt idx="977">
                  <c:v>17522</c:v>
                </c:pt>
                <c:pt idx="978">
                  <c:v>1562</c:v>
                </c:pt>
                <c:pt idx="979">
                  <c:v>31978</c:v>
                </c:pt>
                <c:pt idx="980">
                  <c:v>22290</c:v>
                </c:pt>
                <c:pt idx="981">
                  <c:v>43284</c:v>
                </c:pt>
                <c:pt idx="982">
                  <c:v>60675</c:v>
                </c:pt>
                <c:pt idx="983">
                  <c:v>17836</c:v>
                </c:pt>
                <c:pt idx="984">
                  <c:v>75859</c:v>
                </c:pt>
                <c:pt idx="985">
                  <c:v>28639</c:v>
                </c:pt>
                <c:pt idx="986">
                  <c:v>102599</c:v>
                </c:pt>
                <c:pt idx="987">
                  <c:v>8371</c:v>
                </c:pt>
                <c:pt idx="988">
                  <c:v>21725</c:v>
                </c:pt>
                <c:pt idx="989">
                  <c:v>17250</c:v>
                </c:pt>
                <c:pt idx="990">
                  <c:v>10255</c:v>
                </c:pt>
                <c:pt idx="991">
                  <c:v>218583</c:v>
                </c:pt>
                <c:pt idx="992">
                  <c:v>17887</c:v>
                </c:pt>
                <c:pt idx="993">
                  <c:v>22142</c:v>
                </c:pt>
                <c:pt idx="994">
                  <c:v>79431</c:v>
                </c:pt>
                <c:pt idx="995">
                  <c:v>89796</c:v>
                </c:pt>
                <c:pt idx="996">
                  <c:v>1262</c:v>
                </c:pt>
                <c:pt idx="997">
                  <c:v>64648</c:v>
                </c:pt>
                <c:pt idx="998">
                  <c:v>71047</c:v>
                </c:pt>
                <c:pt idx="999">
                  <c:v>130217</c:v>
                </c:pt>
                <c:pt idx="1000">
                  <c:v>14496</c:v>
                </c:pt>
                <c:pt idx="1001">
                  <c:v>83818</c:v>
                </c:pt>
                <c:pt idx="1002">
                  <c:v>13693</c:v>
                </c:pt>
                <c:pt idx="1003">
                  <c:v>11780</c:v>
                </c:pt>
                <c:pt idx="1004">
                  <c:v>11434</c:v>
                </c:pt>
                <c:pt idx="1005">
                  <c:v>18370</c:v>
                </c:pt>
                <c:pt idx="1006">
                  <c:v>23848</c:v>
                </c:pt>
                <c:pt idx="1007">
                  <c:v>34413</c:v>
                </c:pt>
                <c:pt idx="1008">
                  <c:v>17006</c:v>
                </c:pt>
                <c:pt idx="1009">
                  <c:v>37276</c:v>
                </c:pt>
                <c:pt idx="1010">
                  <c:v>22052</c:v>
                </c:pt>
                <c:pt idx="1011">
                  <c:v>5963</c:v>
                </c:pt>
                <c:pt idx="1012">
                  <c:v>8885</c:v>
                </c:pt>
                <c:pt idx="1013">
                  <c:v>38784</c:v>
                </c:pt>
                <c:pt idx="1014">
                  <c:v>23693</c:v>
                </c:pt>
                <c:pt idx="1015">
                  <c:v>91648</c:v>
                </c:pt>
                <c:pt idx="1016">
                  <c:v>16983</c:v>
                </c:pt>
                <c:pt idx="1017">
                  <c:v>5430</c:v>
                </c:pt>
                <c:pt idx="1018">
                  <c:v>39825</c:v>
                </c:pt>
                <c:pt idx="1019">
                  <c:v>87216</c:v>
                </c:pt>
                <c:pt idx="1020">
                  <c:v>6661</c:v>
                </c:pt>
                <c:pt idx="1021">
                  <c:v>36679</c:v>
                </c:pt>
                <c:pt idx="1022">
                  <c:v>14934</c:v>
                </c:pt>
                <c:pt idx="1023">
                  <c:v>6875</c:v>
                </c:pt>
                <c:pt idx="1024">
                  <c:v>46657</c:v>
                </c:pt>
                <c:pt idx="1025">
                  <c:v>105307</c:v>
                </c:pt>
                <c:pt idx="1026">
                  <c:v>3942</c:v>
                </c:pt>
                <c:pt idx="1027">
                  <c:v>41818</c:v>
                </c:pt>
                <c:pt idx="1028">
                  <c:v>81658</c:v>
                </c:pt>
                <c:pt idx="1029">
                  <c:v>49886</c:v>
                </c:pt>
                <c:pt idx="1030">
                  <c:v>4572</c:v>
                </c:pt>
                <c:pt idx="1031">
                  <c:v>26361</c:v>
                </c:pt>
                <c:pt idx="1032">
                  <c:v>52619</c:v>
                </c:pt>
                <c:pt idx="1033">
                  <c:v>13386</c:v>
                </c:pt>
                <c:pt idx="1034">
                  <c:v>54537</c:v>
                </c:pt>
                <c:pt idx="1035">
                  <c:v>20810</c:v>
                </c:pt>
                <c:pt idx="1036">
                  <c:v>49903</c:v>
                </c:pt>
                <c:pt idx="1037">
                  <c:v>17738</c:v>
                </c:pt>
                <c:pt idx="1038">
                  <c:v>3719</c:v>
                </c:pt>
                <c:pt idx="1039">
                  <c:v>29547</c:v>
                </c:pt>
                <c:pt idx="1040">
                  <c:v>5939</c:v>
                </c:pt>
                <c:pt idx="1041">
                  <c:v>23473</c:v>
                </c:pt>
                <c:pt idx="1042">
                  <c:v>6867</c:v>
                </c:pt>
                <c:pt idx="1043">
                  <c:v>17420</c:v>
                </c:pt>
                <c:pt idx="1044">
                  <c:v>18497</c:v>
                </c:pt>
                <c:pt idx="1045">
                  <c:v>55249</c:v>
                </c:pt>
                <c:pt idx="1046">
                  <c:v>37992</c:v>
                </c:pt>
                <c:pt idx="1047">
                  <c:v>43042</c:v>
                </c:pt>
                <c:pt idx="1048">
                  <c:v>52829</c:v>
                </c:pt>
                <c:pt idx="1049">
                  <c:v>32749</c:v>
                </c:pt>
                <c:pt idx="1050">
                  <c:v>9815</c:v>
                </c:pt>
                <c:pt idx="1051">
                  <c:v>72943</c:v>
                </c:pt>
                <c:pt idx="1052">
                  <c:v>37765</c:v>
                </c:pt>
                <c:pt idx="1053">
                  <c:v>3308</c:v>
                </c:pt>
                <c:pt idx="1054">
                  <c:v>5096</c:v>
                </c:pt>
                <c:pt idx="1055">
                  <c:v>32438</c:v>
                </c:pt>
                <c:pt idx="1056">
                  <c:v>22329</c:v>
                </c:pt>
                <c:pt idx="1057">
                  <c:v>4218</c:v>
                </c:pt>
                <c:pt idx="1058">
                  <c:v>30913</c:v>
                </c:pt>
                <c:pt idx="1059">
                  <c:v>7332</c:v>
                </c:pt>
                <c:pt idx="1060">
                  <c:v>24257</c:v>
                </c:pt>
                <c:pt idx="1061">
                  <c:v>4732</c:v>
                </c:pt>
                <c:pt idx="1062">
                  <c:v>81966</c:v>
                </c:pt>
                <c:pt idx="1063">
                  <c:v>190775</c:v>
                </c:pt>
                <c:pt idx="1064">
                  <c:v>47130</c:v>
                </c:pt>
                <c:pt idx="1065">
                  <c:v>42318</c:v>
                </c:pt>
                <c:pt idx="1066">
                  <c:v>28696</c:v>
                </c:pt>
                <c:pt idx="1067">
                  <c:v>7462</c:v>
                </c:pt>
                <c:pt idx="1068">
                  <c:v>7852</c:v>
                </c:pt>
                <c:pt idx="1069">
                  <c:v>94529</c:v>
                </c:pt>
                <c:pt idx="1070">
                  <c:v>18785</c:v>
                </c:pt>
                <c:pt idx="1071">
                  <c:v>34420</c:v>
                </c:pt>
                <c:pt idx="1072">
                  <c:v>20694</c:v>
                </c:pt>
                <c:pt idx="1073">
                  <c:v>11514</c:v>
                </c:pt>
                <c:pt idx="1074">
                  <c:v>5307</c:v>
                </c:pt>
                <c:pt idx="1075">
                  <c:v>65326</c:v>
                </c:pt>
                <c:pt idx="1076">
                  <c:v>11264</c:v>
                </c:pt>
                <c:pt idx="1077">
                  <c:v>23703</c:v>
                </c:pt>
                <c:pt idx="1078">
                  <c:v>85352</c:v>
                </c:pt>
                <c:pt idx="1079">
                  <c:v>25007</c:v>
                </c:pt>
                <c:pt idx="1080">
                  <c:v>73807</c:v>
                </c:pt>
                <c:pt idx="1081">
                  <c:v>1059</c:v>
                </c:pt>
                <c:pt idx="1082">
                  <c:v>28842</c:v>
                </c:pt>
                <c:pt idx="1083">
                  <c:v>10084</c:v>
                </c:pt>
                <c:pt idx="1084">
                  <c:v>5488</c:v>
                </c:pt>
                <c:pt idx="1085">
                  <c:v>6416</c:v>
                </c:pt>
                <c:pt idx="1086">
                  <c:v>17332</c:v>
                </c:pt>
                <c:pt idx="1087">
                  <c:v>1089</c:v>
                </c:pt>
                <c:pt idx="1088">
                  <c:v>8005</c:v>
                </c:pt>
                <c:pt idx="1089">
                  <c:v>19535</c:v>
                </c:pt>
                <c:pt idx="1090">
                  <c:v>42993</c:v>
                </c:pt>
                <c:pt idx="1091">
                  <c:v>29312</c:v>
                </c:pt>
                <c:pt idx="1092">
                  <c:v>7496</c:v>
                </c:pt>
                <c:pt idx="1093">
                  <c:v>36065</c:v>
                </c:pt>
                <c:pt idx="1094">
                  <c:v>16576</c:v>
                </c:pt>
                <c:pt idx="1095">
                  <c:v>23296</c:v>
                </c:pt>
                <c:pt idx="1096">
                  <c:v>7810</c:v>
                </c:pt>
                <c:pt idx="1097">
                  <c:v>6608</c:v>
                </c:pt>
                <c:pt idx="1098">
                  <c:v>7117</c:v>
                </c:pt>
                <c:pt idx="1099">
                  <c:v>42290</c:v>
                </c:pt>
                <c:pt idx="1100">
                  <c:v>39335</c:v>
                </c:pt>
                <c:pt idx="1101">
                  <c:v>10729</c:v>
                </c:pt>
                <c:pt idx="1102">
                  <c:v>26689</c:v>
                </c:pt>
                <c:pt idx="1103">
                  <c:v>4070</c:v>
                </c:pt>
                <c:pt idx="1104">
                  <c:v>20243</c:v>
                </c:pt>
                <c:pt idx="1105">
                  <c:v>95012</c:v>
                </c:pt>
                <c:pt idx="1106">
                  <c:v>13949</c:v>
                </c:pt>
                <c:pt idx="1107">
                  <c:v>21341</c:v>
                </c:pt>
                <c:pt idx="1108">
                  <c:v>15214</c:v>
                </c:pt>
                <c:pt idx="1109">
                  <c:v>2850</c:v>
                </c:pt>
                <c:pt idx="1110">
                  <c:v>8911</c:v>
                </c:pt>
                <c:pt idx="1111">
                  <c:v>53242</c:v>
                </c:pt>
                <c:pt idx="1112">
                  <c:v>10541</c:v>
                </c:pt>
                <c:pt idx="1113">
                  <c:v>84905</c:v>
                </c:pt>
                <c:pt idx="1114">
                  <c:v>9722</c:v>
                </c:pt>
                <c:pt idx="1115">
                  <c:v>9517</c:v>
                </c:pt>
                <c:pt idx="1116">
                  <c:v>9307</c:v>
                </c:pt>
                <c:pt idx="1117">
                  <c:v>32637</c:v>
                </c:pt>
                <c:pt idx="1118">
                  <c:v>14481</c:v>
                </c:pt>
                <c:pt idx="1119">
                  <c:v>16758</c:v>
                </c:pt>
                <c:pt idx="1120">
                  <c:v>17095</c:v>
                </c:pt>
                <c:pt idx="1121">
                  <c:v>10910</c:v>
                </c:pt>
                <c:pt idx="1122">
                  <c:v>15607</c:v>
                </c:pt>
                <c:pt idx="1123">
                  <c:v>59324</c:v>
                </c:pt>
                <c:pt idx="1124">
                  <c:v>41420</c:v>
                </c:pt>
                <c:pt idx="1125">
                  <c:v>23444</c:v>
                </c:pt>
                <c:pt idx="1126">
                  <c:v>64824</c:v>
                </c:pt>
                <c:pt idx="1127">
                  <c:v>27671</c:v>
                </c:pt>
                <c:pt idx="1128">
                  <c:v>42815</c:v>
                </c:pt>
                <c:pt idx="1129">
                  <c:v>91301</c:v>
                </c:pt>
                <c:pt idx="1130">
                  <c:v>22680</c:v>
                </c:pt>
                <c:pt idx="1131">
                  <c:v>21588</c:v>
                </c:pt>
                <c:pt idx="1132">
                  <c:v>58307</c:v>
                </c:pt>
                <c:pt idx="1133">
                  <c:v>8932</c:v>
                </c:pt>
                <c:pt idx="1134">
                  <c:v>15536</c:v>
                </c:pt>
                <c:pt idx="1135">
                  <c:v>4750</c:v>
                </c:pt>
                <c:pt idx="1136">
                  <c:v>23628</c:v>
                </c:pt>
                <c:pt idx="1137">
                  <c:v>23925</c:v>
                </c:pt>
                <c:pt idx="1138">
                  <c:v>24477</c:v>
                </c:pt>
                <c:pt idx="1139">
                  <c:v>3256</c:v>
                </c:pt>
                <c:pt idx="1140">
                  <c:v>34663</c:v>
                </c:pt>
                <c:pt idx="1141">
                  <c:v>19258</c:v>
                </c:pt>
                <c:pt idx="1142">
                  <c:v>4454</c:v>
                </c:pt>
                <c:pt idx="1143">
                  <c:v>10779</c:v>
                </c:pt>
                <c:pt idx="1144">
                  <c:v>5566</c:v>
                </c:pt>
                <c:pt idx="1145">
                  <c:v>124340</c:v>
                </c:pt>
                <c:pt idx="1146">
                  <c:v>33048</c:v>
                </c:pt>
                <c:pt idx="1147">
                  <c:v>47822</c:v>
                </c:pt>
                <c:pt idx="1148">
                  <c:v>41309</c:v>
                </c:pt>
                <c:pt idx="1149">
                  <c:v>3838</c:v>
                </c:pt>
                <c:pt idx="1150">
                  <c:v>78245</c:v>
                </c:pt>
                <c:pt idx="1151">
                  <c:v>19884</c:v>
                </c:pt>
                <c:pt idx="1152">
                  <c:v>8453</c:v>
                </c:pt>
                <c:pt idx="1153">
                  <c:v>16898</c:v>
                </c:pt>
                <c:pt idx="1154">
                  <c:v>3100</c:v>
                </c:pt>
                <c:pt idx="1155">
                  <c:v>6418</c:v>
                </c:pt>
                <c:pt idx="1156">
                  <c:v>10531</c:v>
                </c:pt>
                <c:pt idx="1157">
                  <c:v>14297</c:v>
                </c:pt>
                <c:pt idx="1158">
                  <c:v>3674</c:v>
                </c:pt>
                <c:pt idx="1159">
                  <c:v>10932</c:v>
                </c:pt>
                <c:pt idx="1160">
                  <c:v>5205</c:v>
                </c:pt>
                <c:pt idx="1161">
                  <c:v>32480</c:v>
                </c:pt>
                <c:pt idx="1162">
                  <c:v>18409</c:v>
                </c:pt>
                <c:pt idx="1163">
                  <c:v>6026</c:v>
                </c:pt>
                <c:pt idx="1164">
                  <c:v>29231</c:v>
                </c:pt>
                <c:pt idx="1165">
                  <c:v>6978</c:v>
                </c:pt>
                <c:pt idx="1166">
                  <c:v>30968</c:v>
                </c:pt>
                <c:pt idx="1167">
                  <c:v>12018</c:v>
                </c:pt>
                <c:pt idx="1168">
                  <c:v>30514</c:v>
                </c:pt>
                <c:pt idx="1169">
                  <c:v>7069</c:v>
                </c:pt>
                <c:pt idx="1170">
                  <c:v>4896</c:v>
                </c:pt>
                <c:pt idx="1171">
                  <c:v>4243</c:v>
                </c:pt>
                <c:pt idx="1172">
                  <c:v>8350</c:v>
                </c:pt>
                <c:pt idx="1173">
                  <c:v>1816</c:v>
                </c:pt>
                <c:pt idx="1174">
                  <c:v>38648</c:v>
                </c:pt>
                <c:pt idx="1175">
                  <c:v>8536</c:v>
                </c:pt>
                <c:pt idx="1176">
                  <c:v>33520</c:v>
                </c:pt>
                <c:pt idx="1177">
                  <c:v>56402</c:v>
                </c:pt>
                <c:pt idx="1178">
                  <c:v>16046</c:v>
                </c:pt>
                <c:pt idx="1179">
                  <c:v>40912</c:v>
                </c:pt>
                <c:pt idx="1180">
                  <c:v>35517</c:v>
                </c:pt>
                <c:pt idx="1181">
                  <c:v>9926</c:v>
                </c:pt>
                <c:pt idx="1182">
                  <c:v>37818</c:v>
                </c:pt>
                <c:pt idx="1183">
                  <c:v>884</c:v>
                </c:pt>
                <c:pt idx="1184">
                  <c:v>20859</c:v>
                </c:pt>
                <c:pt idx="1185">
                  <c:v>37545</c:v>
                </c:pt>
                <c:pt idx="1186">
                  <c:v>12215</c:v>
                </c:pt>
                <c:pt idx="1187">
                  <c:v>13658</c:v>
                </c:pt>
                <c:pt idx="1188">
                  <c:v>23963</c:v>
                </c:pt>
                <c:pt idx="1189">
                  <c:v>24272</c:v>
                </c:pt>
                <c:pt idx="1190">
                  <c:v>4745</c:v>
                </c:pt>
                <c:pt idx="1191">
                  <c:v>15018</c:v>
                </c:pt>
                <c:pt idx="1192">
                  <c:v>12800</c:v>
                </c:pt>
                <c:pt idx="1193">
                  <c:v>14034</c:v>
                </c:pt>
                <c:pt idx="1194">
                  <c:v>16671</c:v>
                </c:pt>
                <c:pt idx="1195">
                  <c:v>30251</c:v>
                </c:pt>
                <c:pt idx="1196">
                  <c:v>8698</c:v>
                </c:pt>
                <c:pt idx="1197">
                  <c:v>8286</c:v>
                </c:pt>
                <c:pt idx="1198">
                  <c:v>18004</c:v>
                </c:pt>
                <c:pt idx="1199">
                  <c:v>50579</c:v>
                </c:pt>
                <c:pt idx="1200">
                  <c:v>22897</c:v>
                </c:pt>
                <c:pt idx="1201">
                  <c:v>20351</c:v>
                </c:pt>
                <c:pt idx="1202">
                  <c:v>5797</c:v>
                </c:pt>
                <c:pt idx="1203">
                  <c:v>29478</c:v>
                </c:pt>
                <c:pt idx="1204">
                  <c:v>8646</c:v>
                </c:pt>
                <c:pt idx="1205">
                  <c:v>8552</c:v>
                </c:pt>
                <c:pt idx="1206">
                  <c:v>11673</c:v>
                </c:pt>
                <c:pt idx="1207">
                  <c:v>24964</c:v>
                </c:pt>
                <c:pt idx="1208">
                  <c:v>12627</c:v>
                </c:pt>
                <c:pt idx="1209">
                  <c:v>5115</c:v>
                </c:pt>
                <c:pt idx="1210">
                  <c:v>94109</c:v>
                </c:pt>
                <c:pt idx="1211">
                  <c:v>15080</c:v>
                </c:pt>
                <c:pt idx="1212">
                  <c:v>34453</c:v>
                </c:pt>
                <c:pt idx="1213">
                  <c:v>13760</c:v>
                </c:pt>
                <c:pt idx="1214">
                  <c:v>4006</c:v>
                </c:pt>
                <c:pt idx="1215">
                  <c:v>31681</c:v>
                </c:pt>
                <c:pt idx="1216">
                  <c:v>13572</c:v>
                </c:pt>
                <c:pt idx="1217">
                  <c:v>10295</c:v>
                </c:pt>
                <c:pt idx="1218">
                  <c:v>10286</c:v>
                </c:pt>
                <c:pt idx="1219">
                  <c:v>21324</c:v>
                </c:pt>
                <c:pt idx="1220">
                  <c:v>29024</c:v>
                </c:pt>
                <c:pt idx="1221">
                  <c:v>35225</c:v>
                </c:pt>
                <c:pt idx="1222">
                  <c:v>43606</c:v>
                </c:pt>
                <c:pt idx="1223">
                  <c:v>29390</c:v>
                </c:pt>
                <c:pt idx="1224">
                  <c:v>7077</c:v>
                </c:pt>
                <c:pt idx="1225">
                  <c:v>4458</c:v>
                </c:pt>
                <c:pt idx="1226">
                  <c:v>6532</c:v>
                </c:pt>
                <c:pt idx="1227">
                  <c:v>24589</c:v>
                </c:pt>
                <c:pt idx="1228">
                  <c:v>3102</c:v>
                </c:pt>
                <c:pt idx="1229">
                  <c:v>29594</c:v>
                </c:pt>
                <c:pt idx="1230">
                  <c:v>18380</c:v>
                </c:pt>
                <c:pt idx="1231">
                  <c:v>8475</c:v>
                </c:pt>
                <c:pt idx="1232">
                  <c:v>13358</c:v>
                </c:pt>
                <c:pt idx="1233">
                  <c:v>29144</c:v>
                </c:pt>
                <c:pt idx="1234">
                  <c:v>8751</c:v>
                </c:pt>
                <c:pt idx="1235">
                  <c:v>37688</c:v>
                </c:pt>
                <c:pt idx="1236">
                  <c:v>53072</c:v>
                </c:pt>
                <c:pt idx="1237">
                  <c:v>22903</c:v>
                </c:pt>
                <c:pt idx="1238">
                  <c:v>10647</c:v>
                </c:pt>
                <c:pt idx="1239">
                  <c:v>22480</c:v>
                </c:pt>
                <c:pt idx="1240">
                  <c:v>17979</c:v>
                </c:pt>
                <c:pt idx="1241">
                  <c:v>13921</c:v>
                </c:pt>
                <c:pt idx="1242">
                  <c:v>12006</c:v>
                </c:pt>
                <c:pt idx="1243">
                  <c:v>4068</c:v>
                </c:pt>
                <c:pt idx="1244">
                  <c:v>12471</c:v>
                </c:pt>
                <c:pt idx="1245">
                  <c:v>27446</c:v>
                </c:pt>
                <c:pt idx="1246">
                  <c:v>11316</c:v>
                </c:pt>
                <c:pt idx="1247">
                  <c:v>6994</c:v>
                </c:pt>
                <c:pt idx="1248">
                  <c:v>10234</c:v>
                </c:pt>
                <c:pt idx="1249">
                  <c:v>21043</c:v>
                </c:pt>
                <c:pt idx="1250">
                  <c:v>20816</c:v>
                </c:pt>
                <c:pt idx="1251">
                  <c:v>23547</c:v>
                </c:pt>
                <c:pt idx="1252">
                  <c:v>1113</c:v>
                </c:pt>
                <c:pt idx="1253">
                  <c:v>5411</c:v>
                </c:pt>
                <c:pt idx="1254">
                  <c:v>55136</c:v>
                </c:pt>
                <c:pt idx="1255">
                  <c:v>47136</c:v>
                </c:pt>
                <c:pt idx="1256">
                  <c:v>8564</c:v>
                </c:pt>
                <c:pt idx="1257">
                  <c:v>12227</c:v>
                </c:pt>
                <c:pt idx="1258">
                  <c:v>10673</c:v>
                </c:pt>
                <c:pt idx="1259">
                  <c:v>14666</c:v>
                </c:pt>
                <c:pt idx="1260">
                  <c:v>10127</c:v>
                </c:pt>
                <c:pt idx="1261">
                  <c:v>15544</c:v>
                </c:pt>
                <c:pt idx="1262">
                  <c:v>25172</c:v>
                </c:pt>
                <c:pt idx="1263">
                  <c:v>44150</c:v>
                </c:pt>
                <c:pt idx="1264">
                  <c:v>9579</c:v>
                </c:pt>
                <c:pt idx="1265">
                  <c:v>11035</c:v>
                </c:pt>
                <c:pt idx="1266">
                  <c:v>29725</c:v>
                </c:pt>
                <c:pt idx="1267">
                  <c:v>8179</c:v>
                </c:pt>
                <c:pt idx="1268">
                  <c:v>20540</c:v>
                </c:pt>
                <c:pt idx="1269">
                  <c:v>6991</c:v>
                </c:pt>
                <c:pt idx="1270">
                  <c:v>18223</c:v>
                </c:pt>
                <c:pt idx="1271">
                  <c:v>25004</c:v>
                </c:pt>
                <c:pt idx="1272">
                  <c:v>9305</c:v>
                </c:pt>
                <c:pt idx="1273">
                  <c:v>56912</c:v>
                </c:pt>
                <c:pt idx="1274">
                  <c:v>4993</c:v>
                </c:pt>
                <c:pt idx="1275">
                  <c:v>23111</c:v>
                </c:pt>
                <c:pt idx="1276">
                  <c:v>37105</c:v>
                </c:pt>
                <c:pt idx="1277">
                  <c:v>14419</c:v>
                </c:pt>
                <c:pt idx="1278">
                  <c:v>167205</c:v>
                </c:pt>
                <c:pt idx="1279">
                  <c:v>5046</c:v>
                </c:pt>
                <c:pt idx="1280">
                  <c:v>4347</c:v>
                </c:pt>
                <c:pt idx="1281">
                  <c:v>36681</c:v>
                </c:pt>
                <c:pt idx="1282">
                  <c:v>31208</c:v>
                </c:pt>
                <c:pt idx="1283">
                  <c:v>54251</c:v>
                </c:pt>
                <c:pt idx="1284">
                  <c:v>18229</c:v>
                </c:pt>
                <c:pt idx="1285">
                  <c:v>15961</c:v>
                </c:pt>
                <c:pt idx="1286">
                  <c:v>35619</c:v>
                </c:pt>
                <c:pt idx="1287">
                  <c:v>10173</c:v>
                </c:pt>
                <c:pt idx="1288">
                  <c:v>27247</c:v>
                </c:pt>
                <c:pt idx="1289">
                  <c:v>58032</c:v>
                </c:pt>
                <c:pt idx="1290">
                  <c:v>54100</c:v>
                </c:pt>
                <c:pt idx="1291">
                  <c:v>2829</c:v>
                </c:pt>
                <c:pt idx="1292">
                  <c:v>4456</c:v>
                </c:pt>
                <c:pt idx="1293">
                  <c:v>12551</c:v>
                </c:pt>
                <c:pt idx="1294">
                  <c:v>4988</c:v>
                </c:pt>
                <c:pt idx="1295">
                  <c:v>1820</c:v>
                </c:pt>
                <c:pt idx="1296">
                  <c:v>6930</c:v>
                </c:pt>
                <c:pt idx="1297">
                  <c:v>66272</c:v>
                </c:pt>
                <c:pt idx="1298">
                  <c:v>39625</c:v>
                </c:pt>
                <c:pt idx="1299">
                  <c:v>24444</c:v>
                </c:pt>
                <c:pt idx="1300">
                  <c:v>76661</c:v>
                </c:pt>
                <c:pt idx="1301">
                  <c:v>14039</c:v>
                </c:pt>
                <c:pt idx="1302">
                  <c:v>18379</c:v>
                </c:pt>
                <c:pt idx="1303">
                  <c:v>9811</c:v>
                </c:pt>
                <c:pt idx="1304">
                  <c:v>7042</c:v>
                </c:pt>
                <c:pt idx="1305">
                  <c:v>11703</c:v>
                </c:pt>
                <c:pt idx="1306">
                  <c:v>39531</c:v>
                </c:pt>
                <c:pt idx="1307">
                  <c:v>41057</c:v>
                </c:pt>
                <c:pt idx="1308">
                  <c:v>114198</c:v>
                </c:pt>
                <c:pt idx="1309">
                  <c:v>5752</c:v>
                </c:pt>
                <c:pt idx="1310">
                  <c:v>10407</c:v>
                </c:pt>
                <c:pt idx="1311">
                  <c:v>8302</c:v>
                </c:pt>
                <c:pt idx="1312">
                  <c:v>5268</c:v>
                </c:pt>
                <c:pt idx="1313">
                  <c:v>100304</c:v>
                </c:pt>
                <c:pt idx="1314">
                  <c:v>13468</c:v>
                </c:pt>
                <c:pt idx="1315">
                  <c:v>13867</c:v>
                </c:pt>
                <c:pt idx="1316">
                  <c:v>5732</c:v>
                </c:pt>
                <c:pt idx="1317">
                  <c:v>10896</c:v>
                </c:pt>
                <c:pt idx="1318">
                  <c:v>50536</c:v>
                </c:pt>
                <c:pt idx="1319">
                  <c:v>13631</c:v>
                </c:pt>
                <c:pt idx="1320">
                  <c:v>6504</c:v>
                </c:pt>
                <c:pt idx="1321">
                  <c:v>3910</c:v>
                </c:pt>
                <c:pt idx="1322">
                  <c:v>13255</c:v>
                </c:pt>
                <c:pt idx="1323">
                  <c:v>11742</c:v>
                </c:pt>
                <c:pt idx="1324">
                  <c:v>10571</c:v>
                </c:pt>
                <c:pt idx="1325">
                  <c:v>26010</c:v>
                </c:pt>
                <c:pt idx="1326">
                  <c:v>16728</c:v>
                </c:pt>
                <c:pt idx="1327">
                  <c:v>10548</c:v>
                </c:pt>
                <c:pt idx="1328">
                  <c:v>14609</c:v>
                </c:pt>
                <c:pt idx="1329">
                  <c:v>13840</c:v>
                </c:pt>
                <c:pt idx="1330">
                  <c:v>38025</c:v>
                </c:pt>
                <c:pt idx="1331">
                  <c:v>143330</c:v>
                </c:pt>
                <c:pt idx="1332">
                  <c:v>23191</c:v>
                </c:pt>
                <c:pt idx="1333">
                  <c:v>41247</c:v>
                </c:pt>
                <c:pt idx="1334">
                  <c:v>20685</c:v>
                </c:pt>
                <c:pt idx="1335">
                  <c:v>24407</c:v>
                </c:pt>
                <c:pt idx="1336">
                  <c:v>62719</c:v>
                </c:pt>
                <c:pt idx="1337">
                  <c:v>57059</c:v>
                </c:pt>
                <c:pt idx="1338">
                  <c:v>10897</c:v>
                </c:pt>
                <c:pt idx="1339">
                  <c:v>12149</c:v>
                </c:pt>
                <c:pt idx="1340">
                  <c:v>4304</c:v>
                </c:pt>
                <c:pt idx="1341">
                  <c:v>11680</c:v>
                </c:pt>
                <c:pt idx="1342">
                  <c:v>7528</c:v>
                </c:pt>
                <c:pt idx="1343">
                  <c:v>19651</c:v>
                </c:pt>
                <c:pt idx="1344">
                  <c:v>8263</c:v>
                </c:pt>
                <c:pt idx="1345">
                  <c:v>62670</c:v>
                </c:pt>
                <c:pt idx="1346">
                  <c:v>10668</c:v>
                </c:pt>
                <c:pt idx="1347">
                  <c:v>23859</c:v>
                </c:pt>
                <c:pt idx="1348">
                  <c:v>21939</c:v>
                </c:pt>
                <c:pt idx="1349">
                  <c:v>5363</c:v>
                </c:pt>
                <c:pt idx="1350">
                  <c:v>9246</c:v>
                </c:pt>
                <c:pt idx="1351">
                  <c:v>5933</c:v>
                </c:pt>
                <c:pt idx="1352">
                  <c:v>138158</c:v>
                </c:pt>
                <c:pt idx="1353">
                  <c:v>10010</c:v>
                </c:pt>
                <c:pt idx="1354">
                  <c:v>21414</c:v>
                </c:pt>
                <c:pt idx="1355">
                  <c:v>3146</c:v>
                </c:pt>
                <c:pt idx="1356">
                  <c:v>39683</c:v>
                </c:pt>
                <c:pt idx="1357">
                  <c:v>18152</c:v>
                </c:pt>
                <c:pt idx="1358">
                  <c:v>12043</c:v>
                </c:pt>
                <c:pt idx="1359">
                  <c:v>7871</c:v>
                </c:pt>
                <c:pt idx="1360">
                  <c:v>11772</c:v>
                </c:pt>
                <c:pt idx="1361">
                  <c:v>21684</c:v>
                </c:pt>
                <c:pt idx="1362">
                  <c:v>16536</c:v>
                </c:pt>
                <c:pt idx="1363">
                  <c:v>2299</c:v>
                </c:pt>
                <c:pt idx="1364">
                  <c:v>63409</c:v>
                </c:pt>
                <c:pt idx="1365">
                  <c:v>14827</c:v>
                </c:pt>
                <c:pt idx="1366">
                  <c:v>6193</c:v>
                </c:pt>
                <c:pt idx="1367">
                  <c:v>47905</c:v>
                </c:pt>
                <c:pt idx="1368">
                  <c:v>2079</c:v>
                </c:pt>
                <c:pt idx="1369">
                  <c:v>10067</c:v>
                </c:pt>
                <c:pt idx="1370">
                  <c:v>27761</c:v>
                </c:pt>
                <c:pt idx="1371">
                  <c:v>6113</c:v>
                </c:pt>
                <c:pt idx="1372">
                  <c:v>30488</c:v>
                </c:pt>
                <c:pt idx="1373">
                  <c:v>9156</c:v>
                </c:pt>
                <c:pt idx="1374">
                  <c:v>13924</c:v>
                </c:pt>
                <c:pt idx="1375">
                  <c:v>24761</c:v>
                </c:pt>
                <c:pt idx="1376">
                  <c:v>17024</c:v>
                </c:pt>
                <c:pt idx="1377">
                  <c:v>6370</c:v>
                </c:pt>
                <c:pt idx="1378">
                  <c:v>16999</c:v>
                </c:pt>
                <c:pt idx="1379">
                  <c:v>100523</c:v>
                </c:pt>
                <c:pt idx="1380">
                  <c:v>34471</c:v>
                </c:pt>
                <c:pt idx="1381">
                  <c:v>11033</c:v>
                </c:pt>
                <c:pt idx="1382">
                  <c:v>16837</c:v>
                </c:pt>
                <c:pt idx="1383">
                  <c:v>13550</c:v>
                </c:pt>
                <c:pt idx="1384">
                  <c:v>24706</c:v>
                </c:pt>
                <c:pt idx="1385">
                  <c:v>61015</c:v>
                </c:pt>
                <c:pt idx="1386">
                  <c:v>39034</c:v>
                </c:pt>
                <c:pt idx="1387">
                  <c:v>1733</c:v>
                </c:pt>
                <c:pt idx="1388">
                  <c:v>5341</c:v>
                </c:pt>
                <c:pt idx="1389">
                  <c:v>28589</c:v>
                </c:pt>
                <c:pt idx="1390">
                  <c:v>27750</c:v>
                </c:pt>
                <c:pt idx="1391">
                  <c:v>11313</c:v>
                </c:pt>
                <c:pt idx="1392">
                  <c:v>11448</c:v>
                </c:pt>
                <c:pt idx="1393">
                  <c:v>6416</c:v>
                </c:pt>
                <c:pt idx="1394">
                  <c:v>20379</c:v>
                </c:pt>
                <c:pt idx="1395">
                  <c:v>14136</c:v>
                </c:pt>
                <c:pt idx="1396">
                  <c:v>10703</c:v>
                </c:pt>
                <c:pt idx="1397">
                  <c:v>33318</c:v>
                </c:pt>
                <c:pt idx="1398">
                  <c:v>33101</c:v>
                </c:pt>
                <c:pt idx="1399">
                  <c:v>2907</c:v>
                </c:pt>
                <c:pt idx="1400">
                  <c:v>11157</c:v>
                </c:pt>
                <c:pt idx="1401">
                  <c:v>26499</c:v>
                </c:pt>
                <c:pt idx="1402">
                  <c:v>31514</c:v>
                </c:pt>
                <c:pt idx="1403">
                  <c:v>9255</c:v>
                </c:pt>
                <c:pt idx="1404">
                  <c:v>39250</c:v>
                </c:pt>
                <c:pt idx="1405">
                  <c:v>11727</c:v>
                </c:pt>
                <c:pt idx="1406">
                  <c:v>30492</c:v>
                </c:pt>
                <c:pt idx="1407">
                  <c:v>8888</c:v>
                </c:pt>
                <c:pt idx="1408">
                  <c:v>2721</c:v>
                </c:pt>
                <c:pt idx="1409">
                  <c:v>5578</c:v>
                </c:pt>
                <c:pt idx="1410">
                  <c:v>19478</c:v>
                </c:pt>
                <c:pt idx="1411">
                  <c:v>25628</c:v>
                </c:pt>
                <c:pt idx="1412">
                  <c:v>84909</c:v>
                </c:pt>
                <c:pt idx="1413">
                  <c:v>12717</c:v>
                </c:pt>
                <c:pt idx="1414">
                  <c:v>25048</c:v>
                </c:pt>
                <c:pt idx="1415">
                  <c:v>13048</c:v>
                </c:pt>
                <c:pt idx="1416">
                  <c:v>6223</c:v>
                </c:pt>
                <c:pt idx="1417">
                  <c:v>26010</c:v>
                </c:pt>
                <c:pt idx="1418">
                  <c:v>7224</c:v>
                </c:pt>
                <c:pt idx="1419">
                  <c:v>9093</c:v>
                </c:pt>
                <c:pt idx="1420">
                  <c:v>6960</c:v>
                </c:pt>
                <c:pt idx="1421">
                  <c:v>9710</c:v>
                </c:pt>
                <c:pt idx="1422">
                  <c:v>5533</c:v>
                </c:pt>
                <c:pt idx="1423">
                  <c:v>16255</c:v>
                </c:pt>
                <c:pt idx="1424">
                  <c:v>30020</c:v>
                </c:pt>
                <c:pt idx="1425">
                  <c:v>27115</c:v>
                </c:pt>
                <c:pt idx="1426">
                  <c:v>22533</c:v>
                </c:pt>
                <c:pt idx="1427">
                  <c:v>5868</c:v>
                </c:pt>
                <c:pt idx="1428">
                  <c:v>16640</c:v>
                </c:pt>
                <c:pt idx="1429">
                  <c:v>25455</c:v>
                </c:pt>
                <c:pt idx="1430">
                  <c:v>11803</c:v>
                </c:pt>
                <c:pt idx="1431">
                  <c:v>6074</c:v>
                </c:pt>
                <c:pt idx="1432">
                  <c:v>7056</c:v>
                </c:pt>
                <c:pt idx="1433">
                  <c:v>52279</c:v>
                </c:pt>
                <c:pt idx="1434">
                  <c:v>3935</c:v>
                </c:pt>
                <c:pt idx="1435">
                  <c:v>29041</c:v>
                </c:pt>
                <c:pt idx="1436">
                  <c:v>7484</c:v>
                </c:pt>
                <c:pt idx="1437">
                  <c:v>8378</c:v>
                </c:pt>
                <c:pt idx="1438">
                  <c:v>7691</c:v>
                </c:pt>
                <c:pt idx="1439">
                  <c:v>54363</c:v>
                </c:pt>
                <c:pt idx="1440">
                  <c:v>17332</c:v>
                </c:pt>
                <c:pt idx="1441">
                  <c:v>51377</c:v>
                </c:pt>
                <c:pt idx="1442">
                  <c:v>18704</c:v>
                </c:pt>
                <c:pt idx="1443">
                  <c:v>40703</c:v>
                </c:pt>
                <c:pt idx="1444">
                  <c:v>4909</c:v>
                </c:pt>
                <c:pt idx="1445">
                  <c:v>49958</c:v>
                </c:pt>
                <c:pt idx="1446">
                  <c:v>31230</c:v>
                </c:pt>
                <c:pt idx="1447">
                  <c:v>2227</c:v>
                </c:pt>
                <c:pt idx="1448">
                  <c:v>13774</c:v>
                </c:pt>
                <c:pt idx="1449">
                  <c:v>9076</c:v>
                </c:pt>
                <c:pt idx="1450">
                  <c:v>9670</c:v>
                </c:pt>
                <c:pt idx="1451">
                  <c:v>11941</c:v>
                </c:pt>
                <c:pt idx="1452">
                  <c:v>6352</c:v>
                </c:pt>
                <c:pt idx="1453">
                  <c:v>4921</c:v>
                </c:pt>
                <c:pt idx="1454">
                  <c:v>1102</c:v>
                </c:pt>
                <c:pt idx="1455">
                  <c:v>19992</c:v>
                </c:pt>
                <c:pt idx="1456">
                  <c:v>15989</c:v>
                </c:pt>
                <c:pt idx="1457">
                  <c:v>16013</c:v>
                </c:pt>
                <c:pt idx="1458">
                  <c:v>38471</c:v>
                </c:pt>
                <c:pt idx="1459">
                  <c:v>9164</c:v>
                </c:pt>
                <c:pt idx="1460">
                  <c:v>41318</c:v>
                </c:pt>
                <c:pt idx="1461">
                  <c:v>5261</c:v>
                </c:pt>
                <c:pt idx="1462">
                  <c:v>31431</c:v>
                </c:pt>
                <c:pt idx="1463">
                  <c:v>3775</c:v>
                </c:pt>
                <c:pt idx="1464">
                  <c:v>12644</c:v>
                </c:pt>
                <c:pt idx="1465">
                  <c:v>10706</c:v>
                </c:pt>
                <c:pt idx="1466">
                  <c:v>25163</c:v>
                </c:pt>
                <c:pt idx="1467">
                  <c:v>13965</c:v>
                </c:pt>
                <c:pt idx="1468">
                  <c:v>20734</c:v>
                </c:pt>
                <c:pt idx="1469">
                  <c:v>23073</c:v>
                </c:pt>
                <c:pt idx="1470">
                  <c:v>11827</c:v>
                </c:pt>
                <c:pt idx="1471">
                  <c:v>4756</c:v>
                </c:pt>
                <c:pt idx="1472">
                  <c:v>15879</c:v>
                </c:pt>
                <c:pt idx="1473">
                  <c:v>317850</c:v>
                </c:pt>
                <c:pt idx="1474">
                  <c:v>9816</c:v>
                </c:pt>
                <c:pt idx="1475">
                  <c:v>43265</c:v>
                </c:pt>
                <c:pt idx="1476">
                  <c:v>12639</c:v>
                </c:pt>
                <c:pt idx="1477">
                  <c:v>26871</c:v>
                </c:pt>
                <c:pt idx="1478">
                  <c:v>17743</c:v>
                </c:pt>
                <c:pt idx="1479">
                  <c:v>7966</c:v>
                </c:pt>
                <c:pt idx="1480">
                  <c:v>2355</c:v>
                </c:pt>
                <c:pt idx="1481">
                  <c:v>24295</c:v>
                </c:pt>
                <c:pt idx="1482">
                  <c:v>13941</c:v>
                </c:pt>
                <c:pt idx="1483">
                  <c:v>11661</c:v>
                </c:pt>
                <c:pt idx="1484">
                  <c:v>3802</c:v>
                </c:pt>
                <c:pt idx="1485">
                  <c:v>18385</c:v>
                </c:pt>
                <c:pt idx="1486">
                  <c:v>22539</c:v>
                </c:pt>
                <c:pt idx="1487">
                  <c:v>7879</c:v>
                </c:pt>
                <c:pt idx="1488">
                  <c:v>10046</c:v>
                </c:pt>
                <c:pt idx="1489">
                  <c:v>21942</c:v>
                </c:pt>
                <c:pt idx="1490">
                  <c:v>8778</c:v>
                </c:pt>
                <c:pt idx="1491">
                  <c:v>21971</c:v>
                </c:pt>
                <c:pt idx="1492">
                  <c:v>6829</c:v>
                </c:pt>
                <c:pt idx="1493">
                  <c:v>30509</c:v>
                </c:pt>
                <c:pt idx="1494">
                  <c:v>37154</c:v>
                </c:pt>
                <c:pt idx="1495">
                  <c:v>44241</c:v>
                </c:pt>
                <c:pt idx="1496">
                  <c:v>9037</c:v>
                </c:pt>
                <c:pt idx="1497">
                  <c:v>12326</c:v>
                </c:pt>
                <c:pt idx="1498">
                  <c:v>87219</c:v>
                </c:pt>
                <c:pt idx="1499">
                  <c:v>6921</c:v>
                </c:pt>
                <c:pt idx="1500">
                  <c:v>7055</c:v>
                </c:pt>
                <c:pt idx="1501">
                  <c:v>59626</c:v>
                </c:pt>
                <c:pt idx="1502">
                  <c:v>6612</c:v>
                </c:pt>
                <c:pt idx="1503">
                  <c:v>18280</c:v>
                </c:pt>
                <c:pt idx="1504">
                  <c:v>22689</c:v>
                </c:pt>
                <c:pt idx="1505">
                  <c:v>8921</c:v>
                </c:pt>
                <c:pt idx="1506">
                  <c:v>10136</c:v>
                </c:pt>
                <c:pt idx="1507">
                  <c:v>10289</c:v>
                </c:pt>
                <c:pt idx="1508">
                  <c:v>20205</c:v>
                </c:pt>
                <c:pt idx="1509">
                  <c:v>3890</c:v>
                </c:pt>
                <c:pt idx="1510">
                  <c:v>23234</c:v>
                </c:pt>
                <c:pt idx="1511">
                  <c:v>63835</c:v>
                </c:pt>
                <c:pt idx="1512">
                  <c:v>5221</c:v>
                </c:pt>
                <c:pt idx="1513">
                  <c:v>12317</c:v>
                </c:pt>
                <c:pt idx="1514">
                  <c:v>15295</c:v>
                </c:pt>
                <c:pt idx="1515">
                  <c:v>10968</c:v>
                </c:pt>
                <c:pt idx="1516">
                  <c:v>1458</c:v>
                </c:pt>
                <c:pt idx="1517">
                  <c:v>5009</c:v>
                </c:pt>
                <c:pt idx="1518">
                  <c:v>16681</c:v>
                </c:pt>
                <c:pt idx="1519">
                  <c:v>30682</c:v>
                </c:pt>
                <c:pt idx="1520">
                  <c:v>37006</c:v>
                </c:pt>
                <c:pt idx="1521">
                  <c:v>6287</c:v>
                </c:pt>
                <c:pt idx="1522">
                  <c:v>6624</c:v>
                </c:pt>
                <c:pt idx="1523">
                  <c:v>421</c:v>
                </c:pt>
                <c:pt idx="1524">
                  <c:v>1995</c:v>
                </c:pt>
                <c:pt idx="1525">
                  <c:v>7843</c:v>
                </c:pt>
                <c:pt idx="1526">
                  <c:v>12547</c:v>
                </c:pt>
                <c:pt idx="1527">
                  <c:v>7507</c:v>
                </c:pt>
                <c:pt idx="1528">
                  <c:v>16050</c:v>
                </c:pt>
                <c:pt idx="1529">
                  <c:v>8485</c:v>
                </c:pt>
                <c:pt idx="1530">
                  <c:v>7189</c:v>
                </c:pt>
                <c:pt idx="1531">
                  <c:v>24392</c:v>
                </c:pt>
                <c:pt idx="1532">
                  <c:v>3270</c:v>
                </c:pt>
                <c:pt idx="1533">
                  <c:v>14313</c:v>
                </c:pt>
                <c:pt idx="1534">
                  <c:v>10811</c:v>
                </c:pt>
                <c:pt idx="1535">
                  <c:v>7842</c:v>
                </c:pt>
                <c:pt idx="1536">
                  <c:v>4120</c:v>
                </c:pt>
                <c:pt idx="1537">
                  <c:v>17758</c:v>
                </c:pt>
                <c:pt idx="1538">
                  <c:v>7030</c:v>
                </c:pt>
                <c:pt idx="1539">
                  <c:v>36388</c:v>
                </c:pt>
                <c:pt idx="1540">
                  <c:v>24609</c:v>
                </c:pt>
                <c:pt idx="1541">
                  <c:v>42807</c:v>
                </c:pt>
                <c:pt idx="1542">
                  <c:v>11730</c:v>
                </c:pt>
                <c:pt idx="1543">
                  <c:v>4155</c:v>
                </c:pt>
                <c:pt idx="1544">
                  <c:v>18591</c:v>
                </c:pt>
                <c:pt idx="1545">
                  <c:v>21160</c:v>
                </c:pt>
                <c:pt idx="1546">
                  <c:v>352861</c:v>
                </c:pt>
                <c:pt idx="1547">
                  <c:v>18081</c:v>
                </c:pt>
                <c:pt idx="1548">
                  <c:v>75457</c:v>
                </c:pt>
                <c:pt idx="1549">
                  <c:v>2189</c:v>
                </c:pt>
                <c:pt idx="1550">
                  <c:v>26813</c:v>
                </c:pt>
                <c:pt idx="1551">
                  <c:v>15620</c:v>
                </c:pt>
                <c:pt idx="1552">
                  <c:v>5140</c:v>
                </c:pt>
                <c:pt idx="1553">
                  <c:v>20352</c:v>
                </c:pt>
                <c:pt idx="1554">
                  <c:v>21981</c:v>
                </c:pt>
                <c:pt idx="1555">
                  <c:v>4819</c:v>
                </c:pt>
                <c:pt idx="1556">
                  <c:v>5300</c:v>
                </c:pt>
                <c:pt idx="1557">
                  <c:v>59659</c:v>
                </c:pt>
                <c:pt idx="1558">
                  <c:v>17275</c:v>
                </c:pt>
                <c:pt idx="1559">
                  <c:v>9250</c:v>
                </c:pt>
                <c:pt idx="1560">
                  <c:v>58949</c:v>
                </c:pt>
                <c:pt idx="1561">
                  <c:v>8046</c:v>
                </c:pt>
                <c:pt idx="1562">
                  <c:v>25999</c:v>
                </c:pt>
                <c:pt idx="1563">
                  <c:v>13288</c:v>
                </c:pt>
                <c:pt idx="1564">
                  <c:v>10081</c:v>
                </c:pt>
                <c:pt idx="1565">
                  <c:v>16827</c:v>
                </c:pt>
                <c:pt idx="1566">
                  <c:v>8751</c:v>
                </c:pt>
                <c:pt idx="1567">
                  <c:v>13462</c:v>
                </c:pt>
                <c:pt idx="1568">
                  <c:v>19718</c:v>
                </c:pt>
                <c:pt idx="1569">
                  <c:v>4004</c:v>
                </c:pt>
                <c:pt idx="1570">
                  <c:v>1960</c:v>
                </c:pt>
                <c:pt idx="1571">
                  <c:v>45161</c:v>
                </c:pt>
                <c:pt idx="1572">
                  <c:v>3157</c:v>
                </c:pt>
                <c:pt idx="1573">
                  <c:v>805</c:v>
                </c:pt>
                <c:pt idx="1574">
                  <c:v>9698</c:v>
                </c:pt>
                <c:pt idx="1575">
                  <c:v>3776</c:v>
                </c:pt>
                <c:pt idx="1576">
                  <c:v>58492</c:v>
                </c:pt>
                <c:pt idx="1577">
                  <c:v>50494</c:v>
                </c:pt>
                <c:pt idx="1578">
                  <c:v>40637</c:v>
                </c:pt>
                <c:pt idx="1579">
                  <c:v>21816</c:v>
                </c:pt>
                <c:pt idx="1580">
                  <c:v>7656</c:v>
                </c:pt>
                <c:pt idx="1581">
                  <c:v>84371</c:v>
                </c:pt>
                <c:pt idx="1582">
                  <c:v>11439</c:v>
                </c:pt>
                <c:pt idx="1583">
                  <c:v>7018</c:v>
                </c:pt>
                <c:pt idx="1584">
                  <c:v>16428</c:v>
                </c:pt>
                <c:pt idx="1585">
                  <c:v>7909</c:v>
                </c:pt>
                <c:pt idx="1586">
                  <c:v>67939</c:v>
                </c:pt>
                <c:pt idx="1587">
                  <c:v>7702</c:v>
                </c:pt>
                <c:pt idx="1588">
                  <c:v>33803</c:v>
                </c:pt>
                <c:pt idx="1589">
                  <c:v>156251</c:v>
                </c:pt>
                <c:pt idx="1590">
                  <c:v>95648</c:v>
                </c:pt>
                <c:pt idx="1591">
                  <c:v>21469</c:v>
                </c:pt>
                <c:pt idx="1592">
                  <c:v>3636</c:v>
                </c:pt>
                <c:pt idx="1593">
                  <c:v>3200</c:v>
                </c:pt>
                <c:pt idx="1594">
                  <c:v>48434</c:v>
                </c:pt>
                <c:pt idx="1595">
                  <c:v>9011</c:v>
                </c:pt>
                <c:pt idx="1596">
                  <c:v>3896</c:v>
                </c:pt>
                <c:pt idx="1597">
                  <c:v>8444</c:v>
                </c:pt>
                <c:pt idx="1598">
                  <c:v>11739</c:v>
                </c:pt>
                <c:pt idx="1599">
                  <c:v>56139</c:v>
                </c:pt>
                <c:pt idx="1600">
                  <c:v>145</c:v>
                </c:pt>
                <c:pt idx="1601">
                  <c:v>5106</c:v>
                </c:pt>
                <c:pt idx="1602">
                  <c:v>139108</c:v>
                </c:pt>
                <c:pt idx="1603">
                  <c:v>18467</c:v>
                </c:pt>
                <c:pt idx="1604">
                  <c:v>61320</c:v>
                </c:pt>
                <c:pt idx="1605">
                  <c:v>21040</c:v>
                </c:pt>
                <c:pt idx="1606">
                  <c:v>26128</c:v>
                </c:pt>
                <c:pt idx="1607">
                  <c:v>38102</c:v>
                </c:pt>
                <c:pt idx="1608">
                  <c:v>377203</c:v>
                </c:pt>
                <c:pt idx="1609">
                  <c:v>6574</c:v>
                </c:pt>
                <c:pt idx="1610">
                  <c:v>6702</c:v>
                </c:pt>
                <c:pt idx="1611">
                  <c:v>9285</c:v>
                </c:pt>
                <c:pt idx="1612">
                  <c:v>745</c:v>
                </c:pt>
                <c:pt idx="1613">
                  <c:v>12948</c:v>
                </c:pt>
                <c:pt idx="1614">
                  <c:v>36582</c:v>
                </c:pt>
                <c:pt idx="1615">
                  <c:v>15525</c:v>
                </c:pt>
                <c:pt idx="1616">
                  <c:v>30869</c:v>
                </c:pt>
                <c:pt idx="1617">
                  <c:v>16209</c:v>
                </c:pt>
                <c:pt idx="1618">
                  <c:v>4138</c:v>
                </c:pt>
                <c:pt idx="1619">
                  <c:v>46900</c:v>
                </c:pt>
                <c:pt idx="1620">
                  <c:v>14812</c:v>
                </c:pt>
                <c:pt idx="1621">
                  <c:v>17071</c:v>
                </c:pt>
                <c:pt idx="1622">
                  <c:v>12724</c:v>
                </c:pt>
                <c:pt idx="1623">
                  <c:v>2346</c:v>
                </c:pt>
                <c:pt idx="1624">
                  <c:v>32707</c:v>
                </c:pt>
                <c:pt idx="1625">
                  <c:v>10754</c:v>
                </c:pt>
                <c:pt idx="1626">
                  <c:v>19855</c:v>
                </c:pt>
                <c:pt idx="1627">
                  <c:v>7581</c:v>
                </c:pt>
                <c:pt idx="1628">
                  <c:v>9674</c:v>
                </c:pt>
                <c:pt idx="1629">
                  <c:v>151677</c:v>
                </c:pt>
                <c:pt idx="1630">
                  <c:v>92499</c:v>
                </c:pt>
                <c:pt idx="1631">
                  <c:v>3242</c:v>
                </c:pt>
                <c:pt idx="1632">
                  <c:v>5884</c:v>
                </c:pt>
                <c:pt idx="1633">
                  <c:v>30810</c:v>
                </c:pt>
                <c:pt idx="1634">
                  <c:v>9728</c:v>
                </c:pt>
                <c:pt idx="1635">
                  <c:v>46063</c:v>
                </c:pt>
                <c:pt idx="1636">
                  <c:v>19428</c:v>
                </c:pt>
                <c:pt idx="1637">
                  <c:v>35592</c:v>
                </c:pt>
                <c:pt idx="1638">
                  <c:v>9457</c:v>
                </c:pt>
                <c:pt idx="1639">
                  <c:v>32420</c:v>
                </c:pt>
                <c:pt idx="1640">
                  <c:v>9860</c:v>
                </c:pt>
                <c:pt idx="1641">
                  <c:v>14354</c:v>
                </c:pt>
                <c:pt idx="1642">
                  <c:v>27357</c:v>
                </c:pt>
                <c:pt idx="1643">
                  <c:v>30494</c:v>
                </c:pt>
                <c:pt idx="1644">
                  <c:v>7582</c:v>
                </c:pt>
                <c:pt idx="1645">
                  <c:v>1783</c:v>
                </c:pt>
                <c:pt idx="1646">
                  <c:v>23790</c:v>
                </c:pt>
                <c:pt idx="1647">
                  <c:v>26271</c:v>
                </c:pt>
                <c:pt idx="1648">
                  <c:v>44184</c:v>
                </c:pt>
                <c:pt idx="1649">
                  <c:v>11344</c:v>
                </c:pt>
                <c:pt idx="1650">
                  <c:v>8979</c:v>
                </c:pt>
                <c:pt idx="1651">
                  <c:v>3280</c:v>
                </c:pt>
                <c:pt idx="1652">
                  <c:v>24462</c:v>
                </c:pt>
                <c:pt idx="1653">
                  <c:v>2796</c:v>
                </c:pt>
                <c:pt idx="1654">
                  <c:v>1464</c:v>
                </c:pt>
                <c:pt idx="1655">
                  <c:v>9606</c:v>
                </c:pt>
                <c:pt idx="1656">
                  <c:v>5118</c:v>
                </c:pt>
                <c:pt idx="1657">
                  <c:v>21589</c:v>
                </c:pt>
                <c:pt idx="1658">
                  <c:v>5585</c:v>
                </c:pt>
                <c:pt idx="1659">
                  <c:v>8332</c:v>
                </c:pt>
                <c:pt idx="1660">
                  <c:v>2374</c:v>
                </c:pt>
                <c:pt idx="1661">
                  <c:v>1059</c:v>
                </c:pt>
                <c:pt idx="1662">
                  <c:v>9021</c:v>
                </c:pt>
                <c:pt idx="1663">
                  <c:v>3643</c:v>
                </c:pt>
                <c:pt idx="1664">
                  <c:v>2878</c:v>
                </c:pt>
                <c:pt idx="1665">
                  <c:v>1758</c:v>
                </c:pt>
                <c:pt idx="1666">
                  <c:v>2221</c:v>
                </c:pt>
                <c:pt idx="1667">
                  <c:v>4186</c:v>
                </c:pt>
                <c:pt idx="1668">
                  <c:v>2675</c:v>
                </c:pt>
                <c:pt idx="1669">
                  <c:v>4733</c:v>
                </c:pt>
                <c:pt idx="1670">
                  <c:v>2247</c:v>
                </c:pt>
                <c:pt idx="1671">
                  <c:v>3496</c:v>
                </c:pt>
                <c:pt idx="1672">
                  <c:v>6725</c:v>
                </c:pt>
                <c:pt idx="1673">
                  <c:v>14201</c:v>
                </c:pt>
                <c:pt idx="1674">
                  <c:v>12221</c:v>
                </c:pt>
                <c:pt idx="1675">
                  <c:v>9728</c:v>
                </c:pt>
                <c:pt idx="1676">
                  <c:v>8622</c:v>
                </c:pt>
                <c:pt idx="1677">
                  <c:v>12163</c:v>
                </c:pt>
                <c:pt idx="1678">
                  <c:v>18114</c:v>
                </c:pt>
                <c:pt idx="1679">
                  <c:v>7773</c:v>
                </c:pt>
                <c:pt idx="1680">
                  <c:v>9189</c:v>
                </c:pt>
                <c:pt idx="1681">
                  <c:v>4875</c:v>
                </c:pt>
                <c:pt idx="1682">
                  <c:v>4707</c:v>
                </c:pt>
                <c:pt idx="1683">
                  <c:v>10086</c:v>
                </c:pt>
                <c:pt idx="1684">
                  <c:v>4661</c:v>
                </c:pt>
                <c:pt idx="1685">
                  <c:v>11466</c:v>
                </c:pt>
                <c:pt idx="1686">
                  <c:v>7860</c:v>
                </c:pt>
                <c:pt idx="1687">
                  <c:v>8108</c:v>
                </c:pt>
                <c:pt idx="1688">
                  <c:v>6437</c:v>
                </c:pt>
                <c:pt idx="1689">
                  <c:v>36615</c:v>
                </c:pt>
                <c:pt idx="1690">
                  <c:v>5709</c:v>
                </c:pt>
                <c:pt idx="1691">
                  <c:v>5056</c:v>
                </c:pt>
                <c:pt idx="1692">
                  <c:v>2412</c:v>
                </c:pt>
                <c:pt idx="1693">
                  <c:v>2830</c:v>
                </c:pt>
                <c:pt idx="1694">
                  <c:v>3911</c:v>
                </c:pt>
                <c:pt idx="1695">
                  <c:v>1393</c:v>
                </c:pt>
                <c:pt idx="1696">
                  <c:v>1804</c:v>
                </c:pt>
                <c:pt idx="1697">
                  <c:v>4109</c:v>
                </c:pt>
                <c:pt idx="1698">
                  <c:v>4950</c:v>
                </c:pt>
                <c:pt idx="1699">
                  <c:v>8333</c:v>
                </c:pt>
                <c:pt idx="1700">
                  <c:v>8403</c:v>
                </c:pt>
                <c:pt idx="1701">
                  <c:v>6248</c:v>
                </c:pt>
                <c:pt idx="1702">
                  <c:v>2226</c:v>
                </c:pt>
                <c:pt idx="1703">
                  <c:v>3916</c:v>
                </c:pt>
                <c:pt idx="1704">
                  <c:v>5880</c:v>
                </c:pt>
                <c:pt idx="1705">
                  <c:v>67001</c:v>
                </c:pt>
                <c:pt idx="1706">
                  <c:v>8859</c:v>
                </c:pt>
                <c:pt idx="1707">
                  <c:v>4990</c:v>
                </c:pt>
                <c:pt idx="1708">
                  <c:v>3503</c:v>
                </c:pt>
                <c:pt idx="1709">
                  <c:v>6977</c:v>
                </c:pt>
                <c:pt idx="1710">
                  <c:v>5846</c:v>
                </c:pt>
                <c:pt idx="1711">
                  <c:v>6804</c:v>
                </c:pt>
                <c:pt idx="1712">
                  <c:v>20203</c:v>
                </c:pt>
                <c:pt idx="1713">
                  <c:v>17114</c:v>
                </c:pt>
                <c:pt idx="1714">
                  <c:v>21639</c:v>
                </c:pt>
                <c:pt idx="1715">
                  <c:v>2650</c:v>
                </c:pt>
                <c:pt idx="1716">
                  <c:v>10129</c:v>
                </c:pt>
                <c:pt idx="1717">
                  <c:v>7443</c:v>
                </c:pt>
                <c:pt idx="1718">
                  <c:v>4351</c:v>
                </c:pt>
                <c:pt idx="1719">
                  <c:v>5180</c:v>
                </c:pt>
                <c:pt idx="1720">
                  <c:v>26646</c:v>
                </c:pt>
                <c:pt idx="1721">
                  <c:v>4698</c:v>
                </c:pt>
                <c:pt idx="1722">
                  <c:v>7396</c:v>
                </c:pt>
                <c:pt idx="1723">
                  <c:v>2753</c:v>
                </c:pt>
                <c:pt idx="1724">
                  <c:v>9431</c:v>
                </c:pt>
                <c:pt idx="1725">
                  <c:v>2089</c:v>
                </c:pt>
                <c:pt idx="1726">
                  <c:v>5135</c:v>
                </c:pt>
                <c:pt idx="1727">
                  <c:v>26467</c:v>
                </c:pt>
                <c:pt idx="1728">
                  <c:v>11156</c:v>
                </c:pt>
                <c:pt idx="1729">
                  <c:v>20074</c:v>
                </c:pt>
                <c:pt idx="1730">
                  <c:v>3954</c:v>
                </c:pt>
                <c:pt idx="1731">
                  <c:v>18438</c:v>
                </c:pt>
                <c:pt idx="1732">
                  <c:v>6103</c:v>
                </c:pt>
                <c:pt idx="1733">
                  <c:v>4596</c:v>
                </c:pt>
                <c:pt idx="1734">
                  <c:v>3088</c:v>
                </c:pt>
                <c:pt idx="1735">
                  <c:v>8903</c:v>
                </c:pt>
                <c:pt idx="1736">
                  <c:v>16974</c:v>
                </c:pt>
                <c:pt idx="1737">
                  <c:v>23107</c:v>
                </c:pt>
                <c:pt idx="1738">
                  <c:v>10443</c:v>
                </c:pt>
                <c:pt idx="1739">
                  <c:v>8161</c:v>
                </c:pt>
                <c:pt idx="1740">
                  <c:v>16088</c:v>
                </c:pt>
                <c:pt idx="1741">
                  <c:v>18437</c:v>
                </c:pt>
                <c:pt idx="1742">
                  <c:v>17286</c:v>
                </c:pt>
                <c:pt idx="1743">
                  <c:v>27323</c:v>
                </c:pt>
                <c:pt idx="1744">
                  <c:v>35600</c:v>
                </c:pt>
                <c:pt idx="1745">
                  <c:v>46045</c:v>
                </c:pt>
                <c:pt idx="1746">
                  <c:v>18646</c:v>
                </c:pt>
                <c:pt idx="1747">
                  <c:v>4383</c:v>
                </c:pt>
                <c:pt idx="1748">
                  <c:v>13870</c:v>
                </c:pt>
                <c:pt idx="1749">
                  <c:v>46126</c:v>
                </c:pt>
                <c:pt idx="1750">
                  <c:v>16684</c:v>
                </c:pt>
                <c:pt idx="1751">
                  <c:v>9109</c:v>
                </c:pt>
                <c:pt idx="1752">
                  <c:v>4740</c:v>
                </c:pt>
                <c:pt idx="1753">
                  <c:v>7912</c:v>
                </c:pt>
                <c:pt idx="1754">
                  <c:v>3673</c:v>
                </c:pt>
                <c:pt idx="1755">
                  <c:v>4947</c:v>
                </c:pt>
                <c:pt idx="1756">
                  <c:v>14233</c:v>
                </c:pt>
                <c:pt idx="1757">
                  <c:v>15304</c:v>
                </c:pt>
                <c:pt idx="1758">
                  <c:v>16934</c:v>
                </c:pt>
                <c:pt idx="1759">
                  <c:v>27016</c:v>
                </c:pt>
                <c:pt idx="1760">
                  <c:v>3326</c:v>
                </c:pt>
                <c:pt idx="1761">
                  <c:v>2492</c:v>
                </c:pt>
                <c:pt idx="1762">
                  <c:v>41545</c:v>
                </c:pt>
                <c:pt idx="1763">
                  <c:v>31499</c:v>
                </c:pt>
                <c:pt idx="1764">
                  <c:v>9188</c:v>
                </c:pt>
                <c:pt idx="1765">
                  <c:v>1171</c:v>
                </c:pt>
                <c:pt idx="1766">
                  <c:v>5606</c:v>
                </c:pt>
                <c:pt idx="1767">
                  <c:v>800</c:v>
                </c:pt>
                <c:pt idx="1768">
                  <c:v>5471</c:v>
                </c:pt>
                <c:pt idx="1769">
                  <c:v>4810</c:v>
                </c:pt>
                <c:pt idx="1770">
                  <c:v>38712</c:v>
                </c:pt>
                <c:pt idx="1771">
                  <c:v>10109</c:v>
                </c:pt>
                <c:pt idx="1772">
                  <c:v>25245</c:v>
                </c:pt>
                <c:pt idx="1773">
                  <c:v>45024</c:v>
                </c:pt>
                <c:pt idx="1774">
                  <c:v>104216</c:v>
                </c:pt>
                <c:pt idx="1775">
                  <c:v>53249</c:v>
                </c:pt>
                <c:pt idx="1776">
                  <c:v>26234</c:v>
                </c:pt>
                <c:pt idx="1777">
                  <c:v>12715</c:v>
                </c:pt>
                <c:pt idx="1778">
                  <c:v>24122</c:v>
                </c:pt>
                <c:pt idx="1779">
                  <c:v>11641</c:v>
                </c:pt>
                <c:pt idx="1780">
                  <c:v>12038</c:v>
                </c:pt>
                <c:pt idx="1781">
                  <c:v>20411</c:v>
                </c:pt>
                <c:pt idx="1782">
                  <c:v>13312</c:v>
                </c:pt>
                <c:pt idx="1783">
                  <c:v>4649</c:v>
                </c:pt>
                <c:pt idx="1784">
                  <c:v>26574</c:v>
                </c:pt>
                <c:pt idx="1785">
                  <c:v>40009</c:v>
                </c:pt>
                <c:pt idx="1786">
                  <c:v>3243</c:v>
                </c:pt>
                <c:pt idx="1787">
                  <c:v>23328</c:v>
                </c:pt>
                <c:pt idx="1788">
                  <c:v>53413</c:v>
                </c:pt>
                <c:pt idx="1789">
                  <c:v>15221</c:v>
                </c:pt>
                <c:pt idx="1790">
                  <c:v>8295</c:v>
                </c:pt>
                <c:pt idx="1791">
                  <c:v>18393</c:v>
                </c:pt>
                <c:pt idx="1792">
                  <c:v>6356</c:v>
                </c:pt>
                <c:pt idx="1793">
                  <c:v>27789</c:v>
                </c:pt>
                <c:pt idx="1794">
                  <c:v>25308</c:v>
                </c:pt>
                <c:pt idx="1795">
                  <c:v>3439</c:v>
                </c:pt>
                <c:pt idx="1796">
                  <c:v>2245</c:v>
                </c:pt>
                <c:pt idx="1797">
                  <c:v>86249</c:v>
                </c:pt>
                <c:pt idx="1798">
                  <c:v>56070</c:v>
                </c:pt>
                <c:pt idx="1799">
                  <c:v>9186</c:v>
                </c:pt>
                <c:pt idx="1800">
                  <c:v>5894</c:v>
                </c:pt>
                <c:pt idx="1801">
                  <c:v>32313</c:v>
                </c:pt>
                <c:pt idx="1802">
                  <c:v>11890</c:v>
                </c:pt>
                <c:pt idx="1803">
                  <c:v>3369</c:v>
                </c:pt>
                <c:pt idx="1804">
                  <c:v>16004</c:v>
                </c:pt>
                <c:pt idx="1805">
                  <c:v>45501</c:v>
                </c:pt>
                <c:pt idx="1806">
                  <c:v>14403</c:v>
                </c:pt>
                <c:pt idx="1807">
                  <c:v>20261</c:v>
                </c:pt>
                <c:pt idx="1808">
                  <c:v>4782</c:v>
                </c:pt>
                <c:pt idx="1809">
                  <c:v>16386</c:v>
                </c:pt>
                <c:pt idx="1810">
                  <c:v>6867</c:v>
                </c:pt>
                <c:pt idx="1811">
                  <c:v>4878</c:v>
                </c:pt>
                <c:pt idx="1812">
                  <c:v>4663</c:v>
                </c:pt>
                <c:pt idx="1813">
                  <c:v>15265</c:v>
                </c:pt>
                <c:pt idx="1814">
                  <c:v>5674</c:v>
                </c:pt>
                <c:pt idx="1815">
                  <c:v>3650</c:v>
                </c:pt>
                <c:pt idx="1816">
                  <c:v>48584</c:v>
                </c:pt>
                <c:pt idx="1817">
                  <c:v>15911</c:v>
                </c:pt>
                <c:pt idx="1818">
                  <c:v>92895</c:v>
                </c:pt>
                <c:pt idx="1819">
                  <c:v>8888</c:v>
                </c:pt>
                <c:pt idx="1820">
                  <c:v>12627</c:v>
                </c:pt>
                <c:pt idx="1821">
                  <c:v>3299</c:v>
                </c:pt>
                <c:pt idx="1822">
                  <c:v>41766</c:v>
                </c:pt>
                <c:pt idx="1823">
                  <c:v>18431</c:v>
                </c:pt>
                <c:pt idx="1824">
                  <c:v>72161</c:v>
                </c:pt>
                <c:pt idx="1825">
                  <c:v>33057</c:v>
                </c:pt>
                <c:pt idx="1826">
                  <c:v>21310</c:v>
                </c:pt>
                <c:pt idx="1827">
                  <c:v>8384</c:v>
                </c:pt>
                <c:pt idx="1828">
                  <c:v>29814</c:v>
                </c:pt>
                <c:pt idx="1829">
                  <c:v>7626</c:v>
                </c:pt>
                <c:pt idx="1830">
                  <c:v>6110</c:v>
                </c:pt>
                <c:pt idx="1831">
                  <c:v>9139</c:v>
                </c:pt>
                <c:pt idx="1832">
                  <c:v>17901</c:v>
                </c:pt>
                <c:pt idx="1833">
                  <c:v>11218</c:v>
                </c:pt>
                <c:pt idx="1834">
                  <c:v>6739</c:v>
                </c:pt>
                <c:pt idx="1835">
                  <c:v>5293</c:v>
                </c:pt>
                <c:pt idx="1836">
                  <c:v>7737</c:v>
                </c:pt>
                <c:pt idx="1837">
                  <c:v>4991</c:v>
                </c:pt>
                <c:pt idx="1838">
                  <c:v>14742</c:v>
                </c:pt>
                <c:pt idx="1839">
                  <c:v>10419</c:v>
                </c:pt>
                <c:pt idx="1840">
                  <c:v>5068</c:v>
                </c:pt>
                <c:pt idx="1841">
                  <c:v>10845</c:v>
                </c:pt>
                <c:pt idx="1842">
                  <c:v>1801</c:v>
                </c:pt>
                <c:pt idx="1843">
                  <c:v>67093</c:v>
                </c:pt>
                <c:pt idx="1844">
                  <c:v>24061</c:v>
                </c:pt>
                <c:pt idx="1845">
                  <c:v>11309</c:v>
                </c:pt>
                <c:pt idx="1846">
                  <c:v>16752</c:v>
                </c:pt>
                <c:pt idx="1847">
                  <c:v>14386</c:v>
                </c:pt>
                <c:pt idx="1848">
                  <c:v>38480</c:v>
                </c:pt>
                <c:pt idx="1849">
                  <c:v>6012</c:v>
                </c:pt>
                <c:pt idx="1850">
                  <c:v>18501</c:v>
                </c:pt>
                <c:pt idx="1851">
                  <c:v>20032</c:v>
                </c:pt>
                <c:pt idx="1852">
                  <c:v>10120</c:v>
                </c:pt>
                <c:pt idx="1853">
                  <c:v>17175</c:v>
                </c:pt>
                <c:pt idx="1854">
                  <c:v>40947</c:v>
                </c:pt>
                <c:pt idx="1855">
                  <c:v>13740</c:v>
                </c:pt>
                <c:pt idx="1856">
                  <c:v>41112</c:v>
                </c:pt>
                <c:pt idx="1857">
                  <c:v>2907</c:v>
                </c:pt>
                <c:pt idx="1858">
                  <c:v>13618</c:v>
                </c:pt>
                <c:pt idx="1859">
                  <c:v>11514</c:v>
                </c:pt>
                <c:pt idx="1860">
                  <c:v>8359</c:v>
                </c:pt>
                <c:pt idx="1861">
                  <c:v>80984</c:v>
                </c:pt>
                <c:pt idx="1862">
                  <c:v>5626</c:v>
                </c:pt>
                <c:pt idx="1863">
                  <c:v>6296</c:v>
                </c:pt>
                <c:pt idx="1864">
                  <c:v>4926</c:v>
                </c:pt>
                <c:pt idx="1865">
                  <c:v>43478</c:v>
                </c:pt>
                <c:pt idx="1866">
                  <c:v>34235</c:v>
                </c:pt>
                <c:pt idx="1867">
                  <c:v>10063</c:v>
                </c:pt>
                <c:pt idx="1868">
                  <c:v>16150</c:v>
                </c:pt>
                <c:pt idx="1869">
                  <c:v>114804</c:v>
                </c:pt>
                <c:pt idx="1870">
                  <c:v>21050</c:v>
                </c:pt>
                <c:pt idx="1871">
                  <c:v>11657</c:v>
                </c:pt>
                <c:pt idx="1872">
                  <c:v>100173</c:v>
                </c:pt>
                <c:pt idx="1873">
                  <c:v>13023</c:v>
                </c:pt>
                <c:pt idx="1874">
                  <c:v>65386</c:v>
                </c:pt>
                <c:pt idx="1875">
                  <c:v>5382</c:v>
                </c:pt>
                <c:pt idx="1876">
                  <c:v>23768</c:v>
                </c:pt>
                <c:pt idx="1877">
                  <c:v>20397</c:v>
                </c:pt>
                <c:pt idx="1878">
                  <c:v>5378</c:v>
                </c:pt>
                <c:pt idx="1879">
                  <c:v>41505</c:v>
                </c:pt>
                <c:pt idx="1880">
                  <c:v>25841</c:v>
                </c:pt>
                <c:pt idx="1881">
                  <c:v>7283</c:v>
                </c:pt>
                <c:pt idx="1882">
                  <c:v>14996</c:v>
                </c:pt>
                <c:pt idx="1883">
                  <c:v>25572</c:v>
                </c:pt>
                <c:pt idx="1884">
                  <c:v>6478</c:v>
                </c:pt>
                <c:pt idx="1885">
                  <c:v>10702</c:v>
                </c:pt>
                <c:pt idx="1886">
                  <c:v>12775</c:v>
                </c:pt>
                <c:pt idx="1887">
                  <c:v>62996</c:v>
                </c:pt>
                <c:pt idx="1888">
                  <c:v>13610</c:v>
                </c:pt>
                <c:pt idx="1889">
                  <c:v>29401</c:v>
                </c:pt>
                <c:pt idx="1890">
                  <c:v>6212</c:v>
                </c:pt>
                <c:pt idx="1891">
                  <c:v>6698</c:v>
                </c:pt>
                <c:pt idx="1892">
                  <c:v>52502</c:v>
                </c:pt>
                <c:pt idx="1893">
                  <c:v>24219</c:v>
                </c:pt>
                <c:pt idx="1894">
                  <c:v>9726</c:v>
                </c:pt>
                <c:pt idx="1895">
                  <c:v>30294</c:v>
                </c:pt>
                <c:pt idx="1896">
                  <c:v>13827</c:v>
                </c:pt>
                <c:pt idx="1897">
                  <c:v>715</c:v>
                </c:pt>
                <c:pt idx="1898">
                  <c:v>8481</c:v>
                </c:pt>
                <c:pt idx="1899">
                  <c:v>8288</c:v>
                </c:pt>
                <c:pt idx="1900">
                  <c:v>36354</c:v>
                </c:pt>
                <c:pt idx="1901">
                  <c:v>20927</c:v>
                </c:pt>
                <c:pt idx="1902">
                  <c:v>10881</c:v>
                </c:pt>
                <c:pt idx="1903">
                  <c:v>100163</c:v>
                </c:pt>
                <c:pt idx="1904">
                  <c:v>2816</c:v>
                </c:pt>
                <c:pt idx="1905">
                  <c:v>18282</c:v>
                </c:pt>
                <c:pt idx="1906">
                  <c:v>12428</c:v>
                </c:pt>
                <c:pt idx="1907">
                  <c:v>19081</c:v>
                </c:pt>
                <c:pt idx="1908">
                  <c:v>6899</c:v>
                </c:pt>
                <c:pt idx="1909">
                  <c:v>1381</c:v>
                </c:pt>
                <c:pt idx="1910">
                  <c:v>3595</c:v>
                </c:pt>
                <c:pt idx="1911">
                  <c:v>9638</c:v>
                </c:pt>
                <c:pt idx="1912">
                  <c:v>11531</c:v>
                </c:pt>
                <c:pt idx="1913">
                  <c:v>15405</c:v>
                </c:pt>
                <c:pt idx="1914">
                  <c:v>31394</c:v>
                </c:pt>
                <c:pt idx="1915">
                  <c:v>28837</c:v>
                </c:pt>
                <c:pt idx="1916">
                  <c:v>10719</c:v>
                </c:pt>
                <c:pt idx="1917">
                  <c:v>9697</c:v>
                </c:pt>
                <c:pt idx="1918">
                  <c:v>22872</c:v>
                </c:pt>
                <c:pt idx="1919">
                  <c:v>11943</c:v>
                </c:pt>
                <c:pt idx="1920">
                  <c:v>2457</c:v>
                </c:pt>
                <c:pt idx="1921">
                  <c:v>7141</c:v>
                </c:pt>
                <c:pt idx="1922">
                  <c:v>1775</c:v>
                </c:pt>
                <c:pt idx="1923">
                  <c:v>15549</c:v>
                </c:pt>
                <c:pt idx="1924">
                  <c:v>7856</c:v>
                </c:pt>
                <c:pt idx="1925">
                  <c:v>14975</c:v>
                </c:pt>
                <c:pt idx="1926">
                  <c:v>15605</c:v>
                </c:pt>
                <c:pt idx="1927">
                  <c:v>6169</c:v>
                </c:pt>
                <c:pt idx="1928">
                  <c:v>19270</c:v>
                </c:pt>
                <c:pt idx="1929">
                  <c:v>11258</c:v>
                </c:pt>
                <c:pt idx="1930">
                  <c:v>31256</c:v>
                </c:pt>
                <c:pt idx="1931">
                  <c:v>7684</c:v>
                </c:pt>
                <c:pt idx="1932">
                  <c:v>6276</c:v>
                </c:pt>
                <c:pt idx="1933">
                  <c:v>3341</c:v>
                </c:pt>
                <c:pt idx="1934">
                  <c:v>11529</c:v>
                </c:pt>
                <c:pt idx="1935">
                  <c:v>8870</c:v>
                </c:pt>
                <c:pt idx="1936">
                  <c:v>5005</c:v>
                </c:pt>
                <c:pt idx="1937">
                  <c:v>54051</c:v>
                </c:pt>
                <c:pt idx="1938">
                  <c:v>18329</c:v>
                </c:pt>
                <c:pt idx="1939">
                  <c:v>11707</c:v>
                </c:pt>
                <c:pt idx="1940">
                  <c:v>45372</c:v>
                </c:pt>
                <c:pt idx="1941">
                  <c:v>9760</c:v>
                </c:pt>
                <c:pt idx="1942">
                  <c:v>60793</c:v>
                </c:pt>
                <c:pt idx="1943">
                  <c:v>100512</c:v>
                </c:pt>
                <c:pt idx="1944">
                  <c:v>34696</c:v>
                </c:pt>
                <c:pt idx="1945">
                  <c:v>15255</c:v>
                </c:pt>
                <c:pt idx="1946">
                  <c:v>25511</c:v>
                </c:pt>
                <c:pt idx="1947">
                  <c:v>12434</c:v>
                </c:pt>
                <c:pt idx="1948">
                  <c:v>60736</c:v>
                </c:pt>
                <c:pt idx="1949">
                  <c:v>17774</c:v>
                </c:pt>
                <c:pt idx="1950">
                  <c:v>7014</c:v>
                </c:pt>
                <c:pt idx="1951">
                  <c:v>32609</c:v>
                </c:pt>
                <c:pt idx="1952">
                  <c:v>6135</c:v>
                </c:pt>
                <c:pt idx="1953">
                  <c:v>28307</c:v>
                </c:pt>
                <c:pt idx="1954">
                  <c:v>15082</c:v>
                </c:pt>
                <c:pt idx="1955">
                  <c:v>8988</c:v>
                </c:pt>
                <c:pt idx="1956">
                  <c:v>3204</c:v>
                </c:pt>
                <c:pt idx="1957">
                  <c:v>44372</c:v>
                </c:pt>
                <c:pt idx="1958">
                  <c:v>9152</c:v>
                </c:pt>
                <c:pt idx="1959">
                  <c:v>9514</c:v>
                </c:pt>
                <c:pt idx="1960">
                  <c:v>28521</c:v>
                </c:pt>
                <c:pt idx="1961">
                  <c:v>18781</c:v>
                </c:pt>
                <c:pt idx="1962">
                  <c:v>15339</c:v>
                </c:pt>
                <c:pt idx="1963">
                  <c:v>18477</c:v>
                </c:pt>
                <c:pt idx="1964">
                  <c:v>4406</c:v>
                </c:pt>
                <c:pt idx="1965">
                  <c:v>7400</c:v>
                </c:pt>
                <c:pt idx="1966">
                  <c:v>38291</c:v>
                </c:pt>
                <c:pt idx="1967">
                  <c:v>15781</c:v>
                </c:pt>
                <c:pt idx="1968">
                  <c:v>77990</c:v>
                </c:pt>
                <c:pt idx="1969">
                  <c:v>35266</c:v>
                </c:pt>
                <c:pt idx="1970">
                  <c:v>11496</c:v>
                </c:pt>
                <c:pt idx="1971">
                  <c:v>5076</c:v>
                </c:pt>
                <c:pt idx="1972">
                  <c:v>6480</c:v>
                </c:pt>
                <c:pt idx="1973">
                  <c:v>11437</c:v>
                </c:pt>
                <c:pt idx="1974">
                  <c:v>18051</c:v>
                </c:pt>
                <c:pt idx="1975">
                  <c:v>7641</c:v>
                </c:pt>
                <c:pt idx="1976">
                  <c:v>1248</c:v>
                </c:pt>
                <c:pt idx="1977">
                  <c:v>17927</c:v>
                </c:pt>
                <c:pt idx="1978">
                  <c:v>9010</c:v>
                </c:pt>
                <c:pt idx="1979">
                  <c:v>6158</c:v>
                </c:pt>
                <c:pt idx="1980">
                  <c:v>9842</c:v>
                </c:pt>
                <c:pt idx="1981">
                  <c:v>17643</c:v>
                </c:pt>
                <c:pt idx="1982">
                  <c:v>9292</c:v>
                </c:pt>
                <c:pt idx="1983">
                  <c:v>11963</c:v>
                </c:pt>
                <c:pt idx="1984">
                  <c:v>142599</c:v>
                </c:pt>
                <c:pt idx="1985">
                  <c:v>8015</c:v>
                </c:pt>
                <c:pt idx="1986">
                  <c:v>1627</c:v>
                </c:pt>
                <c:pt idx="1987">
                  <c:v>23077</c:v>
                </c:pt>
                <c:pt idx="1988">
                  <c:v>29028</c:v>
                </c:pt>
                <c:pt idx="1989">
                  <c:v>7130</c:v>
                </c:pt>
                <c:pt idx="1990">
                  <c:v>6507</c:v>
                </c:pt>
                <c:pt idx="1991">
                  <c:v>18912</c:v>
                </c:pt>
                <c:pt idx="1992">
                  <c:v>3667</c:v>
                </c:pt>
                <c:pt idx="1993">
                  <c:v>9219</c:v>
                </c:pt>
                <c:pt idx="1994">
                  <c:v>15183</c:v>
                </c:pt>
                <c:pt idx="1995">
                  <c:v>17020</c:v>
                </c:pt>
                <c:pt idx="1996">
                  <c:v>51911</c:v>
                </c:pt>
                <c:pt idx="1997">
                  <c:v>4058</c:v>
                </c:pt>
                <c:pt idx="1998">
                  <c:v>30930</c:v>
                </c:pt>
                <c:pt idx="1999">
                  <c:v>6530</c:v>
                </c:pt>
                <c:pt idx="2000">
                  <c:v>7479</c:v>
                </c:pt>
                <c:pt idx="2001">
                  <c:v>12454</c:v>
                </c:pt>
                <c:pt idx="2002">
                  <c:v>7826</c:v>
                </c:pt>
                <c:pt idx="2003">
                  <c:v>13948</c:v>
                </c:pt>
                <c:pt idx="2004">
                  <c:v>5305</c:v>
                </c:pt>
                <c:pt idx="2005">
                  <c:v>27179</c:v>
                </c:pt>
                <c:pt idx="2006">
                  <c:v>20287</c:v>
                </c:pt>
                <c:pt idx="2007">
                  <c:v>64599</c:v>
                </c:pt>
                <c:pt idx="2008">
                  <c:v>10441</c:v>
                </c:pt>
                <c:pt idx="2009">
                  <c:v>10738</c:v>
                </c:pt>
                <c:pt idx="2010">
                  <c:v>2701</c:v>
                </c:pt>
                <c:pt idx="2011">
                  <c:v>35229</c:v>
                </c:pt>
                <c:pt idx="2012">
                  <c:v>17664</c:v>
                </c:pt>
                <c:pt idx="2013">
                  <c:v>10520</c:v>
                </c:pt>
                <c:pt idx="2014">
                  <c:v>16997</c:v>
                </c:pt>
                <c:pt idx="2015">
                  <c:v>3907</c:v>
                </c:pt>
                <c:pt idx="2016">
                  <c:v>5006</c:v>
                </c:pt>
                <c:pt idx="2017">
                  <c:v>2604</c:v>
                </c:pt>
                <c:pt idx="2018">
                  <c:v>7607</c:v>
                </c:pt>
                <c:pt idx="2019">
                  <c:v>7622</c:v>
                </c:pt>
                <c:pt idx="2020">
                  <c:v>4864</c:v>
                </c:pt>
                <c:pt idx="2021">
                  <c:v>11574</c:v>
                </c:pt>
                <c:pt idx="2022">
                  <c:v>26437</c:v>
                </c:pt>
                <c:pt idx="2023">
                  <c:v>28814</c:v>
                </c:pt>
                <c:pt idx="2024">
                  <c:v>3985</c:v>
                </c:pt>
                <c:pt idx="2025">
                  <c:v>1248</c:v>
                </c:pt>
                <c:pt idx="2026">
                  <c:v>9351</c:v>
                </c:pt>
                <c:pt idx="2027">
                  <c:v>21213</c:v>
                </c:pt>
                <c:pt idx="2028">
                  <c:v>41715</c:v>
                </c:pt>
                <c:pt idx="2029">
                  <c:v>24535</c:v>
                </c:pt>
                <c:pt idx="2030">
                  <c:v>8148</c:v>
                </c:pt>
                <c:pt idx="2031">
                  <c:v>11806</c:v>
                </c:pt>
                <c:pt idx="2032">
                  <c:v>16237</c:v>
                </c:pt>
                <c:pt idx="2033">
                  <c:v>16066</c:v>
                </c:pt>
                <c:pt idx="2034">
                  <c:v>16169</c:v>
                </c:pt>
                <c:pt idx="2035">
                  <c:v>10206</c:v>
                </c:pt>
                <c:pt idx="2036">
                  <c:v>15116</c:v>
                </c:pt>
                <c:pt idx="2037">
                  <c:v>14737</c:v>
                </c:pt>
                <c:pt idx="2038">
                  <c:v>8166</c:v>
                </c:pt>
                <c:pt idx="2039">
                  <c:v>23311</c:v>
                </c:pt>
                <c:pt idx="2040">
                  <c:v>10292</c:v>
                </c:pt>
                <c:pt idx="2041">
                  <c:v>22875</c:v>
                </c:pt>
                <c:pt idx="2042">
                  <c:v>19088</c:v>
                </c:pt>
                <c:pt idx="2043">
                  <c:v>40967</c:v>
                </c:pt>
                <c:pt idx="2044">
                  <c:v>204276</c:v>
                </c:pt>
                <c:pt idx="2045">
                  <c:v>12077</c:v>
                </c:pt>
                <c:pt idx="2046">
                  <c:v>20296</c:v>
                </c:pt>
                <c:pt idx="2047">
                  <c:v>41291</c:v>
                </c:pt>
                <c:pt idx="2048">
                  <c:v>13637</c:v>
                </c:pt>
                <c:pt idx="2049">
                  <c:v>18170</c:v>
                </c:pt>
                <c:pt idx="2050">
                  <c:v>28431</c:v>
                </c:pt>
                <c:pt idx="2051">
                  <c:v>27048</c:v>
                </c:pt>
                <c:pt idx="2052">
                  <c:v>13576</c:v>
                </c:pt>
                <c:pt idx="2053">
                  <c:v>5839</c:v>
                </c:pt>
                <c:pt idx="2054">
                  <c:v>22023</c:v>
                </c:pt>
                <c:pt idx="2055">
                  <c:v>6205</c:v>
                </c:pt>
                <c:pt idx="2056">
                  <c:v>23737</c:v>
                </c:pt>
                <c:pt idx="2057">
                  <c:v>7397</c:v>
                </c:pt>
                <c:pt idx="2058">
                  <c:v>5339</c:v>
                </c:pt>
                <c:pt idx="2059">
                  <c:v>91223</c:v>
                </c:pt>
                <c:pt idx="2060">
                  <c:v>65388</c:v>
                </c:pt>
                <c:pt idx="2061">
                  <c:v>11340</c:v>
                </c:pt>
                <c:pt idx="2062">
                  <c:v>3860</c:v>
                </c:pt>
                <c:pt idx="2063">
                  <c:v>43910</c:v>
                </c:pt>
                <c:pt idx="2064">
                  <c:v>10398</c:v>
                </c:pt>
                <c:pt idx="2065">
                  <c:v>29914</c:v>
                </c:pt>
                <c:pt idx="2066">
                  <c:v>2221</c:v>
                </c:pt>
                <c:pt idx="2067">
                  <c:v>11099</c:v>
                </c:pt>
                <c:pt idx="2068">
                  <c:v>19243</c:v>
                </c:pt>
                <c:pt idx="2069">
                  <c:v>9051</c:v>
                </c:pt>
                <c:pt idx="2070">
                  <c:v>21728</c:v>
                </c:pt>
                <c:pt idx="2071">
                  <c:v>5381</c:v>
                </c:pt>
                <c:pt idx="2072">
                  <c:v>49458</c:v>
                </c:pt>
                <c:pt idx="2073">
                  <c:v>8176</c:v>
                </c:pt>
                <c:pt idx="2074">
                  <c:v>3131</c:v>
                </c:pt>
                <c:pt idx="2075">
                  <c:v>5317</c:v>
                </c:pt>
                <c:pt idx="2076">
                  <c:v>48599</c:v>
                </c:pt>
                <c:pt idx="2077">
                  <c:v>5712</c:v>
                </c:pt>
                <c:pt idx="2078">
                  <c:v>10136</c:v>
                </c:pt>
                <c:pt idx="2079">
                  <c:v>10513</c:v>
                </c:pt>
                <c:pt idx="2080">
                  <c:v>25711</c:v>
                </c:pt>
                <c:pt idx="2081">
                  <c:v>24542</c:v>
                </c:pt>
                <c:pt idx="2082">
                  <c:v>22109</c:v>
                </c:pt>
                <c:pt idx="2083">
                  <c:v>25163</c:v>
                </c:pt>
                <c:pt idx="2084">
                  <c:v>97591</c:v>
                </c:pt>
                <c:pt idx="2085">
                  <c:v>4351</c:v>
                </c:pt>
                <c:pt idx="2086">
                  <c:v>12898</c:v>
                </c:pt>
                <c:pt idx="2087">
                  <c:v>5600</c:v>
                </c:pt>
                <c:pt idx="2088">
                  <c:v>5760</c:v>
                </c:pt>
                <c:pt idx="2089">
                  <c:v>8192</c:v>
                </c:pt>
                <c:pt idx="2090">
                  <c:v>17868</c:v>
                </c:pt>
                <c:pt idx="2091">
                  <c:v>3402</c:v>
                </c:pt>
                <c:pt idx="2092">
                  <c:v>8921</c:v>
                </c:pt>
                <c:pt idx="2093">
                  <c:v>20252</c:v>
                </c:pt>
                <c:pt idx="2094">
                  <c:v>13853</c:v>
                </c:pt>
                <c:pt idx="2095">
                  <c:v>13022</c:v>
                </c:pt>
                <c:pt idx="2096">
                  <c:v>7560</c:v>
                </c:pt>
                <c:pt idx="2097">
                  <c:v>9573</c:v>
                </c:pt>
                <c:pt idx="2098">
                  <c:v>48306</c:v>
                </c:pt>
                <c:pt idx="2099">
                  <c:v>5068</c:v>
                </c:pt>
                <c:pt idx="2100">
                  <c:v>100355</c:v>
                </c:pt>
                <c:pt idx="2101">
                  <c:v>21112</c:v>
                </c:pt>
                <c:pt idx="2102">
                  <c:v>25059</c:v>
                </c:pt>
                <c:pt idx="2103">
                  <c:v>8861</c:v>
                </c:pt>
                <c:pt idx="2104">
                  <c:v>16383</c:v>
                </c:pt>
                <c:pt idx="2105">
                  <c:v>4596</c:v>
                </c:pt>
                <c:pt idx="2106">
                  <c:v>8876</c:v>
                </c:pt>
                <c:pt idx="2107">
                  <c:v>6069</c:v>
                </c:pt>
                <c:pt idx="2108">
                  <c:v>33523</c:v>
                </c:pt>
                <c:pt idx="2109">
                  <c:v>86712</c:v>
                </c:pt>
                <c:pt idx="2110">
                  <c:v>62334</c:v>
                </c:pt>
                <c:pt idx="2111">
                  <c:v>5748</c:v>
                </c:pt>
                <c:pt idx="2112">
                  <c:v>17828</c:v>
                </c:pt>
                <c:pt idx="2113">
                  <c:v>16011</c:v>
                </c:pt>
                <c:pt idx="2114">
                  <c:v>14584</c:v>
                </c:pt>
                <c:pt idx="2115">
                  <c:v>7616</c:v>
                </c:pt>
                <c:pt idx="2116">
                  <c:v>8719</c:v>
                </c:pt>
                <c:pt idx="2117">
                  <c:v>2500</c:v>
                </c:pt>
                <c:pt idx="2118">
                  <c:v>6880</c:v>
                </c:pt>
                <c:pt idx="2119">
                  <c:v>51481</c:v>
                </c:pt>
                <c:pt idx="2120">
                  <c:v>34040</c:v>
                </c:pt>
                <c:pt idx="2121">
                  <c:v>15653</c:v>
                </c:pt>
                <c:pt idx="2122">
                  <c:v>3549</c:v>
                </c:pt>
                <c:pt idx="2123">
                  <c:v>10336</c:v>
                </c:pt>
                <c:pt idx="2124">
                  <c:v>16880</c:v>
                </c:pt>
                <c:pt idx="2125">
                  <c:v>5308</c:v>
                </c:pt>
                <c:pt idx="2126">
                  <c:v>92851</c:v>
                </c:pt>
                <c:pt idx="2127">
                  <c:v>38731</c:v>
                </c:pt>
                <c:pt idx="2128">
                  <c:v>21859</c:v>
                </c:pt>
                <c:pt idx="2129">
                  <c:v>23960</c:v>
                </c:pt>
                <c:pt idx="2130">
                  <c:v>117474</c:v>
                </c:pt>
                <c:pt idx="2131">
                  <c:v>25964</c:v>
                </c:pt>
                <c:pt idx="2132">
                  <c:v>14791</c:v>
                </c:pt>
                <c:pt idx="2133">
                  <c:v>7276</c:v>
                </c:pt>
                <c:pt idx="2134">
                  <c:v>14886</c:v>
                </c:pt>
                <c:pt idx="2135">
                  <c:v>14703</c:v>
                </c:pt>
                <c:pt idx="2136">
                  <c:v>14751</c:v>
                </c:pt>
                <c:pt idx="2137">
                  <c:v>12112</c:v>
                </c:pt>
                <c:pt idx="2138">
                  <c:v>6750</c:v>
                </c:pt>
                <c:pt idx="2139">
                  <c:v>7585</c:v>
                </c:pt>
                <c:pt idx="2140">
                  <c:v>27268</c:v>
                </c:pt>
                <c:pt idx="2141">
                  <c:v>20402</c:v>
                </c:pt>
                <c:pt idx="2142">
                  <c:v>501</c:v>
                </c:pt>
                <c:pt idx="2143">
                  <c:v>9833</c:v>
                </c:pt>
                <c:pt idx="2144">
                  <c:v>16101</c:v>
                </c:pt>
                <c:pt idx="2145">
                  <c:v>52795</c:v>
                </c:pt>
                <c:pt idx="2146">
                  <c:v>20536</c:v>
                </c:pt>
                <c:pt idx="2147">
                  <c:v>377106</c:v>
                </c:pt>
                <c:pt idx="2148">
                  <c:v>29243</c:v>
                </c:pt>
                <c:pt idx="2149">
                  <c:v>8939</c:v>
                </c:pt>
                <c:pt idx="2150">
                  <c:v>9325</c:v>
                </c:pt>
                <c:pt idx="2151">
                  <c:v>9513</c:v>
                </c:pt>
                <c:pt idx="2152">
                  <c:v>18674</c:v>
                </c:pt>
                <c:pt idx="2153">
                  <c:v>10682</c:v>
                </c:pt>
                <c:pt idx="2154">
                  <c:v>48474</c:v>
                </c:pt>
                <c:pt idx="2155">
                  <c:v>16201</c:v>
                </c:pt>
                <c:pt idx="2156">
                  <c:v>12887</c:v>
                </c:pt>
                <c:pt idx="2157">
                  <c:v>24416</c:v>
                </c:pt>
                <c:pt idx="2158">
                  <c:v>6226</c:v>
                </c:pt>
                <c:pt idx="2159">
                  <c:v>6072</c:v>
                </c:pt>
                <c:pt idx="2160">
                  <c:v>6922</c:v>
                </c:pt>
                <c:pt idx="2161">
                  <c:v>12686</c:v>
                </c:pt>
                <c:pt idx="2162">
                  <c:v>19166</c:v>
                </c:pt>
                <c:pt idx="2163">
                  <c:v>15213</c:v>
                </c:pt>
                <c:pt idx="2164">
                  <c:v>5961</c:v>
                </c:pt>
                <c:pt idx="2165">
                  <c:v>16736</c:v>
                </c:pt>
                <c:pt idx="2166">
                  <c:v>21253</c:v>
                </c:pt>
                <c:pt idx="2167">
                  <c:v>14590</c:v>
                </c:pt>
                <c:pt idx="2168">
                  <c:v>94473</c:v>
                </c:pt>
                <c:pt idx="2169">
                  <c:v>22034</c:v>
                </c:pt>
                <c:pt idx="2170">
                  <c:v>21415</c:v>
                </c:pt>
                <c:pt idx="2171">
                  <c:v>9753</c:v>
                </c:pt>
                <c:pt idx="2172">
                  <c:v>7783</c:v>
                </c:pt>
                <c:pt idx="2173">
                  <c:v>46433</c:v>
                </c:pt>
                <c:pt idx="2174">
                  <c:v>5376</c:v>
                </c:pt>
                <c:pt idx="2175">
                  <c:v>40748</c:v>
                </c:pt>
                <c:pt idx="2176">
                  <c:v>9718</c:v>
                </c:pt>
                <c:pt idx="2177">
                  <c:v>4503</c:v>
                </c:pt>
                <c:pt idx="2178">
                  <c:v>25849</c:v>
                </c:pt>
                <c:pt idx="2179">
                  <c:v>20828</c:v>
                </c:pt>
                <c:pt idx="2180">
                  <c:v>6062</c:v>
                </c:pt>
                <c:pt idx="2181">
                  <c:v>7737</c:v>
                </c:pt>
                <c:pt idx="2182">
                  <c:v>12190</c:v>
                </c:pt>
                <c:pt idx="2183">
                  <c:v>5578</c:v>
                </c:pt>
                <c:pt idx="2184">
                  <c:v>104390</c:v>
                </c:pt>
                <c:pt idx="2185">
                  <c:v>28119</c:v>
                </c:pt>
                <c:pt idx="2186">
                  <c:v>6082</c:v>
                </c:pt>
                <c:pt idx="2187">
                  <c:v>162945</c:v>
                </c:pt>
                <c:pt idx="2188">
                  <c:v>8465</c:v>
                </c:pt>
                <c:pt idx="2189">
                  <c:v>4053</c:v>
                </c:pt>
                <c:pt idx="2190">
                  <c:v>4401</c:v>
                </c:pt>
                <c:pt idx="2191">
                  <c:v>6075</c:v>
                </c:pt>
                <c:pt idx="2192">
                  <c:v>7733</c:v>
                </c:pt>
                <c:pt idx="2193">
                  <c:v>5762</c:v>
                </c:pt>
                <c:pt idx="2194">
                  <c:v>24810</c:v>
                </c:pt>
                <c:pt idx="2195">
                  <c:v>4802</c:v>
                </c:pt>
                <c:pt idx="2196">
                  <c:v>9826</c:v>
                </c:pt>
                <c:pt idx="2197">
                  <c:v>149665</c:v>
                </c:pt>
                <c:pt idx="2198">
                  <c:v>30508</c:v>
                </c:pt>
                <c:pt idx="2199">
                  <c:v>6454</c:v>
                </c:pt>
                <c:pt idx="2200">
                  <c:v>39741</c:v>
                </c:pt>
                <c:pt idx="2201">
                  <c:v>15429</c:v>
                </c:pt>
                <c:pt idx="2202">
                  <c:v>95294</c:v>
                </c:pt>
                <c:pt idx="2203">
                  <c:v>17715</c:v>
                </c:pt>
                <c:pt idx="2204">
                  <c:v>17255</c:v>
                </c:pt>
                <c:pt idx="2205">
                  <c:v>1025</c:v>
                </c:pt>
                <c:pt idx="2206">
                  <c:v>762</c:v>
                </c:pt>
                <c:pt idx="2207">
                  <c:v>90818</c:v>
                </c:pt>
                <c:pt idx="2208">
                  <c:v>28719</c:v>
                </c:pt>
                <c:pt idx="2209">
                  <c:v>7167</c:v>
                </c:pt>
                <c:pt idx="2210">
                  <c:v>14597</c:v>
                </c:pt>
                <c:pt idx="2211">
                  <c:v>7480</c:v>
                </c:pt>
                <c:pt idx="2212">
                  <c:v>5066</c:v>
                </c:pt>
                <c:pt idx="2213">
                  <c:v>32999</c:v>
                </c:pt>
                <c:pt idx="2214">
                  <c:v>15230</c:v>
                </c:pt>
                <c:pt idx="2215">
                  <c:v>9925</c:v>
                </c:pt>
                <c:pt idx="2216">
                  <c:v>19565</c:v>
                </c:pt>
                <c:pt idx="2217">
                  <c:v>12534</c:v>
                </c:pt>
                <c:pt idx="2218">
                  <c:v>8447</c:v>
                </c:pt>
                <c:pt idx="2219">
                  <c:v>33734</c:v>
                </c:pt>
                <c:pt idx="2220">
                  <c:v>14039</c:v>
                </c:pt>
                <c:pt idx="2221">
                  <c:v>21159</c:v>
                </c:pt>
                <c:pt idx="2222">
                  <c:v>4311</c:v>
                </c:pt>
                <c:pt idx="2223">
                  <c:v>55548</c:v>
                </c:pt>
                <c:pt idx="2224">
                  <c:v>8606</c:v>
                </c:pt>
                <c:pt idx="2225">
                  <c:v>15735</c:v>
                </c:pt>
                <c:pt idx="2226">
                  <c:v>19089</c:v>
                </c:pt>
                <c:pt idx="2227">
                  <c:v>43105</c:v>
                </c:pt>
                <c:pt idx="2228">
                  <c:v>129654</c:v>
                </c:pt>
                <c:pt idx="2229">
                  <c:v>8271</c:v>
                </c:pt>
                <c:pt idx="2230">
                  <c:v>57492</c:v>
                </c:pt>
                <c:pt idx="2231">
                  <c:v>3412</c:v>
                </c:pt>
                <c:pt idx="2232">
                  <c:v>10455</c:v>
                </c:pt>
                <c:pt idx="2233">
                  <c:v>8866</c:v>
                </c:pt>
                <c:pt idx="2234">
                  <c:v>12265</c:v>
                </c:pt>
                <c:pt idx="2235">
                  <c:v>4692</c:v>
                </c:pt>
                <c:pt idx="2236">
                  <c:v>36667</c:v>
                </c:pt>
                <c:pt idx="2237">
                  <c:v>48196</c:v>
                </c:pt>
                <c:pt idx="2238">
                  <c:v>60362</c:v>
                </c:pt>
                <c:pt idx="2239">
                  <c:v>29677</c:v>
                </c:pt>
                <c:pt idx="2240">
                  <c:v>23100</c:v>
                </c:pt>
                <c:pt idx="2241">
                  <c:v>12934</c:v>
                </c:pt>
                <c:pt idx="2242">
                  <c:v>4616</c:v>
                </c:pt>
                <c:pt idx="2243">
                  <c:v>9831</c:v>
                </c:pt>
                <c:pt idx="2244">
                  <c:v>3959</c:v>
                </c:pt>
                <c:pt idx="2245">
                  <c:v>27163</c:v>
                </c:pt>
                <c:pt idx="2246">
                  <c:v>25826</c:v>
                </c:pt>
                <c:pt idx="2247">
                  <c:v>13056</c:v>
                </c:pt>
                <c:pt idx="2248">
                  <c:v>6308</c:v>
                </c:pt>
                <c:pt idx="2249">
                  <c:v>17450</c:v>
                </c:pt>
                <c:pt idx="2250">
                  <c:v>21018</c:v>
                </c:pt>
                <c:pt idx="2251">
                  <c:v>6647</c:v>
                </c:pt>
                <c:pt idx="2252">
                  <c:v>15711</c:v>
                </c:pt>
                <c:pt idx="2253">
                  <c:v>40882</c:v>
                </c:pt>
                <c:pt idx="2254">
                  <c:v>45154</c:v>
                </c:pt>
                <c:pt idx="2255">
                  <c:v>39800</c:v>
                </c:pt>
                <c:pt idx="2256">
                  <c:v>50209</c:v>
                </c:pt>
                <c:pt idx="2257">
                  <c:v>4555</c:v>
                </c:pt>
                <c:pt idx="2258">
                  <c:v>4306</c:v>
                </c:pt>
                <c:pt idx="2259">
                  <c:v>6035</c:v>
                </c:pt>
                <c:pt idx="2260">
                  <c:v>3240</c:v>
                </c:pt>
                <c:pt idx="2261">
                  <c:v>37571</c:v>
                </c:pt>
                <c:pt idx="2262">
                  <c:v>7448</c:v>
                </c:pt>
                <c:pt idx="2263">
                  <c:v>7700</c:v>
                </c:pt>
                <c:pt idx="2264">
                  <c:v>7278</c:v>
                </c:pt>
                <c:pt idx="2265">
                  <c:v>17078</c:v>
                </c:pt>
                <c:pt idx="2266">
                  <c:v>102516</c:v>
                </c:pt>
                <c:pt idx="2267">
                  <c:v>38606</c:v>
                </c:pt>
                <c:pt idx="2268">
                  <c:v>13119</c:v>
                </c:pt>
                <c:pt idx="2269">
                  <c:v>4651</c:v>
                </c:pt>
                <c:pt idx="2270">
                  <c:v>32255</c:v>
                </c:pt>
                <c:pt idx="2271">
                  <c:v>9851</c:v>
                </c:pt>
                <c:pt idx="2272">
                  <c:v>2369</c:v>
                </c:pt>
                <c:pt idx="2273">
                  <c:v>47800</c:v>
                </c:pt>
                <c:pt idx="2274">
                  <c:v>58423</c:v>
                </c:pt>
                <c:pt idx="2275">
                  <c:v>125143</c:v>
                </c:pt>
                <c:pt idx="2276">
                  <c:v>5644</c:v>
                </c:pt>
                <c:pt idx="2277">
                  <c:v>12507</c:v>
                </c:pt>
                <c:pt idx="2278">
                  <c:v>38513</c:v>
                </c:pt>
                <c:pt idx="2279">
                  <c:v>18575</c:v>
                </c:pt>
                <c:pt idx="2280">
                  <c:v>23920</c:v>
                </c:pt>
                <c:pt idx="2281">
                  <c:v>10477</c:v>
                </c:pt>
                <c:pt idx="2282">
                  <c:v>22980</c:v>
                </c:pt>
                <c:pt idx="2283">
                  <c:v>5608</c:v>
                </c:pt>
                <c:pt idx="2284">
                  <c:v>7576</c:v>
                </c:pt>
                <c:pt idx="2285">
                  <c:v>19302</c:v>
                </c:pt>
                <c:pt idx="2286">
                  <c:v>6002</c:v>
                </c:pt>
                <c:pt idx="2287">
                  <c:v>3617</c:v>
                </c:pt>
                <c:pt idx="2288">
                  <c:v>6908</c:v>
                </c:pt>
                <c:pt idx="2289">
                  <c:v>9534</c:v>
                </c:pt>
                <c:pt idx="2290">
                  <c:v>13302</c:v>
                </c:pt>
                <c:pt idx="2291">
                  <c:v>36684</c:v>
                </c:pt>
                <c:pt idx="2292">
                  <c:v>80312</c:v>
                </c:pt>
                <c:pt idx="2293">
                  <c:v>29990</c:v>
                </c:pt>
                <c:pt idx="2294">
                  <c:v>13593</c:v>
                </c:pt>
                <c:pt idx="2295">
                  <c:v>3847</c:v>
                </c:pt>
                <c:pt idx="2296">
                  <c:v>19911</c:v>
                </c:pt>
                <c:pt idx="2297">
                  <c:v>4883</c:v>
                </c:pt>
                <c:pt idx="2298">
                  <c:v>6077</c:v>
                </c:pt>
                <c:pt idx="2299">
                  <c:v>134062</c:v>
                </c:pt>
                <c:pt idx="2300">
                  <c:v>11129</c:v>
                </c:pt>
                <c:pt idx="2301">
                  <c:v>6020</c:v>
                </c:pt>
                <c:pt idx="2302">
                  <c:v>19574</c:v>
                </c:pt>
                <c:pt idx="2303">
                  <c:v>23111</c:v>
                </c:pt>
                <c:pt idx="2304">
                  <c:v>63071</c:v>
                </c:pt>
                <c:pt idx="2305">
                  <c:v>14555</c:v>
                </c:pt>
                <c:pt idx="2306">
                  <c:v>1941</c:v>
                </c:pt>
                <c:pt idx="2307">
                  <c:v>18556</c:v>
                </c:pt>
                <c:pt idx="2308">
                  <c:v>20665</c:v>
                </c:pt>
                <c:pt idx="2309">
                  <c:v>42338</c:v>
                </c:pt>
                <c:pt idx="2310">
                  <c:v>86912</c:v>
                </c:pt>
                <c:pt idx="2311">
                  <c:v>10695</c:v>
                </c:pt>
                <c:pt idx="2312">
                  <c:v>84442</c:v>
                </c:pt>
                <c:pt idx="2313">
                  <c:v>9131</c:v>
                </c:pt>
                <c:pt idx="2314">
                  <c:v>1956</c:v>
                </c:pt>
                <c:pt idx="2315">
                  <c:v>23878</c:v>
                </c:pt>
                <c:pt idx="2316">
                  <c:v>138996</c:v>
                </c:pt>
                <c:pt idx="2317">
                  <c:v>25651</c:v>
                </c:pt>
                <c:pt idx="2318">
                  <c:v>70689</c:v>
                </c:pt>
                <c:pt idx="2319">
                  <c:v>5950</c:v>
                </c:pt>
                <c:pt idx="2320">
                  <c:v>13390</c:v>
                </c:pt>
                <c:pt idx="2321">
                  <c:v>17847</c:v>
                </c:pt>
                <c:pt idx="2322">
                  <c:v>4775</c:v>
                </c:pt>
                <c:pt idx="2323">
                  <c:v>49677</c:v>
                </c:pt>
                <c:pt idx="2324">
                  <c:v>10325</c:v>
                </c:pt>
                <c:pt idx="2325">
                  <c:v>84961</c:v>
                </c:pt>
                <c:pt idx="2326">
                  <c:v>31208</c:v>
                </c:pt>
                <c:pt idx="2327">
                  <c:v>5920</c:v>
                </c:pt>
                <c:pt idx="2328">
                  <c:v>9463</c:v>
                </c:pt>
                <c:pt idx="2329">
                  <c:v>14130</c:v>
                </c:pt>
                <c:pt idx="2330">
                  <c:v>11470</c:v>
                </c:pt>
                <c:pt idx="2331">
                  <c:v>19760</c:v>
                </c:pt>
                <c:pt idx="2332">
                  <c:v>24992</c:v>
                </c:pt>
                <c:pt idx="2333">
                  <c:v>57175</c:v>
                </c:pt>
                <c:pt idx="2334">
                  <c:v>107285</c:v>
                </c:pt>
                <c:pt idx="2335">
                  <c:v>29060</c:v>
                </c:pt>
                <c:pt idx="2336">
                  <c:v>8834</c:v>
                </c:pt>
                <c:pt idx="2337">
                  <c:v>21639</c:v>
                </c:pt>
                <c:pt idx="2338">
                  <c:v>12650</c:v>
                </c:pt>
                <c:pt idx="2339">
                  <c:v>25941</c:v>
                </c:pt>
                <c:pt idx="2340">
                  <c:v>48902</c:v>
                </c:pt>
                <c:pt idx="2341">
                  <c:v>7150</c:v>
                </c:pt>
                <c:pt idx="2342">
                  <c:v>29393</c:v>
                </c:pt>
                <c:pt idx="2343">
                  <c:v>5383</c:v>
                </c:pt>
                <c:pt idx="2344">
                  <c:v>2743</c:v>
                </c:pt>
                <c:pt idx="2345">
                  <c:v>8547</c:v>
                </c:pt>
                <c:pt idx="2346">
                  <c:v>9642</c:v>
                </c:pt>
                <c:pt idx="2347">
                  <c:v>9488</c:v>
                </c:pt>
                <c:pt idx="2348">
                  <c:v>34176</c:v>
                </c:pt>
                <c:pt idx="2349">
                  <c:v>20148</c:v>
                </c:pt>
                <c:pt idx="2350">
                  <c:v>4546</c:v>
                </c:pt>
                <c:pt idx="2351">
                  <c:v>30827</c:v>
                </c:pt>
                <c:pt idx="2352">
                  <c:v>25118</c:v>
                </c:pt>
                <c:pt idx="2353">
                  <c:v>63926</c:v>
                </c:pt>
                <c:pt idx="2354">
                  <c:v>8175</c:v>
                </c:pt>
                <c:pt idx="2355">
                  <c:v>15321</c:v>
                </c:pt>
                <c:pt idx="2356">
                  <c:v>8060</c:v>
                </c:pt>
                <c:pt idx="2357">
                  <c:v>23877</c:v>
                </c:pt>
                <c:pt idx="2358">
                  <c:v>21773</c:v>
                </c:pt>
                <c:pt idx="2359">
                  <c:v>28981</c:v>
                </c:pt>
                <c:pt idx="2360">
                  <c:v>6828</c:v>
                </c:pt>
                <c:pt idx="2361">
                  <c:v>28711</c:v>
                </c:pt>
                <c:pt idx="2362">
                  <c:v>17565</c:v>
                </c:pt>
                <c:pt idx="2363">
                  <c:v>2009</c:v>
                </c:pt>
                <c:pt idx="2364">
                  <c:v>38162</c:v>
                </c:pt>
                <c:pt idx="2365">
                  <c:v>9118</c:v>
                </c:pt>
                <c:pt idx="2366">
                  <c:v>9572</c:v>
                </c:pt>
                <c:pt idx="2367">
                  <c:v>17849</c:v>
                </c:pt>
                <c:pt idx="2368">
                  <c:v>56571</c:v>
                </c:pt>
                <c:pt idx="2369">
                  <c:v>10827</c:v>
                </c:pt>
                <c:pt idx="2370">
                  <c:v>15083</c:v>
                </c:pt>
                <c:pt idx="2371">
                  <c:v>43549</c:v>
                </c:pt>
                <c:pt idx="2372">
                  <c:v>19317</c:v>
                </c:pt>
                <c:pt idx="2373">
                  <c:v>11948</c:v>
                </c:pt>
                <c:pt idx="2374">
                  <c:v>30837</c:v>
                </c:pt>
                <c:pt idx="2375">
                  <c:v>36504</c:v>
                </c:pt>
                <c:pt idx="2376">
                  <c:v>19449</c:v>
                </c:pt>
                <c:pt idx="2377">
                  <c:v>7771</c:v>
                </c:pt>
                <c:pt idx="2378">
                  <c:v>25428</c:v>
                </c:pt>
                <c:pt idx="2379">
                  <c:v>20129</c:v>
                </c:pt>
                <c:pt idx="2380">
                  <c:v>9117</c:v>
                </c:pt>
                <c:pt idx="2381">
                  <c:v>29474</c:v>
                </c:pt>
                <c:pt idx="2382">
                  <c:v>17047</c:v>
                </c:pt>
                <c:pt idx="2383">
                  <c:v>5025</c:v>
                </c:pt>
                <c:pt idx="2384">
                  <c:v>48159</c:v>
                </c:pt>
                <c:pt idx="2385">
                  <c:v>23143</c:v>
                </c:pt>
                <c:pt idx="2386">
                  <c:v>18683</c:v>
                </c:pt>
                <c:pt idx="2387">
                  <c:v>35640</c:v>
                </c:pt>
                <c:pt idx="2388">
                  <c:v>14113</c:v>
                </c:pt>
                <c:pt idx="2389">
                  <c:v>10210</c:v>
                </c:pt>
                <c:pt idx="2390">
                  <c:v>11935</c:v>
                </c:pt>
                <c:pt idx="2391">
                  <c:v>59141</c:v>
                </c:pt>
                <c:pt idx="2392">
                  <c:v>7771</c:v>
                </c:pt>
                <c:pt idx="2393">
                  <c:v>9505</c:v>
                </c:pt>
                <c:pt idx="2394">
                  <c:v>14991</c:v>
                </c:pt>
                <c:pt idx="2395">
                  <c:v>5969</c:v>
                </c:pt>
                <c:pt idx="2396">
                  <c:v>8090</c:v>
                </c:pt>
                <c:pt idx="2397">
                  <c:v>6267</c:v>
                </c:pt>
                <c:pt idx="2398">
                  <c:v>50206</c:v>
                </c:pt>
                <c:pt idx="2399">
                  <c:v>37908</c:v>
                </c:pt>
                <c:pt idx="2400">
                  <c:v>15749</c:v>
                </c:pt>
                <c:pt idx="2401">
                  <c:v>2617</c:v>
                </c:pt>
                <c:pt idx="2402">
                  <c:v>21528</c:v>
                </c:pt>
                <c:pt idx="2403">
                  <c:v>7533</c:v>
                </c:pt>
                <c:pt idx="2404">
                  <c:v>19601</c:v>
                </c:pt>
                <c:pt idx="2405">
                  <c:v>43302</c:v>
                </c:pt>
                <c:pt idx="2406">
                  <c:v>4706</c:v>
                </c:pt>
                <c:pt idx="2407">
                  <c:v>9462</c:v>
                </c:pt>
                <c:pt idx="2408">
                  <c:v>6805</c:v>
                </c:pt>
                <c:pt idx="2409">
                  <c:v>13104</c:v>
                </c:pt>
                <c:pt idx="2410">
                  <c:v>17381</c:v>
                </c:pt>
                <c:pt idx="2411">
                  <c:v>14084</c:v>
                </c:pt>
                <c:pt idx="2412">
                  <c:v>24999</c:v>
                </c:pt>
                <c:pt idx="2413">
                  <c:v>1829</c:v>
                </c:pt>
                <c:pt idx="2414">
                  <c:v>37592</c:v>
                </c:pt>
                <c:pt idx="2415">
                  <c:v>29651</c:v>
                </c:pt>
                <c:pt idx="2416">
                  <c:v>10595</c:v>
                </c:pt>
                <c:pt idx="2417">
                  <c:v>5295</c:v>
                </c:pt>
                <c:pt idx="2418">
                  <c:v>6532</c:v>
                </c:pt>
                <c:pt idx="2419">
                  <c:v>9459</c:v>
                </c:pt>
                <c:pt idx="2420">
                  <c:v>5632</c:v>
                </c:pt>
                <c:pt idx="2421">
                  <c:v>17383</c:v>
                </c:pt>
                <c:pt idx="2422">
                  <c:v>33818</c:v>
                </c:pt>
                <c:pt idx="2423">
                  <c:v>18948</c:v>
                </c:pt>
                <c:pt idx="2424">
                  <c:v>6400</c:v>
                </c:pt>
                <c:pt idx="2425">
                  <c:v>7089</c:v>
                </c:pt>
                <c:pt idx="2426">
                  <c:v>112064</c:v>
                </c:pt>
                <c:pt idx="2427">
                  <c:v>16249</c:v>
                </c:pt>
                <c:pt idx="2428">
                  <c:v>31352</c:v>
                </c:pt>
                <c:pt idx="2429">
                  <c:v>60256</c:v>
                </c:pt>
                <c:pt idx="2430">
                  <c:v>8186</c:v>
                </c:pt>
                <c:pt idx="2431">
                  <c:v>6096</c:v>
                </c:pt>
                <c:pt idx="2432">
                  <c:v>9895</c:v>
                </c:pt>
                <c:pt idx="2433">
                  <c:v>17992</c:v>
                </c:pt>
                <c:pt idx="2434">
                  <c:v>747740</c:v>
                </c:pt>
                <c:pt idx="2435">
                  <c:v>14176</c:v>
                </c:pt>
                <c:pt idx="2436">
                  <c:v>8245</c:v>
                </c:pt>
                <c:pt idx="2437">
                  <c:v>31701</c:v>
                </c:pt>
                <c:pt idx="2438">
                  <c:v>47662</c:v>
                </c:pt>
                <c:pt idx="2439">
                  <c:v>3538</c:v>
                </c:pt>
                <c:pt idx="2440">
                  <c:v>36233</c:v>
                </c:pt>
                <c:pt idx="2441">
                  <c:v>12956</c:v>
                </c:pt>
                <c:pt idx="2442">
                  <c:v>14157</c:v>
                </c:pt>
                <c:pt idx="2443">
                  <c:v>7407</c:v>
                </c:pt>
                <c:pt idx="2444">
                  <c:v>7722</c:v>
                </c:pt>
                <c:pt idx="2445">
                  <c:v>12740</c:v>
                </c:pt>
                <c:pt idx="2446">
                  <c:v>15621</c:v>
                </c:pt>
                <c:pt idx="2447">
                  <c:v>24502</c:v>
                </c:pt>
                <c:pt idx="2448">
                  <c:v>6127</c:v>
                </c:pt>
                <c:pt idx="2449">
                  <c:v>34133</c:v>
                </c:pt>
                <c:pt idx="2450">
                  <c:v>15401</c:v>
                </c:pt>
                <c:pt idx="2451">
                  <c:v>11195</c:v>
                </c:pt>
                <c:pt idx="2452">
                  <c:v>5593</c:v>
                </c:pt>
                <c:pt idx="2453">
                  <c:v>38271</c:v>
                </c:pt>
                <c:pt idx="2454">
                  <c:v>6820</c:v>
                </c:pt>
                <c:pt idx="2455">
                  <c:v>9277</c:v>
                </c:pt>
                <c:pt idx="2456">
                  <c:v>8296</c:v>
                </c:pt>
                <c:pt idx="2457">
                  <c:v>39491</c:v>
                </c:pt>
                <c:pt idx="2458">
                  <c:v>38496</c:v>
                </c:pt>
                <c:pt idx="2459">
                  <c:v>8173</c:v>
                </c:pt>
                <c:pt idx="2460">
                  <c:v>17132</c:v>
                </c:pt>
                <c:pt idx="2461">
                  <c:v>25319</c:v>
                </c:pt>
                <c:pt idx="2462">
                  <c:v>28451</c:v>
                </c:pt>
                <c:pt idx="2463">
                  <c:v>70553</c:v>
                </c:pt>
                <c:pt idx="2464">
                  <c:v>21725</c:v>
                </c:pt>
                <c:pt idx="2465">
                  <c:v>7596</c:v>
                </c:pt>
                <c:pt idx="2466">
                  <c:v>6901</c:v>
                </c:pt>
                <c:pt idx="2467">
                  <c:v>37963</c:v>
                </c:pt>
                <c:pt idx="2468">
                  <c:v>11631</c:v>
                </c:pt>
                <c:pt idx="2469">
                  <c:v>21857</c:v>
                </c:pt>
                <c:pt idx="2470">
                  <c:v>7814</c:v>
                </c:pt>
                <c:pt idx="2471">
                  <c:v>28282</c:v>
                </c:pt>
                <c:pt idx="2472">
                  <c:v>12059</c:v>
                </c:pt>
                <c:pt idx="2473">
                  <c:v>13995</c:v>
                </c:pt>
                <c:pt idx="2474">
                  <c:v>7754</c:v>
                </c:pt>
                <c:pt idx="2475">
                  <c:v>11042</c:v>
                </c:pt>
                <c:pt idx="2476">
                  <c:v>38901</c:v>
                </c:pt>
                <c:pt idx="2477">
                  <c:v>9738</c:v>
                </c:pt>
                <c:pt idx="2478">
                  <c:v>52323</c:v>
                </c:pt>
                <c:pt idx="2479">
                  <c:v>7759</c:v>
                </c:pt>
                <c:pt idx="2480">
                  <c:v>14912</c:v>
                </c:pt>
                <c:pt idx="2481">
                  <c:v>17549</c:v>
                </c:pt>
                <c:pt idx="2482">
                  <c:v>13730</c:v>
                </c:pt>
                <c:pt idx="2483">
                  <c:v>72495</c:v>
                </c:pt>
                <c:pt idx="2484">
                  <c:v>47358</c:v>
                </c:pt>
                <c:pt idx="2485">
                  <c:v>38916</c:v>
                </c:pt>
                <c:pt idx="2486">
                  <c:v>19060</c:v>
                </c:pt>
                <c:pt idx="2487">
                  <c:v>14602</c:v>
                </c:pt>
                <c:pt idx="2488">
                  <c:v>1245</c:v>
                </c:pt>
                <c:pt idx="2489">
                  <c:v>34433</c:v>
                </c:pt>
                <c:pt idx="2490">
                  <c:v>17992</c:v>
                </c:pt>
                <c:pt idx="2491">
                  <c:v>26403</c:v>
                </c:pt>
                <c:pt idx="2492">
                  <c:v>7389</c:v>
                </c:pt>
                <c:pt idx="2493">
                  <c:v>43117</c:v>
                </c:pt>
                <c:pt idx="2494">
                  <c:v>17565</c:v>
                </c:pt>
                <c:pt idx="2495">
                  <c:v>17385</c:v>
                </c:pt>
                <c:pt idx="2496">
                  <c:v>6358</c:v>
                </c:pt>
                <c:pt idx="2497">
                  <c:v>25085</c:v>
                </c:pt>
                <c:pt idx="2498">
                  <c:v>13073</c:v>
                </c:pt>
                <c:pt idx="2499">
                  <c:v>19553</c:v>
                </c:pt>
                <c:pt idx="2500">
                  <c:v>74217</c:v>
                </c:pt>
                <c:pt idx="2501">
                  <c:v>8485</c:v>
                </c:pt>
                <c:pt idx="2502">
                  <c:v>15445</c:v>
                </c:pt>
                <c:pt idx="2503">
                  <c:v>8310</c:v>
                </c:pt>
                <c:pt idx="2504">
                  <c:v>48202</c:v>
                </c:pt>
                <c:pt idx="2505">
                  <c:v>25515</c:v>
                </c:pt>
                <c:pt idx="2506">
                  <c:v>88742</c:v>
                </c:pt>
                <c:pt idx="2507">
                  <c:v>6948</c:v>
                </c:pt>
                <c:pt idx="2508">
                  <c:v>8573</c:v>
                </c:pt>
                <c:pt idx="2509">
                  <c:v>18827</c:v>
                </c:pt>
                <c:pt idx="2510">
                  <c:v>18776</c:v>
                </c:pt>
                <c:pt idx="2511">
                  <c:v>10123</c:v>
                </c:pt>
                <c:pt idx="2512">
                  <c:v>3123</c:v>
                </c:pt>
                <c:pt idx="2513">
                  <c:v>9511</c:v>
                </c:pt>
                <c:pt idx="2514">
                  <c:v>11540</c:v>
                </c:pt>
                <c:pt idx="2515">
                  <c:v>23823</c:v>
                </c:pt>
                <c:pt idx="2516">
                  <c:v>5151</c:v>
                </c:pt>
                <c:pt idx="2517">
                  <c:v>9096</c:v>
                </c:pt>
                <c:pt idx="2518">
                  <c:v>4977</c:v>
                </c:pt>
                <c:pt idx="2519">
                  <c:v>18207</c:v>
                </c:pt>
                <c:pt idx="2520">
                  <c:v>26036</c:v>
                </c:pt>
                <c:pt idx="2521">
                  <c:v>17965</c:v>
                </c:pt>
                <c:pt idx="2522">
                  <c:v>14074</c:v>
                </c:pt>
                <c:pt idx="2523">
                  <c:v>48950</c:v>
                </c:pt>
                <c:pt idx="2524">
                  <c:v>11128</c:v>
                </c:pt>
                <c:pt idx="2525">
                  <c:v>68818</c:v>
                </c:pt>
                <c:pt idx="2526">
                  <c:v>9918</c:v>
                </c:pt>
                <c:pt idx="2527">
                  <c:v>23332</c:v>
                </c:pt>
                <c:pt idx="2528">
                  <c:v>14234</c:v>
                </c:pt>
                <c:pt idx="2529">
                  <c:v>107044</c:v>
                </c:pt>
                <c:pt idx="2530">
                  <c:v>14230</c:v>
                </c:pt>
                <c:pt idx="2531">
                  <c:v>45998</c:v>
                </c:pt>
                <c:pt idx="2532">
                  <c:v>106385</c:v>
                </c:pt>
                <c:pt idx="2533">
                  <c:v>29387</c:v>
                </c:pt>
                <c:pt idx="2534">
                  <c:v>21239</c:v>
                </c:pt>
                <c:pt idx="2535">
                  <c:v>7317</c:v>
                </c:pt>
                <c:pt idx="2536">
                  <c:v>29129</c:v>
                </c:pt>
                <c:pt idx="2537">
                  <c:v>44954</c:v>
                </c:pt>
                <c:pt idx="2538">
                  <c:v>6235</c:v>
                </c:pt>
                <c:pt idx="2539">
                  <c:v>34820</c:v>
                </c:pt>
                <c:pt idx="2540">
                  <c:v>7751</c:v>
                </c:pt>
                <c:pt idx="2541">
                  <c:v>14918</c:v>
                </c:pt>
                <c:pt idx="2542">
                  <c:v>7727</c:v>
                </c:pt>
                <c:pt idx="2543">
                  <c:v>3432</c:v>
                </c:pt>
                <c:pt idx="2544">
                  <c:v>6394</c:v>
                </c:pt>
                <c:pt idx="2545">
                  <c:v>12262</c:v>
                </c:pt>
                <c:pt idx="2546">
                  <c:v>30717</c:v>
                </c:pt>
                <c:pt idx="2547">
                  <c:v>10915</c:v>
                </c:pt>
                <c:pt idx="2548">
                  <c:v>12897</c:v>
                </c:pt>
                <c:pt idx="2549">
                  <c:v>21037</c:v>
                </c:pt>
                <c:pt idx="2550">
                  <c:v>39701</c:v>
                </c:pt>
                <c:pt idx="2551">
                  <c:v>5544</c:v>
                </c:pt>
                <c:pt idx="2552">
                  <c:v>11037</c:v>
                </c:pt>
                <c:pt idx="2553">
                  <c:v>9071</c:v>
                </c:pt>
                <c:pt idx="2554">
                  <c:v>10208</c:v>
                </c:pt>
                <c:pt idx="2555">
                  <c:v>57245</c:v>
                </c:pt>
                <c:pt idx="2556">
                  <c:v>32481</c:v>
                </c:pt>
                <c:pt idx="2557">
                  <c:v>4425</c:v>
                </c:pt>
                <c:pt idx="2558">
                  <c:v>2303</c:v>
                </c:pt>
                <c:pt idx="2559">
                  <c:v>21809</c:v>
                </c:pt>
                <c:pt idx="2560">
                  <c:v>7970</c:v>
                </c:pt>
                <c:pt idx="2561">
                  <c:v>12098</c:v>
                </c:pt>
                <c:pt idx="2562">
                  <c:v>5561</c:v>
                </c:pt>
                <c:pt idx="2563">
                  <c:v>13222</c:v>
                </c:pt>
                <c:pt idx="2564">
                  <c:v>45723</c:v>
                </c:pt>
                <c:pt idx="2565">
                  <c:v>31581</c:v>
                </c:pt>
                <c:pt idx="2566">
                  <c:v>7615</c:v>
                </c:pt>
                <c:pt idx="2567">
                  <c:v>16565</c:v>
                </c:pt>
                <c:pt idx="2568">
                  <c:v>23730</c:v>
                </c:pt>
                <c:pt idx="2569">
                  <c:v>9720</c:v>
                </c:pt>
                <c:pt idx="2570">
                  <c:v>23729</c:v>
                </c:pt>
                <c:pt idx="2571">
                  <c:v>3824</c:v>
                </c:pt>
                <c:pt idx="2572">
                  <c:v>21845</c:v>
                </c:pt>
                <c:pt idx="2573">
                  <c:v>12120</c:v>
                </c:pt>
                <c:pt idx="2574">
                  <c:v>5395</c:v>
                </c:pt>
                <c:pt idx="2575">
                  <c:v>19507</c:v>
                </c:pt>
                <c:pt idx="2576">
                  <c:v>16845</c:v>
                </c:pt>
                <c:pt idx="2577">
                  <c:v>7371</c:v>
                </c:pt>
                <c:pt idx="2578">
                  <c:v>14947</c:v>
                </c:pt>
                <c:pt idx="2579">
                  <c:v>29799</c:v>
                </c:pt>
                <c:pt idx="2580">
                  <c:v>42818</c:v>
                </c:pt>
                <c:pt idx="2581">
                  <c:v>10166</c:v>
                </c:pt>
                <c:pt idx="2582">
                  <c:v>22319</c:v>
                </c:pt>
                <c:pt idx="2583">
                  <c:v>59369</c:v>
                </c:pt>
                <c:pt idx="2584">
                  <c:v>11267</c:v>
                </c:pt>
                <c:pt idx="2585">
                  <c:v>39457</c:v>
                </c:pt>
                <c:pt idx="2586">
                  <c:v>60224</c:v>
                </c:pt>
                <c:pt idx="2587">
                  <c:v>17684</c:v>
                </c:pt>
                <c:pt idx="2588">
                  <c:v>57357</c:v>
                </c:pt>
                <c:pt idx="2589">
                  <c:v>285652</c:v>
                </c:pt>
                <c:pt idx="2590">
                  <c:v>13323</c:v>
                </c:pt>
                <c:pt idx="2591">
                  <c:v>41790</c:v>
                </c:pt>
                <c:pt idx="2592">
                  <c:v>13511</c:v>
                </c:pt>
                <c:pt idx="2593">
                  <c:v>8377</c:v>
                </c:pt>
                <c:pt idx="2594">
                  <c:v>19661</c:v>
                </c:pt>
                <c:pt idx="2595">
                  <c:v>4822</c:v>
                </c:pt>
                <c:pt idx="2596">
                  <c:v>9987</c:v>
                </c:pt>
                <c:pt idx="2597">
                  <c:v>8916</c:v>
                </c:pt>
                <c:pt idx="2598">
                  <c:v>130352</c:v>
                </c:pt>
                <c:pt idx="2599">
                  <c:v>7498</c:v>
                </c:pt>
                <c:pt idx="2600">
                  <c:v>7536</c:v>
                </c:pt>
                <c:pt idx="2601">
                  <c:v>2966</c:v>
                </c:pt>
                <c:pt idx="2602">
                  <c:v>32508</c:v>
                </c:pt>
                <c:pt idx="2603">
                  <c:v>9062</c:v>
                </c:pt>
                <c:pt idx="2604">
                  <c:v>3817</c:v>
                </c:pt>
                <c:pt idx="2605">
                  <c:v>9283</c:v>
                </c:pt>
                <c:pt idx="2606">
                  <c:v>10898</c:v>
                </c:pt>
                <c:pt idx="2607">
                  <c:v>6812</c:v>
                </c:pt>
                <c:pt idx="2608">
                  <c:v>44931</c:v>
                </c:pt>
                <c:pt idx="2609">
                  <c:v>26893</c:v>
                </c:pt>
                <c:pt idx="2610">
                  <c:v>10973</c:v>
                </c:pt>
                <c:pt idx="2611">
                  <c:v>31103</c:v>
                </c:pt>
                <c:pt idx="2612">
                  <c:v>25983</c:v>
                </c:pt>
                <c:pt idx="2613">
                  <c:v>31863</c:v>
                </c:pt>
                <c:pt idx="2614">
                  <c:v>12821</c:v>
                </c:pt>
                <c:pt idx="2615">
                  <c:v>12752</c:v>
                </c:pt>
                <c:pt idx="2616">
                  <c:v>18054</c:v>
                </c:pt>
                <c:pt idx="2617">
                  <c:v>5238</c:v>
                </c:pt>
                <c:pt idx="2618">
                  <c:v>25530</c:v>
                </c:pt>
                <c:pt idx="2619">
                  <c:v>1773</c:v>
                </c:pt>
                <c:pt idx="2620">
                  <c:v>26673</c:v>
                </c:pt>
                <c:pt idx="2621">
                  <c:v>13366</c:v>
                </c:pt>
                <c:pt idx="2622">
                  <c:v>34007</c:v>
                </c:pt>
                <c:pt idx="2623">
                  <c:v>10861</c:v>
                </c:pt>
                <c:pt idx="2624">
                  <c:v>19818</c:v>
                </c:pt>
                <c:pt idx="2625">
                  <c:v>25420</c:v>
                </c:pt>
                <c:pt idx="2626">
                  <c:v>5388</c:v>
                </c:pt>
                <c:pt idx="2627">
                  <c:v>18437</c:v>
                </c:pt>
                <c:pt idx="2628">
                  <c:v>46775</c:v>
                </c:pt>
                <c:pt idx="2629">
                  <c:v>4207</c:v>
                </c:pt>
                <c:pt idx="2630">
                  <c:v>4220</c:v>
                </c:pt>
                <c:pt idx="2631">
                  <c:v>32462</c:v>
                </c:pt>
                <c:pt idx="2632">
                  <c:v>29580</c:v>
                </c:pt>
                <c:pt idx="2633">
                  <c:v>10049</c:v>
                </c:pt>
                <c:pt idx="2634">
                  <c:v>28519</c:v>
                </c:pt>
                <c:pt idx="2635">
                  <c:v>9518</c:v>
                </c:pt>
                <c:pt idx="2636">
                  <c:v>23273</c:v>
                </c:pt>
                <c:pt idx="2637">
                  <c:v>17757</c:v>
                </c:pt>
                <c:pt idx="2638">
                  <c:v>14513</c:v>
                </c:pt>
                <c:pt idx="2639">
                  <c:v>28295</c:v>
                </c:pt>
                <c:pt idx="2640">
                  <c:v>7033</c:v>
                </c:pt>
                <c:pt idx="2641">
                  <c:v>7352</c:v>
                </c:pt>
                <c:pt idx="2642">
                  <c:v>10396</c:v>
                </c:pt>
                <c:pt idx="2643">
                  <c:v>8364</c:v>
                </c:pt>
                <c:pt idx="2644">
                  <c:v>35532</c:v>
                </c:pt>
                <c:pt idx="2645">
                  <c:v>3976</c:v>
                </c:pt>
                <c:pt idx="2646">
                  <c:v>18480</c:v>
                </c:pt>
                <c:pt idx="2647">
                  <c:v>53894</c:v>
                </c:pt>
                <c:pt idx="2648">
                  <c:v>41100</c:v>
                </c:pt>
                <c:pt idx="2649">
                  <c:v>8413</c:v>
                </c:pt>
                <c:pt idx="2650">
                  <c:v>20892</c:v>
                </c:pt>
                <c:pt idx="2651">
                  <c:v>20782</c:v>
                </c:pt>
                <c:pt idx="2652">
                  <c:v>21068</c:v>
                </c:pt>
                <c:pt idx="2653">
                  <c:v>46463</c:v>
                </c:pt>
                <c:pt idx="2654">
                  <c:v>25333</c:v>
                </c:pt>
                <c:pt idx="2655">
                  <c:v>44473</c:v>
                </c:pt>
                <c:pt idx="2656">
                  <c:v>17669</c:v>
                </c:pt>
                <c:pt idx="2657">
                  <c:v>37370</c:v>
                </c:pt>
                <c:pt idx="2658">
                  <c:v>3418</c:v>
                </c:pt>
                <c:pt idx="2659">
                  <c:v>57257</c:v>
                </c:pt>
                <c:pt idx="2660">
                  <c:v>16912</c:v>
                </c:pt>
                <c:pt idx="2661">
                  <c:v>13038</c:v>
                </c:pt>
                <c:pt idx="2662">
                  <c:v>278151</c:v>
                </c:pt>
                <c:pt idx="2663">
                  <c:v>2510</c:v>
                </c:pt>
                <c:pt idx="2664">
                  <c:v>26151</c:v>
                </c:pt>
                <c:pt idx="2665">
                  <c:v>16339</c:v>
                </c:pt>
                <c:pt idx="2666">
                  <c:v>62686</c:v>
                </c:pt>
                <c:pt idx="2667">
                  <c:v>42570</c:v>
                </c:pt>
                <c:pt idx="2668">
                  <c:v>8419</c:v>
                </c:pt>
                <c:pt idx="2669">
                  <c:v>5394</c:v>
                </c:pt>
                <c:pt idx="2670">
                  <c:v>5666</c:v>
                </c:pt>
                <c:pt idx="2671">
                  <c:v>29811</c:v>
                </c:pt>
                <c:pt idx="2672">
                  <c:v>11219</c:v>
                </c:pt>
                <c:pt idx="2673">
                  <c:v>12770</c:v>
                </c:pt>
                <c:pt idx="2674">
                  <c:v>13798</c:v>
                </c:pt>
                <c:pt idx="2675">
                  <c:v>11211</c:v>
                </c:pt>
                <c:pt idx="2676">
                  <c:v>3076</c:v>
                </c:pt>
                <c:pt idx="2677">
                  <c:v>5718</c:v>
                </c:pt>
                <c:pt idx="2678">
                  <c:v>2192</c:v>
                </c:pt>
                <c:pt idx="2679">
                  <c:v>40725</c:v>
                </c:pt>
                <c:pt idx="2680">
                  <c:v>33505</c:v>
                </c:pt>
                <c:pt idx="2681">
                  <c:v>20291</c:v>
                </c:pt>
                <c:pt idx="2682">
                  <c:v>7429</c:v>
                </c:pt>
                <c:pt idx="2683">
                  <c:v>26650</c:v>
                </c:pt>
                <c:pt idx="2684">
                  <c:v>8987</c:v>
                </c:pt>
                <c:pt idx="2685">
                  <c:v>24408</c:v>
                </c:pt>
                <c:pt idx="2686">
                  <c:v>30692</c:v>
                </c:pt>
                <c:pt idx="2687">
                  <c:v>70308</c:v>
                </c:pt>
                <c:pt idx="2688">
                  <c:v>145729</c:v>
                </c:pt>
                <c:pt idx="2689">
                  <c:v>8242</c:v>
                </c:pt>
                <c:pt idx="2690">
                  <c:v>7135</c:v>
                </c:pt>
                <c:pt idx="2691">
                  <c:v>12672</c:v>
                </c:pt>
                <c:pt idx="2692">
                  <c:v>13412</c:v>
                </c:pt>
                <c:pt idx="2693">
                  <c:v>19658</c:v>
                </c:pt>
                <c:pt idx="2694">
                  <c:v>12365</c:v>
                </c:pt>
                <c:pt idx="2695">
                  <c:v>57515</c:v>
                </c:pt>
                <c:pt idx="2696">
                  <c:v>30179</c:v>
                </c:pt>
                <c:pt idx="2697">
                  <c:v>5974</c:v>
                </c:pt>
                <c:pt idx="2698">
                  <c:v>60467</c:v>
                </c:pt>
                <c:pt idx="2699">
                  <c:v>76804</c:v>
                </c:pt>
                <c:pt idx="2700">
                  <c:v>20523</c:v>
                </c:pt>
                <c:pt idx="2701">
                  <c:v>20107</c:v>
                </c:pt>
                <c:pt idx="2702">
                  <c:v>24902</c:v>
                </c:pt>
                <c:pt idx="2703">
                  <c:v>11113</c:v>
                </c:pt>
                <c:pt idx="2704">
                  <c:v>10784</c:v>
                </c:pt>
                <c:pt idx="2705">
                  <c:v>4345</c:v>
                </c:pt>
                <c:pt idx="2706">
                  <c:v>3920</c:v>
                </c:pt>
                <c:pt idx="2707">
                  <c:v>51242</c:v>
                </c:pt>
                <c:pt idx="2708">
                  <c:v>29582</c:v>
                </c:pt>
                <c:pt idx="2709">
                  <c:v>14801</c:v>
                </c:pt>
                <c:pt idx="2710">
                  <c:v>26170</c:v>
                </c:pt>
                <c:pt idx="2711">
                  <c:v>25010</c:v>
                </c:pt>
                <c:pt idx="2712">
                  <c:v>11477</c:v>
                </c:pt>
                <c:pt idx="2713">
                  <c:v>13202</c:v>
                </c:pt>
                <c:pt idx="2714">
                  <c:v>25999</c:v>
                </c:pt>
                <c:pt idx="2715">
                  <c:v>11778</c:v>
                </c:pt>
                <c:pt idx="2716">
                  <c:v>3812</c:v>
                </c:pt>
                <c:pt idx="2717">
                  <c:v>12024</c:v>
                </c:pt>
                <c:pt idx="2718">
                  <c:v>4049</c:v>
                </c:pt>
                <c:pt idx="2719">
                  <c:v>30186</c:v>
                </c:pt>
                <c:pt idx="2720">
                  <c:v>20298</c:v>
                </c:pt>
                <c:pt idx="2721">
                  <c:v>16730</c:v>
                </c:pt>
                <c:pt idx="2722">
                  <c:v>5805</c:v>
                </c:pt>
                <c:pt idx="2723">
                  <c:v>6240</c:v>
                </c:pt>
                <c:pt idx="2724">
                  <c:v>22511</c:v>
                </c:pt>
                <c:pt idx="2725">
                  <c:v>13973</c:v>
                </c:pt>
                <c:pt idx="2726">
                  <c:v>9451</c:v>
                </c:pt>
                <c:pt idx="2727">
                  <c:v>8020</c:v>
                </c:pt>
                <c:pt idx="2728">
                  <c:v>18781</c:v>
                </c:pt>
                <c:pt idx="2729">
                  <c:v>14313</c:v>
                </c:pt>
                <c:pt idx="2730">
                  <c:v>11714</c:v>
                </c:pt>
                <c:pt idx="2731">
                  <c:v>10200</c:v>
                </c:pt>
                <c:pt idx="2732">
                  <c:v>24737</c:v>
                </c:pt>
                <c:pt idx="2733">
                  <c:v>3576</c:v>
                </c:pt>
                <c:pt idx="2734">
                  <c:v>3671</c:v>
                </c:pt>
                <c:pt idx="2735">
                  <c:v>21439</c:v>
                </c:pt>
                <c:pt idx="2736">
                  <c:v>3342</c:v>
                </c:pt>
                <c:pt idx="2737">
                  <c:v>39122</c:v>
                </c:pt>
                <c:pt idx="2738">
                  <c:v>4129</c:v>
                </c:pt>
                <c:pt idx="2739">
                  <c:v>51518</c:v>
                </c:pt>
                <c:pt idx="2740">
                  <c:v>9704</c:v>
                </c:pt>
                <c:pt idx="2741">
                  <c:v>10620</c:v>
                </c:pt>
                <c:pt idx="2742">
                  <c:v>55115</c:v>
                </c:pt>
                <c:pt idx="2743">
                  <c:v>22691</c:v>
                </c:pt>
                <c:pt idx="2744">
                  <c:v>21940</c:v>
                </c:pt>
                <c:pt idx="2745">
                  <c:v>2865</c:v>
                </c:pt>
                <c:pt idx="2746">
                  <c:v>18450</c:v>
                </c:pt>
                <c:pt idx="2747">
                  <c:v>24251</c:v>
                </c:pt>
                <c:pt idx="2748">
                  <c:v>16087</c:v>
                </c:pt>
                <c:pt idx="2749">
                  <c:v>20908</c:v>
                </c:pt>
                <c:pt idx="2750">
                  <c:v>8175</c:v>
                </c:pt>
                <c:pt idx="2751">
                  <c:v>8442</c:v>
                </c:pt>
                <c:pt idx="2752">
                  <c:v>17004</c:v>
                </c:pt>
                <c:pt idx="2753">
                  <c:v>8504</c:v>
                </c:pt>
                <c:pt idx="2754">
                  <c:v>7225</c:v>
                </c:pt>
                <c:pt idx="2755">
                  <c:v>3046</c:v>
                </c:pt>
                <c:pt idx="2756">
                  <c:v>24218</c:v>
                </c:pt>
                <c:pt idx="2757">
                  <c:v>17994</c:v>
                </c:pt>
                <c:pt idx="2758">
                  <c:v>21142</c:v>
                </c:pt>
                <c:pt idx="2759">
                  <c:v>41335</c:v>
                </c:pt>
                <c:pt idx="2760">
                  <c:v>7697</c:v>
                </c:pt>
                <c:pt idx="2761">
                  <c:v>126829</c:v>
                </c:pt>
                <c:pt idx="2762">
                  <c:v>11013</c:v>
                </c:pt>
                <c:pt idx="2763">
                  <c:v>9293</c:v>
                </c:pt>
                <c:pt idx="2764">
                  <c:v>218686</c:v>
                </c:pt>
                <c:pt idx="2765">
                  <c:v>24951</c:v>
                </c:pt>
                <c:pt idx="2766">
                  <c:v>56903</c:v>
                </c:pt>
                <c:pt idx="2767">
                  <c:v>67903</c:v>
                </c:pt>
                <c:pt idx="2768">
                  <c:v>2922</c:v>
                </c:pt>
                <c:pt idx="2769">
                  <c:v>9332</c:v>
                </c:pt>
                <c:pt idx="2770">
                  <c:v>6674</c:v>
                </c:pt>
                <c:pt idx="2771">
                  <c:v>14479</c:v>
                </c:pt>
                <c:pt idx="2772">
                  <c:v>24203</c:v>
                </c:pt>
                <c:pt idx="2773">
                  <c:v>44080</c:v>
                </c:pt>
                <c:pt idx="2774">
                  <c:v>30864</c:v>
                </c:pt>
                <c:pt idx="2775">
                  <c:v>10086</c:v>
                </c:pt>
                <c:pt idx="2776">
                  <c:v>11833</c:v>
                </c:pt>
                <c:pt idx="2777">
                  <c:v>16198</c:v>
                </c:pt>
                <c:pt idx="2778">
                  <c:v>14521</c:v>
                </c:pt>
                <c:pt idx="2779">
                  <c:v>6696</c:v>
                </c:pt>
                <c:pt idx="2780">
                  <c:v>55280</c:v>
                </c:pt>
                <c:pt idx="2781">
                  <c:v>16215</c:v>
                </c:pt>
                <c:pt idx="2782">
                  <c:v>5823</c:v>
                </c:pt>
                <c:pt idx="2783">
                  <c:v>8470</c:v>
                </c:pt>
                <c:pt idx="2784">
                  <c:v>14991</c:v>
                </c:pt>
                <c:pt idx="2785">
                  <c:v>64318</c:v>
                </c:pt>
                <c:pt idx="2786">
                  <c:v>48480</c:v>
                </c:pt>
                <c:pt idx="2787">
                  <c:v>30967</c:v>
                </c:pt>
                <c:pt idx="2788">
                  <c:v>9812</c:v>
                </c:pt>
                <c:pt idx="2789">
                  <c:v>27025</c:v>
                </c:pt>
                <c:pt idx="2790">
                  <c:v>11329</c:v>
                </c:pt>
                <c:pt idx="2791">
                  <c:v>9116</c:v>
                </c:pt>
                <c:pt idx="2792">
                  <c:v>10269</c:v>
                </c:pt>
                <c:pt idx="2793">
                  <c:v>12509</c:v>
                </c:pt>
                <c:pt idx="2794">
                  <c:v>40845</c:v>
                </c:pt>
                <c:pt idx="2795">
                  <c:v>31747</c:v>
                </c:pt>
                <c:pt idx="2796">
                  <c:v>36038</c:v>
                </c:pt>
                <c:pt idx="2797">
                  <c:v>9444</c:v>
                </c:pt>
                <c:pt idx="2798">
                  <c:v>16746</c:v>
                </c:pt>
                <c:pt idx="2799">
                  <c:v>5161</c:v>
                </c:pt>
                <c:pt idx="2800">
                  <c:v>9722</c:v>
                </c:pt>
                <c:pt idx="2801">
                  <c:v>127744</c:v>
                </c:pt>
                <c:pt idx="2802">
                  <c:v>6826</c:v>
                </c:pt>
                <c:pt idx="2803">
                  <c:v>13194</c:v>
                </c:pt>
                <c:pt idx="2804">
                  <c:v>11946</c:v>
                </c:pt>
                <c:pt idx="2805">
                  <c:v>5905</c:v>
                </c:pt>
                <c:pt idx="2806">
                  <c:v>27831</c:v>
                </c:pt>
                <c:pt idx="2807">
                  <c:v>27324</c:v>
                </c:pt>
                <c:pt idx="2808">
                  <c:v>9345</c:v>
                </c:pt>
                <c:pt idx="2809">
                  <c:v>7591</c:v>
                </c:pt>
                <c:pt idx="2810">
                  <c:v>5668</c:v>
                </c:pt>
                <c:pt idx="2811">
                  <c:v>5853</c:v>
                </c:pt>
                <c:pt idx="2812">
                  <c:v>24639</c:v>
                </c:pt>
                <c:pt idx="2813">
                  <c:v>142571</c:v>
                </c:pt>
                <c:pt idx="2814">
                  <c:v>37756</c:v>
                </c:pt>
                <c:pt idx="2815">
                  <c:v>6774</c:v>
                </c:pt>
                <c:pt idx="2816">
                  <c:v>4973</c:v>
                </c:pt>
                <c:pt idx="2817">
                  <c:v>34713</c:v>
                </c:pt>
                <c:pt idx="2818">
                  <c:v>35417</c:v>
                </c:pt>
                <c:pt idx="2819">
                  <c:v>14681</c:v>
                </c:pt>
                <c:pt idx="2820">
                  <c:v>33896</c:v>
                </c:pt>
                <c:pt idx="2821">
                  <c:v>1806</c:v>
                </c:pt>
                <c:pt idx="2822">
                  <c:v>22286</c:v>
                </c:pt>
                <c:pt idx="2823">
                  <c:v>11504</c:v>
                </c:pt>
                <c:pt idx="2824">
                  <c:v>66668</c:v>
                </c:pt>
                <c:pt idx="2825">
                  <c:v>8241</c:v>
                </c:pt>
                <c:pt idx="2826">
                  <c:v>50082</c:v>
                </c:pt>
                <c:pt idx="2827">
                  <c:v>19697</c:v>
                </c:pt>
                <c:pt idx="2828">
                  <c:v>6706</c:v>
                </c:pt>
                <c:pt idx="2829">
                  <c:v>20959</c:v>
                </c:pt>
                <c:pt idx="2830">
                  <c:v>36171</c:v>
                </c:pt>
                <c:pt idx="2831">
                  <c:v>9128</c:v>
                </c:pt>
                <c:pt idx="2832">
                  <c:v>2199</c:v>
                </c:pt>
                <c:pt idx="2833">
                  <c:v>3975</c:v>
                </c:pt>
                <c:pt idx="2834">
                  <c:v>23262</c:v>
                </c:pt>
                <c:pt idx="2835">
                  <c:v>76018</c:v>
                </c:pt>
                <c:pt idx="2836">
                  <c:v>5915</c:v>
                </c:pt>
                <c:pt idx="2837">
                  <c:v>4092</c:v>
                </c:pt>
                <c:pt idx="2838">
                  <c:v>9919</c:v>
                </c:pt>
                <c:pt idx="2839">
                  <c:v>979</c:v>
                </c:pt>
                <c:pt idx="2840">
                  <c:v>5655</c:v>
                </c:pt>
                <c:pt idx="2841">
                  <c:v>65992</c:v>
                </c:pt>
                <c:pt idx="2842">
                  <c:v>7853</c:v>
                </c:pt>
                <c:pt idx="2843">
                  <c:v>20265</c:v>
                </c:pt>
                <c:pt idx="2844">
                  <c:v>10592</c:v>
                </c:pt>
                <c:pt idx="2845">
                  <c:v>1066</c:v>
                </c:pt>
                <c:pt idx="2846">
                  <c:v>3705</c:v>
                </c:pt>
                <c:pt idx="2847">
                  <c:v>19951</c:v>
                </c:pt>
                <c:pt idx="2848">
                  <c:v>1468937</c:v>
                </c:pt>
                <c:pt idx="2849">
                  <c:v>23014</c:v>
                </c:pt>
                <c:pt idx="2850">
                  <c:v>2712217</c:v>
                </c:pt>
                <c:pt idx="2851">
                  <c:v>2245</c:v>
                </c:pt>
                <c:pt idx="2852">
                  <c:v>490794</c:v>
                </c:pt>
                <c:pt idx="2853">
                  <c:v>4423</c:v>
                </c:pt>
                <c:pt idx="2854">
                  <c:v>2828</c:v>
                </c:pt>
                <c:pt idx="2855">
                  <c:v>3150</c:v>
                </c:pt>
                <c:pt idx="2856">
                  <c:v>2265</c:v>
                </c:pt>
                <c:pt idx="2857">
                  <c:v>6781</c:v>
                </c:pt>
                <c:pt idx="2858">
                  <c:v>21605</c:v>
                </c:pt>
                <c:pt idx="2859">
                  <c:v>6075</c:v>
                </c:pt>
                <c:pt idx="2860">
                  <c:v>16151</c:v>
                </c:pt>
                <c:pt idx="2861">
                  <c:v>28458</c:v>
                </c:pt>
                <c:pt idx="2862">
                  <c:v>12960</c:v>
                </c:pt>
                <c:pt idx="2863">
                  <c:v>11912</c:v>
                </c:pt>
                <c:pt idx="2864">
                  <c:v>4725</c:v>
                </c:pt>
                <c:pt idx="2865">
                  <c:v>24340</c:v>
                </c:pt>
                <c:pt idx="2866">
                  <c:v>10650</c:v>
                </c:pt>
                <c:pt idx="2867">
                  <c:v>1393</c:v>
                </c:pt>
                <c:pt idx="2868">
                  <c:v>8079</c:v>
                </c:pt>
                <c:pt idx="2869">
                  <c:v>3794</c:v>
                </c:pt>
                <c:pt idx="2870">
                  <c:v>10211</c:v>
                </c:pt>
                <c:pt idx="2871">
                  <c:v>8450</c:v>
                </c:pt>
                <c:pt idx="2872">
                  <c:v>8244</c:v>
                </c:pt>
                <c:pt idx="2873">
                  <c:v>7889</c:v>
                </c:pt>
                <c:pt idx="2874">
                  <c:v>29213</c:v>
                </c:pt>
                <c:pt idx="2875">
                  <c:v>36756</c:v>
                </c:pt>
                <c:pt idx="2876">
                  <c:v>9697</c:v>
                </c:pt>
                <c:pt idx="2877">
                  <c:v>1534</c:v>
                </c:pt>
                <c:pt idx="2878">
                  <c:v>2971</c:v>
                </c:pt>
                <c:pt idx="2879">
                  <c:v>13267</c:v>
                </c:pt>
                <c:pt idx="2880">
                  <c:v>2242</c:v>
                </c:pt>
                <c:pt idx="2881">
                  <c:v>12753</c:v>
                </c:pt>
                <c:pt idx="2882">
                  <c:v>9702</c:v>
                </c:pt>
                <c:pt idx="2883">
                  <c:v>7195</c:v>
                </c:pt>
                <c:pt idx="2884">
                  <c:v>17233</c:v>
                </c:pt>
                <c:pt idx="2885">
                  <c:v>11916</c:v>
                </c:pt>
                <c:pt idx="2886">
                  <c:v>44139</c:v>
                </c:pt>
                <c:pt idx="2887">
                  <c:v>5156</c:v>
                </c:pt>
                <c:pt idx="2888">
                  <c:v>11638</c:v>
                </c:pt>
                <c:pt idx="2889">
                  <c:v>7872</c:v>
                </c:pt>
                <c:pt idx="2890">
                  <c:v>23236</c:v>
                </c:pt>
                <c:pt idx="2891">
                  <c:v>27295</c:v>
                </c:pt>
                <c:pt idx="2892">
                  <c:v>28896</c:v>
                </c:pt>
                <c:pt idx="2893">
                  <c:v>8776</c:v>
                </c:pt>
                <c:pt idx="2894">
                  <c:v>21674</c:v>
                </c:pt>
                <c:pt idx="2895">
                  <c:v>29374</c:v>
                </c:pt>
                <c:pt idx="2896">
                  <c:v>5441</c:v>
                </c:pt>
                <c:pt idx="2897">
                  <c:v>19031</c:v>
                </c:pt>
                <c:pt idx="2898">
                  <c:v>5934</c:v>
                </c:pt>
                <c:pt idx="2899">
                  <c:v>116469</c:v>
                </c:pt>
                <c:pt idx="2900">
                  <c:v>28158</c:v>
                </c:pt>
                <c:pt idx="2901">
                  <c:v>20901</c:v>
                </c:pt>
                <c:pt idx="2902">
                  <c:v>6405</c:v>
                </c:pt>
                <c:pt idx="2903">
                  <c:v>938</c:v>
                </c:pt>
                <c:pt idx="2904">
                  <c:v>13071</c:v>
                </c:pt>
                <c:pt idx="2905">
                  <c:v>5051</c:v>
                </c:pt>
                <c:pt idx="2906">
                  <c:v>878</c:v>
                </c:pt>
                <c:pt idx="2907">
                  <c:v>4078</c:v>
                </c:pt>
                <c:pt idx="2908">
                  <c:v>9014</c:v>
                </c:pt>
                <c:pt idx="2909">
                  <c:v>26306</c:v>
                </c:pt>
                <c:pt idx="2910">
                  <c:v>4133</c:v>
                </c:pt>
                <c:pt idx="2911">
                  <c:v>5848</c:v>
                </c:pt>
                <c:pt idx="2912">
                  <c:v>25644</c:v>
                </c:pt>
                <c:pt idx="2913">
                  <c:v>6260</c:v>
                </c:pt>
                <c:pt idx="2914">
                  <c:v>11622</c:v>
                </c:pt>
                <c:pt idx="2915">
                  <c:v>4834</c:v>
                </c:pt>
                <c:pt idx="2916">
                  <c:v>5033</c:v>
                </c:pt>
                <c:pt idx="2917">
                  <c:v>2277</c:v>
                </c:pt>
                <c:pt idx="2918">
                  <c:v>14928</c:v>
                </c:pt>
                <c:pt idx="2919">
                  <c:v>19498</c:v>
                </c:pt>
                <c:pt idx="2920">
                  <c:v>18053</c:v>
                </c:pt>
                <c:pt idx="2921">
                  <c:v>61330</c:v>
                </c:pt>
                <c:pt idx="2922">
                  <c:v>10072</c:v>
                </c:pt>
                <c:pt idx="2923">
                  <c:v>20819</c:v>
                </c:pt>
                <c:pt idx="2924">
                  <c:v>13099</c:v>
                </c:pt>
                <c:pt idx="2925">
                  <c:v>38078</c:v>
                </c:pt>
                <c:pt idx="2926">
                  <c:v>31115</c:v>
                </c:pt>
                <c:pt idx="2927">
                  <c:v>7654</c:v>
                </c:pt>
                <c:pt idx="2928">
                  <c:v>17177</c:v>
                </c:pt>
                <c:pt idx="2929">
                  <c:v>14300</c:v>
                </c:pt>
                <c:pt idx="2930">
                  <c:v>10222</c:v>
                </c:pt>
                <c:pt idx="2931">
                  <c:v>2426</c:v>
                </c:pt>
                <c:pt idx="2932">
                  <c:v>6866</c:v>
                </c:pt>
                <c:pt idx="2933">
                  <c:v>102104</c:v>
                </c:pt>
                <c:pt idx="2934">
                  <c:v>37536</c:v>
                </c:pt>
                <c:pt idx="2935">
                  <c:v>46200</c:v>
                </c:pt>
                <c:pt idx="2936">
                  <c:v>9717</c:v>
                </c:pt>
                <c:pt idx="2937">
                  <c:v>43779</c:v>
                </c:pt>
                <c:pt idx="2938">
                  <c:v>4342</c:v>
                </c:pt>
                <c:pt idx="2939">
                  <c:v>43264</c:v>
                </c:pt>
                <c:pt idx="2940">
                  <c:v>84944</c:v>
                </c:pt>
                <c:pt idx="2941">
                  <c:v>33123</c:v>
                </c:pt>
                <c:pt idx="2942">
                  <c:v>12919</c:v>
                </c:pt>
                <c:pt idx="2943">
                  <c:v>19401</c:v>
                </c:pt>
                <c:pt idx="2944">
                  <c:v>12757</c:v>
                </c:pt>
                <c:pt idx="2945">
                  <c:v>15633</c:v>
                </c:pt>
                <c:pt idx="2946">
                  <c:v>26818</c:v>
                </c:pt>
                <c:pt idx="2947">
                  <c:v>3992</c:v>
                </c:pt>
                <c:pt idx="2948">
                  <c:v>214758</c:v>
                </c:pt>
                <c:pt idx="2949">
                  <c:v>2839</c:v>
                </c:pt>
                <c:pt idx="2950">
                  <c:v>76091</c:v>
                </c:pt>
                <c:pt idx="2951">
                  <c:v>3349</c:v>
                </c:pt>
                <c:pt idx="2952">
                  <c:v>9866</c:v>
                </c:pt>
                <c:pt idx="2953">
                  <c:v>901</c:v>
                </c:pt>
                <c:pt idx="2954">
                  <c:v>6281</c:v>
                </c:pt>
                <c:pt idx="2955">
                  <c:v>7651</c:v>
                </c:pt>
                <c:pt idx="2956">
                  <c:v>25637</c:v>
                </c:pt>
                <c:pt idx="2957">
                  <c:v>13453</c:v>
                </c:pt>
                <c:pt idx="2958">
                  <c:v>44788</c:v>
                </c:pt>
                <c:pt idx="2959">
                  <c:v>4699</c:v>
                </c:pt>
                <c:pt idx="2960">
                  <c:v>59361</c:v>
                </c:pt>
                <c:pt idx="2961">
                  <c:v>24243</c:v>
                </c:pt>
                <c:pt idx="2962">
                  <c:v>18314</c:v>
                </c:pt>
                <c:pt idx="2963">
                  <c:v>28550</c:v>
                </c:pt>
                <c:pt idx="2964">
                  <c:v>8477</c:v>
                </c:pt>
                <c:pt idx="2965">
                  <c:v>4251</c:v>
                </c:pt>
                <c:pt idx="2966">
                  <c:v>11349</c:v>
                </c:pt>
                <c:pt idx="2967">
                  <c:v>19210</c:v>
                </c:pt>
                <c:pt idx="2968">
                  <c:v>7528</c:v>
                </c:pt>
                <c:pt idx="2969">
                  <c:v>29384</c:v>
                </c:pt>
                <c:pt idx="2970">
                  <c:v>11841</c:v>
                </c:pt>
                <c:pt idx="2971">
                  <c:v>16426</c:v>
                </c:pt>
                <c:pt idx="2972">
                  <c:v>6917</c:v>
                </c:pt>
                <c:pt idx="2973">
                  <c:v>14838</c:v>
                </c:pt>
                <c:pt idx="2974">
                  <c:v>23048</c:v>
                </c:pt>
                <c:pt idx="2975">
                  <c:v>1813</c:v>
                </c:pt>
                <c:pt idx="2976">
                  <c:v>13859</c:v>
                </c:pt>
                <c:pt idx="2977">
                  <c:v>9566</c:v>
                </c:pt>
                <c:pt idx="2978">
                  <c:v>6090</c:v>
                </c:pt>
                <c:pt idx="2979">
                  <c:v>21340</c:v>
                </c:pt>
                <c:pt idx="2980">
                  <c:v>6353</c:v>
                </c:pt>
                <c:pt idx="2981">
                  <c:v>29434</c:v>
                </c:pt>
                <c:pt idx="2982">
                  <c:v>10469</c:v>
                </c:pt>
                <c:pt idx="2983">
                  <c:v>3905</c:v>
                </c:pt>
                <c:pt idx="2984">
                  <c:v>6211</c:v>
                </c:pt>
                <c:pt idx="2985">
                  <c:v>6612</c:v>
                </c:pt>
                <c:pt idx="2986">
                  <c:v>4863</c:v>
                </c:pt>
                <c:pt idx="2987">
                  <c:v>44452</c:v>
                </c:pt>
                <c:pt idx="2988">
                  <c:v>6273</c:v>
                </c:pt>
                <c:pt idx="2989">
                  <c:v>17027</c:v>
                </c:pt>
                <c:pt idx="2990">
                  <c:v>2513</c:v>
                </c:pt>
                <c:pt idx="2991">
                  <c:v>13546</c:v>
                </c:pt>
                <c:pt idx="2992">
                  <c:v>13807</c:v>
                </c:pt>
                <c:pt idx="2993">
                  <c:v>16578</c:v>
                </c:pt>
                <c:pt idx="2994">
                  <c:v>60673</c:v>
                </c:pt>
                <c:pt idx="2995">
                  <c:v>9748</c:v>
                </c:pt>
                <c:pt idx="2996">
                  <c:v>8234</c:v>
                </c:pt>
                <c:pt idx="2997">
                  <c:v>41099</c:v>
                </c:pt>
                <c:pt idx="2998">
                  <c:v>13675</c:v>
                </c:pt>
                <c:pt idx="2999">
                  <c:v>4900</c:v>
                </c:pt>
                <c:pt idx="3000">
                  <c:v>18154</c:v>
                </c:pt>
                <c:pt idx="3001">
                  <c:v>3512</c:v>
                </c:pt>
                <c:pt idx="3002">
                  <c:v>27172</c:v>
                </c:pt>
                <c:pt idx="3003">
                  <c:v>30983</c:v>
                </c:pt>
                <c:pt idx="3004">
                  <c:v>12946</c:v>
                </c:pt>
                <c:pt idx="3005">
                  <c:v>6642</c:v>
                </c:pt>
                <c:pt idx="3006">
                  <c:v>9407</c:v>
                </c:pt>
                <c:pt idx="3007">
                  <c:v>5701</c:v>
                </c:pt>
                <c:pt idx="3008">
                  <c:v>26101</c:v>
                </c:pt>
                <c:pt idx="3009">
                  <c:v>12569</c:v>
                </c:pt>
                <c:pt idx="3010">
                  <c:v>21004</c:v>
                </c:pt>
                <c:pt idx="3011">
                  <c:v>30915</c:v>
                </c:pt>
                <c:pt idx="3012">
                  <c:v>18194</c:v>
                </c:pt>
                <c:pt idx="3013">
                  <c:v>778</c:v>
                </c:pt>
                <c:pt idx="3014">
                  <c:v>42406</c:v>
                </c:pt>
                <c:pt idx="3015">
                  <c:v>67873</c:v>
                </c:pt>
                <c:pt idx="3016">
                  <c:v>14311</c:v>
                </c:pt>
                <c:pt idx="3017">
                  <c:v>2961</c:v>
                </c:pt>
                <c:pt idx="3018">
                  <c:v>8758</c:v>
                </c:pt>
                <c:pt idx="3019">
                  <c:v>3541</c:v>
                </c:pt>
                <c:pt idx="3020">
                  <c:v>13746</c:v>
                </c:pt>
                <c:pt idx="3021">
                  <c:v>9146</c:v>
                </c:pt>
                <c:pt idx="3022">
                  <c:v>67252</c:v>
                </c:pt>
                <c:pt idx="3023">
                  <c:v>254768</c:v>
                </c:pt>
                <c:pt idx="3024">
                  <c:v>39250</c:v>
                </c:pt>
                <c:pt idx="3025">
                  <c:v>13361</c:v>
                </c:pt>
                <c:pt idx="3026">
                  <c:v>12472</c:v>
                </c:pt>
                <c:pt idx="3027">
                  <c:v>11124</c:v>
                </c:pt>
                <c:pt idx="3028">
                  <c:v>20351</c:v>
                </c:pt>
                <c:pt idx="3029">
                  <c:v>17884</c:v>
                </c:pt>
                <c:pt idx="3030">
                  <c:v>35225</c:v>
                </c:pt>
                <c:pt idx="3031">
                  <c:v>3106</c:v>
                </c:pt>
                <c:pt idx="3032">
                  <c:v>3580</c:v>
                </c:pt>
                <c:pt idx="3033">
                  <c:v>9107</c:v>
                </c:pt>
                <c:pt idx="3034">
                  <c:v>12352</c:v>
                </c:pt>
                <c:pt idx="3035">
                  <c:v>4633</c:v>
                </c:pt>
                <c:pt idx="3036">
                  <c:v>34961</c:v>
                </c:pt>
                <c:pt idx="3037">
                  <c:v>17424</c:v>
                </c:pt>
                <c:pt idx="3038">
                  <c:v>19825</c:v>
                </c:pt>
                <c:pt idx="3039">
                  <c:v>8397</c:v>
                </c:pt>
                <c:pt idx="3040">
                  <c:v>43571</c:v>
                </c:pt>
                <c:pt idx="3041">
                  <c:v>7688</c:v>
                </c:pt>
                <c:pt idx="3042">
                  <c:v>45091</c:v>
                </c:pt>
                <c:pt idx="3043">
                  <c:v>8204</c:v>
                </c:pt>
                <c:pt idx="3044">
                  <c:v>19217</c:v>
                </c:pt>
                <c:pt idx="3045">
                  <c:v>51369</c:v>
                </c:pt>
                <c:pt idx="3046">
                  <c:v>5934</c:v>
                </c:pt>
                <c:pt idx="3047">
                  <c:v>2535</c:v>
                </c:pt>
                <c:pt idx="3048">
                  <c:v>50403</c:v>
                </c:pt>
                <c:pt idx="3049">
                  <c:v>39140</c:v>
                </c:pt>
                <c:pt idx="3050">
                  <c:v>33789</c:v>
                </c:pt>
                <c:pt idx="3051">
                  <c:v>8889</c:v>
                </c:pt>
                <c:pt idx="3052">
                  <c:v>22152</c:v>
                </c:pt>
                <c:pt idx="3053">
                  <c:v>7414</c:v>
                </c:pt>
                <c:pt idx="3054">
                  <c:v>10115</c:v>
                </c:pt>
                <c:pt idx="3055">
                  <c:v>26317</c:v>
                </c:pt>
                <c:pt idx="3056">
                  <c:v>14643</c:v>
                </c:pt>
                <c:pt idx="3057">
                  <c:v>21563</c:v>
                </c:pt>
                <c:pt idx="3058">
                  <c:v>1507</c:v>
                </c:pt>
                <c:pt idx="3059">
                  <c:v>17589</c:v>
                </c:pt>
                <c:pt idx="3060">
                  <c:v>17022</c:v>
                </c:pt>
                <c:pt idx="3061">
                  <c:v>12744</c:v>
                </c:pt>
                <c:pt idx="3062">
                  <c:v>7110</c:v>
                </c:pt>
                <c:pt idx="3063">
                  <c:v>1733</c:v>
                </c:pt>
                <c:pt idx="3064">
                  <c:v>5825</c:v>
                </c:pt>
                <c:pt idx="3065">
                  <c:v>39994</c:v>
                </c:pt>
                <c:pt idx="3066">
                  <c:v>54135</c:v>
                </c:pt>
                <c:pt idx="3067">
                  <c:v>22704</c:v>
                </c:pt>
                <c:pt idx="3068">
                  <c:v>16383</c:v>
                </c:pt>
                <c:pt idx="3069">
                  <c:v>17264</c:v>
                </c:pt>
                <c:pt idx="3070">
                  <c:v>14686</c:v>
                </c:pt>
                <c:pt idx="3071">
                  <c:v>4949</c:v>
                </c:pt>
                <c:pt idx="3072">
                  <c:v>2496</c:v>
                </c:pt>
                <c:pt idx="3073">
                  <c:v>16897</c:v>
                </c:pt>
                <c:pt idx="3074">
                  <c:v>29808</c:v>
                </c:pt>
                <c:pt idx="3075">
                  <c:v>10641</c:v>
                </c:pt>
                <c:pt idx="3076">
                  <c:v>19232</c:v>
                </c:pt>
                <c:pt idx="3077">
                  <c:v>34393</c:v>
                </c:pt>
                <c:pt idx="3078">
                  <c:v>7246</c:v>
                </c:pt>
                <c:pt idx="3079">
                  <c:v>14300</c:v>
                </c:pt>
                <c:pt idx="3080">
                  <c:v>39805</c:v>
                </c:pt>
                <c:pt idx="3081">
                  <c:v>65347</c:v>
                </c:pt>
                <c:pt idx="3082">
                  <c:v>1155</c:v>
                </c:pt>
                <c:pt idx="3083">
                  <c:v>13157</c:v>
                </c:pt>
                <c:pt idx="3084">
                  <c:v>21353</c:v>
                </c:pt>
                <c:pt idx="3085">
                  <c:v>1011</c:v>
                </c:pt>
                <c:pt idx="3086">
                  <c:v>7400</c:v>
                </c:pt>
                <c:pt idx="3087">
                  <c:v>61452</c:v>
                </c:pt>
                <c:pt idx="3088">
                  <c:v>46448</c:v>
                </c:pt>
                <c:pt idx="3089">
                  <c:v>10750</c:v>
                </c:pt>
                <c:pt idx="3090">
                  <c:v>12559</c:v>
                </c:pt>
                <c:pt idx="3091">
                  <c:v>2740</c:v>
                </c:pt>
                <c:pt idx="3092">
                  <c:v>5956</c:v>
                </c:pt>
                <c:pt idx="3093">
                  <c:v>15587</c:v>
                </c:pt>
                <c:pt idx="3094">
                  <c:v>4860</c:v>
                </c:pt>
                <c:pt idx="3095">
                  <c:v>11271</c:v>
                </c:pt>
                <c:pt idx="3096">
                  <c:v>39360</c:v>
                </c:pt>
                <c:pt idx="3097">
                  <c:v>26391</c:v>
                </c:pt>
                <c:pt idx="3098">
                  <c:v>14190</c:v>
                </c:pt>
                <c:pt idx="3099">
                  <c:v>30664</c:v>
                </c:pt>
                <c:pt idx="3100">
                  <c:v>3286</c:v>
                </c:pt>
                <c:pt idx="3101">
                  <c:v>16169</c:v>
                </c:pt>
                <c:pt idx="3102">
                  <c:v>42634</c:v>
                </c:pt>
                <c:pt idx="3103">
                  <c:v>18058</c:v>
                </c:pt>
                <c:pt idx="3104">
                  <c:v>77592</c:v>
                </c:pt>
                <c:pt idx="3105">
                  <c:v>26806</c:v>
                </c:pt>
                <c:pt idx="3106">
                  <c:v>3293</c:v>
                </c:pt>
                <c:pt idx="3107">
                  <c:v>13986</c:v>
                </c:pt>
                <c:pt idx="3108">
                  <c:v>55564</c:v>
                </c:pt>
                <c:pt idx="3109">
                  <c:v>47124</c:v>
                </c:pt>
                <c:pt idx="3110">
                  <c:v>17754</c:v>
                </c:pt>
                <c:pt idx="3111">
                  <c:v>44079</c:v>
                </c:pt>
                <c:pt idx="3112">
                  <c:v>21139</c:v>
                </c:pt>
                <c:pt idx="3113">
                  <c:v>13074</c:v>
                </c:pt>
                <c:pt idx="3114">
                  <c:v>15145</c:v>
                </c:pt>
                <c:pt idx="3115">
                  <c:v>8855</c:v>
                </c:pt>
                <c:pt idx="3116">
                  <c:v>39015</c:v>
                </c:pt>
                <c:pt idx="3117">
                  <c:v>29791</c:v>
                </c:pt>
                <c:pt idx="3118">
                  <c:v>15210</c:v>
                </c:pt>
                <c:pt idx="3119">
                  <c:v>4594</c:v>
                </c:pt>
                <c:pt idx="3120">
                  <c:v>17618</c:v>
                </c:pt>
                <c:pt idx="3121">
                  <c:v>12899</c:v>
                </c:pt>
                <c:pt idx="3122">
                  <c:v>21242</c:v>
                </c:pt>
                <c:pt idx="3123">
                  <c:v>12502</c:v>
                </c:pt>
                <c:pt idx="3124">
                  <c:v>5345</c:v>
                </c:pt>
                <c:pt idx="3125">
                  <c:v>30416</c:v>
                </c:pt>
                <c:pt idx="3126">
                  <c:v>35339</c:v>
                </c:pt>
                <c:pt idx="3127">
                  <c:v>3245</c:v>
                </c:pt>
                <c:pt idx="3128">
                  <c:v>11462</c:v>
                </c:pt>
                <c:pt idx="3129">
                  <c:v>10032</c:v>
                </c:pt>
                <c:pt idx="3130">
                  <c:v>60334</c:v>
                </c:pt>
                <c:pt idx="3131">
                  <c:v>9891</c:v>
                </c:pt>
                <c:pt idx="3132">
                  <c:v>1369</c:v>
                </c:pt>
                <c:pt idx="3133">
                  <c:v>9636</c:v>
                </c:pt>
                <c:pt idx="3134">
                  <c:v>3058</c:v>
                </c:pt>
                <c:pt idx="3135">
                  <c:v>46181</c:v>
                </c:pt>
                <c:pt idx="3136">
                  <c:v>7316</c:v>
                </c:pt>
                <c:pt idx="3137">
                  <c:v>15527</c:v>
                </c:pt>
                <c:pt idx="3138">
                  <c:v>25304</c:v>
                </c:pt>
                <c:pt idx="3139">
                  <c:v>12953</c:v>
                </c:pt>
                <c:pt idx="3140">
                  <c:v>19931</c:v>
                </c:pt>
                <c:pt idx="3141">
                  <c:v>12878</c:v>
                </c:pt>
                <c:pt idx="3142">
                  <c:v>6912</c:v>
                </c:pt>
                <c:pt idx="3143">
                  <c:v>13028</c:v>
                </c:pt>
                <c:pt idx="3144">
                  <c:v>33041</c:v>
                </c:pt>
                <c:pt idx="3145">
                  <c:v>30067</c:v>
                </c:pt>
                <c:pt idx="3146">
                  <c:v>34573</c:v>
                </c:pt>
                <c:pt idx="3147">
                  <c:v>10174</c:v>
                </c:pt>
                <c:pt idx="3148">
                  <c:v>12821</c:v>
                </c:pt>
                <c:pt idx="3149">
                  <c:v>11449</c:v>
                </c:pt>
                <c:pt idx="3150">
                  <c:v>4217</c:v>
                </c:pt>
                <c:pt idx="3151">
                  <c:v>41181</c:v>
                </c:pt>
                <c:pt idx="3152">
                  <c:v>4334</c:v>
                </c:pt>
                <c:pt idx="3153">
                  <c:v>9136</c:v>
                </c:pt>
                <c:pt idx="3154">
                  <c:v>23292</c:v>
                </c:pt>
                <c:pt idx="3155">
                  <c:v>14840</c:v>
                </c:pt>
                <c:pt idx="3156">
                  <c:v>31586</c:v>
                </c:pt>
                <c:pt idx="3157">
                  <c:v>14038</c:v>
                </c:pt>
                <c:pt idx="3158">
                  <c:v>84347</c:v>
                </c:pt>
                <c:pt idx="3159">
                  <c:v>6792</c:v>
                </c:pt>
                <c:pt idx="3160">
                  <c:v>6280</c:v>
                </c:pt>
                <c:pt idx="3161">
                  <c:v>6059</c:v>
                </c:pt>
                <c:pt idx="3162">
                  <c:v>75717</c:v>
                </c:pt>
                <c:pt idx="3163">
                  <c:v>27486</c:v>
                </c:pt>
                <c:pt idx="3164">
                  <c:v>542</c:v>
                </c:pt>
                <c:pt idx="3165">
                  <c:v>4988</c:v>
                </c:pt>
                <c:pt idx="3166">
                  <c:v>5301</c:v>
                </c:pt>
                <c:pt idx="3167">
                  <c:v>9167</c:v>
                </c:pt>
                <c:pt idx="3168">
                  <c:v>47019</c:v>
                </c:pt>
                <c:pt idx="3169">
                  <c:v>21623</c:v>
                </c:pt>
                <c:pt idx="3170">
                  <c:v>8762</c:v>
                </c:pt>
                <c:pt idx="3171">
                  <c:v>3777</c:v>
                </c:pt>
                <c:pt idx="3172">
                  <c:v>38938</c:v>
                </c:pt>
                <c:pt idx="3173">
                  <c:v>12878</c:v>
                </c:pt>
                <c:pt idx="3174">
                  <c:v>109111</c:v>
                </c:pt>
                <c:pt idx="3175">
                  <c:v>32534</c:v>
                </c:pt>
                <c:pt idx="3176">
                  <c:v>417231</c:v>
                </c:pt>
                <c:pt idx="3177">
                  <c:v>2061</c:v>
                </c:pt>
                <c:pt idx="3178">
                  <c:v>22432</c:v>
                </c:pt>
                <c:pt idx="3179">
                  <c:v>28462</c:v>
                </c:pt>
                <c:pt idx="3180">
                  <c:v>12092</c:v>
                </c:pt>
                <c:pt idx="3181">
                  <c:v>41215</c:v>
                </c:pt>
                <c:pt idx="3182">
                  <c:v>38713</c:v>
                </c:pt>
                <c:pt idx="3183">
                  <c:v>18143</c:v>
                </c:pt>
                <c:pt idx="3184">
                  <c:v>34063</c:v>
                </c:pt>
                <c:pt idx="3185">
                  <c:v>12828</c:v>
                </c:pt>
                <c:pt idx="3186">
                  <c:v>12125</c:v>
                </c:pt>
                <c:pt idx="3187">
                  <c:v>17901</c:v>
                </c:pt>
                <c:pt idx="3188">
                  <c:v>41782</c:v>
                </c:pt>
                <c:pt idx="3189">
                  <c:v>16114</c:v>
                </c:pt>
                <c:pt idx="3190">
                  <c:v>7014</c:v>
                </c:pt>
                <c:pt idx="3191">
                  <c:v>6930</c:v>
                </c:pt>
                <c:pt idx="3192">
                  <c:v>7135</c:v>
                </c:pt>
                <c:pt idx="3193">
                  <c:v>38788</c:v>
                </c:pt>
                <c:pt idx="3194">
                  <c:v>18196</c:v>
                </c:pt>
                <c:pt idx="3195">
                  <c:v>15388</c:v>
                </c:pt>
                <c:pt idx="3196">
                  <c:v>41532</c:v>
                </c:pt>
                <c:pt idx="3197">
                  <c:v>138481</c:v>
                </c:pt>
                <c:pt idx="3198">
                  <c:v>4718</c:v>
                </c:pt>
                <c:pt idx="3199">
                  <c:v>1711</c:v>
                </c:pt>
                <c:pt idx="3200">
                  <c:v>5084</c:v>
                </c:pt>
                <c:pt idx="3201">
                  <c:v>21830</c:v>
                </c:pt>
                <c:pt idx="3202">
                  <c:v>25251</c:v>
                </c:pt>
                <c:pt idx="3203">
                  <c:v>10581</c:v>
                </c:pt>
                <c:pt idx="3204">
                  <c:v>27621</c:v>
                </c:pt>
                <c:pt idx="3205">
                  <c:v>4285</c:v>
                </c:pt>
                <c:pt idx="3206">
                  <c:v>3933</c:v>
                </c:pt>
                <c:pt idx="3207">
                  <c:v>8381</c:v>
                </c:pt>
                <c:pt idx="3208">
                  <c:v>3181</c:v>
                </c:pt>
                <c:pt idx="3209">
                  <c:v>34815</c:v>
                </c:pt>
                <c:pt idx="3210">
                  <c:v>7042</c:v>
                </c:pt>
                <c:pt idx="3211">
                  <c:v>8349</c:v>
                </c:pt>
                <c:pt idx="3212">
                  <c:v>51831</c:v>
                </c:pt>
                <c:pt idx="3213">
                  <c:v>50107</c:v>
                </c:pt>
                <c:pt idx="3214">
                  <c:v>13481</c:v>
                </c:pt>
                <c:pt idx="3215">
                  <c:v>6769</c:v>
                </c:pt>
                <c:pt idx="3216">
                  <c:v>18939</c:v>
                </c:pt>
                <c:pt idx="3217">
                  <c:v>70743</c:v>
                </c:pt>
                <c:pt idx="3218">
                  <c:v>45661</c:v>
                </c:pt>
                <c:pt idx="3219">
                  <c:v>7705</c:v>
                </c:pt>
                <c:pt idx="3220">
                  <c:v>493194</c:v>
                </c:pt>
                <c:pt idx="3221">
                  <c:v>3325</c:v>
                </c:pt>
                <c:pt idx="3222">
                  <c:v>19319</c:v>
                </c:pt>
                <c:pt idx="3223">
                  <c:v>13579</c:v>
                </c:pt>
                <c:pt idx="3224">
                  <c:v>25214</c:v>
                </c:pt>
                <c:pt idx="3225">
                  <c:v>27575</c:v>
                </c:pt>
                <c:pt idx="3226">
                  <c:v>26075</c:v>
                </c:pt>
                <c:pt idx="3227">
                  <c:v>192814</c:v>
                </c:pt>
                <c:pt idx="3228">
                  <c:v>23392</c:v>
                </c:pt>
                <c:pt idx="3229">
                  <c:v>5309</c:v>
                </c:pt>
                <c:pt idx="3230">
                  <c:v>4784</c:v>
                </c:pt>
                <c:pt idx="3231">
                  <c:v>41956</c:v>
                </c:pt>
                <c:pt idx="3232">
                  <c:v>68372</c:v>
                </c:pt>
                <c:pt idx="3233">
                  <c:v>10239</c:v>
                </c:pt>
                <c:pt idx="3234">
                  <c:v>5419</c:v>
                </c:pt>
                <c:pt idx="3235">
                  <c:v>5325</c:v>
                </c:pt>
                <c:pt idx="3236">
                  <c:v>27150</c:v>
                </c:pt>
                <c:pt idx="3237">
                  <c:v>74293</c:v>
                </c:pt>
                <c:pt idx="3238">
                  <c:v>7105</c:v>
                </c:pt>
                <c:pt idx="3239">
                  <c:v>66333</c:v>
                </c:pt>
                <c:pt idx="3240">
                  <c:v>3220</c:v>
                </c:pt>
                <c:pt idx="3241">
                  <c:v>22847</c:v>
                </c:pt>
                <c:pt idx="3242">
                  <c:v>16144</c:v>
                </c:pt>
                <c:pt idx="3243">
                  <c:v>8879</c:v>
                </c:pt>
                <c:pt idx="3244">
                  <c:v>12147</c:v>
                </c:pt>
                <c:pt idx="3245">
                  <c:v>19255</c:v>
                </c:pt>
                <c:pt idx="3246">
                  <c:v>5993</c:v>
                </c:pt>
                <c:pt idx="3247">
                  <c:v>31350</c:v>
                </c:pt>
                <c:pt idx="3248">
                  <c:v>36849</c:v>
                </c:pt>
                <c:pt idx="3249">
                  <c:v>2418</c:v>
                </c:pt>
                <c:pt idx="3250">
                  <c:v>4423</c:v>
                </c:pt>
                <c:pt idx="3251">
                  <c:v>6251</c:v>
                </c:pt>
                <c:pt idx="3252">
                  <c:v>21024</c:v>
                </c:pt>
                <c:pt idx="3253">
                  <c:v>9591</c:v>
                </c:pt>
                <c:pt idx="3254">
                  <c:v>2093</c:v>
                </c:pt>
                <c:pt idx="3255">
                  <c:v>9783</c:v>
                </c:pt>
                <c:pt idx="3256">
                  <c:v>38695</c:v>
                </c:pt>
                <c:pt idx="3257">
                  <c:v>18277</c:v>
                </c:pt>
                <c:pt idx="3258">
                  <c:v>4433</c:v>
                </c:pt>
                <c:pt idx="3259">
                  <c:v>54214</c:v>
                </c:pt>
                <c:pt idx="3260">
                  <c:v>5482</c:v>
                </c:pt>
                <c:pt idx="3261">
                  <c:v>9219</c:v>
                </c:pt>
                <c:pt idx="3262">
                  <c:v>40344</c:v>
                </c:pt>
                <c:pt idx="3263">
                  <c:v>2135</c:v>
                </c:pt>
                <c:pt idx="3264">
                  <c:v>11740</c:v>
                </c:pt>
                <c:pt idx="3265">
                  <c:v>5019</c:v>
                </c:pt>
                <c:pt idx="3266">
                  <c:v>26207</c:v>
                </c:pt>
                <c:pt idx="3267">
                  <c:v>25839</c:v>
                </c:pt>
                <c:pt idx="3268">
                  <c:v>6937</c:v>
                </c:pt>
                <c:pt idx="3269">
                  <c:v>48436</c:v>
                </c:pt>
                <c:pt idx="3270">
                  <c:v>4717</c:v>
                </c:pt>
                <c:pt idx="3271">
                  <c:v>3636</c:v>
                </c:pt>
                <c:pt idx="3272">
                  <c:v>1049</c:v>
                </c:pt>
                <c:pt idx="3273">
                  <c:v>57495</c:v>
                </c:pt>
                <c:pt idx="3274">
                  <c:v>11155</c:v>
                </c:pt>
                <c:pt idx="3275">
                  <c:v>44030</c:v>
                </c:pt>
                <c:pt idx="3276">
                  <c:v>3805</c:v>
                </c:pt>
                <c:pt idx="3277">
                  <c:v>7558</c:v>
                </c:pt>
                <c:pt idx="3278">
                  <c:v>10431</c:v>
                </c:pt>
                <c:pt idx="3279">
                  <c:v>3930</c:v>
                </c:pt>
                <c:pt idx="3280">
                  <c:v>5055</c:v>
                </c:pt>
                <c:pt idx="3281">
                  <c:v>9137</c:v>
                </c:pt>
                <c:pt idx="3282">
                  <c:v>42704</c:v>
                </c:pt>
                <c:pt idx="3283">
                  <c:v>85255</c:v>
                </c:pt>
                <c:pt idx="3284">
                  <c:v>7109</c:v>
                </c:pt>
                <c:pt idx="3285">
                  <c:v>188289</c:v>
                </c:pt>
                <c:pt idx="3286">
                  <c:v>29195</c:v>
                </c:pt>
                <c:pt idx="3287">
                  <c:v>2123</c:v>
                </c:pt>
                <c:pt idx="3288">
                  <c:v>7714</c:v>
                </c:pt>
                <c:pt idx="3289">
                  <c:v>869</c:v>
                </c:pt>
                <c:pt idx="3290">
                  <c:v>202859</c:v>
                </c:pt>
                <c:pt idx="3291">
                  <c:v>33396</c:v>
                </c:pt>
                <c:pt idx="3292">
                  <c:v>23767</c:v>
                </c:pt>
                <c:pt idx="3293">
                  <c:v>21143</c:v>
                </c:pt>
                <c:pt idx="3294">
                  <c:v>4926</c:v>
                </c:pt>
                <c:pt idx="3295">
                  <c:v>6769</c:v>
                </c:pt>
                <c:pt idx="3296">
                  <c:v>32029</c:v>
                </c:pt>
                <c:pt idx="3297">
                  <c:v>31469</c:v>
                </c:pt>
                <c:pt idx="3298">
                  <c:v>11963</c:v>
                </c:pt>
                <c:pt idx="3299">
                  <c:v>34895</c:v>
                </c:pt>
                <c:pt idx="3300">
                  <c:v>21857</c:v>
                </c:pt>
                <c:pt idx="3301">
                  <c:v>1671</c:v>
                </c:pt>
                <c:pt idx="3302">
                  <c:v>24542</c:v>
                </c:pt>
                <c:pt idx="3303">
                  <c:v>25005</c:v>
                </c:pt>
                <c:pt idx="3304">
                  <c:v>38940</c:v>
                </c:pt>
                <c:pt idx="3305">
                  <c:v>6653</c:v>
                </c:pt>
                <c:pt idx="3306">
                  <c:v>34948</c:v>
                </c:pt>
                <c:pt idx="3307">
                  <c:v>36212</c:v>
                </c:pt>
                <c:pt idx="3308">
                  <c:v>29686</c:v>
                </c:pt>
                <c:pt idx="3309">
                  <c:v>8121</c:v>
                </c:pt>
                <c:pt idx="3310">
                  <c:v>11048</c:v>
                </c:pt>
                <c:pt idx="3311">
                  <c:v>19944</c:v>
                </c:pt>
                <c:pt idx="3312">
                  <c:v>12874</c:v>
                </c:pt>
                <c:pt idx="3313">
                  <c:v>7806</c:v>
                </c:pt>
                <c:pt idx="3314">
                  <c:v>2724</c:v>
                </c:pt>
                <c:pt idx="3315">
                  <c:v>18724</c:v>
                </c:pt>
                <c:pt idx="3316">
                  <c:v>11492</c:v>
                </c:pt>
                <c:pt idx="3317">
                  <c:v>30901</c:v>
                </c:pt>
                <c:pt idx="3318">
                  <c:v>9497</c:v>
                </c:pt>
                <c:pt idx="3319">
                  <c:v>6236</c:v>
                </c:pt>
                <c:pt idx="3320">
                  <c:v>5516</c:v>
                </c:pt>
                <c:pt idx="3321">
                  <c:v>31939</c:v>
                </c:pt>
                <c:pt idx="3322">
                  <c:v>13836</c:v>
                </c:pt>
                <c:pt idx="3323">
                  <c:v>19820</c:v>
                </c:pt>
                <c:pt idx="3324">
                  <c:v>18592</c:v>
                </c:pt>
                <c:pt idx="3325">
                  <c:v>11680</c:v>
                </c:pt>
                <c:pt idx="3326">
                  <c:v>45835</c:v>
                </c:pt>
                <c:pt idx="3327">
                  <c:v>14620</c:v>
                </c:pt>
                <c:pt idx="3328">
                  <c:v>2428</c:v>
                </c:pt>
                <c:pt idx="3329">
                  <c:v>17239</c:v>
                </c:pt>
                <c:pt idx="3330">
                  <c:v>5706</c:v>
                </c:pt>
                <c:pt idx="3331">
                  <c:v>4606</c:v>
                </c:pt>
                <c:pt idx="3332">
                  <c:v>5028</c:v>
                </c:pt>
                <c:pt idx="3333">
                  <c:v>9188</c:v>
                </c:pt>
                <c:pt idx="3334">
                  <c:v>20072</c:v>
                </c:pt>
                <c:pt idx="3335">
                  <c:v>7846</c:v>
                </c:pt>
                <c:pt idx="3336">
                  <c:v>13243</c:v>
                </c:pt>
                <c:pt idx="3337">
                  <c:v>38123</c:v>
                </c:pt>
                <c:pt idx="3338">
                  <c:v>22579</c:v>
                </c:pt>
                <c:pt idx="3339">
                  <c:v>109096</c:v>
                </c:pt>
                <c:pt idx="3340">
                  <c:v>6974</c:v>
                </c:pt>
                <c:pt idx="3341">
                  <c:v>6251</c:v>
                </c:pt>
                <c:pt idx="3342">
                  <c:v>9785</c:v>
                </c:pt>
                <c:pt idx="3343">
                  <c:v>19290</c:v>
                </c:pt>
                <c:pt idx="3344">
                  <c:v>35517</c:v>
                </c:pt>
                <c:pt idx="3345">
                  <c:v>24211</c:v>
                </c:pt>
                <c:pt idx="3346">
                  <c:v>10772</c:v>
                </c:pt>
                <c:pt idx="3347">
                  <c:v>56915</c:v>
                </c:pt>
                <c:pt idx="3348">
                  <c:v>679480</c:v>
                </c:pt>
                <c:pt idx="3349">
                  <c:v>24585</c:v>
                </c:pt>
                <c:pt idx="3350">
                  <c:v>4121</c:v>
                </c:pt>
                <c:pt idx="3351">
                  <c:v>696535</c:v>
                </c:pt>
                <c:pt idx="3352">
                  <c:v>13627</c:v>
                </c:pt>
                <c:pt idx="3353">
                  <c:v>9148</c:v>
                </c:pt>
                <c:pt idx="3354">
                  <c:v>9805</c:v>
                </c:pt>
                <c:pt idx="3355">
                  <c:v>6866</c:v>
                </c:pt>
                <c:pt idx="3356">
                  <c:v>10631</c:v>
                </c:pt>
                <c:pt idx="3357">
                  <c:v>811795</c:v>
                </c:pt>
                <c:pt idx="3358">
                  <c:v>16159</c:v>
                </c:pt>
                <c:pt idx="3359">
                  <c:v>16861</c:v>
                </c:pt>
                <c:pt idx="3360">
                  <c:v>18495</c:v>
                </c:pt>
                <c:pt idx="3361">
                  <c:v>7003</c:v>
                </c:pt>
                <c:pt idx="3362">
                  <c:v>47961</c:v>
                </c:pt>
                <c:pt idx="3363">
                  <c:v>396491</c:v>
                </c:pt>
                <c:pt idx="3364">
                  <c:v>28624</c:v>
                </c:pt>
                <c:pt idx="3365">
                  <c:v>56671</c:v>
                </c:pt>
                <c:pt idx="3366">
                  <c:v>10816</c:v>
                </c:pt>
                <c:pt idx="3367">
                  <c:v>18705</c:v>
                </c:pt>
                <c:pt idx="3368">
                  <c:v>4300</c:v>
                </c:pt>
                <c:pt idx="3369">
                  <c:v>86166</c:v>
                </c:pt>
                <c:pt idx="3370">
                  <c:v>21686</c:v>
                </c:pt>
                <c:pt idx="3371">
                  <c:v>7024</c:v>
                </c:pt>
                <c:pt idx="3372">
                  <c:v>32748</c:v>
                </c:pt>
                <c:pt idx="3373">
                  <c:v>15508</c:v>
                </c:pt>
                <c:pt idx="3374">
                  <c:v>61921</c:v>
                </c:pt>
                <c:pt idx="3375">
                  <c:v>21494</c:v>
                </c:pt>
                <c:pt idx="3376">
                  <c:v>28415</c:v>
                </c:pt>
                <c:pt idx="3377">
                  <c:v>40944</c:v>
                </c:pt>
                <c:pt idx="3378">
                  <c:v>45695</c:v>
                </c:pt>
                <c:pt idx="3379">
                  <c:v>54624</c:v>
                </c:pt>
                <c:pt idx="3380">
                  <c:v>17974</c:v>
                </c:pt>
                <c:pt idx="3381">
                  <c:v>31294</c:v>
                </c:pt>
                <c:pt idx="3382">
                  <c:v>29798</c:v>
                </c:pt>
                <c:pt idx="3383">
                  <c:v>13239</c:v>
                </c:pt>
                <c:pt idx="3384">
                  <c:v>16537</c:v>
                </c:pt>
                <c:pt idx="3385">
                  <c:v>13288</c:v>
                </c:pt>
                <c:pt idx="3386">
                  <c:v>28432</c:v>
                </c:pt>
                <c:pt idx="3387">
                  <c:v>8890</c:v>
                </c:pt>
                <c:pt idx="3388">
                  <c:v>3086</c:v>
                </c:pt>
                <c:pt idx="3389">
                  <c:v>14002</c:v>
                </c:pt>
                <c:pt idx="3390">
                  <c:v>4948</c:v>
                </c:pt>
                <c:pt idx="3391">
                  <c:v>8997</c:v>
                </c:pt>
                <c:pt idx="3392">
                  <c:v>9000</c:v>
                </c:pt>
                <c:pt idx="3393">
                  <c:v>15217</c:v>
                </c:pt>
                <c:pt idx="3394">
                  <c:v>11514</c:v>
                </c:pt>
                <c:pt idx="3395">
                  <c:v>15053</c:v>
                </c:pt>
                <c:pt idx="3396">
                  <c:v>8702</c:v>
                </c:pt>
                <c:pt idx="3397">
                  <c:v>22354</c:v>
                </c:pt>
                <c:pt idx="3398">
                  <c:v>66351</c:v>
                </c:pt>
                <c:pt idx="3399">
                  <c:v>13756</c:v>
                </c:pt>
                <c:pt idx="3400">
                  <c:v>138272</c:v>
                </c:pt>
                <c:pt idx="3401">
                  <c:v>21129</c:v>
                </c:pt>
                <c:pt idx="3402">
                  <c:v>10548</c:v>
                </c:pt>
                <c:pt idx="3403">
                  <c:v>17893</c:v>
                </c:pt>
                <c:pt idx="3404">
                  <c:v>5160</c:v>
                </c:pt>
                <c:pt idx="3405">
                  <c:v>5412</c:v>
                </c:pt>
                <c:pt idx="3406">
                  <c:v>63295</c:v>
                </c:pt>
                <c:pt idx="3407">
                  <c:v>23369</c:v>
                </c:pt>
                <c:pt idx="3408">
                  <c:v>13331</c:v>
                </c:pt>
                <c:pt idx="3409">
                  <c:v>26216</c:v>
                </c:pt>
                <c:pt idx="3410">
                  <c:v>12576</c:v>
                </c:pt>
                <c:pt idx="3411">
                  <c:v>20650</c:v>
                </c:pt>
                <c:pt idx="3412">
                  <c:v>21081</c:v>
                </c:pt>
                <c:pt idx="3413">
                  <c:v>15732</c:v>
                </c:pt>
                <c:pt idx="3414">
                  <c:v>6996</c:v>
                </c:pt>
                <c:pt idx="3415">
                  <c:v>8751</c:v>
                </c:pt>
                <c:pt idx="3416">
                  <c:v>2177</c:v>
                </c:pt>
                <c:pt idx="3417">
                  <c:v>13549</c:v>
                </c:pt>
                <c:pt idx="3418">
                  <c:v>38844</c:v>
                </c:pt>
                <c:pt idx="3419">
                  <c:v>12927</c:v>
                </c:pt>
                <c:pt idx="3420">
                  <c:v>6867</c:v>
                </c:pt>
                <c:pt idx="3421">
                  <c:v>50900</c:v>
                </c:pt>
                <c:pt idx="3422">
                  <c:v>61558</c:v>
                </c:pt>
                <c:pt idx="3423">
                  <c:v>41330</c:v>
                </c:pt>
                <c:pt idx="3424">
                  <c:v>33238</c:v>
                </c:pt>
                <c:pt idx="3425">
                  <c:v>872</c:v>
                </c:pt>
                <c:pt idx="3426">
                  <c:v>83502</c:v>
                </c:pt>
                <c:pt idx="3427">
                  <c:v>12655</c:v>
                </c:pt>
                <c:pt idx="3428">
                  <c:v>19017</c:v>
                </c:pt>
                <c:pt idx="3429">
                  <c:v>23966</c:v>
                </c:pt>
                <c:pt idx="3430">
                  <c:v>49429</c:v>
                </c:pt>
                <c:pt idx="3431">
                  <c:v>5244</c:v>
                </c:pt>
                <c:pt idx="3432">
                  <c:v>19737</c:v>
                </c:pt>
                <c:pt idx="3433">
                  <c:v>54686</c:v>
                </c:pt>
                <c:pt idx="3434">
                  <c:v>12083</c:v>
                </c:pt>
                <c:pt idx="3435">
                  <c:v>19384</c:v>
                </c:pt>
                <c:pt idx="3436">
                  <c:v>3913</c:v>
                </c:pt>
                <c:pt idx="3437">
                  <c:v>28089</c:v>
                </c:pt>
                <c:pt idx="3438">
                  <c:v>2776</c:v>
                </c:pt>
                <c:pt idx="3439">
                  <c:v>88170</c:v>
                </c:pt>
                <c:pt idx="3440">
                  <c:v>7697</c:v>
                </c:pt>
                <c:pt idx="3441">
                  <c:v>23636</c:v>
                </c:pt>
                <c:pt idx="3442">
                  <c:v>26695</c:v>
                </c:pt>
                <c:pt idx="3443">
                  <c:v>55090</c:v>
                </c:pt>
                <c:pt idx="3444">
                  <c:v>35695</c:v>
                </c:pt>
                <c:pt idx="3445">
                  <c:v>56659</c:v>
                </c:pt>
                <c:pt idx="3446">
                  <c:v>66586</c:v>
                </c:pt>
                <c:pt idx="3447">
                  <c:v>30075</c:v>
                </c:pt>
                <c:pt idx="3448">
                  <c:v>5304</c:v>
                </c:pt>
                <c:pt idx="3449">
                  <c:v>4068</c:v>
                </c:pt>
                <c:pt idx="3450">
                  <c:v>5185</c:v>
                </c:pt>
                <c:pt idx="3451">
                  <c:v>64568</c:v>
                </c:pt>
                <c:pt idx="3452">
                  <c:v>60278</c:v>
                </c:pt>
                <c:pt idx="3453">
                  <c:v>36087</c:v>
                </c:pt>
                <c:pt idx="3454">
                  <c:v>15858</c:v>
                </c:pt>
                <c:pt idx="3455">
                  <c:v>82555</c:v>
                </c:pt>
                <c:pt idx="3456">
                  <c:v>3419</c:v>
                </c:pt>
                <c:pt idx="3457">
                  <c:v>33394</c:v>
                </c:pt>
                <c:pt idx="3458">
                  <c:v>20044</c:v>
                </c:pt>
                <c:pt idx="3459">
                  <c:v>4821</c:v>
                </c:pt>
                <c:pt idx="3460">
                  <c:v>9732</c:v>
                </c:pt>
                <c:pt idx="3461">
                  <c:v>5599</c:v>
                </c:pt>
                <c:pt idx="3462">
                  <c:v>13181</c:v>
                </c:pt>
                <c:pt idx="3463">
                  <c:v>12042</c:v>
                </c:pt>
                <c:pt idx="3464">
                  <c:v>7465</c:v>
                </c:pt>
                <c:pt idx="3465">
                  <c:v>10163</c:v>
                </c:pt>
                <c:pt idx="3466">
                  <c:v>8710</c:v>
                </c:pt>
                <c:pt idx="3467">
                  <c:v>30680</c:v>
                </c:pt>
                <c:pt idx="3468">
                  <c:v>4999</c:v>
                </c:pt>
                <c:pt idx="3469">
                  <c:v>14573</c:v>
                </c:pt>
                <c:pt idx="3470">
                  <c:v>10867</c:v>
                </c:pt>
                <c:pt idx="3471">
                  <c:v>7917</c:v>
                </c:pt>
                <c:pt idx="3472">
                  <c:v>28174</c:v>
                </c:pt>
                <c:pt idx="3473">
                  <c:v>6555</c:v>
                </c:pt>
                <c:pt idx="3474">
                  <c:v>7808</c:v>
                </c:pt>
                <c:pt idx="3475">
                  <c:v>4995</c:v>
                </c:pt>
                <c:pt idx="3476">
                  <c:v>24630</c:v>
                </c:pt>
                <c:pt idx="3477">
                  <c:v>10320</c:v>
                </c:pt>
                <c:pt idx="3478">
                  <c:v>62187</c:v>
                </c:pt>
                <c:pt idx="3479">
                  <c:v>7535</c:v>
                </c:pt>
                <c:pt idx="3480">
                  <c:v>9595</c:v>
                </c:pt>
                <c:pt idx="3481">
                  <c:v>20241</c:v>
                </c:pt>
                <c:pt idx="3482">
                  <c:v>4330</c:v>
                </c:pt>
                <c:pt idx="3483">
                  <c:v>40218</c:v>
                </c:pt>
                <c:pt idx="3484">
                  <c:v>2995</c:v>
                </c:pt>
                <c:pt idx="3485">
                  <c:v>3383</c:v>
                </c:pt>
                <c:pt idx="3486">
                  <c:v>32371</c:v>
                </c:pt>
                <c:pt idx="3487">
                  <c:v>35064</c:v>
                </c:pt>
                <c:pt idx="3488">
                  <c:v>31191</c:v>
                </c:pt>
                <c:pt idx="3489">
                  <c:v>20037</c:v>
                </c:pt>
                <c:pt idx="3490">
                  <c:v>7104</c:v>
                </c:pt>
                <c:pt idx="3491">
                  <c:v>23446</c:v>
                </c:pt>
                <c:pt idx="3492">
                  <c:v>8330</c:v>
                </c:pt>
                <c:pt idx="3493">
                  <c:v>6729</c:v>
                </c:pt>
                <c:pt idx="3494">
                  <c:v>11648</c:v>
                </c:pt>
                <c:pt idx="3495">
                  <c:v>20366</c:v>
                </c:pt>
                <c:pt idx="3496">
                  <c:v>13643</c:v>
                </c:pt>
                <c:pt idx="3497">
                  <c:v>11216</c:v>
                </c:pt>
                <c:pt idx="3498">
                  <c:v>624</c:v>
                </c:pt>
                <c:pt idx="3499">
                  <c:v>28153</c:v>
                </c:pt>
                <c:pt idx="3500">
                  <c:v>57759</c:v>
                </c:pt>
                <c:pt idx="3501">
                  <c:v>31479</c:v>
                </c:pt>
                <c:pt idx="3502">
                  <c:v>6054</c:v>
                </c:pt>
                <c:pt idx="3503">
                  <c:v>7611</c:v>
                </c:pt>
                <c:pt idx="3504">
                  <c:v>42570</c:v>
                </c:pt>
                <c:pt idx="3505">
                  <c:v>44699</c:v>
                </c:pt>
                <c:pt idx="3506">
                  <c:v>24779</c:v>
                </c:pt>
                <c:pt idx="3507">
                  <c:v>16900</c:v>
                </c:pt>
                <c:pt idx="3508">
                  <c:v>14011</c:v>
                </c:pt>
                <c:pt idx="3509">
                  <c:v>27538</c:v>
                </c:pt>
                <c:pt idx="3510">
                  <c:v>44363</c:v>
                </c:pt>
                <c:pt idx="3511">
                  <c:v>32210</c:v>
                </c:pt>
                <c:pt idx="3512">
                  <c:v>58426</c:v>
                </c:pt>
                <c:pt idx="3513">
                  <c:v>6402</c:v>
                </c:pt>
                <c:pt idx="3514">
                  <c:v>3416</c:v>
                </c:pt>
                <c:pt idx="3515">
                  <c:v>21549</c:v>
                </c:pt>
                <c:pt idx="3516">
                  <c:v>2019</c:v>
                </c:pt>
                <c:pt idx="3517">
                  <c:v>16532</c:v>
                </c:pt>
                <c:pt idx="3518">
                  <c:v>12791</c:v>
                </c:pt>
                <c:pt idx="3519">
                  <c:v>25080</c:v>
                </c:pt>
                <c:pt idx="3520">
                  <c:v>40018</c:v>
                </c:pt>
                <c:pt idx="3521">
                  <c:v>2763</c:v>
                </c:pt>
                <c:pt idx="3522">
                  <c:v>7217</c:v>
                </c:pt>
                <c:pt idx="3523">
                  <c:v>12642</c:v>
                </c:pt>
                <c:pt idx="3524">
                  <c:v>13815</c:v>
                </c:pt>
                <c:pt idx="3525">
                  <c:v>29325</c:v>
                </c:pt>
                <c:pt idx="3526">
                  <c:v>25009</c:v>
                </c:pt>
                <c:pt idx="3527">
                  <c:v>6366</c:v>
                </c:pt>
                <c:pt idx="3528">
                  <c:v>12458</c:v>
                </c:pt>
                <c:pt idx="3529">
                  <c:v>26175</c:v>
                </c:pt>
                <c:pt idx="3530">
                  <c:v>86709</c:v>
                </c:pt>
                <c:pt idx="3531">
                  <c:v>29356</c:v>
                </c:pt>
                <c:pt idx="3532">
                  <c:v>39244</c:v>
                </c:pt>
                <c:pt idx="3533">
                  <c:v>4396</c:v>
                </c:pt>
                <c:pt idx="3534">
                  <c:v>17549</c:v>
                </c:pt>
                <c:pt idx="3535">
                  <c:v>46225</c:v>
                </c:pt>
                <c:pt idx="3536">
                  <c:v>9081</c:v>
                </c:pt>
                <c:pt idx="3537">
                  <c:v>15057</c:v>
                </c:pt>
                <c:pt idx="3538">
                  <c:v>13392</c:v>
                </c:pt>
                <c:pt idx="3539">
                  <c:v>32149</c:v>
                </c:pt>
                <c:pt idx="3540">
                  <c:v>18577</c:v>
                </c:pt>
                <c:pt idx="3541">
                  <c:v>2791</c:v>
                </c:pt>
                <c:pt idx="3542">
                  <c:v>28566</c:v>
                </c:pt>
                <c:pt idx="3543">
                  <c:v>22175</c:v>
                </c:pt>
                <c:pt idx="3544">
                  <c:v>278030</c:v>
                </c:pt>
                <c:pt idx="3545">
                  <c:v>9411</c:v>
                </c:pt>
                <c:pt idx="3546">
                  <c:v>37211</c:v>
                </c:pt>
                <c:pt idx="3547">
                  <c:v>22195</c:v>
                </c:pt>
                <c:pt idx="3548">
                  <c:v>7903</c:v>
                </c:pt>
                <c:pt idx="3549">
                  <c:v>28404</c:v>
                </c:pt>
                <c:pt idx="3550">
                  <c:v>10748</c:v>
                </c:pt>
                <c:pt idx="3551">
                  <c:v>20509</c:v>
                </c:pt>
                <c:pt idx="3552">
                  <c:v>4765</c:v>
                </c:pt>
                <c:pt idx="3553">
                  <c:v>1573</c:v>
                </c:pt>
                <c:pt idx="3554">
                  <c:v>15330</c:v>
                </c:pt>
                <c:pt idx="3555">
                  <c:v>14614</c:v>
                </c:pt>
                <c:pt idx="3556">
                  <c:v>15597</c:v>
                </c:pt>
                <c:pt idx="3557">
                  <c:v>1935</c:v>
                </c:pt>
                <c:pt idx="3558">
                  <c:v>33297</c:v>
                </c:pt>
                <c:pt idx="3559">
                  <c:v>17816</c:v>
                </c:pt>
                <c:pt idx="3560">
                  <c:v>72170</c:v>
                </c:pt>
                <c:pt idx="3561">
                  <c:v>21933</c:v>
                </c:pt>
                <c:pt idx="3562">
                  <c:v>2797</c:v>
                </c:pt>
                <c:pt idx="3563">
                  <c:v>8128</c:v>
                </c:pt>
                <c:pt idx="3564">
                  <c:v>13147</c:v>
                </c:pt>
                <c:pt idx="3565">
                  <c:v>13873</c:v>
                </c:pt>
                <c:pt idx="3566">
                  <c:v>2831</c:v>
                </c:pt>
                <c:pt idx="3567">
                  <c:v>11624</c:v>
                </c:pt>
                <c:pt idx="3568">
                  <c:v>10920</c:v>
                </c:pt>
                <c:pt idx="3569">
                  <c:v>8367</c:v>
                </c:pt>
                <c:pt idx="3570">
                  <c:v>6068</c:v>
                </c:pt>
                <c:pt idx="3571">
                  <c:v>54521</c:v>
                </c:pt>
                <c:pt idx="3572">
                  <c:v>6842</c:v>
                </c:pt>
                <c:pt idx="3573">
                  <c:v>6325</c:v>
                </c:pt>
                <c:pt idx="3574">
                  <c:v>8911</c:v>
                </c:pt>
                <c:pt idx="3575">
                  <c:v>3386</c:v>
                </c:pt>
                <c:pt idx="3576">
                  <c:v>97510</c:v>
                </c:pt>
                <c:pt idx="3577">
                  <c:v>34049</c:v>
                </c:pt>
                <c:pt idx="3578">
                  <c:v>12593</c:v>
                </c:pt>
                <c:pt idx="3579">
                  <c:v>16934</c:v>
                </c:pt>
                <c:pt idx="3580">
                  <c:v>10679</c:v>
                </c:pt>
                <c:pt idx="3581">
                  <c:v>37049</c:v>
                </c:pt>
                <c:pt idx="3582">
                  <c:v>22011</c:v>
                </c:pt>
                <c:pt idx="3583">
                  <c:v>6051</c:v>
                </c:pt>
                <c:pt idx="3584">
                  <c:v>4474</c:v>
                </c:pt>
                <c:pt idx="3585">
                  <c:v>2805</c:v>
                </c:pt>
                <c:pt idx="3586">
                  <c:v>44755</c:v>
                </c:pt>
                <c:pt idx="3587">
                  <c:v>39178</c:v>
                </c:pt>
                <c:pt idx="3588">
                  <c:v>118671</c:v>
                </c:pt>
                <c:pt idx="3589">
                  <c:v>55406</c:v>
                </c:pt>
                <c:pt idx="3590">
                  <c:v>66482</c:v>
                </c:pt>
                <c:pt idx="3591">
                  <c:v>26633</c:v>
                </c:pt>
                <c:pt idx="3592">
                  <c:v>17787</c:v>
                </c:pt>
                <c:pt idx="3593">
                  <c:v>6884</c:v>
                </c:pt>
                <c:pt idx="3594">
                  <c:v>12316</c:v>
                </c:pt>
                <c:pt idx="3595">
                  <c:v>203809</c:v>
                </c:pt>
                <c:pt idx="3596">
                  <c:v>57376</c:v>
                </c:pt>
                <c:pt idx="3597">
                  <c:v>8917</c:v>
                </c:pt>
                <c:pt idx="3598">
                  <c:v>14055</c:v>
                </c:pt>
                <c:pt idx="3599">
                  <c:v>4395</c:v>
                </c:pt>
                <c:pt idx="3600">
                  <c:v>24951</c:v>
                </c:pt>
                <c:pt idx="3601">
                  <c:v>28458</c:v>
                </c:pt>
                <c:pt idx="3602">
                  <c:v>23516</c:v>
                </c:pt>
                <c:pt idx="3603">
                  <c:v>27622</c:v>
                </c:pt>
                <c:pt idx="3604">
                  <c:v>14530</c:v>
                </c:pt>
                <c:pt idx="3605">
                  <c:v>66751</c:v>
                </c:pt>
                <c:pt idx="3606">
                  <c:v>18423</c:v>
                </c:pt>
                <c:pt idx="3607">
                  <c:v>22906</c:v>
                </c:pt>
                <c:pt idx="3608">
                  <c:v>14842</c:v>
                </c:pt>
                <c:pt idx="3609">
                  <c:v>15625</c:v>
                </c:pt>
                <c:pt idx="3610">
                  <c:v>1319</c:v>
                </c:pt>
                <c:pt idx="3611">
                  <c:v>210071</c:v>
                </c:pt>
                <c:pt idx="3612">
                  <c:v>11195</c:v>
                </c:pt>
                <c:pt idx="3613">
                  <c:v>15419</c:v>
                </c:pt>
                <c:pt idx="3614">
                  <c:v>12509</c:v>
                </c:pt>
                <c:pt idx="3615">
                  <c:v>72985</c:v>
                </c:pt>
                <c:pt idx="3616">
                  <c:v>86170</c:v>
                </c:pt>
                <c:pt idx="3617">
                  <c:v>32037</c:v>
                </c:pt>
                <c:pt idx="3618">
                  <c:v>27318</c:v>
                </c:pt>
                <c:pt idx="3619">
                  <c:v>54287</c:v>
                </c:pt>
                <c:pt idx="3620">
                  <c:v>10760</c:v>
                </c:pt>
                <c:pt idx="3621">
                  <c:v>14228</c:v>
                </c:pt>
                <c:pt idx="3622">
                  <c:v>30950</c:v>
                </c:pt>
                <c:pt idx="3623">
                  <c:v>17029</c:v>
                </c:pt>
                <c:pt idx="3624">
                  <c:v>12896</c:v>
                </c:pt>
                <c:pt idx="3625">
                  <c:v>31643</c:v>
                </c:pt>
                <c:pt idx="3626">
                  <c:v>13120</c:v>
                </c:pt>
                <c:pt idx="3627">
                  <c:v>38508</c:v>
                </c:pt>
                <c:pt idx="3628">
                  <c:v>96599</c:v>
                </c:pt>
                <c:pt idx="3629">
                  <c:v>12559</c:v>
                </c:pt>
                <c:pt idx="3630">
                  <c:v>16429</c:v>
                </c:pt>
                <c:pt idx="3631">
                  <c:v>30995</c:v>
                </c:pt>
                <c:pt idx="3632">
                  <c:v>10761</c:v>
                </c:pt>
                <c:pt idx="3633">
                  <c:v>15218</c:v>
                </c:pt>
                <c:pt idx="3634">
                  <c:v>4217</c:v>
                </c:pt>
                <c:pt idx="3635">
                  <c:v>19500</c:v>
                </c:pt>
                <c:pt idx="3636">
                  <c:v>56672</c:v>
                </c:pt>
                <c:pt idx="3637">
                  <c:v>21526</c:v>
                </c:pt>
                <c:pt idx="3638">
                  <c:v>9378</c:v>
                </c:pt>
                <c:pt idx="3639">
                  <c:v>4968</c:v>
                </c:pt>
                <c:pt idx="3640">
                  <c:v>21125</c:v>
                </c:pt>
                <c:pt idx="3641">
                  <c:v>42180</c:v>
                </c:pt>
                <c:pt idx="3642">
                  <c:v>50952</c:v>
                </c:pt>
                <c:pt idx="3643">
                  <c:v>242458</c:v>
                </c:pt>
                <c:pt idx="3644">
                  <c:v>11839</c:v>
                </c:pt>
                <c:pt idx="3645">
                  <c:v>28282</c:v>
                </c:pt>
                <c:pt idx="3646">
                  <c:v>16217</c:v>
                </c:pt>
                <c:pt idx="3647">
                  <c:v>77848</c:v>
                </c:pt>
                <c:pt idx="3648">
                  <c:v>9977</c:v>
                </c:pt>
                <c:pt idx="3649">
                  <c:v>14760</c:v>
                </c:pt>
                <c:pt idx="3650">
                  <c:v>20887</c:v>
                </c:pt>
                <c:pt idx="3651">
                  <c:v>13272</c:v>
                </c:pt>
                <c:pt idx="3652">
                  <c:v>21882</c:v>
                </c:pt>
                <c:pt idx="3653">
                  <c:v>28823</c:v>
                </c:pt>
                <c:pt idx="3654">
                  <c:v>30585</c:v>
                </c:pt>
                <c:pt idx="3655">
                  <c:v>25286</c:v>
                </c:pt>
                <c:pt idx="3656">
                  <c:v>31345</c:v>
                </c:pt>
                <c:pt idx="3657">
                  <c:v>17690</c:v>
                </c:pt>
                <c:pt idx="3658">
                  <c:v>4071</c:v>
                </c:pt>
                <c:pt idx="3659">
                  <c:v>4108</c:v>
                </c:pt>
                <c:pt idx="3660">
                  <c:v>7402</c:v>
                </c:pt>
                <c:pt idx="3661">
                  <c:v>32200</c:v>
                </c:pt>
                <c:pt idx="3662">
                  <c:v>176302</c:v>
                </c:pt>
                <c:pt idx="3663">
                  <c:v>26233</c:v>
                </c:pt>
                <c:pt idx="3664">
                  <c:v>60715</c:v>
                </c:pt>
                <c:pt idx="3665">
                  <c:v>30952</c:v>
                </c:pt>
                <c:pt idx="3666">
                  <c:v>12123</c:v>
                </c:pt>
                <c:pt idx="3667">
                  <c:v>12759</c:v>
                </c:pt>
                <c:pt idx="3668">
                  <c:v>6825</c:v>
                </c:pt>
                <c:pt idx="3669">
                  <c:v>14146</c:v>
                </c:pt>
                <c:pt idx="3670">
                  <c:v>21093</c:v>
                </c:pt>
                <c:pt idx="3671">
                  <c:v>5792</c:v>
                </c:pt>
                <c:pt idx="3672">
                  <c:v>11001</c:v>
                </c:pt>
                <c:pt idx="3673">
                  <c:v>9942</c:v>
                </c:pt>
                <c:pt idx="3674">
                  <c:v>18126</c:v>
                </c:pt>
                <c:pt idx="3675">
                  <c:v>12036</c:v>
                </c:pt>
                <c:pt idx="3676">
                  <c:v>15813</c:v>
                </c:pt>
                <c:pt idx="3677">
                  <c:v>28863</c:v>
                </c:pt>
                <c:pt idx="3678">
                  <c:v>3341</c:v>
                </c:pt>
                <c:pt idx="3679">
                  <c:v>11214</c:v>
                </c:pt>
                <c:pt idx="3680">
                  <c:v>15275</c:v>
                </c:pt>
                <c:pt idx="3681">
                  <c:v>29495</c:v>
                </c:pt>
                <c:pt idx="3682">
                  <c:v>56866</c:v>
                </c:pt>
                <c:pt idx="3683">
                  <c:v>3354</c:v>
                </c:pt>
                <c:pt idx="3684">
                  <c:v>6716</c:v>
                </c:pt>
                <c:pt idx="3685">
                  <c:v>19524</c:v>
                </c:pt>
                <c:pt idx="3686">
                  <c:v>11745</c:v>
                </c:pt>
                <c:pt idx="3687">
                  <c:v>30765</c:v>
                </c:pt>
                <c:pt idx="3688">
                  <c:v>94544</c:v>
                </c:pt>
                <c:pt idx="3689">
                  <c:v>15352</c:v>
                </c:pt>
                <c:pt idx="3690">
                  <c:v>9610</c:v>
                </c:pt>
                <c:pt idx="3691">
                  <c:v>8389</c:v>
                </c:pt>
                <c:pt idx="3692">
                  <c:v>29131</c:v>
                </c:pt>
                <c:pt idx="3693">
                  <c:v>19928</c:v>
                </c:pt>
                <c:pt idx="3694">
                  <c:v>16617</c:v>
                </c:pt>
                <c:pt idx="3695">
                  <c:v>16928</c:v>
                </c:pt>
                <c:pt idx="3696">
                  <c:v>1241</c:v>
                </c:pt>
                <c:pt idx="3697">
                  <c:v>16579</c:v>
                </c:pt>
                <c:pt idx="3698">
                  <c:v>22290</c:v>
                </c:pt>
                <c:pt idx="3699">
                  <c:v>5132</c:v>
                </c:pt>
                <c:pt idx="3700">
                  <c:v>2829</c:v>
                </c:pt>
                <c:pt idx="3701">
                  <c:v>16663</c:v>
                </c:pt>
                <c:pt idx="3702">
                  <c:v>9652</c:v>
                </c:pt>
                <c:pt idx="3703">
                  <c:v>20585</c:v>
                </c:pt>
                <c:pt idx="3704">
                  <c:v>21629</c:v>
                </c:pt>
                <c:pt idx="3705">
                  <c:v>6460</c:v>
                </c:pt>
                <c:pt idx="3706">
                  <c:v>55663</c:v>
                </c:pt>
                <c:pt idx="3707">
                  <c:v>38061</c:v>
                </c:pt>
                <c:pt idx="3708">
                  <c:v>42522</c:v>
                </c:pt>
                <c:pt idx="3709">
                  <c:v>14562</c:v>
                </c:pt>
                <c:pt idx="3710">
                  <c:v>60238</c:v>
                </c:pt>
                <c:pt idx="3711">
                  <c:v>19234</c:v>
                </c:pt>
                <c:pt idx="3712">
                  <c:v>9270</c:v>
                </c:pt>
                <c:pt idx="3713">
                  <c:v>21287</c:v>
                </c:pt>
                <c:pt idx="3714">
                  <c:v>59341</c:v>
                </c:pt>
                <c:pt idx="3715">
                  <c:v>10327</c:v>
                </c:pt>
                <c:pt idx="3716">
                  <c:v>17394</c:v>
                </c:pt>
                <c:pt idx="3717">
                  <c:v>8863</c:v>
                </c:pt>
                <c:pt idx="3718">
                  <c:v>8744</c:v>
                </c:pt>
                <c:pt idx="3719">
                  <c:v>23002</c:v>
                </c:pt>
                <c:pt idx="3720">
                  <c:v>13571</c:v>
                </c:pt>
                <c:pt idx="3721">
                  <c:v>23336</c:v>
                </c:pt>
                <c:pt idx="3722">
                  <c:v>10065</c:v>
                </c:pt>
                <c:pt idx="3723">
                  <c:v>54644</c:v>
                </c:pt>
                <c:pt idx="3724">
                  <c:v>42866</c:v>
                </c:pt>
                <c:pt idx="3725">
                  <c:v>18395</c:v>
                </c:pt>
                <c:pt idx="3726">
                  <c:v>18455</c:v>
                </c:pt>
                <c:pt idx="3727">
                  <c:v>20128</c:v>
                </c:pt>
                <c:pt idx="3728">
                  <c:v>14385</c:v>
                </c:pt>
                <c:pt idx="3729">
                  <c:v>43305</c:v>
                </c:pt>
                <c:pt idx="3730">
                  <c:v>10915</c:v>
                </c:pt>
                <c:pt idx="3731">
                  <c:v>5918</c:v>
                </c:pt>
                <c:pt idx="3732">
                  <c:v>1076</c:v>
                </c:pt>
                <c:pt idx="3733">
                  <c:v>32425</c:v>
                </c:pt>
                <c:pt idx="3734">
                  <c:v>4938</c:v>
                </c:pt>
                <c:pt idx="3735">
                  <c:v>9832</c:v>
                </c:pt>
                <c:pt idx="3736">
                  <c:v>3934</c:v>
                </c:pt>
                <c:pt idx="3737">
                  <c:v>18382</c:v>
                </c:pt>
                <c:pt idx="3738">
                  <c:v>18818</c:v>
                </c:pt>
                <c:pt idx="3739">
                  <c:v>22459</c:v>
                </c:pt>
                <c:pt idx="3740">
                  <c:v>613</c:v>
                </c:pt>
                <c:pt idx="3741">
                  <c:v>4826</c:v>
                </c:pt>
                <c:pt idx="3742">
                  <c:v>15908</c:v>
                </c:pt>
                <c:pt idx="3743">
                  <c:v>7953</c:v>
                </c:pt>
                <c:pt idx="3744">
                  <c:v>19058</c:v>
                </c:pt>
                <c:pt idx="3745">
                  <c:v>464</c:v>
                </c:pt>
                <c:pt idx="3746">
                  <c:v>16354</c:v>
                </c:pt>
                <c:pt idx="3747">
                  <c:v>26667</c:v>
                </c:pt>
                <c:pt idx="3748">
                  <c:v>51247</c:v>
                </c:pt>
                <c:pt idx="3749">
                  <c:v>50281</c:v>
                </c:pt>
                <c:pt idx="3750">
                  <c:v>6459</c:v>
                </c:pt>
                <c:pt idx="3751">
                  <c:v>31073</c:v>
                </c:pt>
                <c:pt idx="3752">
                  <c:v>9741</c:v>
                </c:pt>
                <c:pt idx="3753">
                  <c:v>20275</c:v>
                </c:pt>
                <c:pt idx="3754">
                  <c:v>12317</c:v>
                </c:pt>
                <c:pt idx="3755">
                  <c:v>5779</c:v>
                </c:pt>
                <c:pt idx="3756">
                  <c:v>5076</c:v>
                </c:pt>
                <c:pt idx="3757">
                  <c:v>47334</c:v>
                </c:pt>
                <c:pt idx="3758">
                  <c:v>90054</c:v>
                </c:pt>
                <c:pt idx="3759">
                  <c:v>9326</c:v>
                </c:pt>
                <c:pt idx="3760">
                  <c:v>9635</c:v>
                </c:pt>
                <c:pt idx="3761">
                  <c:v>9247</c:v>
                </c:pt>
                <c:pt idx="3762">
                  <c:v>31175</c:v>
                </c:pt>
                <c:pt idx="3763">
                  <c:v>3362</c:v>
                </c:pt>
                <c:pt idx="3764">
                  <c:v>15549</c:v>
                </c:pt>
                <c:pt idx="3765">
                  <c:v>6276</c:v>
                </c:pt>
                <c:pt idx="3766">
                  <c:v>3746</c:v>
                </c:pt>
                <c:pt idx="3767">
                  <c:v>473</c:v>
                </c:pt>
                <c:pt idx="3768">
                  <c:v>18111</c:v>
                </c:pt>
                <c:pt idx="3769">
                  <c:v>16883</c:v>
                </c:pt>
                <c:pt idx="3770">
                  <c:v>33800</c:v>
                </c:pt>
                <c:pt idx="3771">
                  <c:v>104789</c:v>
                </c:pt>
                <c:pt idx="3772">
                  <c:v>11276</c:v>
                </c:pt>
                <c:pt idx="3773">
                  <c:v>8075</c:v>
                </c:pt>
                <c:pt idx="3774">
                  <c:v>9340</c:v>
                </c:pt>
                <c:pt idx="3775">
                  <c:v>19965</c:v>
                </c:pt>
                <c:pt idx="3776">
                  <c:v>12621</c:v>
                </c:pt>
                <c:pt idx="3777">
                  <c:v>27718</c:v>
                </c:pt>
                <c:pt idx="3778">
                  <c:v>14005</c:v>
                </c:pt>
                <c:pt idx="3779">
                  <c:v>4748</c:v>
                </c:pt>
                <c:pt idx="3780">
                  <c:v>6738</c:v>
                </c:pt>
                <c:pt idx="3781">
                  <c:v>6960</c:v>
                </c:pt>
                <c:pt idx="3782">
                  <c:v>8968</c:v>
                </c:pt>
                <c:pt idx="3783">
                  <c:v>15088</c:v>
                </c:pt>
                <c:pt idx="3784">
                  <c:v>6304</c:v>
                </c:pt>
                <c:pt idx="3785">
                  <c:v>11007</c:v>
                </c:pt>
                <c:pt idx="3786">
                  <c:v>28701</c:v>
                </c:pt>
                <c:pt idx="3787">
                  <c:v>28424</c:v>
                </c:pt>
                <c:pt idx="3788">
                  <c:v>16812</c:v>
                </c:pt>
                <c:pt idx="3789">
                  <c:v>8694</c:v>
                </c:pt>
                <c:pt idx="3790">
                  <c:v>22006</c:v>
                </c:pt>
                <c:pt idx="3791">
                  <c:v>7902</c:v>
                </c:pt>
                <c:pt idx="3792">
                  <c:v>13082</c:v>
                </c:pt>
                <c:pt idx="3793">
                  <c:v>32697</c:v>
                </c:pt>
                <c:pt idx="3794">
                  <c:v>5161</c:v>
                </c:pt>
                <c:pt idx="3795">
                  <c:v>21426</c:v>
                </c:pt>
                <c:pt idx="3796">
                  <c:v>56589</c:v>
                </c:pt>
                <c:pt idx="3797">
                  <c:v>17627</c:v>
                </c:pt>
                <c:pt idx="3798">
                  <c:v>2016</c:v>
                </c:pt>
                <c:pt idx="3799">
                  <c:v>15466</c:v>
                </c:pt>
                <c:pt idx="3800">
                  <c:v>7596</c:v>
                </c:pt>
                <c:pt idx="3801">
                  <c:v>3163</c:v>
                </c:pt>
                <c:pt idx="3802">
                  <c:v>11203</c:v>
                </c:pt>
                <c:pt idx="3803">
                  <c:v>54091</c:v>
                </c:pt>
                <c:pt idx="3804">
                  <c:v>24829</c:v>
                </c:pt>
                <c:pt idx="3805">
                  <c:v>139263</c:v>
                </c:pt>
                <c:pt idx="3806">
                  <c:v>21927</c:v>
                </c:pt>
                <c:pt idx="3807">
                  <c:v>20165</c:v>
                </c:pt>
                <c:pt idx="3808">
                  <c:v>6535</c:v>
                </c:pt>
                <c:pt idx="3809">
                  <c:v>36901</c:v>
                </c:pt>
                <c:pt idx="3810">
                  <c:v>12250</c:v>
                </c:pt>
                <c:pt idx="3811">
                  <c:v>44601</c:v>
                </c:pt>
                <c:pt idx="3812">
                  <c:v>11828</c:v>
                </c:pt>
                <c:pt idx="3813">
                  <c:v>16693</c:v>
                </c:pt>
                <c:pt idx="3814">
                  <c:v>17273</c:v>
                </c:pt>
                <c:pt idx="3815">
                  <c:v>14593</c:v>
                </c:pt>
                <c:pt idx="3816">
                  <c:v>2535</c:v>
                </c:pt>
                <c:pt idx="3817">
                  <c:v>18332</c:v>
                </c:pt>
                <c:pt idx="3818">
                  <c:v>12518</c:v>
                </c:pt>
                <c:pt idx="3819">
                  <c:v>17064</c:v>
                </c:pt>
                <c:pt idx="3820">
                  <c:v>21815</c:v>
                </c:pt>
                <c:pt idx="3821">
                  <c:v>2057</c:v>
                </c:pt>
                <c:pt idx="3822">
                  <c:v>15822</c:v>
                </c:pt>
                <c:pt idx="3823">
                  <c:v>23337</c:v>
                </c:pt>
                <c:pt idx="3824">
                  <c:v>30535</c:v>
                </c:pt>
                <c:pt idx="3825">
                  <c:v>46257</c:v>
                </c:pt>
                <c:pt idx="3826">
                  <c:v>9718</c:v>
                </c:pt>
                <c:pt idx="3827">
                  <c:v>18369</c:v>
                </c:pt>
                <c:pt idx="3828">
                  <c:v>18716</c:v>
                </c:pt>
                <c:pt idx="3829">
                  <c:v>11885</c:v>
                </c:pt>
                <c:pt idx="3830">
                  <c:v>8988</c:v>
                </c:pt>
                <c:pt idx="3831">
                  <c:v>40103</c:v>
                </c:pt>
                <c:pt idx="3832">
                  <c:v>8409</c:v>
                </c:pt>
                <c:pt idx="3833">
                  <c:v>23075</c:v>
                </c:pt>
                <c:pt idx="3834">
                  <c:v>28470</c:v>
                </c:pt>
                <c:pt idx="3835">
                  <c:v>30742</c:v>
                </c:pt>
                <c:pt idx="3836">
                  <c:v>3124</c:v>
                </c:pt>
                <c:pt idx="3837">
                  <c:v>16730</c:v>
                </c:pt>
                <c:pt idx="3838">
                  <c:v>10153</c:v>
                </c:pt>
                <c:pt idx="3839">
                  <c:v>15119</c:v>
                </c:pt>
                <c:pt idx="3840">
                  <c:v>12805</c:v>
                </c:pt>
                <c:pt idx="3841">
                  <c:v>174300</c:v>
                </c:pt>
                <c:pt idx="3842">
                  <c:v>33699</c:v>
                </c:pt>
                <c:pt idx="3843">
                  <c:v>60657</c:v>
                </c:pt>
                <c:pt idx="3844">
                  <c:v>28680</c:v>
                </c:pt>
                <c:pt idx="3845">
                  <c:v>26934</c:v>
                </c:pt>
                <c:pt idx="3846">
                  <c:v>70501</c:v>
                </c:pt>
                <c:pt idx="3847">
                  <c:v>9737</c:v>
                </c:pt>
                <c:pt idx="3848">
                  <c:v>7920</c:v>
                </c:pt>
                <c:pt idx="3849">
                  <c:v>19404</c:v>
                </c:pt>
                <c:pt idx="3850">
                  <c:v>5820</c:v>
                </c:pt>
                <c:pt idx="3851">
                  <c:v>11483</c:v>
                </c:pt>
                <c:pt idx="3852">
                  <c:v>35788</c:v>
                </c:pt>
                <c:pt idx="3853">
                  <c:v>18819</c:v>
                </c:pt>
                <c:pt idx="3854">
                  <c:v>20446</c:v>
                </c:pt>
                <c:pt idx="3855">
                  <c:v>2422</c:v>
                </c:pt>
                <c:pt idx="3856">
                  <c:v>2747</c:v>
                </c:pt>
                <c:pt idx="3857">
                  <c:v>45718</c:v>
                </c:pt>
                <c:pt idx="3858">
                  <c:v>11409</c:v>
                </c:pt>
                <c:pt idx="3859">
                  <c:v>5277</c:v>
                </c:pt>
                <c:pt idx="3860">
                  <c:v>2825</c:v>
                </c:pt>
                <c:pt idx="3861">
                  <c:v>26604</c:v>
                </c:pt>
                <c:pt idx="3862">
                  <c:v>28188</c:v>
                </c:pt>
                <c:pt idx="3863">
                  <c:v>22273</c:v>
                </c:pt>
                <c:pt idx="3864">
                  <c:v>6339</c:v>
                </c:pt>
                <c:pt idx="3865">
                  <c:v>20101</c:v>
                </c:pt>
                <c:pt idx="3866">
                  <c:v>18345</c:v>
                </c:pt>
                <c:pt idx="3867">
                  <c:v>3536</c:v>
                </c:pt>
                <c:pt idx="3868">
                  <c:v>5357</c:v>
                </c:pt>
                <c:pt idx="3869">
                  <c:v>121</c:v>
                </c:pt>
                <c:pt idx="3870">
                  <c:v>23071</c:v>
                </c:pt>
                <c:pt idx="3871">
                  <c:v>19591</c:v>
                </c:pt>
                <c:pt idx="3872">
                  <c:v>27493</c:v>
                </c:pt>
                <c:pt idx="3873">
                  <c:v>80635</c:v>
                </c:pt>
                <c:pt idx="3874">
                  <c:v>37386</c:v>
                </c:pt>
                <c:pt idx="3875">
                  <c:v>7894</c:v>
                </c:pt>
                <c:pt idx="3876">
                  <c:v>5409</c:v>
                </c:pt>
                <c:pt idx="3877">
                  <c:v>4071</c:v>
                </c:pt>
                <c:pt idx="3878">
                  <c:v>8390</c:v>
                </c:pt>
                <c:pt idx="3879">
                  <c:v>23399</c:v>
                </c:pt>
                <c:pt idx="3880">
                  <c:v>10113</c:v>
                </c:pt>
                <c:pt idx="3881">
                  <c:v>7861</c:v>
                </c:pt>
                <c:pt idx="3882">
                  <c:v>15299</c:v>
                </c:pt>
                <c:pt idx="3883">
                  <c:v>7311</c:v>
                </c:pt>
                <c:pt idx="3884">
                  <c:v>4147</c:v>
                </c:pt>
                <c:pt idx="3885">
                  <c:v>11606</c:v>
                </c:pt>
                <c:pt idx="3886">
                  <c:v>11226</c:v>
                </c:pt>
                <c:pt idx="3887">
                  <c:v>12493</c:v>
                </c:pt>
                <c:pt idx="3888">
                  <c:v>10967</c:v>
                </c:pt>
                <c:pt idx="3889">
                  <c:v>28650</c:v>
                </c:pt>
                <c:pt idx="3890">
                  <c:v>287</c:v>
                </c:pt>
                <c:pt idx="3891">
                  <c:v>7983</c:v>
                </c:pt>
                <c:pt idx="3892">
                  <c:v>5480</c:v>
                </c:pt>
                <c:pt idx="3893">
                  <c:v>6166</c:v>
                </c:pt>
                <c:pt idx="3894">
                  <c:v>52862</c:v>
                </c:pt>
                <c:pt idx="3895">
                  <c:v>14133</c:v>
                </c:pt>
                <c:pt idx="3896">
                  <c:v>4020</c:v>
                </c:pt>
                <c:pt idx="3897">
                  <c:v>19556</c:v>
                </c:pt>
                <c:pt idx="3898">
                  <c:v>15017</c:v>
                </c:pt>
                <c:pt idx="3899">
                  <c:v>3616</c:v>
                </c:pt>
                <c:pt idx="3900">
                  <c:v>4995</c:v>
                </c:pt>
                <c:pt idx="3901">
                  <c:v>16185</c:v>
                </c:pt>
                <c:pt idx="3902">
                  <c:v>12587</c:v>
                </c:pt>
                <c:pt idx="3903">
                  <c:v>14066</c:v>
                </c:pt>
                <c:pt idx="3904">
                  <c:v>11259</c:v>
                </c:pt>
                <c:pt idx="3905">
                  <c:v>26846</c:v>
                </c:pt>
                <c:pt idx="3906">
                  <c:v>3622</c:v>
                </c:pt>
                <c:pt idx="3907">
                  <c:v>3817</c:v>
                </c:pt>
                <c:pt idx="3908">
                  <c:v>46957</c:v>
                </c:pt>
                <c:pt idx="3909">
                  <c:v>16907</c:v>
                </c:pt>
                <c:pt idx="3910">
                  <c:v>7912</c:v>
                </c:pt>
                <c:pt idx="3911">
                  <c:v>15393</c:v>
                </c:pt>
                <c:pt idx="3912">
                  <c:v>14115</c:v>
                </c:pt>
                <c:pt idx="3913">
                  <c:v>36931</c:v>
                </c:pt>
                <c:pt idx="3914">
                  <c:v>3261</c:v>
                </c:pt>
                <c:pt idx="3915">
                  <c:v>13291</c:v>
                </c:pt>
                <c:pt idx="3916">
                  <c:v>5193</c:v>
                </c:pt>
                <c:pt idx="3917">
                  <c:v>3752</c:v>
                </c:pt>
                <c:pt idx="3918">
                  <c:v>5578</c:v>
                </c:pt>
                <c:pt idx="3919">
                  <c:v>7289</c:v>
                </c:pt>
                <c:pt idx="3920">
                  <c:v>29664</c:v>
                </c:pt>
                <c:pt idx="3921">
                  <c:v>20756</c:v>
                </c:pt>
                <c:pt idx="3922">
                  <c:v>86444</c:v>
                </c:pt>
                <c:pt idx="3923">
                  <c:v>12614</c:v>
                </c:pt>
                <c:pt idx="3924">
                  <c:v>10242</c:v>
                </c:pt>
                <c:pt idx="3925">
                  <c:v>27959</c:v>
                </c:pt>
                <c:pt idx="3926">
                  <c:v>19162</c:v>
                </c:pt>
                <c:pt idx="3927">
                  <c:v>5920</c:v>
                </c:pt>
                <c:pt idx="3928">
                  <c:v>11927</c:v>
                </c:pt>
                <c:pt idx="3929">
                  <c:v>15063</c:v>
                </c:pt>
                <c:pt idx="3930">
                  <c:v>8494</c:v>
                </c:pt>
                <c:pt idx="3931">
                  <c:v>4557</c:v>
                </c:pt>
                <c:pt idx="3932">
                  <c:v>10299</c:v>
                </c:pt>
                <c:pt idx="3933">
                  <c:v>8205</c:v>
                </c:pt>
                <c:pt idx="3934">
                  <c:v>17516</c:v>
                </c:pt>
                <c:pt idx="3935">
                  <c:v>10758</c:v>
                </c:pt>
                <c:pt idx="3936">
                  <c:v>22989</c:v>
                </c:pt>
                <c:pt idx="3937">
                  <c:v>7617</c:v>
                </c:pt>
                <c:pt idx="3938">
                  <c:v>7556</c:v>
                </c:pt>
                <c:pt idx="3939">
                  <c:v>6908</c:v>
                </c:pt>
                <c:pt idx="3940">
                  <c:v>10896</c:v>
                </c:pt>
                <c:pt idx="3941">
                  <c:v>27076</c:v>
                </c:pt>
                <c:pt idx="3942">
                  <c:v>3429</c:v>
                </c:pt>
                <c:pt idx="3943">
                  <c:v>9868</c:v>
                </c:pt>
                <c:pt idx="3944">
                  <c:v>42783</c:v>
                </c:pt>
                <c:pt idx="3945">
                  <c:v>9166</c:v>
                </c:pt>
                <c:pt idx="3946">
                  <c:v>511880</c:v>
                </c:pt>
                <c:pt idx="3947">
                  <c:v>23074</c:v>
                </c:pt>
                <c:pt idx="3948">
                  <c:v>8816</c:v>
                </c:pt>
                <c:pt idx="3949">
                  <c:v>15928</c:v>
                </c:pt>
                <c:pt idx="3950">
                  <c:v>722</c:v>
                </c:pt>
                <c:pt idx="3951">
                  <c:v>6675</c:v>
                </c:pt>
                <c:pt idx="3952">
                  <c:v>3120</c:v>
                </c:pt>
                <c:pt idx="3953">
                  <c:v>507</c:v>
                </c:pt>
                <c:pt idx="3954">
                  <c:v>66824</c:v>
                </c:pt>
                <c:pt idx="3955">
                  <c:v>22693</c:v>
                </c:pt>
                <c:pt idx="3956">
                  <c:v>6474</c:v>
                </c:pt>
                <c:pt idx="3957">
                  <c:v>36595</c:v>
                </c:pt>
                <c:pt idx="3958">
                  <c:v>12379</c:v>
                </c:pt>
                <c:pt idx="3959">
                  <c:v>215802</c:v>
                </c:pt>
                <c:pt idx="3960">
                  <c:v>22871</c:v>
                </c:pt>
                <c:pt idx="3961">
                  <c:v>10081</c:v>
                </c:pt>
                <c:pt idx="3962">
                  <c:v>5233</c:v>
                </c:pt>
                <c:pt idx="3963">
                  <c:v>4586</c:v>
                </c:pt>
                <c:pt idx="3964">
                  <c:v>26801</c:v>
                </c:pt>
                <c:pt idx="3965">
                  <c:v>3182</c:v>
                </c:pt>
                <c:pt idx="3966">
                  <c:v>13029</c:v>
                </c:pt>
                <c:pt idx="3967">
                  <c:v>11993</c:v>
                </c:pt>
                <c:pt idx="3968">
                  <c:v>11068</c:v>
                </c:pt>
                <c:pt idx="3969">
                  <c:v>668</c:v>
                </c:pt>
                <c:pt idx="3970">
                  <c:v>7546</c:v>
                </c:pt>
                <c:pt idx="3971">
                  <c:v>17580</c:v>
                </c:pt>
                <c:pt idx="3972">
                  <c:v>78634</c:v>
                </c:pt>
                <c:pt idx="3973">
                  <c:v>14770</c:v>
                </c:pt>
                <c:pt idx="3974">
                  <c:v>11963</c:v>
                </c:pt>
                <c:pt idx="3975">
                  <c:v>22205</c:v>
                </c:pt>
                <c:pt idx="3976">
                  <c:v>9257</c:v>
                </c:pt>
                <c:pt idx="3977">
                  <c:v>13222</c:v>
                </c:pt>
                <c:pt idx="3978">
                  <c:v>9292</c:v>
                </c:pt>
                <c:pt idx="3979">
                  <c:v>8472</c:v>
                </c:pt>
                <c:pt idx="3980">
                  <c:v>28509</c:v>
                </c:pt>
                <c:pt idx="3981">
                  <c:v>6267</c:v>
                </c:pt>
                <c:pt idx="3982">
                  <c:v>11028</c:v>
                </c:pt>
                <c:pt idx="3983">
                  <c:v>14184</c:v>
                </c:pt>
                <c:pt idx="3984">
                  <c:v>16077</c:v>
                </c:pt>
                <c:pt idx="3985">
                  <c:v>13993</c:v>
                </c:pt>
                <c:pt idx="3986">
                  <c:v>36658</c:v>
                </c:pt>
                <c:pt idx="3987">
                  <c:v>25067</c:v>
                </c:pt>
                <c:pt idx="3988">
                  <c:v>67608</c:v>
                </c:pt>
                <c:pt idx="3989">
                  <c:v>28609</c:v>
                </c:pt>
                <c:pt idx="3990">
                  <c:v>16165</c:v>
                </c:pt>
                <c:pt idx="3991">
                  <c:v>10712</c:v>
                </c:pt>
                <c:pt idx="3992">
                  <c:v>1120</c:v>
                </c:pt>
                <c:pt idx="3993">
                  <c:v>11296</c:v>
                </c:pt>
                <c:pt idx="3994">
                  <c:v>2532</c:v>
                </c:pt>
                <c:pt idx="3995">
                  <c:v>9882</c:v>
                </c:pt>
                <c:pt idx="3996">
                  <c:v>8993</c:v>
                </c:pt>
                <c:pt idx="3997">
                  <c:v>2578</c:v>
                </c:pt>
                <c:pt idx="3998">
                  <c:v>10572</c:v>
                </c:pt>
                <c:pt idx="3999">
                  <c:v>17492</c:v>
                </c:pt>
                <c:pt idx="4000">
                  <c:v>2804</c:v>
                </c:pt>
                <c:pt idx="4001">
                  <c:v>8860</c:v>
                </c:pt>
                <c:pt idx="4002">
                  <c:v>747</c:v>
                </c:pt>
                <c:pt idx="4003">
                  <c:v>4515</c:v>
                </c:pt>
                <c:pt idx="4004">
                  <c:v>11247</c:v>
                </c:pt>
                <c:pt idx="4005">
                  <c:v>7246</c:v>
                </c:pt>
                <c:pt idx="4006">
                  <c:v>30337</c:v>
                </c:pt>
                <c:pt idx="4007">
                  <c:v>43270</c:v>
                </c:pt>
                <c:pt idx="4008">
                  <c:v>16361</c:v>
                </c:pt>
                <c:pt idx="4009">
                  <c:v>10333</c:v>
                </c:pt>
                <c:pt idx="4010">
                  <c:v>8139</c:v>
                </c:pt>
                <c:pt idx="4011">
                  <c:v>42544</c:v>
                </c:pt>
                <c:pt idx="4012">
                  <c:v>17423</c:v>
                </c:pt>
                <c:pt idx="4013">
                  <c:v>559</c:v>
                </c:pt>
                <c:pt idx="4014">
                  <c:v>22325</c:v>
                </c:pt>
                <c:pt idx="4015">
                  <c:v>49802</c:v>
                </c:pt>
                <c:pt idx="4016">
                  <c:v>4595</c:v>
                </c:pt>
                <c:pt idx="4017">
                  <c:v>33717</c:v>
                </c:pt>
                <c:pt idx="4018">
                  <c:v>28790</c:v>
                </c:pt>
                <c:pt idx="4019">
                  <c:v>14031</c:v>
                </c:pt>
                <c:pt idx="4020">
                  <c:v>10686</c:v>
                </c:pt>
                <c:pt idx="4021">
                  <c:v>8139</c:v>
                </c:pt>
                <c:pt idx="4022">
                  <c:v>102957</c:v>
                </c:pt>
                <c:pt idx="4023">
                  <c:v>13050</c:v>
                </c:pt>
                <c:pt idx="4024">
                  <c:v>25459</c:v>
                </c:pt>
                <c:pt idx="4025">
                  <c:v>4994</c:v>
                </c:pt>
                <c:pt idx="4026">
                  <c:v>29108</c:v>
                </c:pt>
                <c:pt idx="4027">
                  <c:v>77801</c:v>
                </c:pt>
                <c:pt idx="4028">
                  <c:v>10500</c:v>
                </c:pt>
                <c:pt idx="4029">
                  <c:v>20031</c:v>
                </c:pt>
                <c:pt idx="4030">
                  <c:v>5634</c:v>
                </c:pt>
                <c:pt idx="4031">
                  <c:v>10164</c:v>
                </c:pt>
                <c:pt idx="4032">
                  <c:v>5817</c:v>
                </c:pt>
                <c:pt idx="4033">
                  <c:v>4771</c:v>
                </c:pt>
                <c:pt idx="4034">
                  <c:v>4084</c:v>
                </c:pt>
                <c:pt idx="4035">
                  <c:v>7691</c:v>
                </c:pt>
                <c:pt idx="4036">
                  <c:v>15107</c:v>
                </c:pt>
                <c:pt idx="4037">
                  <c:v>181345</c:v>
                </c:pt>
                <c:pt idx="4038">
                  <c:v>3437</c:v>
                </c:pt>
                <c:pt idx="4039">
                  <c:v>47550</c:v>
                </c:pt>
                <c:pt idx="4040">
                  <c:v>27319</c:v>
                </c:pt>
                <c:pt idx="4041">
                  <c:v>16711</c:v>
                </c:pt>
                <c:pt idx="4042">
                  <c:v>68865</c:v>
                </c:pt>
                <c:pt idx="4043">
                  <c:v>5739</c:v>
                </c:pt>
                <c:pt idx="4044">
                  <c:v>49978</c:v>
                </c:pt>
                <c:pt idx="4045">
                  <c:v>42222</c:v>
                </c:pt>
                <c:pt idx="4046">
                  <c:v>6044</c:v>
                </c:pt>
                <c:pt idx="4047">
                  <c:v>24093</c:v>
                </c:pt>
                <c:pt idx="4048">
                  <c:v>65702</c:v>
                </c:pt>
                <c:pt idx="4049">
                  <c:v>20896</c:v>
                </c:pt>
                <c:pt idx="4050">
                  <c:v>6016</c:v>
                </c:pt>
                <c:pt idx="4051">
                  <c:v>39257</c:v>
                </c:pt>
                <c:pt idx="4052">
                  <c:v>54953</c:v>
                </c:pt>
                <c:pt idx="4053">
                  <c:v>74101</c:v>
                </c:pt>
                <c:pt idx="4054">
                  <c:v>11346</c:v>
                </c:pt>
                <c:pt idx="4055">
                  <c:v>73119</c:v>
                </c:pt>
                <c:pt idx="4056">
                  <c:v>29128</c:v>
                </c:pt>
                <c:pt idx="4057">
                  <c:v>36275</c:v>
                </c:pt>
                <c:pt idx="4058">
                  <c:v>10001</c:v>
                </c:pt>
                <c:pt idx="4059">
                  <c:v>211287</c:v>
                </c:pt>
                <c:pt idx="4060">
                  <c:v>94445</c:v>
                </c:pt>
                <c:pt idx="4061">
                  <c:v>28033</c:v>
                </c:pt>
                <c:pt idx="4062">
                  <c:v>47203</c:v>
                </c:pt>
                <c:pt idx="4063">
                  <c:v>12928</c:v>
                </c:pt>
                <c:pt idx="4064">
                  <c:v>69069</c:v>
                </c:pt>
                <c:pt idx="4065">
                  <c:v>49075</c:v>
                </c:pt>
                <c:pt idx="4066">
                  <c:v>13441</c:v>
                </c:pt>
                <c:pt idx="4067">
                  <c:v>39076</c:v>
                </c:pt>
                <c:pt idx="4068">
                  <c:v>95411</c:v>
                </c:pt>
                <c:pt idx="4069">
                  <c:v>385872</c:v>
                </c:pt>
                <c:pt idx="4070">
                  <c:v>83275</c:v>
                </c:pt>
                <c:pt idx="4071">
                  <c:v>15615</c:v>
                </c:pt>
                <c:pt idx="4072">
                  <c:v>37835</c:v>
                </c:pt>
                <c:pt idx="4073">
                  <c:v>31552</c:v>
                </c:pt>
                <c:pt idx="4074">
                  <c:v>53932</c:v>
                </c:pt>
                <c:pt idx="4075">
                  <c:v>14401</c:v>
                </c:pt>
                <c:pt idx="4076">
                  <c:v>29877</c:v>
                </c:pt>
                <c:pt idx="4077">
                  <c:v>13921</c:v>
                </c:pt>
                <c:pt idx="4078">
                  <c:v>27762</c:v>
                </c:pt>
                <c:pt idx="4079">
                  <c:v>122339</c:v>
                </c:pt>
                <c:pt idx="4080">
                  <c:v>136060</c:v>
                </c:pt>
                <c:pt idx="4081">
                  <c:v>16133</c:v>
                </c:pt>
                <c:pt idx="4082">
                  <c:v>26970</c:v>
                </c:pt>
                <c:pt idx="4083">
                  <c:v>337842</c:v>
                </c:pt>
                <c:pt idx="4084">
                  <c:v>10530</c:v>
                </c:pt>
                <c:pt idx="4085">
                  <c:v>9253</c:v>
                </c:pt>
                <c:pt idx="4086">
                  <c:v>58952</c:v>
                </c:pt>
                <c:pt idx="4087">
                  <c:v>9560</c:v>
                </c:pt>
                <c:pt idx="4088">
                  <c:v>209386</c:v>
                </c:pt>
                <c:pt idx="4089">
                  <c:v>125770</c:v>
                </c:pt>
                <c:pt idx="4090">
                  <c:v>18465</c:v>
                </c:pt>
                <c:pt idx="4091">
                  <c:v>6303</c:v>
                </c:pt>
                <c:pt idx="4092">
                  <c:v>11503</c:v>
                </c:pt>
                <c:pt idx="4093">
                  <c:v>1329</c:v>
                </c:pt>
                <c:pt idx="4094">
                  <c:v>8875</c:v>
                </c:pt>
                <c:pt idx="4095">
                  <c:v>21064</c:v>
                </c:pt>
                <c:pt idx="4096">
                  <c:v>9184</c:v>
                </c:pt>
                <c:pt idx="4097">
                  <c:v>11218</c:v>
                </c:pt>
                <c:pt idx="4098">
                  <c:v>48296</c:v>
                </c:pt>
                <c:pt idx="4099">
                  <c:v>6707</c:v>
                </c:pt>
                <c:pt idx="4100">
                  <c:v>5157</c:v>
                </c:pt>
                <c:pt idx="4101">
                  <c:v>2601</c:v>
                </c:pt>
                <c:pt idx="4102">
                  <c:v>1855</c:v>
                </c:pt>
                <c:pt idx="4103">
                  <c:v>9432</c:v>
                </c:pt>
                <c:pt idx="4104">
                  <c:v>28145</c:v>
                </c:pt>
                <c:pt idx="4105">
                  <c:v>31074</c:v>
                </c:pt>
                <c:pt idx="4106">
                  <c:v>45325</c:v>
                </c:pt>
                <c:pt idx="4107">
                  <c:v>5304</c:v>
                </c:pt>
                <c:pt idx="4108">
                  <c:v>9615</c:v>
                </c:pt>
                <c:pt idx="4109">
                  <c:v>1407</c:v>
                </c:pt>
                <c:pt idx="4110">
                  <c:v>5445</c:v>
                </c:pt>
                <c:pt idx="4111">
                  <c:v>6178</c:v>
                </c:pt>
                <c:pt idx="4112">
                  <c:v>71081</c:v>
                </c:pt>
                <c:pt idx="4113">
                  <c:v>58263</c:v>
                </c:pt>
                <c:pt idx="4114">
                  <c:v>79503</c:v>
                </c:pt>
                <c:pt idx="4115">
                  <c:v>9259</c:v>
                </c:pt>
                <c:pt idx="4116">
                  <c:v>247451</c:v>
                </c:pt>
                <c:pt idx="4117">
                  <c:v>49899</c:v>
                </c:pt>
                <c:pt idx="4118">
                  <c:v>39273</c:v>
                </c:pt>
                <c:pt idx="4119">
                  <c:v>6302</c:v>
                </c:pt>
                <c:pt idx="4120">
                  <c:v>3309</c:v>
                </c:pt>
                <c:pt idx="4121">
                  <c:v>30043</c:v>
                </c:pt>
                <c:pt idx="4122">
                  <c:v>4317</c:v>
                </c:pt>
                <c:pt idx="4123">
                  <c:v>3259</c:v>
                </c:pt>
                <c:pt idx="4124">
                  <c:v>5842</c:v>
                </c:pt>
                <c:pt idx="4125">
                  <c:v>7337</c:v>
                </c:pt>
                <c:pt idx="4126">
                  <c:v>27480</c:v>
                </c:pt>
                <c:pt idx="4127">
                  <c:v>13386</c:v>
                </c:pt>
                <c:pt idx="4128">
                  <c:v>35235</c:v>
                </c:pt>
                <c:pt idx="4129">
                  <c:v>4096</c:v>
                </c:pt>
                <c:pt idx="4130">
                  <c:v>31048</c:v>
                </c:pt>
                <c:pt idx="4131">
                  <c:v>6663</c:v>
                </c:pt>
                <c:pt idx="4132">
                  <c:v>7410</c:v>
                </c:pt>
                <c:pt idx="4133">
                  <c:v>1687</c:v>
                </c:pt>
                <c:pt idx="4134">
                  <c:v>10922</c:v>
                </c:pt>
                <c:pt idx="4135">
                  <c:v>5880</c:v>
                </c:pt>
                <c:pt idx="4136">
                  <c:v>38418</c:v>
                </c:pt>
                <c:pt idx="4137">
                  <c:v>10402</c:v>
                </c:pt>
                <c:pt idx="4138">
                  <c:v>13891</c:v>
                </c:pt>
                <c:pt idx="4139">
                  <c:v>3391</c:v>
                </c:pt>
                <c:pt idx="4140">
                  <c:v>165394</c:v>
                </c:pt>
                <c:pt idx="4141">
                  <c:v>17674</c:v>
                </c:pt>
                <c:pt idx="4142">
                  <c:v>1537</c:v>
                </c:pt>
                <c:pt idx="4143">
                  <c:v>120852</c:v>
                </c:pt>
                <c:pt idx="4144">
                  <c:v>15761</c:v>
                </c:pt>
                <c:pt idx="4145">
                  <c:v>6115</c:v>
                </c:pt>
                <c:pt idx="4146">
                  <c:v>26376</c:v>
                </c:pt>
                <c:pt idx="4147">
                  <c:v>9467</c:v>
                </c:pt>
                <c:pt idx="4148">
                  <c:v>12956</c:v>
                </c:pt>
                <c:pt idx="4149">
                  <c:v>179706</c:v>
                </c:pt>
                <c:pt idx="4150">
                  <c:v>34024</c:v>
                </c:pt>
                <c:pt idx="4151">
                  <c:v>36989</c:v>
                </c:pt>
                <c:pt idx="4152">
                  <c:v>18402</c:v>
                </c:pt>
                <c:pt idx="4153">
                  <c:v>7786</c:v>
                </c:pt>
                <c:pt idx="4154">
                  <c:v>76826</c:v>
                </c:pt>
                <c:pt idx="4155">
                  <c:v>22445</c:v>
                </c:pt>
                <c:pt idx="4156">
                  <c:v>2552</c:v>
                </c:pt>
                <c:pt idx="4157">
                  <c:v>16791</c:v>
                </c:pt>
                <c:pt idx="4158">
                  <c:v>2899</c:v>
                </c:pt>
                <c:pt idx="4159">
                  <c:v>7507</c:v>
                </c:pt>
                <c:pt idx="4160">
                  <c:v>7176</c:v>
                </c:pt>
                <c:pt idx="4161">
                  <c:v>6345</c:v>
                </c:pt>
                <c:pt idx="4162">
                  <c:v>4929</c:v>
                </c:pt>
                <c:pt idx="4163">
                  <c:v>120584</c:v>
                </c:pt>
                <c:pt idx="4164">
                  <c:v>67802</c:v>
                </c:pt>
                <c:pt idx="4165">
                  <c:v>12387</c:v>
                </c:pt>
                <c:pt idx="4166">
                  <c:v>28087</c:v>
                </c:pt>
                <c:pt idx="4167">
                  <c:v>148420</c:v>
                </c:pt>
                <c:pt idx="4168">
                  <c:v>93033</c:v>
                </c:pt>
                <c:pt idx="4169">
                  <c:v>8241</c:v>
                </c:pt>
                <c:pt idx="4170">
                  <c:v>5379</c:v>
                </c:pt>
                <c:pt idx="4171">
                  <c:v>3152</c:v>
                </c:pt>
                <c:pt idx="4172">
                  <c:v>25870</c:v>
                </c:pt>
                <c:pt idx="4173">
                  <c:v>3481</c:v>
                </c:pt>
                <c:pt idx="4174">
                  <c:v>8784</c:v>
                </c:pt>
                <c:pt idx="4175">
                  <c:v>33343</c:v>
                </c:pt>
                <c:pt idx="4176">
                  <c:v>16789</c:v>
                </c:pt>
                <c:pt idx="4177">
                  <c:v>14898</c:v>
                </c:pt>
                <c:pt idx="4178">
                  <c:v>37686</c:v>
                </c:pt>
                <c:pt idx="4179">
                  <c:v>13796</c:v>
                </c:pt>
                <c:pt idx="4180">
                  <c:v>1065</c:v>
                </c:pt>
                <c:pt idx="4181">
                  <c:v>11886</c:v>
                </c:pt>
                <c:pt idx="4182">
                  <c:v>87292</c:v>
                </c:pt>
                <c:pt idx="4183">
                  <c:v>5796</c:v>
                </c:pt>
                <c:pt idx="4184">
                  <c:v>15467</c:v>
                </c:pt>
                <c:pt idx="4185">
                  <c:v>6346</c:v>
                </c:pt>
                <c:pt idx="4186">
                  <c:v>130836</c:v>
                </c:pt>
                <c:pt idx="4187">
                  <c:v>14252</c:v>
                </c:pt>
                <c:pt idx="4188">
                  <c:v>7898</c:v>
                </c:pt>
                <c:pt idx="4189">
                  <c:v>30395</c:v>
                </c:pt>
                <c:pt idx="4190">
                  <c:v>5698</c:v>
                </c:pt>
                <c:pt idx="4191">
                  <c:v>2498</c:v>
                </c:pt>
                <c:pt idx="4192">
                  <c:v>4824</c:v>
                </c:pt>
                <c:pt idx="4193">
                  <c:v>32855</c:v>
                </c:pt>
                <c:pt idx="4194">
                  <c:v>4441</c:v>
                </c:pt>
                <c:pt idx="4195">
                  <c:v>101568</c:v>
                </c:pt>
                <c:pt idx="4196">
                  <c:v>3286</c:v>
                </c:pt>
                <c:pt idx="4197">
                  <c:v>851</c:v>
                </c:pt>
                <c:pt idx="4198">
                  <c:v>4828</c:v>
                </c:pt>
                <c:pt idx="4199">
                  <c:v>178394</c:v>
                </c:pt>
                <c:pt idx="4200">
                  <c:v>9431</c:v>
                </c:pt>
                <c:pt idx="4201">
                  <c:v>208977</c:v>
                </c:pt>
                <c:pt idx="4202">
                  <c:v>6652</c:v>
                </c:pt>
                <c:pt idx="4203">
                  <c:v>5898</c:v>
                </c:pt>
                <c:pt idx="4204">
                  <c:v>18152</c:v>
                </c:pt>
                <c:pt idx="4205">
                  <c:v>3489</c:v>
                </c:pt>
                <c:pt idx="4206">
                  <c:v>10573</c:v>
                </c:pt>
                <c:pt idx="4207">
                  <c:v>16210</c:v>
                </c:pt>
                <c:pt idx="4208">
                  <c:v>6234</c:v>
                </c:pt>
                <c:pt idx="4209">
                  <c:v>62807</c:v>
                </c:pt>
                <c:pt idx="4210">
                  <c:v>12382</c:v>
                </c:pt>
                <c:pt idx="4211">
                  <c:v>96303</c:v>
                </c:pt>
                <c:pt idx="4212">
                  <c:v>3611</c:v>
                </c:pt>
                <c:pt idx="4213">
                  <c:v>26084</c:v>
                </c:pt>
                <c:pt idx="4214">
                  <c:v>13909</c:v>
                </c:pt>
                <c:pt idx="4215">
                  <c:v>18765</c:v>
                </c:pt>
                <c:pt idx="4216">
                  <c:v>7709</c:v>
                </c:pt>
                <c:pt idx="4217">
                  <c:v>6970</c:v>
                </c:pt>
                <c:pt idx="4218">
                  <c:v>21170</c:v>
                </c:pt>
                <c:pt idx="4219">
                  <c:v>2113</c:v>
                </c:pt>
                <c:pt idx="4220">
                  <c:v>5491</c:v>
                </c:pt>
                <c:pt idx="4221">
                  <c:v>398494</c:v>
                </c:pt>
                <c:pt idx="4222">
                  <c:v>8794</c:v>
                </c:pt>
                <c:pt idx="4223">
                  <c:v>4534</c:v>
                </c:pt>
                <c:pt idx="4224">
                  <c:v>128740</c:v>
                </c:pt>
                <c:pt idx="4225">
                  <c:v>18580</c:v>
                </c:pt>
                <c:pt idx="4226">
                  <c:v>10801</c:v>
                </c:pt>
                <c:pt idx="4227">
                  <c:v>5034</c:v>
                </c:pt>
                <c:pt idx="4228">
                  <c:v>9674</c:v>
                </c:pt>
                <c:pt idx="4229">
                  <c:v>16454</c:v>
                </c:pt>
                <c:pt idx="4230">
                  <c:v>38178</c:v>
                </c:pt>
                <c:pt idx="4231">
                  <c:v>2326</c:v>
                </c:pt>
                <c:pt idx="4232">
                  <c:v>525</c:v>
                </c:pt>
                <c:pt idx="4233">
                  <c:v>17803</c:v>
                </c:pt>
                <c:pt idx="4234">
                  <c:v>14076</c:v>
                </c:pt>
                <c:pt idx="4235">
                  <c:v>7936</c:v>
                </c:pt>
                <c:pt idx="4236">
                  <c:v>90704</c:v>
                </c:pt>
                <c:pt idx="4237">
                  <c:v>92167</c:v>
                </c:pt>
                <c:pt idx="4238">
                  <c:v>36632</c:v>
                </c:pt>
                <c:pt idx="4239">
                  <c:v>22487</c:v>
                </c:pt>
                <c:pt idx="4240">
                  <c:v>89606</c:v>
                </c:pt>
                <c:pt idx="4241">
                  <c:v>1648</c:v>
                </c:pt>
                <c:pt idx="4242">
                  <c:v>11132</c:v>
                </c:pt>
                <c:pt idx="4243">
                  <c:v>83151</c:v>
                </c:pt>
                <c:pt idx="4244">
                  <c:v>6526</c:v>
                </c:pt>
                <c:pt idx="4245">
                  <c:v>5559</c:v>
                </c:pt>
                <c:pt idx="4246">
                  <c:v>8477</c:v>
                </c:pt>
                <c:pt idx="4247">
                  <c:v>7555</c:v>
                </c:pt>
                <c:pt idx="4248">
                  <c:v>4719</c:v>
                </c:pt>
                <c:pt idx="4249">
                  <c:v>2721</c:v>
                </c:pt>
                <c:pt idx="4250">
                  <c:v>5405</c:v>
                </c:pt>
                <c:pt idx="4251">
                  <c:v>52917</c:v>
                </c:pt>
                <c:pt idx="4252">
                  <c:v>447952</c:v>
                </c:pt>
                <c:pt idx="4253">
                  <c:v>457</c:v>
                </c:pt>
                <c:pt idx="4254">
                  <c:v>34506</c:v>
                </c:pt>
                <c:pt idx="4255">
                  <c:v>6872</c:v>
                </c:pt>
                <c:pt idx="4256">
                  <c:v>4850</c:v>
                </c:pt>
                <c:pt idx="4257">
                  <c:v>32462</c:v>
                </c:pt>
                <c:pt idx="4258">
                  <c:v>96160</c:v>
                </c:pt>
                <c:pt idx="4259">
                  <c:v>76911</c:v>
                </c:pt>
                <c:pt idx="4260">
                  <c:v>8942</c:v>
                </c:pt>
                <c:pt idx="4261">
                  <c:v>215937</c:v>
                </c:pt>
                <c:pt idx="4262">
                  <c:v>5631</c:v>
                </c:pt>
                <c:pt idx="4263">
                  <c:v>3297</c:v>
                </c:pt>
                <c:pt idx="4264">
                  <c:v>9768</c:v>
                </c:pt>
                <c:pt idx="4265">
                  <c:v>14541</c:v>
                </c:pt>
                <c:pt idx="4266">
                  <c:v>42234</c:v>
                </c:pt>
                <c:pt idx="4267">
                  <c:v>25064</c:v>
                </c:pt>
                <c:pt idx="4268">
                  <c:v>8400</c:v>
                </c:pt>
                <c:pt idx="4269">
                  <c:v>22707</c:v>
                </c:pt>
                <c:pt idx="4270">
                  <c:v>45253</c:v>
                </c:pt>
                <c:pt idx="4271">
                  <c:v>71212</c:v>
                </c:pt>
                <c:pt idx="4272">
                  <c:v>24557</c:v>
                </c:pt>
                <c:pt idx="4273">
                  <c:v>37041</c:v>
                </c:pt>
                <c:pt idx="4274">
                  <c:v>13082</c:v>
                </c:pt>
                <c:pt idx="4275">
                  <c:v>129601</c:v>
                </c:pt>
                <c:pt idx="4276">
                  <c:v>18413</c:v>
                </c:pt>
                <c:pt idx="4277">
                  <c:v>55662</c:v>
                </c:pt>
                <c:pt idx="4278">
                  <c:v>136800</c:v>
                </c:pt>
                <c:pt idx="4279">
                  <c:v>89149</c:v>
                </c:pt>
                <c:pt idx="4280">
                  <c:v>5403</c:v>
                </c:pt>
                <c:pt idx="4281">
                  <c:v>16615</c:v>
                </c:pt>
                <c:pt idx="4282">
                  <c:v>7736</c:v>
                </c:pt>
                <c:pt idx="4283">
                  <c:v>9478</c:v>
                </c:pt>
                <c:pt idx="4284">
                  <c:v>26501</c:v>
                </c:pt>
                <c:pt idx="4285">
                  <c:v>26100</c:v>
                </c:pt>
                <c:pt idx="4286">
                  <c:v>21836</c:v>
                </c:pt>
                <c:pt idx="4287">
                  <c:v>7162</c:v>
                </c:pt>
                <c:pt idx="4288">
                  <c:v>13134</c:v>
                </c:pt>
                <c:pt idx="4289">
                  <c:v>13649</c:v>
                </c:pt>
                <c:pt idx="4290">
                  <c:v>9974</c:v>
                </c:pt>
                <c:pt idx="4291">
                  <c:v>11290</c:v>
                </c:pt>
                <c:pt idx="4292">
                  <c:v>57934</c:v>
                </c:pt>
                <c:pt idx="4293">
                  <c:v>32559</c:v>
                </c:pt>
                <c:pt idx="4294">
                  <c:v>10343</c:v>
                </c:pt>
                <c:pt idx="4295">
                  <c:v>22007</c:v>
                </c:pt>
                <c:pt idx="4296">
                  <c:v>12514</c:v>
                </c:pt>
                <c:pt idx="4297">
                  <c:v>102312</c:v>
                </c:pt>
                <c:pt idx="4298">
                  <c:v>26404</c:v>
                </c:pt>
                <c:pt idx="4299">
                  <c:v>12019</c:v>
                </c:pt>
                <c:pt idx="4300">
                  <c:v>47850</c:v>
                </c:pt>
                <c:pt idx="4301">
                  <c:v>7711</c:v>
                </c:pt>
                <c:pt idx="4302">
                  <c:v>31996</c:v>
                </c:pt>
                <c:pt idx="4303">
                  <c:v>14952</c:v>
                </c:pt>
                <c:pt idx="4304">
                  <c:v>59288</c:v>
                </c:pt>
                <c:pt idx="4305">
                  <c:v>26579</c:v>
                </c:pt>
                <c:pt idx="4306">
                  <c:v>23556</c:v>
                </c:pt>
                <c:pt idx="4307">
                  <c:v>51839</c:v>
                </c:pt>
                <c:pt idx="4308">
                  <c:v>168614</c:v>
                </c:pt>
                <c:pt idx="4309">
                  <c:v>9371</c:v>
                </c:pt>
                <c:pt idx="4310">
                  <c:v>92567</c:v>
                </c:pt>
                <c:pt idx="4311">
                  <c:v>42023</c:v>
                </c:pt>
                <c:pt idx="4312">
                  <c:v>51374</c:v>
                </c:pt>
                <c:pt idx="4313">
                  <c:v>62651</c:v>
                </c:pt>
                <c:pt idx="4314">
                  <c:v>7505</c:v>
                </c:pt>
                <c:pt idx="4315">
                  <c:v>12261</c:v>
                </c:pt>
                <c:pt idx="4316">
                  <c:v>50944</c:v>
                </c:pt>
                <c:pt idx="4317">
                  <c:v>22005</c:v>
                </c:pt>
                <c:pt idx="4318">
                  <c:v>112028</c:v>
                </c:pt>
                <c:pt idx="4319">
                  <c:v>37624</c:v>
                </c:pt>
                <c:pt idx="4320">
                  <c:v>81876</c:v>
                </c:pt>
                <c:pt idx="4321">
                  <c:v>8740</c:v>
                </c:pt>
                <c:pt idx="4322">
                  <c:v>25506</c:v>
                </c:pt>
                <c:pt idx="4323">
                  <c:v>31517</c:v>
                </c:pt>
                <c:pt idx="4324">
                  <c:v>45729</c:v>
                </c:pt>
                <c:pt idx="4325">
                  <c:v>30924</c:v>
                </c:pt>
                <c:pt idx="4326">
                  <c:v>21265</c:v>
                </c:pt>
                <c:pt idx="4327">
                  <c:v>21409</c:v>
                </c:pt>
                <c:pt idx="4328">
                  <c:v>8901</c:v>
                </c:pt>
                <c:pt idx="4329">
                  <c:v>15611</c:v>
                </c:pt>
                <c:pt idx="4330">
                  <c:v>40112</c:v>
                </c:pt>
                <c:pt idx="4331">
                  <c:v>6826</c:v>
                </c:pt>
                <c:pt idx="4332">
                  <c:v>4895</c:v>
                </c:pt>
                <c:pt idx="4333">
                  <c:v>19198</c:v>
                </c:pt>
                <c:pt idx="4334">
                  <c:v>3304</c:v>
                </c:pt>
                <c:pt idx="4335">
                  <c:v>67330</c:v>
                </c:pt>
                <c:pt idx="4336">
                  <c:v>16702</c:v>
                </c:pt>
                <c:pt idx="4337">
                  <c:v>33071</c:v>
                </c:pt>
                <c:pt idx="4338">
                  <c:v>14101</c:v>
                </c:pt>
                <c:pt idx="4339">
                  <c:v>34815</c:v>
                </c:pt>
                <c:pt idx="4340">
                  <c:v>154098</c:v>
                </c:pt>
                <c:pt idx="4341">
                  <c:v>12782</c:v>
                </c:pt>
                <c:pt idx="4342">
                  <c:v>7121</c:v>
                </c:pt>
                <c:pt idx="4343">
                  <c:v>98622</c:v>
                </c:pt>
                <c:pt idx="4344">
                  <c:v>157411</c:v>
                </c:pt>
                <c:pt idx="4345">
                  <c:v>60205</c:v>
                </c:pt>
                <c:pt idx="4346">
                  <c:v>22934</c:v>
                </c:pt>
                <c:pt idx="4347">
                  <c:v>2643</c:v>
                </c:pt>
                <c:pt idx="4348">
                  <c:v>13440</c:v>
                </c:pt>
                <c:pt idx="4349">
                  <c:v>11358</c:v>
                </c:pt>
                <c:pt idx="4350">
                  <c:v>56132</c:v>
                </c:pt>
                <c:pt idx="4351">
                  <c:v>27159</c:v>
                </c:pt>
                <c:pt idx="4352">
                  <c:v>30366</c:v>
                </c:pt>
                <c:pt idx="4353">
                  <c:v>37360</c:v>
                </c:pt>
                <c:pt idx="4354">
                  <c:v>22541</c:v>
                </c:pt>
                <c:pt idx="4355">
                  <c:v>65548</c:v>
                </c:pt>
                <c:pt idx="4356">
                  <c:v>52017</c:v>
                </c:pt>
                <c:pt idx="4357">
                  <c:v>360869</c:v>
                </c:pt>
                <c:pt idx="4358">
                  <c:v>24141</c:v>
                </c:pt>
                <c:pt idx="4359">
                  <c:v>6936</c:v>
                </c:pt>
                <c:pt idx="4360">
                  <c:v>11413</c:v>
                </c:pt>
                <c:pt idx="4361">
                  <c:v>12972</c:v>
                </c:pt>
                <c:pt idx="4362">
                  <c:v>15382</c:v>
                </c:pt>
                <c:pt idx="4363">
                  <c:v>335312</c:v>
                </c:pt>
                <c:pt idx="4364">
                  <c:v>15647</c:v>
                </c:pt>
                <c:pt idx="4365">
                  <c:v>42706</c:v>
                </c:pt>
                <c:pt idx="4366">
                  <c:v>23782</c:v>
                </c:pt>
                <c:pt idx="4367">
                  <c:v>44861</c:v>
                </c:pt>
                <c:pt idx="4368">
                  <c:v>38793</c:v>
                </c:pt>
                <c:pt idx="4369">
                  <c:v>15426</c:v>
                </c:pt>
                <c:pt idx="4370">
                  <c:v>84849</c:v>
                </c:pt>
                <c:pt idx="4371">
                  <c:v>6684</c:v>
                </c:pt>
                <c:pt idx="4372">
                  <c:v>2812</c:v>
                </c:pt>
                <c:pt idx="4373">
                  <c:v>2957</c:v>
                </c:pt>
                <c:pt idx="4374">
                  <c:v>7934</c:v>
                </c:pt>
                <c:pt idx="4375">
                  <c:v>12997</c:v>
                </c:pt>
                <c:pt idx="4376">
                  <c:v>123490</c:v>
                </c:pt>
                <c:pt idx="4377">
                  <c:v>5671</c:v>
                </c:pt>
                <c:pt idx="4378">
                  <c:v>11395</c:v>
                </c:pt>
                <c:pt idx="4379">
                  <c:v>6629</c:v>
                </c:pt>
                <c:pt idx="4380">
                  <c:v>21287</c:v>
                </c:pt>
                <c:pt idx="4381">
                  <c:v>6018</c:v>
                </c:pt>
                <c:pt idx="4382">
                  <c:v>22929</c:v>
                </c:pt>
                <c:pt idx="4383">
                  <c:v>3611</c:v>
                </c:pt>
                <c:pt idx="4384">
                  <c:v>48714</c:v>
                </c:pt>
                <c:pt idx="4385">
                  <c:v>8850</c:v>
                </c:pt>
                <c:pt idx="4386">
                  <c:v>11024</c:v>
                </c:pt>
                <c:pt idx="4387">
                  <c:v>7483</c:v>
                </c:pt>
                <c:pt idx="4388">
                  <c:v>1815</c:v>
                </c:pt>
                <c:pt idx="4389">
                  <c:v>5762</c:v>
                </c:pt>
                <c:pt idx="4390">
                  <c:v>6754</c:v>
                </c:pt>
                <c:pt idx="4391">
                  <c:v>44477</c:v>
                </c:pt>
                <c:pt idx="4392">
                  <c:v>29504</c:v>
                </c:pt>
                <c:pt idx="4393">
                  <c:v>2039</c:v>
                </c:pt>
                <c:pt idx="4394">
                  <c:v>18929</c:v>
                </c:pt>
                <c:pt idx="4395">
                  <c:v>8030</c:v>
                </c:pt>
                <c:pt idx="4396">
                  <c:v>33977</c:v>
                </c:pt>
                <c:pt idx="4397">
                  <c:v>8951</c:v>
                </c:pt>
                <c:pt idx="4398">
                  <c:v>3834</c:v>
                </c:pt>
                <c:pt idx="4399">
                  <c:v>8665</c:v>
                </c:pt>
                <c:pt idx="4400">
                  <c:v>10798</c:v>
                </c:pt>
                <c:pt idx="4401">
                  <c:v>5843</c:v>
                </c:pt>
                <c:pt idx="4402">
                  <c:v>18197</c:v>
                </c:pt>
                <c:pt idx="4403">
                  <c:v>4666</c:v>
                </c:pt>
                <c:pt idx="4404">
                  <c:v>48107</c:v>
                </c:pt>
                <c:pt idx="4405">
                  <c:v>16279</c:v>
                </c:pt>
                <c:pt idx="4406">
                  <c:v>7624</c:v>
                </c:pt>
                <c:pt idx="4407">
                  <c:v>16071</c:v>
                </c:pt>
                <c:pt idx="4408">
                  <c:v>6193</c:v>
                </c:pt>
                <c:pt idx="4409">
                  <c:v>7273</c:v>
                </c:pt>
                <c:pt idx="4410">
                  <c:v>4218</c:v>
                </c:pt>
                <c:pt idx="4411">
                  <c:v>8292</c:v>
                </c:pt>
                <c:pt idx="4412">
                  <c:v>10645</c:v>
                </c:pt>
                <c:pt idx="4413">
                  <c:v>85032</c:v>
                </c:pt>
                <c:pt idx="4414">
                  <c:v>12256</c:v>
                </c:pt>
                <c:pt idx="4415">
                  <c:v>5358</c:v>
                </c:pt>
                <c:pt idx="4416">
                  <c:v>3811</c:v>
                </c:pt>
                <c:pt idx="4417">
                  <c:v>18813</c:v>
                </c:pt>
                <c:pt idx="4418">
                  <c:v>6860</c:v>
                </c:pt>
                <c:pt idx="4419">
                  <c:v>8936</c:v>
                </c:pt>
                <c:pt idx="4420">
                  <c:v>63646</c:v>
                </c:pt>
                <c:pt idx="4421">
                  <c:v>18669</c:v>
                </c:pt>
                <c:pt idx="4422">
                  <c:v>36182</c:v>
                </c:pt>
                <c:pt idx="4423">
                  <c:v>4303</c:v>
                </c:pt>
                <c:pt idx="4424">
                  <c:v>19949</c:v>
                </c:pt>
                <c:pt idx="4425">
                  <c:v>18619</c:v>
                </c:pt>
                <c:pt idx="4426">
                  <c:v>185845</c:v>
                </c:pt>
                <c:pt idx="4427">
                  <c:v>14678</c:v>
                </c:pt>
                <c:pt idx="4428">
                  <c:v>10707</c:v>
                </c:pt>
                <c:pt idx="4429">
                  <c:v>7715</c:v>
                </c:pt>
                <c:pt idx="4430">
                  <c:v>23423</c:v>
                </c:pt>
                <c:pt idx="4431">
                  <c:v>12610</c:v>
                </c:pt>
                <c:pt idx="4432">
                  <c:v>33213</c:v>
                </c:pt>
                <c:pt idx="4433">
                  <c:v>9487</c:v>
                </c:pt>
                <c:pt idx="4434">
                  <c:v>73390</c:v>
                </c:pt>
                <c:pt idx="4435">
                  <c:v>10169</c:v>
                </c:pt>
                <c:pt idx="4436">
                  <c:v>4189</c:v>
                </c:pt>
                <c:pt idx="4437">
                  <c:v>27322</c:v>
                </c:pt>
                <c:pt idx="4438">
                  <c:v>112643</c:v>
                </c:pt>
                <c:pt idx="4439">
                  <c:v>8155</c:v>
                </c:pt>
                <c:pt idx="4440">
                  <c:v>6615</c:v>
                </c:pt>
                <c:pt idx="4441">
                  <c:v>6893</c:v>
                </c:pt>
                <c:pt idx="4442">
                  <c:v>65591</c:v>
                </c:pt>
                <c:pt idx="4443">
                  <c:v>5891</c:v>
                </c:pt>
                <c:pt idx="4444">
                  <c:v>17624</c:v>
                </c:pt>
                <c:pt idx="4445">
                  <c:v>9217</c:v>
                </c:pt>
                <c:pt idx="4446">
                  <c:v>6254</c:v>
                </c:pt>
                <c:pt idx="4447">
                  <c:v>8522</c:v>
                </c:pt>
                <c:pt idx="4448">
                  <c:v>3435</c:v>
                </c:pt>
                <c:pt idx="4449">
                  <c:v>7688</c:v>
                </c:pt>
                <c:pt idx="4450">
                  <c:v>295544</c:v>
                </c:pt>
                <c:pt idx="4451">
                  <c:v>40327</c:v>
                </c:pt>
                <c:pt idx="4452">
                  <c:v>4296</c:v>
                </c:pt>
                <c:pt idx="4453">
                  <c:v>14985</c:v>
                </c:pt>
                <c:pt idx="4454">
                  <c:v>25954</c:v>
                </c:pt>
                <c:pt idx="4455">
                  <c:v>8320</c:v>
                </c:pt>
                <c:pt idx="4456">
                  <c:v>7129</c:v>
                </c:pt>
                <c:pt idx="4457">
                  <c:v>12902</c:v>
                </c:pt>
                <c:pt idx="4458">
                  <c:v>10963</c:v>
                </c:pt>
                <c:pt idx="4459">
                  <c:v>38250</c:v>
                </c:pt>
                <c:pt idx="4460">
                  <c:v>26145</c:v>
                </c:pt>
                <c:pt idx="4461">
                  <c:v>28098</c:v>
                </c:pt>
                <c:pt idx="4462">
                  <c:v>18920</c:v>
                </c:pt>
                <c:pt idx="4463">
                  <c:v>28817</c:v>
                </c:pt>
                <c:pt idx="4464">
                  <c:v>15122</c:v>
                </c:pt>
                <c:pt idx="4465">
                  <c:v>19178</c:v>
                </c:pt>
                <c:pt idx="4466">
                  <c:v>10358</c:v>
                </c:pt>
                <c:pt idx="4467">
                  <c:v>19318</c:v>
                </c:pt>
                <c:pt idx="4468">
                  <c:v>25860</c:v>
                </c:pt>
                <c:pt idx="4469">
                  <c:v>46109</c:v>
                </c:pt>
                <c:pt idx="4470">
                  <c:v>8111</c:v>
                </c:pt>
                <c:pt idx="4471">
                  <c:v>40202</c:v>
                </c:pt>
                <c:pt idx="4472">
                  <c:v>5277</c:v>
                </c:pt>
                <c:pt idx="4473">
                  <c:v>14153</c:v>
                </c:pt>
                <c:pt idx="4474">
                  <c:v>19430</c:v>
                </c:pt>
                <c:pt idx="4475">
                  <c:v>36266</c:v>
                </c:pt>
                <c:pt idx="4476">
                  <c:v>36416</c:v>
                </c:pt>
                <c:pt idx="4477">
                  <c:v>7006</c:v>
                </c:pt>
                <c:pt idx="4478">
                  <c:v>7351</c:v>
                </c:pt>
                <c:pt idx="4479">
                  <c:v>24327</c:v>
                </c:pt>
                <c:pt idx="4480">
                  <c:v>18108</c:v>
                </c:pt>
                <c:pt idx="4481">
                  <c:v>60250</c:v>
                </c:pt>
                <c:pt idx="4482">
                  <c:v>4760</c:v>
                </c:pt>
                <c:pt idx="4483">
                  <c:v>4246</c:v>
                </c:pt>
                <c:pt idx="4484">
                  <c:v>26384</c:v>
                </c:pt>
                <c:pt idx="4485">
                  <c:v>15997</c:v>
                </c:pt>
                <c:pt idx="4486">
                  <c:v>17397</c:v>
                </c:pt>
                <c:pt idx="4487">
                  <c:v>14557</c:v>
                </c:pt>
                <c:pt idx="4488">
                  <c:v>16090</c:v>
                </c:pt>
                <c:pt idx="4489">
                  <c:v>13098</c:v>
                </c:pt>
                <c:pt idx="4490">
                  <c:v>14815</c:v>
                </c:pt>
                <c:pt idx="4491">
                  <c:v>5662</c:v>
                </c:pt>
                <c:pt idx="4492">
                  <c:v>7663</c:v>
                </c:pt>
                <c:pt idx="4493">
                  <c:v>6414</c:v>
                </c:pt>
                <c:pt idx="4494">
                  <c:v>9501</c:v>
                </c:pt>
                <c:pt idx="4495">
                  <c:v>128283</c:v>
                </c:pt>
                <c:pt idx="4496">
                  <c:v>14115</c:v>
                </c:pt>
                <c:pt idx="4497">
                  <c:v>21172</c:v>
                </c:pt>
                <c:pt idx="4498">
                  <c:v>15756</c:v>
                </c:pt>
                <c:pt idx="4499">
                  <c:v>3620</c:v>
                </c:pt>
                <c:pt idx="4500">
                  <c:v>10158</c:v>
                </c:pt>
                <c:pt idx="4501">
                  <c:v>10599</c:v>
                </c:pt>
                <c:pt idx="4502">
                  <c:v>23511</c:v>
                </c:pt>
                <c:pt idx="4503">
                  <c:v>4700</c:v>
                </c:pt>
                <c:pt idx="4504">
                  <c:v>9053</c:v>
                </c:pt>
                <c:pt idx="4505">
                  <c:v>6145</c:v>
                </c:pt>
                <c:pt idx="4506">
                  <c:v>19451</c:v>
                </c:pt>
                <c:pt idx="4507">
                  <c:v>7973</c:v>
                </c:pt>
                <c:pt idx="4508">
                  <c:v>16698</c:v>
                </c:pt>
                <c:pt idx="4509">
                  <c:v>43704</c:v>
                </c:pt>
                <c:pt idx="4510">
                  <c:v>11378</c:v>
                </c:pt>
                <c:pt idx="4511">
                  <c:v>20785</c:v>
                </c:pt>
                <c:pt idx="4512">
                  <c:v>18115</c:v>
                </c:pt>
                <c:pt idx="4513">
                  <c:v>6292</c:v>
                </c:pt>
                <c:pt idx="4514">
                  <c:v>6494</c:v>
                </c:pt>
                <c:pt idx="4515">
                  <c:v>37410</c:v>
                </c:pt>
                <c:pt idx="4516">
                  <c:v>19936</c:v>
                </c:pt>
                <c:pt idx="4517">
                  <c:v>17952</c:v>
                </c:pt>
                <c:pt idx="4518">
                  <c:v>8457</c:v>
                </c:pt>
                <c:pt idx="4519">
                  <c:v>42872</c:v>
                </c:pt>
                <c:pt idx="4520">
                  <c:v>19621</c:v>
                </c:pt>
                <c:pt idx="4521">
                  <c:v>4467</c:v>
                </c:pt>
                <c:pt idx="4522">
                  <c:v>16074</c:v>
                </c:pt>
                <c:pt idx="4523">
                  <c:v>9914</c:v>
                </c:pt>
                <c:pt idx="4524">
                  <c:v>2820</c:v>
                </c:pt>
                <c:pt idx="4525">
                  <c:v>9603</c:v>
                </c:pt>
                <c:pt idx="4526">
                  <c:v>26724</c:v>
                </c:pt>
                <c:pt idx="4527">
                  <c:v>8554</c:v>
                </c:pt>
                <c:pt idx="4528">
                  <c:v>18550</c:v>
                </c:pt>
                <c:pt idx="4529">
                  <c:v>29990</c:v>
                </c:pt>
                <c:pt idx="4530">
                  <c:v>94816</c:v>
                </c:pt>
                <c:pt idx="4531">
                  <c:v>20542</c:v>
                </c:pt>
                <c:pt idx="4532">
                  <c:v>14867</c:v>
                </c:pt>
                <c:pt idx="4533">
                  <c:v>14172</c:v>
                </c:pt>
                <c:pt idx="4534">
                  <c:v>31304</c:v>
                </c:pt>
                <c:pt idx="4535">
                  <c:v>6941</c:v>
                </c:pt>
                <c:pt idx="4536">
                  <c:v>49564</c:v>
                </c:pt>
                <c:pt idx="4537">
                  <c:v>3467</c:v>
                </c:pt>
                <c:pt idx="4538">
                  <c:v>19104</c:v>
                </c:pt>
                <c:pt idx="4539">
                  <c:v>3727</c:v>
                </c:pt>
                <c:pt idx="4540">
                  <c:v>11201</c:v>
                </c:pt>
                <c:pt idx="4541">
                  <c:v>27373</c:v>
                </c:pt>
                <c:pt idx="4542">
                  <c:v>2775</c:v>
                </c:pt>
                <c:pt idx="4543">
                  <c:v>4888</c:v>
                </c:pt>
                <c:pt idx="4544">
                  <c:v>5929</c:v>
                </c:pt>
                <c:pt idx="4545">
                  <c:v>27323</c:v>
                </c:pt>
                <c:pt idx="4546">
                  <c:v>34164</c:v>
                </c:pt>
                <c:pt idx="4547">
                  <c:v>20899</c:v>
                </c:pt>
                <c:pt idx="4548">
                  <c:v>9720</c:v>
                </c:pt>
                <c:pt idx="4549">
                  <c:v>28767</c:v>
                </c:pt>
                <c:pt idx="4550">
                  <c:v>16906</c:v>
                </c:pt>
                <c:pt idx="4551">
                  <c:v>5413</c:v>
                </c:pt>
                <c:pt idx="4552">
                  <c:v>20475</c:v>
                </c:pt>
                <c:pt idx="4553">
                  <c:v>16285</c:v>
                </c:pt>
                <c:pt idx="4554">
                  <c:v>12551</c:v>
                </c:pt>
                <c:pt idx="4555">
                  <c:v>48282</c:v>
                </c:pt>
                <c:pt idx="4556">
                  <c:v>20910</c:v>
                </c:pt>
                <c:pt idx="4557">
                  <c:v>1596</c:v>
                </c:pt>
                <c:pt idx="4558">
                  <c:v>47974</c:v>
                </c:pt>
                <c:pt idx="4559">
                  <c:v>417268</c:v>
                </c:pt>
                <c:pt idx="4560">
                  <c:v>24802</c:v>
                </c:pt>
                <c:pt idx="4561">
                  <c:v>15351</c:v>
                </c:pt>
                <c:pt idx="4562">
                  <c:v>3842</c:v>
                </c:pt>
                <c:pt idx="4563">
                  <c:v>18433</c:v>
                </c:pt>
                <c:pt idx="4564">
                  <c:v>8459</c:v>
                </c:pt>
                <c:pt idx="4565">
                  <c:v>6221</c:v>
                </c:pt>
                <c:pt idx="4566">
                  <c:v>14054</c:v>
                </c:pt>
                <c:pt idx="4567">
                  <c:v>7960</c:v>
                </c:pt>
                <c:pt idx="4568">
                  <c:v>7063</c:v>
                </c:pt>
                <c:pt idx="4569">
                  <c:v>14576</c:v>
                </c:pt>
                <c:pt idx="4570">
                  <c:v>8627</c:v>
                </c:pt>
                <c:pt idx="4571">
                  <c:v>12163</c:v>
                </c:pt>
                <c:pt idx="4572">
                  <c:v>2335</c:v>
                </c:pt>
                <c:pt idx="4573">
                  <c:v>36762</c:v>
                </c:pt>
                <c:pt idx="4574">
                  <c:v>8163</c:v>
                </c:pt>
                <c:pt idx="4575">
                  <c:v>8437</c:v>
                </c:pt>
                <c:pt idx="4576">
                  <c:v>51773</c:v>
                </c:pt>
                <c:pt idx="4577">
                  <c:v>15336</c:v>
                </c:pt>
                <c:pt idx="4578">
                  <c:v>66868</c:v>
                </c:pt>
                <c:pt idx="4579">
                  <c:v>8698</c:v>
                </c:pt>
                <c:pt idx="4580">
                  <c:v>68968</c:v>
                </c:pt>
                <c:pt idx="4581">
                  <c:v>37874</c:v>
                </c:pt>
                <c:pt idx="4582">
                  <c:v>14825</c:v>
                </c:pt>
                <c:pt idx="4583">
                  <c:v>7398</c:v>
                </c:pt>
                <c:pt idx="4584">
                  <c:v>10083</c:v>
                </c:pt>
                <c:pt idx="4585">
                  <c:v>35688</c:v>
                </c:pt>
                <c:pt idx="4586">
                  <c:v>7331</c:v>
                </c:pt>
                <c:pt idx="4587">
                  <c:v>9688</c:v>
                </c:pt>
                <c:pt idx="4588">
                  <c:v>3824</c:v>
                </c:pt>
                <c:pt idx="4589">
                  <c:v>53086</c:v>
                </c:pt>
                <c:pt idx="4590">
                  <c:v>36605</c:v>
                </c:pt>
                <c:pt idx="4591">
                  <c:v>21886</c:v>
                </c:pt>
                <c:pt idx="4592">
                  <c:v>8205</c:v>
                </c:pt>
                <c:pt idx="4593">
                  <c:v>15072</c:v>
                </c:pt>
                <c:pt idx="4594">
                  <c:v>17487</c:v>
                </c:pt>
                <c:pt idx="4595">
                  <c:v>5533</c:v>
                </c:pt>
                <c:pt idx="4596">
                  <c:v>15048</c:v>
                </c:pt>
                <c:pt idx="4597">
                  <c:v>5681</c:v>
                </c:pt>
                <c:pt idx="4598">
                  <c:v>13194</c:v>
                </c:pt>
                <c:pt idx="4599">
                  <c:v>4706</c:v>
                </c:pt>
                <c:pt idx="4600">
                  <c:v>16699</c:v>
                </c:pt>
                <c:pt idx="4601">
                  <c:v>17292</c:v>
                </c:pt>
                <c:pt idx="4602">
                  <c:v>11431</c:v>
                </c:pt>
                <c:pt idx="4603">
                  <c:v>11097</c:v>
                </c:pt>
                <c:pt idx="4604">
                  <c:v>14184</c:v>
                </c:pt>
                <c:pt idx="4605">
                  <c:v>26780</c:v>
                </c:pt>
                <c:pt idx="4606">
                  <c:v>27196</c:v>
                </c:pt>
                <c:pt idx="4607">
                  <c:v>8731</c:v>
                </c:pt>
                <c:pt idx="4608">
                  <c:v>5538</c:v>
                </c:pt>
                <c:pt idx="4609">
                  <c:v>6208</c:v>
                </c:pt>
                <c:pt idx="4610">
                  <c:v>137575</c:v>
                </c:pt>
                <c:pt idx="4611">
                  <c:v>12049</c:v>
                </c:pt>
                <c:pt idx="4612">
                  <c:v>9006</c:v>
                </c:pt>
                <c:pt idx="4613">
                  <c:v>21422</c:v>
                </c:pt>
                <c:pt idx="4614">
                  <c:v>10045</c:v>
                </c:pt>
                <c:pt idx="4615">
                  <c:v>8140</c:v>
                </c:pt>
                <c:pt idx="4616">
                  <c:v>13206</c:v>
                </c:pt>
                <c:pt idx="4617">
                  <c:v>15206</c:v>
                </c:pt>
                <c:pt idx="4618">
                  <c:v>8644</c:v>
                </c:pt>
                <c:pt idx="4619">
                  <c:v>6159</c:v>
                </c:pt>
                <c:pt idx="4620">
                  <c:v>5067</c:v>
                </c:pt>
                <c:pt idx="4621">
                  <c:v>12635</c:v>
                </c:pt>
                <c:pt idx="4622">
                  <c:v>5984</c:v>
                </c:pt>
                <c:pt idx="4623">
                  <c:v>69594</c:v>
                </c:pt>
                <c:pt idx="4624">
                  <c:v>17103</c:v>
                </c:pt>
                <c:pt idx="4625">
                  <c:v>10557</c:v>
                </c:pt>
                <c:pt idx="4626">
                  <c:v>15362</c:v>
                </c:pt>
                <c:pt idx="4627">
                  <c:v>260733</c:v>
                </c:pt>
                <c:pt idx="4628">
                  <c:v>9960</c:v>
                </c:pt>
                <c:pt idx="4629">
                  <c:v>17448</c:v>
                </c:pt>
                <c:pt idx="4630">
                  <c:v>148105</c:v>
                </c:pt>
                <c:pt idx="4631">
                  <c:v>11917</c:v>
                </c:pt>
                <c:pt idx="4632">
                  <c:v>12996</c:v>
                </c:pt>
                <c:pt idx="4633">
                  <c:v>2936</c:v>
                </c:pt>
                <c:pt idx="4634">
                  <c:v>19138</c:v>
                </c:pt>
                <c:pt idx="4635">
                  <c:v>16441</c:v>
                </c:pt>
                <c:pt idx="4636">
                  <c:v>42873</c:v>
                </c:pt>
                <c:pt idx="4637">
                  <c:v>8801</c:v>
                </c:pt>
                <c:pt idx="4638">
                  <c:v>19328</c:v>
                </c:pt>
                <c:pt idx="4639">
                  <c:v>18895</c:v>
                </c:pt>
                <c:pt idx="4640">
                  <c:v>19022</c:v>
                </c:pt>
                <c:pt idx="4641">
                  <c:v>24594</c:v>
                </c:pt>
                <c:pt idx="4642">
                  <c:v>10752</c:v>
                </c:pt>
                <c:pt idx="4643">
                  <c:v>62988</c:v>
                </c:pt>
                <c:pt idx="4644">
                  <c:v>13091</c:v>
                </c:pt>
                <c:pt idx="4645">
                  <c:v>12737</c:v>
                </c:pt>
                <c:pt idx="4646">
                  <c:v>21997</c:v>
                </c:pt>
                <c:pt idx="4647">
                  <c:v>49100</c:v>
                </c:pt>
                <c:pt idx="4648">
                  <c:v>7844</c:v>
                </c:pt>
                <c:pt idx="4649">
                  <c:v>4590</c:v>
                </c:pt>
                <c:pt idx="4650">
                  <c:v>10187</c:v>
                </c:pt>
                <c:pt idx="4651">
                  <c:v>9350</c:v>
                </c:pt>
                <c:pt idx="4652">
                  <c:v>7939</c:v>
                </c:pt>
                <c:pt idx="4653">
                  <c:v>6725</c:v>
                </c:pt>
                <c:pt idx="4654">
                  <c:v>21247</c:v>
                </c:pt>
                <c:pt idx="4655">
                  <c:v>22027</c:v>
                </c:pt>
                <c:pt idx="4656">
                  <c:v>12049</c:v>
                </c:pt>
                <c:pt idx="4657">
                  <c:v>4895</c:v>
                </c:pt>
                <c:pt idx="4658">
                  <c:v>2419</c:v>
                </c:pt>
                <c:pt idx="4659">
                  <c:v>25314</c:v>
                </c:pt>
                <c:pt idx="4660">
                  <c:v>26369</c:v>
                </c:pt>
                <c:pt idx="4661">
                  <c:v>13346</c:v>
                </c:pt>
                <c:pt idx="4662">
                  <c:v>24274</c:v>
                </c:pt>
                <c:pt idx="4663">
                  <c:v>6019</c:v>
                </c:pt>
                <c:pt idx="4664">
                  <c:v>14089</c:v>
                </c:pt>
                <c:pt idx="4665">
                  <c:v>9397</c:v>
                </c:pt>
                <c:pt idx="4666">
                  <c:v>30218</c:v>
                </c:pt>
                <c:pt idx="4667">
                  <c:v>107875</c:v>
                </c:pt>
                <c:pt idx="4668">
                  <c:v>19841</c:v>
                </c:pt>
                <c:pt idx="4669">
                  <c:v>9145</c:v>
                </c:pt>
                <c:pt idx="4670">
                  <c:v>3670</c:v>
                </c:pt>
                <c:pt idx="4671">
                  <c:v>4127</c:v>
                </c:pt>
                <c:pt idx="4672">
                  <c:v>14615</c:v>
                </c:pt>
                <c:pt idx="4673">
                  <c:v>32748</c:v>
                </c:pt>
                <c:pt idx="4674">
                  <c:v>7198</c:v>
                </c:pt>
                <c:pt idx="4675">
                  <c:v>160963</c:v>
                </c:pt>
                <c:pt idx="4676">
                  <c:v>27880</c:v>
                </c:pt>
                <c:pt idx="4677">
                  <c:v>10852</c:v>
                </c:pt>
                <c:pt idx="4678">
                  <c:v>29976</c:v>
                </c:pt>
                <c:pt idx="4679">
                  <c:v>13942</c:v>
                </c:pt>
                <c:pt idx="4680">
                  <c:v>22925</c:v>
                </c:pt>
                <c:pt idx="4681">
                  <c:v>30706</c:v>
                </c:pt>
                <c:pt idx="4682">
                  <c:v>4383</c:v>
                </c:pt>
                <c:pt idx="4683">
                  <c:v>8514</c:v>
                </c:pt>
                <c:pt idx="4684">
                  <c:v>17725</c:v>
                </c:pt>
                <c:pt idx="4685">
                  <c:v>43671</c:v>
                </c:pt>
                <c:pt idx="4686">
                  <c:v>52854</c:v>
                </c:pt>
                <c:pt idx="4687">
                  <c:v>83284</c:v>
                </c:pt>
                <c:pt idx="4688">
                  <c:v>1115</c:v>
                </c:pt>
                <c:pt idx="4689">
                  <c:v>9590</c:v>
                </c:pt>
                <c:pt idx="4690">
                  <c:v>6587</c:v>
                </c:pt>
                <c:pt idx="4691">
                  <c:v>71621</c:v>
                </c:pt>
                <c:pt idx="4692">
                  <c:v>41868</c:v>
                </c:pt>
                <c:pt idx="4693">
                  <c:v>2283</c:v>
                </c:pt>
                <c:pt idx="4694">
                  <c:v>12487</c:v>
                </c:pt>
                <c:pt idx="4695">
                  <c:v>3555</c:v>
                </c:pt>
                <c:pt idx="4696">
                  <c:v>60029</c:v>
                </c:pt>
                <c:pt idx="4697">
                  <c:v>30647</c:v>
                </c:pt>
                <c:pt idx="4698">
                  <c:v>291246</c:v>
                </c:pt>
                <c:pt idx="4699">
                  <c:v>18913</c:v>
                </c:pt>
                <c:pt idx="4700">
                  <c:v>3006</c:v>
                </c:pt>
                <c:pt idx="4701">
                  <c:v>17032</c:v>
                </c:pt>
                <c:pt idx="4702">
                  <c:v>24896</c:v>
                </c:pt>
                <c:pt idx="4703">
                  <c:v>35410</c:v>
                </c:pt>
                <c:pt idx="4704">
                  <c:v>1423</c:v>
                </c:pt>
                <c:pt idx="4705">
                  <c:v>17032</c:v>
                </c:pt>
                <c:pt idx="4706">
                  <c:v>89415</c:v>
                </c:pt>
                <c:pt idx="4707">
                  <c:v>38485</c:v>
                </c:pt>
                <c:pt idx="4708">
                  <c:v>15630</c:v>
                </c:pt>
                <c:pt idx="4709">
                  <c:v>23810</c:v>
                </c:pt>
                <c:pt idx="4710">
                  <c:v>2507</c:v>
                </c:pt>
                <c:pt idx="4711">
                  <c:v>264287</c:v>
                </c:pt>
                <c:pt idx="4712">
                  <c:v>293460</c:v>
                </c:pt>
                <c:pt idx="4713">
                  <c:v>12903</c:v>
                </c:pt>
                <c:pt idx="4714">
                  <c:v>12504</c:v>
                </c:pt>
                <c:pt idx="4715">
                  <c:v>93995</c:v>
                </c:pt>
                <c:pt idx="4716">
                  <c:v>1916</c:v>
                </c:pt>
                <c:pt idx="4717">
                  <c:v>23485</c:v>
                </c:pt>
                <c:pt idx="4718">
                  <c:v>5253</c:v>
                </c:pt>
                <c:pt idx="4719">
                  <c:v>8191</c:v>
                </c:pt>
                <c:pt idx="4720">
                  <c:v>28352</c:v>
                </c:pt>
                <c:pt idx="4721">
                  <c:v>36034</c:v>
                </c:pt>
                <c:pt idx="4722">
                  <c:v>7377</c:v>
                </c:pt>
                <c:pt idx="4723">
                  <c:v>50260</c:v>
                </c:pt>
                <c:pt idx="4724">
                  <c:v>35471</c:v>
                </c:pt>
                <c:pt idx="4725">
                  <c:v>65243</c:v>
                </c:pt>
                <c:pt idx="4726">
                  <c:v>7012</c:v>
                </c:pt>
                <c:pt idx="4727">
                  <c:v>524883</c:v>
                </c:pt>
                <c:pt idx="4728">
                  <c:v>8600</c:v>
                </c:pt>
                <c:pt idx="4729">
                  <c:v>21688</c:v>
                </c:pt>
                <c:pt idx="4730">
                  <c:v>17212</c:v>
                </c:pt>
                <c:pt idx="4731">
                  <c:v>9369</c:v>
                </c:pt>
                <c:pt idx="4732">
                  <c:v>22746</c:v>
                </c:pt>
                <c:pt idx="4733">
                  <c:v>194231</c:v>
                </c:pt>
                <c:pt idx="4734">
                  <c:v>4429</c:v>
                </c:pt>
                <c:pt idx="4735">
                  <c:v>43630</c:v>
                </c:pt>
                <c:pt idx="4736">
                  <c:v>39118</c:v>
                </c:pt>
                <c:pt idx="4737">
                  <c:v>2312</c:v>
                </c:pt>
                <c:pt idx="4738">
                  <c:v>78246</c:v>
                </c:pt>
                <c:pt idx="4739">
                  <c:v>20189</c:v>
                </c:pt>
                <c:pt idx="4740">
                  <c:v>29319</c:v>
                </c:pt>
                <c:pt idx="4741">
                  <c:v>83900</c:v>
                </c:pt>
                <c:pt idx="4742">
                  <c:v>271451</c:v>
                </c:pt>
                <c:pt idx="4743">
                  <c:v>10890</c:v>
                </c:pt>
                <c:pt idx="4744">
                  <c:v>18855</c:v>
                </c:pt>
                <c:pt idx="4745">
                  <c:v>14447</c:v>
                </c:pt>
                <c:pt idx="4746">
                  <c:v>9058</c:v>
                </c:pt>
                <c:pt idx="4747">
                  <c:v>2359</c:v>
                </c:pt>
                <c:pt idx="4748">
                  <c:v>48461</c:v>
                </c:pt>
                <c:pt idx="4749">
                  <c:v>26479</c:v>
                </c:pt>
                <c:pt idx="4750">
                  <c:v>121599</c:v>
                </c:pt>
                <c:pt idx="4751">
                  <c:v>184386</c:v>
                </c:pt>
                <c:pt idx="4752">
                  <c:v>42058</c:v>
                </c:pt>
                <c:pt idx="4753">
                  <c:v>11756</c:v>
                </c:pt>
                <c:pt idx="4754">
                  <c:v>841916</c:v>
                </c:pt>
                <c:pt idx="4755">
                  <c:v>30080</c:v>
                </c:pt>
                <c:pt idx="4756">
                  <c:v>12713</c:v>
                </c:pt>
                <c:pt idx="4757">
                  <c:v>9317</c:v>
                </c:pt>
                <c:pt idx="4758">
                  <c:v>8565</c:v>
                </c:pt>
                <c:pt idx="4759">
                  <c:v>5826</c:v>
                </c:pt>
                <c:pt idx="4760">
                  <c:v>3079</c:v>
                </c:pt>
                <c:pt idx="4761">
                  <c:v>14388</c:v>
                </c:pt>
                <c:pt idx="4762">
                  <c:v>92551</c:v>
                </c:pt>
                <c:pt idx="4763">
                  <c:v>19474</c:v>
                </c:pt>
                <c:pt idx="4764">
                  <c:v>12895</c:v>
                </c:pt>
                <c:pt idx="4765">
                  <c:v>14624</c:v>
                </c:pt>
                <c:pt idx="4766">
                  <c:v>2616</c:v>
                </c:pt>
                <c:pt idx="4767">
                  <c:v>7895</c:v>
                </c:pt>
                <c:pt idx="4768">
                  <c:v>5887</c:v>
                </c:pt>
                <c:pt idx="4769">
                  <c:v>8974</c:v>
                </c:pt>
                <c:pt idx="4770">
                  <c:v>5638</c:v>
                </c:pt>
                <c:pt idx="4771">
                  <c:v>26573</c:v>
                </c:pt>
                <c:pt idx="4772">
                  <c:v>13130</c:v>
                </c:pt>
                <c:pt idx="4773">
                  <c:v>56066</c:v>
                </c:pt>
                <c:pt idx="4774">
                  <c:v>37794</c:v>
                </c:pt>
                <c:pt idx="4775">
                  <c:v>10346</c:v>
                </c:pt>
                <c:pt idx="4776">
                  <c:v>20478</c:v>
                </c:pt>
                <c:pt idx="4777">
                  <c:v>8390</c:v>
                </c:pt>
                <c:pt idx="4778">
                  <c:v>3666</c:v>
                </c:pt>
                <c:pt idx="4779">
                  <c:v>17189</c:v>
                </c:pt>
                <c:pt idx="4780">
                  <c:v>36333</c:v>
                </c:pt>
                <c:pt idx="4781">
                  <c:v>17730</c:v>
                </c:pt>
                <c:pt idx="4782">
                  <c:v>16400</c:v>
                </c:pt>
                <c:pt idx="4783">
                  <c:v>16498</c:v>
                </c:pt>
                <c:pt idx="4784">
                  <c:v>6526</c:v>
                </c:pt>
                <c:pt idx="4785">
                  <c:v>81233</c:v>
                </c:pt>
                <c:pt idx="4786">
                  <c:v>4463</c:v>
                </c:pt>
                <c:pt idx="4787">
                  <c:v>10879</c:v>
                </c:pt>
                <c:pt idx="4788">
                  <c:v>9797</c:v>
                </c:pt>
                <c:pt idx="4789">
                  <c:v>10617</c:v>
                </c:pt>
                <c:pt idx="4790">
                  <c:v>5640</c:v>
                </c:pt>
                <c:pt idx="4791">
                  <c:v>29344</c:v>
                </c:pt>
                <c:pt idx="4792">
                  <c:v>1193</c:v>
                </c:pt>
                <c:pt idx="4793">
                  <c:v>4537</c:v>
                </c:pt>
                <c:pt idx="4794">
                  <c:v>10101</c:v>
                </c:pt>
                <c:pt idx="4795">
                  <c:v>46959</c:v>
                </c:pt>
                <c:pt idx="4796">
                  <c:v>4169</c:v>
                </c:pt>
                <c:pt idx="4797">
                  <c:v>4780</c:v>
                </c:pt>
                <c:pt idx="4798">
                  <c:v>16977</c:v>
                </c:pt>
                <c:pt idx="4799">
                  <c:v>94278</c:v>
                </c:pt>
                <c:pt idx="4800">
                  <c:v>3607</c:v>
                </c:pt>
                <c:pt idx="4801">
                  <c:v>9386</c:v>
                </c:pt>
                <c:pt idx="4802">
                  <c:v>3891</c:v>
                </c:pt>
                <c:pt idx="4803">
                  <c:v>18663</c:v>
                </c:pt>
                <c:pt idx="4804">
                  <c:v>13801</c:v>
                </c:pt>
                <c:pt idx="4805">
                  <c:v>3632</c:v>
                </c:pt>
                <c:pt idx="4806">
                  <c:v>6574</c:v>
                </c:pt>
                <c:pt idx="4807">
                  <c:v>29788</c:v>
                </c:pt>
                <c:pt idx="4808">
                  <c:v>12874</c:v>
                </c:pt>
                <c:pt idx="4809">
                  <c:v>15972</c:v>
                </c:pt>
                <c:pt idx="4810">
                  <c:v>76044</c:v>
                </c:pt>
                <c:pt idx="4811">
                  <c:v>18141</c:v>
                </c:pt>
                <c:pt idx="4812">
                  <c:v>9565</c:v>
                </c:pt>
                <c:pt idx="4813">
                  <c:v>39117</c:v>
                </c:pt>
                <c:pt idx="4814">
                  <c:v>71327</c:v>
                </c:pt>
                <c:pt idx="4815">
                  <c:v>4489</c:v>
                </c:pt>
                <c:pt idx="4816">
                  <c:v>204136</c:v>
                </c:pt>
                <c:pt idx="4817">
                  <c:v>11919</c:v>
                </c:pt>
                <c:pt idx="4818">
                  <c:v>13453</c:v>
                </c:pt>
                <c:pt idx="4819">
                  <c:v>16707</c:v>
                </c:pt>
                <c:pt idx="4820">
                  <c:v>23606</c:v>
                </c:pt>
                <c:pt idx="4821">
                  <c:v>16126</c:v>
                </c:pt>
                <c:pt idx="4822">
                  <c:v>2447</c:v>
                </c:pt>
                <c:pt idx="4823">
                  <c:v>4274</c:v>
                </c:pt>
                <c:pt idx="4824">
                  <c:v>27190</c:v>
                </c:pt>
                <c:pt idx="4825">
                  <c:v>13098</c:v>
                </c:pt>
                <c:pt idx="4826">
                  <c:v>14286</c:v>
                </c:pt>
                <c:pt idx="4827">
                  <c:v>11600</c:v>
                </c:pt>
                <c:pt idx="4828">
                  <c:v>28209</c:v>
                </c:pt>
                <c:pt idx="4829">
                  <c:v>10137</c:v>
                </c:pt>
                <c:pt idx="4830">
                  <c:v>10851</c:v>
                </c:pt>
                <c:pt idx="4831">
                  <c:v>45696</c:v>
                </c:pt>
                <c:pt idx="4832">
                  <c:v>7544</c:v>
                </c:pt>
                <c:pt idx="4833">
                  <c:v>10057</c:v>
                </c:pt>
                <c:pt idx="4834">
                  <c:v>39323</c:v>
                </c:pt>
                <c:pt idx="4835">
                  <c:v>6079</c:v>
                </c:pt>
                <c:pt idx="4836">
                  <c:v>8832</c:v>
                </c:pt>
                <c:pt idx="4837">
                  <c:v>4684</c:v>
                </c:pt>
                <c:pt idx="4838">
                  <c:v>44413</c:v>
                </c:pt>
                <c:pt idx="4839">
                  <c:v>13539</c:v>
                </c:pt>
                <c:pt idx="4840">
                  <c:v>43705</c:v>
                </c:pt>
                <c:pt idx="4841">
                  <c:v>41771</c:v>
                </c:pt>
                <c:pt idx="4842">
                  <c:v>34033</c:v>
                </c:pt>
                <c:pt idx="4843">
                  <c:v>12338</c:v>
                </c:pt>
                <c:pt idx="4844">
                  <c:v>33397</c:v>
                </c:pt>
                <c:pt idx="4845">
                  <c:v>21263</c:v>
                </c:pt>
                <c:pt idx="4846">
                  <c:v>102364</c:v>
                </c:pt>
                <c:pt idx="4847">
                  <c:v>6600</c:v>
                </c:pt>
                <c:pt idx="4848">
                  <c:v>9433</c:v>
                </c:pt>
                <c:pt idx="4849">
                  <c:v>36164</c:v>
                </c:pt>
                <c:pt idx="4850">
                  <c:v>9177</c:v>
                </c:pt>
                <c:pt idx="4851">
                  <c:v>35273</c:v>
                </c:pt>
                <c:pt idx="4852">
                  <c:v>9726</c:v>
                </c:pt>
                <c:pt idx="4853">
                  <c:v>6666</c:v>
                </c:pt>
                <c:pt idx="4854">
                  <c:v>7327</c:v>
                </c:pt>
                <c:pt idx="4855">
                  <c:v>8552</c:v>
                </c:pt>
                <c:pt idx="4856">
                  <c:v>7383</c:v>
                </c:pt>
                <c:pt idx="4857">
                  <c:v>24722</c:v>
                </c:pt>
                <c:pt idx="4858">
                  <c:v>16094</c:v>
                </c:pt>
                <c:pt idx="4859">
                  <c:v>12687</c:v>
                </c:pt>
                <c:pt idx="4860">
                  <c:v>2998</c:v>
                </c:pt>
                <c:pt idx="4861">
                  <c:v>18927</c:v>
                </c:pt>
                <c:pt idx="4862">
                  <c:v>4349</c:v>
                </c:pt>
                <c:pt idx="4863">
                  <c:v>19132</c:v>
                </c:pt>
                <c:pt idx="4864">
                  <c:v>6027</c:v>
                </c:pt>
                <c:pt idx="4865">
                  <c:v>18506</c:v>
                </c:pt>
                <c:pt idx="4866">
                  <c:v>20287</c:v>
                </c:pt>
                <c:pt idx="4867">
                  <c:v>21399</c:v>
                </c:pt>
                <c:pt idx="4868">
                  <c:v>28102</c:v>
                </c:pt>
                <c:pt idx="4869">
                  <c:v>139481</c:v>
                </c:pt>
                <c:pt idx="4870">
                  <c:v>60745</c:v>
                </c:pt>
                <c:pt idx="4871">
                  <c:v>17652</c:v>
                </c:pt>
                <c:pt idx="4872">
                  <c:v>8476</c:v>
                </c:pt>
                <c:pt idx="4873">
                  <c:v>9511</c:v>
                </c:pt>
                <c:pt idx="4874">
                  <c:v>2607</c:v>
                </c:pt>
                <c:pt idx="4875">
                  <c:v>5080</c:v>
                </c:pt>
                <c:pt idx="4876">
                  <c:v>9989</c:v>
                </c:pt>
                <c:pt idx="4877">
                  <c:v>682</c:v>
                </c:pt>
                <c:pt idx="4878">
                  <c:v>28748</c:v>
                </c:pt>
                <c:pt idx="4879">
                  <c:v>13269</c:v>
                </c:pt>
                <c:pt idx="4880">
                  <c:v>16111</c:v>
                </c:pt>
                <c:pt idx="4881">
                  <c:v>5269</c:v>
                </c:pt>
                <c:pt idx="4882">
                  <c:v>12186</c:v>
                </c:pt>
                <c:pt idx="4883">
                  <c:v>14252</c:v>
                </c:pt>
                <c:pt idx="4884">
                  <c:v>85973</c:v>
                </c:pt>
                <c:pt idx="4885">
                  <c:v>10832</c:v>
                </c:pt>
                <c:pt idx="4886">
                  <c:v>21485</c:v>
                </c:pt>
                <c:pt idx="4887">
                  <c:v>6883</c:v>
                </c:pt>
                <c:pt idx="4888">
                  <c:v>4473</c:v>
                </c:pt>
                <c:pt idx="4889">
                  <c:v>12405</c:v>
                </c:pt>
                <c:pt idx="4890">
                  <c:v>7242</c:v>
                </c:pt>
                <c:pt idx="4891">
                  <c:v>5093</c:v>
                </c:pt>
                <c:pt idx="4892">
                  <c:v>12725</c:v>
                </c:pt>
                <c:pt idx="4893">
                  <c:v>50971</c:v>
                </c:pt>
                <c:pt idx="4894">
                  <c:v>28711</c:v>
                </c:pt>
                <c:pt idx="4895">
                  <c:v>6953</c:v>
                </c:pt>
                <c:pt idx="4896">
                  <c:v>4251</c:v>
                </c:pt>
                <c:pt idx="4897">
                  <c:v>16339</c:v>
                </c:pt>
                <c:pt idx="4898">
                  <c:v>42480</c:v>
                </c:pt>
                <c:pt idx="4899">
                  <c:v>3563</c:v>
                </c:pt>
                <c:pt idx="4900">
                  <c:v>57020</c:v>
                </c:pt>
                <c:pt idx="4901">
                  <c:v>18430</c:v>
                </c:pt>
                <c:pt idx="4902">
                  <c:v>6014</c:v>
                </c:pt>
                <c:pt idx="4903">
                  <c:v>29385</c:v>
                </c:pt>
                <c:pt idx="4904">
                  <c:v>8030</c:v>
                </c:pt>
                <c:pt idx="4905">
                  <c:v>24788</c:v>
                </c:pt>
                <c:pt idx="4906">
                  <c:v>30565</c:v>
                </c:pt>
                <c:pt idx="4907">
                  <c:v>22113</c:v>
                </c:pt>
                <c:pt idx="4908">
                  <c:v>2922</c:v>
                </c:pt>
                <c:pt idx="4909">
                  <c:v>61365</c:v>
                </c:pt>
                <c:pt idx="4910">
                  <c:v>122143</c:v>
                </c:pt>
                <c:pt idx="4911">
                  <c:v>5535</c:v>
                </c:pt>
                <c:pt idx="4912">
                  <c:v>5394</c:v>
                </c:pt>
                <c:pt idx="4913">
                  <c:v>15665</c:v>
                </c:pt>
                <c:pt idx="4914">
                  <c:v>6276</c:v>
                </c:pt>
                <c:pt idx="4915">
                  <c:v>9283</c:v>
                </c:pt>
                <c:pt idx="4916">
                  <c:v>5727</c:v>
                </c:pt>
                <c:pt idx="4917">
                  <c:v>59452</c:v>
                </c:pt>
                <c:pt idx="4918">
                  <c:v>6155</c:v>
                </c:pt>
                <c:pt idx="4919">
                  <c:v>60790</c:v>
                </c:pt>
                <c:pt idx="4920">
                  <c:v>7617</c:v>
                </c:pt>
                <c:pt idx="4921">
                  <c:v>46000</c:v>
                </c:pt>
                <c:pt idx="4922">
                  <c:v>52308</c:v>
                </c:pt>
                <c:pt idx="4923">
                  <c:v>18927</c:v>
                </c:pt>
                <c:pt idx="4924">
                  <c:v>5522</c:v>
                </c:pt>
                <c:pt idx="4925">
                  <c:v>12108</c:v>
                </c:pt>
                <c:pt idx="4926">
                  <c:v>31699</c:v>
                </c:pt>
                <c:pt idx="4927">
                  <c:v>74130</c:v>
                </c:pt>
                <c:pt idx="4928">
                  <c:v>20672</c:v>
                </c:pt>
                <c:pt idx="4929">
                  <c:v>13640</c:v>
                </c:pt>
                <c:pt idx="4930">
                  <c:v>6380</c:v>
                </c:pt>
                <c:pt idx="4931">
                  <c:v>132615</c:v>
                </c:pt>
                <c:pt idx="4932">
                  <c:v>27585</c:v>
                </c:pt>
                <c:pt idx="4933">
                  <c:v>27043</c:v>
                </c:pt>
                <c:pt idx="4934">
                  <c:v>30493</c:v>
                </c:pt>
                <c:pt idx="4935">
                  <c:v>15894</c:v>
                </c:pt>
                <c:pt idx="4936">
                  <c:v>11845</c:v>
                </c:pt>
                <c:pt idx="4937">
                  <c:v>7332</c:v>
                </c:pt>
                <c:pt idx="4938">
                  <c:v>4427</c:v>
                </c:pt>
                <c:pt idx="4939">
                  <c:v>24614</c:v>
                </c:pt>
                <c:pt idx="4940">
                  <c:v>5151</c:v>
                </c:pt>
                <c:pt idx="4941">
                  <c:v>2096</c:v>
                </c:pt>
                <c:pt idx="4942">
                  <c:v>6439</c:v>
                </c:pt>
                <c:pt idx="4943">
                  <c:v>78266</c:v>
                </c:pt>
                <c:pt idx="4944">
                  <c:v>37371</c:v>
                </c:pt>
                <c:pt idx="4945">
                  <c:v>7849</c:v>
                </c:pt>
                <c:pt idx="4946">
                  <c:v>7907</c:v>
                </c:pt>
                <c:pt idx="4947">
                  <c:v>9946</c:v>
                </c:pt>
                <c:pt idx="4948">
                  <c:v>10506</c:v>
                </c:pt>
                <c:pt idx="4949">
                  <c:v>14225</c:v>
                </c:pt>
                <c:pt idx="4950">
                  <c:v>12744</c:v>
                </c:pt>
                <c:pt idx="4951">
                  <c:v>8141</c:v>
                </c:pt>
                <c:pt idx="4952">
                  <c:v>17543</c:v>
                </c:pt>
                <c:pt idx="4953">
                  <c:v>9587</c:v>
                </c:pt>
                <c:pt idx="4954">
                  <c:v>9459</c:v>
                </c:pt>
                <c:pt idx="4955">
                  <c:v>4718</c:v>
                </c:pt>
                <c:pt idx="4956">
                  <c:v>9361</c:v>
                </c:pt>
                <c:pt idx="4957">
                  <c:v>9250</c:v>
                </c:pt>
                <c:pt idx="4958">
                  <c:v>25148</c:v>
                </c:pt>
                <c:pt idx="4959">
                  <c:v>8387</c:v>
                </c:pt>
                <c:pt idx="4960">
                  <c:v>20682</c:v>
                </c:pt>
                <c:pt idx="4961">
                  <c:v>4261</c:v>
                </c:pt>
                <c:pt idx="4962">
                  <c:v>16731</c:v>
                </c:pt>
                <c:pt idx="4963">
                  <c:v>40944</c:v>
                </c:pt>
                <c:pt idx="4964">
                  <c:v>15333</c:v>
                </c:pt>
                <c:pt idx="4965">
                  <c:v>10771</c:v>
                </c:pt>
                <c:pt idx="4966">
                  <c:v>295</c:v>
                </c:pt>
                <c:pt idx="4967">
                  <c:v>26719</c:v>
                </c:pt>
                <c:pt idx="4968">
                  <c:v>19866</c:v>
                </c:pt>
                <c:pt idx="4969">
                  <c:v>33265</c:v>
                </c:pt>
                <c:pt idx="4970">
                  <c:v>4647</c:v>
                </c:pt>
                <c:pt idx="4971">
                  <c:v>11954</c:v>
                </c:pt>
                <c:pt idx="4972">
                  <c:v>123670</c:v>
                </c:pt>
                <c:pt idx="4973">
                  <c:v>5670</c:v>
                </c:pt>
                <c:pt idx="4974">
                  <c:v>12094</c:v>
                </c:pt>
                <c:pt idx="4975">
                  <c:v>52360</c:v>
                </c:pt>
                <c:pt idx="4976">
                  <c:v>10107</c:v>
                </c:pt>
                <c:pt idx="4977">
                  <c:v>9594</c:v>
                </c:pt>
                <c:pt idx="4978">
                  <c:v>7515</c:v>
                </c:pt>
                <c:pt idx="4979">
                  <c:v>4008</c:v>
                </c:pt>
                <c:pt idx="4980">
                  <c:v>14546</c:v>
                </c:pt>
                <c:pt idx="4981">
                  <c:v>35360</c:v>
                </c:pt>
                <c:pt idx="4982">
                  <c:v>36830</c:v>
                </c:pt>
                <c:pt idx="4983">
                  <c:v>10786</c:v>
                </c:pt>
                <c:pt idx="4984">
                  <c:v>7499</c:v>
                </c:pt>
                <c:pt idx="4985">
                  <c:v>30002</c:v>
                </c:pt>
                <c:pt idx="4986">
                  <c:v>2639</c:v>
                </c:pt>
                <c:pt idx="4987">
                  <c:v>44446</c:v>
                </c:pt>
                <c:pt idx="4988">
                  <c:v>103513</c:v>
                </c:pt>
                <c:pt idx="4989">
                  <c:v>15791</c:v>
                </c:pt>
                <c:pt idx="4990">
                  <c:v>14261</c:v>
                </c:pt>
                <c:pt idx="4991">
                  <c:v>2838</c:v>
                </c:pt>
                <c:pt idx="4992">
                  <c:v>63664</c:v>
                </c:pt>
                <c:pt idx="4993">
                  <c:v>55518</c:v>
                </c:pt>
                <c:pt idx="4994">
                  <c:v>6814</c:v>
                </c:pt>
                <c:pt idx="4995">
                  <c:v>27242</c:v>
                </c:pt>
                <c:pt idx="4996">
                  <c:v>27162</c:v>
                </c:pt>
                <c:pt idx="4997">
                  <c:v>19365</c:v>
                </c:pt>
                <c:pt idx="4998">
                  <c:v>5586</c:v>
                </c:pt>
                <c:pt idx="4999">
                  <c:v>18486</c:v>
                </c:pt>
                <c:pt idx="5000">
                  <c:v>3173</c:v>
                </c:pt>
                <c:pt idx="5001">
                  <c:v>29424</c:v>
                </c:pt>
                <c:pt idx="5002">
                  <c:v>12559</c:v>
                </c:pt>
                <c:pt idx="5003">
                  <c:v>10316</c:v>
                </c:pt>
                <c:pt idx="5004">
                  <c:v>16104</c:v>
                </c:pt>
                <c:pt idx="5005">
                  <c:v>9073</c:v>
                </c:pt>
                <c:pt idx="5006">
                  <c:v>43767</c:v>
                </c:pt>
                <c:pt idx="5007">
                  <c:v>10427</c:v>
                </c:pt>
                <c:pt idx="5008">
                  <c:v>15771</c:v>
                </c:pt>
                <c:pt idx="5009">
                  <c:v>6146</c:v>
                </c:pt>
                <c:pt idx="5010">
                  <c:v>76574</c:v>
                </c:pt>
                <c:pt idx="5011">
                  <c:v>8080</c:v>
                </c:pt>
                <c:pt idx="5012">
                  <c:v>20128</c:v>
                </c:pt>
                <c:pt idx="5013">
                  <c:v>10184</c:v>
                </c:pt>
                <c:pt idx="5014">
                  <c:v>16631</c:v>
                </c:pt>
                <c:pt idx="5015">
                  <c:v>15349</c:v>
                </c:pt>
                <c:pt idx="5016">
                  <c:v>27944</c:v>
                </c:pt>
                <c:pt idx="5017">
                  <c:v>46773</c:v>
                </c:pt>
                <c:pt idx="5018">
                  <c:v>21155</c:v>
                </c:pt>
                <c:pt idx="5019">
                  <c:v>31427</c:v>
                </c:pt>
                <c:pt idx="5020">
                  <c:v>60599</c:v>
                </c:pt>
                <c:pt idx="5021">
                  <c:v>135422</c:v>
                </c:pt>
                <c:pt idx="5022">
                  <c:v>7484</c:v>
                </c:pt>
                <c:pt idx="5023">
                  <c:v>14132</c:v>
                </c:pt>
                <c:pt idx="5024">
                  <c:v>25619</c:v>
                </c:pt>
                <c:pt idx="5025">
                  <c:v>25907</c:v>
                </c:pt>
                <c:pt idx="5026">
                  <c:v>220364</c:v>
                </c:pt>
                <c:pt idx="5027">
                  <c:v>28184</c:v>
                </c:pt>
                <c:pt idx="5028">
                  <c:v>982</c:v>
                </c:pt>
                <c:pt idx="5029">
                  <c:v>208604</c:v>
                </c:pt>
                <c:pt idx="5030">
                  <c:v>8609</c:v>
                </c:pt>
                <c:pt idx="5031">
                  <c:v>10552</c:v>
                </c:pt>
                <c:pt idx="5032">
                  <c:v>18821</c:v>
                </c:pt>
                <c:pt idx="5033">
                  <c:v>72444</c:v>
                </c:pt>
                <c:pt idx="5034">
                  <c:v>63838</c:v>
                </c:pt>
                <c:pt idx="5035">
                  <c:v>16551</c:v>
                </c:pt>
                <c:pt idx="5036">
                  <c:v>25050</c:v>
                </c:pt>
                <c:pt idx="5037">
                  <c:v>6549</c:v>
                </c:pt>
                <c:pt idx="5038">
                  <c:v>11220</c:v>
                </c:pt>
                <c:pt idx="5039">
                  <c:v>6083</c:v>
                </c:pt>
                <c:pt idx="5040">
                  <c:v>92750</c:v>
                </c:pt>
                <c:pt idx="5041">
                  <c:v>21402</c:v>
                </c:pt>
                <c:pt idx="5042">
                  <c:v>3203</c:v>
                </c:pt>
                <c:pt idx="5043">
                  <c:v>5359</c:v>
                </c:pt>
                <c:pt idx="5044">
                  <c:v>1049</c:v>
                </c:pt>
                <c:pt idx="5045">
                  <c:v>34507</c:v>
                </c:pt>
                <c:pt idx="5046">
                  <c:v>122589</c:v>
                </c:pt>
                <c:pt idx="5047">
                  <c:v>25951</c:v>
                </c:pt>
                <c:pt idx="5048">
                  <c:v>22508</c:v>
                </c:pt>
                <c:pt idx="5049">
                  <c:v>125357</c:v>
                </c:pt>
                <c:pt idx="5050">
                  <c:v>41734</c:v>
                </c:pt>
                <c:pt idx="5051">
                  <c:v>1204</c:v>
                </c:pt>
                <c:pt idx="5052">
                  <c:v>48382</c:v>
                </c:pt>
                <c:pt idx="5053">
                  <c:v>17825</c:v>
                </c:pt>
                <c:pt idx="5054">
                  <c:v>47535</c:v>
                </c:pt>
                <c:pt idx="5055">
                  <c:v>7398</c:v>
                </c:pt>
                <c:pt idx="5056">
                  <c:v>18462</c:v>
                </c:pt>
                <c:pt idx="5057">
                  <c:v>1267</c:v>
                </c:pt>
                <c:pt idx="5058">
                  <c:v>8552</c:v>
                </c:pt>
                <c:pt idx="5059">
                  <c:v>4413</c:v>
                </c:pt>
                <c:pt idx="5060">
                  <c:v>10126</c:v>
                </c:pt>
                <c:pt idx="5061">
                  <c:v>72394</c:v>
                </c:pt>
                <c:pt idx="5062">
                  <c:v>18421</c:v>
                </c:pt>
                <c:pt idx="5063">
                  <c:v>3697</c:v>
                </c:pt>
                <c:pt idx="5064">
                  <c:v>5313</c:v>
                </c:pt>
                <c:pt idx="5065">
                  <c:v>19442</c:v>
                </c:pt>
                <c:pt idx="5066">
                  <c:v>10404</c:v>
                </c:pt>
                <c:pt idx="5067">
                  <c:v>4506</c:v>
                </c:pt>
                <c:pt idx="5068">
                  <c:v>41124</c:v>
                </c:pt>
                <c:pt idx="5069">
                  <c:v>12394</c:v>
                </c:pt>
                <c:pt idx="5070">
                  <c:v>27509</c:v>
                </c:pt>
                <c:pt idx="5071">
                  <c:v>8009</c:v>
                </c:pt>
                <c:pt idx="5072">
                  <c:v>4023</c:v>
                </c:pt>
                <c:pt idx="5073">
                  <c:v>23910</c:v>
                </c:pt>
                <c:pt idx="5074">
                  <c:v>15254</c:v>
                </c:pt>
                <c:pt idx="5075">
                  <c:v>13351</c:v>
                </c:pt>
                <c:pt idx="5076">
                  <c:v>19165</c:v>
                </c:pt>
                <c:pt idx="5077">
                  <c:v>10070</c:v>
                </c:pt>
                <c:pt idx="5078">
                  <c:v>10253</c:v>
                </c:pt>
                <c:pt idx="5079">
                  <c:v>40574</c:v>
                </c:pt>
                <c:pt idx="5080">
                  <c:v>5682</c:v>
                </c:pt>
                <c:pt idx="5081">
                  <c:v>5251</c:v>
                </c:pt>
                <c:pt idx="5082">
                  <c:v>4261</c:v>
                </c:pt>
                <c:pt idx="5083">
                  <c:v>15798</c:v>
                </c:pt>
                <c:pt idx="5084">
                  <c:v>90312</c:v>
                </c:pt>
                <c:pt idx="5085">
                  <c:v>16073</c:v>
                </c:pt>
                <c:pt idx="5086">
                  <c:v>18169</c:v>
                </c:pt>
                <c:pt idx="5087">
                  <c:v>26476</c:v>
                </c:pt>
                <c:pt idx="5088">
                  <c:v>7422</c:v>
                </c:pt>
                <c:pt idx="5089">
                  <c:v>6959</c:v>
                </c:pt>
                <c:pt idx="5090">
                  <c:v>19635</c:v>
                </c:pt>
                <c:pt idx="5091">
                  <c:v>4485</c:v>
                </c:pt>
                <c:pt idx="5092">
                  <c:v>9759</c:v>
                </c:pt>
                <c:pt idx="5093">
                  <c:v>5660</c:v>
                </c:pt>
                <c:pt idx="5094">
                  <c:v>23423</c:v>
                </c:pt>
                <c:pt idx="5095">
                  <c:v>72715</c:v>
                </c:pt>
                <c:pt idx="5096">
                  <c:v>22813</c:v>
                </c:pt>
                <c:pt idx="5097">
                  <c:v>16949</c:v>
                </c:pt>
                <c:pt idx="5098">
                  <c:v>5358</c:v>
                </c:pt>
                <c:pt idx="5099">
                  <c:v>27788</c:v>
                </c:pt>
                <c:pt idx="5100">
                  <c:v>70253</c:v>
                </c:pt>
                <c:pt idx="5101">
                  <c:v>3067</c:v>
                </c:pt>
                <c:pt idx="5102">
                  <c:v>15945</c:v>
                </c:pt>
                <c:pt idx="5103">
                  <c:v>19313</c:v>
                </c:pt>
                <c:pt idx="5104">
                  <c:v>8200</c:v>
                </c:pt>
                <c:pt idx="5105">
                  <c:v>13468</c:v>
                </c:pt>
                <c:pt idx="5106">
                  <c:v>22578</c:v>
                </c:pt>
                <c:pt idx="5107">
                  <c:v>26502</c:v>
                </c:pt>
                <c:pt idx="5108">
                  <c:v>8428</c:v>
                </c:pt>
                <c:pt idx="5109">
                  <c:v>73047</c:v>
                </c:pt>
                <c:pt idx="5110">
                  <c:v>11316</c:v>
                </c:pt>
                <c:pt idx="5111">
                  <c:v>166714</c:v>
                </c:pt>
                <c:pt idx="5112">
                  <c:v>4310</c:v>
                </c:pt>
                <c:pt idx="5113">
                  <c:v>88373</c:v>
                </c:pt>
                <c:pt idx="5114">
                  <c:v>247435</c:v>
                </c:pt>
                <c:pt idx="5115">
                  <c:v>23126</c:v>
                </c:pt>
                <c:pt idx="5116">
                  <c:v>33754</c:v>
                </c:pt>
                <c:pt idx="5117">
                  <c:v>7262</c:v>
                </c:pt>
                <c:pt idx="5118">
                  <c:v>40779</c:v>
                </c:pt>
                <c:pt idx="5119">
                  <c:v>6397</c:v>
                </c:pt>
                <c:pt idx="5120">
                  <c:v>4516</c:v>
                </c:pt>
                <c:pt idx="5121">
                  <c:v>60311</c:v>
                </c:pt>
                <c:pt idx="5122">
                  <c:v>31861</c:v>
                </c:pt>
                <c:pt idx="5123">
                  <c:v>19580</c:v>
                </c:pt>
                <c:pt idx="5124">
                  <c:v>41214</c:v>
                </c:pt>
                <c:pt idx="5125">
                  <c:v>21892</c:v>
                </c:pt>
                <c:pt idx="5126">
                  <c:v>92247</c:v>
                </c:pt>
                <c:pt idx="5127">
                  <c:v>70114</c:v>
                </c:pt>
                <c:pt idx="5128">
                  <c:v>9195</c:v>
                </c:pt>
                <c:pt idx="5129">
                  <c:v>4684</c:v>
                </c:pt>
                <c:pt idx="5130">
                  <c:v>10477</c:v>
                </c:pt>
                <c:pt idx="5131">
                  <c:v>23607</c:v>
                </c:pt>
                <c:pt idx="5132">
                  <c:v>31707</c:v>
                </c:pt>
                <c:pt idx="5133">
                  <c:v>4360</c:v>
                </c:pt>
                <c:pt idx="5134">
                  <c:v>27247</c:v>
                </c:pt>
                <c:pt idx="5135">
                  <c:v>933862</c:v>
                </c:pt>
                <c:pt idx="5136">
                  <c:v>22396</c:v>
                </c:pt>
                <c:pt idx="5137">
                  <c:v>47894</c:v>
                </c:pt>
                <c:pt idx="5138">
                  <c:v>15419</c:v>
                </c:pt>
                <c:pt idx="5139">
                  <c:v>2460</c:v>
                </c:pt>
                <c:pt idx="5140">
                  <c:v>5454</c:v>
                </c:pt>
                <c:pt idx="5141">
                  <c:v>10939</c:v>
                </c:pt>
                <c:pt idx="5142">
                  <c:v>75248</c:v>
                </c:pt>
                <c:pt idx="5143">
                  <c:v>44473</c:v>
                </c:pt>
                <c:pt idx="5144">
                  <c:v>84595</c:v>
                </c:pt>
                <c:pt idx="5145">
                  <c:v>12225</c:v>
                </c:pt>
                <c:pt idx="5146">
                  <c:v>12101</c:v>
                </c:pt>
                <c:pt idx="5147">
                  <c:v>22993</c:v>
                </c:pt>
                <c:pt idx="5148">
                  <c:v>23133</c:v>
                </c:pt>
                <c:pt idx="5149">
                  <c:v>8796</c:v>
                </c:pt>
                <c:pt idx="5150">
                  <c:v>8987</c:v>
                </c:pt>
                <c:pt idx="5151">
                  <c:v>28847</c:v>
                </c:pt>
                <c:pt idx="5152">
                  <c:v>8383</c:v>
                </c:pt>
                <c:pt idx="5153">
                  <c:v>18538</c:v>
                </c:pt>
                <c:pt idx="5154">
                  <c:v>22703</c:v>
                </c:pt>
                <c:pt idx="5155">
                  <c:v>41504</c:v>
                </c:pt>
                <c:pt idx="5156">
                  <c:v>32233</c:v>
                </c:pt>
                <c:pt idx="5157">
                  <c:v>14197</c:v>
                </c:pt>
                <c:pt idx="5158">
                  <c:v>3675</c:v>
                </c:pt>
                <c:pt idx="5159">
                  <c:v>38873</c:v>
                </c:pt>
                <c:pt idx="5160">
                  <c:v>43888</c:v>
                </c:pt>
                <c:pt idx="5161">
                  <c:v>12825</c:v>
                </c:pt>
                <c:pt idx="5162">
                  <c:v>57951</c:v>
                </c:pt>
                <c:pt idx="5163">
                  <c:v>9418</c:v>
                </c:pt>
                <c:pt idx="5164">
                  <c:v>15142</c:v>
                </c:pt>
                <c:pt idx="5165">
                  <c:v>24405</c:v>
                </c:pt>
                <c:pt idx="5166">
                  <c:v>12656</c:v>
                </c:pt>
                <c:pt idx="5167">
                  <c:v>84182</c:v>
                </c:pt>
                <c:pt idx="5168">
                  <c:v>23717</c:v>
                </c:pt>
                <c:pt idx="5169">
                  <c:v>12158</c:v>
                </c:pt>
                <c:pt idx="5170">
                  <c:v>7153</c:v>
                </c:pt>
                <c:pt idx="5171">
                  <c:v>49332</c:v>
                </c:pt>
                <c:pt idx="5172">
                  <c:v>29463</c:v>
                </c:pt>
                <c:pt idx="5173">
                  <c:v>17560</c:v>
                </c:pt>
                <c:pt idx="5174">
                  <c:v>13948</c:v>
                </c:pt>
                <c:pt idx="5175">
                  <c:v>38200</c:v>
                </c:pt>
                <c:pt idx="5176">
                  <c:v>82847</c:v>
                </c:pt>
                <c:pt idx="5177">
                  <c:v>8596</c:v>
                </c:pt>
                <c:pt idx="5178">
                  <c:v>20738</c:v>
                </c:pt>
                <c:pt idx="5179">
                  <c:v>14500</c:v>
                </c:pt>
                <c:pt idx="5180">
                  <c:v>16779</c:v>
                </c:pt>
                <c:pt idx="5181">
                  <c:v>23372</c:v>
                </c:pt>
                <c:pt idx="5182">
                  <c:v>6193</c:v>
                </c:pt>
                <c:pt idx="5183">
                  <c:v>37058</c:v>
                </c:pt>
                <c:pt idx="5184">
                  <c:v>23677</c:v>
                </c:pt>
                <c:pt idx="5185">
                  <c:v>39599</c:v>
                </c:pt>
                <c:pt idx="5186">
                  <c:v>12032</c:v>
                </c:pt>
                <c:pt idx="5187">
                  <c:v>11553</c:v>
                </c:pt>
                <c:pt idx="5188">
                  <c:v>2470</c:v>
                </c:pt>
                <c:pt idx="5189">
                  <c:v>10878</c:v>
                </c:pt>
                <c:pt idx="5190">
                  <c:v>45433</c:v>
                </c:pt>
                <c:pt idx="5191">
                  <c:v>14267</c:v>
                </c:pt>
                <c:pt idx="5192">
                  <c:v>3828</c:v>
                </c:pt>
                <c:pt idx="5193">
                  <c:v>10049</c:v>
                </c:pt>
                <c:pt idx="5194">
                  <c:v>17253</c:v>
                </c:pt>
                <c:pt idx="5195">
                  <c:v>1606</c:v>
                </c:pt>
                <c:pt idx="5196">
                  <c:v>15265</c:v>
                </c:pt>
                <c:pt idx="5197">
                  <c:v>23796</c:v>
                </c:pt>
                <c:pt idx="5198">
                  <c:v>14544</c:v>
                </c:pt>
                <c:pt idx="5199">
                  <c:v>19135</c:v>
                </c:pt>
                <c:pt idx="5200">
                  <c:v>33157</c:v>
                </c:pt>
                <c:pt idx="5201">
                  <c:v>28455</c:v>
                </c:pt>
                <c:pt idx="5202">
                  <c:v>141838</c:v>
                </c:pt>
                <c:pt idx="5203">
                  <c:v>11247</c:v>
                </c:pt>
                <c:pt idx="5204">
                  <c:v>7794</c:v>
                </c:pt>
                <c:pt idx="5205">
                  <c:v>9596</c:v>
                </c:pt>
                <c:pt idx="5206">
                  <c:v>90882</c:v>
                </c:pt>
                <c:pt idx="5207">
                  <c:v>8696</c:v>
                </c:pt>
                <c:pt idx="5208">
                  <c:v>5151</c:v>
                </c:pt>
                <c:pt idx="5209">
                  <c:v>5085</c:v>
                </c:pt>
                <c:pt idx="5210">
                  <c:v>83234</c:v>
                </c:pt>
                <c:pt idx="5211">
                  <c:v>4071</c:v>
                </c:pt>
                <c:pt idx="5212">
                  <c:v>25333</c:v>
                </c:pt>
                <c:pt idx="5213">
                  <c:v>16663</c:v>
                </c:pt>
                <c:pt idx="5214">
                  <c:v>4034</c:v>
                </c:pt>
                <c:pt idx="5215">
                  <c:v>1723</c:v>
                </c:pt>
                <c:pt idx="5216">
                  <c:v>7756</c:v>
                </c:pt>
                <c:pt idx="5217">
                  <c:v>3482</c:v>
                </c:pt>
                <c:pt idx="5218">
                  <c:v>36553</c:v>
                </c:pt>
                <c:pt idx="5219">
                  <c:v>17936</c:v>
                </c:pt>
                <c:pt idx="5220">
                  <c:v>1806</c:v>
                </c:pt>
                <c:pt idx="5221">
                  <c:v>73068</c:v>
                </c:pt>
                <c:pt idx="5222">
                  <c:v>9205</c:v>
                </c:pt>
                <c:pt idx="5223">
                  <c:v>41248</c:v>
                </c:pt>
                <c:pt idx="5224">
                  <c:v>9340</c:v>
                </c:pt>
                <c:pt idx="5225">
                  <c:v>12544</c:v>
                </c:pt>
                <c:pt idx="5226">
                  <c:v>11948</c:v>
                </c:pt>
                <c:pt idx="5227">
                  <c:v>5994</c:v>
                </c:pt>
                <c:pt idx="5228">
                  <c:v>8489</c:v>
                </c:pt>
                <c:pt idx="5229">
                  <c:v>1989</c:v>
                </c:pt>
                <c:pt idx="5230">
                  <c:v>4091</c:v>
                </c:pt>
                <c:pt idx="5231">
                  <c:v>7476</c:v>
                </c:pt>
                <c:pt idx="5232">
                  <c:v>32916</c:v>
                </c:pt>
                <c:pt idx="5233">
                  <c:v>7137</c:v>
                </c:pt>
                <c:pt idx="5234">
                  <c:v>20580</c:v>
                </c:pt>
                <c:pt idx="5235">
                  <c:v>64837</c:v>
                </c:pt>
                <c:pt idx="5236">
                  <c:v>8427</c:v>
                </c:pt>
                <c:pt idx="5237">
                  <c:v>70100</c:v>
                </c:pt>
                <c:pt idx="5238">
                  <c:v>8677</c:v>
                </c:pt>
                <c:pt idx="5239">
                  <c:v>40097</c:v>
                </c:pt>
                <c:pt idx="5240">
                  <c:v>16373</c:v>
                </c:pt>
                <c:pt idx="5241">
                  <c:v>2566</c:v>
                </c:pt>
                <c:pt idx="5242">
                  <c:v>27804</c:v>
                </c:pt>
                <c:pt idx="5243">
                  <c:v>12275</c:v>
                </c:pt>
                <c:pt idx="5244">
                  <c:v>43708</c:v>
                </c:pt>
                <c:pt idx="5245">
                  <c:v>116210</c:v>
                </c:pt>
                <c:pt idx="5246">
                  <c:v>3955</c:v>
                </c:pt>
                <c:pt idx="5247">
                  <c:v>7685</c:v>
                </c:pt>
                <c:pt idx="5248">
                  <c:v>9692</c:v>
                </c:pt>
                <c:pt idx="5249">
                  <c:v>6613</c:v>
                </c:pt>
                <c:pt idx="5250">
                  <c:v>6890</c:v>
                </c:pt>
                <c:pt idx="5251">
                  <c:v>9117</c:v>
                </c:pt>
                <c:pt idx="5252">
                  <c:v>26077</c:v>
                </c:pt>
                <c:pt idx="5253">
                  <c:v>18323</c:v>
                </c:pt>
                <c:pt idx="5254">
                  <c:v>3191</c:v>
                </c:pt>
                <c:pt idx="5255">
                  <c:v>22226</c:v>
                </c:pt>
                <c:pt idx="5256">
                  <c:v>72459</c:v>
                </c:pt>
                <c:pt idx="5257">
                  <c:v>9135</c:v>
                </c:pt>
                <c:pt idx="5258">
                  <c:v>92517</c:v>
                </c:pt>
                <c:pt idx="5259">
                  <c:v>7621</c:v>
                </c:pt>
                <c:pt idx="5260">
                  <c:v>13120</c:v>
                </c:pt>
                <c:pt idx="5261">
                  <c:v>9373</c:v>
                </c:pt>
                <c:pt idx="5262">
                  <c:v>221787</c:v>
                </c:pt>
                <c:pt idx="5263">
                  <c:v>31275</c:v>
                </c:pt>
                <c:pt idx="5264">
                  <c:v>5560</c:v>
                </c:pt>
                <c:pt idx="5265">
                  <c:v>9567</c:v>
                </c:pt>
                <c:pt idx="5266">
                  <c:v>7038</c:v>
                </c:pt>
                <c:pt idx="5267">
                  <c:v>11862</c:v>
                </c:pt>
                <c:pt idx="5268">
                  <c:v>28533</c:v>
                </c:pt>
                <c:pt idx="5269">
                  <c:v>12471</c:v>
                </c:pt>
                <c:pt idx="5270">
                  <c:v>9246</c:v>
                </c:pt>
                <c:pt idx="5271">
                  <c:v>15491</c:v>
                </c:pt>
                <c:pt idx="5272">
                  <c:v>11885</c:v>
                </c:pt>
                <c:pt idx="5273">
                  <c:v>5284</c:v>
                </c:pt>
                <c:pt idx="5274">
                  <c:v>7024</c:v>
                </c:pt>
                <c:pt idx="5275">
                  <c:v>8646</c:v>
                </c:pt>
                <c:pt idx="5276">
                  <c:v>20228</c:v>
                </c:pt>
                <c:pt idx="5277">
                  <c:v>80960</c:v>
                </c:pt>
                <c:pt idx="5278">
                  <c:v>6507</c:v>
                </c:pt>
                <c:pt idx="5279">
                  <c:v>23577</c:v>
                </c:pt>
                <c:pt idx="5280">
                  <c:v>12162</c:v>
                </c:pt>
                <c:pt idx="5281">
                  <c:v>11994</c:v>
                </c:pt>
                <c:pt idx="5282">
                  <c:v>12418</c:v>
                </c:pt>
                <c:pt idx="5283">
                  <c:v>8018</c:v>
                </c:pt>
                <c:pt idx="5284">
                  <c:v>42386</c:v>
                </c:pt>
                <c:pt idx="5285">
                  <c:v>31241</c:v>
                </c:pt>
                <c:pt idx="5286">
                  <c:v>29024</c:v>
                </c:pt>
                <c:pt idx="5287">
                  <c:v>2900</c:v>
                </c:pt>
                <c:pt idx="5288">
                  <c:v>4823</c:v>
                </c:pt>
                <c:pt idx="5289">
                  <c:v>4697</c:v>
                </c:pt>
                <c:pt idx="5290">
                  <c:v>12388</c:v>
                </c:pt>
                <c:pt idx="5291">
                  <c:v>30515</c:v>
                </c:pt>
                <c:pt idx="5292">
                  <c:v>8266</c:v>
                </c:pt>
                <c:pt idx="5293">
                  <c:v>5951</c:v>
                </c:pt>
                <c:pt idx="5294">
                  <c:v>20424</c:v>
                </c:pt>
                <c:pt idx="5295">
                  <c:v>21848</c:v>
                </c:pt>
                <c:pt idx="5296">
                  <c:v>14905</c:v>
                </c:pt>
                <c:pt idx="5297">
                  <c:v>6685</c:v>
                </c:pt>
                <c:pt idx="5298">
                  <c:v>905</c:v>
                </c:pt>
                <c:pt idx="5299">
                  <c:v>3450</c:v>
                </c:pt>
                <c:pt idx="5300">
                  <c:v>7366</c:v>
                </c:pt>
                <c:pt idx="5301">
                  <c:v>14551</c:v>
                </c:pt>
                <c:pt idx="5302">
                  <c:v>30470</c:v>
                </c:pt>
                <c:pt idx="5303">
                  <c:v>1007</c:v>
                </c:pt>
                <c:pt idx="5304">
                  <c:v>13465</c:v>
                </c:pt>
                <c:pt idx="5305">
                  <c:v>9103</c:v>
                </c:pt>
                <c:pt idx="5306">
                  <c:v>12303</c:v>
                </c:pt>
                <c:pt idx="5307">
                  <c:v>6707</c:v>
                </c:pt>
                <c:pt idx="5308">
                  <c:v>931</c:v>
                </c:pt>
                <c:pt idx="5309">
                  <c:v>6139</c:v>
                </c:pt>
                <c:pt idx="5310">
                  <c:v>5451</c:v>
                </c:pt>
                <c:pt idx="5311">
                  <c:v>9627</c:v>
                </c:pt>
                <c:pt idx="5312">
                  <c:v>84038</c:v>
                </c:pt>
                <c:pt idx="5313">
                  <c:v>12326</c:v>
                </c:pt>
                <c:pt idx="5314">
                  <c:v>8271</c:v>
                </c:pt>
                <c:pt idx="5315">
                  <c:v>580</c:v>
                </c:pt>
                <c:pt idx="5316">
                  <c:v>13258</c:v>
                </c:pt>
                <c:pt idx="5317">
                  <c:v>4072</c:v>
                </c:pt>
                <c:pt idx="5318">
                  <c:v>2440</c:v>
                </c:pt>
                <c:pt idx="5319">
                  <c:v>31736</c:v>
                </c:pt>
                <c:pt idx="5320">
                  <c:v>7754</c:v>
                </c:pt>
                <c:pt idx="5321">
                  <c:v>2895</c:v>
                </c:pt>
                <c:pt idx="5322">
                  <c:v>9208</c:v>
                </c:pt>
                <c:pt idx="5323">
                  <c:v>69734</c:v>
                </c:pt>
                <c:pt idx="5324">
                  <c:v>24074</c:v>
                </c:pt>
                <c:pt idx="5325">
                  <c:v>12497</c:v>
                </c:pt>
                <c:pt idx="5326">
                  <c:v>9018</c:v>
                </c:pt>
                <c:pt idx="5327">
                  <c:v>3926</c:v>
                </c:pt>
                <c:pt idx="5328">
                  <c:v>67628</c:v>
                </c:pt>
                <c:pt idx="5329">
                  <c:v>4686</c:v>
                </c:pt>
                <c:pt idx="5330">
                  <c:v>5208</c:v>
                </c:pt>
                <c:pt idx="5331">
                  <c:v>10570</c:v>
                </c:pt>
                <c:pt idx="5332">
                  <c:v>16585</c:v>
                </c:pt>
                <c:pt idx="5333">
                  <c:v>2455</c:v>
                </c:pt>
                <c:pt idx="5334">
                  <c:v>15332</c:v>
                </c:pt>
                <c:pt idx="5335">
                  <c:v>13125</c:v>
                </c:pt>
                <c:pt idx="5336">
                  <c:v>13937</c:v>
                </c:pt>
                <c:pt idx="5337">
                  <c:v>5512</c:v>
                </c:pt>
                <c:pt idx="5338">
                  <c:v>3087</c:v>
                </c:pt>
                <c:pt idx="5339">
                  <c:v>10321</c:v>
                </c:pt>
                <c:pt idx="5340">
                  <c:v>10844</c:v>
                </c:pt>
                <c:pt idx="5341">
                  <c:v>11266</c:v>
                </c:pt>
                <c:pt idx="5342">
                  <c:v>6225</c:v>
                </c:pt>
                <c:pt idx="5343">
                  <c:v>5538</c:v>
                </c:pt>
                <c:pt idx="5344">
                  <c:v>6220</c:v>
                </c:pt>
                <c:pt idx="5345">
                  <c:v>6417</c:v>
                </c:pt>
                <c:pt idx="5346">
                  <c:v>29180</c:v>
                </c:pt>
                <c:pt idx="5347">
                  <c:v>31044</c:v>
                </c:pt>
                <c:pt idx="5348">
                  <c:v>17132</c:v>
                </c:pt>
                <c:pt idx="5349">
                  <c:v>27926</c:v>
                </c:pt>
                <c:pt idx="5350">
                  <c:v>11547</c:v>
                </c:pt>
                <c:pt idx="5351">
                  <c:v>34694</c:v>
                </c:pt>
                <c:pt idx="5352">
                  <c:v>24990</c:v>
                </c:pt>
                <c:pt idx="5353">
                  <c:v>8738</c:v>
                </c:pt>
                <c:pt idx="5354">
                  <c:v>5156</c:v>
                </c:pt>
                <c:pt idx="5355">
                  <c:v>17951</c:v>
                </c:pt>
                <c:pt idx="5356">
                  <c:v>24182</c:v>
                </c:pt>
                <c:pt idx="5357">
                  <c:v>14518</c:v>
                </c:pt>
                <c:pt idx="5358">
                  <c:v>4615</c:v>
                </c:pt>
                <c:pt idx="5359">
                  <c:v>4733</c:v>
                </c:pt>
                <c:pt idx="5360">
                  <c:v>48471</c:v>
                </c:pt>
                <c:pt idx="5361">
                  <c:v>12793</c:v>
                </c:pt>
                <c:pt idx="5362">
                  <c:v>7250</c:v>
                </c:pt>
                <c:pt idx="5363">
                  <c:v>25780</c:v>
                </c:pt>
                <c:pt idx="5364">
                  <c:v>133830</c:v>
                </c:pt>
                <c:pt idx="5365">
                  <c:v>4113</c:v>
                </c:pt>
                <c:pt idx="5366">
                  <c:v>10805</c:v>
                </c:pt>
                <c:pt idx="5367">
                  <c:v>79399</c:v>
                </c:pt>
                <c:pt idx="5368">
                  <c:v>36185</c:v>
                </c:pt>
                <c:pt idx="5369">
                  <c:v>36438</c:v>
                </c:pt>
                <c:pt idx="5370">
                  <c:v>48152</c:v>
                </c:pt>
                <c:pt idx="5371">
                  <c:v>21334</c:v>
                </c:pt>
                <c:pt idx="5372">
                  <c:v>7652</c:v>
                </c:pt>
                <c:pt idx="5373">
                  <c:v>44789</c:v>
                </c:pt>
                <c:pt idx="5374">
                  <c:v>82</c:v>
                </c:pt>
                <c:pt idx="5375">
                  <c:v>16097</c:v>
                </c:pt>
                <c:pt idx="5376">
                  <c:v>31114</c:v>
                </c:pt>
                <c:pt idx="5377">
                  <c:v>20674</c:v>
                </c:pt>
                <c:pt idx="5378">
                  <c:v>142267</c:v>
                </c:pt>
                <c:pt idx="5379">
                  <c:v>15972</c:v>
                </c:pt>
                <c:pt idx="5380">
                  <c:v>178336</c:v>
                </c:pt>
                <c:pt idx="5381">
                  <c:v>12793</c:v>
                </c:pt>
                <c:pt idx="5382">
                  <c:v>12046</c:v>
                </c:pt>
                <c:pt idx="5383">
                  <c:v>24997</c:v>
                </c:pt>
                <c:pt idx="5384">
                  <c:v>21662</c:v>
                </c:pt>
                <c:pt idx="5385">
                  <c:v>7896</c:v>
                </c:pt>
                <c:pt idx="5386">
                  <c:v>5039</c:v>
                </c:pt>
                <c:pt idx="5387">
                  <c:v>50827</c:v>
                </c:pt>
                <c:pt idx="5388">
                  <c:v>3312</c:v>
                </c:pt>
                <c:pt idx="5389">
                  <c:v>72978</c:v>
                </c:pt>
                <c:pt idx="5390">
                  <c:v>11468</c:v>
                </c:pt>
                <c:pt idx="5391">
                  <c:v>2881</c:v>
                </c:pt>
                <c:pt idx="5392">
                  <c:v>81720</c:v>
                </c:pt>
                <c:pt idx="5393">
                  <c:v>2665</c:v>
                </c:pt>
                <c:pt idx="5394">
                  <c:v>10864</c:v>
                </c:pt>
                <c:pt idx="5395">
                  <c:v>2369</c:v>
                </c:pt>
                <c:pt idx="5396">
                  <c:v>8380</c:v>
                </c:pt>
                <c:pt idx="5397">
                  <c:v>8937</c:v>
                </c:pt>
                <c:pt idx="5398">
                  <c:v>410496</c:v>
                </c:pt>
                <c:pt idx="5399">
                  <c:v>14476</c:v>
                </c:pt>
                <c:pt idx="5400">
                  <c:v>25708</c:v>
                </c:pt>
                <c:pt idx="5401">
                  <c:v>31964</c:v>
                </c:pt>
                <c:pt idx="5402">
                  <c:v>11122</c:v>
                </c:pt>
                <c:pt idx="5403">
                  <c:v>92050</c:v>
                </c:pt>
                <c:pt idx="5404">
                  <c:v>23536</c:v>
                </c:pt>
                <c:pt idx="5405">
                  <c:v>542174</c:v>
                </c:pt>
                <c:pt idx="5406">
                  <c:v>67028</c:v>
                </c:pt>
                <c:pt idx="5407">
                  <c:v>5816</c:v>
                </c:pt>
                <c:pt idx="5408">
                  <c:v>27914</c:v>
                </c:pt>
                <c:pt idx="5409">
                  <c:v>24187</c:v>
                </c:pt>
                <c:pt idx="5410">
                  <c:v>85404</c:v>
                </c:pt>
                <c:pt idx="5411">
                  <c:v>106083</c:v>
                </c:pt>
                <c:pt idx="5412">
                  <c:v>14595</c:v>
                </c:pt>
                <c:pt idx="5413">
                  <c:v>6116</c:v>
                </c:pt>
                <c:pt idx="5414">
                  <c:v>34362</c:v>
                </c:pt>
                <c:pt idx="5415">
                  <c:v>16791</c:v>
                </c:pt>
                <c:pt idx="5416">
                  <c:v>13244</c:v>
                </c:pt>
                <c:pt idx="5417">
                  <c:v>17688</c:v>
                </c:pt>
                <c:pt idx="5418">
                  <c:v>38742</c:v>
                </c:pt>
                <c:pt idx="5419">
                  <c:v>50781</c:v>
                </c:pt>
                <c:pt idx="5420">
                  <c:v>10270</c:v>
                </c:pt>
                <c:pt idx="5421">
                  <c:v>5765</c:v>
                </c:pt>
                <c:pt idx="5422">
                  <c:v>13083</c:v>
                </c:pt>
                <c:pt idx="5423">
                  <c:v>31235</c:v>
                </c:pt>
                <c:pt idx="5424">
                  <c:v>26366</c:v>
                </c:pt>
                <c:pt idx="5425">
                  <c:v>13507</c:v>
                </c:pt>
                <c:pt idx="5426">
                  <c:v>6296</c:v>
                </c:pt>
                <c:pt idx="5427">
                  <c:v>39181</c:v>
                </c:pt>
                <c:pt idx="5428">
                  <c:v>25900</c:v>
                </c:pt>
                <c:pt idx="5429">
                  <c:v>37168</c:v>
                </c:pt>
                <c:pt idx="5430">
                  <c:v>100668</c:v>
                </c:pt>
                <c:pt idx="5431">
                  <c:v>725</c:v>
                </c:pt>
                <c:pt idx="5432">
                  <c:v>4146</c:v>
                </c:pt>
                <c:pt idx="5433">
                  <c:v>25955</c:v>
                </c:pt>
                <c:pt idx="5434">
                  <c:v>42049</c:v>
                </c:pt>
                <c:pt idx="5435">
                  <c:v>12835</c:v>
                </c:pt>
                <c:pt idx="5436">
                  <c:v>7052</c:v>
                </c:pt>
                <c:pt idx="5437">
                  <c:v>9999</c:v>
                </c:pt>
                <c:pt idx="5438">
                  <c:v>17123</c:v>
                </c:pt>
                <c:pt idx="5439">
                  <c:v>41445</c:v>
                </c:pt>
                <c:pt idx="5440">
                  <c:v>59622</c:v>
                </c:pt>
                <c:pt idx="5441">
                  <c:v>7108</c:v>
                </c:pt>
                <c:pt idx="5442">
                  <c:v>23373</c:v>
                </c:pt>
                <c:pt idx="5443">
                  <c:v>21420</c:v>
                </c:pt>
                <c:pt idx="5444">
                  <c:v>24811</c:v>
                </c:pt>
                <c:pt idx="5445">
                  <c:v>35516</c:v>
                </c:pt>
                <c:pt idx="5446">
                  <c:v>44793</c:v>
                </c:pt>
                <c:pt idx="5447">
                  <c:v>90310</c:v>
                </c:pt>
                <c:pt idx="5448">
                  <c:v>6873</c:v>
                </c:pt>
                <c:pt idx="5449">
                  <c:v>43576</c:v>
                </c:pt>
                <c:pt idx="5450">
                  <c:v>6090</c:v>
                </c:pt>
                <c:pt idx="5451">
                  <c:v>10084</c:v>
                </c:pt>
                <c:pt idx="5452">
                  <c:v>18193</c:v>
                </c:pt>
                <c:pt idx="5453">
                  <c:v>11253</c:v>
                </c:pt>
                <c:pt idx="5454">
                  <c:v>56185</c:v>
                </c:pt>
                <c:pt idx="5455">
                  <c:v>141796</c:v>
                </c:pt>
                <c:pt idx="5456">
                  <c:v>13184</c:v>
                </c:pt>
                <c:pt idx="5457">
                  <c:v>5460</c:v>
                </c:pt>
                <c:pt idx="5458">
                  <c:v>5935</c:v>
                </c:pt>
                <c:pt idx="5459">
                  <c:v>130337</c:v>
                </c:pt>
                <c:pt idx="5460">
                  <c:v>14479</c:v>
                </c:pt>
                <c:pt idx="5461">
                  <c:v>88233</c:v>
                </c:pt>
                <c:pt idx="5462">
                  <c:v>92998</c:v>
                </c:pt>
                <c:pt idx="5463">
                  <c:v>6831</c:v>
                </c:pt>
                <c:pt idx="5464">
                  <c:v>3855</c:v>
                </c:pt>
                <c:pt idx="5465">
                  <c:v>28820</c:v>
                </c:pt>
                <c:pt idx="5466">
                  <c:v>51927</c:v>
                </c:pt>
                <c:pt idx="5467">
                  <c:v>97603</c:v>
                </c:pt>
                <c:pt idx="5468">
                  <c:v>34471</c:v>
                </c:pt>
                <c:pt idx="5469">
                  <c:v>14887</c:v>
                </c:pt>
                <c:pt idx="5470">
                  <c:v>19684</c:v>
                </c:pt>
                <c:pt idx="5471">
                  <c:v>19760</c:v>
                </c:pt>
                <c:pt idx="5472">
                  <c:v>6223</c:v>
                </c:pt>
                <c:pt idx="5473">
                  <c:v>171090</c:v>
                </c:pt>
                <c:pt idx="5474">
                  <c:v>6847</c:v>
                </c:pt>
                <c:pt idx="5475">
                  <c:v>5697</c:v>
                </c:pt>
                <c:pt idx="5476">
                  <c:v>17062</c:v>
                </c:pt>
                <c:pt idx="5477">
                  <c:v>16350</c:v>
                </c:pt>
                <c:pt idx="5478">
                  <c:v>19051</c:v>
                </c:pt>
                <c:pt idx="5479">
                  <c:v>4454</c:v>
                </c:pt>
                <c:pt idx="5480">
                  <c:v>20608</c:v>
                </c:pt>
                <c:pt idx="5481">
                  <c:v>44305</c:v>
                </c:pt>
                <c:pt idx="5482">
                  <c:v>116683</c:v>
                </c:pt>
                <c:pt idx="5483">
                  <c:v>14852</c:v>
                </c:pt>
                <c:pt idx="5484">
                  <c:v>26480</c:v>
                </c:pt>
                <c:pt idx="5485">
                  <c:v>9921</c:v>
                </c:pt>
                <c:pt idx="5486">
                  <c:v>7299</c:v>
                </c:pt>
                <c:pt idx="5487">
                  <c:v>20420</c:v>
                </c:pt>
                <c:pt idx="5488">
                  <c:v>39817</c:v>
                </c:pt>
                <c:pt idx="5489">
                  <c:v>41627</c:v>
                </c:pt>
                <c:pt idx="5490">
                  <c:v>12486</c:v>
                </c:pt>
                <c:pt idx="5491">
                  <c:v>17133</c:v>
                </c:pt>
                <c:pt idx="5492">
                  <c:v>34436</c:v>
                </c:pt>
                <c:pt idx="5493">
                  <c:v>31755</c:v>
                </c:pt>
                <c:pt idx="5494">
                  <c:v>9784</c:v>
                </c:pt>
                <c:pt idx="5495">
                  <c:v>5357</c:v>
                </c:pt>
                <c:pt idx="5496">
                  <c:v>14450</c:v>
                </c:pt>
                <c:pt idx="5497">
                  <c:v>18635</c:v>
                </c:pt>
                <c:pt idx="5498">
                  <c:v>39876</c:v>
                </c:pt>
                <c:pt idx="5499">
                  <c:v>14160</c:v>
                </c:pt>
                <c:pt idx="5500">
                  <c:v>10960</c:v>
                </c:pt>
                <c:pt idx="5501">
                  <c:v>35242</c:v>
                </c:pt>
                <c:pt idx="5502">
                  <c:v>25852</c:v>
                </c:pt>
                <c:pt idx="5503">
                  <c:v>9393</c:v>
                </c:pt>
                <c:pt idx="5504">
                  <c:v>59321</c:v>
                </c:pt>
                <c:pt idx="5505">
                  <c:v>29736</c:v>
                </c:pt>
                <c:pt idx="5506">
                  <c:v>66011</c:v>
                </c:pt>
                <c:pt idx="5507">
                  <c:v>61212</c:v>
                </c:pt>
                <c:pt idx="5508">
                  <c:v>14987</c:v>
                </c:pt>
                <c:pt idx="5509">
                  <c:v>7678</c:v>
                </c:pt>
                <c:pt idx="5510">
                  <c:v>36447</c:v>
                </c:pt>
                <c:pt idx="5511">
                  <c:v>7364</c:v>
                </c:pt>
                <c:pt idx="5512">
                  <c:v>6604</c:v>
                </c:pt>
                <c:pt idx="5513">
                  <c:v>49684</c:v>
                </c:pt>
                <c:pt idx="5514">
                  <c:v>12415</c:v>
                </c:pt>
                <c:pt idx="5515">
                  <c:v>10510</c:v>
                </c:pt>
                <c:pt idx="5516">
                  <c:v>31383</c:v>
                </c:pt>
                <c:pt idx="5517">
                  <c:v>35306</c:v>
                </c:pt>
                <c:pt idx="5518">
                  <c:v>11108</c:v>
                </c:pt>
                <c:pt idx="5519">
                  <c:v>23562</c:v>
                </c:pt>
                <c:pt idx="5520">
                  <c:v>146411</c:v>
                </c:pt>
                <c:pt idx="5521">
                  <c:v>30895</c:v>
                </c:pt>
                <c:pt idx="5522">
                  <c:v>69258</c:v>
                </c:pt>
                <c:pt idx="5523">
                  <c:v>36625</c:v>
                </c:pt>
                <c:pt idx="5524">
                  <c:v>28410</c:v>
                </c:pt>
                <c:pt idx="5525">
                  <c:v>306390</c:v>
                </c:pt>
                <c:pt idx="5526">
                  <c:v>9793</c:v>
                </c:pt>
                <c:pt idx="5527">
                  <c:v>4904</c:v>
                </c:pt>
                <c:pt idx="5528">
                  <c:v>27669</c:v>
                </c:pt>
                <c:pt idx="5529">
                  <c:v>36809</c:v>
                </c:pt>
                <c:pt idx="5530">
                  <c:v>26120</c:v>
                </c:pt>
                <c:pt idx="5531">
                  <c:v>10697</c:v>
                </c:pt>
                <c:pt idx="5532">
                  <c:v>40644</c:v>
                </c:pt>
                <c:pt idx="5533">
                  <c:v>11598</c:v>
                </c:pt>
                <c:pt idx="5534">
                  <c:v>42497</c:v>
                </c:pt>
                <c:pt idx="5535">
                  <c:v>103644</c:v>
                </c:pt>
                <c:pt idx="5536">
                  <c:v>2803</c:v>
                </c:pt>
                <c:pt idx="5537">
                  <c:v>55017</c:v>
                </c:pt>
                <c:pt idx="5538">
                  <c:v>10862</c:v>
                </c:pt>
                <c:pt idx="5539">
                  <c:v>2162</c:v>
                </c:pt>
                <c:pt idx="5540">
                  <c:v>3093</c:v>
                </c:pt>
                <c:pt idx="5541">
                  <c:v>62199</c:v>
                </c:pt>
                <c:pt idx="5542">
                  <c:v>4640</c:v>
                </c:pt>
                <c:pt idx="5543">
                  <c:v>9292</c:v>
                </c:pt>
                <c:pt idx="5544">
                  <c:v>38266</c:v>
                </c:pt>
                <c:pt idx="5545">
                  <c:v>8755</c:v>
                </c:pt>
                <c:pt idx="5546">
                  <c:v>11204</c:v>
                </c:pt>
                <c:pt idx="5547">
                  <c:v>11828</c:v>
                </c:pt>
                <c:pt idx="5548">
                  <c:v>8099</c:v>
                </c:pt>
                <c:pt idx="5549">
                  <c:v>14657</c:v>
                </c:pt>
                <c:pt idx="5550">
                  <c:v>5580</c:v>
                </c:pt>
                <c:pt idx="5551">
                  <c:v>61028</c:v>
                </c:pt>
                <c:pt idx="5552">
                  <c:v>17625</c:v>
                </c:pt>
                <c:pt idx="5553">
                  <c:v>24255</c:v>
                </c:pt>
                <c:pt idx="5554">
                  <c:v>2774</c:v>
                </c:pt>
                <c:pt idx="5555">
                  <c:v>14367</c:v>
                </c:pt>
                <c:pt idx="5556">
                  <c:v>28747</c:v>
                </c:pt>
                <c:pt idx="5557">
                  <c:v>17616</c:v>
                </c:pt>
                <c:pt idx="5558">
                  <c:v>15710</c:v>
                </c:pt>
                <c:pt idx="5559">
                  <c:v>4847</c:v>
                </c:pt>
                <c:pt idx="5560">
                  <c:v>17011</c:v>
                </c:pt>
                <c:pt idx="5561">
                  <c:v>16600</c:v>
                </c:pt>
                <c:pt idx="5562">
                  <c:v>28330</c:v>
                </c:pt>
                <c:pt idx="5563">
                  <c:v>11656</c:v>
                </c:pt>
                <c:pt idx="5564">
                  <c:v>8778</c:v>
                </c:pt>
                <c:pt idx="5565">
                  <c:v>15995</c:v>
                </c:pt>
                <c:pt idx="5566">
                  <c:v>23390</c:v>
                </c:pt>
                <c:pt idx="5567">
                  <c:v>5339</c:v>
                </c:pt>
                <c:pt idx="5568">
                  <c:v>27818</c:v>
                </c:pt>
                <c:pt idx="5569">
                  <c:v>11893</c:v>
                </c:pt>
                <c:pt idx="5570">
                  <c:v>12736</c:v>
                </c:pt>
                <c:pt idx="5571">
                  <c:v>13101</c:v>
                </c:pt>
                <c:pt idx="5572">
                  <c:v>5793</c:v>
                </c:pt>
                <c:pt idx="5573">
                  <c:v>9097</c:v>
                </c:pt>
                <c:pt idx="5574">
                  <c:v>13623</c:v>
                </c:pt>
                <c:pt idx="5575">
                  <c:v>5926</c:v>
                </c:pt>
                <c:pt idx="5576">
                  <c:v>11468</c:v>
                </c:pt>
                <c:pt idx="5577">
                  <c:v>17786</c:v>
                </c:pt>
                <c:pt idx="5578">
                  <c:v>34544</c:v>
                </c:pt>
                <c:pt idx="5579">
                  <c:v>23908</c:v>
                </c:pt>
                <c:pt idx="5580">
                  <c:v>18794</c:v>
                </c:pt>
                <c:pt idx="5581">
                  <c:v>96604</c:v>
                </c:pt>
                <c:pt idx="5582">
                  <c:v>84921</c:v>
                </c:pt>
                <c:pt idx="5583">
                  <c:v>9547</c:v>
                </c:pt>
                <c:pt idx="5584">
                  <c:v>28361</c:v>
                </c:pt>
                <c:pt idx="5585">
                  <c:v>15086</c:v>
                </c:pt>
                <c:pt idx="5586">
                  <c:v>26623</c:v>
                </c:pt>
                <c:pt idx="5587">
                  <c:v>8983</c:v>
                </c:pt>
                <c:pt idx="5588">
                  <c:v>10579</c:v>
                </c:pt>
                <c:pt idx="5589">
                  <c:v>8446</c:v>
                </c:pt>
                <c:pt idx="5590">
                  <c:v>70718</c:v>
                </c:pt>
                <c:pt idx="5591">
                  <c:v>12653</c:v>
                </c:pt>
                <c:pt idx="5592">
                  <c:v>42416</c:v>
                </c:pt>
                <c:pt idx="5593">
                  <c:v>6318</c:v>
                </c:pt>
                <c:pt idx="5594">
                  <c:v>14278</c:v>
                </c:pt>
                <c:pt idx="5595">
                  <c:v>27607</c:v>
                </c:pt>
                <c:pt idx="5596">
                  <c:v>9229</c:v>
                </c:pt>
                <c:pt idx="5597">
                  <c:v>6413</c:v>
                </c:pt>
                <c:pt idx="5598">
                  <c:v>44451</c:v>
                </c:pt>
                <c:pt idx="5599">
                  <c:v>9246</c:v>
                </c:pt>
                <c:pt idx="5600">
                  <c:v>8565</c:v>
                </c:pt>
                <c:pt idx="5601">
                  <c:v>2822</c:v>
                </c:pt>
                <c:pt idx="5602">
                  <c:v>20285</c:v>
                </c:pt>
                <c:pt idx="5603">
                  <c:v>61354</c:v>
                </c:pt>
                <c:pt idx="5604">
                  <c:v>5259</c:v>
                </c:pt>
                <c:pt idx="5605">
                  <c:v>10747</c:v>
                </c:pt>
                <c:pt idx="5606">
                  <c:v>29537</c:v>
                </c:pt>
                <c:pt idx="5607">
                  <c:v>30075</c:v>
                </c:pt>
                <c:pt idx="5608">
                  <c:v>8906</c:v>
                </c:pt>
                <c:pt idx="5609">
                  <c:v>15042</c:v>
                </c:pt>
                <c:pt idx="5610">
                  <c:v>5851</c:v>
                </c:pt>
                <c:pt idx="5611">
                  <c:v>41615</c:v>
                </c:pt>
                <c:pt idx="5612">
                  <c:v>55132</c:v>
                </c:pt>
                <c:pt idx="5613">
                  <c:v>45150</c:v>
                </c:pt>
                <c:pt idx="5614">
                  <c:v>10213</c:v>
                </c:pt>
                <c:pt idx="5615">
                  <c:v>33765</c:v>
                </c:pt>
                <c:pt idx="5616">
                  <c:v>8891</c:v>
                </c:pt>
                <c:pt idx="5617">
                  <c:v>23528</c:v>
                </c:pt>
                <c:pt idx="5618">
                  <c:v>24842</c:v>
                </c:pt>
                <c:pt idx="5619">
                  <c:v>28862</c:v>
                </c:pt>
                <c:pt idx="5620">
                  <c:v>18692</c:v>
                </c:pt>
                <c:pt idx="5621">
                  <c:v>11979</c:v>
                </c:pt>
                <c:pt idx="5622">
                  <c:v>5675</c:v>
                </c:pt>
                <c:pt idx="5623">
                  <c:v>13635</c:v>
                </c:pt>
                <c:pt idx="5624">
                  <c:v>5753</c:v>
                </c:pt>
                <c:pt idx="5625">
                  <c:v>6902</c:v>
                </c:pt>
                <c:pt idx="5626">
                  <c:v>25022</c:v>
                </c:pt>
                <c:pt idx="5627">
                  <c:v>11853</c:v>
                </c:pt>
                <c:pt idx="5628">
                  <c:v>3163</c:v>
                </c:pt>
                <c:pt idx="5629">
                  <c:v>12560</c:v>
                </c:pt>
                <c:pt idx="5630">
                  <c:v>6281</c:v>
                </c:pt>
                <c:pt idx="5631">
                  <c:v>14208</c:v>
                </c:pt>
                <c:pt idx="5632">
                  <c:v>2249</c:v>
                </c:pt>
                <c:pt idx="5633">
                  <c:v>52005</c:v>
                </c:pt>
                <c:pt idx="5634">
                  <c:v>43990</c:v>
                </c:pt>
                <c:pt idx="5635">
                  <c:v>11675</c:v>
                </c:pt>
                <c:pt idx="5636">
                  <c:v>6166</c:v>
                </c:pt>
                <c:pt idx="5637">
                  <c:v>45615</c:v>
                </c:pt>
                <c:pt idx="5638">
                  <c:v>11070</c:v>
                </c:pt>
                <c:pt idx="5639">
                  <c:v>44551</c:v>
                </c:pt>
                <c:pt idx="5640">
                  <c:v>6159</c:v>
                </c:pt>
                <c:pt idx="5641">
                  <c:v>14333</c:v>
                </c:pt>
                <c:pt idx="5642">
                  <c:v>15006</c:v>
                </c:pt>
                <c:pt idx="5643">
                  <c:v>10808</c:v>
                </c:pt>
                <c:pt idx="5644">
                  <c:v>7123</c:v>
                </c:pt>
                <c:pt idx="5645">
                  <c:v>19284</c:v>
                </c:pt>
                <c:pt idx="5646">
                  <c:v>3331</c:v>
                </c:pt>
                <c:pt idx="5647">
                  <c:v>34776</c:v>
                </c:pt>
                <c:pt idx="5648">
                  <c:v>6909</c:v>
                </c:pt>
                <c:pt idx="5649">
                  <c:v>12208</c:v>
                </c:pt>
                <c:pt idx="5650">
                  <c:v>2982</c:v>
                </c:pt>
                <c:pt idx="5651">
                  <c:v>8347</c:v>
                </c:pt>
                <c:pt idx="5652">
                  <c:v>93683</c:v>
                </c:pt>
                <c:pt idx="5653">
                  <c:v>27884</c:v>
                </c:pt>
                <c:pt idx="5654">
                  <c:v>3823</c:v>
                </c:pt>
                <c:pt idx="5655">
                  <c:v>3761</c:v>
                </c:pt>
                <c:pt idx="5656">
                  <c:v>3056</c:v>
                </c:pt>
                <c:pt idx="5657">
                  <c:v>59313</c:v>
                </c:pt>
                <c:pt idx="5658">
                  <c:v>17651</c:v>
                </c:pt>
                <c:pt idx="5659">
                  <c:v>15327</c:v>
                </c:pt>
                <c:pt idx="5660">
                  <c:v>11481</c:v>
                </c:pt>
                <c:pt idx="5661">
                  <c:v>7771</c:v>
                </c:pt>
                <c:pt idx="5662">
                  <c:v>27712</c:v>
                </c:pt>
                <c:pt idx="5663">
                  <c:v>10600</c:v>
                </c:pt>
                <c:pt idx="5664">
                  <c:v>5844</c:v>
                </c:pt>
                <c:pt idx="5665">
                  <c:v>8616</c:v>
                </c:pt>
                <c:pt idx="5666">
                  <c:v>7892</c:v>
                </c:pt>
                <c:pt idx="5667">
                  <c:v>6397</c:v>
                </c:pt>
                <c:pt idx="5668">
                  <c:v>7864</c:v>
                </c:pt>
                <c:pt idx="5669">
                  <c:v>15280</c:v>
                </c:pt>
                <c:pt idx="5670">
                  <c:v>12077</c:v>
                </c:pt>
                <c:pt idx="5671">
                  <c:v>38132</c:v>
                </c:pt>
                <c:pt idx="5672">
                  <c:v>4589</c:v>
                </c:pt>
                <c:pt idx="5673">
                  <c:v>24702</c:v>
                </c:pt>
                <c:pt idx="5674">
                  <c:v>8176</c:v>
                </c:pt>
                <c:pt idx="5675">
                  <c:v>8659</c:v>
                </c:pt>
                <c:pt idx="5676">
                  <c:v>5944</c:v>
                </c:pt>
                <c:pt idx="5677">
                  <c:v>62077</c:v>
                </c:pt>
                <c:pt idx="5678">
                  <c:v>12280</c:v>
                </c:pt>
                <c:pt idx="5679">
                  <c:v>13168</c:v>
                </c:pt>
                <c:pt idx="5680">
                  <c:v>154458</c:v>
                </c:pt>
                <c:pt idx="5681">
                  <c:v>3273</c:v>
                </c:pt>
                <c:pt idx="5682">
                  <c:v>497</c:v>
                </c:pt>
                <c:pt idx="5683">
                  <c:v>8906</c:v>
                </c:pt>
                <c:pt idx="5684">
                  <c:v>19777</c:v>
                </c:pt>
                <c:pt idx="5685">
                  <c:v>13471</c:v>
                </c:pt>
                <c:pt idx="5686">
                  <c:v>8317</c:v>
                </c:pt>
                <c:pt idx="5687">
                  <c:v>8061</c:v>
                </c:pt>
                <c:pt idx="5688">
                  <c:v>10713</c:v>
                </c:pt>
                <c:pt idx="5689">
                  <c:v>17500</c:v>
                </c:pt>
                <c:pt idx="5690">
                  <c:v>15146</c:v>
                </c:pt>
                <c:pt idx="5691">
                  <c:v>29125</c:v>
                </c:pt>
                <c:pt idx="5692">
                  <c:v>45061</c:v>
                </c:pt>
                <c:pt idx="5693">
                  <c:v>27597</c:v>
                </c:pt>
                <c:pt idx="5694">
                  <c:v>91463</c:v>
                </c:pt>
                <c:pt idx="5695">
                  <c:v>10578</c:v>
                </c:pt>
                <c:pt idx="5696">
                  <c:v>11492</c:v>
                </c:pt>
                <c:pt idx="5697">
                  <c:v>21739</c:v>
                </c:pt>
                <c:pt idx="5698">
                  <c:v>20731</c:v>
                </c:pt>
                <c:pt idx="5699">
                  <c:v>25801</c:v>
                </c:pt>
                <c:pt idx="5700">
                  <c:v>21480</c:v>
                </c:pt>
                <c:pt idx="5701">
                  <c:v>14608</c:v>
                </c:pt>
                <c:pt idx="5702">
                  <c:v>3464</c:v>
                </c:pt>
                <c:pt idx="5703">
                  <c:v>18419</c:v>
                </c:pt>
                <c:pt idx="5704">
                  <c:v>5916</c:v>
                </c:pt>
                <c:pt idx="5705">
                  <c:v>17331</c:v>
                </c:pt>
                <c:pt idx="5706">
                  <c:v>17584</c:v>
                </c:pt>
                <c:pt idx="5707">
                  <c:v>8711</c:v>
                </c:pt>
                <c:pt idx="5708">
                  <c:v>9924</c:v>
                </c:pt>
                <c:pt idx="5709">
                  <c:v>12145</c:v>
                </c:pt>
                <c:pt idx="5710">
                  <c:v>4785</c:v>
                </c:pt>
                <c:pt idx="5711">
                  <c:v>28452</c:v>
                </c:pt>
                <c:pt idx="5712">
                  <c:v>89932</c:v>
                </c:pt>
                <c:pt idx="5713">
                  <c:v>4123</c:v>
                </c:pt>
                <c:pt idx="5714">
                  <c:v>26570</c:v>
                </c:pt>
                <c:pt idx="5715">
                  <c:v>70436</c:v>
                </c:pt>
                <c:pt idx="5716">
                  <c:v>74059</c:v>
                </c:pt>
                <c:pt idx="5717">
                  <c:v>1554</c:v>
                </c:pt>
                <c:pt idx="5718">
                  <c:v>460645</c:v>
                </c:pt>
                <c:pt idx="5719">
                  <c:v>15575</c:v>
                </c:pt>
                <c:pt idx="5720">
                  <c:v>12184</c:v>
                </c:pt>
                <c:pt idx="5721">
                  <c:v>917</c:v>
                </c:pt>
                <c:pt idx="5722">
                  <c:v>20943</c:v>
                </c:pt>
                <c:pt idx="5723">
                  <c:v>6148</c:v>
                </c:pt>
                <c:pt idx="5724">
                  <c:v>6673</c:v>
                </c:pt>
                <c:pt idx="5725">
                  <c:v>26767</c:v>
                </c:pt>
                <c:pt idx="5726">
                  <c:v>7692</c:v>
                </c:pt>
                <c:pt idx="5727">
                  <c:v>29987</c:v>
                </c:pt>
                <c:pt idx="5728">
                  <c:v>88802</c:v>
                </c:pt>
                <c:pt idx="5729">
                  <c:v>6139</c:v>
                </c:pt>
                <c:pt idx="5730">
                  <c:v>36780</c:v>
                </c:pt>
                <c:pt idx="5731">
                  <c:v>4813</c:v>
                </c:pt>
                <c:pt idx="5732">
                  <c:v>7500</c:v>
                </c:pt>
                <c:pt idx="5733">
                  <c:v>5545</c:v>
                </c:pt>
                <c:pt idx="5734">
                  <c:v>4566</c:v>
                </c:pt>
                <c:pt idx="5735">
                  <c:v>15775</c:v>
                </c:pt>
                <c:pt idx="5736">
                  <c:v>16497</c:v>
                </c:pt>
                <c:pt idx="5737">
                  <c:v>22767</c:v>
                </c:pt>
                <c:pt idx="5738">
                  <c:v>14991</c:v>
                </c:pt>
                <c:pt idx="5739">
                  <c:v>15098</c:v>
                </c:pt>
                <c:pt idx="5740">
                  <c:v>17141</c:v>
                </c:pt>
                <c:pt idx="5741">
                  <c:v>13437</c:v>
                </c:pt>
                <c:pt idx="5742">
                  <c:v>4578</c:v>
                </c:pt>
                <c:pt idx="5743">
                  <c:v>1588</c:v>
                </c:pt>
                <c:pt idx="5744">
                  <c:v>8994</c:v>
                </c:pt>
                <c:pt idx="5745">
                  <c:v>8567</c:v>
                </c:pt>
                <c:pt idx="5746">
                  <c:v>5910</c:v>
                </c:pt>
                <c:pt idx="5747">
                  <c:v>23398</c:v>
                </c:pt>
                <c:pt idx="5748">
                  <c:v>13051</c:v>
                </c:pt>
                <c:pt idx="5749">
                  <c:v>3781</c:v>
                </c:pt>
                <c:pt idx="5750">
                  <c:v>1573</c:v>
                </c:pt>
                <c:pt idx="5751">
                  <c:v>33930</c:v>
                </c:pt>
                <c:pt idx="5752">
                  <c:v>97241</c:v>
                </c:pt>
                <c:pt idx="5753">
                  <c:v>11818</c:v>
                </c:pt>
                <c:pt idx="5754">
                  <c:v>8955</c:v>
                </c:pt>
                <c:pt idx="5755">
                  <c:v>7033</c:v>
                </c:pt>
                <c:pt idx="5756">
                  <c:v>6089</c:v>
                </c:pt>
                <c:pt idx="5757">
                  <c:v>33124</c:v>
                </c:pt>
                <c:pt idx="5758">
                  <c:v>13888</c:v>
                </c:pt>
                <c:pt idx="5759">
                  <c:v>16262</c:v>
                </c:pt>
                <c:pt idx="5760">
                  <c:v>8030</c:v>
                </c:pt>
                <c:pt idx="5761">
                  <c:v>5514</c:v>
                </c:pt>
                <c:pt idx="5762">
                  <c:v>778</c:v>
                </c:pt>
                <c:pt idx="5763">
                  <c:v>3865</c:v>
                </c:pt>
                <c:pt idx="5764">
                  <c:v>13249</c:v>
                </c:pt>
                <c:pt idx="5765">
                  <c:v>14116</c:v>
                </c:pt>
                <c:pt idx="5766">
                  <c:v>34668</c:v>
                </c:pt>
                <c:pt idx="5767">
                  <c:v>4063</c:v>
                </c:pt>
                <c:pt idx="5768">
                  <c:v>8812</c:v>
                </c:pt>
                <c:pt idx="5769">
                  <c:v>24501</c:v>
                </c:pt>
                <c:pt idx="5770">
                  <c:v>7595</c:v>
                </c:pt>
                <c:pt idx="5771">
                  <c:v>20229</c:v>
                </c:pt>
                <c:pt idx="5772">
                  <c:v>8324</c:v>
                </c:pt>
                <c:pt idx="5773">
                  <c:v>2086</c:v>
                </c:pt>
                <c:pt idx="5774">
                  <c:v>13770</c:v>
                </c:pt>
                <c:pt idx="5775">
                  <c:v>32947</c:v>
                </c:pt>
                <c:pt idx="5776">
                  <c:v>16336</c:v>
                </c:pt>
                <c:pt idx="5777">
                  <c:v>141375</c:v>
                </c:pt>
                <c:pt idx="5778">
                  <c:v>11465</c:v>
                </c:pt>
                <c:pt idx="5779">
                  <c:v>8702</c:v>
                </c:pt>
                <c:pt idx="5780">
                  <c:v>61340</c:v>
                </c:pt>
                <c:pt idx="5781">
                  <c:v>745200</c:v>
                </c:pt>
                <c:pt idx="5782">
                  <c:v>75016</c:v>
                </c:pt>
                <c:pt idx="5783">
                  <c:v>10980</c:v>
                </c:pt>
                <c:pt idx="5784">
                  <c:v>11811</c:v>
                </c:pt>
                <c:pt idx="5785">
                  <c:v>13466</c:v>
                </c:pt>
                <c:pt idx="5786">
                  <c:v>34856</c:v>
                </c:pt>
                <c:pt idx="5787">
                  <c:v>9238</c:v>
                </c:pt>
                <c:pt idx="5788">
                  <c:v>21932</c:v>
                </c:pt>
                <c:pt idx="5789">
                  <c:v>13723</c:v>
                </c:pt>
                <c:pt idx="5790">
                  <c:v>230298</c:v>
                </c:pt>
                <c:pt idx="5791">
                  <c:v>7306</c:v>
                </c:pt>
                <c:pt idx="5792">
                  <c:v>13176</c:v>
                </c:pt>
                <c:pt idx="5793">
                  <c:v>4597</c:v>
                </c:pt>
                <c:pt idx="5794">
                  <c:v>4241</c:v>
                </c:pt>
                <c:pt idx="5795">
                  <c:v>7941</c:v>
                </c:pt>
                <c:pt idx="5796">
                  <c:v>26575</c:v>
                </c:pt>
                <c:pt idx="5797">
                  <c:v>20173</c:v>
                </c:pt>
                <c:pt idx="5798">
                  <c:v>8544</c:v>
                </c:pt>
                <c:pt idx="5799">
                  <c:v>2595</c:v>
                </c:pt>
                <c:pt idx="5800">
                  <c:v>2746</c:v>
                </c:pt>
                <c:pt idx="5801">
                  <c:v>6823</c:v>
                </c:pt>
                <c:pt idx="5802">
                  <c:v>27731</c:v>
                </c:pt>
                <c:pt idx="5803">
                  <c:v>14886</c:v>
                </c:pt>
                <c:pt idx="5804">
                  <c:v>10634</c:v>
                </c:pt>
                <c:pt idx="5805">
                  <c:v>21928</c:v>
                </c:pt>
                <c:pt idx="5806">
                  <c:v>13370</c:v>
                </c:pt>
                <c:pt idx="5807">
                  <c:v>15630</c:v>
                </c:pt>
                <c:pt idx="5808">
                  <c:v>47110</c:v>
                </c:pt>
                <c:pt idx="5809">
                  <c:v>25069</c:v>
                </c:pt>
                <c:pt idx="5810">
                  <c:v>16189</c:v>
                </c:pt>
                <c:pt idx="5811">
                  <c:v>9029</c:v>
                </c:pt>
                <c:pt idx="5812">
                  <c:v>5575</c:v>
                </c:pt>
                <c:pt idx="5813">
                  <c:v>10876</c:v>
                </c:pt>
                <c:pt idx="5814">
                  <c:v>9371</c:v>
                </c:pt>
                <c:pt idx="5815">
                  <c:v>142196</c:v>
                </c:pt>
                <c:pt idx="5816">
                  <c:v>79688</c:v>
                </c:pt>
                <c:pt idx="5817">
                  <c:v>33671</c:v>
                </c:pt>
                <c:pt idx="5818">
                  <c:v>2115</c:v>
                </c:pt>
                <c:pt idx="5819">
                  <c:v>4038</c:v>
                </c:pt>
                <c:pt idx="5820">
                  <c:v>4542</c:v>
                </c:pt>
                <c:pt idx="5821">
                  <c:v>5683</c:v>
                </c:pt>
                <c:pt idx="5822">
                  <c:v>7805</c:v>
                </c:pt>
                <c:pt idx="5823">
                  <c:v>4570</c:v>
                </c:pt>
                <c:pt idx="5824">
                  <c:v>29092</c:v>
                </c:pt>
                <c:pt idx="5825">
                  <c:v>14292</c:v>
                </c:pt>
                <c:pt idx="5826">
                  <c:v>5257</c:v>
                </c:pt>
                <c:pt idx="5827">
                  <c:v>12175</c:v>
                </c:pt>
                <c:pt idx="5828">
                  <c:v>28367</c:v>
                </c:pt>
                <c:pt idx="5829">
                  <c:v>58212</c:v>
                </c:pt>
                <c:pt idx="5830">
                  <c:v>12438</c:v>
                </c:pt>
                <c:pt idx="5831">
                  <c:v>9067</c:v>
                </c:pt>
                <c:pt idx="5832">
                  <c:v>9139</c:v>
                </c:pt>
                <c:pt idx="5833">
                  <c:v>12899</c:v>
                </c:pt>
                <c:pt idx="5834">
                  <c:v>11552</c:v>
                </c:pt>
                <c:pt idx="5835">
                  <c:v>69607</c:v>
                </c:pt>
                <c:pt idx="5836">
                  <c:v>11464</c:v>
                </c:pt>
                <c:pt idx="5837">
                  <c:v>6931</c:v>
                </c:pt>
                <c:pt idx="5838">
                  <c:v>8803</c:v>
                </c:pt>
                <c:pt idx="5839">
                  <c:v>1658</c:v>
                </c:pt>
                <c:pt idx="5840">
                  <c:v>14066</c:v>
                </c:pt>
                <c:pt idx="5841">
                  <c:v>5411</c:v>
                </c:pt>
                <c:pt idx="5842">
                  <c:v>9688</c:v>
                </c:pt>
                <c:pt idx="5843">
                  <c:v>5834</c:v>
                </c:pt>
                <c:pt idx="5844">
                  <c:v>14235</c:v>
                </c:pt>
                <c:pt idx="5845">
                  <c:v>55211</c:v>
                </c:pt>
                <c:pt idx="5846">
                  <c:v>12521</c:v>
                </c:pt>
                <c:pt idx="5847">
                  <c:v>4808</c:v>
                </c:pt>
                <c:pt idx="5848">
                  <c:v>6765</c:v>
                </c:pt>
                <c:pt idx="5849">
                  <c:v>29699</c:v>
                </c:pt>
                <c:pt idx="5850">
                  <c:v>31127</c:v>
                </c:pt>
                <c:pt idx="5851">
                  <c:v>4868</c:v>
                </c:pt>
                <c:pt idx="5852">
                  <c:v>31260</c:v>
                </c:pt>
                <c:pt idx="5853">
                  <c:v>10912</c:v>
                </c:pt>
                <c:pt idx="5854">
                  <c:v>4143</c:v>
                </c:pt>
                <c:pt idx="5855">
                  <c:v>56142</c:v>
                </c:pt>
                <c:pt idx="5856">
                  <c:v>17434</c:v>
                </c:pt>
                <c:pt idx="5857">
                  <c:v>26374</c:v>
                </c:pt>
                <c:pt idx="5858">
                  <c:v>6568</c:v>
                </c:pt>
                <c:pt idx="5859">
                  <c:v>37421</c:v>
                </c:pt>
                <c:pt idx="5860">
                  <c:v>18972</c:v>
                </c:pt>
                <c:pt idx="5861">
                  <c:v>12171</c:v>
                </c:pt>
                <c:pt idx="5862">
                  <c:v>265011</c:v>
                </c:pt>
                <c:pt idx="5863">
                  <c:v>8824</c:v>
                </c:pt>
                <c:pt idx="5864">
                  <c:v>8802</c:v>
                </c:pt>
                <c:pt idx="5865">
                  <c:v>31155</c:v>
                </c:pt>
                <c:pt idx="5866">
                  <c:v>28311</c:v>
                </c:pt>
                <c:pt idx="5867">
                  <c:v>6063</c:v>
                </c:pt>
                <c:pt idx="5868">
                  <c:v>440843</c:v>
                </c:pt>
                <c:pt idx="5869">
                  <c:v>4583</c:v>
                </c:pt>
                <c:pt idx="5870">
                  <c:v>45165</c:v>
                </c:pt>
                <c:pt idx="5871">
                  <c:v>13518</c:v>
                </c:pt>
                <c:pt idx="5872">
                  <c:v>9100</c:v>
                </c:pt>
                <c:pt idx="5873">
                  <c:v>7130</c:v>
                </c:pt>
                <c:pt idx="5874">
                  <c:v>15156</c:v>
                </c:pt>
                <c:pt idx="5875">
                  <c:v>3917</c:v>
                </c:pt>
                <c:pt idx="5876">
                  <c:v>4635</c:v>
                </c:pt>
                <c:pt idx="5877">
                  <c:v>6931</c:v>
                </c:pt>
                <c:pt idx="5878">
                  <c:v>4545</c:v>
                </c:pt>
                <c:pt idx="5879">
                  <c:v>9650</c:v>
                </c:pt>
                <c:pt idx="5880">
                  <c:v>5621</c:v>
                </c:pt>
                <c:pt idx="5881">
                  <c:v>14875</c:v>
                </c:pt>
                <c:pt idx="5882">
                  <c:v>28957</c:v>
                </c:pt>
                <c:pt idx="5883">
                  <c:v>16550</c:v>
                </c:pt>
                <c:pt idx="5884">
                  <c:v>7320</c:v>
                </c:pt>
                <c:pt idx="5885">
                  <c:v>14133</c:v>
                </c:pt>
                <c:pt idx="5886">
                  <c:v>3165</c:v>
                </c:pt>
                <c:pt idx="5887">
                  <c:v>292133</c:v>
                </c:pt>
                <c:pt idx="5888">
                  <c:v>9493</c:v>
                </c:pt>
                <c:pt idx="5889">
                  <c:v>20019</c:v>
                </c:pt>
                <c:pt idx="5890">
                  <c:v>10783</c:v>
                </c:pt>
                <c:pt idx="5891">
                  <c:v>252483</c:v>
                </c:pt>
                <c:pt idx="5892">
                  <c:v>24277</c:v>
                </c:pt>
                <c:pt idx="5893">
                  <c:v>254099</c:v>
                </c:pt>
                <c:pt idx="5894">
                  <c:v>363</c:v>
                </c:pt>
                <c:pt idx="5895">
                  <c:v>99753</c:v>
                </c:pt>
                <c:pt idx="5896">
                  <c:v>2897</c:v>
                </c:pt>
                <c:pt idx="5897">
                  <c:v>23596</c:v>
                </c:pt>
                <c:pt idx="5898">
                  <c:v>4397</c:v>
                </c:pt>
                <c:pt idx="5899">
                  <c:v>1477</c:v>
                </c:pt>
                <c:pt idx="5900">
                  <c:v>16522</c:v>
                </c:pt>
                <c:pt idx="5901">
                  <c:v>8398</c:v>
                </c:pt>
                <c:pt idx="5902">
                  <c:v>1875</c:v>
                </c:pt>
                <c:pt idx="5903">
                  <c:v>3818</c:v>
                </c:pt>
                <c:pt idx="5904">
                  <c:v>2943</c:v>
                </c:pt>
                <c:pt idx="5905">
                  <c:v>2365</c:v>
                </c:pt>
                <c:pt idx="5906">
                  <c:v>5852</c:v>
                </c:pt>
                <c:pt idx="5907">
                  <c:v>1063</c:v>
                </c:pt>
                <c:pt idx="5908">
                  <c:v>23157</c:v>
                </c:pt>
                <c:pt idx="5909">
                  <c:v>7424</c:v>
                </c:pt>
                <c:pt idx="5910">
                  <c:v>9710</c:v>
                </c:pt>
                <c:pt idx="5911">
                  <c:v>8227</c:v>
                </c:pt>
                <c:pt idx="5912">
                  <c:v>2142</c:v>
                </c:pt>
                <c:pt idx="5913">
                  <c:v>5992</c:v>
                </c:pt>
                <c:pt idx="5914">
                  <c:v>5591</c:v>
                </c:pt>
                <c:pt idx="5915">
                  <c:v>3382</c:v>
                </c:pt>
                <c:pt idx="5916">
                  <c:v>4166</c:v>
                </c:pt>
                <c:pt idx="5917">
                  <c:v>2677</c:v>
                </c:pt>
                <c:pt idx="5918">
                  <c:v>13612</c:v>
                </c:pt>
                <c:pt idx="5919">
                  <c:v>2752</c:v>
                </c:pt>
                <c:pt idx="5920">
                  <c:v>49529</c:v>
                </c:pt>
                <c:pt idx="5921">
                  <c:v>5941</c:v>
                </c:pt>
                <c:pt idx="5922">
                  <c:v>34371</c:v>
                </c:pt>
                <c:pt idx="5923">
                  <c:v>32676</c:v>
                </c:pt>
                <c:pt idx="5924">
                  <c:v>15410</c:v>
                </c:pt>
                <c:pt idx="5925">
                  <c:v>2904</c:v>
                </c:pt>
                <c:pt idx="5926">
                  <c:v>4550</c:v>
                </c:pt>
                <c:pt idx="5927">
                  <c:v>7077</c:v>
                </c:pt>
                <c:pt idx="5928">
                  <c:v>4843</c:v>
                </c:pt>
                <c:pt idx="5929">
                  <c:v>22334</c:v>
                </c:pt>
                <c:pt idx="5930">
                  <c:v>2341</c:v>
                </c:pt>
                <c:pt idx="5931">
                  <c:v>8859</c:v>
                </c:pt>
                <c:pt idx="5932">
                  <c:v>7642</c:v>
                </c:pt>
                <c:pt idx="5933">
                  <c:v>13824</c:v>
                </c:pt>
                <c:pt idx="5934">
                  <c:v>3139</c:v>
                </c:pt>
                <c:pt idx="5935">
                  <c:v>3380</c:v>
                </c:pt>
                <c:pt idx="5936">
                  <c:v>4006</c:v>
                </c:pt>
                <c:pt idx="5937">
                  <c:v>3468</c:v>
                </c:pt>
                <c:pt idx="5938">
                  <c:v>6255</c:v>
                </c:pt>
                <c:pt idx="5939">
                  <c:v>15979</c:v>
                </c:pt>
                <c:pt idx="5940">
                  <c:v>5671</c:v>
                </c:pt>
                <c:pt idx="5941">
                  <c:v>7632</c:v>
                </c:pt>
                <c:pt idx="5942">
                  <c:v>3970</c:v>
                </c:pt>
                <c:pt idx="5943">
                  <c:v>8324</c:v>
                </c:pt>
                <c:pt idx="5944">
                  <c:v>14732</c:v>
                </c:pt>
                <c:pt idx="5945">
                  <c:v>25314</c:v>
                </c:pt>
                <c:pt idx="5946">
                  <c:v>1199</c:v>
                </c:pt>
                <c:pt idx="5947">
                  <c:v>5345</c:v>
                </c:pt>
                <c:pt idx="5948">
                  <c:v>25062</c:v>
                </c:pt>
                <c:pt idx="5949">
                  <c:v>6177</c:v>
                </c:pt>
                <c:pt idx="5950">
                  <c:v>16847</c:v>
                </c:pt>
                <c:pt idx="5951">
                  <c:v>3417</c:v>
                </c:pt>
                <c:pt idx="5952">
                  <c:v>10055</c:v>
                </c:pt>
                <c:pt idx="5953">
                  <c:v>4524</c:v>
                </c:pt>
                <c:pt idx="5954">
                  <c:v>1401</c:v>
                </c:pt>
                <c:pt idx="5955">
                  <c:v>8467</c:v>
                </c:pt>
                <c:pt idx="5956">
                  <c:v>6015</c:v>
                </c:pt>
                <c:pt idx="5957">
                  <c:v>25534</c:v>
                </c:pt>
                <c:pt idx="5958">
                  <c:v>5634</c:v>
                </c:pt>
                <c:pt idx="5959">
                  <c:v>119220</c:v>
                </c:pt>
                <c:pt idx="5960">
                  <c:v>6630</c:v>
                </c:pt>
                <c:pt idx="5961">
                  <c:v>26730</c:v>
                </c:pt>
                <c:pt idx="5962">
                  <c:v>16041</c:v>
                </c:pt>
                <c:pt idx="5963">
                  <c:v>4121</c:v>
                </c:pt>
                <c:pt idx="5964">
                  <c:v>4876</c:v>
                </c:pt>
                <c:pt idx="5965">
                  <c:v>90659</c:v>
                </c:pt>
                <c:pt idx="5966">
                  <c:v>2698</c:v>
                </c:pt>
                <c:pt idx="5967">
                  <c:v>2572</c:v>
                </c:pt>
                <c:pt idx="5968">
                  <c:v>4261</c:v>
                </c:pt>
                <c:pt idx="5969">
                  <c:v>9365</c:v>
                </c:pt>
                <c:pt idx="5970">
                  <c:v>7624</c:v>
                </c:pt>
                <c:pt idx="5971">
                  <c:v>3817</c:v>
                </c:pt>
                <c:pt idx="5972">
                  <c:v>4507</c:v>
                </c:pt>
                <c:pt idx="5973">
                  <c:v>1177</c:v>
                </c:pt>
                <c:pt idx="5974">
                  <c:v>4601</c:v>
                </c:pt>
                <c:pt idx="5975">
                  <c:v>1998</c:v>
                </c:pt>
                <c:pt idx="5976">
                  <c:v>14099</c:v>
                </c:pt>
                <c:pt idx="5977">
                  <c:v>6869</c:v>
                </c:pt>
                <c:pt idx="5978">
                  <c:v>4129</c:v>
                </c:pt>
                <c:pt idx="5979">
                  <c:v>7812</c:v>
                </c:pt>
                <c:pt idx="5980">
                  <c:v>6916</c:v>
                </c:pt>
                <c:pt idx="5981">
                  <c:v>22904</c:v>
                </c:pt>
                <c:pt idx="5982">
                  <c:v>10670</c:v>
                </c:pt>
                <c:pt idx="5983">
                  <c:v>6383</c:v>
                </c:pt>
                <c:pt idx="5984">
                  <c:v>32317</c:v>
                </c:pt>
                <c:pt idx="5985">
                  <c:v>5180</c:v>
                </c:pt>
                <c:pt idx="5986">
                  <c:v>30158</c:v>
                </c:pt>
                <c:pt idx="5987">
                  <c:v>8627</c:v>
                </c:pt>
                <c:pt idx="5988">
                  <c:v>12061</c:v>
                </c:pt>
                <c:pt idx="5989">
                  <c:v>7662</c:v>
                </c:pt>
                <c:pt idx="5990">
                  <c:v>3065</c:v>
                </c:pt>
                <c:pt idx="5991">
                  <c:v>12002</c:v>
                </c:pt>
                <c:pt idx="5992">
                  <c:v>6415</c:v>
                </c:pt>
                <c:pt idx="5993">
                  <c:v>8758</c:v>
                </c:pt>
                <c:pt idx="5994">
                  <c:v>1947</c:v>
                </c:pt>
                <c:pt idx="5995">
                  <c:v>3100</c:v>
                </c:pt>
                <c:pt idx="5996">
                  <c:v>3004</c:v>
                </c:pt>
                <c:pt idx="5997">
                  <c:v>9072</c:v>
                </c:pt>
                <c:pt idx="5998">
                  <c:v>4261</c:v>
                </c:pt>
                <c:pt idx="5999">
                  <c:v>3522</c:v>
                </c:pt>
                <c:pt idx="6000">
                  <c:v>4096</c:v>
                </c:pt>
                <c:pt idx="6001">
                  <c:v>5066</c:v>
                </c:pt>
                <c:pt idx="6002">
                  <c:v>15587</c:v>
                </c:pt>
                <c:pt idx="6003">
                  <c:v>6414</c:v>
                </c:pt>
                <c:pt idx="6004">
                  <c:v>37138</c:v>
                </c:pt>
                <c:pt idx="6005">
                  <c:v>625823</c:v>
                </c:pt>
                <c:pt idx="6006">
                  <c:v>18785</c:v>
                </c:pt>
                <c:pt idx="6007">
                  <c:v>14993</c:v>
                </c:pt>
                <c:pt idx="6008">
                  <c:v>20533</c:v>
                </c:pt>
                <c:pt idx="6009">
                  <c:v>11778</c:v>
                </c:pt>
                <c:pt idx="6010">
                  <c:v>39557</c:v>
                </c:pt>
                <c:pt idx="6011">
                  <c:v>46158</c:v>
                </c:pt>
                <c:pt idx="6012">
                  <c:v>24139</c:v>
                </c:pt>
                <c:pt idx="6013">
                  <c:v>14637</c:v>
                </c:pt>
                <c:pt idx="6014">
                  <c:v>20115</c:v>
                </c:pt>
                <c:pt idx="6015">
                  <c:v>57118</c:v>
                </c:pt>
                <c:pt idx="6016">
                  <c:v>22776</c:v>
                </c:pt>
                <c:pt idx="6017">
                  <c:v>11073</c:v>
                </c:pt>
                <c:pt idx="6018">
                  <c:v>68747</c:v>
                </c:pt>
                <c:pt idx="6019">
                  <c:v>18331</c:v>
                </c:pt>
                <c:pt idx="6020">
                  <c:v>3198</c:v>
                </c:pt>
                <c:pt idx="6021">
                  <c:v>45537</c:v>
                </c:pt>
                <c:pt idx="6022">
                  <c:v>15314</c:v>
                </c:pt>
                <c:pt idx="6023">
                  <c:v>4005</c:v>
                </c:pt>
                <c:pt idx="6024">
                  <c:v>3863</c:v>
                </c:pt>
                <c:pt idx="6025">
                  <c:v>17795</c:v>
                </c:pt>
                <c:pt idx="6026">
                  <c:v>6968</c:v>
                </c:pt>
                <c:pt idx="6027">
                  <c:v>56679</c:v>
                </c:pt>
                <c:pt idx="6028">
                  <c:v>8415</c:v>
                </c:pt>
                <c:pt idx="6029">
                  <c:v>67261</c:v>
                </c:pt>
                <c:pt idx="6030">
                  <c:v>3613</c:v>
                </c:pt>
                <c:pt idx="6031">
                  <c:v>11293</c:v>
                </c:pt>
                <c:pt idx="6032">
                  <c:v>17683</c:v>
                </c:pt>
                <c:pt idx="6033">
                  <c:v>9568</c:v>
                </c:pt>
                <c:pt idx="6034">
                  <c:v>11695</c:v>
                </c:pt>
                <c:pt idx="6035">
                  <c:v>6243</c:v>
                </c:pt>
                <c:pt idx="6036">
                  <c:v>6536</c:v>
                </c:pt>
                <c:pt idx="6037">
                  <c:v>13254</c:v>
                </c:pt>
                <c:pt idx="6038">
                  <c:v>15760</c:v>
                </c:pt>
                <c:pt idx="6039">
                  <c:v>11428</c:v>
                </c:pt>
                <c:pt idx="6040">
                  <c:v>25941</c:v>
                </c:pt>
                <c:pt idx="6041">
                  <c:v>5104</c:v>
                </c:pt>
                <c:pt idx="6042">
                  <c:v>22190</c:v>
                </c:pt>
                <c:pt idx="6043">
                  <c:v>71573</c:v>
                </c:pt>
                <c:pt idx="6044">
                  <c:v>21608</c:v>
                </c:pt>
                <c:pt idx="6045">
                  <c:v>57804</c:v>
                </c:pt>
                <c:pt idx="6046">
                  <c:v>138165</c:v>
                </c:pt>
                <c:pt idx="6047">
                  <c:v>9441</c:v>
                </c:pt>
                <c:pt idx="6048">
                  <c:v>7697</c:v>
                </c:pt>
                <c:pt idx="6049">
                  <c:v>4274</c:v>
                </c:pt>
                <c:pt idx="6050">
                  <c:v>3794</c:v>
                </c:pt>
                <c:pt idx="6051">
                  <c:v>25605</c:v>
                </c:pt>
                <c:pt idx="6052">
                  <c:v>14683</c:v>
                </c:pt>
                <c:pt idx="6053">
                  <c:v>7340</c:v>
                </c:pt>
                <c:pt idx="6054">
                  <c:v>4735</c:v>
                </c:pt>
                <c:pt idx="6055">
                  <c:v>12639</c:v>
                </c:pt>
                <c:pt idx="6056">
                  <c:v>3792</c:v>
                </c:pt>
                <c:pt idx="6057">
                  <c:v>8002</c:v>
                </c:pt>
                <c:pt idx="6058">
                  <c:v>33813</c:v>
                </c:pt>
                <c:pt idx="6059">
                  <c:v>19777</c:v>
                </c:pt>
                <c:pt idx="6060">
                  <c:v>431</c:v>
                </c:pt>
                <c:pt idx="6061">
                  <c:v>8661</c:v>
                </c:pt>
                <c:pt idx="6062">
                  <c:v>2343</c:v>
                </c:pt>
                <c:pt idx="6063">
                  <c:v>10424</c:v>
                </c:pt>
                <c:pt idx="6064">
                  <c:v>45191</c:v>
                </c:pt>
                <c:pt idx="6065">
                  <c:v>16441</c:v>
                </c:pt>
                <c:pt idx="6066">
                  <c:v>4616</c:v>
                </c:pt>
                <c:pt idx="6067">
                  <c:v>27885</c:v>
                </c:pt>
                <c:pt idx="6068">
                  <c:v>3122</c:v>
                </c:pt>
                <c:pt idx="6069">
                  <c:v>17701</c:v>
                </c:pt>
                <c:pt idx="6070">
                  <c:v>6754</c:v>
                </c:pt>
                <c:pt idx="6071">
                  <c:v>18514</c:v>
                </c:pt>
                <c:pt idx="6072">
                  <c:v>162860</c:v>
                </c:pt>
                <c:pt idx="6073">
                  <c:v>104194</c:v>
                </c:pt>
                <c:pt idx="6074">
                  <c:v>925363</c:v>
                </c:pt>
                <c:pt idx="6075">
                  <c:v>6901</c:v>
                </c:pt>
                <c:pt idx="6076">
                  <c:v>14267</c:v>
                </c:pt>
                <c:pt idx="6077">
                  <c:v>15927</c:v>
                </c:pt>
                <c:pt idx="6078">
                  <c:v>7283</c:v>
                </c:pt>
                <c:pt idx="6079">
                  <c:v>11076</c:v>
                </c:pt>
                <c:pt idx="6080">
                  <c:v>76089</c:v>
                </c:pt>
                <c:pt idx="6081">
                  <c:v>27631</c:v>
                </c:pt>
                <c:pt idx="6082">
                  <c:v>25323</c:v>
                </c:pt>
                <c:pt idx="6083">
                  <c:v>6606</c:v>
                </c:pt>
                <c:pt idx="6084">
                  <c:v>4587</c:v>
                </c:pt>
                <c:pt idx="6085">
                  <c:v>3192</c:v>
                </c:pt>
                <c:pt idx="6086">
                  <c:v>131918</c:v>
                </c:pt>
                <c:pt idx="6087">
                  <c:v>23355</c:v>
                </c:pt>
                <c:pt idx="6088">
                  <c:v>29698</c:v>
                </c:pt>
                <c:pt idx="6089">
                  <c:v>12643</c:v>
                </c:pt>
                <c:pt idx="6090">
                  <c:v>10764</c:v>
                </c:pt>
                <c:pt idx="6091">
                  <c:v>2773</c:v>
                </c:pt>
                <c:pt idx="6092">
                  <c:v>18436</c:v>
                </c:pt>
                <c:pt idx="6093">
                  <c:v>22995</c:v>
                </c:pt>
                <c:pt idx="6094">
                  <c:v>9040</c:v>
                </c:pt>
                <c:pt idx="6095">
                  <c:v>10301</c:v>
                </c:pt>
                <c:pt idx="6096">
                  <c:v>21745</c:v>
                </c:pt>
                <c:pt idx="6097">
                  <c:v>260185</c:v>
                </c:pt>
                <c:pt idx="6098">
                  <c:v>7825</c:v>
                </c:pt>
                <c:pt idx="6099">
                  <c:v>23991</c:v>
                </c:pt>
                <c:pt idx="6100">
                  <c:v>12472</c:v>
                </c:pt>
                <c:pt idx="6101">
                  <c:v>5448</c:v>
                </c:pt>
                <c:pt idx="6102">
                  <c:v>40284</c:v>
                </c:pt>
                <c:pt idx="6103">
                  <c:v>8643</c:v>
                </c:pt>
                <c:pt idx="6104">
                  <c:v>9842</c:v>
                </c:pt>
                <c:pt idx="6105">
                  <c:v>8134</c:v>
                </c:pt>
                <c:pt idx="6106">
                  <c:v>6651</c:v>
                </c:pt>
                <c:pt idx="6107">
                  <c:v>9373</c:v>
                </c:pt>
                <c:pt idx="6108">
                  <c:v>9100</c:v>
                </c:pt>
                <c:pt idx="6109">
                  <c:v>238505</c:v>
                </c:pt>
                <c:pt idx="6110">
                  <c:v>8779</c:v>
                </c:pt>
                <c:pt idx="6111">
                  <c:v>18275</c:v>
                </c:pt>
                <c:pt idx="6112">
                  <c:v>20796</c:v>
                </c:pt>
                <c:pt idx="6113">
                  <c:v>14721</c:v>
                </c:pt>
                <c:pt idx="6114">
                  <c:v>13753</c:v>
                </c:pt>
                <c:pt idx="6115">
                  <c:v>28676</c:v>
                </c:pt>
                <c:pt idx="6116">
                  <c:v>14078</c:v>
                </c:pt>
                <c:pt idx="6117">
                  <c:v>4144</c:v>
                </c:pt>
                <c:pt idx="6118">
                  <c:v>54878</c:v>
                </c:pt>
                <c:pt idx="6119">
                  <c:v>52306</c:v>
                </c:pt>
                <c:pt idx="6120">
                  <c:v>2931</c:v>
                </c:pt>
                <c:pt idx="6121">
                  <c:v>109919</c:v>
                </c:pt>
                <c:pt idx="6122">
                  <c:v>66866</c:v>
                </c:pt>
                <c:pt idx="6123">
                  <c:v>2666</c:v>
                </c:pt>
                <c:pt idx="6124">
                  <c:v>20808</c:v>
                </c:pt>
                <c:pt idx="6125">
                  <c:v>1723</c:v>
                </c:pt>
                <c:pt idx="6126">
                  <c:v>298951</c:v>
                </c:pt>
                <c:pt idx="6127">
                  <c:v>112225</c:v>
                </c:pt>
                <c:pt idx="6128">
                  <c:v>6454</c:v>
                </c:pt>
                <c:pt idx="6129">
                  <c:v>11336</c:v>
                </c:pt>
                <c:pt idx="6130">
                  <c:v>24427</c:v>
                </c:pt>
                <c:pt idx="6131">
                  <c:v>21431</c:v>
                </c:pt>
                <c:pt idx="6132">
                  <c:v>20279</c:v>
                </c:pt>
                <c:pt idx="6133">
                  <c:v>7356</c:v>
                </c:pt>
                <c:pt idx="6134">
                  <c:v>9642</c:v>
                </c:pt>
                <c:pt idx="6135">
                  <c:v>38942</c:v>
                </c:pt>
                <c:pt idx="6136">
                  <c:v>35181</c:v>
                </c:pt>
                <c:pt idx="6137">
                  <c:v>11293</c:v>
                </c:pt>
                <c:pt idx="6138">
                  <c:v>81886</c:v>
                </c:pt>
                <c:pt idx="6139">
                  <c:v>122859</c:v>
                </c:pt>
                <c:pt idx="6140">
                  <c:v>27437</c:v>
                </c:pt>
                <c:pt idx="6141">
                  <c:v>9162</c:v>
                </c:pt>
                <c:pt idx="6142">
                  <c:v>42883</c:v>
                </c:pt>
                <c:pt idx="6143">
                  <c:v>38367</c:v>
                </c:pt>
                <c:pt idx="6144">
                  <c:v>67234</c:v>
                </c:pt>
                <c:pt idx="6145">
                  <c:v>40013</c:v>
                </c:pt>
                <c:pt idx="6146">
                  <c:v>2581</c:v>
                </c:pt>
                <c:pt idx="6147">
                  <c:v>100423</c:v>
                </c:pt>
                <c:pt idx="6148">
                  <c:v>15020</c:v>
                </c:pt>
                <c:pt idx="6149">
                  <c:v>5293</c:v>
                </c:pt>
                <c:pt idx="6150">
                  <c:v>25652</c:v>
                </c:pt>
                <c:pt idx="6151">
                  <c:v>3564</c:v>
                </c:pt>
                <c:pt idx="6152">
                  <c:v>9937</c:v>
                </c:pt>
                <c:pt idx="6153">
                  <c:v>56398</c:v>
                </c:pt>
                <c:pt idx="6154">
                  <c:v>27478</c:v>
                </c:pt>
                <c:pt idx="6155">
                  <c:v>38531</c:v>
                </c:pt>
                <c:pt idx="6156">
                  <c:v>7887</c:v>
                </c:pt>
                <c:pt idx="6157">
                  <c:v>32171</c:v>
                </c:pt>
                <c:pt idx="6158">
                  <c:v>14299</c:v>
                </c:pt>
                <c:pt idx="6159">
                  <c:v>24497</c:v>
                </c:pt>
                <c:pt idx="6160">
                  <c:v>38490</c:v>
                </c:pt>
                <c:pt idx="6161">
                  <c:v>46214</c:v>
                </c:pt>
                <c:pt idx="6162">
                  <c:v>79929</c:v>
                </c:pt>
                <c:pt idx="6163">
                  <c:v>20525</c:v>
                </c:pt>
                <c:pt idx="6164">
                  <c:v>40772</c:v>
                </c:pt>
                <c:pt idx="6165">
                  <c:v>414</c:v>
                </c:pt>
                <c:pt idx="6166">
                  <c:v>23996</c:v>
                </c:pt>
                <c:pt idx="6167">
                  <c:v>48845</c:v>
                </c:pt>
                <c:pt idx="6168">
                  <c:v>10851</c:v>
                </c:pt>
                <c:pt idx="6169">
                  <c:v>3811</c:v>
                </c:pt>
                <c:pt idx="6170">
                  <c:v>7079</c:v>
                </c:pt>
                <c:pt idx="6171">
                  <c:v>30989</c:v>
                </c:pt>
                <c:pt idx="6172">
                  <c:v>9655</c:v>
                </c:pt>
                <c:pt idx="6173">
                  <c:v>9449</c:v>
                </c:pt>
                <c:pt idx="6174">
                  <c:v>10490</c:v>
                </c:pt>
                <c:pt idx="6175">
                  <c:v>78339</c:v>
                </c:pt>
                <c:pt idx="6176">
                  <c:v>33364</c:v>
                </c:pt>
                <c:pt idx="6177">
                  <c:v>8473</c:v>
                </c:pt>
                <c:pt idx="6178">
                  <c:v>3657</c:v>
                </c:pt>
                <c:pt idx="6179">
                  <c:v>7543</c:v>
                </c:pt>
                <c:pt idx="6180">
                  <c:v>25639</c:v>
                </c:pt>
                <c:pt idx="6181">
                  <c:v>53631</c:v>
                </c:pt>
                <c:pt idx="6182">
                  <c:v>86979</c:v>
                </c:pt>
                <c:pt idx="6183">
                  <c:v>14880</c:v>
                </c:pt>
                <c:pt idx="6184">
                  <c:v>55752</c:v>
                </c:pt>
                <c:pt idx="6185">
                  <c:v>36804</c:v>
                </c:pt>
                <c:pt idx="6186">
                  <c:v>35577</c:v>
                </c:pt>
                <c:pt idx="6187">
                  <c:v>23126</c:v>
                </c:pt>
                <c:pt idx="6188">
                  <c:v>14844</c:v>
                </c:pt>
                <c:pt idx="6189">
                  <c:v>5533</c:v>
                </c:pt>
                <c:pt idx="6190">
                  <c:v>19447</c:v>
                </c:pt>
                <c:pt idx="6191">
                  <c:v>17001</c:v>
                </c:pt>
                <c:pt idx="6192">
                  <c:v>66544</c:v>
                </c:pt>
                <c:pt idx="6193">
                  <c:v>7518</c:v>
                </c:pt>
                <c:pt idx="6194">
                  <c:v>8226</c:v>
                </c:pt>
                <c:pt idx="6195">
                  <c:v>20857</c:v>
                </c:pt>
                <c:pt idx="6196">
                  <c:v>26578</c:v>
                </c:pt>
                <c:pt idx="6197">
                  <c:v>5195</c:v>
                </c:pt>
                <c:pt idx="6198">
                  <c:v>5571</c:v>
                </c:pt>
                <c:pt idx="6199">
                  <c:v>21601</c:v>
                </c:pt>
                <c:pt idx="6200">
                  <c:v>1131</c:v>
                </c:pt>
                <c:pt idx="6201">
                  <c:v>8388</c:v>
                </c:pt>
                <c:pt idx="6202">
                  <c:v>7563</c:v>
                </c:pt>
                <c:pt idx="6203">
                  <c:v>6523</c:v>
                </c:pt>
                <c:pt idx="6204">
                  <c:v>25673</c:v>
                </c:pt>
                <c:pt idx="6205">
                  <c:v>12553</c:v>
                </c:pt>
                <c:pt idx="6206">
                  <c:v>12676</c:v>
                </c:pt>
                <c:pt idx="6207">
                  <c:v>8116</c:v>
                </c:pt>
                <c:pt idx="6208">
                  <c:v>18642</c:v>
                </c:pt>
                <c:pt idx="6209">
                  <c:v>12315</c:v>
                </c:pt>
                <c:pt idx="6210">
                  <c:v>6700</c:v>
                </c:pt>
                <c:pt idx="6211">
                  <c:v>7302</c:v>
                </c:pt>
                <c:pt idx="6212">
                  <c:v>22794</c:v>
                </c:pt>
                <c:pt idx="6213">
                  <c:v>7053</c:v>
                </c:pt>
                <c:pt idx="6214">
                  <c:v>43520</c:v>
                </c:pt>
                <c:pt idx="6215">
                  <c:v>539707</c:v>
                </c:pt>
                <c:pt idx="6216">
                  <c:v>7703</c:v>
                </c:pt>
                <c:pt idx="6217">
                  <c:v>18233</c:v>
                </c:pt>
                <c:pt idx="6218">
                  <c:v>11670</c:v>
                </c:pt>
                <c:pt idx="6219">
                  <c:v>37366</c:v>
                </c:pt>
                <c:pt idx="6220">
                  <c:v>2975</c:v>
                </c:pt>
                <c:pt idx="6221">
                  <c:v>19231</c:v>
                </c:pt>
                <c:pt idx="6222">
                  <c:v>25166</c:v>
                </c:pt>
                <c:pt idx="6223">
                  <c:v>7476</c:v>
                </c:pt>
                <c:pt idx="6224">
                  <c:v>3979</c:v>
                </c:pt>
                <c:pt idx="6225">
                  <c:v>24624</c:v>
                </c:pt>
                <c:pt idx="6226">
                  <c:v>9814</c:v>
                </c:pt>
                <c:pt idx="6227">
                  <c:v>68142</c:v>
                </c:pt>
                <c:pt idx="6228">
                  <c:v>10021</c:v>
                </c:pt>
                <c:pt idx="6229">
                  <c:v>8425</c:v>
                </c:pt>
                <c:pt idx="6230">
                  <c:v>5636</c:v>
                </c:pt>
                <c:pt idx="6231">
                  <c:v>7480</c:v>
                </c:pt>
                <c:pt idx="6232">
                  <c:v>25594</c:v>
                </c:pt>
                <c:pt idx="6233">
                  <c:v>9950</c:v>
                </c:pt>
                <c:pt idx="6234">
                  <c:v>19271</c:v>
                </c:pt>
                <c:pt idx="6235">
                  <c:v>9605</c:v>
                </c:pt>
                <c:pt idx="6236">
                  <c:v>82889</c:v>
                </c:pt>
                <c:pt idx="6237">
                  <c:v>73998</c:v>
                </c:pt>
                <c:pt idx="6238">
                  <c:v>19365</c:v>
                </c:pt>
                <c:pt idx="6239">
                  <c:v>10577</c:v>
                </c:pt>
                <c:pt idx="6240">
                  <c:v>1054</c:v>
                </c:pt>
                <c:pt idx="6241">
                  <c:v>51530</c:v>
                </c:pt>
                <c:pt idx="6242">
                  <c:v>6425</c:v>
                </c:pt>
                <c:pt idx="6243">
                  <c:v>18468</c:v>
                </c:pt>
                <c:pt idx="6244">
                  <c:v>25950</c:v>
                </c:pt>
                <c:pt idx="6245">
                  <c:v>10543</c:v>
                </c:pt>
                <c:pt idx="6246">
                  <c:v>12228</c:v>
                </c:pt>
                <c:pt idx="6247">
                  <c:v>15158</c:v>
                </c:pt>
                <c:pt idx="6248">
                  <c:v>22024</c:v>
                </c:pt>
                <c:pt idx="6249">
                  <c:v>6527</c:v>
                </c:pt>
                <c:pt idx="6250">
                  <c:v>3866</c:v>
                </c:pt>
                <c:pt idx="6251">
                  <c:v>24726</c:v>
                </c:pt>
                <c:pt idx="6252">
                  <c:v>10318</c:v>
                </c:pt>
                <c:pt idx="6253">
                  <c:v>72711</c:v>
                </c:pt>
                <c:pt idx="6254">
                  <c:v>8244</c:v>
                </c:pt>
                <c:pt idx="6255">
                  <c:v>12051</c:v>
                </c:pt>
                <c:pt idx="6256">
                  <c:v>10771</c:v>
                </c:pt>
                <c:pt idx="6257">
                  <c:v>14231</c:v>
                </c:pt>
                <c:pt idx="6258">
                  <c:v>18377</c:v>
                </c:pt>
                <c:pt idx="6259">
                  <c:v>7443</c:v>
                </c:pt>
                <c:pt idx="6260">
                  <c:v>18599</c:v>
                </c:pt>
                <c:pt idx="6261">
                  <c:v>26297</c:v>
                </c:pt>
                <c:pt idx="6262">
                  <c:v>46349</c:v>
                </c:pt>
                <c:pt idx="6263">
                  <c:v>3849</c:v>
                </c:pt>
                <c:pt idx="6264">
                  <c:v>10536</c:v>
                </c:pt>
                <c:pt idx="6265">
                  <c:v>7740</c:v>
                </c:pt>
                <c:pt idx="6266">
                  <c:v>6329</c:v>
                </c:pt>
                <c:pt idx="6267">
                  <c:v>2024</c:v>
                </c:pt>
                <c:pt idx="6268">
                  <c:v>9211</c:v>
                </c:pt>
                <c:pt idx="6269">
                  <c:v>7181</c:v>
                </c:pt>
                <c:pt idx="6270">
                  <c:v>10701</c:v>
                </c:pt>
                <c:pt idx="6271">
                  <c:v>77957</c:v>
                </c:pt>
                <c:pt idx="6272">
                  <c:v>7392</c:v>
                </c:pt>
                <c:pt idx="6273">
                  <c:v>7689</c:v>
                </c:pt>
                <c:pt idx="6274">
                  <c:v>10700</c:v>
                </c:pt>
                <c:pt idx="6275">
                  <c:v>6352</c:v>
                </c:pt>
                <c:pt idx="6276">
                  <c:v>6663</c:v>
                </c:pt>
                <c:pt idx="6277">
                  <c:v>24661</c:v>
                </c:pt>
                <c:pt idx="6278">
                  <c:v>60070</c:v>
                </c:pt>
                <c:pt idx="6279">
                  <c:v>21526</c:v>
                </c:pt>
                <c:pt idx="6280">
                  <c:v>23188</c:v>
                </c:pt>
                <c:pt idx="6281">
                  <c:v>23856</c:v>
                </c:pt>
                <c:pt idx="6282">
                  <c:v>8395</c:v>
                </c:pt>
                <c:pt idx="6283">
                  <c:v>6861</c:v>
                </c:pt>
                <c:pt idx="6284">
                  <c:v>4901</c:v>
                </c:pt>
                <c:pt idx="6285">
                  <c:v>18272</c:v>
                </c:pt>
                <c:pt idx="6286">
                  <c:v>9473</c:v>
                </c:pt>
                <c:pt idx="6287">
                  <c:v>6957</c:v>
                </c:pt>
                <c:pt idx="6288">
                  <c:v>13766</c:v>
                </c:pt>
                <c:pt idx="6289">
                  <c:v>13624</c:v>
                </c:pt>
                <c:pt idx="6290">
                  <c:v>206539</c:v>
                </c:pt>
                <c:pt idx="6291">
                  <c:v>58804</c:v>
                </c:pt>
                <c:pt idx="6292">
                  <c:v>8303</c:v>
                </c:pt>
                <c:pt idx="6293">
                  <c:v>8820</c:v>
                </c:pt>
                <c:pt idx="6294">
                  <c:v>265448</c:v>
                </c:pt>
                <c:pt idx="6295">
                  <c:v>24763</c:v>
                </c:pt>
                <c:pt idx="6296">
                  <c:v>14098</c:v>
                </c:pt>
                <c:pt idx="6297">
                  <c:v>4744</c:v>
                </c:pt>
                <c:pt idx="6298">
                  <c:v>18685</c:v>
                </c:pt>
                <c:pt idx="6299">
                  <c:v>28095</c:v>
                </c:pt>
                <c:pt idx="6300">
                  <c:v>65421</c:v>
                </c:pt>
                <c:pt idx="6301">
                  <c:v>10256</c:v>
                </c:pt>
                <c:pt idx="6302">
                  <c:v>28902</c:v>
                </c:pt>
                <c:pt idx="6303">
                  <c:v>125072</c:v>
                </c:pt>
                <c:pt idx="6304">
                  <c:v>58784</c:v>
                </c:pt>
                <c:pt idx="6305">
                  <c:v>17501</c:v>
                </c:pt>
                <c:pt idx="6306">
                  <c:v>28446</c:v>
                </c:pt>
                <c:pt idx="6307">
                  <c:v>55375</c:v>
                </c:pt>
                <c:pt idx="6308">
                  <c:v>7897</c:v>
                </c:pt>
                <c:pt idx="6309">
                  <c:v>9163</c:v>
                </c:pt>
                <c:pt idx="6310">
                  <c:v>38448</c:v>
                </c:pt>
                <c:pt idx="6311">
                  <c:v>33088</c:v>
                </c:pt>
                <c:pt idx="6312">
                  <c:v>30898</c:v>
                </c:pt>
                <c:pt idx="6313">
                  <c:v>20298</c:v>
                </c:pt>
                <c:pt idx="6314">
                  <c:v>6917</c:v>
                </c:pt>
                <c:pt idx="6315">
                  <c:v>8765</c:v>
                </c:pt>
                <c:pt idx="6316">
                  <c:v>36162</c:v>
                </c:pt>
                <c:pt idx="6317">
                  <c:v>10226</c:v>
                </c:pt>
                <c:pt idx="6318">
                  <c:v>27266</c:v>
                </c:pt>
                <c:pt idx="6319">
                  <c:v>21389</c:v>
                </c:pt>
                <c:pt idx="6320">
                  <c:v>30671</c:v>
                </c:pt>
                <c:pt idx="6321">
                  <c:v>6991</c:v>
                </c:pt>
                <c:pt idx="6322">
                  <c:v>10399</c:v>
                </c:pt>
                <c:pt idx="6323">
                  <c:v>134618</c:v>
                </c:pt>
                <c:pt idx="6324">
                  <c:v>11168</c:v>
                </c:pt>
                <c:pt idx="6325">
                  <c:v>1075</c:v>
                </c:pt>
                <c:pt idx="6326">
                  <c:v>9130</c:v>
                </c:pt>
                <c:pt idx="6327">
                  <c:v>7458</c:v>
                </c:pt>
                <c:pt idx="6328">
                  <c:v>9149</c:v>
                </c:pt>
                <c:pt idx="6329">
                  <c:v>19734</c:v>
                </c:pt>
                <c:pt idx="6330">
                  <c:v>25134</c:v>
                </c:pt>
                <c:pt idx="6331">
                  <c:v>4387</c:v>
                </c:pt>
                <c:pt idx="6332">
                  <c:v>48063</c:v>
                </c:pt>
                <c:pt idx="6333">
                  <c:v>9477</c:v>
                </c:pt>
                <c:pt idx="6334">
                  <c:v>22357</c:v>
                </c:pt>
                <c:pt idx="6335">
                  <c:v>15389</c:v>
                </c:pt>
                <c:pt idx="6336">
                  <c:v>11963</c:v>
                </c:pt>
                <c:pt idx="6337">
                  <c:v>377</c:v>
                </c:pt>
                <c:pt idx="6338">
                  <c:v>27616</c:v>
                </c:pt>
                <c:pt idx="6339">
                  <c:v>25934</c:v>
                </c:pt>
                <c:pt idx="6340">
                  <c:v>167302</c:v>
                </c:pt>
                <c:pt idx="6341">
                  <c:v>19888</c:v>
                </c:pt>
                <c:pt idx="6342">
                  <c:v>6431</c:v>
                </c:pt>
                <c:pt idx="6343">
                  <c:v>14029</c:v>
                </c:pt>
                <c:pt idx="6344">
                  <c:v>54954</c:v>
                </c:pt>
                <c:pt idx="6345">
                  <c:v>9941</c:v>
                </c:pt>
                <c:pt idx="6346">
                  <c:v>9442</c:v>
                </c:pt>
                <c:pt idx="6347">
                  <c:v>12648</c:v>
                </c:pt>
                <c:pt idx="6348">
                  <c:v>14465</c:v>
                </c:pt>
                <c:pt idx="6349">
                  <c:v>24013</c:v>
                </c:pt>
                <c:pt idx="6350">
                  <c:v>14131</c:v>
                </c:pt>
                <c:pt idx="6351">
                  <c:v>9232</c:v>
                </c:pt>
                <c:pt idx="6352">
                  <c:v>7735</c:v>
                </c:pt>
                <c:pt idx="6353">
                  <c:v>4199</c:v>
                </c:pt>
                <c:pt idx="6354">
                  <c:v>7890</c:v>
                </c:pt>
                <c:pt idx="6355">
                  <c:v>9801</c:v>
                </c:pt>
                <c:pt idx="6356">
                  <c:v>7853</c:v>
                </c:pt>
                <c:pt idx="6357">
                  <c:v>23234</c:v>
                </c:pt>
                <c:pt idx="6358">
                  <c:v>7203</c:v>
                </c:pt>
                <c:pt idx="6359">
                  <c:v>69774</c:v>
                </c:pt>
                <c:pt idx="6360">
                  <c:v>6286</c:v>
                </c:pt>
                <c:pt idx="6361">
                  <c:v>8771</c:v>
                </c:pt>
                <c:pt idx="6362">
                  <c:v>7726</c:v>
                </c:pt>
                <c:pt idx="6363">
                  <c:v>6057</c:v>
                </c:pt>
                <c:pt idx="6364">
                  <c:v>9877</c:v>
                </c:pt>
                <c:pt idx="6365">
                  <c:v>28202</c:v>
                </c:pt>
                <c:pt idx="6366">
                  <c:v>11005</c:v>
                </c:pt>
                <c:pt idx="6367">
                  <c:v>17279</c:v>
                </c:pt>
                <c:pt idx="6368">
                  <c:v>11274</c:v>
                </c:pt>
                <c:pt idx="6369">
                  <c:v>45522</c:v>
                </c:pt>
                <c:pt idx="6370">
                  <c:v>25803</c:v>
                </c:pt>
                <c:pt idx="6371">
                  <c:v>9716</c:v>
                </c:pt>
                <c:pt idx="6372">
                  <c:v>118679</c:v>
                </c:pt>
                <c:pt idx="6373">
                  <c:v>6107</c:v>
                </c:pt>
                <c:pt idx="6374">
                  <c:v>582920</c:v>
                </c:pt>
                <c:pt idx="6375">
                  <c:v>15530</c:v>
                </c:pt>
                <c:pt idx="6376">
                  <c:v>47504</c:v>
                </c:pt>
                <c:pt idx="6377">
                  <c:v>9518</c:v>
                </c:pt>
                <c:pt idx="6378">
                  <c:v>5033</c:v>
                </c:pt>
                <c:pt idx="6379">
                  <c:v>5438</c:v>
                </c:pt>
                <c:pt idx="6380">
                  <c:v>6337</c:v>
                </c:pt>
                <c:pt idx="6381">
                  <c:v>11649</c:v>
                </c:pt>
                <c:pt idx="6382">
                  <c:v>31568</c:v>
                </c:pt>
                <c:pt idx="6383">
                  <c:v>3511</c:v>
                </c:pt>
                <c:pt idx="6384">
                  <c:v>12172</c:v>
                </c:pt>
                <c:pt idx="6385">
                  <c:v>17125</c:v>
                </c:pt>
                <c:pt idx="6386">
                  <c:v>10060</c:v>
                </c:pt>
                <c:pt idx="6387">
                  <c:v>4862</c:v>
                </c:pt>
                <c:pt idx="6388">
                  <c:v>14970</c:v>
                </c:pt>
                <c:pt idx="6389">
                  <c:v>31420</c:v>
                </c:pt>
                <c:pt idx="6390">
                  <c:v>31564</c:v>
                </c:pt>
                <c:pt idx="6391">
                  <c:v>6953</c:v>
                </c:pt>
                <c:pt idx="6392">
                  <c:v>12421</c:v>
                </c:pt>
                <c:pt idx="6393">
                  <c:v>43311</c:v>
                </c:pt>
                <c:pt idx="6394">
                  <c:v>14585</c:v>
                </c:pt>
                <c:pt idx="6395">
                  <c:v>7140</c:v>
                </c:pt>
                <c:pt idx="6396">
                  <c:v>57885</c:v>
                </c:pt>
                <c:pt idx="6397">
                  <c:v>12146</c:v>
                </c:pt>
                <c:pt idx="6398">
                  <c:v>4550</c:v>
                </c:pt>
                <c:pt idx="6399">
                  <c:v>8564</c:v>
                </c:pt>
                <c:pt idx="6400">
                  <c:v>30909</c:v>
                </c:pt>
                <c:pt idx="6401">
                  <c:v>11448</c:v>
                </c:pt>
                <c:pt idx="6402">
                  <c:v>324330</c:v>
                </c:pt>
                <c:pt idx="6403">
                  <c:v>11017</c:v>
                </c:pt>
                <c:pt idx="6404">
                  <c:v>13950</c:v>
                </c:pt>
                <c:pt idx="6405">
                  <c:v>2200</c:v>
                </c:pt>
                <c:pt idx="6406">
                  <c:v>14036</c:v>
                </c:pt>
                <c:pt idx="6407">
                  <c:v>5728</c:v>
                </c:pt>
                <c:pt idx="6408">
                  <c:v>15449</c:v>
                </c:pt>
                <c:pt idx="6409">
                  <c:v>80457</c:v>
                </c:pt>
                <c:pt idx="6410">
                  <c:v>136943</c:v>
                </c:pt>
                <c:pt idx="6411">
                  <c:v>131982</c:v>
                </c:pt>
                <c:pt idx="6412">
                  <c:v>137271</c:v>
                </c:pt>
                <c:pt idx="6413">
                  <c:v>36142</c:v>
                </c:pt>
                <c:pt idx="6414">
                  <c:v>61564</c:v>
                </c:pt>
                <c:pt idx="6415">
                  <c:v>42314</c:v>
                </c:pt>
                <c:pt idx="6416">
                  <c:v>165582</c:v>
                </c:pt>
                <c:pt idx="6417">
                  <c:v>20366</c:v>
                </c:pt>
                <c:pt idx="6418">
                  <c:v>2456</c:v>
                </c:pt>
                <c:pt idx="6419">
                  <c:v>17201</c:v>
                </c:pt>
                <c:pt idx="6420">
                  <c:v>22305</c:v>
                </c:pt>
                <c:pt idx="6421">
                  <c:v>22192</c:v>
                </c:pt>
                <c:pt idx="6422">
                  <c:v>8012</c:v>
                </c:pt>
                <c:pt idx="6423">
                  <c:v>7638</c:v>
                </c:pt>
                <c:pt idx="6424">
                  <c:v>32348</c:v>
                </c:pt>
                <c:pt idx="6425">
                  <c:v>72242</c:v>
                </c:pt>
                <c:pt idx="6426">
                  <c:v>36053</c:v>
                </c:pt>
                <c:pt idx="6427">
                  <c:v>19814</c:v>
                </c:pt>
                <c:pt idx="6428">
                  <c:v>21966</c:v>
                </c:pt>
                <c:pt idx="6429">
                  <c:v>6155</c:v>
                </c:pt>
                <c:pt idx="6430">
                  <c:v>5771</c:v>
                </c:pt>
                <c:pt idx="6431">
                  <c:v>7331</c:v>
                </c:pt>
                <c:pt idx="6432">
                  <c:v>6377</c:v>
                </c:pt>
                <c:pt idx="6433">
                  <c:v>4901</c:v>
                </c:pt>
                <c:pt idx="6434">
                  <c:v>29473</c:v>
                </c:pt>
                <c:pt idx="6435">
                  <c:v>6844</c:v>
                </c:pt>
                <c:pt idx="6436">
                  <c:v>18269</c:v>
                </c:pt>
                <c:pt idx="6437">
                  <c:v>16983</c:v>
                </c:pt>
                <c:pt idx="6438">
                  <c:v>13574</c:v>
                </c:pt>
                <c:pt idx="6439">
                  <c:v>23460</c:v>
                </c:pt>
                <c:pt idx="6440">
                  <c:v>22979</c:v>
                </c:pt>
                <c:pt idx="6441">
                  <c:v>16151</c:v>
                </c:pt>
                <c:pt idx="6442">
                  <c:v>7992</c:v>
                </c:pt>
                <c:pt idx="6443">
                  <c:v>11499</c:v>
                </c:pt>
                <c:pt idx="6444">
                  <c:v>622</c:v>
                </c:pt>
                <c:pt idx="6445">
                  <c:v>7401</c:v>
                </c:pt>
                <c:pt idx="6446">
                  <c:v>75220</c:v>
                </c:pt>
                <c:pt idx="6447">
                  <c:v>17674</c:v>
                </c:pt>
                <c:pt idx="6448">
                  <c:v>209515</c:v>
                </c:pt>
                <c:pt idx="6449">
                  <c:v>15912</c:v>
                </c:pt>
                <c:pt idx="6450">
                  <c:v>9293</c:v>
                </c:pt>
                <c:pt idx="6451">
                  <c:v>6615</c:v>
                </c:pt>
                <c:pt idx="6452">
                  <c:v>14595</c:v>
                </c:pt>
                <c:pt idx="6453">
                  <c:v>16287</c:v>
                </c:pt>
                <c:pt idx="6454">
                  <c:v>22325</c:v>
                </c:pt>
                <c:pt idx="6455">
                  <c:v>11166</c:v>
                </c:pt>
                <c:pt idx="6456">
                  <c:v>76822</c:v>
                </c:pt>
                <c:pt idx="6457">
                  <c:v>6500</c:v>
                </c:pt>
                <c:pt idx="6458">
                  <c:v>6144</c:v>
                </c:pt>
                <c:pt idx="6459">
                  <c:v>30823</c:v>
                </c:pt>
                <c:pt idx="6460">
                  <c:v>21998</c:v>
                </c:pt>
                <c:pt idx="6461">
                  <c:v>43177</c:v>
                </c:pt>
                <c:pt idx="6462">
                  <c:v>1441</c:v>
                </c:pt>
                <c:pt idx="6463">
                  <c:v>72888</c:v>
                </c:pt>
                <c:pt idx="6464">
                  <c:v>85874</c:v>
                </c:pt>
                <c:pt idx="6465">
                  <c:v>9527</c:v>
                </c:pt>
                <c:pt idx="6466">
                  <c:v>10612</c:v>
                </c:pt>
                <c:pt idx="6467">
                  <c:v>9246</c:v>
                </c:pt>
                <c:pt idx="6468">
                  <c:v>56823</c:v>
                </c:pt>
                <c:pt idx="6469">
                  <c:v>7673</c:v>
                </c:pt>
                <c:pt idx="6470">
                  <c:v>16236</c:v>
                </c:pt>
                <c:pt idx="6471">
                  <c:v>18131</c:v>
                </c:pt>
                <c:pt idx="6472">
                  <c:v>11877</c:v>
                </c:pt>
                <c:pt idx="6473">
                  <c:v>9472</c:v>
                </c:pt>
                <c:pt idx="6474">
                  <c:v>46606</c:v>
                </c:pt>
                <c:pt idx="6475">
                  <c:v>27283</c:v>
                </c:pt>
                <c:pt idx="6476">
                  <c:v>28930</c:v>
                </c:pt>
                <c:pt idx="6477">
                  <c:v>3501</c:v>
                </c:pt>
                <c:pt idx="6478">
                  <c:v>1404</c:v>
                </c:pt>
                <c:pt idx="6479">
                  <c:v>21566</c:v>
                </c:pt>
                <c:pt idx="6480">
                  <c:v>15900</c:v>
                </c:pt>
                <c:pt idx="6481">
                  <c:v>24548</c:v>
                </c:pt>
                <c:pt idx="6482">
                  <c:v>202610</c:v>
                </c:pt>
                <c:pt idx="6483">
                  <c:v>12998</c:v>
                </c:pt>
                <c:pt idx="6484">
                  <c:v>14949</c:v>
                </c:pt>
                <c:pt idx="6485">
                  <c:v>19702</c:v>
                </c:pt>
                <c:pt idx="6486">
                  <c:v>16137</c:v>
                </c:pt>
                <c:pt idx="6487">
                  <c:v>14279</c:v>
                </c:pt>
                <c:pt idx="6488">
                  <c:v>37607</c:v>
                </c:pt>
                <c:pt idx="6489">
                  <c:v>328593</c:v>
                </c:pt>
                <c:pt idx="6490">
                  <c:v>73264</c:v>
                </c:pt>
                <c:pt idx="6491">
                  <c:v>19666</c:v>
                </c:pt>
                <c:pt idx="6492">
                  <c:v>4633</c:v>
                </c:pt>
                <c:pt idx="6493">
                  <c:v>16005</c:v>
                </c:pt>
                <c:pt idx="6494">
                  <c:v>15892</c:v>
                </c:pt>
                <c:pt idx="6495">
                  <c:v>66388</c:v>
                </c:pt>
                <c:pt idx="6496">
                  <c:v>8360</c:v>
                </c:pt>
                <c:pt idx="6497">
                  <c:v>67878</c:v>
                </c:pt>
                <c:pt idx="6498">
                  <c:v>111093</c:v>
                </c:pt>
                <c:pt idx="6499">
                  <c:v>20731</c:v>
                </c:pt>
                <c:pt idx="6500">
                  <c:v>39985</c:v>
                </c:pt>
                <c:pt idx="6501">
                  <c:v>6309</c:v>
                </c:pt>
                <c:pt idx="6502">
                  <c:v>26866</c:v>
                </c:pt>
                <c:pt idx="6503">
                  <c:v>59809</c:v>
                </c:pt>
                <c:pt idx="6504">
                  <c:v>11243</c:v>
                </c:pt>
                <c:pt idx="6505">
                  <c:v>221672</c:v>
                </c:pt>
                <c:pt idx="6506">
                  <c:v>54566</c:v>
                </c:pt>
                <c:pt idx="6507">
                  <c:v>88920</c:v>
                </c:pt>
                <c:pt idx="6508">
                  <c:v>4725</c:v>
                </c:pt>
                <c:pt idx="6509">
                  <c:v>20260</c:v>
                </c:pt>
                <c:pt idx="6510">
                  <c:v>9443</c:v>
                </c:pt>
                <c:pt idx="6511">
                  <c:v>29684</c:v>
                </c:pt>
                <c:pt idx="6512">
                  <c:v>40376</c:v>
                </c:pt>
                <c:pt idx="6513">
                  <c:v>34215</c:v>
                </c:pt>
                <c:pt idx="6514">
                  <c:v>38703</c:v>
                </c:pt>
                <c:pt idx="6515">
                  <c:v>24354</c:v>
                </c:pt>
                <c:pt idx="6516">
                  <c:v>5959</c:v>
                </c:pt>
                <c:pt idx="6517">
                  <c:v>12048</c:v>
                </c:pt>
                <c:pt idx="6518">
                  <c:v>32237</c:v>
                </c:pt>
                <c:pt idx="6519">
                  <c:v>12420</c:v>
                </c:pt>
                <c:pt idx="6520">
                  <c:v>49870</c:v>
                </c:pt>
                <c:pt idx="6521">
                  <c:v>6956</c:v>
                </c:pt>
                <c:pt idx="6522">
                  <c:v>22143</c:v>
                </c:pt>
                <c:pt idx="6523">
                  <c:v>16208</c:v>
                </c:pt>
                <c:pt idx="6524">
                  <c:v>113965</c:v>
                </c:pt>
                <c:pt idx="6525">
                  <c:v>2968</c:v>
                </c:pt>
                <c:pt idx="6526">
                  <c:v>19441</c:v>
                </c:pt>
                <c:pt idx="6527">
                  <c:v>15427</c:v>
                </c:pt>
                <c:pt idx="6528">
                  <c:v>16741</c:v>
                </c:pt>
                <c:pt idx="6529">
                  <c:v>15686</c:v>
                </c:pt>
                <c:pt idx="6530">
                  <c:v>16351</c:v>
                </c:pt>
                <c:pt idx="6531">
                  <c:v>14238</c:v>
                </c:pt>
                <c:pt idx="6532">
                  <c:v>14677</c:v>
                </c:pt>
                <c:pt idx="6533">
                  <c:v>41317</c:v>
                </c:pt>
                <c:pt idx="6534">
                  <c:v>93329</c:v>
                </c:pt>
                <c:pt idx="6535">
                  <c:v>32394</c:v>
                </c:pt>
                <c:pt idx="6536">
                  <c:v>162772</c:v>
                </c:pt>
                <c:pt idx="6537">
                  <c:v>20541</c:v>
                </c:pt>
                <c:pt idx="6538">
                  <c:v>48488</c:v>
                </c:pt>
                <c:pt idx="6539">
                  <c:v>73223</c:v>
                </c:pt>
                <c:pt idx="6540">
                  <c:v>19036</c:v>
                </c:pt>
                <c:pt idx="6541">
                  <c:v>43065</c:v>
                </c:pt>
                <c:pt idx="6542">
                  <c:v>9495</c:v>
                </c:pt>
                <c:pt idx="6543">
                  <c:v>16131</c:v>
                </c:pt>
                <c:pt idx="6544">
                  <c:v>12637</c:v>
                </c:pt>
                <c:pt idx="6545">
                  <c:v>18534</c:v>
                </c:pt>
                <c:pt idx="6546">
                  <c:v>30210</c:v>
                </c:pt>
                <c:pt idx="6547">
                  <c:v>12708</c:v>
                </c:pt>
                <c:pt idx="6548">
                  <c:v>11074</c:v>
                </c:pt>
                <c:pt idx="6549">
                  <c:v>113801</c:v>
                </c:pt>
                <c:pt idx="6550">
                  <c:v>7006</c:v>
                </c:pt>
                <c:pt idx="6551">
                  <c:v>8766</c:v>
                </c:pt>
                <c:pt idx="6552">
                  <c:v>10671</c:v>
                </c:pt>
                <c:pt idx="6553">
                  <c:v>5142</c:v>
                </c:pt>
                <c:pt idx="6554">
                  <c:v>4936</c:v>
                </c:pt>
                <c:pt idx="6555">
                  <c:v>34971</c:v>
                </c:pt>
                <c:pt idx="6556">
                  <c:v>98736</c:v>
                </c:pt>
                <c:pt idx="6557">
                  <c:v>99964</c:v>
                </c:pt>
                <c:pt idx="6558">
                  <c:v>5808</c:v>
                </c:pt>
                <c:pt idx="6559">
                  <c:v>156272</c:v>
                </c:pt>
                <c:pt idx="6560">
                  <c:v>82889</c:v>
                </c:pt>
                <c:pt idx="6561">
                  <c:v>11144</c:v>
                </c:pt>
                <c:pt idx="6562">
                  <c:v>25141</c:v>
                </c:pt>
                <c:pt idx="6563">
                  <c:v>17569</c:v>
                </c:pt>
                <c:pt idx="6564">
                  <c:v>12250</c:v>
                </c:pt>
                <c:pt idx="6565">
                  <c:v>21554</c:v>
                </c:pt>
                <c:pt idx="6566">
                  <c:v>52934</c:v>
                </c:pt>
                <c:pt idx="6567">
                  <c:v>5416</c:v>
                </c:pt>
                <c:pt idx="6568">
                  <c:v>14552</c:v>
                </c:pt>
                <c:pt idx="6569">
                  <c:v>12229</c:v>
                </c:pt>
                <c:pt idx="6570">
                  <c:v>15369</c:v>
                </c:pt>
                <c:pt idx="6571">
                  <c:v>4419</c:v>
                </c:pt>
                <c:pt idx="6572">
                  <c:v>33329</c:v>
                </c:pt>
                <c:pt idx="6573">
                  <c:v>32474</c:v>
                </c:pt>
                <c:pt idx="6574">
                  <c:v>12192</c:v>
                </c:pt>
                <c:pt idx="6575">
                  <c:v>22749</c:v>
                </c:pt>
                <c:pt idx="6576">
                  <c:v>3152</c:v>
                </c:pt>
                <c:pt idx="6577">
                  <c:v>2968</c:v>
                </c:pt>
                <c:pt idx="6578">
                  <c:v>15785</c:v>
                </c:pt>
                <c:pt idx="6579">
                  <c:v>8186</c:v>
                </c:pt>
                <c:pt idx="6580">
                  <c:v>18643</c:v>
                </c:pt>
                <c:pt idx="6581">
                  <c:v>7476</c:v>
                </c:pt>
                <c:pt idx="6582">
                  <c:v>554</c:v>
                </c:pt>
                <c:pt idx="6583">
                  <c:v>17169</c:v>
                </c:pt>
                <c:pt idx="6584">
                  <c:v>771</c:v>
                </c:pt>
                <c:pt idx="6585">
                  <c:v>78827</c:v>
                </c:pt>
                <c:pt idx="6586">
                  <c:v>184423</c:v>
                </c:pt>
                <c:pt idx="6587">
                  <c:v>16394</c:v>
                </c:pt>
                <c:pt idx="6588">
                  <c:v>12682</c:v>
                </c:pt>
                <c:pt idx="6589">
                  <c:v>25930</c:v>
                </c:pt>
                <c:pt idx="6590">
                  <c:v>4200</c:v>
                </c:pt>
                <c:pt idx="6591">
                  <c:v>20052</c:v>
                </c:pt>
                <c:pt idx="6592">
                  <c:v>4860</c:v>
                </c:pt>
                <c:pt idx="6593">
                  <c:v>8393</c:v>
                </c:pt>
                <c:pt idx="6594">
                  <c:v>102184</c:v>
                </c:pt>
                <c:pt idx="6595">
                  <c:v>43098</c:v>
                </c:pt>
                <c:pt idx="6596">
                  <c:v>18979</c:v>
                </c:pt>
                <c:pt idx="6597">
                  <c:v>24621</c:v>
                </c:pt>
                <c:pt idx="6598">
                  <c:v>11282</c:v>
                </c:pt>
                <c:pt idx="6599">
                  <c:v>7552</c:v>
                </c:pt>
                <c:pt idx="6600">
                  <c:v>5259</c:v>
                </c:pt>
                <c:pt idx="6601">
                  <c:v>14615</c:v>
                </c:pt>
                <c:pt idx="6602">
                  <c:v>8427</c:v>
                </c:pt>
                <c:pt idx="6603">
                  <c:v>60610</c:v>
                </c:pt>
                <c:pt idx="6604">
                  <c:v>9666</c:v>
                </c:pt>
                <c:pt idx="6605">
                  <c:v>38335</c:v>
                </c:pt>
                <c:pt idx="6606">
                  <c:v>13185</c:v>
                </c:pt>
                <c:pt idx="6607">
                  <c:v>5300</c:v>
                </c:pt>
                <c:pt idx="6608">
                  <c:v>10661</c:v>
                </c:pt>
                <c:pt idx="6609">
                  <c:v>7821</c:v>
                </c:pt>
                <c:pt idx="6610">
                  <c:v>3338</c:v>
                </c:pt>
                <c:pt idx="6611">
                  <c:v>159483</c:v>
                </c:pt>
                <c:pt idx="6612">
                  <c:v>8798</c:v>
                </c:pt>
                <c:pt idx="6613">
                  <c:v>9710</c:v>
                </c:pt>
                <c:pt idx="6614">
                  <c:v>14873</c:v>
                </c:pt>
                <c:pt idx="6615">
                  <c:v>192803</c:v>
                </c:pt>
                <c:pt idx="6616">
                  <c:v>97377</c:v>
                </c:pt>
                <c:pt idx="6617">
                  <c:v>26441</c:v>
                </c:pt>
                <c:pt idx="6618">
                  <c:v>55161</c:v>
                </c:pt>
                <c:pt idx="6619">
                  <c:v>64681</c:v>
                </c:pt>
                <c:pt idx="6620">
                  <c:v>69316</c:v>
                </c:pt>
                <c:pt idx="6621">
                  <c:v>83959</c:v>
                </c:pt>
                <c:pt idx="6622">
                  <c:v>2275</c:v>
                </c:pt>
                <c:pt idx="6623">
                  <c:v>15408</c:v>
                </c:pt>
                <c:pt idx="6624">
                  <c:v>35101</c:v>
                </c:pt>
                <c:pt idx="6625">
                  <c:v>18055</c:v>
                </c:pt>
                <c:pt idx="6626">
                  <c:v>20498</c:v>
                </c:pt>
                <c:pt idx="6627">
                  <c:v>8359</c:v>
                </c:pt>
                <c:pt idx="6628">
                  <c:v>28369</c:v>
                </c:pt>
                <c:pt idx="6629">
                  <c:v>7620</c:v>
                </c:pt>
                <c:pt idx="6630">
                  <c:v>5428</c:v>
                </c:pt>
                <c:pt idx="6631">
                  <c:v>11834</c:v>
                </c:pt>
                <c:pt idx="6632">
                  <c:v>26306</c:v>
                </c:pt>
                <c:pt idx="6633">
                  <c:v>33713</c:v>
                </c:pt>
                <c:pt idx="6634">
                  <c:v>12937</c:v>
                </c:pt>
                <c:pt idx="6635">
                  <c:v>6901</c:v>
                </c:pt>
                <c:pt idx="6636">
                  <c:v>12848</c:v>
                </c:pt>
                <c:pt idx="6637">
                  <c:v>27423</c:v>
                </c:pt>
                <c:pt idx="6638">
                  <c:v>24144</c:v>
                </c:pt>
                <c:pt idx="6639">
                  <c:v>93349</c:v>
                </c:pt>
                <c:pt idx="6640">
                  <c:v>57618</c:v>
                </c:pt>
                <c:pt idx="6641">
                  <c:v>5002</c:v>
                </c:pt>
                <c:pt idx="6642">
                  <c:v>41724</c:v>
                </c:pt>
                <c:pt idx="6643">
                  <c:v>32097</c:v>
                </c:pt>
                <c:pt idx="6644">
                  <c:v>44195</c:v>
                </c:pt>
                <c:pt idx="6645">
                  <c:v>3885</c:v>
                </c:pt>
                <c:pt idx="6646">
                  <c:v>3894</c:v>
                </c:pt>
                <c:pt idx="6647">
                  <c:v>16300</c:v>
                </c:pt>
                <c:pt idx="6648">
                  <c:v>10568</c:v>
                </c:pt>
                <c:pt idx="6649">
                  <c:v>11756</c:v>
                </c:pt>
                <c:pt idx="6650">
                  <c:v>70819</c:v>
                </c:pt>
                <c:pt idx="6651">
                  <c:v>4718</c:v>
                </c:pt>
                <c:pt idx="6652">
                  <c:v>38557</c:v>
                </c:pt>
                <c:pt idx="6653">
                  <c:v>41540</c:v>
                </c:pt>
                <c:pt idx="6654">
                  <c:v>10230</c:v>
                </c:pt>
                <c:pt idx="6655">
                  <c:v>15739</c:v>
                </c:pt>
                <c:pt idx="6656">
                  <c:v>8738</c:v>
                </c:pt>
                <c:pt idx="6657">
                  <c:v>461</c:v>
                </c:pt>
                <c:pt idx="6658">
                  <c:v>9880</c:v>
                </c:pt>
                <c:pt idx="6659">
                  <c:v>86284</c:v>
                </c:pt>
                <c:pt idx="6660">
                  <c:v>11172</c:v>
                </c:pt>
                <c:pt idx="6661">
                  <c:v>8235</c:v>
                </c:pt>
                <c:pt idx="6662">
                  <c:v>13839</c:v>
                </c:pt>
                <c:pt idx="6663">
                  <c:v>2581</c:v>
                </c:pt>
                <c:pt idx="6664">
                  <c:v>7101</c:v>
                </c:pt>
                <c:pt idx="6665">
                  <c:v>95849</c:v>
                </c:pt>
                <c:pt idx="6666">
                  <c:v>28109</c:v>
                </c:pt>
                <c:pt idx="6667">
                  <c:v>86269</c:v>
                </c:pt>
                <c:pt idx="6668">
                  <c:v>16165</c:v>
                </c:pt>
                <c:pt idx="6669">
                  <c:v>397427</c:v>
                </c:pt>
                <c:pt idx="6670">
                  <c:v>10051</c:v>
                </c:pt>
                <c:pt idx="6671">
                  <c:v>36668</c:v>
                </c:pt>
                <c:pt idx="6672">
                  <c:v>15289</c:v>
                </c:pt>
                <c:pt idx="6673">
                  <c:v>23422</c:v>
                </c:pt>
                <c:pt idx="6674">
                  <c:v>66833</c:v>
                </c:pt>
                <c:pt idx="6675">
                  <c:v>31124</c:v>
                </c:pt>
                <c:pt idx="6676">
                  <c:v>23107</c:v>
                </c:pt>
                <c:pt idx="6677">
                  <c:v>17959</c:v>
                </c:pt>
                <c:pt idx="6678">
                  <c:v>10062</c:v>
                </c:pt>
                <c:pt idx="6679">
                  <c:v>18914</c:v>
                </c:pt>
                <c:pt idx="6680">
                  <c:v>13113</c:v>
                </c:pt>
                <c:pt idx="6681">
                  <c:v>41274</c:v>
                </c:pt>
                <c:pt idx="6682">
                  <c:v>17363</c:v>
                </c:pt>
                <c:pt idx="6683">
                  <c:v>28492</c:v>
                </c:pt>
                <c:pt idx="6684">
                  <c:v>15091</c:v>
                </c:pt>
                <c:pt idx="6685">
                  <c:v>59635</c:v>
                </c:pt>
                <c:pt idx="6686">
                  <c:v>11338</c:v>
                </c:pt>
                <c:pt idx="6687">
                  <c:v>5034</c:v>
                </c:pt>
                <c:pt idx="6688">
                  <c:v>10306</c:v>
                </c:pt>
                <c:pt idx="6689">
                  <c:v>32956</c:v>
                </c:pt>
                <c:pt idx="6690">
                  <c:v>7954</c:v>
                </c:pt>
                <c:pt idx="6691">
                  <c:v>570475</c:v>
                </c:pt>
                <c:pt idx="6692">
                  <c:v>12364</c:v>
                </c:pt>
                <c:pt idx="6693">
                  <c:v>26135</c:v>
                </c:pt>
                <c:pt idx="6694">
                  <c:v>2814</c:v>
                </c:pt>
                <c:pt idx="6695">
                  <c:v>51596</c:v>
                </c:pt>
                <c:pt idx="6696">
                  <c:v>62696</c:v>
                </c:pt>
                <c:pt idx="6697">
                  <c:v>8203</c:v>
                </c:pt>
                <c:pt idx="6698">
                  <c:v>13943</c:v>
                </c:pt>
                <c:pt idx="6699">
                  <c:v>10537</c:v>
                </c:pt>
                <c:pt idx="6700">
                  <c:v>207839</c:v>
                </c:pt>
                <c:pt idx="6701">
                  <c:v>449080</c:v>
                </c:pt>
                <c:pt idx="6702">
                  <c:v>7213</c:v>
                </c:pt>
                <c:pt idx="6703">
                  <c:v>7910</c:v>
                </c:pt>
                <c:pt idx="6704">
                  <c:v>21710</c:v>
                </c:pt>
                <c:pt idx="6705">
                  <c:v>2449</c:v>
                </c:pt>
                <c:pt idx="6706">
                  <c:v>31633</c:v>
                </c:pt>
                <c:pt idx="6707">
                  <c:v>10752</c:v>
                </c:pt>
                <c:pt idx="6708">
                  <c:v>24267</c:v>
                </c:pt>
                <c:pt idx="6709">
                  <c:v>9601</c:v>
                </c:pt>
                <c:pt idx="6710">
                  <c:v>39400</c:v>
                </c:pt>
                <c:pt idx="6711">
                  <c:v>20177</c:v>
                </c:pt>
                <c:pt idx="6712">
                  <c:v>5556</c:v>
                </c:pt>
                <c:pt idx="6713">
                  <c:v>6516</c:v>
                </c:pt>
                <c:pt idx="6714">
                  <c:v>11868</c:v>
                </c:pt>
                <c:pt idx="6715">
                  <c:v>8667</c:v>
                </c:pt>
                <c:pt idx="6716">
                  <c:v>7554</c:v>
                </c:pt>
                <c:pt idx="6717">
                  <c:v>24880</c:v>
                </c:pt>
                <c:pt idx="6718">
                  <c:v>28971</c:v>
                </c:pt>
                <c:pt idx="6719">
                  <c:v>17954</c:v>
                </c:pt>
                <c:pt idx="6720">
                  <c:v>16096</c:v>
                </c:pt>
                <c:pt idx="6721">
                  <c:v>12290</c:v>
                </c:pt>
                <c:pt idx="6722">
                  <c:v>5561</c:v>
                </c:pt>
                <c:pt idx="6723">
                  <c:v>20383</c:v>
                </c:pt>
                <c:pt idx="6724">
                  <c:v>17347</c:v>
                </c:pt>
                <c:pt idx="6725">
                  <c:v>7927</c:v>
                </c:pt>
                <c:pt idx="6726">
                  <c:v>55321</c:v>
                </c:pt>
                <c:pt idx="6727">
                  <c:v>24701</c:v>
                </c:pt>
                <c:pt idx="6728">
                  <c:v>35264</c:v>
                </c:pt>
                <c:pt idx="6729">
                  <c:v>16300</c:v>
                </c:pt>
                <c:pt idx="6730">
                  <c:v>14108</c:v>
                </c:pt>
                <c:pt idx="6731">
                  <c:v>60408</c:v>
                </c:pt>
                <c:pt idx="6732">
                  <c:v>27698</c:v>
                </c:pt>
                <c:pt idx="6733">
                  <c:v>11407</c:v>
                </c:pt>
                <c:pt idx="6734">
                  <c:v>6266</c:v>
                </c:pt>
                <c:pt idx="6735">
                  <c:v>24927</c:v>
                </c:pt>
                <c:pt idx="6736">
                  <c:v>9856</c:v>
                </c:pt>
                <c:pt idx="6737">
                  <c:v>46204</c:v>
                </c:pt>
                <c:pt idx="6738">
                  <c:v>31161</c:v>
                </c:pt>
                <c:pt idx="6739">
                  <c:v>15490</c:v>
                </c:pt>
                <c:pt idx="6740">
                  <c:v>8922</c:v>
                </c:pt>
                <c:pt idx="6741">
                  <c:v>11509</c:v>
                </c:pt>
                <c:pt idx="6742">
                  <c:v>16192</c:v>
                </c:pt>
                <c:pt idx="6743">
                  <c:v>8548</c:v>
                </c:pt>
                <c:pt idx="6744">
                  <c:v>26426</c:v>
                </c:pt>
                <c:pt idx="6745">
                  <c:v>16190</c:v>
                </c:pt>
                <c:pt idx="6746">
                  <c:v>8846</c:v>
                </c:pt>
                <c:pt idx="6747">
                  <c:v>6354</c:v>
                </c:pt>
                <c:pt idx="6748">
                  <c:v>7746</c:v>
                </c:pt>
                <c:pt idx="6749">
                  <c:v>16351</c:v>
                </c:pt>
                <c:pt idx="6750">
                  <c:v>7708</c:v>
                </c:pt>
                <c:pt idx="6751">
                  <c:v>4412</c:v>
                </c:pt>
                <c:pt idx="6752">
                  <c:v>1881</c:v>
                </c:pt>
                <c:pt idx="6753">
                  <c:v>15530</c:v>
                </c:pt>
                <c:pt idx="6754">
                  <c:v>8702</c:v>
                </c:pt>
                <c:pt idx="6755">
                  <c:v>55644</c:v>
                </c:pt>
                <c:pt idx="6756">
                  <c:v>16287</c:v>
                </c:pt>
                <c:pt idx="6757">
                  <c:v>33963</c:v>
                </c:pt>
                <c:pt idx="6758">
                  <c:v>22091</c:v>
                </c:pt>
                <c:pt idx="6759">
                  <c:v>27274</c:v>
                </c:pt>
                <c:pt idx="6760">
                  <c:v>115909</c:v>
                </c:pt>
                <c:pt idx="6761">
                  <c:v>20751</c:v>
                </c:pt>
                <c:pt idx="6762">
                  <c:v>49600</c:v>
                </c:pt>
                <c:pt idx="6763">
                  <c:v>159478</c:v>
                </c:pt>
                <c:pt idx="6764">
                  <c:v>18184</c:v>
                </c:pt>
                <c:pt idx="6765">
                  <c:v>33491</c:v>
                </c:pt>
                <c:pt idx="6766">
                  <c:v>20437</c:v>
                </c:pt>
                <c:pt idx="6767">
                  <c:v>6645</c:v>
                </c:pt>
                <c:pt idx="6768">
                  <c:v>12365</c:v>
                </c:pt>
                <c:pt idx="6769">
                  <c:v>34829</c:v>
                </c:pt>
                <c:pt idx="6770">
                  <c:v>321982</c:v>
                </c:pt>
                <c:pt idx="6771">
                  <c:v>7450</c:v>
                </c:pt>
                <c:pt idx="6772">
                  <c:v>11040</c:v>
                </c:pt>
                <c:pt idx="6773">
                  <c:v>43088</c:v>
                </c:pt>
                <c:pt idx="6774">
                  <c:v>921299</c:v>
                </c:pt>
                <c:pt idx="6775">
                  <c:v>32443</c:v>
                </c:pt>
                <c:pt idx="6776">
                  <c:v>10567</c:v>
                </c:pt>
                <c:pt idx="6777">
                  <c:v>3147</c:v>
                </c:pt>
                <c:pt idx="6778">
                  <c:v>26560</c:v>
                </c:pt>
                <c:pt idx="6779">
                  <c:v>32646</c:v>
                </c:pt>
                <c:pt idx="6780">
                  <c:v>24345</c:v>
                </c:pt>
                <c:pt idx="6781">
                  <c:v>125733</c:v>
                </c:pt>
                <c:pt idx="6782">
                  <c:v>130908</c:v>
                </c:pt>
                <c:pt idx="6783">
                  <c:v>49625</c:v>
                </c:pt>
                <c:pt idx="6784">
                  <c:v>27271</c:v>
                </c:pt>
                <c:pt idx="6785">
                  <c:v>17362</c:v>
                </c:pt>
                <c:pt idx="6786">
                  <c:v>42610</c:v>
                </c:pt>
                <c:pt idx="6787">
                  <c:v>32431</c:v>
                </c:pt>
                <c:pt idx="6788">
                  <c:v>39830</c:v>
                </c:pt>
                <c:pt idx="6789">
                  <c:v>14726</c:v>
                </c:pt>
                <c:pt idx="6790">
                  <c:v>13915</c:v>
                </c:pt>
                <c:pt idx="6791">
                  <c:v>9921</c:v>
                </c:pt>
                <c:pt idx="6792">
                  <c:v>6539</c:v>
                </c:pt>
                <c:pt idx="6793">
                  <c:v>8552</c:v>
                </c:pt>
                <c:pt idx="6794">
                  <c:v>28417</c:v>
                </c:pt>
                <c:pt idx="6795">
                  <c:v>9829</c:v>
                </c:pt>
                <c:pt idx="6796">
                  <c:v>11350</c:v>
                </c:pt>
                <c:pt idx="6797">
                  <c:v>14470</c:v>
                </c:pt>
                <c:pt idx="6798">
                  <c:v>10180</c:v>
                </c:pt>
                <c:pt idx="6799">
                  <c:v>119305</c:v>
                </c:pt>
                <c:pt idx="6800">
                  <c:v>25081</c:v>
                </c:pt>
                <c:pt idx="6801">
                  <c:v>87073</c:v>
                </c:pt>
                <c:pt idx="6802">
                  <c:v>41681</c:v>
                </c:pt>
                <c:pt idx="6803">
                  <c:v>4981</c:v>
                </c:pt>
                <c:pt idx="6804">
                  <c:v>14531</c:v>
                </c:pt>
                <c:pt idx="6805">
                  <c:v>11825</c:v>
                </c:pt>
                <c:pt idx="6806">
                  <c:v>74217</c:v>
                </c:pt>
                <c:pt idx="6807">
                  <c:v>12938</c:v>
                </c:pt>
                <c:pt idx="6808">
                  <c:v>8075</c:v>
                </c:pt>
                <c:pt idx="6809">
                  <c:v>11584</c:v>
                </c:pt>
                <c:pt idx="6810">
                  <c:v>15900</c:v>
                </c:pt>
                <c:pt idx="6811">
                  <c:v>22493</c:v>
                </c:pt>
                <c:pt idx="6812">
                  <c:v>20835</c:v>
                </c:pt>
                <c:pt idx="6813">
                  <c:v>7316</c:v>
                </c:pt>
                <c:pt idx="6814">
                  <c:v>132681</c:v>
                </c:pt>
                <c:pt idx="6815">
                  <c:v>12799</c:v>
                </c:pt>
                <c:pt idx="6816">
                  <c:v>7901</c:v>
                </c:pt>
                <c:pt idx="6817">
                  <c:v>1357</c:v>
                </c:pt>
                <c:pt idx="6818">
                  <c:v>49566</c:v>
                </c:pt>
                <c:pt idx="6819">
                  <c:v>86066</c:v>
                </c:pt>
                <c:pt idx="6820">
                  <c:v>24737</c:v>
                </c:pt>
                <c:pt idx="6821">
                  <c:v>12426</c:v>
                </c:pt>
                <c:pt idx="6822">
                  <c:v>9726</c:v>
                </c:pt>
                <c:pt idx="6823">
                  <c:v>30880</c:v>
                </c:pt>
                <c:pt idx="6824">
                  <c:v>6817</c:v>
                </c:pt>
                <c:pt idx="6825">
                  <c:v>44734</c:v>
                </c:pt>
                <c:pt idx="6826">
                  <c:v>3774</c:v>
                </c:pt>
                <c:pt idx="6827">
                  <c:v>45170</c:v>
                </c:pt>
                <c:pt idx="6828">
                  <c:v>18297</c:v>
                </c:pt>
                <c:pt idx="6829">
                  <c:v>15956</c:v>
                </c:pt>
                <c:pt idx="6830">
                  <c:v>122933</c:v>
                </c:pt>
                <c:pt idx="6831">
                  <c:v>25717</c:v>
                </c:pt>
                <c:pt idx="6832">
                  <c:v>6626</c:v>
                </c:pt>
                <c:pt idx="6833">
                  <c:v>5333</c:v>
                </c:pt>
                <c:pt idx="6834">
                  <c:v>11000</c:v>
                </c:pt>
                <c:pt idx="6835">
                  <c:v>117382</c:v>
                </c:pt>
                <c:pt idx="6836">
                  <c:v>48745</c:v>
                </c:pt>
                <c:pt idx="6837">
                  <c:v>44324</c:v>
                </c:pt>
                <c:pt idx="6838">
                  <c:v>265000</c:v>
                </c:pt>
                <c:pt idx="6839">
                  <c:v>34843</c:v>
                </c:pt>
                <c:pt idx="6840">
                  <c:v>5230</c:v>
                </c:pt>
                <c:pt idx="6841">
                  <c:v>11597</c:v>
                </c:pt>
                <c:pt idx="6842">
                  <c:v>30108</c:v>
                </c:pt>
                <c:pt idx="6843">
                  <c:v>29594</c:v>
                </c:pt>
                <c:pt idx="6844">
                  <c:v>10801</c:v>
                </c:pt>
                <c:pt idx="6845">
                  <c:v>191445</c:v>
                </c:pt>
                <c:pt idx="6846">
                  <c:v>5001</c:v>
                </c:pt>
                <c:pt idx="6847">
                  <c:v>11076</c:v>
                </c:pt>
                <c:pt idx="6848">
                  <c:v>1295735</c:v>
                </c:pt>
                <c:pt idx="6849">
                  <c:v>37418</c:v>
                </c:pt>
                <c:pt idx="6850">
                  <c:v>19147</c:v>
                </c:pt>
                <c:pt idx="6851">
                  <c:v>33291</c:v>
                </c:pt>
                <c:pt idx="6852">
                  <c:v>32511</c:v>
                </c:pt>
                <c:pt idx="6853">
                  <c:v>162366</c:v>
                </c:pt>
                <c:pt idx="6854">
                  <c:v>7003</c:v>
                </c:pt>
                <c:pt idx="6855">
                  <c:v>55879</c:v>
                </c:pt>
                <c:pt idx="6856">
                  <c:v>10156</c:v>
                </c:pt>
                <c:pt idx="6857">
                  <c:v>45901</c:v>
                </c:pt>
                <c:pt idx="6858">
                  <c:v>51216</c:v>
                </c:pt>
                <c:pt idx="6859">
                  <c:v>18564</c:v>
                </c:pt>
                <c:pt idx="6860">
                  <c:v>8876</c:v>
                </c:pt>
                <c:pt idx="6861">
                  <c:v>15875</c:v>
                </c:pt>
                <c:pt idx="6862">
                  <c:v>40457</c:v>
                </c:pt>
                <c:pt idx="6863">
                  <c:v>5727</c:v>
                </c:pt>
                <c:pt idx="6864">
                  <c:v>4991</c:v>
                </c:pt>
                <c:pt idx="6865">
                  <c:v>36531</c:v>
                </c:pt>
                <c:pt idx="6866">
                  <c:v>8710</c:v>
                </c:pt>
                <c:pt idx="6867">
                  <c:v>18529</c:v>
                </c:pt>
                <c:pt idx="6868">
                  <c:v>662213</c:v>
                </c:pt>
                <c:pt idx="6869">
                  <c:v>24919</c:v>
                </c:pt>
                <c:pt idx="6870">
                  <c:v>8421</c:v>
                </c:pt>
                <c:pt idx="6871">
                  <c:v>28765</c:v>
                </c:pt>
                <c:pt idx="6872">
                  <c:v>71444</c:v>
                </c:pt>
                <c:pt idx="6873">
                  <c:v>5687</c:v>
                </c:pt>
                <c:pt idx="6874">
                  <c:v>6504</c:v>
                </c:pt>
                <c:pt idx="6875">
                  <c:v>7102</c:v>
                </c:pt>
                <c:pt idx="6876">
                  <c:v>3076</c:v>
                </c:pt>
                <c:pt idx="6877">
                  <c:v>22948</c:v>
                </c:pt>
                <c:pt idx="6878">
                  <c:v>73477</c:v>
                </c:pt>
                <c:pt idx="6879">
                  <c:v>60232</c:v>
                </c:pt>
                <c:pt idx="6880">
                  <c:v>13267</c:v>
                </c:pt>
                <c:pt idx="6881">
                  <c:v>937057</c:v>
                </c:pt>
                <c:pt idx="6882">
                  <c:v>23084</c:v>
                </c:pt>
                <c:pt idx="6883">
                  <c:v>17989</c:v>
                </c:pt>
                <c:pt idx="6884">
                  <c:v>54405</c:v>
                </c:pt>
                <c:pt idx="6885">
                  <c:v>202899</c:v>
                </c:pt>
                <c:pt idx="6886">
                  <c:v>29209</c:v>
                </c:pt>
                <c:pt idx="6887">
                  <c:v>9702</c:v>
                </c:pt>
                <c:pt idx="6888">
                  <c:v>46107</c:v>
                </c:pt>
                <c:pt idx="6889">
                  <c:v>244940</c:v>
                </c:pt>
                <c:pt idx="6890">
                  <c:v>19355</c:v>
                </c:pt>
                <c:pt idx="6891">
                  <c:v>4636</c:v>
                </c:pt>
                <c:pt idx="6892">
                  <c:v>103133</c:v>
                </c:pt>
                <c:pt idx="6893">
                  <c:v>9627</c:v>
                </c:pt>
                <c:pt idx="6894">
                  <c:v>22719</c:v>
                </c:pt>
                <c:pt idx="6895">
                  <c:v>12405</c:v>
                </c:pt>
                <c:pt idx="6896">
                  <c:v>12011</c:v>
                </c:pt>
                <c:pt idx="6897">
                  <c:v>13090</c:v>
                </c:pt>
                <c:pt idx="6898">
                  <c:v>54845</c:v>
                </c:pt>
                <c:pt idx="6899">
                  <c:v>178950</c:v>
                </c:pt>
                <c:pt idx="6900">
                  <c:v>50066</c:v>
                </c:pt>
                <c:pt idx="6901">
                  <c:v>39499</c:v>
                </c:pt>
                <c:pt idx="6902">
                  <c:v>17078</c:v>
                </c:pt>
                <c:pt idx="6903">
                  <c:v>9239</c:v>
                </c:pt>
                <c:pt idx="6904">
                  <c:v>32438</c:v>
                </c:pt>
                <c:pt idx="6905">
                  <c:v>31759</c:v>
                </c:pt>
                <c:pt idx="6906">
                  <c:v>95868</c:v>
                </c:pt>
                <c:pt idx="6907">
                  <c:v>26240</c:v>
                </c:pt>
                <c:pt idx="6908">
                  <c:v>7368</c:v>
                </c:pt>
                <c:pt idx="6909">
                  <c:v>14595</c:v>
                </c:pt>
                <c:pt idx="6910">
                  <c:v>12945</c:v>
                </c:pt>
                <c:pt idx="6911">
                  <c:v>18634</c:v>
                </c:pt>
                <c:pt idx="6912">
                  <c:v>10762</c:v>
                </c:pt>
                <c:pt idx="6913">
                  <c:v>18145</c:v>
                </c:pt>
                <c:pt idx="6914">
                  <c:v>13272</c:v>
                </c:pt>
                <c:pt idx="6915">
                  <c:v>176087</c:v>
                </c:pt>
                <c:pt idx="6916">
                  <c:v>71398</c:v>
                </c:pt>
                <c:pt idx="6917">
                  <c:v>43502</c:v>
                </c:pt>
                <c:pt idx="6918">
                  <c:v>3868</c:v>
                </c:pt>
                <c:pt idx="6919">
                  <c:v>38529</c:v>
                </c:pt>
                <c:pt idx="6920">
                  <c:v>13471</c:v>
                </c:pt>
                <c:pt idx="6921">
                  <c:v>256157</c:v>
                </c:pt>
                <c:pt idx="6922">
                  <c:v>3984</c:v>
                </c:pt>
                <c:pt idx="6923">
                  <c:v>25577</c:v>
                </c:pt>
                <c:pt idx="6924">
                  <c:v>10273</c:v>
                </c:pt>
                <c:pt idx="6925">
                  <c:v>15026</c:v>
                </c:pt>
                <c:pt idx="6926">
                  <c:v>7366</c:v>
                </c:pt>
                <c:pt idx="6927">
                  <c:v>3641</c:v>
                </c:pt>
                <c:pt idx="6928">
                  <c:v>4280</c:v>
                </c:pt>
                <c:pt idx="6929">
                  <c:v>369473</c:v>
                </c:pt>
                <c:pt idx="6930">
                  <c:v>22870</c:v>
                </c:pt>
                <c:pt idx="6931">
                  <c:v>115437</c:v>
                </c:pt>
                <c:pt idx="6932">
                  <c:v>6555</c:v>
                </c:pt>
                <c:pt idx="6933">
                  <c:v>15270</c:v>
                </c:pt>
                <c:pt idx="6934">
                  <c:v>7068</c:v>
                </c:pt>
                <c:pt idx="6935">
                  <c:v>6559</c:v>
                </c:pt>
                <c:pt idx="6936">
                  <c:v>40081</c:v>
                </c:pt>
                <c:pt idx="6937">
                  <c:v>25153</c:v>
                </c:pt>
                <c:pt idx="6938">
                  <c:v>51871</c:v>
                </c:pt>
                <c:pt idx="6939">
                  <c:v>29415</c:v>
                </c:pt>
                <c:pt idx="6940">
                  <c:v>69926</c:v>
                </c:pt>
                <c:pt idx="6941">
                  <c:v>63902</c:v>
                </c:pt>
                <c:pt idx="6942">
                  <c:v>12819</c:v>
                </c:pt>
                <c:pt idx="6943">
                  <c:v>10570</c:v>
                </c:pt>
                <c:pt idx="6944">
                  <c:v>4417</c:v>
                </c:pt>
                <c:pt idx="6945">
                  <c:v>19819</c:v>
                </c:pt>
                <c:pt idx="6946">
                  <c:v>37298</c:v>
                </c:pt>
                <c:pt idx="6947">
                  <c:v>30327</c:v>
                </c:pt>
                <c:pt idx="6948">
                  <c:v>11726</c:v>
                </c:pt>
                <c:pt idx="6949">
                  <c:v>13789</c:v>
                </c:pt>
                <c:pt idx="6950">
                  <c:v>44214</c:v>
                </c:pt>
                <c:pt idx="6951">
                  <c:v>83887</c:v>
                </c:pt>
                <c:pt idx="6952">
                  <c:v>95111</c:v>
                </c:pt>
                <c:pt idx="6953">
                  <c:v>95671</c:v>
                </c:pt>
                <c:pt idx="6954">
                  <c:v>15785</c:v>
                </c:pt>
                <c:pt idx="6955">
                  <c:v>123817</c:v>
                </c:pt>
                <c:pt idx="6956">
                  <c:v>15796</c:v>
                </c:pt>
                <c:pt idx="6957">
                  <c:v>21260</c:v>
                </c:pt>
                <c:pt idx="6958">
                  <c:v>6694</c:v>
                </c:pt>
                <c:pt idx="6959">
                  <c:v>34047</c:v>
                </c:pt>
                <c:pt idx="6960">
                  <c:v>20119</c:v>
                </c:pt>
                <c:pt idx="6961">
                  <c:v>107519</c:v>
                </c:pt>
                <c:pt idx="6962">
                  <c:v>8616</c:v>
                </c:pt>
                <c:pt idx="6963">
                  <c:v>24551</c:v>
                </c:pt>
                <c:pt idx="6964">
                  <c:v>208646</c:v>
                </c:pt>
                <c:pt idx="6965">
                  <c:v>63642</c:v>
                </c:pt>
                <c:pt idx="6966">
                  <c:v>21551</c:v>
                </c:pt>
                <c:pt idx="6967">
                  <c:v>6000</c:v>
                </c:pt>
                <c:pt idx="6968">
                  <c:v>23422</c:v>
                </c:pt>
                <c:pt idx="6969">
                  <c:v>7158</c:v>
                </c:pt>
                <c:pt idx="6970">
                  <c:v>69669</c:v>
                </c:pt>
                <c:pt idx="6971">
                  <c:v>6237</c:v>
                </c:pt>
                <c:pt idx="6972">
                  <c:v>30955</c:v>
                </c:pt>
                <c:pt idx="6973">
                  <c:v>76867</c:v>
                </c:pt>
                <c:pt idx="6974">
                  <c:v>18833</c:v>
                </c:pt>
                <c:pt idx="6975">
                  <c:v>7388</c:v>
                </c:pt>
                <c:pt idx="6976">
                  <c:v>35555</c:v>
                </c:pt>
                <c:pt idx="6977">
                  <c:v>4015</c:v>
                </c:pt>
                <c:pt idx="6978">
                  <c:v>8586</c:v>
                </c:pt>
                <c:pt idx="6979">
                  <c:v>142039</c:v>
                </c:pt>
                <c:pt idx="6980">
                  <c:v>210197</c:v>
                </c:pt>
                <c:pt idx="6981">
                  <c:v>33221</c:v>
                </c:pt>
                <c:pt idx="6982">
                  <c:v>151378</c:v>
                </c:pt>
                <c:pt idx="6983">
                  <c:v>10385</c:v>
                </c:pt>
                <c:pt idx="6984">
                  <c:v>137737</c:v>
                </c:pt>
                <c:pt idx="6985">
                  <c:v>40814</c:v>
                </c:pt>
                <c:pt idx="6986">
                  <c:v>13478</c:v>
                </c:pt>
                <c:pt idx="6987">
                  <c:v>20420</c:v>
                </c:pt>
                <c:pt idx="6988">
                  <c:v>182828</c:v>
                </c:pt>
                <c:pt idx="6989">
                  <c:v>116315</c:v>
                </c:pt>
                <c:pt idx="6990">
                  <c:v>9477</c:v>
                </c:pt>
                <c:pt idx="6991">
                  <c:v>57880</c:v>
                </c:pt>
                <c:pt idx="6992">
                  <c:v>26687</c:v>
                </c:pt>
                <c:pt idx="6993">
                  <c:v>6228</c:v>
                </c:pt>
                <c:pt idx="6994">
                  <c:v>6933</c:v>
                </c:pt>
                <c:pt idx="6995">
                  <c:v>34798</c:v>
                </c:pt>
                <c:pt idx="6996">
                  <c:v>18302</c:v>
                </c:pt>
                <c:pt idx="6997">
                  <c:v>11162</c:v>
                </c:pt>
                <c:pt idx="6998">
                  <c:v>120985</c:v>
                </c:pt>
                <c:pt idx="6999">
                  <c:v>29992</c:v>
                </c:pt>
                <c:pt idx="7000">
                  <c:v>67885</c:v>
                </c:pt>
                <c:pt idx="7001">
                  <c:v>164975</c:v>
                </c:pt>
                <c:pt idx="7002">
                  <c:v>51137</c:v>
                </c:pt>
                <c:pt idx="7003">
                  <c:v>37681</c:v>
                </c:pt>
                <c:pt idx="7004">
                  <c:v>19538</c:v>
                </c:pt>
                <c:pt idx="7005">
                  <c:v>35519</c:v>
                </c:pt>
                <c:pt idx="7006">
                  <c:v>147684</c:v>
                </c:pt>
                <c:pt idx="7007">
                  <c:v>140091</c:v>
                </c:pt>
                <c:pt idx="7008">
                  <c:v>10781</c:v>
                </c:pt>
                <c:pt idx="7009">
                  <c:v>13843</c:v>
                </c:pt>
                <c:pt idx="7010">
                  <c:v>9812</c:v>
                </c:pt>
                <c:pt idx="7011">
                  <c:v>110569</c:v>
                </c:pt>
                <c:pt idx="7012">
                  <c:v>79128</c:v>
                </c:pt>
                <c:pt idx="7013">
                  <c:v>7056</c:v>
                </c:pt>
                <c:pt idx="7014">
                  <c:v>13396</c:v>
                </c:pt>
                <c:pt idx="7015">
                  <c:v>25831</c:v>
                </c:pt>
                <c:pt idx="7016">
                  <c:v>303052</c:v>
                </c:pt>
                <c:pt idx="7017">
                  <c:v>16049</c:v>
                </c:pt>
                <c:pt idx="7018">
                  <c:v>37881</c:v>
                </c:pt>
                <c:pt idx="7019">
                  <c:v>16577</c:v>
                </c:pt>
                <c:pt idx="7020">
                  <c:v>36802</c:v>
                </c:pt>
                <c:pt idx="7021">
                  <c:v>19737</c:v>
                </c:pt>
                <c:pt idx="7022">
                  <c:v>5602</c:v>
                </c:pt>
                <c:pt idx="7023">
                  <c:v>24864</c:v>
                </c:pt>
                <c:pt idx="7024">
                  <c:v>35939</c:v>
                </c:pt>
                <c:pt idx="7025">
                  <c:v>16394</c:v>
                </c:pt>
                <c:pt idx="7026">
                  <c:v>13429</c:v>
                </c:pt>
                <c:pt idx="7027">
                  <c:v>47111</c:v>
                </c:pt>
                <c:pt idx="7028">
                  <c:v>3272</c:v>
                </c:pt>
                <c:pt idx="7029">
                  <c:v>8753</c:v>
                </c:pt>
                <c:pt idx="7030">
                  <c:v>115904</c:v>
                </c:pt>
                <c:pt idx="7031">
                  <c:v>189310</c:v>
                </c:pt>
                <c:pt idx="7032">
                  <c:v>44583</c:v>
                </c:pt>
                <c:pt idx="7033">
                  <c:v>40159</c:v>
                </c:pt>
                <c:pt idx="7034">
                  <c:v>24014</c:v>
                </c:pt>
                <c:pt idx="7035">
                  <c:v>8790</c:v>
                </c:pt>
                <c:pt idx="7036">
                  <c:v>74258</c:v>
                </c:pt>
                <c:pt idx="7037">
                  <c:v>41723</c:v>
                </c:pt>
                <c:pt idx="7038">
                  <c:v>177538</c:v>
                </c:pt>
                <c:pt idx="7039">
                  <c:v>61566</c:v>
                </c:pt>
                <c:pt idx="7040">
                  <c:v>35243</c:v>
                </c:pt>
                <c:pt idx="7041">
                  <c:v>10813</c:v>
                </c:pt>
                <c:pt idx="7042">
                  <c:v>26956</c:v>
                </c:pt>
                <c:pt idx="7043">
                  <c:v>111915</c:v>
                </c:pt>
                <c:pt idx="7044">
                  <c:v>1683379</c:v>
                </c:pt>
                <c:pt idx="7045">
                  <c:v>6190</c:v>
                </c:pt>
                <c:pt idx="7046">
                  <c:v>48726</c:v>
                </c:pt>
                <c:pt idx="7047">
                  <c:v>39881</c:v>
                </c:pt>
                <c:pt idx="7048">
                  <c:v>83858</c:v>
                </c:pt>
                <c:pt idx="7049">
                  <c:v>17658</c:v>
                </c:pt>
                <c:pt idx="7050">
                  <c:v>19242</c:v>
                </c:pt>
                <c:pt idx="7051">
                  <c:v>39718</c:v>
                </c:pt>
                <c:pt idx="7052">
                  <c:v>23364</c:v>
                </c:pt>
                <c:pt idx="7053">
                  <c:v>22514</c:v>
                </c:pt>
                <c:pt idx="7054">
                  <c:v>14048</c:v>
                </c:pt>
                <c:pt idx="7055">
                  <c:v>51656</c:v>
                </c:pt>
                <c:pt idx="7056">
                  <c:v>16584</c:v>
                </c:pt>
                <c:pt idx="7057">
                  <c:v>2509</c:v>
                </c:pt>
                <c:pt idx="7058">
                  <c:v>7291</c:v>
                </c:pt>
                <c:pt idx="7059">
                  <c:v>51660</c:v>
                </c:pt>
                <c:pt idx="7060">
                  <c:v>16795</c:v>
                </c:pt>
                <c:pt idx="7061">
                  <c:v>9791</c:v>
                </c:pt>
                <c:pt idx="7062">
                  <c:v>7638</c:v>
                </c:pt>
                <c:pt idx="7063">
                  <c:v>15814</c:v>
                </c:pt>
                <c:pt idx="7064">
                  <c:v>16381</c:v>
                </c:pt>
                <c:pt idx="7065">
                  <c:v>31276</c:v>
                </c:pt>
                <c:pt idx="7066">
                  <c:v>411769</c:v>
                </c:pt>
                <c:pt idx="7067">
                  <c:v>17300</c:v>
                </c:pt>
                <c:pt idx="7068">
                  <c:v>22082</c:v>
                </c:pt>
                <c:pt idx="7069">
                  <c:v>33844</c:v>
                </c:pt>
                <c:pt idx="7070">
                  <c:v>29724</c:v>
                </c:pt>
                <c:pt idx="7071">
                  <c:v>166307</c:v>
                </c:pt>
                <c:pt idx="7072">
                  <c:v>25220</c:v>
                </c:pt>
                <c:pt idx="7073">
                  <c:v>12687</c:v>
                </c:pt>
                <c:pt idx="7074">
                  <c:v>19126</c:v>
                </c:pt>
                <c:pt idx="7075">
                  <c:v>69431</c:v>
                </c:pt>
                <c:pt idx="7076">
                  <c:v>24465</c:v>
                </c:pt>
                <c:pt idx="7077">
                  <c:v>62472</c:v>
                </c:pt>
                <c:pt idx="7078">
                  <c:v>33272</c:v>
                </c:pt>
                <c:pt idx="7079">
                  <c:v>64243</c:v>
                </c:pt>
                <c:pt idx="7080">
                  <c:v>3730</c:v>
                </c:pt>
                <c:pt idx="7081">
                  <c:v>101659</c:v>
                </c:pt>
                <c:pt idx="7082">
                  <c:v>10245</c:v>
                </c:pt>
                <c:pt idx="7083">
                  <c:v>7068</c:v>
                </c:pt>
                <c:pt idx="7084">
                  <c:v>115088</c:v>
                </c:pt>
                <c:pt idx="7085">
                  <c:v>22580</c:v>
                </c:pt>
                <c:pt idx="7086">
                  <c:v>21435</c:v>
                </c:pt>
                <c:pt idx="7087">
                  <c:v>9208</c:v>
                </c:pt>
                <c:pt idx="7088">
                  <c:v>2134</c:v>
                </c:pt>
                <c:pt idx="7089">
                  <c:v>12304</c:v>
                </c:pt>
                <c:pt idx="7090">
                  <c:v>86376</c:v>
                </c:pt>
                <c:pt idx="7091">
                  <c:v>25789</c:v>
                </c:pt>
                <c:pt idx="7092">
                  <c:v>131167</c:v>
                </c:pt>
                <c:pt idx="7093">
                  <c:v>4698</c:v>
                </c:pt>
                <c:pt idx="7094">
                  <c:v>47183</c:v>
                </c:pt>
                <c:pt idx="7095">
                  <c:v>49833</c:v>
                </c:pt>
                <c:pt idx="7096">
                  <c:v>27184</c:v>
                </c:pt>
                <c:pt idx="7097">
                  <c:v>4801</c:v>
                </c:pt>
                <c:pt idx="7098">
                  <c:v>7227</c:v>
                </c:pt>
                <c:pt idx="7099">
                  <c:v>14721</c:v>
                </c:pt>
                <c:pt idx="7100">
                  <c:v>6353</c:v>
                </c:pt>
                <c:pt idx="7101">
                  <c:v>14093</c:v>
                </c:pt>
                <c:pt idx="7102">
                  <c:v>9922</c:v>
                </c:pt>
                <c:pt idx="7103">
                  <c:v>9508</c:v>
                </c:pt>
                <c:pt idx="7104">
                  <c:v>99294</c:v>
                </c:pt>
                <c:pt idx="7105">
                  <c:v>18348</c:v>
                </c:pt>
                <c:pt idx="7106">
                  <c:v>14496</c:v>
                </c:pt>
                <c:pt idx="7107">
                  <c:v>6499</c:v>
                </c:pt>
                <c:pt idx="7108">
                  <c:v>10785</c:v>
                </c:pt>
                <c:pt idx="7109">
                  <c:v>12023</c:v>
                </c:pt>
                <c:pt idx="7110">
                  <c:v>27310</c:v>
                </c:pt>
                <c:pt idx="7111">
                  <c:v>64326</c:v>
                </c:pt>
                <c:pt idx="7112">
                  <c:v>13224</c:v>
                </c:pt>
                <c:pt idx="7113">
                  <c:v>16521</c:v>
                </c:pt>
                <c:pt idx="7114">
                  <c:v>14831</c:v>
                </c:pt>
                <c:pt idx="7115">
                  <c:v>16560</c:v>
                </c:pt>
                <c:pt idx="7116">
                  <c:v>32724</c:v>
                </c:pt>
                <c:pt idx="7117">
                  <c:v>3947</c:v>
                </c:pt>
                <c:pt idx="7118">
                  <c:v>588</c:v>
                </c:pt>
                <c:pt idx="7119">
                  <c:v>16001</c:v>
                </c:pt>
                <c:pt idx="7120">
                  <c:v>5221</c:v>
                </c:pt>
                <c:pt idx="7121">
                  <c:v>22154</c:v>
                </c:pt>
                <c:pt idx="7122">
                  <c:v>4234</c:v>
                </c:pt>
                <c:pt idx="7123">
                  <c:v>954</c:v>
                </c:pt>
                <c:pt idx="7124">
                  <c:v>1544</c:v>
                </c:pt>
                <c:pt idx="7125">
                  <c:v>2223</c:v>
                </c:pt>
                <c:pt idx="7126">
                  <c:v>6075</c:v>
                </c:pt>
                <c:pt idx="7127">
                  <c:v>4085</c:v>
                </c:pt>
                <c:pt idx="7128">
                  <c:v>10806</c:v>
                </c:pt>
                <c:pt idx="7129">
                  <c:v>13055</c:v>
                </c:pt>
                <c:pt idx="7130">
                  <c:v>12495</c:v>
                </c:pt>
                <c:pt idx="7131">
                  <c:v>6052</c:v>
                </c:pt>
                <c:pt idx="7132">
                  <c:v>2025</c:v>
                </c:pt>
                <c:pt idx="7133">
                  <c:v>7900</c:v>
                </c:pt>
                <c:pt idx="7134">
                  <c:v>7083</c:v>
                </c:pt>
                <c:pt idx="7135">
                  <c:v>3117</c:v>
                </c:pt>
                <c:pt idx="7136">
                  <c:v>4515</c:v>
                </c:pt>
                <c:pt idx="7137">
                  <c:v>1754</c:v>
                </c:pt>
                <c:pt idx="7138">
                  <c:v>20523</c:v>
                </c:pt>
                <c:pt idx="7139">
                  <c:v>16003</c:v>
                </c:pt>
                <c:pt idx="7140">
                  <c:v>9304</c:v>
                </c:pt>
                <c:pt idx="7141">
                  <c:v>7714</c:v>
                </c:pt>
                <c:pt idx="7142">
                  <c:v>19877</c:v>
                </c:pt>
                <c:pt idx="7143">
                  <c:v>9251</c:v>
                </c:pt>
                <c:pt idx="7144">
                  <c:v>5315</c:v>
                </c:pt>
                <c:pt idx="7145">
                  <c:v>8269</c:v>
                </c:pt>
                <c:pt idx="7146">
                  <c:v>9332</c:v>
                </c:pt>
                <c:pt idx="7147">
                  <c:v>10628</c:v>
                </c:pt>
                <c:pt idx="7148">
                  <c:v>1994</c:v>
                </c:pt>
                <c:pt idx="7149">
                  <c:v>8224</c:v>
                </c:pt>
                <c:pt idx="7150">
                  <c:v>383</c:v>
                </c:pt>
                <c:pt idx="7151">
                  <c:v>13642</c:v>
                </c:pt>
                <c:pt idx="7152">
                  <c:v>7965</c:v>
                </c:pt>
                <c:pt idx="7153">
                  <c:v>31632</c:v>
                </c:pt>
                <c:pt idx="7154">
                  <c:v>3194</c:v>
                </c:pt>
                <c:pt idx="7155">
                  <c:v>11882</c:v>
                </c:pt>
                <c:pt idx="7156">
                  <c:v>17772</c:v>
                </c:pt>
                <c:pt idx="7157">
                  <c:v>15320</c:v>
                </c:pt>
                <c:pt idx="7158">
                  <c:v>19319</c:v>
                </c:pt>
                <c:pt idx="7159">
                  <c:v>629</c:v>
                </c:pt>
                <c:pt idx="7160">
                  <c:v>19731</c:v>
                </c:pt>
                <c:pt idx="7161">
                  <c:v>38794</c:v>
                </c:pt>
                <c:pt idx="7162">
                  <c:v>4442</c:v>
                </c:pt>
                <c:pt idx="7163">
                  <c:v>28986</c:v>
                </c:pt>
                <c:pt idx="7164">
                  <c:v>1564</c:v>
                </c:pt>
                <c:pt idx="7165">
                  <c:v>1900</c:v>
                </c:pt>
                <c:pt idx="7166">
                  <c:v>3940</c:v>
                </c:pt>
                <c:pt idx="7167">
                  <c:v>9292</c:v>
                </c:pt>
                <c:pt idx="7168">
                  <c:v>13887</c:v>
                </c:pt>
                <c:pt idx="7169">
                  <c:v>11166</c:v>
                </c:pt>
                <c:pt idx="7170">
                  <c:v>603</c:v>
                </c:pt>
                <c:pt idx="7171">
                  <c:v>41914</c:v>
                </c:pt>
                <c:pt idx="7172">
                  <c:v>11993</c:v>
                </c:pt>
                <c:pt idx="7173">
                  <c:v>7338</c:v>
                </c:pt>
                <c:pt idx="7174">
                  <c:v>6106</c:v>
                </c:pt>
                <c:pt idx="7175">
                  <c:v>464</c:v>
                </c:pt>
                <c:pt idx="7176">
                  <c:v>1723</c:v>
                </c:pt>
                <c:pt idx="7177">
                  <c:v>3324</c:v>
                </c:pt>
                <c:pt idx="7178">
                  <c:v>10323</c:v>
                </c:pt>
                <c:pt idx="7179">
                  <c:v>863</c:v>
                </c:pt>
                <c:pt idx="7180">
                  <c:v>3090</c:v>
                </c:pt>
                <c:pt idx="7181">
                  <c:v>13535</c:v>
                </c:pt>
                <c:pt idx="7182">
                  <c:v>15616</c:v>
                </c:pt>
                <c:pt idx="7183">
                  <c:v>5637</c:v>
                </c:pt>
                <c:pt idx="7184">
                  <c:v>70020</c:v>
                </c:pt>
                <c:pt idx="7185">
                  <c:v>22822</c:v>
                </c:pt>
                <c:pt idx="7186">
                  <c:v>14270</c:v>
                </c:pt>
                <c:pt idx="7187">
                  <c:v>12771</c:v>
                </c:pt>
                <c:pt idx="7188">
                  <c:v>5760</c:v>
                </c:pt>
                <c:pt idx="7189">
                  <c:v>5001</c:v>
                </c:pt>
                <c:pt idx="7190">
                  <c:v>3898</c:v>
                </c:pt>
                <c:pt idx="7191">
                  <c:v>66136</c:v>
                </c:pt>
                <c:pt idx="7192">
                  <c:v>10586</c:v>
                </c:pt>
                <c:pt idx="7193">
                  <c:v>6049</c:v>
                </c:pt>
                <c:pt idx="7194">
                  <c:v>6221</c:v>
                </c:pt>
                <c:pt idx="7195">
                  <c:v>95170</c:v>
                </c:pt>
                <c:pt idx="7196">
                  <c:v>15487</c:v>
                </c:pt>
                <c:pt idx="7197">
                  <c:v>7595</c:v>
                </c:pt>
                <c:pt idx="7198">
                  <c:v>9548</c:v>
                </c:pt>
                <c:pt idx="7199">
                  <c:v>44861</c:v>
                </c:pt>
                <c:pt idx="7200">
                  <c:v>2923</c:v>
                </c:pt>
                <c:pt idx="7201">
                  <c:v>5825</c:v>
                </c:pt>
                <c:pt idx="7202">
                  <c:v>7108</c:v>
                </c:pt>
                <c:pt idx="7203">
                  <c:v>9248</c:v>
                </c:pt>
                <c:pt idx="7204">
                  <c:v>29751</c:v>
                </c:pt>
                <c:pt idx="7205">
                  <c:v>2786</c:v>
                </c:pt>
                <c:pt idx="7206">
                  <c:v>6997</c:v>
                </c:pt>
                <c:pt idx="7207">
                  <c:v>7371</c:v>
                </c:pt>
                <c:pt idx="7208">
                  <c:v>3650</c:v>
                </c:pt>
                <c:pt idx="7209">
                  <c:v>8388</c:v>
                </c:pt>
                <c:pt idx="7210">
                  <c:v>7020</c:v>
                </c:pt>
                <c:pt idx="7211">
                  <c:v>4089</c:v>
                </c:pt>
                <c:pt idx="7212">
                  <c:v>23868</c:v>
                </c:pt>
                <c:pt idx="7213">
                  <c:v>6374</c:v>
                </c:pt>
                <c:pt idx="7214">
                  <c:v>7374</c:v>
                </c:pt>
                <c:pt idx="7215">
                  <c:v>7591</c:v>
                </c:pt>
                <c:pt idx="7216">
                  <c:v>6040</c:v>
                </c:pt>
                <c:pt idx="7217">
                  <c:v>12841</c:v>
                </c:pt>
                <c:pt idx="7218">
                  <c:v>7574</c:v>
                </c:pt>
                <c:pt idx="7219">
                  <c:v>9300</c:v>
                </c:pt>
                <c:pt idx="7220">
                  <c:v>3793</c:v>
                </c:pt>
                <c:pt idx="7221">
                  <c:v>2720</c:v>
                </c:pt>
                <c:pt idx="7222">
                  <c:v>21280</c:v>
                </c:pt>
                <c:pt idx="7223">
                  <c:v>4750</c:v>
                </c:pt>
                <c:pt idx="7224">
                  <c:v>2361</c:v>
                </c:pt>
                <c:pt idx="7225">
                  <c:v>9803</c:v>
                </c:pt>
                <c:pt idx="7226">
                  <c:v>40984</c:v>
                </c:pt>
                <c:pt idx="7227">
                  <c:v>6453</c:v>
                </c:pt>
                <c:pt idx="7228">
                  <c:v>7458</c:v>
                </c:pt>
                <c:pt idx="7229">
                  <c:v>94231</c:v>
                </c:pt>
                <c:pt idx="7230">
                  <c:v>16038</c:v>
                </c:pt>
                <c:pt idx="7231">
                  <c:v>9478</c:v>
                </c:pt>
                <c:pt idx="7232">
                  <c:v>3999</c:v>
                </c:pt>
                <c:pt idx="7233">
                  <c:v>17450</c:v>
                </c:pt>
                <c:pt idx="7234">
                  <c:v>17984</c:v>
                </c:pt>
                <c:pt idx="7235">
                  <c:v>13329</c:v>
                </c:pt>
                <c:pt idx="7236">
                  <c:v>36279</c:v>
                </c:pt>
                <c:pt idx="7237">
                  <c:v>11800</c:v>
                </c:pt>
                <c:pt idx="7238">
                  <c:v>18853</c:v>
                </c:pt>
                <c:pt idx="7239">
                  <c:v>28180</c:v>
                </c:pt>
                <c:pt idx="7240">
                  <c:v>25342</c:v>
                </c:pt>
                <c:pt idx="7241">
                  <c:v>4617</c:v>
                </c:pt>
                <c:pt idx="7242">
                  <c:v>9853</c:v>
                </c:pt>
                <c:pt idx="7243">
                  <c:v>2648</c:v>
                </c:pt>
                <c:pt idx="7244">
                  <c:v>6990</c:v>
                </c:pt>
              </c:numCache>
            </c:numRef>
          </c:xVal>
          <c:yVal>
            <c:numRef>
              <c:f>cities!$I$2:$I$7253</c:f>
              <c:numCache>
                <c:formatCode>General</c:formatCode>
                <c:ptCount val="7245"/>
                <c:pt idx="0">
                  <c:v>11</c:v>
                </c:pt>
                <c:pt idx="1">
                  <c:v>5</c:v>
                </c:pt>
                <c:pt idx="2">
                  <c:v>4</c:v>
                </c:pt>
                <c:pt idx="3">
                  <c:v>15</c:v>
                </c:pt>
                <c:pt idx="4">
                  <c:v>16</c:v>
                </c:pt>
                <c:pt idx="5">
                  <c:v>103</c:v>
                </c:pt>
                <c:pt idx="6">
                  <c:v>90</c:v>
                </c:pt>
                <c:pt idx="7">
                  <c:v>86</c:v>
                </c:pt>
                <c:pt idx="8">
                  <c:v>17</c:v>
                </c:pt>
                <c:pt idx="9">
                  <c:v>8</c:v>
                </c:pt>
                <c:pt idx="10">
                  <c:v>7</c:v>
                </c:pt>
                <c:pt idx="11">
                  <c:v>17</c:v>
                </c:pt>
                <c:pt idx="12">
                  <c:v>127</c:v>
                </c:pt>
                <c:pt idx="13">
                  <c:v>9</c:v>
                </c:pt>
                <c:pt idx="14">
                  <c:v>80</c:v>
                </c:pt>
                <c:pt idx="15">
                  <c:v>21</c:v>
                </c:pt>
                <c:pt idx="16">
                  <c:v>14</c:v>
                </c:pt>
                <c:pt idx="17">
                  <c:v>4</c:v>
                </c:pt>
                <c:pt idx="18">
                  <c:v>113</c:v>
                </c:pt>
                <c:pt idx="19">
                  <c:v>62</c:v>
                </c:pt>
                <c:pt idx="20">
                  <c:v>12</c:v>
                </c:pt>
                <c:pt idx="21">
                  <c:v>9</c:v>
                </c:pt>
                <c:pt idx="22">
                  <c:v>56</c:v>
                </c:pt>
                <c:pt idx="23">
                  <c:v>50</c:v>
                </c:pt>
                <c:pt idx="24">
                  <c:v>14</c:v>
                </c:pt>
                <c:pt idx="25">
                  <c:v>14</c:v>
                </c:pt>
                <c:pt idx="26">
                  <c:v>14</c:v>
                </c:pt>
                <c:pt idx="27">
                  <c:v>81</c:v>
                </c:pt>
                <c:pt idx="28">
                  <c:v>4</c:v>
                </c:pt>
                <c:pt idx="29">
                  <c:v>3</c:v>
                </c:pt>
                <c:pt idx="30">
                  <c:v>9</c:v>
                </c:pt>
                <c:pt idx="31">
                  <c:v>121</c:v>
                </c:pt>
                <c:pt idx="32">
                  <c:v>82</c:v>
                </c:pt>
                <c:pt idx="33">
                  <c:v>8</c:v>
                </c:pt>
                <c:pt idx="34">
                  <c:v>10</c:v>
                </c:pt>
                <c:pt idx="35">
                  <c:v>55</c:v>
                </c:pt>
                <c:pt idx="36">
                  <c:v>19</c:v>
                </c:pt>
                <c:pt idx="37">
                  <c:v>11</c:v>
                </c:pt>
                <c:pt idx="38">
                  <c:v>42</c:v>
                </c:pt>
                <c:pt idx="39">
                  <c:v>42</c:v>
                </c:pt>
                <c:pt idx="40">
                  <c:v>0</c:v>
                </c:pt>
                <c:pt idx="41">
                  <c:v>3</c:v>
                </c:pt>
                <c:pt idx="42">
                  <c:v>6</c:v>
                </c:pt>
                <c:pt idx="43">
                  <c:v>2</c:v>
                </c:pt>
                <c:pt idx="44">
                  <c:v>1</c:v>
                </c:pt>
                <c:pt idx="45">
                  <c:v>7</c:v>
                </c:pt>
                <c:pt idx="46">
                  <c:v>7</c:v>
                </c:pt>
                <c:pt idx="47">
                  <c:v>3</c:v>
                </c:pt>
                <c:pt idx="48">
                  <c:v>0</c:v>
                </c:pt>
                <c:pt idx="49">
                  <c:v>2</c:v>
                </c:pt>
                <c:pt idx="50">
                  <c:v>40</c:v>
                </c:pt>
                <c:pt idx="51">
                  <c:v>3</c:v>
                </c:pt>
                <c:pt idx="52">
                  <c:v>1</c:v>
                </c:pt>
                <c:pt idx="53">
                  <c:v>1</c:v>
                </c:pt>
                <c:pt idx="54">
                  <c:v>7</c:v>
                </c:pt>
                <c:pt idx="55">
                  <c:v>2</c:v>
                </c:pt>
                <c:pt idx="56">
                  <c:v>2</c:v>
                </c:pt>
                <c:pt idx="57">
                  <c:v>7</c:v>
                </c:pt>
                <c:pt idx="58">
                  <c:v>0</c:v>
                </c:pt>
                <c:pt idx="59">
                  <c:v>1</c:v>
                </c:pt>
                <c:pt idx="60">
                  <c:v>2</c:v>
                </c:pt>
                <c:pt idx="61">
                  <c:v>0</c:v>
                </c:pt>
                <c:pt idx="62">
                  <c:v>5</c:v>
                </c:pt>
                <c:pt idx="63">
                  <c:v>3</c:v>
                </c:pt>
                <c:pt idx="64">
                  <c:v>12</c:v>
                </c:pt>
                <c:pt idx="65">
                  <c:v>0</c:v>
                </c:pt>
                <c:pt idx="66">
                  <c:v>29</c:v>
                </c:pt>
                <c:pt idx="67">
                  <c:v>5</c:v>
                </c:pt>
                <c:pt idx="68">
                  <c:v>7</c:v>
                </c:pt>
                <c:pt idx="69">
                  <c:v>3</c:v>
                </c:pt>
                <c:pt idx="70">
                  <c:v>4</c:v>
                </c:pt>
                <c:pt idx="71">
                  <c:v>5</c:v>
                </c:pt>
                <c:pt idx="72">
                  <c:v>3</c:v>
                </c:pt>
                <c:pt idx="73">
                  <c:v>4</c:v>
                </c:pt>
                <c:pt idx="74">
                  <c:v>1</c:v>
                </c:pt>
                <c:pt idx="75">
                  <c:v>7</c:v>
                </c:pt>
                <c:pt idx="76">
                  <c:v>2</c:v>
                </c:pt>
                <c:pt idx="77">
                  <c:v>1</c:v>
                </c:pt>
                <c:pt idx="78">
                  <c:v>1</c:v>
                </c:pt>
                <c:pt idx="79">
                  <c:v>2</c:v>
                </c:pt>
                <c:pt idx="80">
                  <c:v>1</c:v>
                </c:pt>
                <c:pt idx="81">
                  <c:v>0</c:v>
                </c:pt>
                <c:pt idx="82">
                  <c:v>2</c:v>
                </c:pt>
                <c:pt idx="83">
                  <c:v>12</c:v>
                </c:pt>
                <c:pt idx="84">
                  <c:v>7</c:v>
                </c:pt>
                <c:pt idx="85">
                  <c:v>2</c:v>
                </c:pt>
                <c:pt idx="86">
                  <c:v>10</c:v>
                </c:pt>
                <c:pt idx="87">
                  <c:v>9</c:v>
                </c:pt>
                <c:pt idx="88">
                  <c:v>0</c:v>
                </c:pt>
                <c:pt idx="89">
                  <c:v>1</c:v>
                </c:pt>
                <c:pt idx="90">
                  <c:v>3</c:v>
                </c:pt>
                <c:pt idx="91">
                  <c:v>1</c:v>
                </c:pt>
                <c:pt idx="92">
                  <c:v>0</c:v>
                </c:pt>
                <c:pt idx="93">
                  <c:v>2</c:v>
                </c:pt>
                <c:pt idx="94">
                  <c:v>14</c:v>
                </c:pt>
                <c:pt idx="95">
                  <c:v>6</c:v>
                </c:pt>
                <c:pt idx="96">
                  <c:v>5</c:v>
                </c:pt>
                <c:pt idx="97">
                  <c:v>4</c:v>
                </c:pt>
                <c:pt idx="98">
                  <c:v>3</c:v>
                </c:pt>
                <c:pt idx="99">
                  <c:v>1</c:v>
                </c:pt>
                <c:pt idx="100">
                  <c:v>9</c:v>
                </c:pt>
                <c:pt idx="101">
                  <c:v>5</c:v>
                </c:pt>
                <c:pt idx="102">
                  <c:v>1</c:v>
                </c:pt>
                <c:pt idx="103">
                  <c:v>11</c:v>
                </c:pt>
                <c:pt idx="104">
                  <c:v>3</c:v>
                </c:pt>
                <c:pt idx="105">
                  <c:v>3</c:v>
                </c:pt>
                <c:pt idx="106">
                  <c:v>2</c:v>
                </c:pt>
                <c:pt idx="107">
                  <c:v>0</c:v>
                </c:pt>
                <c:pt idx="108">
                  <c:v>9</c:v>
                </c:pt>
                <c:pt idx="109">
                  <c:v>6</c:v>
                </c:pt>
                <c:pt idx="110">
                  <c:v>15</c:v>
                </c:pt>
                <c:pt idx="111">
                  <c:v>10</c:v>
                </c:pt>
                <c:pt idx="112">
                  <c:v>7</c:v>
                </c:pt>
                <c:pt idx="113">
                  <c:v>1</c:v>
                </c:pt>
                <c:pt idx="114">
                  <c:v>34</c:v>
                </c:pt>
                <c:pt idx="115">
                  <c:v>7</c:v>
                </c:pt>
                <c:pt idx="116">
                  <c:v>4</c:v>
                </c:pt>
                <c:pt idx="117">
                  <c:v>1</c:v>
                </c:pt>
                <c:pt idx="118">
                  <c:v>15</c:v>
                </c:pt>
                <c:pt idx="119">
                  <c:v>4</c:v>
                </c:pt>
                <c:pt idx="120">
                  <c:v>1</c:v>
                </c:pt>
                <c:pt idx="121">
                  <c:v>6</c:v>
                </c:pt>
                <c:pt idx="122">
                  <c:v>0</c:v>
                </c:pt>
                <c:pt idx="123">
                  <c:v>5</c:v>
                </c:pt>
                <c:pt idx="124">
                  <c:v>13</c:v>
                </c:pt>
                <c:pt idx="125">
                  <c:v>0</c:v>
                </c:pt>
                <c:pt idx="126">
                  <c:v>1</c:v>
                </c:pt>
                <c:pt idx="127">
                  <c:v>15</c:v>
                </c:pt>
                <c:pt idx="128">
                  <c:v>1</c:v>
                </c:pt>
                <c:pt idx="129">
                  <c:v>4</c:v>
                </c:pt>
                <c:pt idx="130">
                  <c:v>18</c:v>
                </c:pt>
                <c:pt idx="131">
                  <c:v>1</c:v>
                </c:pt>
                <c:pt idx="132">
                  <c:v>6</c:v>
                </c:pt>
                <c:pt idx="133">
                  <c:v>0</c:v>
                </c:pt>
                <c:pt idx="134">
                  <c:v>12</c:v>
                </c:pt>
                <c:pt idx="135">
                  <c:v>5</c:v>
                </c:pt>
                <c:pt idx="136">
                  <c:v>6</c:v>
                </c:pt>
                <c:pt idx="137">
                  <c:v>5</c:v>
                </c:pt>
                <c:pt idx="138">
                  <c:v>6</c:v>
                </c:pt>
                <c:pt idx="139">
                  <c:v>9</c:v>
                </c:pt>
                <c:pt idx="140">
                  <c:v>5</c:v>
                </c:pt>
                <c:pt idx="141">
                  <c:v>2</c:v>
                </c:pt>
                <c:pt idx="142">
                  <c:v>3</c:v>
                </c:pt>
                <c:pt idx="143">
                  <c:v>3</c:v>
                </c:pt>
                <c:pt idx="144">
                  <c:v>1</c:v>
                </c:pt>
                <c:pt idx="145">
                  <c:v>3</c:v>
                </c:pt>
                <c:pt idx="146">
                  <c:v>11</c:v>
                </c:pt>
                <c:pt idx="147">
                  <c:v>3</c:v>
                </c:pt>
                <c:pt idx="148">
                  <c:v>14</c:v>
                </c:pt>
                <c:pt idx="149">
                  <c:v>0</c:v>
                </c:pt>
                <c:pt idx="150">
                  <c:v>10</c:v>
                </c:pt>
                <c:pt idx="151">
                  <c:v>6</c:v>
                </c:pt>
                <c:pt idx="152">
                  <c:v>1</c:v>
                </c:pt>
                <c:pt idx="153">
                  <c:v>7</c:v>
                </c:pt>
                <c:pt idx="154">
                  <c:v>5</c:v>
                </c:pt>
                <c:pt idx="155">
                  <c:v>5</c:v>
                </c:pt>
                <c:pt idx="156">
                  <c:v>1</c:v>
                </c:pt>
                <c:pt idx="157">
                  <c:v>9</c:v>
                </c:pt>
                <c:pt idx="158">
                  <c:v>5</c:v>
                </c:pt>
                <c:pt idx="159">
                  <c:v>6</c:v>
                </c:pt>
                <c:pt idx="160">
                  <c:v>1</c:v>
                </c:pt>
                <c:pt idx="161">
                  <c:v>9</c:v>
                </c:pt>
                <c:pt idx="162">
                  <c:v>4</c:v>
                </c:pt>
                <c:pt idx="163">
                  <c:v>8</c:v>
                </c:pt>
                <c:pt idx="164">
                  <c:v>14</c:v>
                </c:pt>
                <c:pt idx="165">
                  <c:v>2</c:v>
                </c:pt>
                <c:pt idx="166">
                  <c:v>1</c:v>
                </c:pt>
                <c:pt idx="167">
                  <c:v>0</c:v>
                </c:pt>
                <c:pt idx="168">
                  <c:v>10</c:v>
                </c:pt>
                <c:pt idx="169">
                  <c:v>8</c:v>
                </c:pt>
                <c:pt idx="170">
                  <c:v>2</c:v>
                </c:pt>
                <c:pt idx="171">
                  <c:v>1</c:v>
                </c:pt>
                <c:pt idx="172">
                  <c:v>1</c:v>
                </c:pt>
                <c:pt idx="173">
                  <c:v>5</c:v>
                </c:pt>
                <c:pt idx="174">
                  <c:v>1</c:v>
                </c:pt>
                <c:pt idx="175">
                  <c:v>0</c:v>
                </c:pt>
                <c:pt idx="176">
                  <c:v>2</c:v>
                </c:pt>
                <c:pt idx="177">
                  <c:v>20</c:v>
                </c:pt>
                <c:pt idx="178">
                  <c:v>48</c:v>
                </c:pt>
                <c:pt idx="179">
                  <c:v>18</c:v>
                </c:pt>
                <c:pt idx="180">
                  <c:v>2</c:v>
                </c:pt>
                <c:pt idx="181">
                  <c:v>17</c:v>
                </c:pt>
                <c:pt idx="182">
                  <c:v>4</c:v>
                </c:pt>
                <c:pt idx="183">
                  <c:v>1</c:v>
                </c:pt>
                <c:pt idx="184">
                  <c:v>7</c:v>
                </c:pt>
                <c:pt idx="185">
                  <c:v>17</c:v>
                </c:pt>
                <c:pt idx="186">
                  <c:v>4</c:v>
                </c:pt>
                <c:pt idx="187">
                  <c:v>1</c:v>
                </c:pt>
                <c:pt idx="188">
                  <c:v>4</c:v>
                </c:pt>
                <c:pt idx="189">
                  <c:v>0</c:v>
                </c:pt>
                <c:pt idx="190">
                  <c:v>3</c:v>
                </c:pt>
                <c:pt idx="191">
                  <c:v>1</c:v>
                </c:pt>
                <c:pt idx="192">
                  <c:v>1</c:v>
                </c:pt>
                <c:pt idx="193">
                  <c:v>1</c:v>
                </c:pt>
                <c:pt idx="194">
                  <c:v>1</c:v>
                </c:pt>
                <c:pt idx="195">
                  <c:v>3</c:v>
                </c:pt>
                <c:pt idx="196">
                  <c:v>1</c:v>
                </c:pt>
                <c:pt idx="197">
                  <c:v>8</c:v>
                </c:pt>
                <c:pt idx="198">
                  <c:v>2</c:v>
                </c:pt>
                <c:pt idx="199">
                  <c:v>1</c:v>
                </c:pt>
                <c:pt idx="200">
                  <c:v>6</c:v>
                </c:pt>
                <c:pt idx="201">
                  <c:v>12</c:v>
                </c:pt>
                <c:pt idx="202">
                  <c:v>5</c:v>
                </c:pt>
                <c:pt idx="203">
                  <c:v>5</c:v>
                </c:pt>
                <c:pt idx="204">
                  <c:v>3</c:v>
                </c:pt>
                <c:pt idx="205">
                  <c:v>3</c:v>
                </c:pt>
                <c:pt idx="206">
                  <c:v>7</c:v>
                </c:pt>
                <c:pt idx="207">
                  <c:v>2</c:v>
                </c:pt>
                <c:pt idx="208">
                  <c:v>0</c:v>
                </c:pt>
                <c:pt idx="209">
                  <c:v>3</c:v>
                </c:pt>
                <c:pt idx="210">
                  <c:v>26</c:v>
                </c:pt>
                <c:pt idx="211">
                  <c:v>2</c:v>
                </c:pt>
                <c:pt idx="212">
                  <c:v>1</c:v>
                </c:pt>
                <c:pt idx="213">
                  <c:v>1</c:v>
                </c:pt>
                <c:pt idx="214">
                  <c:v>6</c:v>
                </c:pt>
                <c:pt idx="215">
                  <c:v>10</c:v>
                </c:pt>
                <c:pt idx="216">
                  <c:v>48</c:v>
                </c:pt>
                <c:pt idx="217">
                  <c:v>2</c:v>
                </c:pt>
                <c:pt idx="218">
                  <c:v>1</c:v>
                </c:pt>
                <c:pt idx="219">
                  <c:v>1</c:v>
                </c:pt>
                <c:pt idx="220">
                  <c:v>1</c:v>
                </c:pt>
                <c:pt idx="221">
                  <c:v>1</c:v>
                </c:pt>
                <c:pt idx="222">
                  <c:v>1</c:v>
                </c:pt>
                <c:pt idx="223">
                  <c:v>7</c:v>
                </c:pt>
                <c:pt idx="224">
                  <c:v>4</c:v>
                </c:pt>
                <c:pt idx="225">
                  <c:v>5</c:v>
                </c:pt>
                <c:pt idx="226">
                  <c:v>7</c:v>
                </c:pt>
                <c:pt idx="227">
                  <c:v>13</c:v>
                </c:pt>
                <c:pt idx="228">
                  <c:v>4</c:v>
                </c:pt>
                <c:pt idx="229">
                  <c:v>2</c:v>
                </c:pt>
                <c:pt idx="230">
                  <c:v>6</c:v>
                </c:pt>
                <c:pt idx="231">
                  <c:v>3</c:v>
                </c:pt>
                <c:pt idx="232">
                  <c:v>2</c:v>
                </c:pt>
                <c:pt idx="233">
                  <c:v>1</c:v>
                </c:pt>
                <c:pt idx="234">
                  <c:v>4</c:v>
                </c:pt>
                <c:pt idx="235">
                  <c:v>4</c:v>
                </c:pt>
                <c:pt idx="236">
                  <c:v>3</c:v>
                </c:pt>
                <c:pt idx="237">
                  <c:v>0</c:v>
                </c:pt>
                <c:pt idx="238">
                  <c:v>7</c:v>
                </c:pt>
                <c:pt idx="239">
                  <c:v>6</c:v>
                </c:pt>
                <c:pt idx="240">
                  <c:v>1</c:v>
                </c:pt>
                <c:pt idx="241">
                  <c:v>1</c:v>
                </c:pt>
                <c:pt idx="242">
                  <c:v>2</c:v>
                </c:pt>
                <c:pt idx="243">
                  <c:v>12</c:v>
                </c:pt>
                <c:pt idx="244">
                  <c:v>0</c:v>
                </c:pt>
                <c:pt idx="245">
                  <c:v>3</c:v>
                </c:pt>
                <c:pt idx="246">
                  <c:v>1</c:v>
                </c:pt>
                <c:pt idx="247">
                  <c:v>3</c:v>
                </c:pt>
                <c:pt idx="248">
                  <c:v>2</c:v>
                </c:pt>
                <c:pt idx="249">
                  <c:v>0</c:v>
                </c:pt>
                <c:pt idx="250">
                  <c:v>2</c:v>
                </c:pt>
                <c:pt idx="251">
                  <c:v>4</c:v>
                </c:pt>
                <c:pt idx="252">
                  <c:v>4</c:v>
                </c:pt>
                <c:pt idx="253">
                  <c:v>2</c:v>
                </c:pt>
                <c:pt idx="254">
                  <c:v>0</c:v>
                </c:pt>
                <c:pt idx="255">
                  <c:v>7</c:v>
                </c:pt>
                <c:pt idx="256">
                  <c:v>1</c:v>
                </c:pt>
                <c:pt idx="257">
                  <c:v>4</c:v>
                </c:pt>
                <c:pt idx="258">
                  <c:v>1</c:v>
                </c:pt>
                <c:pt idx="259">
                  <c:v>3</c:v>
                </c:pt>
                <c:pt idx="260">
                  <c:v>3</c:v>
                </c:pt>
                <c:pt idx="261">
                  <c:v>0</c:v>
                </c:pt>
                <c:pt idx="262">
                  <c:v>42</c:v>
                </c:pt>
                <c:pt idx="263">
                  <c:v>4</c:v>
                </c:pt>
                <c:pt idx="264">
                  <c:v>6</c:v>
                </c:pt>
                <c:pt idx="265">
                  <c:v>5</c:v>
                </c:pt>
                <c:pt idx="266">
                  <c:v>4</c:v>
                </c:pt>
                <c:pt idx="267">
                  <c:v>1</c:v>
                </c:pt>
                <c:pt idx="268">
                  <c:v>0</c:v>
                </c:pt>
                <c:pt idx="269">
                  <c:v>2</c:v>
                </c:pt>
                <c:pt idx="270">
                  <c:v>8</c:v>
                </c:pt>
                <c:pt idx="271">
                  <c:v>3</c:v>
                </c:pt>
                <c:pt idx="272">
                  <c:v>7</c:v>
                </c:pt>
                <c:pt idx="273">
                  <c:v>5</c:v>
                </c:pt>
                <c:pt idx="274">
                  <c:v>5</c:v>
                </c:pt>
                <c:pt idx="275">
                  <c:v>5</c:v>
                </c:pt>
                <c:pt idx="276">
                  <c:v>1</c:v>
                </c:pt>
                <c:pt idx="277">
                  <c:v>1</c:v>
                </c:pt>
                <c:pt idx="278">
                  <c:v>0</c:v>
                </c:pt>
                <c:pt idx="279">
                  <c:v>1</c:v>
                </c:pt>
                <c:pt idx="280">
                  <c:v>0</c:v>
                </c:pt>
                <c:pt idx="281">
                  <c:v>6</c:v>
                </c:pt>
                <c:pt idx="282">
                  <c:v>6</c:v>
                </c:pt>
                <c:pt idx="283">
                  <c:v>3</c:v>
                </c:pt>
                <c:pt idx="284">
                  <c:v>10</c:v>
                </c:pt>
                <c:pt idx="285">
                  <c:v>6</c:v>
                </c:pt>
                <c:pt idx="286">
                  <c:v>3</c:v>
                </c:pt>
                <c:pt idx="287">
                  <c:v>6</c:v>
                </c:pt>
                <c:pt idx="288">
                  <c:v>26</c:v>
                </c:pt>
                <c:pt idx="289">
                  <c:v>0</c:v>
                </c:pt>
                <c:pt idx="290">
                  <c:v>10</c:v>
                </c:pt>
                <c:pt idx="291">
                  <c:v>4</c:v>
                </c:pt>
                <c:pt idx="292">
                  <c:v>3</c:v>
                </c:pt>
                <c:pt idx="293">
                  <c:v>2</c:v>
                </c:pt>
                <c:pt idx="294">
                  <c:v>6</c:v>
                </c:pt>
                <c:pt idx="295">
                  <c:v>2</c:v>
                </c:pt>
                <c:pt idx="296">
                  <c:v>10</c:v>
                </c:pt>
                <c:pt idx="297">
                  <c:v>7</c:v>
                </c:pt>
                <c:pt idx="298">
                  <c:v>1</c:v>
                </c:pt>
                <c:pt idx="299">
                  <c:v>4</c:v>
                </c:pt>
                <c:pt idx="300">
                  <c:v>10</c:v>
                </c:pt>
                <c:pt idx="301">
                  <c:v>3</c:v>
                </c:pt>
                <c:pt idx="302">
                  <c:v>5</c:v>
                </c:pt>
                <c:pt idx="303">
                  <c:v>0</c:v>
                </c:pt>
                <c:pt idx="304">
                  <c:v>5</c:v>
                </c:pt>
                <c:pt idx="305">
                  <c:v>5</c:v>
                </c:pt>
                <c:pt idx="306">
                  <c:v>3</c:v>
                </c:pt>
                <c:pt idx="307">
                  <c:v>10</c:v>
                </c:pt>
                <c:pt idx="308">
                  <c:v>2</c:v>
                </c:pt>
                <c:pt idx="309">
                  <c:v>3</c:v>
                </c:pt>
                <c:pt idx="310">
                  <c:v>2</c:v>
                </c:pt>
                <c:pt idx="311">
                  <c:v>5</c:v>
                </c:pt>
                <c:pt idx="312">
                  <c:v>10</c:v>
                </c:pt>
                <c:pt idx="313">
                  <c:v>15</c:v>
                </c:pt>
                <c:pt idx="314">
                  <c:v>7</c:v>
                </c:pt>
                <c:pt idx="315">
                  <c:v>8</c:v>
                </c:pt>
                <c:pt idx="316">
                  <c:v>1</c:v>
                </c:pt>
                <c:pt idx="317">
                  <c:v>2</c:v>
                </c:pt>
                <c:pt idx="318">
                  <c:v>1</c:v>
                </c:pt>
                <c:pt idx="319">
                  <c:v>13</c:v>
                </c:pt>
                <c:pt idx="320">
                  <c:v>2</c:v>
                </c:pt>
                <c:pt idx="321">
                  <c:v>6</c:v>
                </c:pt>
                <c:pt idx="322">
                  <c:v>15</c:v>
                </c:pt>
                <c:pt idx="323">
                  <c:v>17</c:v>
                </c:pt>
                <c:pt idx="324">
                  <c:v>4</c:v>
                </c:pt>
                <c:pt idx="325">
                  <c:v>3</c:v>
                </c:pt>
                <c:pt idx="326">
                  <c:v>1</c:v>
                </c:pt>
                <c:pt idx="327">
                  <c:v>3</c:v>
                </c:pt>
                <c:pt idx="328">
                  <c:v>17</c:v>
                </c:pt>
                <c:pt idx="329">
                  <c:v>1</c:v>
                </c:pt>
                <c:pt idx="330">
                  <c:v>3</c:v>
                </c:pt>
                <c:pt idx="331">
                  <c:v>1</c:v>
                </c:pt>
                <c:pt idx="332">
                  <c:v>12</c:v>
                </c:pt>
                <c:pt idx="333">
                  <c:v>4</c:v>
                </c:pt>
                <c:pt idx="334">
                  <c:v>11</c:v>
                </c:pt>
                <c:pt idx="335">
                  <c:v>4</c:v>
                </c:pt>
                <c:pt idx="336">
                  <c:v>5</c:v>
                </c:pt>
                <c:pt idx="337">
                  <c:v>2</c:v>
                </c:pt>
                <c:pt idx="338">
                  <c:v>1</c:v>
                </c:pt>
                <c:pt idx="339">
                  <c:v>4</c:v>
                </c:pt>
                <c:pt idx="340">
                  <c:v>1</c:v>
                </c:pt>
                <c:pt idx="341">
                  <c:v>26</c:v>
                </c:pt>
                <c:pt idx="342">
                  <c:v>7</c:v>
                </c:pt>
                <c:pt idx="343">
                  <c:v>2</c:v>
                </c:pt>
                <c:pt idx="344">
                  <c:v>2</c:v>
                </c:pt>
                <c:pt idx="345">
                  <c:v>1</c:v>
                </c:pt>
                <c:pt idx="346">
                  <c:v>6</c:v>
                </c:pt>
                <c:pt idx="347">
                  <c:v>15</c:v>
                </c:pt>
                <c:pt idx="348">
                  <c:v>0</c:v>
                </c:pt>
                <c:pt idx="349">
                  <c:v>4</c:v>
                </c:pt>
                <c:pt idx="350">
                  <c:v>1</c:v>
                </c:pt>
                <c:pt idx="351">
                  <c:v>4</c:v>
                </c:pt>
                <c:pt idx="352">
                  <c:v>5</c:v>
                </c:pt>
                <c:pt idx="353">
                  <c:v>4</c:v>
                </c:pt>
                <c:pt idx="354">
                  <c:v>3</c:v>
                </c:pt>
                <c:pt idx="355">
                  <c:v>8</c:v>
                </c:pt>
                <c:pt idx="356">
                  <c:v>8</c:v>
                </c:pt>
                <c:pt idx="357">
                  <c:v>3</c:v>
                </c:pt>
                <c:pt idx="358">
                  <c:v>5</c:v>
                </c:pt>
                <c:pt idx="359">
                  <c:v>8</c:v>
                </c:pt>
                <c:pt idx="360">
                  <c:v>2</c:v>
                </c:pt>
                <c:pt idx="361">
                  <c:v>12</c:v>
                </c:pt>
                <c:pt idx="362">
                  <c:v>13</c:v>
                </c:pt>
                <c:pt idx="363">
                  <c:v>4</c:v>
                </c:pt>
                <c:pt idx="364">
                  <c:v>5</c:v>
                </c:pt>
                <c:pt idx="365">
                  <c:v>5</c:v>
                </c:pt>
                <c:pt idx="366">
                  <c:v>3</c:v>
                </c:pt>
                <c:pt idx="367">
                  <c:v>10</c:v>
                </c:pt>
                <c:pt idx="368">
                  <c:v>13</c:v>
                </c:pt>
                <c:pt idx="369">
                  <c:v>6</c:v>
                </c:pt>
                <c:pt idx="370">
                  <c:v>8</c:v>
                </c:pt>
                <c:pt idx="371">
                  <c:v>1</c:v>
                </c:pt>
                <c:pt idx="372">
                  <c:v>1</c:v>
                </c:pt>
                <c:pt idx="373">
                  <c:v>3</c:v>
                </c:pt>
                <c:pt idx="374">
                  <c:v>4</c:v>
                </c:pt>
                <c:pt idx="375">
                  <c:v>6</c:v>
                </c:pt>
                <c:pt idx="376">
                  <c:v>2</c:v>
                </c:pt>
                <c:pt idx="377">
                  <c:v>1</c:v>
                </c:pt>
                <c:pt idx="378">
                  <c:v>0</c:v>
                </c:pt>
                <c:pt idx="379">
                  <c:v>2</c:v>
                </c:pt>
                <c:pt idx="380">
                  <c:v>3</c:v>
                </c:pt>
                <c:pt idx="381">
                  <c:v>21</c:v>
                </c:pt>
                <c:pt idx="382">
                  <c:v>9</c:v>
                </c:pt>
                <c:pt idx="383">
                  <c:v>1</c:v>
                </c:pt>
                <c:pt idx="384">
                  <c:v>7</c:v>
                </c:pt>
                <c:pt idx="385">
                  <c:v>5</c:v>
                </c:pt>
                <c:pt idx="386">
                  <c:v>29</c:v>
                </c:pt>
                <c:pt idx="387">
                  <c:v>3</c:v>
                </c:pt>
                <c:pt idx="388">
                  <c:v>36</c:v>
                </c:pt>
                <c:pt idx="389">
                  <c:v>1</c:v>
                </c:pt>
                <c:pt idx="390">
                  <c:v>9</c:v>
                </c:pt>
                <c:pt idx="391">
                  <c:v>5</c:v>
                </c:pt>
                <c:pt idx="392">
                  <c:v>3</c:v>
                </c:pt>
                <c:pt idx="393">
                  <c:v>3</c:v>
                </c:pt>
                <c:pt idx="394">
                  <c:v>150</c:v>
                </c:pt>
                <c:pt idx="395">
                  <c:v>9</c:v>
                </c:pt>
                <c:pt idx="396">
                  <c:v>1</c:v>
                </c:pt>
                <c:pt idx="397">
                  <c:v>2</c:v>
                </c:pt>
                <c:pt idx="398">
                  <c:v>3</c:v>
                </c:pt>
                <c:pt idx="399">
                  <c:v>4</c:v>
                </c:pt>
                <c:pt idx="400">
                  <c:v>5</c:v>
                </c:pt>
                <c:pt idx="401">
                  <c:v>2</c:v>
                </c:pt>
                <c:pt idx="402">
                  <c:v>16</c:v>
                </c:pt>
                <c:pt idx="403">
                  <c:v>13</c:v>
                </c:pt>
                <c:pt idx="404">
                  <c:v>17</c:v>
                </c:pt>
                <c:pt idx="405">
                  <c:v>3</c:v>
                </c:pt>
                <c:pt idx="406">
                  <c:v>4</c:v>
                </c:pt>
                <c:pt idx="407">
                  <c:v>8</c:v>
                </c:pt>
                <c:pt idx="408">
                  <c:v>12</c:v>
                </c:pt>
                <c:pt idx="409">
                  <c:v>3</c:v>
                </c:pt>
                <c:pt idx="410">
                  <c:v>21</c:v>
                </c:pt>
                <c:pt idx="411">
                  <c:v>14</c:v>
                </c:pt>
                <c:pt idx="412">
                  <c:v>20</c:v>
                </c:pt>
                <c:pt idx="413">
                  <c:v>10</c:v>
                </c:pt>
                <c:pt idx="414">
                  <c:v>1</c:v>
                </c:pt>
                <c:pt idx="415">
                  <c:v>4</c:v>
                </c:pt>
                <c:pt idx="416">
                  <c:v>12</c:v>
                </c:pt>
                <c:pt idx="417">
                  <c:v>2</c:v>
                </c:pt>
                <c:pt idx="418">
                  <c:v>32</c:v>
                </c:pt>
                <c:pt idx="419">
                  <c:v>6</c:v>
                </c:pt>
                <c:pt idx="420">
                  <c:v>3</c:v>
                </c:pt>
                <c:pt idx="421">
                  <c:v>4</c:v>
                </c:pt>
                <c:pt idx="422">
                  <c:v>4</c:v>
                </c:pt>
                <c:pt idx="423">
                  <c:v>6</c:v>
                </c:pt>
                <c:pt idx="424">
                  <c:v>2</c:v>
                </c:pt>
                <c:pt idx="425">
                  <c:v>2</c:v>
                </c:pt>
                <c:pt idx="426">
                  <c:v>0</c:v>
                </c:pt>
                <c:pt idx="427">
                  <c:v>13</c:v>
                </c:pt>
                <c:pt idx="428">
                  <c:v>4</c:v>
                </c:pt>
                <c:pt idx="429">
                  <c:v>1</c:v>
                </c:pt>
                <c:pt idx="430">
                  <c:v>1</c:v>
                </c:pt>
                <c:pt idx="431">
                  <c:v>11</c:v>
                </c:pt>
                <c:pt idx="432">
                  <c:v>1</c:v>
                </c:pt>
                <c:pt idx="433">
                  <c:v>2</c:v>
                </c:pt>
                <c:pt idx="434">
                  <c:v>2</c:v>
                </c:pt>
                <c:pt idx="435">
                  <c:v>2</c:v>
                </c:pt>
                <c:pt idx="436">
                  <c:v>2</c:v>
                </c:pt>
                <c:pt idx="437">
                  <c:v>2</c:v>
                </c:pt>
                <c:pt idx="438">
                  <c:v>3</c:v>
                </c:pt>
                <c:pt idx="439">
                  <c:v>3</c:v>
                </c:pt>
                <c:pt idx="440">
                  <c:v>4</c:v>
                </c:pt>
                <c:pt idx="441">
                  <c:v>4</c:v>
                </c:pt>
                <c:pt idx="442">
                  <c:v>6</c:v>
                </c:pt>
                <c:pt idx="443">
                  <c:v>8</c:v>
                </c:pt>
                <c:pt idx="444">
                  <c:v>6</c:v>
                </c:pt>
                <c:pt idx="445">
                  <c:v>1</c:v>
                </c:pt>
                <c:pt idx="446">
                  <c:v>3</c:v>
                </c:pt>
                <c:pt idx="447">
                  <c:v>19</c:v>
                </c:pt>
                <c:pt idx="448">
                  <c:v>1</c:v>
                </c:pt>
                <c:pt idx="449">
                  <c:v>3</c:v>
                </c:pt>
                <c:pt idx="450">
                  <c:v>2</c:v>
                </c:pt>
                <c:pt idx="451">
                  <c:v>1</c:v>
                </c:pt>
                <c:pt idx="452">
                  <c:v>1</c:v>
                </c:pt>
                <c:pt idx="453">
                  <c:v>14</c:v>
                </c:pt>
                <c:pt idx="454">
                  <c:v>2</c:v>
                </c:pt>
                <c:pt idx="455">
                  <c:v>3</c:v>
                </c:pt>
                <c:pt idx="456">
                  <c:v>2</c:v>
                </c:pt>
                <c:pt idx="457">
                  <c:v>3</c:v>
                </c:pt>
                <c:pt idx="458">
                  <c:v>2</c:v>
                </c:pt>
                <c:pt idx="459">
                  <c:v>13</c:v>
                </c:pt>
                <c:pt idx="460">
                  <c:v>2</c:v>
                </c:pt>
                <c:pt idx="461">
                  <c:v>3</c:v>
                </c:pt>
                <c:pt idx="462">
                  <c:v>1</c:v>
                </c:pt>
                <c:pt idx="463">
                  <c:v>13</c:v>
                </c:pt>
                <c:pt idx="464">
                  <c:v>2</c:v>
                </c:pt>
                <c:pt idx="465">
                  <c:v>31</c:v>
                </c:pt>
                <c:pt idx="466">
                  <c:v>6</c:v>
                </c:pt>
                <c:pt idx="467">
                  <c:v>9</c:v>
                </c:pt>
                <c:pt idx="468">
                  <c:v>6</c:v>
                </c:pt>
                <c:pt idx="469">
                  <c:v>4</c:v>
                </c:pt>
                <c:pt idx="470">
                  <c:v>13</c:v>
                </c:pt>
                <c:pt idx="471">
                  <c:v>11</c:v>
                </c:pt>
                <c:pt idx="472">
                  <c:v>2</c:v>
                </c:pt>
                <c:pt idx="473">
                  <c:v>3</c:v>
                </c:pt>
                <c:pt idx="474">
                  <c:v>6</c:v>
                </c:pt>
                <c:pt idx="475">
                  <c:v>6</c:v>
                </c:pt>
                <c:pt idx="476">
                  <c:v>0</c:v>
                </c:pt>
                <c:pt idx="477">
                  <c:v>14</c:v>
                </c:pt>
                <c:pt idx="478">
                  <c:v>14</c:v>
                </c:pt>
                <c:pt idx="479">
                  <c:v>7</c:v>
                </c:pt>
                <c:pt idx="480">
                  <c:v>2</c:v>
                </c:pt>
                <c:pt idx="481">
                  <c:v>1</c:v>
                </c:pt>
                <c:pt idx="482">
                  <c:v>2</c:v>
                </c:pt>
                <c:pt idx="483">
                  <c:v>11</c:v>
                </c:pt>
                <c:pt idx="484">
                  <c:v>3</c:v>
                </c:pt>
                <c:pt idx="485">
                  <c:v>18</c:v>
                </c:pt>
                <c:pt idx="486">
                  <c:v>0</c:v>
                </c:pt>
                <c:pt idx="487">
                  <c:v>14</c:v>
                </c:pt>
                <c:pt idx="488">
                  <c:v>12</c:v>
                </c:pt>
                <c:pt idx="489">
                  <c:v>5</c:v>
                </c:pt>
                <c:pt idx="490">
                  <c:v>11</c:v>
                </c:pt>
                <c:pt idx="491">
                  <c:v>1</c:v>
                </c:pt>
                <c:pt idx="492">
                  <c:v>5</c:v>
                </c:pt>
                <c:pt idx="493">
                  <c:v>1</c:v>
                </c:pt>
                <c:pt idx="494">
                  <c:v>1</c:v>
                </c:pt>
                <c:pt idx="495">
                  <c:v>7</c:v>
                </c:pt>
                <c:pt idx="496">
                  <c:v>2</c:v>
                </c:pt>
                <c:pt idx="497">
                  <c:v>3</c:v>
                </c:pt>
                <c:pt idx="498">
                  <c:v>4</c:v>
                </c:pt>
                <c:pt idx="499">
                  <c:v>0</c:v>
                </c:pt>
                <c:pt idx="500">
                  <c:v>8</c:v>
                </c:pt>
                <c:pt idx="501">
                  <c:v>11</c:v>
                </c:pt>
                <c:pt idx="502">
                  <c:v>3</c:v>
                </c:pt>
                <c:pt idx="503">
                  <c:v>1</c:v>
                </c:pt>
                <c:pt idx="504">
                  <c:v>1</c:v>
                </c:pt>
                <c:pt idx="505">
                  <c:v>1</c:v>
                </c:pt>
                <c:pt idx="506">
                  <c:v>0</c:v>
                </c:pt>
                <c:pt idx="507">
                  <c:v>5</c:v>
                </c:pt>
                <c:pt idx="508">
                  <c:v>2</c:v>
                </c:pt>
                <c:pt idx="509">
                  <c:v>1</c:v>
                </c:pt>
                <c:pt idx="510">
                  <c:v>6</c:v>
                </c:pt>
                <c:pt idx="511">
                  <c:v>17</c:v>
                </c:pt>
                <c:pt idx="512">
                  <c:v>7</c:v>
                </c:pt>
                <c:pt idx="513">
                  <c:v>2</c:v>
                </c:pt>
                <c:pt idx="514">
                  <c:v>1</c:v>
                </c:pt>
                <c:pt idx="515">
                  <c:v>4</c:v>
                </c:pt>
                <c:pt idx="516">
                  <c:v>2</c:v>
                </c:pt>
                <c:pt idx="517">
                  <c:v>1</c:v>
                </c:pt>
                <c:pt idx="518">
                  <c:v>2</c:v>
                </c:pt>
                <c:pt idx="519">
                  <c:v>15</c:v>
                </c:pt>
                <c:pt idx="520">
                  <c:v>1</c:v>
                </c:pt>
                <c:pt idx="521">
                  <c:v>35</c:v>
                </c:pt>
                <c:pt idx="522">
                  <c:v>4</c:v>
                </c:pt>
                <c:pt idx="523">
                  <c:v>2</c:v>
                </c:pt>
                <c:pt idx="524">
                  <c:v>4</c:v>
                </c:pt>
                <c:pt idx="525">
                  <c:v>1</c:v>
                </c:pt>
                <c:pt idx="526">
                  <c:v>13</c:v>
                </c:pt>
                <c:pt idx="527">
                  <c:v>19</c:v>
                </c:pt>
                <c:pt idx="528">
                  <c:v>0</c:v>
                </c:pt>
                <c:pt idx="529">
                  <c:v>0</c:v>
                </c:pt>
                <c:pt idx="530">
                  <c:v>2</c:v>
                </c:pt>
                <c:pt idx="531">
                  <c:v>1</c:v>
                </c:pt>
                <c:pt idx="532">
                  <c:v>10</c:v>
                </c:pt>
                <c:pt idx="533">
                  <c:v>1</c:v>
                </c:pt>
                <c:pt idx="534">
                  <c:v>2</c:v>
                </c:pt>
                <c:pt idx="535">
                  <c:v>0</c:v>
                </c:pt>
                <c:pt idx="536">
                  <c:v>58</c:v>
                </c:pt>
                <c:pt idx="537">
                  <c:v>7</c:v>
                </c:pt>
                <c:pt idx="538">
                  <c:v>3</c:v>
                </c:pt>
                <c:pt idx="539">
                  <c:v>1</c:v>
                </c:pt>
                <c:pt idx="540">
                  <c:v>1</c:v>
                </c:pt>
                <c:pt idx="541">
                  <c:v>0</c:v>
                </c:pt>
                <c:pt idx="542">
                  <c:v>3</c:v>
                </c:pt>
                <c:pt idx="543">
                  <c:v>3</c:v>
                </c:pt>
                <c:pt idx="544">
                  <c:v>2</c:v>
                </c:pt>
                <c:pt idx="545">
                  <c:v>1</c:v>
                </c:pt>
                <c:pt idx="546">
                  <c:v>0</c:v>
                </c:pt>
                <c:pt idx="547">
                  <c:v>5</c:v>
                </c:pt>
                <c:pt idx="548">
                  <c:v>1</c:v>
                </c:pt>
                <c:pt idx="549">
                  <c:v>27</c:v>
                </c:pt>
                <c:pt idx="550">
                  <c:v>2</c:v>
                </c:pt>
                <c:pt idx="551">
                  <c:v>2</c:v>
                </c:pt>
                <c:pt idx="552">
                  <c:v>0</c:v>
                </c:pt>
                <c:pt idx="553">
                  <c:v>4</c:v>
                </c:pt>
                <c:pt idx="554">
                  <c:v>18</c:v>
                </c:pt>
                <c:pt idx="555">
                  <c:v>1</c:v>
                </c:pt>
                <c:pt idx="556">
                  <c:v>1</c:v>
                </c:pt>
                <c:pt idx="557">
                  <c:v>2</c:v>
                </c:pt>
                <c:pt idx="558">
                  <c:v>1</c:v>
                </c:pt>
                <c:pt idx="559">
                  <c:v>4</c:v>
                </c:pt>
                <c:pt idx="560">
                  <c:v>8</c:v>
                </c:pt>
                <c:pt idx="561">
                  <c:v>1</c:v>
                </c:pt>
                <c:pt idx="562">
                  <c:v>12</c:v>
                </c:pt>
                <c:pt idx="563">
                  <c:v>14</c:v>
                </c:pt>
                <c:pt idx="564">
                  <c:v>1</c:v>
                </c:pt>
                <c:pt idx="565">
                  <c:v>0</c:v>
                </c:pt>
                <c:pt idx="566">
                  <c:v>2</c:v>
                </c:pt>
                <c:pt idx="567">
                  <c:v>4</c:v>
                </c:pt>
                <c:pt idx="568">
                  <c:v>0</c:v>
                </c:pt>
                <c:pt idx="569">
                  <c:v>0</c:v>
                </c:pt>
                <c:pt idx="570">
                  <c:v>6</c:v>
                </c:pt>
                <c:pt idx="571">
                  <c:v>0</c:v>
                </c:pt>
                <c:pt idx="572">
                  <c:v>0</c:v>
                </c:pt>
                <c:pt idx="573">
                  <c:v>40</c:v>
                </c:pt>
                <c:pt idx="574">
                  <c:v>7</c:v>
                </c:pt>
                <c:pt idx="575">
                  <c:v>22</c:v>
                </c:pt>
                <c:pt idx="576">
                  <c:v>7</c:v>
                </c:pt>
                <c:pt idx="577">
                  <c:v>4</c:v>
                </c:pt>
                <c:pt idx="578">
                  <c:v>0</c:v>
                </c:pt>
                <c:pt idx="579">
                  <c:v>6</c:v>
                </c:pt>
                <c:pt idx="580">
                  <c:v>5</c:v>
                </c:pt>
                <c:pt idx="581">
                  <c:v>0</c:v>
                </c:pt>
                <c:pt idx="582">
                  <c:v>0</c:v>
                </c:pt>
                <c:pt idx="583">
                  <c:v>1</c:v>
                </c:pt>
                <c:pt idx="584">
                  <c:v>1</c:v>
                </c:pt>
                <c:pt idx="585">
                  <c:v>2</c:v>
                </c:pt>
                <c:pt idx="586">
                  <c:v>0</c:v>
                </c:pt>
                <c:pt idx="587">
                  <c:v>1</c:v>
                </c:pt>
                <c:pt idx="588">
                  <c:v>2</c:v>
                </c:pt>
                <c:pt idx="589">
                  <c:v>3</c:v>
                </c:pt>
                <c:pt idx="590">
                  <c:v>0</c:v>
                </c:pt>
                <c:pt idx="591">
                  <c:v>2</c:v>
                </c:pt>
                <c:pt idx="592">
                  <c:v>6</c:v>
                </c:pt>
                <c:pt idx="593">
                  <c:v>1</c:v>
                </c:pt>
                <c:pt idx="594">
                  <c:v>7</c:v>
                </c:pt>
                <c:pt idx="595">
                  <c:v>7</c:v>
                </c:pt>
                <c:pt idx="596">
                  <c:v>4</c:v>
                </c:pt>
                <c:pt idx="597">
                  <c:v>3</c:v>
                </c:pt>
                <c:pt idx="598">
                  <c:v>3</c:v>
                </c:pt>
                <c:pt idx="599">
                  <c:v>2</c:v>
                </c:pt>
                <c:pt idx="600">
                  <c:v>0</c:v>
                </c:pt>
                <c:pt idx="601">
                  <c:v>3</c:v>
                </c:pt>
                <c:pt idx="602">
                  <c:v>0</c:v>
                </c:pt>
                <c:pt idx="603">
                  <c:v>0</c:v>
                </c:pt>
                <c:pt idx="604">
                  <c:v>0</c:v>
                </c:pt>
                <c:pt idx="605">
                  <c:v>0</c:v>
                </c:pt>
                <c:pt idx="606">
                  <c:v>0</c:v>
                </c:pt>
                <c:pt idx="607">
                  <c:v>0</c:v>
                </c:pt>
                <c:pt idx="608">
                  <c:v>0</c:v>
                </c:pt>
                <c:pt idx="609">
                  <c:v>1</c:v>
                </c:pt>
                <c:pt idx="610">
                  <c:v>0</c:v>
                </c:pt>
                <c:pt idx="611">
                  <c:v>0</c:v>
                </c:pt>
                <c:pt idx="612">
                  <c:v>0</c:v>
                </c:pt>
                <c:pt idx="613">
                  <c:v>0</c:v>
                </c:pt>
                <c:pt idx="614">
                  <c:v>11</c:v>
                </c:pt>
                <c:pt idx="615">
                  <c:v>0</c:v>
                </c:pt>
                <c:pt idx="616">
                  <c:v>1</c:v>
                </c:pt>
                <c:pt idx="617">
                  <c:v>9</c:v>
                </c:pt>
                <c:pt idx="618">
                  <c:v>6</c:v>
                </c:pt>
                <c:pt idx="619">
                  <c:v>0</c:v>
                </c:pt>
                <c:pt idx="620">
                  <c:v>2</c:v>
                </c:pt>
                <c:pt idx="621">
                  <c:v>0</c:v>
                </c:pt>
                <c:pt idx="622">
                  <c:v>2</c:v>
                </c:pt>
                <c:pt idx="623">
                  <c:v>2</c:v>
                </c:pt>
                <c:pt idx="624">
                  <c:v>0</c:v>
                </c:pt>
                <c:pt idx="625">
                  <c:v>0</c:v>
                </c:pt>
                <c:pt idx="626">
                  <c:v>0</c:v>
                </c:pt>
                <c:pt idx="627">
                  <c:v>4</c:v>
                </c:pt>
                <c:pt idx="628">
                  <c:v>3</c:v>
                </c:pt>
                <c:pt idx="629">
                  <c:v>0</c:v>
                </c:pt>
                <c:pt idx="630">
                  <c:v>9</c:v>
                </c:pt>
                <c:pt idx="631">
                  <c:v>3</c:v>
                </c:pt>
                <c:pt idx="632">
                  <c:v>3</c:v>
                </c:pt>
                <c:pt idx="633">
                  <c:v>0</c:v>
                </c:pt>
                <c:pt idx="634">
                  <c:v>0</c:v>
                </c:pt>
                <c:pt idx="635">
                  <c:v>3</c:v>
                </c:pt>
                <c:pt idx="636">
                  <c:v>0</c:v>
                </c:pt>
                <c:pt idx="637">
                  <c:v>0</c:v>
                </c:pt>
                <c:pt idx="638">
                  <c:v>1</c:v>
                </c:pt>
                <c:pt idx="639">
                  <c:v>0</c:v>
                </c:pt>
                <c:pt idx="640">
                  <c:v>1</c:v>
                </c:pt>
                <c:pt idx="641">
                  <c:v>15</c:v>
                </c:pt>
                <c:pt idx="642">
                  <c:v>1</c:v>
                </c:pt>
                <c:pt idx="643">
                  <c:v>5</c:v>
                </c:pt>
                <c:pt idx="644">
                  <c:v>0</c:v>
                </c:pt>
                <c:pt idx="645">
                  <c:v>0</c:v>
                </c:pt>
                <c:pt idx="646">
                  <c:v>4</c:v>
                </c:pt>
                <c:pt idx="647">
                  <c:v>0</c:v>
                </c:pt>
                <c:pt idx="648">
                  <c:v>0</c:v>
                </c:pt>
                <c:pt idx="649">
                  <c:v>6</c:v>
                </c:pt>
                <c:pt idx="650">
                  <c:v>0</c:v>
                </c:pt>
                <c:pt idx="651">
                  <c:v>1</c:v>
                </c:pt>
                <c:pt idx="652">
                  <c:v>0</c:v>
                </c:pt>
                <c:pt idx="653">
                  <c:v>0</c:v>
                </c:pt>
                <c:pt idx="654">
                  <c:v>0</c:v>
                </c:pt>
                <c:pt idx="655">
                  <c:v>0</c:v>
                </c:pt>
                <c:pt idx="656">
                  <c:v>0</c:v>
                </c:pt>
                <c:pt idx="657">
                  <c:v>0</c:v>
                </c:pt>
                <c:pt idx="658">
                  <c:v>2</c:v>
                </c:pt>
                <c:pt idx="659">
                  <c:v>0</c:v>
                </c:pt>
                <c:pt idx="660">
                  <c:v>0</c:v>
                </c:pt>
                <c:pt idx="661">
                  <c:v>0</c:v>
                </c:pt>
                <c:pt idx="662">
                  <c:v>4</c:v>
                </c:pt>
                <c:pt idx="663">
                  <c:v>5</c:v>
                </c:pt>
                <c:pt idx="664">
                  <c:v>57</c:v>
                </c:pt>
                <c:pt idx="665">
                  <c:v>0</c:v>
                </c:pt>
                <c:pt idx="666">
                  <c:v>14</c:v>
                </c:pt>
                <c:pt idx="667">
                  <c:v>2</c:v>
                </c:pt>
                <c:pt idx="668">
                  <c:v>4</c:v>
                </c:pt>
                <c:pt idx="669">
                  <c:v>0</c:v>
                </c:pt>
                <c:pt idx="670">
                  <c:v>0</c:v>
                </c:pt>
                <c:pt idx="671">
                  <c:v>16</c:v>
                </c:pt>
                <c:pt idx="672">
                  <c:v>0</c:v>
                </c:pt>
                <c:pt idx="673">
                  <c:v>0</c:v>
                </c:pt>
                <c:pt idx="674">
                  <c:v>0</c:v>
                </c:pt>
                <c:pt idx="675">
                  <c:v>1</c:v>
                </c:pt>
                <c:pt idx="676">
                  <c:v>0</c:v>
                </c:pt>
                <c:pt idx="677">
                  <c:v>2</c:v>
                </c:pt>
                <c:pt idx="678">
                  <c:v>0</c:v>
                </c:pt>
                <c:pt idx="679">
                  <c:v>5</c:v>
                </c:pt>
                <c:pt idx="680">
                  <c:v>0</c:v>
                </c:pt>
                <c:pt idx="681">
                  <c:v>0</c:v>
                </c:pt>
                <c:pt idx="682">
                  <c:v>1</c:v>
                </c:pt>
                <c:pt idx="683">
                  <c:v>0</c:v>
                </c:pt>
                <c:pt idx="684">
                  <c:v>0</c:v>
                </c:pt>
                <c:pt idx="685">
                  <c:v>0</c:v>
                </c:pt>
                <c:pt idx="686">
                  <c:v>0</c:v>
                </c:pt>
                <c:pt idx="687">
                  <c:v>0</c:v>
                </c:pt>
                <c:pt idx="688">
                  <c:v>0</c:v>
                </c:pt>
                <c:pt idx="689">
                  <c:v>1</c:v>
                </c:pt>
                <c:pt idx="690">
                  <c:v>0</c:v>
                </c:pt>
                <c:pt idx="691">
                  <c:v>0</c:v>
                </c:pt>
                <c:pt idx="692">
                  <c:v>42</c:v>
                </c:pt>
                <c:pt idx="693">
                  <c:v>1</c:v>
                </c:pt>
                <c:pt idx="694">
                  <c:v>4</c:v>
                </c:pt>
                <c:pt idx="695">
                  <c:v>2</c:v>
                </c:pt>
                <c:pt idx="696">
                  <c:v>4</c:v>
                </c:pt>
                <c:pt idx="697">
                  <c:v>0</c:v>
                </c:pt>
                <c:pt idx="698">
                  <c:v>2</c:v>
                </c:pt>
                <c:pt idx="699">
                  <c:v>0</c:v>
                </c:pt>
                <c:pt idx="700">
                  <c:v>0</c:v>
                </c:pt>
                <c:pt idx="701">
                  <c:v>1</c:v>
                </c:pt>
                <c:pt idx="702">
                  <c:v>4</c:v>
                </c:pt>
                <c:pt idx="703">
                  <c:v>0</c:v>
                </c:pt>
                <c:pt idx="704">
                  <c:v>0</c:v>
                </c:pt>
                <c:pt idx="705">
                  <c:v>5</c:v>
                </c:pt>
                <c:pt idx="706">
                  <c:v>1</c:v>
                </c:pt>
                <c:pt idx="707">
                  <c:v>3</c:v>
                </c:pt>
                <c:pt idx="708">
                  <c:v>0</c:v>
                </c:pt>
                <c:pt idx="709">
                  <c:v>5</c:v>
                </c:pt>
                <c:pt idx="710">
                  <c:v>0</c:v>
                </c:pt>
                <c:pt idx="711">
                  <c:v>0</c:v>
                </c:pt>
                <c:pt idx="712">
                  <c:v>0</c:v>
                </c:pt>
                <c:pt idx="713">
                  <c:v>0</c:v>
                </c:pt>
                <c:pt idx="714">
                  <c:v>5</c:v>
                </c:pt>
                <c:pt idx="715">
                  <c:v>0</c:v>
                </c:pt>
                <c:pt idx="716">
                  <c:v>0</c:v>
                </c:pt>
                <c:pt idx="717">
                  <c:v>1</c:v>
                </c:pt>
                <c:pt idx="718">
                  <c:v>1</c:v>
                </c:pt>
                <c:pt idx="719">
                  <c:v>0</c:v>
                </c:pt>
                <c:pt idx="720">
                  <c:v>1</c:v>
                </c:pt>
                <c:pt idx="721">
                  <c:v>0</c:v>
                </c:pt>
                <c:pt idx="722">
                  <c:v>0</c:v>
                </c:pt>
                <c:pt idx="723">
                  <c:v>9</c:v>
                </c:pt>
                <c:pt idx="724">
                  <c:v>105</c:v>
                </c:pt>
                <c:pt idx="725">
                  <c:v>7</c:v>
                </c:pt>
                <c:pt idx="726">
                  <c:v>1</c:v>
                </c:pt>
                <c:pt idx="727">
                  <c:v>0</c:v>
                </c:pt>
                <c:pt idx="728">
                  <c:v>0</c:v>
                </c:pt>
                <c:pt idx="729">
                  <c:v>0</c:v>
                </c:pt>
                <c:pt idx="730">
                  <c:v>1</c:v>
                </c:pt>
                <c:pt idx="731">
                  <c:v>0</c:v>
                </c:pt>
                <c:pt idx="732">
                  <c:v>2</c:v>
                </c:pt>
                <c:pt idx="733">
                  <c:v>0</c:v>
                </c:pt>
                <c:pt idx="734">
                  <c:v>0</c:v>
                </c:pt>
                <c:pt idx="735">
                  <c:v>7</c:v>
                </c:pt>
                <c:pt idx="736">
                  <c:v>0</c:v>
                </c:pt>
                <c:pt idx="737">
                  <c:v>1</c:v>
                </c:pt>
                <c:pt idx="738">
                  <c:v>1</c:v>
                </c:pt>
                <c:pt idx="739">
                  <c:v>0</c:v>
                </c:pt>
                <c:pt idx="740">
                  <c:v>3</c:v>
                </c:pt>
                <c:pt idx="741">
                  <c:v>1</c:v>
                </c:pt>
                <c:pt idx="742">
                  <c:v>0</c:v>
                </c:pt>
                <c:pt idx="743">
                  <c:v>8</c:v>
                </c:pt>
                <c:pt idx="744">
                  <c:v>1</c:v>
                </c:pt>
                <c:pt idx="745">
                  <c:v>2</c:v>
                </c:pt>
                <c:pt idx="746">
                  <c:v>0</c:v>
                </c:pt>
                <c:pt idx="747">
                  <c:v>0</c:v>
                </c:pt>
                <c:pt idx="748">
                  <c:v>2</c:v>
                </c:pt>
                <c:pt idx="749">
                  <c:v>1</c:v>
                </c:pt>
                <c:pt idx="750">
                  <c:v>2</c:v>
                </c:pt>
                <c:pt idx="751">
                  <c:v>2</c:v>
                </c:pt>
                <c:pt idx="752">
                  <c:v>81</c:v>
                </c:pt>
                <c:pt idx="753">
                  <c:v>1</c:v>
                </c:pt>
                <c:pt idx="754">
                  <c:v>0</c:v>
                </c:pt>
                <c:pt idx="755">
                  <c:v>2</c:v>
                </c:pt>
                <c:pt idx="756">
                  <c:v>0</c:v>
                </c:pt>
                <c:pt idx="757">
                  <c:v>1</c:v>
                </c:pt>
                <c:pt idx="758">
                  <c:v>2</c:v>
                </c:pt>
                <c:pt idx="759">
                  <c:v>6</c:v>
                </c:pt>
                <c:pt idx="760">
                  <c:v>1</c:v>
                </c:pt>
                <c:pt idx="761">
                  <c:v>3</c:v>
                </c:pt>
                <c:pt idx="762">
                  <c:v>3</c:v>
                </c:pt>
                <c:pt idx="763">
                  <c:v>1</c:v>
                </c:pt>
                <c:pt idx="764">
                  <c:v>3</c:v>
                </c:pt>
                <c:pt idx="765">
                  <c:v>1</c:v>
                </c:pt>
                <c:pt idx="766">
                  <c:v>16</c:v>
                </c:pt>
                <c:pt idx="767">
                  <c:v>0</c:v>
                </c:pt>
                <c:pt idx="768">
                  <c:v>0</c:v>
                </c:pt>
                <c:pt idx="769">
                  <c:v>4</c:v>
                </c:pt>
                <c:pt idx="770">
                  <c:v>0</c:v>
                </c:pt>
                <c:pt idx="771">
                  <c:v>10</c:v>
                </c:pt>
                <c:pt idx="772">
                  <c:v>1</c:v>
                </c:pt>
                <c:pt idx="773">
                  <c:v>1</c:v>
                </c:pt>
                <c:pt idx="774">
                  <c:v>2</c:v>
                </c:pt>
                <c:pt idx="775">
                  <c:v>2</c:v>
                </c:pt>
                <c:pt idx="776">
                  <c:v>1</c:v>
                </c:pt>
                <c:pt idx="777">
                  <c:v>0</c:v>
                </c:pt>
                <c:pt idx="778">
                  <c:v>6</c:v>
                </c:pt>
                <c:pt idx="779">
                  <c:v>1</c:v>
                </c:pt>
                <c:pt idx="780">
                  <c:v>0</c:v>
                </c:pt>
                <c:pt idx="781">
                  <c:v>1</c:v>
                </c:pt>
                <c:pt idx="782">
                  <c:v>2</c:v>
                </c:pt>
                <c:pt idx="783">
                  <c:v>0</c:v>
                </c:pt>
                <c:pt idx="784">
                  <c:v>1</c:v>
                </c:pt>
                <c:pt idx="785">
                  <c:v>6</c:v>
                </c:pt>
                <c:pt idx="786">
                  <c:v>1</c:v>
                </c:pt>
                <c:pt idx="787">
                  <c:v>2</c:v>
                </c:pt>
                <c:pt idx="788">
                  <c:v>13</c:v>
                </c:pt>
                <c:pt idx="789">
                  <c:v>8</c:v>
                </c:pt>
                <c:pt idx="790">
                  <c:v>0</c:v>
                </c:pt>
                <c:pt idx="791">
                  <c:v>15</c:v>
                </c:pt>
                <c:pt idx="792">
                  <c:v>0</c:v>
                </c:pt>
                <c:pt idx="793">
                  <c:v>0</c:v>
                </c:pt>
                <c:pt idx="794">
                  <c:v>0</c:v>
                </c:pt>
                <c:pt idx="795">
                  <c:v>0</c:v>
                </c:pt>
                <c:pt idx="796">
                  <c:v>2</c:v>
                </c:pt>
                <c:pt idx="797">
                  <c:v>0</c:v>
                </c:pt>
                <c:pt idx="798">
                  <c:v>3</c:v>
                </c:pt>
                <c:pt idx="799">
                  <c:v>0</c:v>
                </c:pt>
                <c:pt idx="800">
                  <c:v>0</c:v>
                </c:pt>
                <c:pt idx="801">
                  <c:v>0</c:v>
                </c:pt>
                <c:pt idx="802">
                  <c:v>9</c:v>
                </c:pt>
                <c:pt idx="803">
                  <c:v>59</c:v>
                </c:pt>
                <c:pt idx="804">
                  <c:v>2</c:v>
                </c:pt>
                <c:pt idx="805">
                  <c:v>0</c:v>
                </c:pt>
                <c:pt idx="806">
                  <c:v>0</c:v>
                </c:pt>
                <c:pt idx="807">
                  <c:v>3</c:v>
                </c:pt>
                <c:pt idx="808">
                  <c:v>0</c:v>
                </c:pt>
                <c:pt idx="809">
                  <c:v>3</c:v>
                </c:pt>
                <c:pt idx="810">
                  <c:v>0</c:v>
                </c:pt>
                <c:pt idx="811">
                  <c:v>0</c:v>
                </c:pt>
                <c:pt idx="812">
                  <c:v>2</c:v>
                </c:pt>
                <c:pt idx="813">
                  <c:v>2</c:v>
                </c:pt>
                <c:pt idx="814">
                  <c:v>1</c:v>
                </c:pt>
                <c:pt idx="815">
                  <c:v>0</c:v>
                </c:pt>
                <c:pt idx="816">
                  <c:v>0</c:v>
                </c:pt>
                <c:pt idx="817">
                  <c:v>5</c:v>
                </c:pt>
                <c:pt idx="818">
                  <c:v>1</c:v>
                </c:pt>
                <c:pt idx="819">
                  <c:v>20</c:v>
                </c:pt>
                <c:pt idx="820">
                  <c:v>0</c:v>
                </c:pt>
                <c:pt idx="821">
                  <c:v>0</c:v>
                </c:pt>
                <c:pt idx="822">
                  <c:v>0</c:v>
                </c:pt>
                <c:pt idx="823">
                  <c:v>1</c:v>
                </c:pt>
                <c:pt idx="824">
                  <c:v>3</c:v>
                </c:pt>
                <c:pt idx="825">
                  <c:v>2</c:v>
                </c:pt>
                <c:pt idx="826">
                  <c:v>7</c:v>
                </c:pt>
                <c:pt idx="827">
                  <c:v>1</c:v>
                </c:pt>
                <c:pt idx="828">
                  <c:v>2</c:v>
                </c:pt>
                <c:pt idx="829">
                  <c:v>0</c:v>
                </c:pt>
                <c:pt idx="830">
                  <c:v>6</c:v>
                </c:pt>
                <c:pt idx="831">
                  <c:v>0</c:v>
                </c:pt>
                <c:pt idx="832">
                  <c:v>0</c:v>
                </c:pt>
                <c:pt idx="833">
                  <c:v>3</c:v>
                </c:pt>
                <c:pt idx="834">
                  <c:v>0</c:v>
                </c:pt>
                <c:pt idx="835">
                  <c:v>16</c:v>
                </c:pt>
                <c:pt idx="836">
                  <c:v>0</c:v>
                </c:pt>
                <c:pt idx="837">
                  <c:v>0</c:v>
                </c:pt>
                <c:pt idx="838">
                  <c:v>8</c:v>
                </c:pt>
                <c:pt idx="839">
                  <c:v>0</c:v>
                </c:pt>
                <c:pt idx="840">
                  <c:v>12</c:v>
                </c:pt>
                <c:pt idx="841">
                  <c:v>0</c:v>
                </c:pt>
                <c:pt idx="842">
                  <c:v>0</c:v>
                </c:pt>
                <c:pt idx="843">
                  <c:v>0</c:v>
                </c:pt>
                <c:pt idx="844">
                  <c:v>2</c:v>
                </c:pt>
                <c:pt idx="845">
                  <c:v>1</c:v>
                </c:pt>
                <c:pt idx="846">
                  <c:v>0</c:v>
                </c:pt>
                <c:pt idx="847">
                  <c:v>1</c:v>
                </c:pt>
                <c:pt idx="848">
                  <c:v>0</c:v>
                </c:pt>
                <c:pt idx="849">
                  <c:v>1</c:v>
                </c:pt>
                <c:pt idx="850">
                  <c:v>0</c:v>
                </c:pt>
                <c:pt idx="851">
                  <c:v>2</c:v>
                </c:pt>
                <c:pt idx="852">
                  <c:v>1</c:v>
                </c:pt>
                <c:pt idx="853">
                  <c:v>1</c:v>
                </c:pt>
                <c:pt idx="854">
                  <c:v>4</c:v>
                </c:pt>
                <c:pt idx="855">
                  <c:v>8</c:v>
                </c:pt>
                <c:pt idx="856">
                  <c:v>0</c:v>
                </c:pt>
                <c:pt idx="857">
                  <c:v>0</c:v>
                </c:pt>
                <c:pt idx="858">
                  <c:v>3</c:v>
                </c:pt>
                <c:pt idx="859">
                  <c:v>0</c:v>
                </c:pt>
                <c:pt idx="860">
                  <c:v>9</c:v>
                </c:pt>
                <c:pt idx="861">
                  <c:v>0</c:v>
                </c:pt>
                <c:pt idx="862">
                  <c:v>8</c:v>
                </c:pt>
                <c:pt idx="863">
                  <c:v>9</c:v>
                </c:pt>
                <c:pt idx="864">
                  <c:v>0</c:v>
                </c:pt>
                <c:pt idx="865">
                  <c:v>1</c:v>
                </c:pt>
                <c:pt idx="866">
                  <c:v>0</c:v>
                </c:pt>
                <c:pt idx="867">
                  <c:v>0</c:v>
                </c:pt>
                <c:pt idx="868">
                  <c:v>1</c:v>
                </c:pt>
                <c:pt idx="869">
                  <c:v>1</c:v>
                </c:pt>
                <c:pt idx="870">
                  <c:v>0</c:v>
                </c:pt>
                <c:pt idx="871">
                  <c:v>5</c:v>
                </c:pt>
                <c:pt idx="872">
                  <c:v>4</c:v>
                </c:pt>
                <c:pt idx="873">
                  <c:v>4</c:v>
                </c:pt>
                <c:pt idx="874">
                  <c:v>0</c:v>
                </c:pt>
                <c:pt idx="875">
                  <c:v>1</c:v>
                </c:pt>
                <c:pt idx="876">
                  <c:v>0</c:v>
                </c:pt>
                <c:pt idx="877">
                  <c:v>9</c:v>
                </c:pt>
                <c:pt idx="878">
                  <c:v>2</c:v>
                </c:pt>
                <c:pt idx="879">
                  <c:v>1</c:v>
                </c:pt>
                <c:pt idx="880">
                  <c:v>1</c:v>
                </c:pt>
                <c:pt idx="881">
                  <c:v>3</c:v>
                </c:pt>
                <c:pt idx="882">
                  <c:v>0</c:v>
                </c:pt>
                <c:pt idx="883">
                  <c:v>0</c:v>
                </c:pt>
                <c:pt idx="884">
                  <c:v>2</c:v>
                </c:pt>
                <c:pt idx="885">
                  <c:v>5</c:v>
                </c:pt>
                <c:pt idx="886">
                  <c:v>0</c:v>
                </c:pt>
                <c:pt idx="887">
                  <c:v>3</c:v>
                </c:pt>
                <c:pt idx="888">
                  <c:v>0</c:v>
                </c:pt>
                <c:pt idx="889">
                  <c:v>2</c:v>
                </c:pt>
                <c:pt idx="890">
                  <c:v>7</c:v>
                </c:pt>
                <c:pt idx="891">
                  <c:v>0</c:v>
                </c:pt>
                <c:pt idx="892">
                  <c:v>0</c:v>
                </c:pt>
                <c:pt idx="893">
                  <c:v>1</c:v>
                </c:pt>
                <c:pt idx="894">
                  <c:v>0</c:v>
                </c:pt>
                <c:pt idx="895">
                  <c:v>2</c:v>
                </c:pt>
                <c:pt idx="896">
                  <c:v>3</c:v>
                </c:pt>
                <c:pt idx="897">
                  <c:v>0</c:v>
                </c:pt>
                <c:pt idx="898">
                  <c:v>4</c:v>
                </c:pt>
                <c:pt idx="899">
                  <c:v>0</c:v>
                </c:pt>
                <c:pt idx="900">
                  <c:v>4</c:v>
                </c:pt>
                <c:pt idx="901">
                  <c:v>0</c:v>
                </c:pt>
                <c:pt idx="902">
                  <c:v>0</c:v>
                </c:pt>
                <c:pt idx="903">
                  <c:v>0</c:v>
                </c:pt>
                <c:pt idx="904">
                  <c:v>0</c:v>
                </c:pt>
                <c:pt idx="905">
                  <c:v>0</c:v>
                </c:pt>
                <c:pt idx="906">
                  <c:v>8</c:v>
                </c:pt>
                <c:pt idx="907">
                  <c:v>0</c:v>
                </c:pt>
                <c:pt idx="908">
                  <c:v>1</c:v>
                </c:pt>
                <c:pt idx="909">
                  <c:v>0</c:v>
                </c:pt>
                <c:pt idx="910">
                  <c:v>0</c:v>
                </c:pt>
                <c:pt idx="911">
                  <c:v>5</c:v>
                </c:pt>
                <c:pt idx="912">
                  <c:v>2</c:v>
                </c:pt>
                <c:pt idx="913">
                  <c:v>1</c:v>
                </c:pt>
                <c:pt idx="914">
                  <c:v>1</c:v>
                </c:pt>
                <c:pt idx="915">
                  <c:v>0</c:v>
                </c:pt>
                <c:pt idx="916">
                  <c:v>0</c:v>
                </c:pt>
                <c:pt idx="917">
                  <c:v>0</c:v>
                </c:pt>
                <c:pt idx="918">
                  <c:v>1</c:v>
                </c:pt>
                <c:pt idx="919">
                  <c:v>2</c:v>
                </c:pt>
                <c:pt idx="920">
                  <c:v>2</c:v>
                </c:pt>
                <c:pt idx="921">
                  <c:v>0</c:v>
                </c:pt>
                <c:pt idx="922">
                  <c:v>0</c:v>
                </c:pt>
                <c:pt idx="923">
                  <c:v>0</c:v>
                </c:pt>
                <c:pt idx="924">
                  <c:v>2</c:v>
                </c:pt>
                <c:pt idx="925">
                  <c:v>1</c:v>
                </c:pt>
                <c:pt idx="926">
                  <c:v>0</c:v>
                </c:pt>
                <c:pt idx="927">
                  <c:v>0</c:v>
                </c:pt>
                <c:pt idx="928">
                  <c:v>15</c:v>
                </c:pt>
                <c:pt idx="929">
                  <c:v>1</c:v>
                </c:pt>
                <c:pt idx="930">
                  <c:v>0</c:v>
                </c:pt>
                <c:pt idx="931">
                  <c:v>1</c:v>
                </c:pt>
                <c:pt idx="932">
                  <c:v>0</c:v>
                </c:pt>
                <c:pt idx="933">
                  <c:v>0</c:v>
                </c:pt>
                <c:pt idx="934">
                  <c:v>14</c:v>
                </c:pt>
                <c:pt idx="935">
                  <c:v>0</c:v>
                </c:pt>
                <c:pt idx="936">
                  <c:v>1</c:v>
                </c:pt>
                <c:pt idx="937">
                  <c:v>0</c:v>
                </c:pt>
                <c:pt idx="938">
                  <c:v>0</c:v>
                </c:pt>
                <c:pt idx="939">
                  <c:v>2</c:v>
                </c:pt>
                <c:pt idx="940">
                  <c:v>2</c:v>
                </c:pt>
                <c:pt idx="941">
                  <c:v>0</c:v>
                </c:pt>
                <c:pt idx="942">
                  <c:v>1</c:v>
                </c:pt>
                <c:pt idx="943">
                  <c:v>0</c:v>
                </c:pt>
                <c:pt idx="944">
                  <c:v>3</c:v>
                </c:pt>
                <c:pt idx="945">
                  <c:v>1</c:v>
                </c:pt>
                <c:pt idx="946">
                  <c:v>0</c:v>
                </c:pt>
                <c:pt idx="947">
                  <c:v>18</c:v>
                </c:pt>
                <c:pt idx="948">
                  <c:v>0</c:v>
                </c:pt>
                <c:pt idx="949">
                  <c:v>0</c:v>
                </c:pt>
                <c:pt idx="950">
                  <c:v>3</c:v>
                </c:pt>
                <c:pt idx="951">
                  <c:v>0</c:v>
                </c:pt>
                <c:pt idx="952">
                  <c:v>2</c:v>
                </c:pt>
                <c:pt idx="953">
                  <c:v>0</c:v>
                </c:pt>
                <c:pt idx="954">
                  <c:v>2</c:v>
                </c:pt>
                <c:pt idx="955">
                  <c:v>0</c:v>
                </c:pt>
                <c:pt idx="956">
                  <c:v>0</c:v>
                </c:pt>
                <c:pt idx="957">
                  <c:v>0</c:v>
                </c:pt>
                <c:pt idx="958">
                  <c:v>0</c:v>
                </c:pt>
                <c:pt idx="959">
                  <c:v>0</c:v>
                </c:pt>
                <c:pt idx="960">
                  <c:v>1</c:v>
                </c:pt>
                <c:pt idx="961">
                  <c:v>0</c:v>
                </c:pt>
                <c:pt idx="962">
                  <c:v>10</c:v>
                </c:pt>
                <c:pt idx="963">
                  <c:v>5</c:v>
                </c:pt>
                <c:pt idx="964">
                  <c:v>1</c:v>
                </c:pt>
                <c:pt idx="965">
                  <c:v>0</c:v>
                </c:pt>
                <c:pt idx="966">
                  <c:v>4</c:v>
                </c:pt>
                <c:pt idx="967">
                  <c:v>3</c:v>
                </c:pt>
                <c:pt idx="968">
                  <c:v>0</c:v>
                </c:pt>
                <c:pt idx="969">
                  <c:v>1</c:v>
                </c:pt>
                <c:pt idx="970">
                  <c:v>1</c:v>
                </c:pt>
                <c:pt idx="971">
                  <c:v>3</c:v>
                </c:pt>
                <c:pt idx="972">
                  <c:v>0</c:v>
                </c:pt>
                <c:pt idx="973">
                  <c:v>2</c:v>
                </c:pt>
                <c:pt idx="974">
                  <c:v>0</c:v>
                </c:pt>
                <c:pt idx="975">
                  <c:v>0</c:v>
                </c:pt>
                <c:pt idx="976">
                  <c:v>0</c:v>
                </c:pt>
                <c:pt idx="977">
                  <c:v>0</c:v>
                </c:pt>
                <c:pt idx="978">
                  <c:v>0</c:v>
                </c:pt>
                <c:pt idx="979">
                  <c:v>0</c:v>
                </c:pt>
                <c:pt idx="980">
                  <c:v>2</c:v>
                </c:pt>
                <c:pt idx="981">
                  <c:v>0</c:v>
                </c:pt>
                <c:pt idx="982">
                  <c:v>0</c:v>
                </c:pt>
                <c:pt idx="983">
                  <c:v>0</c:v>
                </c:pt>
                <c:pt idx="984">
                  <c:v>4</c:v>
                </c:pt>
                <c:pt idx="985">
                  <c:v>0</c:v>
                </c:pt>
                <c:pt idx="986">
                  <c:v>15</c:v>
                </c:pt>
                <c:pt idx="987">
                  <c:v>0</c:v>
                </c:pt>
                <c:pt idx="988">
                  <c:v>0</c:v>
                </c:pt>
                <c:pt idx="989">
                  <c:v>1</c:v>
                </c:pt>
                <c:pt idx="990">
                  <c:v>0</c:v>
                </c:pt>
                <c:pt idx="991">
                  <c:v>17</c:v>
                </c:pt>
                <c:pt idx="992">
                  <c:v>0</c:v>
                </c:pt>
                <c:pt idx="993">
                  <c:v>4</c:v>
                </c:pt>
                <c:pt idx="994">
                  <c:v>8</c:v>
                </c:pt>
                <c:pt idx="995">
                  <c:v>3</c:v>
                </c:pt>
                <c:pt idx="996">
                  <c:v>0</c:v>
                </c:pt>
                <c:pt idx="997">
                  <c:v>6</c:v>
                </c:pt>
                <c:pt idx="998">
                  <c:v>1</c:v>
                </c:pt>
                <c:pt idx="999">
                  <c:v>1</c:v>
                </c:pt>
                <c:pt idx="1000">
                  <c:v>0</c:v>
                </c:pt>
                <c:pt idx="1001">
                  <c:v>3</c:v>
                </c:pt>
                <c:pt idx="1002">
                  <c:v>0</c:v>
                </c:pt>
                <c:pt idx="1003">
                  <c:v>0</c:v>
                </c:pt>
                <c:pt idx="1004">
                  <c:v>0</c:v>
                </c:pt>
                <c:pt idx="1005">
                  <c:v>1</c:v>
                </c:pt>
                <c:pt idx="1006">
                  <c:v>1</c:v>
                </c:pt>
                <c:pt idx="1007">
                  <c:v>2</c:v>
                </c:pt>
                <c:pt idx="1008">
                  <c:v>0</c:v>
                </c:pt>
                <c:pt idx="1009">
                  <c:v>2</c:v>
                </c:pt>
                <c:pt idx="1010">
                  <c:v>1</c:v>
                </c:pt>
                <c:pt idx="1011">
                  <c:v>0</c:v>
                </c:pt>
                <c:pt idx="1012">
                  <c:v>0</c:v>
                </c:pt>
                <c:pt idx="1013">
                  <c:v>3</c:v>
                </c:pt>
                <c:pt idx="1014">
                  <c:v>0</c:v>
                </c:pt>
                <c:pt idx="1015">
                  <c:v>5</c:v>
                </c:pt>
                <c:pt idx="1016">
                  <c:v>1</c:v>
                </c:pt>
                <c:pt idx="1017">
                  <c:v>0</c:v>
                </c:pt>
                <c:pt idx="1018">
                  <c:v>1</c:v>
                </c:pt>
                <c:pt idx="1019">
                  <c:v>3</c:v>
                </c:pt>
                <c:pt idx="1020">
                  <c:v>0</c:v>
                </c:pt>
                <c:pt idx="1021">
                  <c:v>4</c:v>
                </c:pt>
                <c:pt idx="1022">
                  <c:v>0</c:v>
                </c:pt>
                <c:pt idx="1023">
                  <c:v>0</c:v>
                </c:pt>
                <c:pt idx="1024">
                  <c:v>2</c:v>
                </c:pt>
                <c:pt idx="1025">
                  <c:v>4</c:v>
                </c:pt>
                <c:pt idx="1026">
                  <c:v>0</c:v>
                </c:pt>
                <c:pt idx="1027">
                  <c:v>1</c:v>
                </c:pt>
                <c:pt idx="1028">
                  <c:v>2</c:v>
                </c:pt>
                <c:pt idx="1029">
                  <c:v>1</c:v>
                </c:pt>
                <c:pt idx="1030">
                  <c:v>1</c:v>
                </c:pt>
                <c:pt idx="1031">
                  <c:v>11</c:v>
                </c:pt>
                <c:pt idx="1032">
                  <c:v>4</c:v>
                </c:pt>
                <c:pt idx="1033">
                  <c:v>1</c:v>
                </c:pt>
                <c:pt idx="1034">
                  <c:v>2</c:v>
                </c:pt>
                <c:pt idx="1035">
                  <c:v>1</c:v>
                </c:pt>
                <c:pt idx="1036">
                  <c:v>9</c:v>
                </c:pt>
                <c:pt idx="1037">
                  <c:v>0</c:v>
                </c:pt>
                <c:pt idx="1038">
                  <c:v>0</c:v>
                </c:pt>
                <c:pt idx="1039">
                  <c:v>6</c:v>
                </c:pt>
                <c:pt idx="1040">
                  <c:v>1</c:v>
                </c:pt>
                <c:pt idx="1041">
                  <c:v>7</c:v>
                </c:pt>
                <c:pt idx="1042">
                  <c:v>0</c:v>
                </c:pt>
                <c:pt idx="1043">
                  <c:v>3</c:v>
                </c:pt>
                <c:pt idx="1044">
                  <c:v>1</c:v>
                </c:pt>
                <c:pt idx="1045">
                  <c:v>2</c:v>
                </c:pt>
                <c:pt idx="1046">
                  <c:v>1</c:v>
                </c:pt>
                <c:pt idx="1047">
                  <c:v>2</c:v>
                </c:pt>
                <c:pt idx="1048">
                  <c:v>1</c:v>
                </c:pt>
                <c:pt idx="1049">
                  <c:v>4</c:v>
                </c:pt>
                <c:pt idx="1050">
                  <c:v>0</c:v>
                </c:pt>
                <c:pt idx="1051">
                  <c:v>5</c:v>
                </c:pt>
                <c:pt idx="1052">
                  <c:v>2</c:v>
                </c:pt>
                <c:pt idx="1053">
                  <c:v>0</c:v>
                </c:pt>
                <c:pt idx="1054">
                  <c:v>0</c:v>
                </c:pt>
                <c:pt idx="1055">
                  <c:v>4</c:v>
                </c:pt>
                <c:pt idx="1056">
                  <c:v>2</c:v>
                </c:pt>
                <c:pt idx="1057">
                  <c:v>0</c:v>
                </c:pt>
                <c:pt idx="1058">
                  <c:v>0</c:v>
                </c:pt>
                <c:pt idx="1059">
                  <c:v>0</c:v>
                </c:pt>
                <c:pt idx="1060">
                  <c:v>2</c:v>
                </c:pt>
                <c:pt idx="1061">
                  <c:v>0</c:v>
                </c:pt>
                <c:pt idx="1062">
                  <c:v>7</c:v>
                </c:pt>
                <c:pt idx="1063">
                  <c:v>7</c:v>
                </c:pt>
                <c:pt idx="1064">
                  <c:v>9</c:v>
                </c:pt>
                <c:pt idx="1065">
                  <c:v>1</c:v>
                </c:pt>
                <c:pt idx="1066">
                  <c:v>3</c:v>
                </c:pt>
                <c:pt idx="1067">
                  <c:v>0</c:v>
                </c:pt>
                <c:pt idx="1068">
                  <c:v>0</c:v>
                </c:pt>
                <c:pt idx="1069">
                  <c:v>5</c:v>
                </c:pt>
                <c:pt idx="1070">
                  <c:v>0</c:v>
                </c:pt>
                <c:pt idx="1071">
                  <c:v>3</c:v>
                </c:pt>
                <c:pt idx="1072">
                  <c:v>1</c:v>
                </c:pt>
                <c:pt idx="1073">
                  <c:v>0</c:v>
                </c:pt>
                <c:pt idx="1074">
                  <c:v>0</c:v>
                </c:pt>
                <c:pt idx="1075">
                  <c:v>1</c:v>
                </c:pt>
                <c:pt idx="1076">
                  <c:v>0</c:v>
                </c:pt>
                <c:pt idx="1077">
                  <c:v>4</c:v>
                </c:pt>
                <c:pt idx="1078">
                  <c:v>26</c:v>
                </c:pt>
                <c:pt idx="1079">
                  <c:v>0</c:v>
                </c:pt>
                <c:pt idx="1080">
                  <c:v>2</c:v>
                </c:pt>
                <c:pt idx="1081">
                  <c:v>0</c:v>
                </c:pt>
                <c:pt idx="1082">
                  <c:v>6</c:v>
                </c:pt>
                <c:pt idx="1083">
                  <c:v>3</c:v>
                </c:pt>
                <c:pt idx="1084">
                  <c:v>0</c:v>
                </c:pt>
                <c:pt idx="1085">
                  <c:v>0</c:v>
                </c:pt>
                <c:pt idx="1086">
                  <c:v>1</c:v>
                </c:pt>
                <c:pt idx="1087">
                  <c:v>0</c:v>
                </c:pt>
                <c:pt idx="1088">
                  <c:v>2</c:v>
                </c:pt>
                <c:pt idx="1089">
                  <c:v>1</c:v>
                </c:pt>
                <c:pt idx="1090">
                  <c:v>4</c:v>
                </c:pt>
                <c:pt idx="1091">
                  <c:v>0</c:v>
                </c:pt>
                <c:pt idx="1092">
                  <c:v>0</c:v>
                </c:pt>
                <c:pt idx="1093">
                  <c:v>1</c:v>
                </c:pt>
                <c:pt idx="1094">
                  <c:v>1</c:v>
                </c:pt>
                <c:pt idx="1095">
                  <c:v>4</c:v>
                </c:pt>
                <c:pt idx="1096">
                  <c:v>0</c:v>
                </c:pt>
                <c:pt idx="1097">
                  <c:v>0</c:v>
                </c:pt>
                <c:pt idx="1098">
                  <c:v>0</c:v>
                </c:pt>
                <c:pt idx="1099">
                  <c:v>2</c:v>
                </c:pt>
                <c:pt idx="1100">
                  <c:v>2</c:v>
                </c:pt>
                <c:pt idx="1101">
                  <c:v>0</c:v>
                </c:pt>
                <c:pt idx="1102">
                  <c:v>1</c:v>
                </c:pt>
                <c:pt idx="1103">
                  <c:v>0</c:v>
                </c:pt>
                <c:pt idx="1104">
                  <c:v>0</c:v>
                </c:pt>
                <c:pt idx="1105">
                  <c:v>22</c:v>
                </c:pt>
                <c:pt idx="1106">
                  <c:v>0</c:v>
                </c:pt>
                <c:pt idx="1107">
                  <c:v>1</c:v>
                </c:pt>
                <c:pt idx="1108">
                  <c:v>0</c:v>
                </c:pt>
                <c:pt idx="1109">
                  <c:v>0</c:v>
                </c:pt>
                <c:pt idx="1110">
                  <c:v>0</c:v>
                </c:pt>
                <c:pt idx="1111">
                  <c:v>0</c:v>
                </c:pt>
                <c:pt idx="1112">
                  <c:v>0</c:v>
                </c:pt>
                <c:pt idx="1113">
                  <c:v>2</c:v>
                </c:pt>
                <c:pt idx="1114">
                  <c:v>2</c:v>
                </c:pt>
                <c:pt idx="1115">
                  <c:v>0</c:v>
                </c:pt>
                <c:pt idx="1116">
                  <c:v>0</c:v>
                </c:pt>
                <c:pt idx="1117">
                  <c:v>1</c:v>
                </c:pt>
                <c:pt idx="1118">
                  <c:v>0</c:v>
                </c:pt>
                <c:pt idx="1119">
                  <c:v>0</c:v>
                </c:pt>
                <c:pt idx="1120">
                  <c:v>0</c:v>
                </c:pt>
                <c:pt idx="1121">
                  <c:v>1</c:v>
                </c:pt>
                <c:pt idx="1122">
                  <c:v>0</c:v>
                </c:pt>
                <c:pt idx="1123">
                  <c:v>7</c:v>
                </c:pt>
                <c:pt idx="1124">
                  <c:v>1</c:v>
                </c:pt>
                <c:pt idx="1125">
                  <c:v>1</c:v>
                </c:pt>
                <c:pt idx="1126">
                  <c:v>3</c:v>
                </c:pt>
                <c:pt idx="1127">
                  <c:v>1</c:v>
                </c:pt>
                <c:pt idx="1128">
                  <c:v>7</c:v>
                </c:pt>
                <c:pt idx="1129">
                  <c:v>46</c:v>
                </c:pt>
                <c:pt idx="1130">
                  <c:v>0</c:v>
                </c:pt>
                <c:pt idx="1131">
                  <c:v>0</c:v>
                </c:pt>
                <c:pt idx="1132">
                  <c:v>8</c:v>
                </c:pt>
                <c:pt idx="1133">
                  <c:v>0</c:v>
                </c:pt>
                <c:pt idx="1134">
                  <c:v>3</c:v>
                </c:pt>
                <c:pt idx="1135">
                  <c:v>0</c:v>
                </c:pt>
                <c:pt idx="1136">
                  <c:v>1</c:v>
                </c:pt>
                <c:pt idx="1137">
                  <c:v>2</c:v>
                </c:pt>
                <c:pt idx="1138">
                  <c:v>0</c:v>
                </c:pt>
                <c:pt idx="1139">
                  <c:v>1</c:v>
                </c:pt>
                <c:pt idx="1140">
                  <c:v>5</c:v>
                </c:pt>
                <c:pt idx="1141">
                  <c:v>1</c:v>
                </c:pt>
                <c:pt idx="1142">
                  <c:v>0</c:v>
                </c:pt>
                <c:pt idx="1143">
                  <c:v>1</c:v>
                </c:pt>
                <c:pt idx="1144">
                  <c:v>0</c:v>
                </c:pt>
                <c:pt idx="1145">
                  <c:v>6</c:v>
                </c:pt>
                <c:pt idx="1146">
                  <c:v>4</c:v>
                </c:pt>
                <c:pt idx="1147">
                  <c:v>4</c:v>
                </c:pt>
                <c:pt idx="1148">
                  <c:v>1</c:v>
                </c:pt>
                <c:pt idx="1149">
                  <c:v>0</c:v>
                </c:pt>
                <c:pt idx="1150">
                  <c:v>7</c:v>
                </c:pt>
                <c:pt idx="1151">
                  <c:v>3</c:v>
                </c:pt>
                <c:pt idx="1152">
                  <c:v>0</c:v>
                </c:pt>
                <c:pt idx="1153">
                  <c:v>3</c:v>
                </c:pt>
                <c:pt idx="1154">
                  <c:v>0</c:v>
                </c:pt>
                <c:pt idx="1155">
                  <c:v>0</c:v>
                </c:pt>
                <c:pt idx="1156">
                  <c:v>0</c:v>
                </c:pt>
                <c:pt idx="1157">
                  <c:v>0</c:v>
                </c:pt>
                <c:pt idx="1158">
                  <c:v>0</c:v>
                </c:pt>
                <c:pt idx="1159">
                  <c:v>0</c:v>
                </c:pt>
                <c:pt idx="1160">
                  <c:v>1</c:v>
                </c:pt>
                <c:pt idx="1161">
                  <c:v>2</c:v>
                </c:pt>
                <c:pt idx="1162">
                  <c:v>1</c:v>
                </c:pt>
                <c:pt idx="1163">
                  <c:v>0</c:v>
                </c:pt>
                <c:pt idx="1164">
                  <c:v>1</c:v>
                </c:pt>
                <c:pt idx="1165">
                  <c:v>0</c:v>
                </c:pt>
                <c:pt idx="1166">
                  <c:v>3</c:v>
                </c:pt>
                <c:pt idx="1167">
                  <c:v>0</c:v>
                </c:pt>
                <c:pt idx="1168">
                  <c:v>6</c:v>
                </c:pt>
                <c:pt idx="1169">
                  <c:v>0</c:v>
                </c:pt>
                <c:pt idx="1170">
                  <c:v>0</c:v>
                </c:pt>
                <c:pt idx="1171">
                  <c:v>0</c:v>
                </c:pt>
                <c:pt idx="1172">
                  <c:v>0</c:v>
                </c:pt>
                <c:pt idx="1173">
                  <c:v>0</c:v>
                </c:pt>
                <c:pt idx="1174">
                  <c:v>4</c:v>
                </c:pt>
                <c:pt idx="1175">
                  <c:v>1</c:v>
                </c:pt>
                <c:pt idx="1176">
                  <c:v>1</c:v>
                </c:pt>
                <c:pt idx="1177">
                  <c:v>9</c:v>
                </c:pt>
                <c:pt idx="1178">
                  <c:v>0</c:v>
                </c:pt>
                <c:pt idx="1179">
                  <c:v>0</c:v>
                </c:pt>
                <c:pt idx="1180">
                  <c:v>2</c:v>
                </c:pt>
                <c:pt idx="1181">
                  <c:v>0</c:v>
                </c:pt>
                <c:pt idx="1182">
                  <c:v>8</c:v>
                </c:pt>
                <c:pt idx="1183">
                  <c:v>0</c:v>
                </c:pt>
                <c:pt idx="1184">
                  <c:v>0</c:v>
                </c:pt>
                <c:pt idx="1185">
                  <c:v>1</c:v>
                </c:pt>
                <c:pt idx="1186">
                  <c:v>0</c:v>
                </c:pt>
                <c:pt idx="1187">
                  <c:v>0</c:v>
                </c:pt>
                <c:pt idx="1188">
                  <c:v>0</c:v>
                </c:pt>
                <c:pt idx="1189">
                  <c:v>3</c:v>
                </c:pt>
                <c:pt idx="1190">
                  <c:v>0</c:v>
                </c:pt>
                <c:pt idx="1191">
                  <c:v>0</c:v>
                </c:pt>
                <c:pt idx="1192">
                  <c:v>0</c:v>
                </c:pt>
                <c:pt idx="1193">
                  <c:v>0</c:v>
                </c:pt>
                <c:pt idx="1194">
                  <c:v>0</c:v>
                </c:pt>
                <c:pt idx="1195">
                  <c:v>4</c:v>
                </c:pt>
                <c:pt idx="1196">
                  <c:v>0</c:v>
                </c:pt>
                <c:pt idx="1197">
                  <c:v>1</c:v>
                </c:pt>
                <c:pt idx="1198">
                  <c:v>2</c:v>
                </c:pt>
                <c:pt idx="1199">
                  <c:v>8</c:v>
                </c:pt>
                <c:pt idx="1200">
                  <c:v>3</c:v>
                </c:pt>
                <c:pt idx="1201">
                  <c:v>3</c:v>
                </c:pt>
                <c:pt idx="1202">
                  <c:v>0</c:v>
                </c:pt>
                <c:pt idx="1203">
                  <c:v>3</c:v>
                </c:pt>
                <c:pt idx="1204">
                  <c:v>1</c:v>
                </c:pt>
                <c:pt idx="1205">
                  <c:v>0</c:v>
                </c:pt>
                <c:pt idx="1206">
                  <c:v>2</c:v>
                </c:pt>
                <c:pt idx="1207">
                  <c:v>0</c:v>
                </c:pt>
                <c:pt idx="1208">
                  <c:v>0</c:v>
                </c:pt>
                <c:pt idx="1209">
                  <c:v>0</c:v>
                </c:pt>
                <c:pt idx="1210">
                  <c:v>4</c:v>
                </c:pt>
                <c:pt idx="1211">
                  <c:v>0</c:v>
                </c:pt>
                <c:pt idx="1212">
                  <c:v>6</c:v>
                </c:pt>
                <c:pt idx="1213">
                  <c:v>0</c:v>
                </c:pt>
                <c:pt idx="1214">
                  <c:v>0</c:v>
                </c:pt>
                <c:pt idx="1215">
                  <c:v>6</c:v>
                </c:pt>
                <c:pt idx="1216">
                  <c:v>0</c:v>
                </c:pt>
                <c:pt idx="1217">
                  <c:v>2</c:v>
                </c:pt>
                <c:pt idx="1218">
                  <c:v>2</c:v>
                </c:pt>
                <c:pt idx="1219">
                  <c:v>5</c:v>
                </c:pt>
                <c:pt idx="1220">
                  <c:v>1</c:v>
                </c:pt>
                <c:pt idx="1221">
                  <c:v>2</c:v>
                </c:pt>
                <c:pt idx="1222">
                  <c:v>5</c:v>
                </c:pt>
                <c:pt idx="1223">
                  <c:v>0</c:v>
                </c:pt>
                <c:pt idx="1224">
                  <c:v>0</c:v>
                </c:pt>
                <c:pt idx="1225">
                  <c:v>0</c:v>
                </c:pt>
                <c:pt idx="1226">
                  <c:v>0</c:v>
                </c:pt>
                <c:pt idx="1227">
                  <c:v>2</c:v>
                </c:pt>
                <c:pt idx="1228">
                  <c:v>0</c:v>
                </c:pt>
                <c:pt idx="1229">
                  <c:v>4</c:v>
                </c:pt>
                <c:pt idx="1230">
                  <c:v>0</c:v>
                </c:pt>
                <c:pt idx="1231">
                  <c:v>2</c:v>
                </c:pt>
                <c:pt idx="1232">
                  <c:v>3</c:v>
                </c:pt>
                <c:pt idx="1233">
                  <c:v>1</c:v>
                </c:pt>
                <c:pt idx="1234">
                  <c:v>0</c:v>
                </c:pt>
                <c:pt idx="1235">
                  <c:v>1</c:v>
                </c:pt>
                <c:pt idx="1236">
                  <c:v>2</c:v>
                </c:pt>
                <c:pt idx="1237">
                  <c:v>1</c:v>
                </c:pt>
                <c:pt idx="1238">
                  <c:v>1</c:v>
                </c:pt>
                <c:pt idx="1239">
                  <c:v>2</c:v>
                </c:pt>
                <c:pt idx="1240">
                  <c:v>2</c:v>
                </c:pt>
                <c:pt idx="1241">
                  <c:v>0</c:v>
                </c:pt>
                <c:pt idx="1242">
                  <c:v>0</c:v>
                </c:pt>
                <c:pt idx="1243">
                  <c:v>1</c:v>
                </c:pt>
                <c:pt idx="1244">
                  <c:v>0</c:v>
                </c:pt>
                <c:pt idx="1245">
                  <c:v>3</c:v>
                </c:pt>
                <c:pt idx="1246">
                  <c:v>0</c:v>
                </c:pt>
                <c:pt idx="1247">
                  <c:v>0</c:v>
                </c:pt>
                <c:pt idx="1248">
                  <c:v>0</c:v>
                </c:pt>
                <c:pt idx="1249">
                  <c:v>1</c:v>
                </c:pt>
                <c:pt idx="1250">
                  <c:v>1</c:v>
                </c:pt>
                <c:pt idx="1251">
                  <c:v>0</c:v>
                </c:pt>
                <c:pt idx="1252">
                  <c:v>0</c:v>
                </c:pt>
                <c:pt idx="1253">
                  <c:v>0</c:v>
                </c:pt>
                <c:pt idx="1254">
                  <c:v>7</c:v>
                </c:pt>
                <c:pt idx="1255">
                  <c:v>3</c:v>
                </c:pt>
                <c:pt idx="1256">
                  <c:v>0</c:v>
                </c:pt>
                <c:pt idx="1257">
                  <c:v>0</c:v>
                </c:pt>
                <c:pt idx="1258">
                  <c:v>0</c:v>
                </c:pt>
                <c:pt idx="1259">
                  <c:v>0</c:v>
                </c:pt>
                <c:pt idx="1260">
                  <c:v>1</c:v>
                </c:pt>
                <c:pt idx="1261">
                  <c:v>0</c:v>
                </c:pt>
                <c:pt idx="1262">
                  <c:v>2</c:v>
                </c:pt>
                <c:pt idx="1263">
                  <c:v>5</c:v>
                </c:pt>
                <c:pt idx="1264">
                  <c:v>0</c:v>
                </c:pt>
                <c:pt idx="1265">
                  <c:v>0</c:v>
                </c:pt>
                <c:pt idx="1266">
                  <c:v>1</c:v>
                </c:pt>
                <c:pt idx="1267">
                  <c:v>0</c:v>
                </c:pt>
                <c:pt idx="1268">
                  <c:v>2</c:v>
                </c:pt>
                <c:pt idx="1269">
                  <c:v>0</c:v>
                </c:pt>
                <c:pt idx="1270">
                  <c:v>1</c:v>
                </c:pt>
                <c:pt idx="1271">
                  <c:v>2</c:v>
                </c:pt>
                <c:pt idx="1272">
                  <c:v>0</c:v>
                </c:pt>
                <c:pt idx="1273">
                  <c:v>2</c:v>
                </c:pt>
                <c:pt idx="1274">
                  <c:v>0</c:v>
                </c:pt>
                <c:pt idx="1275">
                  <c:v>2</c:v>
                </c:pt>
                <c:pt idx="1276">
                  <c:v>3</c:v>
                </c:pt>
                <c:pt idx="1277">
                  <c:v>0</c:v>
                </c:pt>
                <c:pt idx="1278">
                  <c:v>15</c:v>
                </c:pt>
                <c:pt idx="1279">
                  <c:v>0</c:v>
                </c:pt>
                <c:pt idx="1280">
                  <c:v>0</c:v>
                </c:pt>
                <c:pt idx="1281">
                  <c:v>5</c:v>
                </c:pt>
                <c:pt idx="1282">
                  <c:v>3</c:v>
                </c:pt>
                <c:pt idx="1283">
                  <c:v>15</c:v>
                </c:pt>
                <c:pt idx="1284">
                  <c:v>1</c:v>
                </c:pt>
                <c:pt idx="1285">
                  <c:v>0</c:v>
                </c:pt>
                <c:pt idx="1286">
                  <c:v>3</c:v>
                </c:pt>
                <c:pt idx="1287">
                  <c:v>6</c:v>
                </c:pt>
                <c:pt idx="1288">
                  <c:v>1</c:v>
                </c:pt>
                <c:pt idx="1289">
                  <c:v>3</c:v>
                </c:pt>
                <c:pt idx="1290">
                  <c:v>4</c:v>
                </c:pt>
                <c:pt idx="1291">
                  <c:v>0</c:v>
                </c:pt>
                <c:pt idx="1292">
                  <c:v>0</c:v>
                </c:pt>
                <c:pt idx="1293">
                  <c:v>0</c:v>
                </c:pt>
                <c:pt idx="1294">
                  <c:v>0</c:v>
                </c:pt>
                <c:pt idx="1295">
                  <c:v>0</c:v>
                </c:pt>
                <c:pt idx="1296">
                  <c:v>0</c:v>
                </c:pt>
                <c:pt idx="1297">
                  <c:v>9</c:v>
                </c:pt>
                <c:pt idx="1298">
                  <c:v>3</c:v>
                </c:pt>
                <c:pt idx="1299">
                  <c:v>1</c:v>
                </c:pt>
                <c:pt idx="1300">
                  <c:v>8</c:v>
                </c:pt>
                <c:pt idx="1301">
                  <c:v>1</c:v>
                </c:pt>
                <c:pt idx="1302">
                  <c:v>0</c:v>
                </c:pt>
                <c:pt idx="1303">
                  <c:v>0</c:v>
                </c:pt>
                <c:pt idx="1304">
                  <c:v>0</c:v>
                </c:pt>
                <c:pt idx="1305">
                  <c:v>0</c:v>
                </c:pt>
                <c:pt idx="1306">
                  <c:v>2</c:v>
                </c:pt>
                <c:pt idx="1307">
                  <c:v>1</c:v>
                </c:pt>
                <c:pt idx="1308">
                  <c:v>11</c:v>
                </c:pt>
                <c:pt idx="1309">
                  <c:v>0</c:v>
                </c:pt>
                <c:pt idx="1310">
                  <c:v>3</c:v>
                </c:pt>
                <c:pt idx="1311">
                  <c:v>0</c:v>
                </c:pt>
                <c:pt idx="1312">
                  <c:v>0</c:v>
                </c:pt>
                <c:pt idx="1313">
                  <c:v>8</c:v>
                </c:pt>
                <c:pt idx="1314">
                  <c:v>0</c:v>
                </c:pt>
                <c:pt idx="1315">
                  <c:v>0</c:v>
                </c:pt>
                <c:pt idx="1316">
                  <c:v>0</c:v>
                </c:pt>
                <c:pt idx="1317">
                  <c:v>0</c:v>
                </c:pt>
                <c:pt idx="1318">
                  <c:v>6</c:v>
                </c:pt>
                <c:pt idx="1319">
                  <c:v>0</c:v>
                </c:pt>
                <c:pt idx="1320">
                  <c:v>0</c:v>
                </c:pt>
                <c:pt idx="1321">
                  <c:v>0</c:v>
                </c:pt>
                <c:pt idx="1322">
                  <c:v>0</c:v>
                </c:pt>
                <c:pt idx="1323">
                  <c:v>1</c:v>
                </c:pt>
                <c:pt idx="1324">
                  <c:v>2</c:v>
                </c:pt>
                <c:pt idx="1325">
                  <c:v>0</c:v>
                </c:pt>
                <c:pt idx="1326">
                  <c:v>1</c:v>
                </c:pt>
                <c:pt idx="1327">
                  <c:v>0</c:v>
                </c:pt>
                <c:pt idx="1328">
                  <c:v>0</c:v>
                </c:pt>
                <c:pt idx="1329">
                  <c:v>0</c:v>
                </c:pt>
                <c:pt idx="1330">
                  <c:v>1</c:v>
                </c:pt>
                <c:pt idx="1331">
                  <c:v>9</c:v>
                </c:pt>
                <c:pt idx="1332">
                  <c:v>2</c:v>
                </c:pt>
                <c:pt idx="1333">
                  <c:v>1</c:v>
                </c:pt>
                <c:pt idx="1334">
                  <c:v>0</c:v>
                </c:pt>
                <c:pt idx="1335">
                  <c:v>1</c:v>
                </c:pt>
                <c:pt idx="1336">
                  <c:v>1</c:v>
                </c:pt>
                <c:pt idx="1337">
                  <c:v>5</c:v>
                </c:pt>
                <c:pt idx="1338">
                  <c:v>0</c:v>
                </c:pt>
                <c:pt idx="1339">
                  <c:v>0</c:v>
                </c:pt>
                <c:pt idx="1340">
                  <c:v>0</c:v>
                </c:pt>
                <c:pt idx="1341">
                  <c:v>1</c:v>
                </c:pt>
                <c:pt idx="1342">
                  <c:v>0</c:v>
                </c:pt>
                <c:pt idx="1343">
                  <c:v>1</c:v>
                </c:pt>
                <c:pt idx="1344">
                  <c:v>1</c:v>
                </c:pt>
                <c:pt idx="1345">
                  <c:v>3</c:v>
                </c:pt>
                <c:pt idx="1346">
                  <c:v>0</c:v>
                </c:pt>
                <c:pt idx="1347">
                  <c:v>1</c:v>
                </c:pt>
                <c:pt idx="1348">
                  <c:v>3</c:v>
                </c:pt>
                <c:pt idx="1349">
                  <c:v>0</c:v>
                </c:pt>
                <c:pt idx="1350">
                  <c:v>1</c:v>
                </c:pt>
                <c:pt idx="1351">
                  <c:v>0</c:v>
                </c:pt>
                <c:pt idx="1352">
                  <c:v>10</c:v>
                </c:pt>
                <c:pt idx="1353">
                  <c:v>0</c:v>
                </c:pt>
                <c:pt idx="1354">
                  <c:v>1</c:v>
                </c:pt>
                <c:pt idx="1355">
                  <c:v>0</c:v>
                </c:pt>
                <c:pt idx="1356">
                  <c:v>2</c:v>
                </c:pt>
                <c:pt idx="1357">
                  <c:v>1</c:v>
                </c:pt>
                <c:pt idx="1358">
                  <c:v>1</c:v>
                </c:pt>
                <c:pt idx="1359">
                  <c:v>0</c:v>
                </c:pt>
                <c:pt idx="1360">
                  <c:v>0</c:v>
                </c:pt>
                <c:pt idx="1361">
                  <c:v>4</c:v>
                </c:pt>
                <c:pt idx="1362">
                  <c:v>1</c:v>
                </c:pt>
                <c:pt idx="1363">
                  <c:v>2</c:v>
                </c:pt>
                <c:pt idx="1364">
                  <c:v>3</c:v>
                </c:pt>
                <c:pt idx="1365">
                  <c:v>0</c:v>
                </c:pt>
                <c:pt idx="1366">
                  <c:v>0</c:v>
                </c:pt>
                <c:pt idx="1367">
                  <c:v>16</c:v>
                </c:pt>
                <c:pt idx="1368">
                  <c:v>0</c:v>
                </c:pt>
                <c:pt idx="1369">
                  <c:v>0</c:v>
                </c:pt>
                <c:pt idx="1370">
                  <c:v>2</c:v>
                </c:pt>
                <c:pt idx="1371">
                  <c:v>0</c:v>
                </c:pt>
                <c:pt idx="1372">
                  <c:v>2</c:v>
                </c:pt>
                <c:pt idx="1373">
                  <c:v>0</c:v>
                </c:pt>
                <c:pt idx="1374">
                  <c:v>1</c:v>
                </c:pt>
                <c:pt idx="1375">
                  <c:v>0</c:v>
                </c:pt>
                <c:pt idx="1376">
                  <c:v>0</c:v>
                </c:pt>
                <c:pt idx="1377">
                  <c:v>0</c:v>
                </c:pt>
                <c:pt idx="1378">
                  <c:v>0</c:v>
                </c:pt>
                <c:pt idx="1379">
                  <c:v>3</c:v>
                </c:pt>
                <c:pt idx="1380">
                  <c:v>2</c:v>
                </c:pt>
                <c:pt idx="1381">
                  <c:v>0</c:v>
                </c:pt>
                <c:pt idx="1382">
                  <c:v>2</c:v>
                </c:pt>
                <c:pt idx="1383">
                  <c:v>4</c:v>
                </c:pt>
                <c:pt idx="1384">
                  <c:v>3</c:v>
                </c:pt>
                <c:pt idx="1385">
                  <c:v>7</c:v>
                </c:pt>
                <c:pt idx="1386">
                  <c:v>2</c:v>
                </c:pt>
                <c:pt idx="1387">
                  <c:v>0</c:v>
                </c:pt>
                <c:pt idx="1388">
                  <c:v>0</c:v>
                </c:pt>
                <c:pt idx="1389">
                  <c:v>4</c:v>
                </c:pt>
                <c:pt idx="1390">
                  <c:v>2</c:v>
                </c:pt>
                <c:pt idx="1391">
                  <c:v>0</c:v>
                </c:pt>
                <c:pt idx="1392">
                  <c:v>0</c:v>
                </c:pt>
                <c:pt idx="1393">
                  <c:v>0</c:v>
                </c:pt>
                <c:pt idx="1394">
                  <c:v>3</c:v>
                </c:pt>
                <c:pt idx="1395">
                  <c:v>1</c:v>
                </c:pt>
                <c:pt idx="1396">
                  <c:v>0</c:v>
                </c:pt>
                <c:pt idx="1397">
                  <c:v>4</c:v>
                </c:pt>
                <c:pt idx="1398">
                  <c:v>2</c:v>
                </c:pt>
                <c:pt idx="1399">
                  <c:v>0</c:v>
                </c:pt>
                <c:pt idx="1400">
                  <c:v>0</c:v>
                </c:pt>
                <c:pt idx="1401">
                  <c:v>2</c:v>
                </c:pt>
                <c:pt idx="1402">
                  <c:v>0</c:v>
                </c:pt>
                <c:pt idx="1403">
                  <c:v>0</c:v>
                </c:pt>
                <c:pt idx="1404">
                  <c:v>1</c:v>
                </c:pt>
                <c:pt idx="1405">
                  <c:v>0</c:v>
                </c:pt>
                <c:pt idx="1406">
                  <c:v>1</c:v>
                </c:pt>
                <c:pt idx="1407">
                  <c:v>0</c:v>
                </c:pt>
                <c:pt idx="1408">
                  <c:v>0</c:v>
                </c:pt>
                <c:pt idx="1409">
                  <c:v>0</c:v>
                </c:pt>
                <c:pt idx="1410">
                  <c:v>0</c:v>
                </c:pt>
                <c:pt idx="1411">
                  <c:v>0</c:v>
                </c:pt>
                <c:pt idx="1412">
                  <c:v>13</c:v>
                </c:pt>
                <c:pt idx="1413">
                  <c:v>0</c:v>
                </c:pt>
                <c:pt idx="1414">
                  <c:v>1</c:v>
                </c:pt>
                <c:pt idx="1415">
                  <c:v>0</c:v>
                </c:pt>
                <c:pt idx="1416">
                  <c:v>0</c:v>
                </c:pt>
                <c:pt idx="1417">
                  <c:v>0</c:v>
                </c:pt>
                <c:pt idx="1418">
                  <c:v>0</c:v>
                </c:pt>
                <c:pt idx="1419">
                  <c:v>0</c:v>
                </c:pt>
                <c:pt idx="1420">
                  <c:v>0</c:v>
                </c:pt>
                <c:pt idx="1421">
                  <c:v>0</c:v>
                </c:pt>
                <c:pt idx="1422">
                  <c:v>0</c:v>
                </c:pt>
                <c:pt idx="1423">
                  <c:v>0</c:v>
                </c:pt>
                <c:pt idx="1424">
                  <c:v>0</c:v>
                </c:pt>
                <c:pt idx="1425">
                  <c:v>0</c:v>
                </c:pt>
                <c:pt idx="1426">
                  <c:v>1</c:v>
                </c:pt>
                <c:pt idx="1427">
                  <c:v>0</c:v>
                </c:pt>
                <c:pt idx="1428">
                  <c:v>0</c:v>
                </c:pt>
                <c:pt idx="1429">
                  <c:v>1</c:v>
                </c:pt>
                <c:pt idx="1430">
                  <c:v>1</c:v>
                </c:pt>
                <c:pt idx="1431">
                  <c:v>0</c:v>
                </c:pt>
                <c:pt idx="1432">
                  <c:v>0</c:v>
                </c:pt>
                <c:pt idx="1433">
                  <c:v>4</c:v>
                </c:pt>
                <c:pt idx="1434">
                  <c:v>0</c:v>
                </c:pt>
                <c:pt idx="1435">
                  <c:v>2</c:v>
                </c:pt>
                <c:pt idx="1436">
                  <c:v>0</c:v>
                </c:pt>
                <c:pt idx="1437">
                  <c:v>0</c:v>
                </c:pt>
                <c:pt idx="1438">
                  <c:v>0</c:v>
                </c:pt>
                <c:pt idx="1439">
                  <c:v>6</c:v>
                </c:pt>
                <c:pt idx="1440">
                  <c:v>1</c:v>
                </c:pt>
                <c:pt idx="1441">
                  <c:v>3</c:v>
                </c:pt>
                <c:pt idx="1442">
                  <c:v>0</c:v>
                </c:pt>
                <c:pt idx="1443">
                  <c:v>2</c:v>
                </c:pt>
                <c:pt idx="1444">
                  <c:v>0</c:v>
                </c:pt>
                <c:pt idx="1445">
                  <c:v>4</c:v>
                </c:pt>
                <c:pt idx="1446">
                  <c:v>0</c:v>
                </c:pt>
                <c:pt idx="1447">
                  <c:v>1</c:v>
                </c:pt>
                <c:pt idx="1448">
                  <c:v>0</c:v>
                </c:pt>
                <c:pt idx="1449">
                  <c:v>0</c:v>
                </c:pt>
                <c:pt idx="1450">
                  <c:v>0</c:v>
                </c:pt>
                <c:pt idx="1451">
                  <c:v>0</c:v>
                </c:pt>
                <c:pt idx="1452">
                  <c:v>0</c:v>
                </c:pt>
                <c:pt idx="1453">
                  <c:v>0</c:v>
                </c:pt>
                <c:pt idx="1454">
                  <c:v>0</c:v>
                </c:pt>
                <c:pt idx="1455">
                  <c:v>0</c:v>
                </c:pt>
                <c:pt idx="1456">
                  <c:v>2</c:v>
                </c:pt>
                <c:pt idx="1457">
                  <c:v>1</c:v>
                </c:pt>
                <c:pt idx="1458">
                  <c:v>1</c:v>
                </c:pt>
                <c:pt idx="1459">
                  <c:v>0</c:v>
                </c:pt>
                <c:pt idx="1460">
                  <c:v>1</c:v>
                </c:pt>
                <c:pt idx="1461">
                  <c:v>0</c:v>
                </c:pt>
                <c:pt idx="1462">
                  <c:v>1</c:v>
                </c:pt>
                <c:pt idx="1463">
                  <c:v>0</c:v>
                </c:pt>
                <c:pt idx="1464">
                  <c:v>0</c:v>
                </c:pt>
                <c:pt idx="1465">
                  <c:v>0</c:v>
                </c:pt>
                <c:pt idx="1466">
                  <c:v>1</c:v>
                </c:pt>
                <c:pt idx="1467">
                  <c:v>0</c:v>
                </c:pt>
                <c:pt idx="1468">
                  <c:v>0</c:v>
                </c:pt>
                <c:pt idx="1469">
                  <c:v>0</c:v>
                </c:pt>
                <c:pt idx="1470">
                  <c:v>0</c:v>
                </c:pt>
                <c:pt idx="1471">
                  <c:v>0</c:v>
                </c:pt>
                <c:pt idx="1472">
                  <c:v>0</c:v>
                </c:pt>
                <c:pt idx="1473">
                  <c:v>23</c:v>
                </c:pt>
                <c:pt idx="1474">
                  <c:v>0</c:v>
                </c:pt>
                <c:pt idx="1475">
                  <c:v>2</c:v>
                </c:pt>
                <c:pt idx="1476">
                  <c:v>0</c:v>
                </c:pt>
                <c:pt idx="1477">
                  <c:v>0</c:v>
                </c:pt>
                <c:pt idx="1478">
                  <c:v>0</c:v>
                </c:pt>
                <c:pt idx="1479">
                  <c:v>0</c:v>
                </c:pt>
                <c:pt idx="1480">
                  <c:v>0</c:v>
                </c:pt>
                <c:pt idx="1481">
                  <c:v>0</c:v>
                </c:pt>
                <c:pt idx="1482">
                  <c:v>0</c:v>
                </c:pt>
                <c:pt idx="1483">
                  <c:v>1</c:v>
                </c:pt>
                <c:pt idx="1484">
                  <c:v>0</c:v>
                </c:pt>
                <c:pt idx="1485">
                  <c:v>0</c:v>
                </c:pt>
                <c:pt idx="1486">
                  <c:v>3</c:v>
                </c:pt>
                <c:pt idx="1487">
                  <c:v>0</c:v>
                </c:pt>
                <c:pt idx="1488">
                  <c:v>0</c:v>
                </c:pt>
                <c:pt idx="1489">
                  <c:v>0</c:v>
                </c:pt>
                <c:pt idx="1490">
                  <c:v>0</c:v>
                </c:pt>
                <c:pt idx="1491">
                  <c:v>0</c:v>
                </c:pt>
                <c:pt idx="1492">
                  <c:v>0</c:v>
                </c:pt>
                <c:pt idx="1493">
                  <c:v>2</c:v>
                </c:pt>
                <c:pt idx="1494">
                  <c:v>6</c:v>
                </c:pt>
                <c:pt idx="1495">
                  <c:v>1</c:v>
                </c:pt>
                <c:pt idx="1496">
                  <c:v>1</c:v>
                </c:pt>
                <c:pt idx="1497">
                  <c:v>0</c:v>
                </c:pt>
                <c:pt idx="1498">
                  <c:v>5</c:v>
                </c:pt>
                <c:pt idx="1499">
                  <c:v>0</c:v>
                </c:pt>
                <c:pt idx="1500">
                  <c:v>0</c:v>
                </c:pt>
                <c:pt idx="1501">
                  <c:v>2</c:v>
                </c:pt>
                <c:pt idx="1502">
                  <c:v>0</c:v>
                </c:pt>
                <c:pt idx="1503">
                  <c:v>0</c:v>
                </c:pt>
                <c:pt idx="1504">
                  <c:v>2</c:v>
                </c:pt>
                <c:pt idx="1505">
                  <c:v>0</c:v>
                </c:pt>
                <c:pt idx="1506">
                  <c:v>1</c:v>
                </c:pt>
                <c:pt idx="1507">
                  <c:v>0</c:v>
                </c:pt>
                <c:pt idx="1508">
                  <c:v>1</c:v>
                </c:pt>
                <c:pt idx="1509">
                  <c:v>0</c:v>
                </c:pt>
                <c:pt idx="1510">
                  <c:v>0</c:v>
                </c:pt>
                <c:pt idx="1511">
                  <c:v>4</c:v>
                </c:pt>
                <c:pt idx="1512">
                  <c:v>0</c:v>
                </c:pt>
                <c:pt idx="1513">
                  <c:v>0</c:v>
                </c:pt>
                <c:pt idx="1514">
                  <c:v>0</c:v>
                </c:pt>
                <c:pt idx="1515">
                  <c:v>0</c:v>
                </c:pt>
                <c:pt idx="1516">
                  <c:v>0</c:v>
                </c:pt>
                <c:pt idx="1517">
                  <c:v>0</c:v>
                </c:pt>
                <c:pt idx="1518">
                  <c:v>0</c:v>
                </c:pt>
                <c:pt idx="1519">
                  <c:v>1</c:v>
                </c:pt>
                <c:pt idx="1520">
                  <c:v>1</c:v>
                </c:pt>
                <c:pt idx="1521">
                  <c:v>0</c:v>
                </c:pt>
                <c:pt idx="1522">
                  <c:v>0</c:v>
                </c:pt>
                <c:pt idx="1523">
                  <c:v>0</c:v>
                </c:pt>
                <c:pt idx="1524">
                  <c:v>0</c:v>
                </c:pt>
                <c:pt idx="1525">
                  <c:v>0</c:v>
                </c:pt>
                <c:pt idx="1526">
                  <c:v>0</c:v>
                </c:pt>
                <c:pt idx="1527">
                  <c:v>0</c:v>
                </c:pt>
                <c:pt idx="1528">
                  <c:v>0</c:v>
                </c:pt>
                <c:pt idx="1529">
                  <c:v>0</c:v>
                </c:pt>
                <c:pt idx="1530">
                  <c:v>0</c:v>
                </c:pt>
                <c:pt idx="1531">
                  <c:v>2</c:v>
                </c:pt>
                <c:pt idx="1532">
                  <c:v>0</c:v>
                </c:pt>
                <c:pt idx="1533">
                  <c:v>1</c:v>
                </c:pt>
                <c:pt idx="1534">
                  <c:v>0</c:v>
                </c:pt>
                <c:pt idx="1535">
                  <c:v>0</c:v>
                </c:pt>
                <c:pt idx="1536">
                  <c:v>0</c:v>
                </c:pt>
                <c:pt idx="1537">
                  <c:v>0</c:v>
                </c:pt>
                <c:pt idx="1538">
                  <c:v>1</c:v>
                </c:pt>
                <c:pt idx="1539">
                  <c:v>2</c:v>
                </c:pt>
                <c:pt idx="1540">
                  <c:v>0</c:v>
                </c:pt>
                <c:pt idx="1541">
                  <c:v>6</c:v>
                </c:pt>
                <c:pt idx="1542">
                  <c:v>0</c:v>
                </c:pt>
                <c:pt idx="1543">
                  <c:v>0</c:v>
                </c:pt>
                <c:pt idx="1544">
                  <c:v>0</c:v>
                </c:pt>
                <c:pt idx="1545">
                  <c:v>0</c:v>
                </c:pt>
                <c:pt idx="1546">
                  <c:v>18</c:v>
                </c:pt>
                <c:pt idx="1547">
                  <c:v>0</c:v>
                </c:pt>
                <c:pt idx="1548">
                  <c:v>4</c:v>
                </c:pt>
                <c:pt idx="1549">
                  <c:v>0</c:v>
                </c:pt>
                <c:pt idx="1550">
                  <c:v>0</c:v>
                </c:pt>
                <c:pt idx="1551">
                  <c:v>1</c:v>
                </c:pt>
                <c:pt idx="1552">
                  <c:v>0</c:v>
                </c:pt>
                <c:pt idx="1553">
                  <c:v>0</c:v>
                </c:pt>
                <c:pt idx="1554">
                  <c:v>0</c:v>
                </c:pt>
                <c:pt idx="1555">
                  <c:v>0</c:v>
                </c:pt>
                <c:pt idx="1556">
                  <c:v>0</c:v>
                </c:pt>
                <c:pt idx="1557">
                  <c:v>3</c:v>
                </c:pt>
                <c:pt idx="1558">
                  <c:v>0</c:v>
                </c:pt>
                <c:pt idx="1559">
                  <c:v>0</c:v>
                </c:pt>
                <c:pt idx="1560">
                  <c:v>3</c:v>
                </c:pt>
                <c:pt idx="1561">
                  <c:v>0</c:v>
                </c:pt>
                <c:pt idx="1562">
                  <c:v>0</c:v>
                </c:pt>
                <c:pt idx="1563">
                  <c:v>0</c:v>
                </c:pt>
                <c:pt idx="1564">
                  <c:v>0</c:v>
                </c:pt>
                <c:pt idx="1565">
                  <c:v>0</c:v>
                </c:pt>
                <c:pt idx="1566">
                  <c:v>0</c:v>
                </c:pt>
                <c:pt idx="1567">
                  <c:v>0</c:v>
                </c:pt>
                <c:pt idx="1568">
                  <c:v>0</c:v>
                </c:pt>
                <c:pt idx="1569">
                  <c:v>0</c:v>
                </c:pt>
                <c:pt idx="1570">
                  <c:v>0</c:v>
                </c:pt>
                <c:pt idx="1571">
                  <c:v>1</c:v>
                </c:pt>
                <c:pt idx="1572">
                  <c:v>0</c:v>
                </c:pt>
                <c:pt idx="1573">
                  <c:v>0</c:v>
                </c:pt>
                <c:pt idx="1574">
                  <c:v>0</c:v>
                </c:pt>
                <c:pt idx="1575">
                  <c:v>0</c:v>
                </c:pt>
                <c:pt idx="1576">
                  <c:v>2</c:v>
                </c:pt>
                <c:pt idx="1577">
                  <c:v>8</c:v>
                </c:pt>
                <c:pt idx="1578">
                  <c:v>4</c:v>
                </c:pt>
                <c:pt idx="1579">
                  <c:v>0</c:v>
                </c:pt>
                <c:pt idx="1580">
                  <c:v>0</c:v>
                </c:pt>
                <c:pt idx="1581">
                  <c:v>2</c:v>
                </c:pt>
                <c:pt idx="1582">
                  <c:v>0</c:v>
                </c:pt>
                <c:pt idx="1583">
                  <c:v>0</c:v>
                </c:pt>
                <c:pt idx="1584">
                  <c:v>0</c:v>
                </c:pt>
                <c:pt idx="1585">
                  <c:v>0</c:v>
                </c:pt>
                <c:pt idx="1586">
                  <c:v>10</c:v>
                </c:pt>
                <c:pt idx="1587">
                  <c:v>2</c:v>
                </c:pt>
                <c:pt idx="1588">
                  <c:v>0</c:v>
                </c:pt>
                <c:pt idx="1589">
                  <c:v>11</c:v>
                </c:pt>
                <c:pt idx="1590">
                  <c:v>4</c:v>
                </c:pt>
                <c:pt idx="1591">
                  <c:v>1</c:v>
                </c:pt>
                <c:pt idx="1592">
                  <c:v>0</c:v>
                </c:pt>
                <c:pt idx="1593">
                  <c:v>0</c:v>
                </c:pt>
                <c:pt idx="1594">
                  <c:v>3</c:v>
                </c:pt>
                <c:pt idx="1595">
                  <c:v>0</c:v>
                </c:pt>
                <c:pt idx="1596">
                  <c:v>0</c:v>
                </c:pt>
                <c:pt idx="1597">
                  <c:v>0</c:v>
                </c:pt>
                <c:pt idx="1598">
                  <c:v>0</c:v>
                </c:pt>
                <c:pt idx="1599">
                  <c:v>1</c:v>
                </c:pt>
                <c:pt idx="1600">
                  <c:v>0</c:v>
                </c:pt>
                <c:pt idx="1601">
                  <c:v>0</c:v>
                </c:pt>
                <c:pt idx="1602">
                  <c:v>10</c:v>
                </c:pt>
                <c:pt idx="1603">
                  <c:v>0</c:v>
                </c:pt>
                <c:pt idx="1604">
                  <c:v>5</c:v>
                </c:pt>
                <c:pt idx="1605">
                  <c:v>0</c:v>
                </c:pt>
                <c:pt idx="1606">
                  <c:v>0</c:v>
                </c:pt>
                <c:pt idx="1607">
                  <c:v>1</c:v>
                </c:pt>
                <c:pt idx="1608">
                  <c:v>20</c:v>
                </c:pt>
                <c:pt idx="1609">
                  <c:v>0</c:v>
                </c:pt>
                <c:pt idx="1610">
                  <c:v>0</c:v>
                </c:pt>
                <c:pt idx="1611">
                  <c:v>0</c:v>
                </c:pt>
                <c:pt idx="1612">
                  <c:v>0</c:v>
                </c:pt>
                <c:pt idx="1613">
                  <c:v>0</c:v>
                </c:pt>
                <c:pt idx="1614">
                  <c:v>2</c:v>
                </c:pt>
                <c:pt idx="1615">
                  <c:v>0</c:v>
                </c:pt>
                <c:pt idx="1616">
                  <c:v>0</c:v>
                </c:pt>
                <c:pt idx="1617">
                  <c:v>0</c:v>
                </c:pt>
                <c:pt idx="1618">
                  <c:v>0</c:v>
                </c:pt>
                <c:pt idx="1619">
                  <c:v>1</c:v>
                </c:pt>
                <c:pt idx="1620">
                  <c:v>0</c:v>
                </c:pt>
                <c:pt idx="1621">
                  <c:v>0</c:v>
                </c:pt>
                <c:pt idx="1622">
                  <c:v>0</c:v>
                </c:pt>
                <c:pt idx="1623">
                  <c:v>0</c:v>
                </c:pt>
                <c:pt idx="1624">
                  <c:v>1</c:v>
                </c:pt>
                <c:pt idx="1625">
                  <c:v>0</c:v>
                </c:pt>
                <c:pt idx="1626">
                  <c:v>0</c:v>
                </c:pt>
                <c:pt idx="1627">
                  <c:v>0</c:v>
                </c:pt>
                <c:pt idx="1628">
                  <c:v>0</c:v>
                </c:pt>
                <c:pt idx="1629">
                  <c:v>5</c:v>
                </c:pt>
                <c:pt idx="1630">
                  <c:v>5</c:v>
                </c:pt>
                <c:pt idx="1631">
                  <c:v>0</c:v>
                </c:pt>
                <c:pt idx="1632">
                  <c:v>0</c:v>
                </c:pt>
                <c:pt idx="1633">
                  <c:v>1</c:v>
                </c:pt>
                <c:pt idx="1634">
                  <c:v>0</c:v>
                </c:pt>
                <c:pt idx="1635">
                  <c:v>1</c:v>
                </c:pt>
                <c:pt idx="1636">
                  <c:v>0</c:v>
                </c:pt>
                <c:pt idx="1637">
                  <c:v>0</c:v>
                </c:pt>
                <c:pt idx="1638">
                  <c:v>1</c:v>
                </c:pt>
                <c:pt idx="1639">
                  <c:v>1</c:v>
                </c:pt>
                <c:pt idx="1640">
                  <c:v>0</c:v>
                </c:pt>
                <c:pt idx="1641">
                  <c:v>0</c:v>
                </c:pt>
                <c:pt idx="1642">
                  <c:v>0</c:v>
                </c:pt>
                <c:pt idx="1643">
                  <c:v>0</c:v>
                </c:pt>
                <c:pt idx="1644">
                  <c:v>0</c:v>
                </c:pt>
                <c:pt idx="1645">
                  <c:v>0</c:v>
                </c:pt>
                <c:pt idx="1646">
                  <c:v>2</c:v>
                </c:pt>
                <c:pt idx="1647">
                  <c:v>2</c:v>
                </c:pt>
                <c:pt idx="1648">
                  <c:v>2</c:v>
                </c:pt>
                <c:pt idx="1649">
                  <c:v>0</c:v>
                </c:pt>
                <c:pt idx="1650">
                  <c:v>0</c:v>
                </c:pt>
                <c:pt idx="1651">
                  <c:v>0</c:v>
                </c:pt>
                <c:pt idx="1652">
                  <c:v>3</c:v>
                </c:pt>
                <c:pt idx="1653">
                  <c:v>0</c:v>
                </c:pt>
                <c:pt idx="1654">
                  <c:v>0</c:v>
                </c:pt>
                <c:pt idx="1655">
                  <c:v>0</c:v>
                </c:pt>
                <c:pt idx="1656">
                  <c:v>0</c:v>
                </c:pt>
                <c:pt idx="1657">
                  <c:v>3</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1</c:v>
                </c:pt>
                <c:pt idx="1675">
                  <c:v>0</c:v>
                </c:pt>
                <c:pt idx="1676">
                  <c:v>1</c:v>
                </c:pt>
                <c:pt idx="1677">
                  <c:v>2</c:v>
                </c:pt>
                <c:pt idx="1678">
                  <c:v>0</c:v>
                </c:pt>
                <c:pt idx="1679">
                  <c:v>0</c:v>
                </c:pt>
                <c:pt idx="1680">
                  <c:v>0</c:v>
                </c:pt>
                <c:pt idx="1681">
                  <c:v>0</c:v>
                </c:pt>
                <c:pt idx="1682">
                  <c:v>0</c:v>
                </c:pt>
                <c:pt idx="1683">
                  <c:v>0</c:v>
                </c:pt>
                <c:pt idx="1684">
                  <c:v>0</c:v>
                </c:pt>
                <c:pt idx="1685">
                  <c:v>4</c:v>
                </c:pt>
                <c:pt idx="1686">
                  <c:v>4</c:v>
                </c:pt>
                <c:pt idx="1687">
                  <c:v>1</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7</c:v>
                </c:pt>
                <c:pt idx="1706">
                  <c:v>0</c:v>
                </c:pt>
                <c:pt idx="1707">
                  <c:v>0</c:v>
                </c:pt>
                <c:pt idx="1708">
                  <c:v>0</c:v>
                </c:pt>
                <c:pt idx="1709">
                  <c:v>0</c:v>
                </c:pt>
                <c:pt idx="1710">
                  <c:v>0</c:v>
                </c:pt>
                <c:pt idx="1711">
                  <c:v>0</c:v>
                </c:pt>
                <c:pt idx="1712">
                  <c:v>1</c:v>
                </c:pt>
                <c:pt idx="1713">
                  <c:v>0</c:v>
                </c:pt>
                <c:pt idx="1714">
                  <c:v>7</c:v>
                </c:pt>
                <c:pt idx="1715">
                  <c:v>0</c:v>
                </c:pt>
                <c:pt idx="1716">
                  <c:v>0</c:v>
                </c:pt>
                <c:pt idx="1717">
                  <c:v>0</c:v>
                </c:pt>
                <c:pt idx="1718">
                  <c:v>0</c:v>
                </c:pt>
                <c:pt idx="1719">
                  <c:v>0</c:v>
                </c:pt>
                <c:pt idx="1720">
                  <c:v>3</c:v>
                </c:pt>
                <c:pt idx="1721">
                  <c:v>0</c:v>
                </c:pt>
                <c:pt idx="1722">
                  <c:v>0</c:v>
                </c:pt>
                <c:pt idx="1723">
                  <c:v>0</c:v>
                </c:pt>
                <c:pt idx="1724">
                  <c:v>2</c:v>
                </c:pt>
                <c:pt idx="1725">
                  <c:v>0</c:v>
                </c:pt>
                <c:pt idx="1726">
                  <c:v>0</c:v>
                </c:pt>
                <c:pt idx="1727">
                  <c:v>1</c:v>
                </c:pt>
                <c:pt idx="1728">
                  <c:v>0</c:v>
                </c:pt>
                <c:pt idx="1729">
                  <c:v>0</c:v>
                </c:pt>
                <c:pt idx="1730">
                  <c:v>0</c:v>
                </c:pt>
                <c:pt idx="1731">
                  <c:v>0</c:v>
                </c:pt>
                <c:pt idx="1732">
                  <c:v>0</c:v>
                </c:pt>
                <c:pt idx="1733">
                  <c:v>0</c:v>
                </c:pt>
                <c:pt idx="1734">
                  <c:v>0</c:v>
                </c:pt>
                <c:pt idx="1735">
                  <c:v>0</c:v>
                </c:pt>
                <c:pt idx="1736">
                  <c:v>1</c:v>
                </c:pt>
                <c:pt idx="1737">
                  <c:v>1</c:v>
                </c:pt>
                <c:pt idx="1738">
                  <c:v>0</c:v>
                </c:pt>
                <c:pt idx="1739">
                  <c:v>0</c:v>
                </c:pt>
                <c:pt idx="1740">
                  <c:v>0</c:v>
                </c:pt>
                <c:pt idx="1741">
                  <c:v>3</c:v>
                </c:pt>
                <c:pt idx="1742">
                  <c:v>0</c:v>
                </c:pt>
                <c:pt idx="1743">
                  <c:v>1</c:v>
                </c:pt>
                <c:pt idx="1744">
                  <c:v>3</c:v>
                </c:pt>
                <c:pt idx="1745">
                  <c:v>1</c:v>
                </c:pt>
                <c:pt idx="1746">
                  <c:v>0</c:v>
                </c:pt>
                <c:pt idx="1747">
                  <c:v>0</c:v>
                </c:pt>
                <c:pt idx="1748">
                  <c:v>1</c:v>
                </c:pt>
                <c:pt idx="1749">
                  <c:v>0</c:v>
                </c:pt>
                <c:pt idx="1750">
                  <c:v>1</c:v>
                </c:pt>
                <c:pt idx="1751">
                  <c:v>1</c:v>
                </c:pt>
                <c:pt idx="1752">
                  <c:v>0</c:v>
                </c:pt>
                <c:pt idx="1753">
                  <c:v>0</c:v>
                </c:pt>
                <c:pt idx="1754">
                  <c:v>0</c:v>
                </c:pt>
                <c:pt idx="1755">
                  <c:v>0</c:v>
                </c:pt>
                <c:pt idx="1756">
                  <c:v>1</c:v>
                </c:pt>
                <c:pt idx="1757">
                  <c:v>0</c:v>
                </c:pt>
                <c:pt idx="1758">
                  <c:v>0</c:v>
                </c:pt>
                <c:pt idx="1759">
                  <c:v>3</c:v>
                </c:pt>
                <c:pt idx="1760">
                  <c:v>0</c:v>
                </c:pt>
                <c:pt idx="1761">
                  <c:v>0</c:v>
                </c:pt>
                <c:pt idx="1762">
                  <c:v>5</c:v>
                </c:pt>
                <c:pt idx="1763">
                  <c:v>0</c:v>
                </c:pt>
                <c:pt idx="1764">
                  <c:v>0</c:v>
                </c:pt>
                <c:pt idx="1765">
                  <c:v>0</c:v>
                </c:pt>
                <c:pt idx="1766">
                  <c:v>0</c:v>
                </c:pt>
                <c:pt idx="1767">
                  <c:v>0</c:v>
                </c:pt>
                <c:pt idx="1768">
                  <c:v>0</c:v>
                </c:pt>
                <c:pt idx="1769">
                  <c:v>0</c:v>
                </c:pt>
                <c:pt idx="1770">
                  <c:v>4</c:v>
                </c:pt>
                <c:pt idx="1771">
                  <c:v>0</c:v>
                </c:pt>
                <c:pt idx="1772">
                  <c:v>0</c:v>
                </c:pt>
                <c:pt idx="1773">
                  <c:v>2</c:v>
                </c:pt>
                <c:pt idx="1774">
                  <c:v>2</c:v>
                </c:pt>
                <c:pt idx="1775">
                  <c:v>4</c:v>
                </c:pt>
                <c:pt idx="1776">
                  <c:v>5</c:v>
                </c:pt>
                <c:pt idx="1777">
                  <c:v>1</c:v>
                </c:pt>
                <c:pt idx="1778">
                  <c:v>0</c:v>
                </c:pt>
                <c:pt idx="1779">
                  <c:v>0</c:v>
                </c:pt>
                <c:pt idx="1780">
                  <c:v>0</c:v>
                </c:pt>
                <c:pt idx="1781">
                  <c:v>1</c:v>
                </c:pt>
                <c:pt idx="1782">
                  <c:v>0</c:v>
                </c:pt>
                <c:pt idx="1783">
                  <c:v>0</c:v>
                </c:pt>
                <c:pt idx="1784">
                  <c:v>1</c:v>
                </c:pt>
                <c:pt idx="1785">
                  <c:v>2</c:v>
                </c:pt>
                <c:pt idx="1786">
                  <c:v>0</c:v>
                </c:pt>
                <c:pt idx="1787">
                  <c:v>4</c:v>
                </c:pt>
                <c:pt idx="1788">
                  <c:v>2</c:v>
                </c:pt>
                <c:pt idx="1789">
                  <c:v>0</c:v>
                </c:pt>
                <c:pt idx="1790">
                  <c:v>1</c:v>
                </c:pt>
                <c:pt idx="1791">
                  <c:v>1</c:v>
                </c:pt>
                <c:pt idx="1792">
                  <c:v>2</c:v>
                </c:pt>
                <c:pt idx="1793">
                  <c:v>2</c:v>
                </c:pt>
                <c:pt idx="1794">
                  <c:v>2</c:v>
                </c:pt>
                <c:pt idx="1795">
                  <c:v>0</c:v>
                </c:pt>
                <c:pt idx="1796">
                  <c:v>0</c:v>
                </c:pt>
                <c:pt idx="1797">
                  <c:v>2</c:v>
                </c:pt>
                <c:pt idx="1798">
                  <c:v>0</c:v>
                </c:pt>
                <c:pt idx="1799">
                  <c:v>0</c:v>
                </c:pt>
                <c:pt idx="1800">
                  <c:v>0</c:v>
                </c:pt>
                <c:pt idx="1801">
                  <c:v>1</c:v>
                </c:pt>
                <c:pt idx="1802">
                  <c:v>0</c:v>
                </c:pt>
                <c:pt idx="1803">
                  <c:v>0</c:v>
                </c:pt>
                <c:pt idx="1804">
                  <c:v>1</c:v>
                </c:pt>
                <c:pt idx="1805">
                  <c:v>25</c:v>
                </c:pt>
                <c:pt idx="1806">
                  <c:v>0</c:v>
                </c:pt>
                <c:pt idx="1807">
                  <c:v>0</c:v>
                </c:pt>
                <c:pt idx="1808">
                  <c:v>0</c:v>
                </c:pt>
                <c:pt idx="1809">
                  <c:v>1</c:v>
                </c:pt>
                <c:pt idx="1810">
                  <c:v>0</c:v>
                </c:pt>
                <c:pt idx="1811">
                  <c:v>0</c:v>
                </c:pt>
                <c:pt idx="1812">
                  <c:v>0</c:v>
                </c:pt>
                <c:pt idx="1813">
                  <c:v>0</c:v>
                </c:pt>
                <c:pt idx="1814">
                  <c:v>0</c:v>
                </c:pt>
                <c:pt idx="1815">
                  <c:v>0</c:v>
                </c:pt>
                <c:pt idx="1816">
                  <c:v>2</c:v>
                </c:pt>
                <c:pt idx="1817">
                  <c:v>0</c:v>
                </c:pt>
                <c:pt idx="1818">
                  <c:v>1</c:v>
                </c:pt>
                <c:pt idx="1819">
                  <c:v>1</c:v>
                </c:pt>
                <c:pt idx="1820">
                  <c:v>0</c:v>
                </c:pt>
                <c:pt idx="1821">
                  <c:v>0</c:v>
                </c:pt>
                <c:pt idx="1822">
                  <c:v>0</c:v>
                </c:pt>
                <c:pt idx="1823">
                  <c:v>2</c:v>
                </c:pt>
                <c:pt idx="1824">
                  <c:v>6</c:v>
                </c:pt>
                <c:pt idx="1825">
                  <c:v>3</c:v>
                </c:pt>
                <c:pt idx="1826">
                  <c:v>0</c:v>
                </c:pt>
                <c:pt idx="1827">
                  <c:v>0</c:v>
                </c:pt>
                <c:pt idx="1828">
                  <c:v>2</c:v>
                </c:pt>
                <c:pt idx="1829">
                  <c:v>0</c:v>
                </c:pt>
                <c:pt idx="1830">
                  <c:v>0</c:v>
                </c:pt>
                <c:pt idx="1831">
                  <c:v>0</c:v>
                </c:pt>
                <c:pt idx="1832">
                  <c:v>0</c:v>
                </c:pt>
                <c:pt idx="1833">
                  <c:v>0</c:v>
                </c:pt>
                <c:pt idx="1834">
                  <c:v>0</c:v>
                </c:pt>
                <c:pt idx="1835">
                  <c:v>2</c:v>
                </c:pt>
                <c:pt idx="1836">
                  <c:v>0</c:v>
                </c:pt>
                <c:pt idx="1837">
                  <c:v>0</c:v>
                </c:pt>
                <c:pt idx="1838">
                  <c:v>3</c:v>
                </c:pt>
                <c:pt idx="1839">
                  <c:v>0</c:v>
                </c:pt>
                <c:pt idx="1840">
                  <c:v>0</c:v>
                </c:pt>
                <c:pt idx="1841">
                  <c:v>1</c:v>
                </c:pt>
                <c:pt idx="1842">
                  <c:v>0</c:v>
                </c:pt>
                <c:pt idx="1843">
                  <c:v>3</c:v>
                </c:pt>
                <c:pt idx="1844">
                  <c:v>2</c:v>
                </c:pt>
                <c:pt idx="1845">
                  <c:v>0</c:v>
                </c:pt>
                <c:pt idx="1846">
                  <c:v>0</c:v>
                </c:pt>
                <c:pt idx="1847">
                  <c:v>0</c:v>
                </c:pt>
                <c:pt idx="1848">
                  <c:v>0</c:v>
                </c:pt>
                <c:pt idx="1849">
                  <c:v>0</c:v>
                </c:pt>
                <c:pt idx="1850">
                  <c:v>2</c:v>
                </c:pt>
                <c:pt idx="1851">
                  <c:v>0</c:v>
                </c:pt>
                <c:pt idx="1852">
                  <c:v>0</c:v>
                </c:pt>
                <c:pt idx="1853">
                  <c:v>3</c:v>
                </c:pt>
                <c:pt idx="1854">
                  <c:v>0</c:v>
                </c:pt>
                <c:pt idx="1855">
                  <c:v>0</c:v>
                </c:pt>
                <c:pt idx="1856">
                  <c:v>0</c:v>
                </c:pt>
                <c:pt idx="1857">
                  <c:v>0</c:v>
                </c:pt>
                <c:pt idx="1858">
                  <c:v>2</c:v>
                </c:pt>
                <c:pt idx="1859">
                  <c:v>0</c:v>
                </c:pt>
                <c:pt idx="1860">
                  <c:v>0</c:v>
                </c:pt>
                <c:pt idx="1861">
                  <c:v>1</c:v>
                </c:pt>
                <c:pt idx="1862">
                  <c:v>0</c:v>
                </c:pt>
                <c:pt idx="1863">
                  <c:v>0</c:v>
                </c:pt>
                <c:pt idx="1864">
                  <c:v>0</c:v>
                </c:pt>
                <c:pt idx="1865">
                  <c:v>2</c:v>
                </c:pt>
                <c:pt idx="1866">
                  <c:v>6</c:v>
                </c:pt>
                <c:pt idx="1867">
                  <c:v>1</c:v>
                </c:pt>
                <c:pt idx="1868">
                  <c:v>1</c:v>
                </c:pt>
                <c:pt idx="1869">
                  <c:v>4</c:v>
                </c:pt>
                <c:pt idx="1870">
                  <c:v>5</c:v>
                </c:pt>
                <c:pt idx="1871">
                  <c:v>0</c:v>
                </c:pt>
                <c:pt idx="1872">
                  <c:v>0</c:v>
                </c:pt>
                <c:pt idx="1873">
                  <c:v>1</c:v>
                </c:pt>
                <c:pt idx="1874">
                  <c:v>0</c:v>
                </c:pt>
                <c:pt idx="1875">
                  <c:v>0</c:v>
                </c:pt>
                <c:pt idx="1876">
                  <c:v>1</c:v>
                </c:pt>
                <c:pt idx="1877">
                  <c:v>1</c:v>
                </c:pt>
                <c:pt idx="1878">
                  <c:v>0</c:v>
                </c:pt>
                <c:pt idx="1879">
                  <c:v>4</c:v>
                </c:pt>
                <c:pt idx="1880">
                  <c:v>4</c:v>
                </c:pt>
                <c:pt idx="1881">
                  <c:v>0</c:v>
                </c:pt>
                <c:pt idx="1882">
                  <c:v>1</c:v>
                </c:pt>
                <c:pt idx="1883">
                  <c:v>0</c:v>
                </c:pt>
                <c:pt idx="1884">
                  <c:v>0</c:v>
                </c:pt>
                <c:pt idx="1885">
                  <c:v>0</c:v>
                </c:pt>
                <c:pt idx="1886">
                  <c:v>1</c:v>
                </c:pt>
                <c:pt idx="1887">
                  <c:v>2</c:v>
                </c:pt>
                <c:pt idx="1888">
                  <c:v>1</c:v>
                </c:pt>
                <c:pt idx="1889">
                  <c:v>1</c:v>
                </c:pt>
                <c:pt idx="1890">
                  <c:v>0</c:v>
                </c:pt>
                <c:pt idx="1891">
                  <c:v>0</c:v>
                </c:pt>
                <c:pt idx="1892">
                  <c:v>2</c:v>
                </c:pt>
                <c:pt idx="1893">
                  <c:v>0</c:v>
                </c:pt>
                <c:pt idx="1894">
                  <c:v>1</c:v>
                </c:pt>
                <c:pt idx="1895">
                  <c:v>3</c:v>
                </c:pt>
                <c:pt idx="1896">
                  <c:v>0</c:v>
                </c:pt>
                <c:pt idx="1897">
                  <c:v>0</c:v>
                </c:pt>
                <c:pt idx="1898">
                  <c:v>0</c:v>
                </c:pt>
                <c:pt idx="1899">
                  <c:v>0</c:v>
                </c:pt>
                <c:pt idx="1900">
                  <c:v>4</c:v>
                </c:pt>
                <c:pt idx="1901">
                  <c:v>1</c:v>
                </c:pt>
                <c:pt idx="1902">
                  <c:v>1</c:v>
                </c:pt>
                <c:pt idx="1903">
                  <c:v>0</c:v>
                </c:pt>
                <c:pt idx="1904">
                  <c:v>0</c:v>
                </c:pt>
                <c:pt idx="1905">
                  <c:v>1</c:v>
                </c:pt>
                <c:pt idx="1906">
                  <c:v>1</c:v>
                </c:pt>
                <c:pt idx="1907">
                  <c:v>4</c:v>
                </c:pt>
                <c:pt idx="1908">
                  <c:v>1</c:v>
                </c:pt>
                <c:pt idx="1909">
                  <c:v>1</c:v>
                </c:pt>
                <c:pt idx="1910">
                  <c:v>1</c:v>
                </c:pt>
                <c:pt idx="1911">
                  <c:v>1</c:v>
                </c:pt>
                <c:pt idx="1912">
                  <c:v>0</c:v>
                </c:pt>
                <c:pt idx="1913">
                  <c:v>0</c:v>
                </c:pt>
                <c:pt idx="1914">
                  <c:v>1</c:v>
                </c:pt>
                <c:pt idx="1915">
                  <c:v>1</c:v>
                </c:pt>
                <c:pt idx="1916">
                  <c:v>1</c:v>
                </c:pt>
                <c:pt idx="1917">
                  <c:v>0</c:v>
                </c:pt>
                <c:pt idx="1918">
                  <c:v>2</c:v>
                </c:pt>
                <c:pt idx="1919">
                  <c:v>0</c:v>
                </c:pt>
                <c:pt idx="1920">
                  <c:v>0</c:v>
                </c:pt>
                <c:pt idx="1921">
                  <c:v>0</c:v>
                </c:pt>
                <c:pt idx="1922">
                  <c:v>0</c:v>
                </c:pt>
                <c:pt idx="1923">
                  <c:v>1</c:v>
                </c:pt>
                <c:pt idx="1924">
                  <c:v>0</c:v>
                </c:pt>
                <c:pt idx="1925">
                  <c:v>5</c:v>
                </c:pt>
                <c:pt idx="1926">
                  <c:v>0</c:v>
                </c:pt>
                <c:pt idx="1927">
                  <c:v>0</c:v>
                </c:pt>
                <c:pt idx="1928">
                  <c:v>0</c:v>
                </c:pt>
                <c:pt idx="1929">
                  <c:v>2</c:v>
                </c:pt>
                <c:pt idx="1930">
                  <c:v>1</c:v>
                </c:pt>
                <c:pt idx="1931">
                  <c:v>0</c:v>
                </c:pt>
                <c:pt idx="1932">
                  <c:v>0</c:v>
                </c:pt>
                <c:pt idx="1933">
                  <c:v>0</c:v>
                </c:pt>
                <c:pt idx="1934">
                  <c:v>0</c:v>
                </c:pt>
                <c:pt idx="1935">
                  <c:v>0</c:v>
                </c:pt>
                <c:pt idx="1936">
                  <c:v>0</c:v>
                </c:pt>
                <c:pt idx="1937">
                  <c:v>6</c:v>
                </c:pt>
                <c:pt idx="1938">
                  <c:v>0</c:v>
                </c:pt>
                <c:pt idx="1939">
                  <c:v>0</c:v>
                </c:pt>
                <c:pt idx="1940">
                  <c:v>1</c:v>
                </c:pt>
                <c:pt idx="1941">
                  <c:v>2</c:v>
                </c:pt>
                <c:pt idx="1942">
                  <c:v>0</c:v>
                </c:pt>
                <c:pt idx="1943">
                  <c:v>8</c:v>
                </c:pt>
                <c:pt idx="1944">
                  <c:v>0</c:v>
                </c:pt>
                <c:pt idx="1945">
                  <c:v>0</c:v>
                </c:pt>
                <c:pt idx="1946">
                  <c:v>2</c:v>
                </c:pt>
                <c:pt idx="1947">
                  <c:v>0</c:v>
                </c:pt>
                <c:pt idx="1948">
                  <c:v>1</c:v>
                </c:pt>
                <c:pt idx="1949">
                  <c:v>1</c:v>
                </c:pt>
                <c:pt idx="1950">
                  <c:v>0</c:v>
                </c:pt>
                <c:pt idx="1951">
                  <c:v>0</c:v>
                </c:pt>
                <c:pt idx="1952">
                  <c:v>0</c:v>
                </c:pt>
                <c:pt idx="1953">
                  <c:v>0</c:v>
                </c:pt>
                <c:pt idx="1954">
                  <c:v>0</c:v>
                </c:pt>
                <c:pt idx="1955">
                  <c:v>0</c:v>
                </c:pt>
                <c:pt idx="1956">
                  <c:v>0</c:v>
                </c:pt>
                <c:pt idx="1957">
                  <c:v>3</c:v>
                </c:pt>
                <c:pt idx="1958">
                  <c:v>0</c:v>
                </c:pt>
                <c:pt idx="1959">
                  <c:v>0</c:v>
                </c:pt>
                <c:pt idx="1960">
                  <c:v>4</c:v>
                </c:pt>
                <c:pt idx="1961">
                  <c:v>0</c:v>
                </c:pt>
                <c:pt idx="1962">
                  <c:v>0</c:v>
                </c:pt>
                <c:pt idx="1963">
                  <c:v>1</c:v>
                </c:pt>
                <c:pt idx="1964">
                  <c:v>0</c:v>
                </c:pt>
                <c:pt idx="1965">
                  <c:v>0</c:v>
                </c:pt>
                <c:pt idx="1966">
                  <c:v>3</c:v>
                </c:pt>
                <c:pt idx="1967">
                  <c:v>0</c:v>
                </c:pt>
                <c:pt idx="1968">
                  <c:v>3</c:v>
                </c:pt>
                <c:pt idx="1969">
                  <c:v>1</c:v>
                </c:pt>
                <c:pt idx="1970">
                  <c:v>0</c:v>
                </c:pt>
                <c:pt idx="1971">
                  <c:v>0</c:v>
                </c:pt>
                <c:pt idx="1972">
                  <c:v>1</c:v>
                </c:pt>
                <c:pt idx="1973">
                  <c:v>2</c:v>
                </c:pt>
                <c:pt idx="1974">
                  <c:v>0</c:v>
                </c:pt>
                <c:pt idx="1975">
                  <c:v>0</c:v>
                </c:pt>
                <c:pt idx="1976">
                  <c:v>0</c:v>
                </c:pt>
                <c:pt idx="1977">
                  <c:v>1</c:v>
                </c:pt>
                <c:pt idx="1978">
                  <c:v>0</c:v>
                </c:pt>
                <c:pt idx="1979">
                  <c:v>0</c:v>
                </c:pt>
                <c:pt idx="1980">
                  <c:v>1</c:v>
                </c:pt>
                <c:pt idx="1981">
                  <c:v>0</c:v>
                </c:pt>
                <c:pt idx="1982">
                  <c:v>0</c:v>
                </c:pt>
                <c:pt idx="1983">
                  <c:v>0</c:v>
                </c:pt>
                <c:pt idx="1984">
                  <c:v>4</c:v>
                </c:pt>
                <c:pt idx="1985">
                  <c:v>0</c:v>
                </c:pt>
                <c:pt idx="1986">
                  <c:v>0</c:v>
                </c:pt>
                <c:pt idx="1987">
                  <c:v>0</c:v>
                </c:pt>
                <c:pt idx="1988">
                  <c:v>0</c:v>
                </c:pt>
                <c:pt idx="1989">
                  <c:v>0</c:v>
                </c:pt>
                <c:pt idx="1990">
                  <c:v>0</c:v>
                </c:pt>
                <c:pt idx="1991">
                  <c:v>1</c:v>
                </c:pt>
                <c:pt idx="1992">
                  <c:v>0</c:v>
                </c:pt>
                <c:pt idx="1993">
                  <c:v>2</c:v>
                </c:pt>
                <c:pt idx="1994">
                  <c:v>2</c:v>
                </c:pt>
                <c:pt idx="1995">
                  <c:v>1</c:v>
                </c:pt>
                <c:pt idx="1996">
                  <c:v>0</c:v>
                </c:pt>
                <c:pt idx="1997">
                  <c:v>0</c:v>
                </c:pt>
                <c:pt idx="1998">
                  <c:v>0</c:v>
                </c:pt>
                <c:pt idx="1999">
                  <c:v>0</c:v>
                </c:pt>
                <c:pt idx="2000">
                  <c:v>0</c:v>
                </c:pt>
                <c:pt idx="2001">
                  <c:v>0</c:v>
                </c:pt>
                <c:pt idx="2002">
                  <c:v>0</c:v>
                </c:pt>
                <c:pt idx="2003">
                  <c:v>0</c:v>
                </c:pt>
                <c:pt idx="2004">
                  <c:v>1</c:v>
                </c:pt>
                <c:pt idx="2005">
                  <c:v>0</c:v>
                </c:pt>
                <c:pt idx="2006">
                  <c:v>1</c:v>
                </c:pt>
                <c:pt idx="2007">
                  <c:v>0</c:v>
                </c:pt>
                <c:pt idx="2008">
                  <c:v>0</c:v>
                </c:pt>
                <c:pt idx="2009">
                  <c:v>0</c:v>
                </c:pt>
                <c:pt idx="2010">
                  <c:v>0</c:v>
                </c:pt>
                <c:pt idx="2011">
                  <c:v>4</c:v>
                </c:pt>
                <c:pt idx="2012">
                  <c:v>1</c:v>
                </c:pt>
                <c:pt idx="2013">
                  <c:v>2</c:v>
                </c:pt>
                <c:pt idx="2014">
                  <c:v>2</c:v>
                </c:pt>
                <c:pt idx="2015">
                  <c:v>0</c:v>
                </c:pt>
                <c:pt idx="2016">
                  <c:v>2</c:v>
                </c:pt>
                <c:pt idx="2017">
                  <c:v>0</c:v>
                </c:pt>
                <c:pt idx="2018">
                  <c:v>0</c:v>
                </c:pt>
                <c:pt idx="2019">
                  <c:v>0</c:v>
                </c:pt>
                <c:pt idx="2020">
                  <c:v>0</c:v>
                </c:pt>
                <c:pt idx="2021">
                  <c:v>0</c:v>
                </c:pt>
                <c:pt idx="2022">
                  <c:v>2</c:v>
                </c:pt>
                <c:pt idx="2023">
                  <c:v>1</c:v>
                </c:pt>
                <c:pt idx="2024">
                  <c:v>2</c:v>
                </c:pt>
                <c:pt idx="2025">
                  <c:v>0</c:v>
                </c:pt>
                <c:pt idx="2026">
                  <c:v>0</c:v>
                </c:pt>
                <c:pt idx="2027">
                  <c:v>3</c:v>
                </c:pt>
                <c:pt idx="2028">
                  <c:v>1</c:v>
                </c:pt>
                <c:pt idx="2029">
                  <c:v>2</c:v>
                </c:pt>
                <c:pt idx="2030">
                  <c:v>0</c:v>
                </c:pt>
                <c:pt idx="2031">
                  <c:v>0</c:v>
                </c:pt>
                <c:pt idx="2032">
                  <c:v>0</c:v>
                </c:pt>
                <c:pt idx="2033">
                  <c:v>3</c:v>
                </c:pt>
                <c:pt idx="2034">
                  <c:v>0</c:v>
                </c:pt>
                <c:pt idx="2035">
                  <c:v>0</c:v>
                </c:pt>
                <c:pt idx="2036">
                  <c:v>0</c:v>
                </c:pt>
                <c:pt idx="2037">
                  <c:v>0</c:v>
                </c:pt>
                <c:pt idx="2038">
                  <c:v>0</c:v>
                </c:pt>
                <c:pt idx="2039">
                  <c:v>2</c:v>
                </c:pt>
                <c:pt idx="2040">
                  <c:v>0</c:v>
                </c:pt>
                <c:pt idx="2041">
                  <c:v>1</c:v>
                </c:pt>
                <c:pt idx="2042">
                  <c:v>0</c:v>
                </c:pt>
                <c:pt idx="2043">
                  <c:v>1</c:v>
                </c:pt>
                <c:pt idx="2044">
                  <c:v>3</c:v>
                </c:pt>
                <c:pt idx="2045">
                  <c:v>1</c:v>
                </c:pt>
                <c:pt idx="2046">
                  <c:v>1</c:v>
                </c:pt>
                <c:pt idx="2047">
                  <c:v>1</c:v>
                </c:pt>
                <c:pt idx="2048">
                  <c:v>0</c:v>
                </c:pt>
                <c:pt idx="2049">
                  <c:v>0</c:v>
                </c:pt>
                <c:pt idx="2050">
                  <c:v>3</c:v>
                </c:pt>
                <c:pt idx="2051">
                  <c:v>1</c:v>
                </c:pt>
                <c:pt idx="2052">
                  <c:v>1</c:v>
                </c:pt>
                <c:pt idx="2053">
                  <c:v>0</c:v>
                </c:pt>
                <c:pt idx="2054">
                  <c:v>0</c:v>
                </c:pt>
                <c:pt idx="2055">
                  <c:v>0</c:v>
                </c:pt>
                <c:pt idx="2056">
                  <c:v>1</c:v>
                </c:pt>
                <c:pt idx="2057">
                  <c:v>0</c:v>
                </c:pt>
                <c:pt idx="2058">
                  <c:v>0</c:v>
                </c:pt>
                <c:pt idx="2059">
                  <c:v>1</c:v>
                </c:pt>
                <c:pt idx="2060">
                  <c:v>1</c:v>
                </c:pt>
                <c:pt idx="2061">
                  <c:v>0</c:v>
                </c:pt>
                <c:pt idx="2062">
                  <c:v>0</c:v>
                </c:pt>
                <c:pt idx="2063">
                  <c:v>1</c:v>
                </c:pt>
                <c:pt idx="2064">
                  <c:v>1</c:v>
                </c:pt>
                <c:pt idx="2065">
                  <c:v>0</c:v>
                </c:pt>
                <c:pt idx="2066">
                  <c:v>0</c:v>
                </c:pt>
                <c:pt idx="2067">
                  <c:v>0</c:v>
                </c:pt>
                <c:pt idx="2068">
                  <c:v>2</c:v>
                </c:pt>
                <c:pt idx="2069">
                  <c:v>1</c:v>
                </c:pt>
                <c:pt idx="2070">
                  <c:v>2</c:v>
                </c:pt>
                <c:pt idx="2071">
                  <c:v>0</c:v>
                </c:pt>
                <c:pt idx="2072">
                  <c:v>6</c:v>
                </c:pt>
                <c:pt idx="2073">
                  <c:v>1</c:v>
                </c:pt>
                <c:pt idx="2074">
                  <c:v>0</c:v>
                </c:pt>
                <c:pt idx="2075">
                  <c:v>0</c:v>
                </c:pt>
                <c:pt idx="2076">
                  <c:v>8</c:v>
                </c:pt>
                <c:pt idx="2077">
                  <c:v>0</c:v>
                </c:pt>
                <c:pt idx="2078">
                  <c:v>0</c:v>
                </c:pt>
                <c:pt idx="2079">
                  <c:v>0</c:v>
                </c:pt>
                <c:pt idx="2080">
                  <c:v>1</c:v>
                </c:pt>
                <c:pt idx="2081">
                  <c:v>3</c:v>
                </c:pt>
                <c:pt idx="2082">
                  <c:v>1</c:v>
                </c:pt>
                <c:pt idx="2083">
                  <c:v>1</c:v>
                </c:pt>
                <c:pt idx="2084">
                  <c:v>8</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3</c:v>
                </c:pt>
                <c:pt idx="2099">
                  <c:v>0</c:v>
                </c:pt>
                <c:pt idx="2100">
                  <c:v>3</c:v>
                </c:pt>
                <c:pt idx="2101">
                  <c:v>0</c:v>
                </c:pt>
                <c:pt idx="2102">
                  <c:v>0</c:v>
                </c:pt>
                <c:pt idx="2103">
                  <c:v>0</c:v>
                </c:pt>
                <c:pt idx="2104">
                  <c:v>0</c:v>
                </c:pt>
                <c:pt idx="2105">
                  <c:v>0</c:v>
                </c:pt>
                <c:pt idx="2106">
                  <c:v>0</c:v>
                </c:pt>
                <c:pt idx="2107">
                  <c:v>0</c:v>
                </c:pt>
                <c:pt idx="2108">
                  <c:v>1</c:v>
                </c:pt>
                <c:pt idx="2109">
                  <c:v>2</c:v>
                </c:pt>
                <c:pt idx="2110">
                  <c:v>4</c:v>
                </c:pt>
                <c:pt idx="2111">
                  <c:v>0</c:v>
                </c:pt>
                <c:pt idx="2112">
                  <c:v>0</c:v>
                </c:pt>
                <c:pt idx="2113">
                  <c:v>2</c:v>
                </c:pt>
                <c:pt idx="2114">
                  <c:v>0</c:v>
                </c:pt>
                <c:pt idx="2115">
                  <c:v>0</c:v>
                </c:pt>
                <c:pt idx="2116">
                  <c:v>0</c:v>
                </c:pt>
                <c:pt idx="2117">
                  <c:v>0</c:v>
                </c:pt>
                <c:pt idx="2118">
                  <c:v>0</c:v>
                </c:pt>
                <c:pt idx="2119">
                  <c:v>5</c:v>
                </c:pt>
                <c:pt idx="2120">
                  <c:v>0</c:v>
                </c:pt>
                <c:pt idx="2121">
                  <c:v>0</c:v>
                </c:pt>
                <c:pt idx="2122">
                  <c:v>0</c:v>
                </c:pt>
                <c:pt idx="2123">
                  <c:v>0</c:v>
                </c:pt>
                <c:pt idx="2124">
                  <c:v>2</c:v>
                </c:pt>
                <c:pt idx="2125">
                  <c:v>0</c:v>
                </c:pt>
                <c:pt idx="2126">
                  <c:v>8</c:v>
                </c:pt>
                <c:pt idx="2127">
                  <c:v>4</c:v>
                </c:pt>
                <c:pt idx="2128">
                  <c:v>1</c:v>
                </c:pt>
                <c:pt idx="2129">
                  <c:v>0</c:v>
                </c:pt>
                <c:pt idx="2130">
                  <c:v>2</c:v>
                </c:pt>
                <c:pt idx="2131">
                  <c:v>0</c:v>
                </c:pt>
                <c:pt idx="2132">
                  <c:v>0</c:v>
                </c:pt>
                <c:pt idx="2133">
                  <c:v>0</c:v>
                </c:pt>
                <c:pt idx="2134">
                  <c:v>1</c:v>
                </c:pt>
                <c:pt idx="2135">
                  <c:v>2</c:v>
                </c:pt>
                <c:pt idx="2136">
                  <c:v>0</c:v>
                </c:pt>
                <c:pt idx="2137">
                  <c:v>1</c:v>
                </c:pt>
                <c:pt idx="2138">
                  <c:v>0</c:v>
                </c:pt>
                <c:pt idx="2139">
                  <c:v>0</c:v>
                </c:pt>
                <c:pt idx="2140">
                  <c:v>0</c:v>
                </c:pt>
                <c:pt idx="2141">
                  <c:v>2</c:v>
                </c:pt>
                <c:pt idx="2142">
                  <c:v>0</c:v>
                </c:pt>
                <c:pt idx="2143">
                  <c:v>0</c:v>
                </c:pt>
                <c:pt idx="2144">
                  <c:v>0</c:v>
                </c:pt>
                <c:pt idx="2145">
                  <c:v>3</c:v>
                </c:pt>
                <c:pt idx="2146">
                  <c:v>0</c:v>
                </c:pt>
                <c:pt idx="2147">
                  <c:v>39</c:v>
                </c:pt>
                <c:pt idx="2148">
                  <c:v>5</c:v>
                </c:pt>
                <c:pt idx="2149">
                  <c:v>0</c:v>
                </c:pt>
                <c:pt idx="2150">
                  <c:v>0</c:v>
                </c:pt>
                <c:pt idx="2151">
                  <c:v>1</c:v>
                </c:pt>
                <c:pt idx="2152">
                  <c:v>0</c:v>
                </c:pt>
                <c:pt idx="2153">
                  <c:v>1</c:v>
                </c:pt>
                <c:pt idx="2154">
                  <c:v>3</c:v>
                </c:pt>
                <c:pt idx="2155">
                  <c:v>0</c:v>
                </c:pt>
                <c:pt idx="2156">
                  <c:v>0</c:v>
                </c:pt>
                <c:pt idx="2157">
                  <c:v>0</c:v>
                </c:pt>
                <c:pt idx="2158">
                  <c:v>0</c:v>
                </c:pt>
                <c:pt idx="2159">
                  <c:v>0</c:v>
                </c:pt>
                <c:pt idx="2160">
                  <c:v>0</c:v>
                </c:pt>
                <c:pt idx="2161">
                  <c:v>0</c:v>
                </c:pt>
                <c:pt idx="2162">
                  <c:v>1</c:v>
                </c:pt>
                <c:pt idx="2163">
                  <c:v>0</c:v>
                </c:pt>
                <c:pt idx="2164">
                  <c:v>0</c:v>
                </c:pt>
                <c:pt idx="2165">
                  <c:v>0</c:v>
                </c:pt>
                <c:pt idx="2166">
                  <c:v>0</c:v>
                </c:pt>
                <c:pt idx="2167">
                  <c:v>0</c:v>
                </c:pt>
                <c:pt idx="2168">
                  <c:v>9</c:v>
                </c:pt>
                <c:pt idx="2169">
                  <c:v>0</c:v>
                </c:pt>
                <c:pt idx="2170">
                  <c:v>1</c:v>
                </c:pt>
                <c:pt idx="2171">
                  <c:v>0</c:v>
                </c:pt>
                <c:pt idx="2172">
                  <c:v>0</c:v>
                </c:pt>
                <c:pt idx="2173">
                  <c:v>0</c:v>
                </c:pt>
                <c:pt idx="2174">
                  <c:v>0</c:v>
                </c:pt>
                <c:pt idx="2175">
                  <c:v>2</c:v>
                </c:pt>
                <c:pt idx="2176">
                  <c:v>0</c:v>
                </c:pt>
                <c:pt idx="2177">
                  <c:v>0</c:v>
                </c:pt>
                <c:pt idx="2178">
                  <c:v>0</c:v>
                </c:pt>
                <c:pt idx="2179">
                  <c:v>0</c:v>
                </c:pt>
                <c:pt idx="2180">
                  <c:v>0</c:v>
                </c:pt>
                <c:pt idx="2181">
                  <c:v>0</c:v>
                </c:pt>
                <c:pt idx="2182">
                  <c:v>0</c:v>
                </c:pt>
                <c:pt idx="2183">
                  <c:v>0</c:v>
                </c:pt>
                <c:pt idx="2184">
                  <c:v>3</c:v>
                </c:pt>
                <c:pt idx="2185">
                  <c:v>0</c:v>
                </c:pt>
                <c:pt idx="2186">
                  <c:v>0</c:v>
                </c:pt>
                <c:pt idx="2187">
                  <c:v>11</c:v>
                </c:pt>
                <c:pt idx="2188">
                  <c:v>0</c:v>
                </c:pt>
                <c:pt idx="2189">
                  <c:v>0</c:v>
                </c:pt>
                <c:pt idx="2190">
                  <c:v>0</c:v>
                </c:pt>
                <c:pt idx="2191">
                  <c:v>0</c:v>
                </c:pt>
                <c:pt idx="2192">
                  <c:v>0</c:v>
                </c:pt>
                <c:pt idx="2193">
                  <c:v>0</c:v>
                </c:pt>
                <c:pt idx="2194">
                  <c:v>4</c:v>
                </c:pt>
                <c:pt idx="2195">
                  <c:v>0</c:v>
                </c:pt>
                <c:pt idx="2196">
                  <c:v>1</c:v>
                </c:pt>
                <c:pt idx="2197">
                  <c:v>5</c:v>
                </c:pt>
                <c:pt idx="2198">
                  <c:v>1</c:v>
                </c:pt>
                <c:pt idx="2199">
                  <c:v>0</c:v>
                </c:pt>
                <c:pt idx="2200">
                  <c:v>2</c:v>
                </c:pt>
                <c:pt idx="2201">
                  <c:v>0</c:v>
                </c:pt>
                <c:pt idx="2202">
                  <c:v>2</c:v>
                </c:pt>
                <c:pt idx="2203">
                  <c:v>0</c:v>
                </c:pt>
                <c:pt idx="2204">
                  <c:v>1</c:v>
                </c:pt>
                <c:pt idx="2205">
                  <c:v>3</c:v>
                </c:pt>
                <c:pt idx="2206">
                  <c:v>3</c:v>
                </c:pt>
                <c:pt idx="2207">
                  <c:v>4</c:v>
                </c:pt>
                <c:pt idx="2208">
                  <c:v>4</c:v>
                </c:pt>
                <c:pt idx="2209">
                  <c:v>0</c:v>
                </c:pt>
                <c:pt idx="2210">
                  <c:v>0</c:v>
                </c:pt>
                <c:pt idx="2211">
                  <c:v>0</c:v>
                </c:pt>
                <c:pt idx="2212">
                  <c:v>0</c:v>
                </c:pt>
                <c:pt idx="2213">
                  <c:v>6</c:v>
                </c:pt>
                <c:pt idx="2214">
                  <c:v>1</c:v>
                </c:pt>
                <c:pt idx="2215">
                  <c:v>1</c:v>
                </c:pt>
                <c:pt idx="2216">
                  <c:v>0</c:v>
                </c:pt>
                <c:pt idx="2217">
                  <c:v>0</c:v>
                </c:pt>
                <c:pt idx="2218">
                  <c:v>0</c:v>
                </c:pt>
                <c:pt idx="2219">
                  <c:v>1</c:v>
                </c:pt>
                <c:pt idx="2220">
                  <c:v>0</c:v>
                </c:pt>
                <c:pt idx="2221">
                  <c:v>4</c:v>
                </c:pt>
                <c:pt idx="2222">
                  <c:v>0</c:v>
                </c:pt>
                <c:pt idx="2223">
                  <c:v>2</c:v>
                </c:pt>
                <c:pt idx="2224">
                  <c:v>0</c:v>
                </c:pt>
                <c:pt idx="2225">
                  <c:v>0</c:v>
                </c:pt>
                <c:pt idx="2226">
                  <c:v>0</c:v>
                </c:pt>
                <c:pt idx="2227">
                  <c:v>4</c:v>
                </c:pt>
                <c:pt idx="2228">
                  <c:v>2</c:v>
                </c:pt>
                <c:pt idx="2229">
                  <c:v>0</c:v>
                </c:pt>
                <c:pt idx="2230">
                  <c:v>2</c:v>
                </c:pt>
                <c:pt idx="2231">
                  <c:v>1</c:v>
                </c:pt>
                <c:pt idx="2232">
                  <c:v>0</c:v>
                </c:pt>
                <c:pt idx="2233">
                  <c:v>1</c:v>
                </c:pt>
                <c:pt idx="2234">
                  <c:v>0</c:v>
                </c:pt>
                <c:pt idx="2235">
                  <c:v>0</c:v>
                </c:pt>
                <c:pt idx="2236">
                  <c:v>1</c:v>
                </c:pt>
                <c:pt idx="2237">
                  <c:v>2</c:v>
                </c:pt>
                <c:pt idx="2238">
                  <c:v>9</c:v>
                </c:pt>
                <c:pt idx="2239">
                  <c:v>1</c:v>
                </c:pt>
                <c:pt idx="2240">
                  <c:v>2</c:v>
                </c:pt>
                <c:pt idx="2241">
                  <c:v>0</c:v>
                </c:pt>
                <c:pt idx="2242">
                  <c:v>0</c:v>
                </c:pt>
                <c:pt idx="2243">
                  <c:v>1</c:v>
                </c:pt>
                <c:pt idx="2244">
                  <c:v>0</c:v>
                </c:pt>
                <c:pt idx="2245">
                  <c:v>0</c:v>
                </c:pt>
                <c:pt idx="2246">
                  <c:v>0</c:v>
                </c:pt>
                <c:pt idx="2247">
                  <c:v>1</c:v>
                </c:pt>
                <c:pt idx="2248">
                  <c:v>0</c:v>
                </c:pt>
                <c:pt idx="2249">
                  <c:v>2</c:v>
                </c:pt>
                <c:pt idx="2250">
                  <c:v>1</c:v>
                </c:pt>
                <c:pt idx="2251">
                  <c:v>0</c:v>
                </c:pt>
                <c:pt idx="2252">
                  <c:v>1</c:v>
                </c:pt>
                <c:pt idx="2253">
                  <c:v>2</c:v>
                </c:pt>
                <c:pt idx="2254">
                  <c:v>1</c:v>
                </c:pt>
                <c:pt idx="2255">
                  <c:v>0</c:v>
                </c:pt>
                <c:pt idx="2256">
                  <c:v>4</c:v>
                </c:pt>
                <c:pt idx="2257">
                  <c:v>0</c:v>
                </c:pt>
                <c:pt idx="2258">
                  <c:v>0</c:v>
                </c:pt>
                <c:pt idx="2259">
                  <c:v>0</c:v>
                </c:pt>
                <c:pt idx="2260">
                  <c:v>0</c:v>
                </c:pt>
                <c:pt idx="2261">
                  <c:v>3</c:v>
                </c:pt>
                <c:pt idx="2262">
                  <c:v>0</c:v>
                </c:pt>
                <c:pt idx="2263">
                  <c:v>0</c:v>
                </c:pt>
                <c:pt idx="2264">
                  <c:v>0</c:v>
                </c:pt>
                <c:pt idx="2265">
                  <c:v>1</c:v>
                </c:pt>
                <c:pt idx="2266">
                  <c:v>8</c:v>
                </c:pt>
                <c:pt idx="2267">
                  <c:v>1</c:v>
                </c:pt>
                <c:pt idx="2268">
                  <c:v>1</c:v>
                </c:pt>
                <c:pt idx="2269">
                  <c:v>0</c:v>
                </c:pt>
                <c:pt idx="2270">
                  <c:v>8</c:v>
                </c:pt>
                <c:pt idx="2271">
                  <c:v>0</c:v>
                </c:pt>
                <c:pt idx="2272">
                  <c:v>0</c:v>
                </c:pt>
                <c:pt idx="2273">
                  <c:v>1</c:v>
                </c:pt>
                <c:pt idx="2274">
                  <c:v>4</c:v>
                </c:pt>
                <c:pt idx="2275">
                  <c:v>5</c:v>
                </c:pt>
                <c:pt idx="2276">
                  <c:v>0</c:v>
                </c:pt>
                <c:pt idx="2277">
                  <c:v>0</c:v>
                </c:pt>
                <c:pt idx="2278">
                  <c:v>4</c:v>
                </c:pt>
                <c:pt idx="2279">
                  <c:v>0</c:v>
                </c:pt>
                <c:pt idx="2280">
                  <c:v>1</c:v>
                </c:pt>
                <c:pt idx="2281">
                  <c:v>0</c:v>
                </c:pt>
                <c:pt idx="2282">
                  <c:v>0</c:v>
                </c:pt>
                <c:pt idx="2283">
                  <c:v>0</c:v>
                </c:pt>
                <c:pt idx="2284">
                  <c:v>0</c:v>
                </c:pt>
                <c:pt idx="2285">
                  <c:v>1</c:v>
                </c:pt>
                <c:pt idx="2286">
                  <c:v>0</c:v>
                </c:pt>
                <c:pt idx="2287">
                  <c:v>0</c:v>
                </c:pt>
                <c:pt idx="2288">
                  <c:v>2</c:v>
                </c:pt>
                <c:pt idx="2289">
                  <c:v>0</c:v>
                </c:pt>
                <c:pt idx="2290">
                  <c:v>0</c:v>
                </c:pt>
                <c:pt idx="2291">
                  <c:v>0</c:v>
                </c:pt>
                <c:pt idx="2292">
                  <c:v>7</c:v>
                </c:pt>
                <c:pt idx="2293">
                  <c:v>0</c:v>
                </c:pt>
                <c:pt idx="2294">
                  <c:v>1</c:v>
                </c:pt>
                <c:pt idx="2295">
                  <c:v>0</c:v>
                </c:pt>
                <c:pt idx="2296">
                  <c:v>0</c:v>
                </c:pt>
                <c:pt idx="2297">
                  <c:v>0</c:v>
                </c:pt>
                <c:pt idx="2298">
                  <c:v>0</c:v>
                </c:pt>
                <c:pt idx="2299">
                  <c:v>5</c:v>
                </c:pt>
                <c:pt idx="2300">
                  <c:v>1</c:v>
                </c:pt>
                <c:pt idx="2301">
                  <c:v>0</c:v>
                </c:pt>
                <c:pt idx="2302">
                  <c:v>0</c:v>
                </c:pt>
                <c:pt idx="2303">
                  <c:v>0</c:v>
                </c:pt>
                <c:pt idx="2304">
                  <c:v>4</c:v>
                </c:pt>
                <c:pt idx="2305">
                  <c:v>1</c:v>
                </c:pt>
                <c:pt idx="2306">
                  <c:v>0</c:v>
                </c:pt>
                <c:pt idx="2307">
                  <c:v>1</c:v>
                </c:pt>
                <c:pt idx="2308">
                  <c:v>2</c:v>
                </c:pt>
                <c:pt idx="2309">
                  <c:v>2</c:v>
                </c:pt>
                <c:pt idx="2310">
                  <c:v>19</c:v>
                </c:pt>
                <c:pt idx="2311">
                  <c:v>0</c:v>
                </c:pt>
                <c:pt idx="2312">
                  <c:v>6</c:v>
                </c:pt>
                <c:pt idx="2313">
                  <c:v>0</c:v>
                </c:pt>
                <c:pt idx="2314">
                  <c:v>0</c:v>
                </c:pt>
                <c:pt idx="2315">
                  <c:v>1</c:v>
                </c:pt>
                <c:pt idx="2316">
                  <c:v>5</c:v>
                </c:pt>
                <c:pt idx="2317">
                  <c:v>2</c:v>
                </c:pt>
                <c:pt idx="2318">
                  <c:v>1</c:v>
                </c:pt>
                <c:pt idx="2319">
                  <c:v>0</c:v>
                </c:pt>
                <c:pt idx="2320">
                  <c:v>0</c:v>
                </c:pt>
                <c:pt idx="2321">
                  <c:v>0</c:v>
                </c:pt>
                <c:pt idx="2322">
                  <c:v>0</c:v>
                </c:pt>
                <c:pt idx="2323">
                  <c:v>3</c:v>
                </c:pt>
                <c:pt idx="2324">
                  <c:v>0</c:v>
                </c:pt>
                <c:pt idx="2325">
                  <c:v>2</c:v>
                </c:pt>
                <c:pt idx="2326">
                  <c:v>3</c:v>
                </c:pt>
                <c:pt idx="2327">
                  <c:v>0</c:v>
                </c:pt>
                <c:pt idx="2328">
                  <c:v>0</c:v>
                </c:pt>
                <c:pt idx="2329">
                  <c:v>0</c:v>
                </c:pt>
                <c:pt idx="2330">
                  <c:v>1</c:v>
                </c:pt>
                <c:pt idx="2331">
                  <c:v>1</c:v>
                </c:pt>
                <c:pt idx="2332">
                  <c:v>0</c:v>
                </c:pt>
                <c:pt idx="2333">
                  <c:v>2</c:v>
                </c:pt>
                <c:pt idx="2334">
                  <c:v>5</c:v>
                </c:pt>
                <c:pt idx="2335">
                  <c:v>1</c:v>
                </c:pt>
                <c:pt idx="2336">
                  <c:v>0</c:v>
                </c:pt>
                <c:pt idx="2337">
                  <c:v>0</c:v>
                </c:pt>
                <c:pt idx="2338">
                  <c:v>1</c:v>
                </c:pt>
                <c:pt idx="2339">
                  <c:v>2</c:v>
                </c:pt>
                <c:pt idx="2340">
                  <c:v>1</c:v>
                </c:pt>
                <c:pt idx="2341">
                  <c:v>0</c:v>
                </c:pt>
                <c:pt idx="2342">
                  <c:v>0</c:v>
                </c:pt>
                <c:pt idx="2343">
                  <c:v>0</c:v>
                </c:pt>
                <c:pt idx="2344">
                  <c:v>0</c:v>
                </c:pt>
                <c:pt idx="2345">
                  <c:v>0</c:v>
                </c:pt>
                <c:pt idx="2346">
                  <c:v>0</c:v>
                </c:pt>
                <c:pt idx="2347">
                  <c:v>0</c:v>
                </c:pt>
                <c:pt idx="2348">
                  <c:v>2</c:v>
                </c:pt>
                <c:pt idx="2349">
                  <c:v>0</c:v>
                </c:pt>
                <c:pt idx="2350">
                  <c:v>0</c:v>
                </c:pt>
                <c:pt idx="2351">
                  <c:v>3</c:v>
                </c:pt>
                <c:pt idx="2352">
                  <c:v>1</c:v>
                </c:pt>
                <c:pt idx="2353">
                  <c:v>5</c:v>
                </c:pt>
                <c:pt idx="2354">
                  <c:v>0</c:v>
                </c:pt>
                <c:pt idx="2355">
                  <c:v>1</c:v>
                </c:pt>
                <c:pt idx="2356">
                  <c:v>0</c:v>
                </c:pt>
                <c:pt idx="2357">
                  <c:v>2</c:v>
                </c:pt>
                <c:pt idx="2358">
                  <c:v>2</c:v>
                </c:pt>
                <c:pt idx="2359">
                  <c:v>2</c:v>
                </c:pt>
                <c:pt idx="2360">
                  <c:v>0</c:v>
                </c:pt>
                <c:pt idx="2361">
                  <c:v>1</c:v>
                </c:pt>
                <c:pt idx="2362">
                  <c:v>0</c:v>
                </c:pt>
                <c:pt idx="2363">
                  <c:v>0</c:v>
                </c:pt>
                <c:pt idx="2364">
                  <c:v>3</c:v>
                </c:pt>
                <c:pt idx="2365">
                  <c:v>0</c:v>
                </c:pt>
                <c:pt idx="2366">
                  <c:v>0</c:v>
                </c:pt>
                <c:pt idx="2367">
                  <c:v>0</c:v>
                </c:pt>
                <c:pt idx="2368">
                  <c:v>3</c:v>
                </c:pt>
                <c:pt idx="2369">
                  <c:v>0</c:v>
                </c:pt>
                <c:pt idx="2370">
                  <c:v>3</c:v>
                </c:pt>
                <c:pt idx="2371">
                  <c:v>2</c:v>
                </c:pt>
                <c:pt idx="2372">
                  <c:v>1</c:v>
                </c:pt>
                <c:pt idx="2373">
                  <c:v>0</c:v>
                </c:pt>
                <c:pt idx="2374">
                  <c:v>0</c:v>
                </c:pt>
                <c:pt idx="2375">
                  <c:v>0</c:v>
                </c:pt>
                <c:pt idx="2376">
                  <c:v>0</c:v>
                </c:pt>
                <c:pt idx="2377">
                  <c:v>0</c:v>
                </c:pt>
                <c:pt idx="2378">
                  <c:v>3</c:v>
                </c:pt>
                <c:pt idx="2379">
                  <c:v>1</c:v>
                </c:pt>
                <c:pt idx="2380">
                  <c:v>2</c:v>
                </c:pt>
                <c:pt idx="2381">
                  <c:v>0</c:v>
                </c:pt>
                <c:pt idx="2382">
                  <c:v>0</c:v>
                </c:pt>
                <c:pt idx="2383">
                  <c:v>0</c:v>
                </c:pt>
                <c:pt idx="2384">
                  <c:v>5</c:v>
                </c:pt>
                <c:pt idx="2385">
                  <c:v>0</c:v>
                </c:pt>
                <c:pt idx="2386">
                  <c:v>1</c:v>
                </c:pt>
                <c:pt idx="2387">
                  <c:v>1</c:v>
                </c:pt>
                <c:pt idx="2388">
                  <c:v>0</c:v>
                </c:pt>
                <c:pt idx="2389">
                  <c:v>0</c:v>
                </c:pt>
                <c:pt idx="2390">
                  <c:v>2</c:v>
                </c:pt>
                <c:pt idx="2391">
                  <c:v>2</c:v>
                </c:pt>
                <c:pt idx="2392">
                  <c:v>0</c:v>
                </c:pt>
                <c:pt idx="2393">
                  <c:v>0</c:v>
                </c:pt>
                <c:pt idx="2394">
                  <c:v>0</c:v>
                </c:pt>
                <c:pt idx="2395">
                  <c:v>0</c:v>
                </c:pt>
                <c:pt idx="2396">
                  <c:v>0</c:v>
                </c:pt>
                <c:pt idx="2397">
                  <c:v>0</c:v>
                </c:pt>
                <c:pt idx="2398">
                  <c:v>3</c:v>
                </c:pt>
                <c:pt idx="2399">
                  <c:v>3</c:v>
                </c:pt>
                <c:pt idx="2400">
                  <c:v>1</c:v>
                </c:pt>
                <c:pt idx="2401">
                  <c:v>0</c:v>
                </c:pt>
                <c:pt idx="2402">
                  <c:v>1</c:v>
                </c:pt>
                <c:pt idx="2403">
                  <c:v>0</c:v>
                </c:pt>
                <c:pt idx="2404">
                  <c:v>1</c:v>
                </c:pt>
                <c:pt idx="2405">
                  <c:v>2</c:v>
                </c:pt>
                <c:pt idx="2406">
                  <c:v>0</c:v>
                </c:pt>
                <c:pt idx="2407">
                  <c:v>0</c:v>
                </c:pt>
                <c:pt idx="2408">
                  <c:v>0</c:v>
                </c:pt>
                <c:pt idx="2409">
                  <c:v>0</c:v>
                </c:pt>
                <c:pt idx="2410">
                  <c:v>0</c:v>
                </c:pt>
                <c:pt idx="2411">
                  <c:v>0</c:v>
                </c:pt>
                <c:pt idx="2412">
                  <c:v>2</c:v>
                </c:pt>
                <c:pt idx="2413">
                  <c:v>0</c:v>
                </c:pt>
                <c:pt idx="2414">
                  <c:v>3</c:v>
                </c:pt>
                <c:pt idx="2415">
                  <c:v>3</c:v>
                </c:pt>
                <c:pt idx="2416">
                  <c:v>0</c:v>
                </c:pt>
                <c:pt idx="2417">
                  <c:v>0</c:v>
                </c:pt>
                <c:pt idx="2418">
                  <c:v>0</c:v>
                </c:pt>
                <c:pt idx="2419">
                  <c:v>0</c:v>
                </c:pt>
                <c:pt idx="2420">
                  <c:v>0</c:v>
                </c:pt>
                <c:pt idx="2421">
                  <c:v>0</c:v>
                </c:pt>
                <c:pt idx="2422">
                  <c:v>0</c:v>
                </c:pt>
                <c:pt idx="2423">
                  <c:v>1</c:v>
                </c:pt>
                <c:pt idx="2424">
                  <c:v>0</c:v>
                </c:pt>
                <c:pt idx="2425">
                  <c:v>0</c:v>
                </c:pt>
                <c:pt idx="2426">
                  <c:v>9</c:v>
                </c:pt>
                <c:pt idx="2427">
                  <c:v>2</c:v>
                </c:pt>
                <c:pt idx="2428">
                  <c:v>1</c:v>
                </c:pt>
                <c:pt idx="2429">
                  <c:v>6</c:v>
                </c:pt>
                <c:pt idx="2430">
                  <c:v>0</c:v>
                </c:pt>
                <c:pt idx="2431">
                  <c:v>0</c:v>
                </c:pt>
                <c:pt idx="2432">
                  <c:v>0</c:v>
                </c:pt>
                <c:pt idx="2433">
                  <c:v>1</c:v>
                </c:pt>
                <c:pt idx="2434">
                  <c:v>52</c:v>
                </c:pt>
                <c:pt idx="2435">
                  <c:v>1</c:v>
                </c:pt>
                <c:pt idx="2436">
                  <c:v>0</c:v>
                </c:pt>
                <c:pt idx="2437">
                  <c:v>4</c:v>
                </c:pt>
                <c:pt idx="2438">
                  <c:v>3</c:v>
                </c:pt>
                <c:pt idx="2439">
                  <c:v>0</c:v>
                </c:pt>
                <c:pt idx="2440">
                  <c:v>3</c:v>
                </c:pt>
                <c:pt idx="2441">
                  <c:v>0</c:v>
                </c:pt>
                <c:pt idx="2442">
                  <c:v>2</c:v>
                </c:pt>
                <c:pt idx="2443">
                  <c:v>0</c:v>
                </c:pt>
                <c:pt idx="2444">
                  <c:v>2</c:v>
                </c:pt>
                <c:pt idx="2445">
                  <c:v>0</c:v>
                </c:pt>
                <c:pt idx="2446">
                  <c:v>1</c:v>
                </c:pt>
                <c:pt idx="2447">
                  <c:v>2</c:v>
                </c:pt>
                <c:pt idx="2448">
                  <c:v>0</c:v>
                </c:pt>
                <c:pt idx="2449">
                  <c:v>1</c:v>
                </c:pt>
                <c:pt idx="2450">
                  <c:v>1</c:v>
                </c:pt>
                <c:pt idx="2451">
                  <c:v>0</c:v>
                </c:pt>
                <c:pt idx="2452">
                  <c:v>0</c:v>
                </c:pt>
                <c:pt idx="2453">
                  <c:v>0</c:v>
                </c:pt>
                <c:pt idx="2454">
                  <c:v>1</c:v>
                </c:pt>
                <c:pt idx="2455">
                  <c:v>0</c:v>
                </c:pt>
                <c:pt idx="2456">
                  <c:v>0</c:v>
                </c:pt>
                <c:pt idx="2457">
                  <c:v>3</c:v>
                </c:pt>
                <c:pt idx="2458">
                  <c:v>6</c:v>
                </c:pt>
                <c:pt idx="2459">
                  <c:v>0</c:v>
                </c:pt>
                <c:pt idx="2460">
                  <c:v>0</c:v>
                </c:pt>
                <c:pt idx="2461">
                  <c:v>3</c:v>
                </c:pt>
                <c:pt idx="2462">
                  <c:v>2</c:v>
                </c:pt>
                <c:pt idx="2463">
                  <c:v>2</c:v>
                </c:pt>
                <c:pt idx="2464">
                  <c:v>0</c:v>
                </c:pt>
                <c:pt idx="2465">
                  <c:v>1</c:v>
                </c:pt>
                <c:pt idx="2466">
                  <c:v>0</c:v>
                </c:pt>
                <c:pt idx="2467">
                  <c:v>0</c:v>
                </c:pt>
                <c:pt idx="2468">
                  <c:v>0</c:v>
                </c:pt>
                <c:pt idx="2469">
                  <c:v>2</c:v>
                </c:pt>
                <c:pt idx="2470">
                  <c:v>0</c:v>
                </c:pt>
                <c:pt idx="2471">
                  <c:v>0</c:v>
                </c:pt>
                <c:pt idx="2472">
                  <c:v>2</c:v>
                </c:pt>
                <c:pt idx="2473">
                  <c:v>0</c:v>
                </c:pt>
                <c:pt idx="2474">
                  <c:v>1</c:v>
                </c:pt>
                <c:pt idx="2475">
                  <c:v>0</c:v>
                </c:pt>
                <c:pt idx="2476">
                  <c:v>4</c:v>
                </c:pt>
                <c:pt idx="2477">
                  <c:v>0</c:v>
                </c:pt>
                <c:pt idx="2478">
                  <c:v>1</c:v>
                </c:pt>
                <c:pt idx="2479">
                  <c:v>0</c:v>
                </c:pt>
                <c:pt idx="2480">
                  <c:v>1</c:v>
                </c:pt>
                <c:pt idx="2481">
                  <c:v>1</c:v>
                </c:pt>
                <c:pt idx="2482">
                  <c:v>0</c:v>
                </c:pt>
                <c:pt idx="2483">
                  <c:v>0</c:v>
                </c:pt>
                <c:pt idx="2484">
                  <c:v>0</c:v>
                </c:pt>
                <c:pt idx="2485">
                  <c:v>4</c:v>
                </c:pt>
                <c:pt idx="2486">
                  <c:v>0</c:v>
                </c:pt>
                <c:pt idx="2487">
                  <c:v>0</c:v>
                </c:pt>
                <c:pt idx="2488">
                  <c:v>0</c:v>
                </c:pt>
                <c:pt idx="2489">
                  <c:v>2</c:v>
                </c:pt>
                <c:pt idx="2490">
                  <c:v>0</c:v>
                </c:pt>
                <c:pt idx="2491">
                  <c:v>1</c:v>
                </c:pt>
                <c:pt idx="2492">
                  <c:v>0</c:v>
                </c:pt>
                <c:pt idx="2493">
                  <c:v>3</c:v>
                </c:pt>
                <c:pt idx="2494">
                  <c:v>0</c:v>
                </c:pt>
                <c:pt idx="2495">
                  <c:v>0</c:v>
                </c:pt>
                <c:pt idx="2496">
                  <c:v>0</c:v>
                </c:pt>
                <c:pt idx="2497">
                  <c:v>0</c:v>
                </c:pt>
                <c:pt idx="2498">
                  <c:v>0</c:v>
                </c:pt>
                <c:pt idx="2499">
                  <c:v>2</c:v>
                </c:pt>
                <c:pt idx="2500">
                  <c:v>9</c:v>
                </c:pt>
                <c:pt idx="2501">
                  <c:v>2</c:v>
                </c:pt>
                <c:pt idx="2502">
                  <c:v>1</c:v>
                </c:pt>
                <c:pt idx="2503">
                  <c:v>0</c:v>
                </c:pt>
                <c:pt idx="2504">
                  <c:v>0</c:v>
                </c:pt>
                <c:pt idx="2505">
                  <c:v>0</c:v>
                </c:pt>
                <c:pt idx="2506">
                  <c:v>2</c:v>
                </c:pt>
                <c:pt idx="2507">
                  <c:v>0</c:v>
                </c:pt>
                <c:pt idx="2508">
                  <c:v>2</c:v>
                </c:pt>
                <c:pt idx="2509">
                  <c:v>1</c:v>
                </c:pt>
                <c:pt idx="2510">
                  <c:v>0</c:v>
                </c:pt>
                <c:pt idx="2511">
                  <c:v>0</c:v>
                </c:pt>
                <c:pt idx="2512">
                  <c:v>6</c:v>
                </c:pt>
                <c:pt idx="2513">
                  <c:v>0</c:v>
                </c:pt>
                <c:pt idx="2514">
                  <c:v>4</c:v>
                </c:pt>
                <c:pt idx="2515">
                  <c:v>2</c:v>
                </c:pt>
                <c:pt idx="2516">
                  <c:v>0</c:v>
                </c:pt>
                <c:pt idx="2517">
                  <c:v>0</c:v>
                </c:pt>
                <c:pt idx="2518">
                  <c:v>0</c:v>
                </c:pt>
                <c:pt idx="2519">
                  <c:v>2</c:v>
                </c:pt>
                <c:pt idx="2520">
                  <c:v>4</c:v>
                </c:pt>
                <c:pt idx="2521">
                  <c:v>0</c:v>
                </c:pt>
                <c:pt idx="2522">
                  <c:v>1</c:v>
                </c:pt>
                <c:pt idx="2523">
                  <c:v>5</c:v>
                </c:pt>
                <c:pt idx="2524">
                  <c:v>1</c:v>
                </c:pt>
                <c:pt idx="2525">
                  <c:v>0</c:v>
                </c:pt>
                <c:pt idx="2526">
                  <c:v>4</c:v>
                </c:pt>
                <c:pt idx="2527">
                  <c:v>1</c:v>
                </c:pt>
                <c:pt idx="2528">
                  <c:v>0</c:v>
                </c:pt>
                <c:pt idx="2529">
                  <c:v>3</c:v>
                </c:pt>
                <c:pt idx="2530">
                  <c:v>0</c:v>
                </c:pt>
                <c:pt idx="2531">
                  <c:v>2</c:v>
                </c:pt>
                <c:pt idx="2532">
                  <c:v>3</c:v>
                </c:pt>
                <c:pt idx="2533">
                  <c:v>0</c:v>
                </c:pt>
                <c:pt idx="2534">
                  <c:v>0</c:v>
                </c:pt>
                <c:pt idx="2535">
                  <c:v>1</c:v>
                </c:pt>
                <c:pt idx="2536">
                  <c:v>1</c:v>
                </c:pt>
                <c:pt idx="2537">
                  <c:v>4</c:v>
                </c:pt>
                <c:pt idx="2538">
                  <c:v>0</c:v>
                </c:pt>
                <c:pt idx="2539">
                  <c:v>1</c:v>
                </c:pt>
                <c:pt idx="2540">
                  <c:v>1</c:v>
                </c:pt>
                <c:pt idx="2541">
                  <c:v>0</c:v>
                </c:pt>
                <c:pt idx="2542">
                  <c:v>0</c:v>
                </c:pt>
                <c:pt idx="2543">
                  <c:v>0</c:v>
                </c:pt>
                <c:pt idx="2544">
                  <c:v>0</c:v>
                </c:pt>
                <c:pt idx="2545">
                  <c:v>0</c:v>
                </c:pt>
                <c:pt idx="2546">
                  <c:v>1</c:v>
                </c:pt>
                <c:pt idx="2547">
                  <c:v>1</c:v>
                </c:pt>
                <c:pt idx="2548">
                  <c:v>0</c:v>
                </c:pt>
                <c:pt idx="2549">
                  <c:v>1</c:v>
                </c:pt>
                <c:pt idx="2550">
                  <c:v>4</c:v>
                </c:pt>
                <c:pt idx="2551">
                  <c:v>1</c:v>
                </c:pt>
                <c:pt idx="2552">
                  <c:v>1</c:v>
                </c:pt>
                <c:pt idx="2553">
                  <c:v>1</c:v>
                </c:pt>
                <c:pt idx="2554">
                  <c:v>0</c:v>
                </c:pt>
                <c:pt idx="2555">
                  <c:v>5</c:v>
                </c:pt>
                <c:pt idx="2556">
                  <c:v>0</c:v>
                </c:pt>
                <c:pt idx="2557">
                  <c:v>0</c:v>
                </c:pt>
                <c:pt idx="2558">
                  <c:v>0</c:v>
                </c:pt>
                <c:pt idx="2559">
                  <c:v>0</c:v>
                </c:pt>
                <c:pt idx="2560">
                  <c:v>1</c:v>
                </c:pt>
                <c:pt idx="2561">
                  <c:v>1</c:v>
                </c:pt>
                <c:pt idx="2562">
                  <c:v>0</c:v>
                </c:pt>
                <c:pt idx="2563">
                  <c:v>0</c:v>
                </c:pt>
                <c:pt idx="2564">
                  <c:v>2</c:v>
                </c:pt>
                <c:pt idx="2565">
                  <c:v>2</c:v>
                </c:pt>
                <c:pt idx="2566">
                  <c:v>0</c:v>
                </c:pt>
                <c:pt idx="2567">
                  <c:v>3</c:v>
                </c:pt>
                <c:pt idx="2568">
                  <c:v>0</c:v>
                </c:pt>
                <c:pt idx="2569">
                  <c:v>1</c:v>
                </c:pt>
                <c:pt idx="2570">
                  <c:v>2</c:v>
                </c:pt>
                <c:pt idx="2571">
                  <c:v>0</c:v>
                </c:pt>
                <c:pt idx="2572">
                  <c:v>0</c:v>
                </c:pt>
                <c:pt idx="2573">
                  <c:v>1</c:v>
                </c:pt>
                <c:pt idx="2574">
                  <c:v>0</c:v>
                </c:pt>
                <c:pt idx="2575">
                  <c:v>0</c:v>
                </c:pt>
                <c:pt idx="2576">
                  <c:v>1</c:v>
                </c:pt>
                <c:pt idx="2577">
                  <c:v>0</c:v>
                </c:pt>
                <c:pt idx="2578">
                  <c:v>0</c:v>
                </c:pt>
                <c:pt idx="2579">
                  <c:v>1</c:v>
                </c:pt>
                <c:pt idx="2580">
                  <c:v>1</c:v>
                </c:pt>
                <c:pt idx="2581">
                  <c:v>1</c:v>
                </c:pt>
                <c:pt idx="2582">
                  <c:v>1</c:v>
                </c:pt>
                <c:pt idx="2583">
                  <c:v>6</c:v>
                </c:pt>
                <c:pt idx="2584">
                  <c:v>0</c:v>
                </c:pt>
                <c:pt idx="2585">
                  <c:v>4</c:v>
                </c:pt>
                <c:pt idx="2586">
                  <c:v>0</c:v>
                </c:pt>
                <c:pt idx="2587">
                  <c:v>0</c:v>
                </c:pt>
                <c:pt idx="2588">
                  <c:v>0</c:v>
                </c:pt>
                <c:pt idx="2589">
                  <c:v>10</c:v>
                </c:pt>
                <c:pt idx="2590">
                  <c:v>0</c:v>
                </c:pt>
                <c:pt idx="2591">
                  <c:v>0</c:v>
                </c:pt>
                <c:pt idx="2592">
                  <c:v>1</c:v>
                </c:pt>
                <c:pt idx="2593">
                  <c:v>1</c:v>
                </c:pt>
                <c:pt idx="2594">
                  <c:v>0</c:v>
                </c:pt>
                <c:pt idx="2595">
                  <c:v>2</c:v>
                </c:pt>
                <c:pt idx="2596">
                  <c:v>0</c:v>
                </c:pt>
                <c:pt idx="2597">
                  <c:v>0</c:v>
                </c:pt>
                <c:pt idx="2598">
                  <c:v>2</c:v>
                </c:pt>
                <c:pt idx="2599">
                  <c:v>0</c:v>
                </c:pt>
                <c:pt idx="2600">
                  <c:v>0</c:v>
                </c:pt>
                <c:pt idx="2601">
                  <c:v>0</c:v>
                </c:pt>
                <c:pt idx="2602">
                  <c:v>6</c:v>
                </c:pt>
                <c:pt idx="2603">
                  <c:v>0</c:v>
                </c:pt>
                <c:pt idx="2604">
                  <c:v>1</c:v>
                </c:pt>
                <c:pt idx="2605">
                  <c:v>1</c:v>
                </c:pt>
                <c:pt idx="2606">
                  <c:v>0</c:v>
                </c:pt>
                <c:pt idx="2607">
                  <c:v>1</c:v>
                </c:pt>
                <c:pt idx="2608">
                  <c:v>1</c:v>
                </c:pt>
                <c:pt idx="2609">
                  <c:v>0</c:v>
                </c:pt>
                <c:pt idx="2610">
                  <c:v>1</c:v>
                </c:pt>
                <c:pt idx="2611">
                  <c:v>3</c:v>
                </c:pt>
                <c:pt idx="2612">
                  <c:v>0</c:v>
                </c:pt>
                <c:pt idx="2613">
                  <c:v>0</c:v>
                </c:pt>
                <c:pt idx="2614">
                  <c:v>0</c:v>
                </c:pt>
                <c:pt idx="2615">
                  <c:v>2</c:v>
                </c:pt>
                <c:pt idx="2616">
                  <c:v>1</c:v>
                </c:pt>
                <c:pt idx="2617">
                  <c:v>0</c:v>
                </c:pt>
                <c:pt idx="2618">
                  <c:v>4</c:v>
                </c:pt>
                <c:pt idx="2619">
                  <c:v>0</c:v>
                </c:pt>
                <c:pt idx="2620">
                  <c:v>2</c:v>
                </c:pt>
                <c:pt idx="2621">
                  <c:v>0</c:v>
                </c:pt>
                <c:pt idx="2622">
                  <c:v>0</c:v>
                </c:pt>
                <c:pt idx="2623">
                  <c:v>0</c:v>
                </c:pt>
                <c:pt idx="2624">
                  <c:v>0</c:v>
                </c:pt>
                <c:pt idx="2625">
                  <c:v>3</c:v>
                </c:pt>
                <c:pt idx="2626">
                  <c:v>1</c:v>
                </c:pt>
                <c:pt idx="2627">
                  <c:v>0</c:v>
                </c:pt>
                <c:pt idx="2628">
                  <c:v>3</c:v>
                </c:pt>
                <c:pt idx="2629">
                  <c:v>0</c:v>
                </c:pt>
                <c:pt idx="2630">
                  <c:v>0</c:v>
                </c:pt>
                <c:pt idx="2631">
                  <c:v>2</c:v>
                </c:pt>
                <c:pt idx="2632">
                  <c:v>3</c:v>
                </c:pt>
                <c:pt idx="2633">
                  <c:v>1</c:v>
                </c:pt>
                <c:pt idx="2634">
                  <c:v>2</c:v>
                </c:pt>
                <c:pt idx="2635">
                  <c:v>0</c:v>
                </c:pt>
                <c:pt idx="2636">
                  <c:v>1</c:v>
                </c:pt>
                <c:pt idx="2637">
                  <c:v>0</c:v>
                </c:pt>
                <c:pt idx="2638">
                  <c:v>0</c:v>
                </c:pt>
                <c:pt idx="2639">
                  <c:v>2</c:v>
                </c:pt>
                <c:pt idx="2640">
                  <c:v>1</c:v>
                </c:pt>
                <c:pt idx="2641">
                  <c:v>1</c:v>
                </c:pt>
                <c:pt idx="2642">
                  <c:v>0</c:v>
                </c:pt>
                <c:pt idx="2643">
                  <c:v>1</c:v>
                </c:pt>
                <c:pt idx="2644">
                  <c:v>2</c:v>
                </c:pt>
                <c:pt idx="2645">
                  <c:v>0</c:v>
                </c:pt>
                <c:pt idx="2646">
                  <c:v>1</c:v>
                </c:pt>
                <c:pt idx="2647">
                  <c:v>5</c:v>
                </c:pt>
                <c:pt idx="2648">
                  <c:v>2</c:v>
                </c:pt>
                <c:pt idx="2649">
                  <c:v>3</c:v>
                </c:pt>
                <c:pt idx="2650">
                  <c:v>2</c:v>
                </c:pt>
                <c:pt idx="2651">
                  <c:v>0</c:v>
                </c:pt>
                <c:pt idx="2652">
                  <c:v>2</c:v>
                </c:pt>
                <c:pt idx="2653">
                  <c:v>3</c:v>
                </c:pt>
                <c:pt idx="2654">
                  <c:v>4</c:v>
                </c:pt>
                <c:pt idx="2655">
                  <c:v>3</c:v>
                </c:pt>
                <c:pt idx="2656">
                  <c:v>0</c:v>
                </c:pt>
                <c:pt idx="2657">
                  <c:v>6</c:v>
                </c:pt>
                <c:pt idx="2658">
                  <c:v>0</c:v>
                </c:pt>
                <c:pt idx="2659">
                  <c:v>3</c:v>
                </c:pt>
                <c:pt idx="2660">
                  <c:v>0</c:v>
                </c:pt>
                <c:pt idx="2661">
                  <c:v>1</c:v>
                </c:pt>
                <c:pt idx="2662">
                  <c:v>16</c:v>
                </c:pt>
                <c:pt idx="2663">
                  <c:v>0</c:v>
                </c:pt>
                <c:pt idx="2664">
                  <c:v>0</c:v>
                </c:pt>
                <c:pt idx="2665">
                  <c:v>0</c:v>
                </c:pt>
                <c:pt idx="2666">
                  <c:v>3</c:v>
                </c:pt>
                <c:pt idx="2667">
                  <c:v>2</c:v>
                </c:pt>
                <c:pt idx="2668">
                  <c:v>0</c:v>
                </c:pt>
                <c:pt idx="2669">
                  <c:v>3</c:v>
                </c:pt>
                <c:pt idx="2670">
                  <c:v>0</c:v>
                </c:pt>
                <c:pt idx="2671">
                  <c:v>1</c:v>
                </c:pt>
                <c:pt idx="2672">
                  <c:v>0</c:v>
                </c:pt>
                <c:pt idx="2673">
                  <c:v>1</c:v>
                </c:pt>
                <c:pt idx="2674">
                  <c:v>0</c:v>
                </c:pt>
                <c:pt idx="2675">
                  <c:v>1</c:v>
                </c:pt>
                <c:pt idx="2676">
                  <c:v>0</c:v>
                </c:pt>
                <c:pt idx="2677">
                  <c:v>0</c:v>
                </c:pt>
                <c:pt idx="2678">
                  <c:v>0</c:v>
                </c:pt>
                <c:pt idx="2679">
                  <c:v>1</c:v>
                </c:pt>
                <c:pt idx="2680">
                  <c:v>0</c:v>
                </c:pt>
                <c:pt idx="2681">
                  <c:v>0</c:v>
                </c:pt>
                <c:pt idx="2682">
                  <c:v>0</c:v>
                </c:pt>
                <c:pt idx="2683">
                  <c:v>4</c:v>
                </c:pt>
                <c:pt idx="2684">
                  <c:v>1</c:v>
                </c:pt>
                <c:pt idx="2685">
                  <c:v>3</c:v>
                </c:pt>
                <c:pt idx="2686">
                  <c:v>2</c:v>
                </c:pt>
                <c:pt idx="2687">
                  <c:v>0</c:v>
                </c:pt>
                <c:pt idx="2688">
                  <c:v>0</c:v>
                </c:pt>
                <c:pt idx="2689">
                  <c:v>0</c:v>
                </c:pt>
                <c:pt idx="2690">
                  <c:v>0</c:v>
                </c:pt>
                <c:pt idx="2691">
                  <c:v>1</c:v>
                </c:pt>
                <c:pt idx="2692">
                  <c:v>0</c:v>
                </c:pt>
                <c:pt idx="2693">
                  <c:v>0</c:v>
                </c:pt>
                <c:pt idx="2694">
                  <c:v>0</c:v>
                </c:pt>
                <c:pt idx="2695">
                  <c:v>0</c:v>
                </c:pt>
                <c:pt idx="2696">
                  <c:v>3</c:v>
                </c:pt>
                <c:pt idx="2697">
                  <c:v>0</c:v>
                </c:pt>
                <c:pt idx="2698">
                  <c:v>9</c:v>
                </c:pt>
                <c:pt idx="2699">
                  <c:v>0</c:v>
                </c:pt>
                <c:pt idx="2700">
                  <c:v>0</c:v>
                </c:pt>
                <c:pt idx="2701">
                  <c:v>0</c:v>
                </c:pt>
                <c:pt idx="2702">
                  <c:v>0</c:v>
                </c:pt>
                <c:pt idx="2703">
                  <c:v>1</c:v>
                </c:pt>
                <c:pt idx="2704">
                  <c:v>0</c:v>
                </c:pt>
                <c:pt idx="2705">
                  <c:v>0</c:v>
                </c:pt>
                <c:pt idx="2706">
                  <c:v>0</c:v>
                </c:pt>
                <c:pt idx="2707">
                  <c:v>3</c:v>
                </c:pt>
                <c:pt idx="2708">
                  <c:v>0</c:v>
                </c:pt>
                <c:pt idx="2709">
                  <c:v>2</c:v>
                </c:pt>
                <c:pt idx="2710">
                  <c:v>0</c:v>
                </c:pt>
                <c:pt idx="2711">
                  <c:v>1</c:v>
                </c:pt>
                <c:pt idx="2712">
                  <c:v>0</c:v>
                </c:pt>
                <c:pt idx="2713">
                  <c:v>0</c:v>
                </c:pt>
                <c:pt idx="2714">
                  <c:v>4</c:v>
                </c:pt>
                <c:pt idx="2715">
                  <c:v>0</c:v>
                </c:pt>
                <c:pt idx="2716">
                  <c:v>2</c:v>
                </c:pt>
                <c:pt idx="2717">
                  <c:v>0</c:v>
                </c:pt>
                <c:pt idx="2718">
                  <c:v>1</c:v>
                </c:pt>
                <c:pt idx="2719">
                  <c:v>3</c:v>
                </c:pt>
                <c:pt idx="2720">
                  <c:v>1</c:v>
                </c:pt>
                <c:pt idx="2721">
                  <c:v>2</c:v>
                </c:pt>
                <c:pt idx="2722">
                  <c:v>1</c:v>
                </c:pt>
                <c:pt idx="2723">
                  <c:v>1</c:v>
                </c:pt>
                <c:pt idx="2724">
                  <c:v>0</c:v>
                </c:pt>
                <c:pt idx="2725">
                  <c:v>0</c:v>
                </c:pt>
                <c:pt idx="2726">
                  <c:v>0</c:v>
                </c:pt>
                <c:pt idx="2727">
                  <c:v>0</c:v>
                </c:pt>
                <c:pt idx="2728">
                  <c:v>2</c:v>
                </c:pt>
                <c:pt idx="2729">
                  <c:v>0</c:v>
                </c:pt>
                <c:pt idx="2730">
                  <c:v>3</c:v>
                </c:pt>
                <c:pt idx="2731">
                  <c:v>0</c:v>
                </c:pt>
                <c:pt idx="2732">
                  <c:v>0</c:v>
                </c:pt>
                <c:pt idx="2733">
                  <c:v>0</c:v>
                </c:pt>
                <c:pt idx="2734">
                  <c:v>0</c:v>
                </c:pt>
                <c:pt idx="2735">
                  <c:v>3</c:v>
                </c:pt>
                <c:pt idx="2736">
                  <c:v>2</c:v>
                </c:pt>
                <c:pt idx="2737">
                  <c:v>4</c:v>
                </c:pt>
                <c:pt idx="2738">
                  <c:v>1</c:v>
                </c:pt>
                <c:pt idx="2739">
                  <c:v>3</c:v>
                </c:pt>
                <c:pt idx="2740">
                  <c:v>0</c:v>
                </c:pt>
                <c:pt idx="2741">
                  <c:v>0</c:v>
                </c:pt>
                <c:pt idx="2742">
                  <c:v>1</c:v>
                </c:pt>
                <c:pt idx="2743">
                  <c:v>1</c:v>
                </c:pt>
                <c:pt idx="2744">
                  <c:v>3</c:v>
                </c:pt>
                <c:pt idx="2745">
                  <c:v>1</c:v>
                </c:pt>
                <c:pt idx="2746">
                  <c:v>1</c:v>
                </c:pt>
                <c:pt idx="2747">
                  <c:v>0</c:v>
                </c:pt>
                <c:pt idx="2748">
                  <c:v>0</c:v>
                </c:pt>
                <c:pt idx="2749">
                  <c:v>2</c:v>
                </c:pt>
                <c:pt idx="2750">
                  <c:v>0</c:v>
                </c:pt>
                <c:pt idx="2751">
                  <c:v>0</c:v>
                </c:pt>
                <c:pt idx="2752">
                  <c:v>1</c:v>
                </c:pt>
                <c:pt idx="2753">
                  <c:v>0</c:v>
                </c:pt>
                <c:pt idx="2754">
                  <c:v>1</c:v>
                </c:pt>
                <c:pt idx="2755">
                  <c:v>0</c:v>
                </c:pt>
                <c:pt idx="2756">
                  <c:v>1</c:v>
                </c:pt>
                <c:pt idx="2757">
                  <c:v>0</c:v>
                </c:pt>
                <c:pt idx="2758">
                  <c:v>1</c:v>
                </c:pt>
                <c:pt idx="2759">
                  <c:v>1</c:v>
                </c:pt>
                <c:pt idx="2760">
                  <c:v>0</c:v>
                </c:pt>
                <c:pt idx="2761">
                  <c:v>7</c:v>
                </c:pt>
                <c:pt idx="2762">
                  <c:v>0</c:v>
                </c:pt>
                <c:pt idx="2763">
                  <c:v>0</c:v>
                </c:pt>
                <c:pt idx="2764">
                  <c:v>7</c:v>
                </c:pt>
                <c:pt idx="2765">
                  <c:v>0</c:v>
                </c:pt>
                <c:pt idx="2766">
                  <c:v>1</c:v>
                </c:pt>
                <c:pt idx="2767">
                  <c:v>0</c:v>
                </c:pt>
                <c:pt idx="2768">
                  <c:v>1</c:v>
                </c:pt>
                <c:pt idx="2769">
                  <c:v>0</c:v>
                </c:pt>
                <c:pt idx="2770">
                  <c:v>1</c:v>
                </c:pt>
                <c:pt idx="2771">
                  <c:v>0</c:v>
                </c:pt>
                <c:pt idx="2772">
                  <c:v>0</c:v>
                </c:pt>
                <c:pt idx="2773">
                  <c:v>1</c:v>
                </c:pt>
                <c:pt idx="2774">
                  <c:v>4</c:v>
                </c:pt>
                <c:pt idx="2775">
                  <c:v>0</c:v>
                </c:pt>
                <c:pt idx="2776">
                  <c:v>0</c:v>
                </c:pt>
                <c:pt idx="2777">
                  <c:v>1</c:v>
                </c:pt>
                <c:pt idx="2778">
                  <c:v>0</c:v>
                </c:pt>
                <c:pt idx="2779">
                  <c:v>1</c:v>
                </c:pt>
                <c:pt idx="2780">
                  <c:v>5</c:v>
                </c:pt>
                <c:pt idx="2781">
                  <c:v>0</c:v>
                </c:pt>
                <c:pt idx="2782">
                  <c:v>0</c:v>
                </c:pt>
                <c:pt idx="2783">
                  <c:v>0</c:v>
                </c:pt>
                <c:pt idx="2784">
                  <c:v>0</c:v>
                </c:pt>
                <c:pt idx="2785">
                  <c:v>1</c:v>
                </c:pt>
                <c:pt idx="2786">
                  <c:v>0</c:v>
                </c:pt>
                <c:pt idx="2787">
                  <c:v>2</c:v>
                </c:pt>
                <c:pt idx="2788">
                  <c:v>0</c:v>
                </c:pt>
                <c:pt idx="2789">
                  <c:v>1</c:v>
                </c:pt>
                <c:pt idx="2790">
                  <c:v>4</c:v>
                </c:pt>
                <c:pt idx="2791">
                  <c:v>0</c:v>
                </c:pt>
                <c:pt idx="2792">
                  <c:v>1</c:v>
                </c:pt>
                <c:pt idx="2793">
                  <c:v>0</c:v>
                </c:pt>
                <c:pt idx="2794">
                  <c:v>0</c:v>
                </c:pt>
                <c:pt idx="2795">
                  <c:v>0</c:v>
                </c:pt>
                <c:pt idx="2796">
                  <c:v>3</c:v>
                </c:pt>
                <c:pt idx="2797">
                  <c:v>0</c:v>
                </c:pt>
                <c:pt idx="2798">
                  <c:v>1</c:v>
                </c:pt>
                <c:pt idx="2799">
                  <c:v>0</c:v>
                </c:pt>
                <c:pt idx="2800">
                  <c:v>0</c:v>
                </c:pt>
                <c:pt idx="2801">
                  <c:v>17</c:v>
                </c:pt>
                <c:pt idx="2802">
                  <c:v>0</c:v>
                </c:pt>
                <c:pt idx="2803">
                  <c:v>0</c:v>
                </c:pt>
                <c:pt idx="2804">
                  <c:v>0</c:v>
                </c:pt>
                <c:pt idx="2805">
                  <c:v>0</c:v>
                </c:pt>
                <c:pt idx="2806">
                  <c:v>3</c:v>
                </c:pt>
                <c:pt idx="2807">
                  <c:v>3</c:v>
                </c:pt>
                <c:pt idx="2808">
                  <c:v>0</c:v>
                </c:pt>
                <c:pt idx="2809">
                  <c:v>0</c:v>
                </c:pt>
                <c:pt idx="2810">
                  <c:v>0</c:v>
                </c:pt>
                <c:pt idx="2811">
                  <c:v>1</c:v>
                </c:pt>
                <c:pt idx="2812">
                  <c:v>0</c:v>
                </c:pt>
                <c:pt idx="2813">
                  <c:v>5</c:v>
                </c:pt>
                <c:pt idx="2814">
                  <c:v>1</c:v>
                </c:pt>
                <c:pt idx="2815">
                  <c:v>0</c:v>
                </c:pt>
                <c:pt idx="2816">
                  <c:v>0</c:v>
                </c:pt>
                <c:pt idx="2817">
                  <c:v>2</c:v>
                </c:pt>
                <c:pt idx="2818">
                  <c:v>0</c:v>
                </c:pt>
                <c:pt idx="2819">
                  <c:v>0</c:v>
                </c:pt>
                <c:pt idx="2820">
                  <c:v>2</c:v>
                </c:pt>
                <c:pt idx="2821">
                  <c:v>0</c:v>
                </c:pt>
                <c:pt idx="2822">
                  <c:v>1</c:v>
                </c:pt>
                <c:pt idx="2823">
                  <c:v>0</c:v>
                </c:pt>
                <c:pt idx="2824">
                  <c:v>4</c:v>
                </c:pt>
                <c:pt idx="2825">
                  <c:v>1</c:v>
                </c:pt>
                <c:pt idx="2826">
                  <c:v>2</c:v>
                </c:pt>
                <c:pt idx="2827">
                  <c:v>0</c:v>
                </c:pt>
                <c:pt idx="2828">
                  <c:v>0</c:v>
                </c:pt>
                <c:pt idx="2829">
                  <c:v>0</c:v>
                </c:pt>
                <c:pt idx="2830">
                  <c:v>0</c:v>
                </c:pt>
                <c:pt idx="2831">
                  <c:v>0</c:v>
                </c:pt>
                <c:pt idx="2832">
                  <c:v>0</c:v>
                </c:pt>
                <c:pt idx="2833">
                  <c:v>0</c:v>
                </c:pt>
                <c:pt idx="2834">
                  <c:v>1</c:v>
                </c:pt>
                <c:pt idx="2835">
                  <c:v>0</c:v>
                </c:pt>
                <c:pt idx="2836">
                  <c:v>0</c:v>
                </c:pt>
                <c:pt idx="2837">
                  <c:v>1</c:v>
                </c:pt>
                <c:pt idx="2838">
                  <c:v>2</c:v>
                </c:pt>
                <c:pt idx="2839">
                  <c:v>0</c:v>
                </c:pt>
                <c:pt idx="2840">
                  <c:v>0</c:v>
                </c:pt>
                <c:pt idx="2841">
                  <c:v>0</c:v>
                </c:pt>
                <c:pt idx="2842">
                  <c:v>0</c:v>
                </c:pt>
                <c:pt idx="2843">
                  <c:v>0</c:v>
                </c:pt>
                <c:pt idx="2844">
                  <c:v>2</c:v>
                </c:pt>
                <c:pt idx="2845">
                  <c:v>1</c:v>
                </c:pt>
                <c:pt idx="2846">
                  <c:v>0</c:v>
                </c:pt>
                <c:pt idx="2847">
                  <c:v>0</c:v>
                </c:pt>
                <c:pt idx="2848">
                  <c:v>19</c:v>
                </c:pt>
                <c:pt idx="2849">
                  <c:v>3</c:v>
                </c:pt>
                <c:pt idx="2850">
                  <c:v>59</c:v>
                </c:pt>
                <c:pt idx="2851">
                  <c:v>0</c:v>
                </c:pt>
                <c:pt idx="2852">
                  <c:v>22</c:v>
                </c:pt>
                <c:pt idx="2853">
                  <c:v>0</c:v>
                </c:pt>
                <c:pt idx="2854">
                  <c:v>0</c:v>
                </c:pt>
                <c:pt idx="2855">
                  <c:v>0</c:v>
                </c:pt>
                <c:pt idx="2856">
                  <c:v>0</c:v>
                </c:pt>
                <c:pt idx="2857">
                  <c:v>3</c:v>
                </c:pt>
                <c:pt idx="2858">
                  <c:v>0</c:v>
                </c:pt>
                <c:pt idx="2859">
                  <c:v>0</c:v>
                </c:pt>
                <c:pt idx="2860">
                  <c:v>0</c:v>
                </c:pt>
                <c:pt idx="2861">
                  <c:v>1</c:v>
                </c:pt>
                <c:pt idx="2862">
                  <c:v>2</c:v>
                </c:pt>
                <c:pt idx="2863">
                  <c:v>0</c:v>
                </c:pt>
                <c:pt idx="2864">
                  <c:v>0</c:v>
                </c:pt>
                <c:pt idx="2865">
                  <c:v>1</c:v>
                </c:pt>
                <c:pt idx="2866">
                  <c:v>0</c:v>
                </c:pt>
                <c:pt idx="2867">
                  <c:v>0</c:v>
                </c:pt>
                <c:pt idx="2868">
                  <c:v>0</c:v>
                </c:pt>
                <c:pt idx="2869">
                  <c:v>0</c:v>
                </c:pt>
                <c:pt idx="2870">
                  <c:v>0</c:v>
                </c:pt>
                <c:pt idx="2871">
                  <c:v>0</c:v>
                </c:pt>
                <c:pt idx="2872">
                  <c:v>1</c:v>
                </c:pt>
                <c:pt idx="2873">
                  <c:v>0</c:v>
                </c:pt>
                <c:pt idx="2874">
                  <c:v>4</c:v>
                </c:pt>
                <c:pt idx="2875">
                  <c:v>1</c:v>
                </c:pt>
                <c:pt idx="2876">
                  <c:v>0</c:v>
                </c:pt>
                <c:pt idx="2877">
                  <c:v>1</c:v>
                </c:pt>
                <c:pt idx="2878">
                  <c:v>0</c:v>
                </c:pt>
                <c:pt idx="2879">
                  <c:v>2</c:v>
                </c:pt>
                <c:pt idx="2880">
                  <c:v>0</c:v>
                </c:pt>
                <c:pt idx="2881">
                  <c:v>0</c:v>
                </c:pt>
                <c:pt idx="2882">
                  <c:v>2</c:v>
                </c:pt>
                <c:pt idx="2883">
                  <c:v>0</c:v>
                </c:pt>
                <c:pt idx="2884">
                  <c:v>0</c:v>
                </c:pt>
                <c:pt idx="2885">
                  <c:v>0</c:v>
                </c:pt>
                <c:pt idx="2886">
                  <c:v>4</c:v>
                </c:pt>
                <c:pt idx="2887">
                  <c:v>2</c:v>
                </c:pt>
                <c:pt idx="2888">
                  <c:v>0</c:v>
                </c:pt>
                <c:pt idx="2889">
                  <c:v>0</c:v>
                </c:pt>
                <c:pt idx="2890">
                  <c:v>0</c:v>
                </c:pt>
                <c:pt idx="2891">
                  <c:v>2</c:v>
                </c:pt>
                <c:pt idx="2892">
                  <c:v>2</c:v>
                </c:pt>
                <c:pt idx="2893">
                  <c:v>0</c:v>
                </c:pt>
                <c:pt idx="2894">
                  <c:v>1</c:v>
                </c:pt>
                <c:pt idx="2895">
                  <c:v>1</c:v>
                </c:pt>
                <c:pt idx="2896">
                  <c:v>0</c:v>
                </c:pt>
                <c:pt idx="2897">
                  <c:v>0</c:v>
                </c:pt>
                <c:pt idx="2898">
                  <c:v>0</c:v>
                </c:pt>
                <c:pt idx="2899">
                  <c:v>0</c:v>
                </c:pt>
                <c:pt idx="2900">
                  <c:v>1</c:v>
                </c:pt>
                <c:pt idx="2901">
                  <c:v>1</c:v>
                </c:pt>
                <c:pt idx="2902">
                  <c:v>0</c:v>
                </c:pt>
                <c:pt idx="2903">
                  <c:v>0</c:v>
                </c:pt>
                <c:pt idx="2904">
                  <c:v>0</c:v>
                </c:pt>
                <c:pt idx="2905">
                  <c:v>0</c:v>
                </c:pt>
                <c:pt idx="2906">
                  <c:v>0</c:v>
                </c:pt>
                <c:pt idx="2907">
                  <c:v>0</c:v>
                </c:pt>
                <c:pt idx="2908">
                  <c:v>0</c:v>
                </c:pt>
                <c:pt idx="2909">
                  <c:v>4</c:v>
                </c:pt>
                <c:pt idx="2910">
                  <c:v>0</c:v>
                </c:pt>
                <c:pt idx="2911">
                  <c:v>0</c:v>
                </c:pt>
                <c:pt idx="2912">
                  <c:v>1</c:v>
                </c:pt>
                <c:pt idx="2913">
                  <c:v>0</c:v>
                </c:pt>
                <c:pt idx="2914">
                  <c:v>1</c:v>
                </c:pt>
                <c:pt idx="2915">
                  <c:v>0</c:v>
                </c:pt>
                <c:pt idx="2916">
                  <c:v>0</c:v>
                </c:pt>
                <c:pt idx="2917">
                  <c:v>0</c:v>
                </c:pt>
                <c:pt idx="2918">
                  <c:v>1</c:v>
                </c:pt>
                <c:pt idx="2919">
                  <c:v>1</c:v>
                </c:pt>
                <c:pt idx="2920">
                  <c:v>1</c:v>
                </c:pt>
                <c:pt idx="2921">
                  <c:v>0</c:v>
                </c:pt>
                <c:pt idx="2922">
                  <c:v>0</c:v>
                </c:pt>
                <c:pt idx="2923">
                  <c:v>1</c:v>
                </c:pt>
                <c:pt idx="2924">
                  <c:v>0</c:v>
                </c:pt>
                <c:pt idx="2925">
                  <c:v>2</c:v>
                </c:pt>
                <c:pt idx="2926">
                  <c:v>1</c:v>
                </c:pt>
                <c:pt idx="2927">
                  <c:v>0</c:v>
                </c:pt>
                <c:pt idx="2928">
                  <c:v>2</c:v>
                </c:pt>
                <c:pt idx="2929">
                  <c:v>0</c:v>
                </c:pt>
                <c:pt idx="2930">
                  <c:v>0</c:v>
                </c:pt>
                <c:pt idx="2931">
                  <c:v>0</c:v>
                </c:pt>
                <c:pt idx="2932">
                  <c:v>0</c:v>
                </c:pt>
                <c:pt idx="2933">
                  <c:v>5</c:v>
                </c:pt>
                <c:pt idx="2934">
                  <c:v>2</c:v>
                </c:pt>
                <c:pt idx="2935">
                  <c:v>1</c:v>
                </c:pt>
                <c:pt idx="2936">
                  <c:v>2</c:v>
                </c:pt>
                <c:pt idx="2937">
                  <c:v>0</c:v>
                </c:pt>
                <c:pt idx="2938">
                  <c:v>0</c:v>
                </c:pt>
                <c:pt idx="2939">
                  <c:v>3</c:v>
                </c:pt>
                <c:pt idx="2940">
                  <c:v>0</c:v>
                </c:pt>
                <c:pt idx="2941">
                  <c:v>5</c:v>
                </c:pt>
                <c:pt idx="2942">
                  <c:v>0</c:v>
                </c:pt>
                <c:pt idx="2943">
                  <c:v>2</c:v>
                </c:pt>
                <c:pt idx="2944">
                  <c:v>2</c:v>
                </c:pt>
                <c:pt idx="2945">
                  <c:v>1</c:v>
                </c:pt>
                <c:pt idx="2946">
                  <c:v>1</c:v>
                </c:pt>
                <c:pt idx="2947">
                  <c:v>0</c:v>
                </c:pt>
                <c:pt idx="2948">
                  <c:v>6</c:v>
                </c:pt>
                <c:pt idx="2949">
                  <c:v>0</c:v>
                </c:pt>
                <c:pt idx="2950">
                  <c:v>5</c:v>
                </c:pt>
                <c:pt idx="2951">
                  <c:v>0</c:v>
                </c:pt>
                <c:pt idx="2952">
                  <c:v>0</c:v>
                </c:pt>
                <c:pt idx="2953">
                  <c:v>0</c:v>
                </c:pt>
                <c:pt idx="2954">
                  <c:v>0</c:v>
                </c:pt>
                <c:pt idx="2955">
                  <c:v>0</c:v>
                </c:pt>
                <c:pt idx="2956">
                  <c:v>1</c:v>
                </c:pt>
                <c:pt idx="2957">
                  <c:v>1</c:v>
                </c:pt>
                <c:pt idx="2958">
                  <c:v>1</c:v>
                </c:pt>
                <c:pt idx="2959">
                  <c:v>0</c:v>
                </c:pt>
                <c:pt idx="2960">
                  <c:v>2</c:v>
                </c:pt>
                <c:pt idx="2961">
                  <c:v>0</c:v>
                </c:pt>
                <c:pt idx="2962">
                  <c:v>0</c:v>
                </c:pt>
                <c:pt idx="2963">
                  <c:v>6</c:v>
                </c:pt>
                <c:pt idx="2964">
                  <c:v>0</c:v>
                </c:pt>
                <c:pt idx="2965">
                  <c:v>0</c:v>
                </c:pt>
                <c:pt idx="2966">
                  <c:v>1</c:v>
                </c:pt>
                <c:pt idx="2967">
                  <c:v>0</c:v>
                </c:pt>
                <c:pt idx="2968">
                  <c:v>0</c:v>
                </c:pt>
                <c:pt idx="2969">
                  <c:v>1</c:v>
                </c:pt>
                <c:pt idx="2970">
                  <c:v>2</c:v>
                </c:pt>
                <c:pt idx="2971">
                  <c:v>0</c:v>
                </c:pt>
                <c:pt idx="2972">
                  <c:v>1</c:v>
                </c:pt>
                <c:pt idx="2973">
                  <c:v>0</c:v>
                </c:pt>
                <c:pt idx="2974">
                  <c:v>0</c:v>
                </c:pt>
                <c:pt idx="2975">
                  <c:v>0</c:v>
                </c:pt>
                <c:pt idx="2976">
                  <c:v>0</c:v>
                </c:pt>
                <c:pt idx="2977">
                  <c:v>0</c:v>
                </c:pt>
                <c:pt idx="2978">
                  <c:v>0</c:v>
                </c:pt>
                <c:pt idx="2979">
                  <c:v>0</c:v>
                </c:pt>
                <c:pt idx="2980">
                  <c:v>0</c:v>
                </c:pt>
                <c:pt idx="2981">
                  <c:v>2</c:v>
                </c:pt>
                <c:pt idx="2982">
                  <c:v>0</c:v>
                </c:pt>
                <c:pt idx="2983">
                  <c:v>0</c:v>
                </c:pt>
                <c:pt idx="2984">
                  <c:v>0</c:v>
                </c:pt>
                <c:pt idx="2985">
                  <c:v>0</c:v>
                </c:pt>
                <c:pt idx="2986">
                  <c:v>1</c:v>
                </c:pt>
                <c:pt idx="2987">
                  <c:v>2</c:v>
                </c:pt>
                <c:pt idx="2988">
                  <c:v>0</c:v>
                </c:pt>
                <c:pt idx="2989">
                  <c:v>1</c:v>
                </c:pt>
                <c:pt idx="2990">
                  <c:v>0</c:v>
                </c:pt>
                <c:pt idx="2991">
                  <c:v>0</c:v>
                </c:pt>
                <c:pt idx="2992">
                  <c:v>2</c:v>
                </c:pt>
                <c:pt idx="2993">
                  <c:v>1</c:v>
                </c:pt>
                <c:pt idx="2994">
                  <c:v>0</c:v>
                </c:pt>
                <c:pt idx="2995">
                  <c:v>0</c:v>
                </c:pt>
                <c:pt idx="2996">
                  <c:v>1</c:v>
                </c:pt>
                <c:pt idx="2997">
                  <c:v>4</c:v>
                </c:pt>
                <c:pt idx="2998">
                  <c:v>0</c:v>
                </c:pt>
                <c:pt idx="2999">
                  <c:v>0</c:v>
                </c:pt>
                <c:pt idx="3000">
                  <c:v>0</c:v>
                </c:pt>
                <c:pt idx="3001">
                  <c:v>0</c:v>
                </c:pt>
                <c:pt idx="3002">
                  <c:v>3</c:v>
                </c:pt>
                <c:pt idx="3003">
                  <c:v>0</c:v>
                </c:pt>
                <c:pt idx="3004">
                  <c:v>0</c:v>
                </c:pt>
                <c:pt idx="3005">
                  <c:v>0</c:v>
                </c:pt>
                <c:pt idx="3006">
                  <c:v>0</c:v>
                </c:pt>
                <c:pt idx="3007">
                  <c:v>0</c:v>
                </c:pt>
                <c:pt idx="3008">
                  <c:v>0</c:v>
                </c:pt>
                <c:pt idx="3009">
                  <c:v>0</c:v>
                </c:pt>
                <c:pt idx="3010">
                  <c:v>3</c:v>
                </c:pt>
                <c:pt idx="3011">
                  <c:v>1</c:v>
                </c:pt>
                <c:pt idx="3012">
                  <c:v>0</c:v>
                </c:pt>
                <c:pt idx="3013">
                  <c:v>0</c:v>
                </c:pt>
                <c:pt idx="3014">
                  <c:v>1</c:v>
                </c:pt>
                <c:pt idx="3015">
                  <c:v>5</c:v>
                </c:pt>
                <c:pt idx="3016">
                  <c:v>0</c:v>
                </c:pt>
                <c:pt idx="3017">
                  <c:v>0</c:v>
                </c:pt>
                <c:pt idx="3018">
                  <c:v>1</c:v>
                </c:pt>
                <c:pt idx="3019">
                  <c:v>1</c:v>
                </c:pt>
                <c:pt idx="3020">
                  <c:v>1</c:v>
                </c:pt>
                <c:pt idx="3021">
                  <c:v>0</c:v>
                </c:pt>
                <c:pt idx="3022">
                  <c:v>3</c:v>
                </c:pt>
                <c:pt idx="3023">
                  <c:v>4</c:v>
                </c:pt>
                <c:pt idx="3024">
                  <c:v>1</c:v>
                </c:pt>
                <c:pt idx="3025">
                  <c:v>1</c:v>
                </c:pt>
                <c:pt idx="3026">
                  <c:v>0</c:v>
                </c:pt>
                <c:pt idx="3027">
                  <c:v>0</c:v>
                </c:pt>
                <c:pt idx="3028">
                  <c:v>0</c:v>
                </c:pt>
                <c:pt idx="3029">
                  <c:v>0</c:v>
                </c:pt>
                <c:pt idx="3030">
                  <c:v>2</c:v>
                </c:pt>
                <c:pt idx="3031">
                  <c:v>0</c:v>
                </c:pt>
                <c:pt idx="3032">
                  <c:v>0</c:v>
                </c:pt>
                <c:pt idx="3033">
                  <c:v>0</c:v>
                </c:pt>
                <c:pt idx="3034">
                  <c:v>3</c:v>
                </c:pt>
                <c:pt idx="3035">
                  <c:v>1</c:v>
                </c:pt>
                <c:pt idx="3036">
                  <c:v>0</c:v>
                </c:pt>
                <c:pt idx="3037">
                  <c:v>2</c:v>
                </c:pt>
                <c:pt idx="3038">
                  <c:v>8</c:v>
                </c:pt>
                <c:pt idx="3039">
                  <c:v>0</c:v>
                </c:pt>
                <c:pt idx="3040">
                  <c:v>3</c:v>
                </c:pt>
                <c:pt idx="3041">
                  <c:v>0</c:v>
                </c:pt>
                <c:pt idx="3042">
                  <c:v>1</c:v>
                </c:pt>
                <c:pt idx="3043">
                  <c:v>2</c:v>
                </c:pt>
                <c:pt idx="3044">
                  <c:v>1</c:v>
                </c:pt>
                <c:pt idx="3045">
                  <c:v>1</c:v>
                </c:pt>
                <c:pt idx="3046">
                  <c:v>0</c:v>
                </c:pt>
                <c:pt idx="3047">
                  <c:v>0</c:v>
                </c:pt>
                <c:pt idx="3048">
                  <c:v>0</c:v>
                </c:pt>
                <c:pt idx="3049">
                  <c:v>2</c:v>
                </c:pt>
                <c:pt idx="3050">
                  <c:v>7</c:v>
                </c:pt>
                <c:pt idx="3051">
                  <c:v>0</c:v>
                </c:pt>
                <c:pt idx="3052">
                  <c:v>1</c:v>
                </c:pt>
                <c:pt idx="3053">
                  <c:v>0</c:v>
                </c:pt>
                <c:pt idx="3054">
                  <c:v>0</c:v>
                </c:pt>
                <c:pt idx="3055">
                  <c:v>1</c:v>
                </c:pt>
                <c:pt idx="3056">
                  <c:v>0</c:v>
                </c:pt>
                <c:pt idx="3057">
                  <c:v>1</c:v>
                </c:pt>
                <c:pt idx="3058">
                  <c:v>0</c:v>
                </c:pt>
                <c:pt idx="3059">
                  <c:v>3</c:v>
                </c:pt>
                <c:pt idx="3060">
                  <c:v>0</c:v>
                </c:pt>
                <c:pt idx="3061">
                  <c:v>2</c:v>
                </c:pt>
                <c:pt idx="3062">
                  <c:v>0</c:v>
                </c:pt>
                <c:pt idx="3063">
                  <c:v>0</c:v>
                </c:pt>
                <c:pt idx="3064">
                  <c:v>0</c:v>
                </c:pt>
                <c:pt idx="3065">
                  <c:v>0</c:v>
                </c:pt>
                <c:pt idx="3066">
                  <c:v>1</c:v>
                </c:pt>
                <c:pt idx="3067">
                  <c:v>0</c:v>
                </c:pt>
                <c:pt idx="3068">
                  <c:v>0</c:v>
                </c:pt>
                <c:pt idx="3069">
                  <c:v>0</c:v>
                </c:pt>
                <c:pt idx="3070">
                  <c:v>0</c:v>
                </c:pt>
                <c:pt idx="3071">
                  <c:v>1</c:v>
                </c:pt>
                <c:pt idx="3072">
                  <c:v>0</c:v>
                </c:pt>
                <c:pt idx="3073">
                  <c:v>0</c:v>
                </c:pt>
                <c:pt idx="3074">
                  <c:v>4</c:v>
                </c:pt>
                <c:pt idx="3075">
                  <c:v>0</c:v>
                </c:pt>
                <c:pt idx="3076">
                  <c:v>1</c:v>
                </c:pt>
                <c:pt idx="3077">
                  <c:v>4</c:v>
                </c:pt>
                <c:pt idx="3078">
                  <c:v>0</c:v>
                </c:pt>
                <c:pt idx="3079">
                  <c:v>0</c:v>
                </c:pt>
                <c:pt idx="3080">
                  <c:v>0</c:v>
                </c:pt>
                <c:pt idx="3081">
                  <c:v>4</c:v>
                </c:pt>
                <c:pt idx="3082">
                  <c:v>0</c:v>
                </c:pt>
                <c:pt idx="3083">
                  <c:v>1</c:v>
                </c:pt>
                <c:pt idx="3084">
                  <c:v>1</c:v>
                </c:pt>
                <c:pt idx="3085">
                  <c:v>0</c:v>
                </c:pt>
                <c:pt idx="3086">
                  <c:v>0</c:v>
                </c:pt>
                <c:pt idx="3087">
                  <c:v>1</c:v>
                </c:pt>
                <c:pt idx="3088">
                  <c:v>0</c:v>
                </c:pt>
                <c:pt idx="3089">
                  <c:v>0</c:v>
                </c:pt>
                <c:pt idx="3090">
                  <c:v>0</c:v>
                </c:pt>
                <c:pt idx="3091">
                  <c:v>0</c:v>
                </c:pt>
                <c:pt idx="3092">
                  <c:v>0</c:v>
                </c:pt>
                <c:pt idx="3093">
                  <c:v>3</c:v>
                </c:pt>
                <c:pt idx="3094">
                  <c:v>0</c:v>
                </c:pt>
                <c:pt idx="3095">
                  <c:v>0</c:v>
                </c:pt>
                <c:pt idx="3096">
                  <c:v>0</c:v>
                </c:pt>
                <c:pt idx="3097">
                  <c:v>4</c:v>
                </c:pt>
                <c:pt idx="3098">
                  <c:v>1</c:v>
                </c:pt>
                <c:pt idx="3099">
                  <c:v>1</c:v>
                </c:pt>
                <c:pt idx="3100">
                  <c:v>0</c:v>
                </c:pt>
                <c:pt idx="3101">
                  <c:v>0</c:v>
                </c:pt>
                <c:pt idx="3102">
                  <c:v>2</c:v>
                </c:pt>
                <c:pt idx="3103">
                  <c:v>2</c:v>
                </c:pt>
                <c:pt idx="3104">
                  <c:v>4</c:v>
                </c:pt>
                <c:pt idx="3105">
                  <c:v>1</c:v>
                </c:pt>
                <c:pt idx="3106">
                  <c:v>0</c:v>
                </c:pt>
                <c:pt idx="3107">
                  <c:v>0</c:v>
                </c:pt>
                <c:pt idx="3108">
                  <c:v>5</c:v>
                </c:pt>
                <c:pt idx="3109">
                  <c:v>3</c:v>
                </c:pt>
                <c:pt idx="3110">
                  <c:v>1</c:v>
                </c:pt>
                <c:pt idx="3111">
                  <c:v>1</c:v>
                </c:pt>
                <c:pt idx="3112">
                  <c:v>1</c:v>
                </c:pt>
                <c:pt idx="3113">
                  <c:v>0</c:v>
                </c:pt>
                <c:pt idx="3114">
                  <c:v>1</c:v>
                </c:pt>
                <c:pt idx="3115">
                  <c:v>0</c:v>
                </c:pt>
                <c:pt idx="3116">
                  <c:v>1</c:v>
                </c:pt>
                <c:pt idx="3117">
                  <c:v>1</c:v>
                </c:pt>
                <c:pt idx="3118">
                  <c:v>0</c:v>
                </c:pt>
                <c:pt idx="3119">
                  <c:v>0</c:v>
                </c:pt>
                <c:pt idx="3120">
                  <c:v>0</c:v>
                </c:pt>
                <c:pt idx="3121">
                  <c:v>0</c:v>
                </c:pt>
                <c:pt idx="3122">
                  <c:v>3</c:v>
                </c:pt>
                <c:pt idx="3123">
                  <c:v>0</c:v>
                </c:pt>
                <c:pt idx="3124">
                  <c:v>0</c:v>
                </c:pt>
                <c:pt idx="3125">
                  <c:v>2</c:v>
                </c:pt>
                <c:pt idx="3126">
                  <c:v>0</c:v>
                </c:pt>
                <c:pt idx="3127">
                  <c:v>0</c:v>
                </c:pt>
                <c:pt idx="3128">
                  <c:v>0</c:v>
                </c:pt>
                <c:pt idx="3129">
                  <c:v>0</c:v>
                </c:pt>
                <c:pt idx="3130">
                  <c:v>0</c:v>
                </c:pt>
                <c:pt idx="3131">
                  <c:v>0</c:v>
                </c:pt>
                <c:pt idx="3132">
                  <c:v>0</c:v>
                </c:pt>
                <c:pt idx="3133">
                  <c:v>0</c:v>
                </c:pt>
                <c:pt idx="3134">
                  <c:v>0</c:v>
                </c:pt>
                <c:pt idx="3135">
                  <c:v>0</c:v>
                </c:pt>
                <c:pt idx="3136">
                  <c:v>1</c:v>
                </c:pt>
                <c:pt idx="3137">
                  <c:v>0</c:v>
                </c:pt>
                <c:pt idx="3138">
                  <c:v>0</c:v>
                </c:pt>
                <c:pt idx="3139">
                  <c:v>1</c:v>
                </c:pt>
                <c:pt idx="3140">
                  <c:v>3</c:v>
                </c:pt>
                <c:pt idx="3141">
                  <c:v>0</c:v>
                </c:pt>
                <c:pt idx="3142">
                  <c:v>0</c:v>
                </c:pt>
                <c:pt idx="3143">
                  <c:v>0</c:v>
                </c:pt>
                <c:pt idx="3144">
                  <c:v>1</c:v>
                </c:pt>
                <c:pt idx="3145">
                  <c:v>1</c:v>
                </c:pt>
                <c:pt idx="3146">
                  <c:v>3</c:v>
                </c:pt>
                <c:pt idx="3147">
                  <c:v>0</c:v>
                </c:pt>
                <c:pt idx="3148">
                  <c:v>1</c:v>
                </c:pt>
                <c:pt idx="3149">
                  <c:v>0</c:v>
                </c:pt>
                <c:pt idx="3150">
                  <c:v>0</c:v>
                </c:pt>
                <c:pt idx="3151">
                  <c:v>2</c:v>
                </c:pt>
                <c:pt idx="3152">
                  <c:v>0</c:v>
                </c:pt>
                <c:pt idx="3153">
                  <c:v>1</c:v>
                </c:pt>
                <c:pt idx="3154">
                  <c:v>0</c:v>
                </c:pt>
                <c:pt idx="3155">
                  <c:v>0</c:v>
                </c:pt>
                <c:pt idx="3156">
                  <c:v>2</c:v>
                </c:pt>
                <c:pt idx="3157">
                  <c:v>0</c:v>
                </c:pt>
                <c:pt idx="3158">
                  <c:v>3</c:v>
                </c:pt>
                <c:pt idx="3159">
                  <c:v>0</c:v>
                </c:pt>
                <c:pt idx="3160">
                  <c:v>0</c:v>
                </c:pt>
                <c:pt idx="3161">
                  <c:v>2</c:v>
                </c:pt>
                <c:pt idx="3162">
                  <c:v>0</c:v>
                </c:pt>
                <c:pt idx="3163">
                  <c:v>4</c:v>
                </c:pt>
                <c:pt idx="3164">
                  <c:v>0</c:v>
                </c:pt>
                <c:pt idx="3165">
                  <c:v>0</c:v>
                </c:pt>
                <c:pt idx="3166">
                  <c:v>0</c:v>
                </c:pt>
                <c:pt idx="3167">
                  <c:v>0</c:v>
                </c:pt>
                <c:pt idx="3168">
                  <c:v>3</c:v>
                </c:pt>
                <c:pt idx="3169">
                  <c:v>3</c:v>
                </c:pt>
                <c:pt idx="3170">
                  <c:v>1</c:v>
                </c:pt>
                <c:pt idx="3171">
                  <c:v>0</c:v>
                </c:pt>
                <c:pt idx="3172">
                  <c:v>0</c:v>
                </c:pt>
                <c:pt idx="3173">
                  <c:v>0</c:v>
                </c:pt>
                <c:pt idx="3174">
                  <c:v>0</c:v>
                </c:pt>
                <c:pt idx="3175">
                  <c:v>4</c:v>
                </c:pt>
                <c:pt idx="3176">
                  <c:v>17</c:v>
                </c:pt>
                <c:pt idx="3177">
                  <c:v>0</c:v>
                </c:pt>
                <c:pt idx="3178">
                  <c:v>0</c:v>
                </c:pt>
                <c:pt idx="3179">
                  <c:v>1</c:v>
                </c:pt>
                <c:pt idx="3180">
                  <c:v>1</c:v>
                </c:pt>
                <c:pt idx="3181">
                  <c:v>0</c:v>
                </c:pt>
                <c:pt idx="3182">
                  <c:v>3</c:v>
                </c:pt>
                <c:pt idx="3183">
                  <c:v>0</c:v>
                </c:pt>
                <c:pt idx="3184">
                  <c:v>0</c:v>
                </c:pt>
                <c:pt idx="3185">
                  <c:v>0</c:v>
                </c:pt>
                <c:pt idx="3186">
                  <c:v>1</c:v>
                </c:pt>
                <c:pt idx="3187">
                  <c:v>1</c:v>
                </c:pt>
                <c:pt idx="3188">
                  <c:v>0</c:v>
                </c:pt>
                <c:pt idx="3189">
                  <c:v>2</c:v>
                </c:pt>
                <c:pt idx="3190">
                  <c:v>0</c:v>
                </c:pt>
                <c:pt idx="3191">
                  <c:v>0</c:v>
                </c:pt>
                <c:pt idx="3192">
                  <c:v>0</c:v>
                </c:pt>
                <c:pt idx="3193">
                  <c:v>4</c:v>
                </c:pt>
                <c:pt idx="3194">
                  <c:v>0</c:v>
                </c:pt>
                <c:pt idx="3195">
                  <c:v>1</c:v>
                </c:pt>
                <c:pt idx="3196">
                  <c:v>8</c:v>
                </c:pt>
                <c:pt idx="3197">
                  <c:v>8</c:v>
                </c:pt>
                <c:pt idx="3198">
                  <c:v>0</c:v>
                </c:pt>
                <c:pt idx="3199">
                  <c:v>0</c:v>
                </c:pt>
                <c:pt idx="3200">
                  <c:v>0</c:v>
                </c:pt>
                <c:pt idx="3201">
                  <c:v>1</c:v>
                </c:pt>
                <c:pt idx="3202">
                  <c:v>2</c:v>
                </c:pt>
                <c:pt idx="3203">
                  <c:v>0</c:v>
                </c:pt>
                <c:pt idx="3204">
                  <c:v>0</c:v>
                </c:pt>
                <c:pt idx="3205">
                  <c:v>0</c:v>
                </c:pt>
                <c:pt idx="3206">
                  <c:v>0</c:v>
                </c:pt>
                <c:pt idx="3207">
                  <c:v>1</c:v>
                </c:pt>
                <c:pt idx="3208">
                  <c:v>2</c:v>
                </c:pt>
                <c:pt idx="3209">
                  <c:v>2</c:v>
                </c:pt>
                <c:pt idx="3210">
                  <c:v>0</c:v>
                </c:pt>
                <c:pt idx="3211">
                  <c:v>0</c:v>
                </c:pt>
                <c:pt idx="3212">
                  <c:v>3</c:v>
                </c:pt>
                <c:pt idx="3213">
                  <c:v>0</c:v>
                </c:pt>
                <c:pt idx="3214">
                  <c:v>1</c:v>
                </c:pt>
                <c:pt idx="3215">
                  <c:v>0</c:v>
                </c:pt>
                <c:pt idx="3216">
                  <c:v>0</c:v>
                </c:pt>
                <c:pt idx="3217">
                  <c:v>1</c:v>
                </c:pt>
                <c:pt idx="3218">
                  <c:v>0</c:v>
                </c:pt>
                <c:pt idx="3219">
                  <c:v>0</c:v>
                </c:pt>
                <c:pt idx="3220">
                  <c:v>15</c:v>
                </c:pt>
                <c:pt idx="3221">
                  <c:v>0</c:v>
                </c:pt>
                <c:pt idx="3222">
                  <c:v>4</c:v>
                </c:pt>
                <c:pt idx="3223">
                  <c:v>0</c:v>
                </c:pt>
                <c:pt idx="3224">
                  <c:v>1</c:v>
                </c:pt>
                <c:pt idx="3225">
                  <c:v>1</c:v>
                </c:pt>
                <c:pt idx="3226">
                  <c:v>2</c:v>
                </c:pt>
                <c:pt idx="3227">
                  <c:v>10</c:v>
                </c:pt>
                <c:pt idx="3228">
                  <c:v>1</c:v>
                </c:pt>
                <c:pt idx="3229">
                  <c:v>0</c:v>
                </c:pt>
                <c:pt idx="3230">
                  <c:v>0</c:v>
                </c:pt>
                <c:pt idx="3231">
                  <c:v>0</c:v>
                </c:pt>
                <c:pt idx="3232">
                  <c:v>1</c:v>
                </c:pt>
                <c:pt idx="3233">
                  <c:v>0</c:v>
                </c:pt>
                <c:pt idx="3234">
                  <c:v>0</c:v>
                </c:pt>
                <c:pt idx="3235">
                  <c:v>0</c:v>
                </c:pt>
                <c:pt idx="3236">
                  <c:v>3</c:v>
                </c:pt>
                <c:pt idx="3237">
                  <c:v>0</c:v>
                </c:pt>
                <c:pt idx="3238">
                  <c:v>0</c:v>
                </c:pt>
                <c:pt idx="3239">
                  <c:v>4</c:v>
                </c:pt>
                <c:pt idx="3240">
                  <c:v>0</c:v>
                </c:pt>
                <c:pt idx="3241">
                  <c:v>2</c:v>
                </c:pt>
                <c:pt idx="3242">
                  <c:v>3</c:v>
                </c:pt>
                <c:pt idx="3243">
                  <c:v>0</c:v>
                </c:pt>
                <c:pt idx="3244">
                  <c:v>0</c:v>
                </c:pt>
                <c:pt idx="3245">
                  <c:v>0</c:v>
                </c:pt>
                <c:pt idx="3246">
                  <c:v>0</c:v>
                </c:pt>
                <c:pt idx="3247">
                  <c:v>0</c:v>
                </c:pt>
                <c:pt idx="3248">
                  <c:v>2</c:v>
                </c:pt>
                <c:pt idx="3249">
                  <c:v>0</c:v>
                </c:pt>
                <c:pt idx="3250">
                  <c:v>0</c:v>
                </c:pt>
                <c:pt idx="3251">
                  <c:v>0</c:v>
                </c:pt>
                <c:pt idx="3252">
                  <c:v>0</c:v>
                </c:pt>
                <c:pt idx="3253">
                  <c:v>0</c:v>
                </c:pt>
                <c:pt idx="3254">
                  <c:v>0</c:v>
                </c:pt>
                <c:pt idx="3255">
                  <c:v>0</c:v>
                </c:pt>
                <c:pt idx="3256">
                  <c:v>2</c:v>
                </c:pt>
                <c:pt idx="3257">
                  <c:v>0</c:v>
                </c:pt>
                <c:pt idx="3258">
                  <c:v>0</c:v>
                </c:pt>
                <c:pt idx="3259">
                  <c:v>3</c:v>
                </c:pt>
                <c:pt idx="3260">
                  <c:v>0</c:v>
                </c:pt>
                <c:pt idx="3261">
                  <c:v>0</c:v>
                </c:pt>
                <c:pt idx="3262">
                  <c:v>2</c:v>
                </c:pt>
                <c:pt idx="3263">
                  <c:v>2</c:v>
                </c:pt>
                <c:pt idx="3264">
                  <c:v>0</c:v>
                </c:pt>
                <c:pt idx="3265">
                  <c:v>0</c:v>
                </c:pt>
                <c:pt idx="3266">
                  <c:v>1</c:v>
                </c:pt>
                <c:pt idx="3267">
                  <c:v>0</c:v>
                </c:pt>
                <c:pt idx="3268">
                  <c:v>2</c:v>
                </c:pt>
                <c:pt idx="3269">
                  <c:v>1</c:v>
                </c:pt>
                <c:pt idx="3270">
                  <c:v>0</c:v>
                </c:pt>
                <c:pt idx="3271">
                  <c:v>0</c:v>
                </c:pt>
                <c:pt idx="3272">
                  <c:v>2</c:v>
                </c:pt>
                <c:pt idx="3273">
                  <c:v>5</c:v>
                </c:pt>
                <c:pt idx="3274">
                  <c:v>1</c:v>
                </c:pt>
                <c:pt idx="3275">
                  <c:v>0</c:v>
                </c:pt>
                <c:pt idx="3276">
                  <c:v>0</c:v>
                </c:pt>
                <c:pt idx="3277">
                  <c:v>0</c:v>
                </c:pt>
                <c:pt idx="3278">
                  <c:v>0</c:v>
                </c:pt>
                <c:pt idx="3279">
                  <c:v>0</c:v>
                </c:pt>
                <c:pt idx="3280">
                  <c:v>0</c:v>
                </c:pt>
                <c:pt idx="3281">
                  <c:v>1</c:v>
                </c:pt>
                <c:pt idx="3282">
                  <c:v>0</c:v>
                </c:pt>
                <c:pt idx="3283">
                  <c:v>3</c:v>
                </c:pt>
                <c:pt idx="3284">
                  <c:v>0</c:v>
                </c:pt>
                <c:pt idx="3285">
                  <c:v>4</c:v>
                </c:pt>
                <c:pt idx="3286">
                  <c:v>2</c:v>
                </c:pt>
                <c:pt idx="3287">
                  <c:v>0</c:v>
                </c:pt>
                <c:pt idx="3288">
                  <c:v>0</c:v>
                </c:pt>
                <c:pt idx="3289">
                  <c:v>0</c:v>
                </c:pt>
                <c:pt idx="3290">
                  <c:v>16</c:v>
                </c:pt>
                <c:pt idx="3291">
                  <c:v>1</c:v>
                </c:pt>
                <c:pt idx="3292">
                  <c:v>1</c:v>
                </c:pt>
                <c:pt idx="3293">
                  <c:v>5</c:v>
                </c:pt>
                <c:pt idx="3294">
                  <c:v>0</c:v>
                </c:pt>
                <c:pt idx="3295">
                  <c:v>0</c:v>
                </c:pt>
                <c:pt idx="3296">
                  <c:v>1</c:v>
                </c:pt>
                <c:pt idx="3297">
                  <c:v>0</c:v>
                </c:pt>
                <c:pt idx="3298">
                  <c:v>0</c:v>
                </c:pt>
                <c:pt idx="3299">
                  <c:v>2</c:v>
                </c:pt>
                <c:pt idx="3300">
                  <c:v>1</c:v>
                </c:pt>
                <c:pt idx="3301">
                  <c:v>0</c:v>
                </c:pt>
                <c:pt idx="3302">
                  <c:v>3</c:v>
                </c:pt>
                <c:pt idx="3303">
                  <c:v>1</c:v>
                </c:pt>
                <c:pt idx="3304">
                  <c:v>0</c:v>
                </c:pt>
                <c:pt idx="3305">
                  <c:v>0</c:v>
                </c:pt>
                <c:pt idx="3306">
                  <c:v>0</c:v>
                </c:pt>
                <c:pt idx="3307">
                  <c:v>2</c:v>
                </c:pt>
                <c:pt idx="3308">
                  <c:v>0</c:v>
                </c:pt>
                <c:pt idx="3309">
                  <c:v>0</c:v>
                </c:pt>
                <c:pt idx="3310">
                  <c:v>1</c:v>
                </c:pt>
                <c:pt idx="3311">
                  <c:v>0</c:v>
                </c:pt>
                <c:pt idx="3312">
                  <c:v>0</c:v>
                </c:pt>
                <c:pt idx="3313">
                  <c:v>0</c:v>
                </c:pt>
                <c:pt idx="3314">
                  <c:v>0</c:v>
                </c:pt>
                <c:pt idx="3315">
                  <c:v>1</c:v>
                </c:pt>
                <c:pt idx="3316">
                  <c:v>0</c:v>
                </c:pt>
                <c:pt idx="3317">
                  <c:v>1</c:v>
                </c:pt>
                <c:pt idx="3318">
                  <c:v>0</c:v>
                </c:pt>
                <c:pt idx="3319">
                  <c:v>0</c:v>
                </c:pt>
                <c:pt idx="3320">
                  <c:v>0</c:v>
                </c:pt>
                <c:pt idx="3321">
                  <c:v>4</c:v>
                </c:pt>
                <c:pt idx="3322">
                  <c:v>2</c:v>
                </c:pt>
                <c:pt idx="3323">
                  <c:v>6</c:v>
                </c:pt>
                <c:pt idx="3324">
                  <c:v>6</c:v>
                </c:pt>
                <c:pt idx="3325">
                  <c:v>0</c:v>
                </c:pt>
                <c:pt idx="3326">
                  <c:v>1</c:v>
                </c:pt>
                <c:pt idx="3327">
                  <c:v>0</c:v>
                </c:pt>
                <c:pt idx="3328">
                  <c:v>0</c:v>
                </c:pt>
                <c:pt idx="3329">
                  <c:v>0</c:v>
                </c:pt>
                <c:pt idx="3330">
                  <c:v>0</c:v>
                </c:pt>
                <c:pt idx="3331">
                  <c:v>0</c:v>
                </c:pt>
                <c:pt idx="3332">
                  <c:v>0</c:v>
                </c:pt>
                <c:pt idx="3333">
                  <c:v>0</c:v>
                </c:pt>
                <c:pt idx="3334">
                  <c:v>2</c:v>
                </c:pt>
                <c:pt idx="3335">
                  <c:v>0</c:v>
                </c:pt>
                <c:pt idx="3336">
                  <c:v>0</c:v>
                </c:pt>
                <c:pt idx="3337">
                  <c:v>1</c:v>
                </c:pt>
                <c:pt idx="3338">
                  <c:v>1</c:v>
                </c:pt>
                <c:pt idx="3339">
                  <c:v>5</c:v>
                </c:pt>
                <c:pt idx="3340">
                  <c:v>0</c:v>
                </c:pt>
                <c:pt idx="3341">
                  <c:v>0</c:v>
                </c:pt>
                <c:pt idx="3342">
                  <c:v>0</c:v>
                </c:pt>
                <c:pt idx="3343">
                  <c:v>0</c:v>
                </c:pt>
                <c:pt idx="3344">
                  <c:v>1</c:v>
                </c:pt>
                <c:pt idx="3345">
                  <c:v>0</c:v>
                </c:pt>
                <c:pt idx="3346">
                  <c:v>0</c:v>
                </c:pt>
                <c:pt idx="3347">
                  <c:v>2</c:v>
                </c:pt>
                <c:pt idx="3348">
                  <c:v>65</c:v>
                </c:pt>
                <c:pt idx="3349">
                  <c:v>2</c:v>
                </c:pt>
                <c:pt idx="3350">
                  <c:v>1</c:v>
                </c:pt>
                <c:pt idx="3351">
                  <c:v>37</c:v>
                </c:pt>
                <c:pt idx="3352">
                  <c:v>1</c:v>
                </c:pt>
                <c:pt idx="3353">
                  <c:v>0</c:v>
                </c:pt>
                <c:pt idx="3354">
                  <c:v>0</c:v>
                </c:pt>
                <c:pt idx="3355">
                  <c:v>0</c:v>
                </c:pt>
                <c:pt idx="3356">
                  <c:v>0</c:v>
                </c:pt>
                <c:pt idx="3357">
                  <c:v>62</c:v>
                </c:pt>
                <c:pt idx="3358">
                  <c:v>0</c:v>
                </c:pt>
                <c:pt idx="3359">
                  <c:v>0</c:v>
                </c:pt>
                <c:pt idx="3360">
                  <c:v>0</c:v>
                </c:pt>
                <c:pt idx="3361">
                  <c:v>0</c:v>
                </c:pt>
                <c:pt idx="3362">
                  <c:v>4</c:v>
                </c:pt>
                <c:pt idx="3363">
                  <c:v>25</c:v>
                </c:pt>
                <c:pt idx="3364">
                  <c:v>0</c:v>
                </c:pt>
                <c:pt idx="3365">
                  <c:v>2</c:v>
                </c:pt>
                <c:pt idx="3366">
                  <c:v>0</c:v>
                </c:pt>
                <c:pt idx="3367">
                  <c:v>1</c:v>
                </c:pt>
                <c:pt idx="3368">
                  <c:v>0</c:v>
                </c:pt>
                <c:pt idx="3369">
                  <c:v>13</c:v>
                </c:pt>
                <c:pt idx="3370">
                  <c:v>0</c:v>
                </c:pt>
                <c:pt idx="3371">
                  <c:v>0</c:v>
                </c:pt>
                <c:pt idx="3372">
                  <c:v>0</c:v>
                </c:pt>
                <c:pt idx="3373">
                  <c:v>0</c:v>
                </c:pt>
                <c:pt idx="3374">
                  <c:v>0</c:v>
                </c:pt>
                <c:pt idx="3375">
                  <c:v>0</c:v>
                </c:pt>
                <c:pt idx="3376">
                  <c:v>0</c:v>
                </c:pt>
                <c:pt idx="3377">
                  <c:v>3</c:v>
                </c:pt>
                <c:pt idx="3378">
                  <c:v>2</c:v>
                </c:pt>
                <c:pt idx="3379">
                  <c:v>2</c:v>
                </c:pt>
                <c:pt idx="3380">
                  <c:v>0</c:v>
                </c:pt>
                <c:pt idx="3381">
                  <c:v>3</c:v>
                </c:pt>
                <c:pt idx="3382">
                  <c:v>2</c:v>
                </c:pt>
                <c:pt idx="3383">
                  <c:v>1</c:v>
                </c:pt>
                <c:pt idx="3384">
                  <c:v>0</c:v>
                </c:pt>
                <c:pt idx="3385">
                  <c:v>0</c:v>
                </c:pt>
                <c:pt idx="3386">
                  <c:v>2</c:v>
                </c:pt>
                <c:pt idx="3387">
                  <c:v>0</c:v>
                </c:pt>
                <c:pt idx="3388">
                  <c:v>2</c:v>
                </c:pt>
                <c:pt idx="3389">
                  <c:v>0</c:v>
                </c:pt>
                <c:pt idx="3390">
                  <c:v>0</c:v>
                </c:pt>
                <c:pt idx="3391">
                  <c:v>0</c:v>
                </c:pt>
                <c:pt idx="3392">
                  <c:v>0</c:v>
                </c:pt>
                <c:pt idx="3393">
                  <c:v>2</c:v>
                </c:pt>
                <c:pt idx="3394">
                  <c:v>0</c:v>
                </c:pt>
                <c:pt idx="3395">
                  <c:v>0</c:v>
                </c:pt>
                <c:pt idx="3396">
                  <c:v>0</c:v>
                </c:pt>
                <c:pt idx="3397">
                  <c:v>0</c:v>
                </c:pt>
                <c:pt idx="3398">
                  <c:v>7</c:v>
                </c:pt>
                <c:pt idx="3399">
                  <c:v>1</c:v>
                </c:pt>
                <c:pt idx="3400">
                  <c:v>4</c:v>
                </c:pt>
                <c:pt idx="3401">
                  <c:v>1</c:v>
                </c:pt>
                <c:pt idx="3402">
                  <c:v>2</c:v>
                </c:pt>
                <c:pt idx="3403">
                  <c:v>1</c:v>
                </c:pt>
                <c:pt idx="3404">
                  <c:v>1</c:v>
                </c:pt>
                <c:pt idx="3405">
                  <c:v>0</c:v>
                </c:pt>
                <c:pt idx="3406">
                  <c:v>3</c:v>
                </c:pt>
                <c:pt idx="3407">
                  <c:v>0</c:v>
                </c:pt>
                <c:pt idx="3408">
                  <c:v>0</c:v>
                </c:pt>
                <c:pt idx="3409">
                  <c:v>1</c:v>
                </c:pt>
                <c:pt idx="3410">
                  <c:v>0</c:v>
                </c:pt>
                <c:pt idx="3411">
                  <c:v>1</c:v>
                </c:pt>
                <c:pt idx="3412">
                  <c:v>0</c:v>
                </c:pt>
                <c:pt idx="3413">
                  <c:v>0</c:v>
                </c:pt>
                <c:pt idx="3414">
                  <c:v>0</c:v>
                </c:pt>
                <c:pt idx="3415">
                  <c:v>0</c:v>
                </c:pt>
                <c:pt idx="3416">
                  <c:v>1</c:v>
                </c:pt>
                <c:pt idx="3417">
                  <c:v>0</c:v>
                </c:pt>
                <c:pt idx="3418">
                  <c:v>8</c:v>
                </c:pt>
                <c:pt idx="3419">
                  <c:v>0</c:v>
                </c:pt>
                <c:pt idx="3420">
                  <c:v>0</c:v>
                </c:pt>
                <c:pt idx="3421">
                  <c:v>1</c:v>
                </c:pt>
                <c:pt idx="3422">
                  <c:v>4</c:v>
                </c:pt>
                <c:pt idx="3423">
                  <c:v>3</c:v>
                </c:pt>
                <c:pt idx="3424">
                  <c:v>3</c:v>
                </c:pt>
                <c:pt idx="3425">
                  <c:v>0</c:v>
                </c:pt>
                <c:pt idx="3426">
                  <c:v>2</c:v>
                </c:pt>
                <c:pt idx="3427">
                  <c:v>0</c:v>
                </c:pt>
                <c:pt idx="3428">
                  <c:v>1</c:v>
                </c:pt>
                <c:pt idx="3429">
                  <c:v>0</c:v>
                </c:pt>
                <c:pt idx="3430">
                  <c:v>2</c:v>
                </c:pt>
                <c:pt idx="3431">
                  <c:v>0</c:v>
                </c:pt>
                <c:pt idx="3432">
                  <c:v>0</c:v>
                </c:pt>
                <c:pt idx="3433">
                  <c:v>2</c:v>
                </c:pt>
                <c:pt idx="3434">
                  <c:v>2</c:v>
                </c:pt>
                <c:pt idx="3435">
                  <c:v>0</c:v>
                </c:pt>
                <c:pt idx="3436">
                  <c:v>0</c:v>
                </c:pt>
                <c:pt idx="3437">
                  <c:v>3</c:v>
                </c:pt>
                <c:pt idx="3438">
                  <c:v>0</c:v>
                </c:pt>
                <c:pt idx="3439">
                  <c:v>6</c:v>
                </c:pt>
                <c:pt idx="3440">
                  <c:v>0</c:v>
                </c:pt>
                <c:pt idx="3441">
                  <c:v>0</c:v>
                </c:pt>
                <c:pt idx="3442">
                  <c:v>1</c:v>
                </c:pt>
                <c:pt idx="3443">
                  <c:v>2</c:v>
                </c:pt>
                <c:pt idx="3444">
                  <c:v>2</c:v>
                </c:pt>
                <c:pt idx="3445">
                  <c:v>8</c:v>
                </c:pt>
                <c:pt idx="3446">
                  <c:v>2</c:v>
                </c:pt>
                <c:pt idx="3447">
                  <c:v>2</c:v>
                </c:pt>
                <c:pt idx="3448">
                  <c:v>0</c:v>
                </c:pt>
                <c:pt idx="3449">
                  <c:v>0</c:v>
                </c:pt>
                <c:pt idx="3450">
                  <c:v>0</c:v>
                </c:pt>
                <c:pt idx="3451">
                  <c:v>3</c:v>
                </c:pt>
                <c:pt idx="3452">
                  <c:v>6</c:v>
                </c:pt>
                <c:pt idx="3453">
                  <c:v>4</c:v>
                </c:pt>
                <c:pt idx="3454">
                  <c:v>0</c:v>
                </c:pt>
                <c:pt idx="3455">
                  <c:v>0</c:v>
                </c:pt>
                <c:pt idx="3456">
                  <c:v>0</c:v>
                </c:pt>
                <c:pt idx="3457">
                  <c:v>3</c:v>
                </c:pt>
                <c:pt idx="3458">
                  <c:v>0</c:v>
                </c:pt>
                <c:pt idx="3459">
                  <c:v>0</c:v>
                </c:pt>
                <c:pt idx="3460">
                  <c:v>0</c:v>
                </c:pt>
                <c:pt idx="3461">
                  <c:v>0</c:v>
                </c:pt>
                <c:pt idx="3462">
                  <c:v>0</c:v>
                </c:pt>
                <c:pt idx="3463">
                  <c:v>0</c:v>
                </c:pt>
                <c:pt idx="3464">
                  <c:v>0</c:v>
                </c:pt>
                <c:pt idx="3465">
                  <c:v>0</c:v>
                </c:pt>
                <c:pt idx="3466">
                  <c:v>1</c:v>
                </c:pt>
                <c:pt idx="3467">
                  <c:v>2</c:v>
                </c:pt>
                <c:pt idx="3468">
                  <c:v>0</c:v>
                </c:pt>
                <c:pt idx="3469">
                  <c:v>0</c:v>
                </c:pt>
                <c:pt idx="3470">
                  <c:v>0</c:v>
                </c:pt>
                <c:pt idx="3471">
                  <c:v>0</c:v>
                </c:pt>
                <c:pt idx="3472">
                  <c:v>3</c:v>
                </c:pt>
                <c:pt idx="3473">
                  <c:v>0</c:v>
                </c:pt>
                <c:pt idx="3474">
                  <c:v>0</c:v>
                </c:pt>
                <c:pt idx="3475">
                  <c:v>0</c:v>
                </c:pt>
                <c:pt idx="3476">
                  <c:v>1</c:v>
                </c:pt>
                <c:pt idx="3477">
                  <c:v>0</c:v>
                </c:pt>
                <c:pt idx="3478">
                  <c:v>2</c:v>
                </c:pt>
                <c:pt idx="3479">
                  <c:v>0</c:v>
                </c:pt>
                <c:pt idx="3480">
                  <c:v>0</c:v>
                </c:pt>
                <c:pt idx="3481">
                  <c:v>3</c:v>
                </c:pt>
                <c:pt idx="3482">
                  <c:v>0</c:v>
                </c:pt>
                <c:pt idx="3483">
                  <c:v>7</c:v>
                </c:pt>
                <c:pt idx="3484">
                  <c:v>0</c:v>
                </c:pt>
                <c:pt idx="3485">
                  <c:v>0</c:v>
                </c:pt>
                <c:pt idx="3486">
                  <c:v>4</c:v>
                </c:pt>
                <c:pt idx="3487">
                  <c:v>0</c:v>
                </c:pt>
                <c:pt idx="3488">
                  <c:v>0</c:v>
                </c:pt>
                <c:pt idx="3489">
                  <c:v>2</c:v>
                </c:pt>
                <c:pt idx="3490">
                  <c:v>0</c:v>
                </c:pt>
                <c:pt idx="3491">
                  <c:v>0</c:v>
                </c:pt>
                <c:pt idx="3492">
                  <c:v>0</c:v>
                </c:pt>
                <c:pt idx="3493">
                  <c:v>0</c:v>
                </c:pt>
                <c:pt idx="3494">
                  <c:v>0</c:v>
                </c:pt>
                <c:pt idx="3495">
                  <c:v>1</c:v>
                </c:pt>
                <c:pt idx="3496">
                  <c:v>0</c:v>
                </c:pt>
                <c:pt idx="3497">
                  <c:v>0</c:v>
                </c:pt>
                <c:pt idx="3498">
                  <c:v>0</c:v>
                </c:pt>
                <c:pt idx="3499">
                  <c:v>5</c:v>
                </c:pt>
                <c:pt idx="3500">
                  <c:v>3</c:v>
                </c:pt>
                <c:pt idx="3501">
                  <c:v>1</c:v>
                </c:pt>
                <c:pt idx="3502">
                  <c:v>0</c:v>
                </c:pt>
                <c:pt idx="3503">
                  <c:v>0</c:v>
                </c:pt>
                <c:pt idx="3504">
                  <c:v>3</c:v>
                </c:pt>
                <c:pt idx="3505">
                  <c:v>2</c:v>
                </c:pt>
                <c:pt idx="3506">
                  <c:v>1</c:v>
                </c:pt>
                <c:pt idx="3507">
                  <c:v>0</c:v>
                </c:pt>
                <c:pt idx="3508">
                  <c:v>0</c:v>
                </c:pt>
                <c:pt idx="3509">
                  <c:v>0</c:v>
                </c:pt>
                <c:pt idx="3510">
                  <c:v>3</c:v>
                </c:pt>
                <c:pt idx="3511">
                  <c:v>1</c:v>
                </c:pt>
                <c:pt idx="3512">
                  <c:v>9</c:v>
                </c:pt>
                <c:pt idx="3513">
                  <c:v>0</c:v>
                </c:pt>
                <c:pt idx="3514">
                  <c:v>0</c:v>
                </c:pt>
                <c:pt idx="3515">
                  <c:v>4</c:v>
                </c:pt>
                <c:pt idx="3516">
                  <c:v>0</c:v>
                </c:pt>
                <c:pt idx="3517">
                  <c:v>2</c:v>
                </c:pt>
                <c:pt idx="3518">
                  <c:v>1</c:v>
                </c:pt>
                <c:pt idx="3519">
                  <c:v>0</c:v>
                </c:pt>
                <c:pt idx="3520">
                  <c:v>3</c:v>
                </c:pt>
                <c:pt idx="3521">
                  <c:v>0</c:v>
                </c:pt>
                <c:pt idx="3522">
                  <c:v>1</c:v>
                </c:pt>
                <c:pt idx="3523">
                  <c:v>0</c:v>
                </c:pt>
                <c:pt idx="3524">
                  <c:v>0</c:v>
                </c:pt>
                <c:pt idx="3525">
                  <c:v>1</c:v>
                </c:pt>
                <c:pt idx="3526">
                  <c:v>2</c:v>
                </c:pt>
                <c:pt idx="3527">
                  <c:v>2</c:v>
                </c:pt>
                <c:pt idx="3528">
                  <c:v>0</c:v>
                </c:pt>
                <c:pt idx="3529">
                  <c:v>1</c:v>
                </c:pt>
                <c:pt idx="3530">
                  <c:v>4</c:v>
                </c:pt>
                <c:pt idx="3531">
                  <c:v>1</c:v>
                </c:pt>
                <c:pt idx="3532">
                  <c:v>3</c:v>
                </c:pt>
                <c:pt idx="3533">
                  <c:v>0</c:v>
                </c:pt>
                <c:pt idx="3534">
                  <c:v>2</c:v>
                </c:pt>
                <c:pt idx="3535">
                  <c:v>8</c:v>
                </c:pt>
                <c:pt idx="3536">
                  <c:v>0</c:v>
                </c:pt>
                <c:pt idx="3537">
                  <c:v>3</c:v>
                </c:pt>
                <c:pt idx="3538">
                  <c:v>0</c:v>
                </c:pt>
                <c:pt idx="3539">
                  <c:v>3</c:v>
                </c:pt>
                <c:pt idx="3540">
                  <c:v>2</c:v>
                </c:pt>
                <c:pt idx="3541">
                  <c:v>0</c:v>
                </c:pt>
                <c:pt idx="3542">
                  <c:v>0</c:v>
                </c:pt>
                <c:pt idx="3543">
                  <c:v>6</c:v>
                </c:pt>
                <c:pt idx="3544">
                  <c:v>20</c:v>
                </c:pt>
                <c:pt idx="3545">
                  <c:v>0</c:v>
                </c:pt>
                <c:pt idx="3546">
                  <c:v>2</c:v>
                </c:pt>
                <c:pt idx="3547">
                  <c:v>1</c:v>
                </c:pt>
                <c:pt idx="3548">
                  <c:v>0</c:v>
                </c:pt>
                <c:pt idx="3549">
                  <c:v>2</c:v>
                </c:pt>
                <c:pt idx="3550">
                  <c:v>0</c:v>
                </c:pt>
                <c:pt idx="3551">
                  <c:v>0</c:v>
                </c:pt>
                <c:pt idx="3552">
                  <c:v>1</c:v>
                </c:pt>
                <c:pt idx="3553">
                  <c:v>0</c:v>
                </c:pt>
                <c:pt idx="3554">
                  <c:v>0</c:v>
                </c:pt>
                <c:pt idx="3555">
                  <c:v>6</c:v>
                </c:pt>
                <c:pt idx="3556">
                  <c:v>0</c:v>
                </c:pt>
                <c:pt idx="3557">
                  <c:v>5</c:v>
                </c:pt>
                <c:pt idx="3558">
                  <c:v>2</c:v>
                </c:pt>
                <c:pt idx="3559">
                  <c:v>0</c:v>
                </c:pt>
                <c:pt idx="3560">
                  <c:v>4</c:v>
                </c:pt>
                <c:pt idx="3561">
                  <c:v>1</c:v>
                </c:pt>
                <c:pt idx="3562">
                  <c:v>0</c:v>
                </c:pt>
                <c:pt idx="3563">
                  <c:v>1</c:v>
                </c:pt>
                <c:pt idx="3564">
                  <c:v>0</c:v>
                </c:pt>
                <c:pt idx="3565">
                  <c:v>1</c:v>
                </c:pt>
                <c:pt idx="3566">
                  <c:v>0</c:v>
                </c:pt>
                <c:pt idx="3567">
                  <c:v>0</c:v>
                </c:pt>
                <c:pt idx="3568">
                  <c:v>0</c:v>
                </c:pt>
                <c:pt idx="3569">
                  <c:v>0</c:v>
                </c:pt>
                <c:pt idx="3570">
                  <c:v>0</c:v>
                </c:pt>
                <c:pt idx="3571">
                  <c:v>9</c:v>
                </c:pt>
                <c:pt idx="3572">
                  <c:v>0</c:v>
                </c:pt>
                <c:pt idx="3573">
                  <c:v>0</c:v>
                </c:pt>
                <c:pt idx="3574">
                  <c:v>0</c:v>
                </c:pt>
                <c:pt idx="3575">
                  <c:v>2</c:v>
                </c:pt>
                <c:pt idx="3576">
                  <c:v>7</c:v>
                </c:pt>
                <c:pt idx="3577">
                  <c:v>5</c:v>
                </c:pt>
                <c:pt idx="3578">
                  <c:v>0</c:v>
                </c:pt>
                <c:pt idx="3579">
                  <c:v>0</c:v>
                </c:pt>
                <c:pt idx="3580">
                  <c:v>0</c:v>
                </c:pt>
                <c:pt idx="3581">
                  <c:v>5</c:v>
                </c:pt>
                <c:pt idx="3582">
                  <c:v>1</c:v>
                </c:pt>
                <c:pt idx="3583">
                  <c:v>0</c:v>
                </c:pt>
                <c:pt idx="3584">
                  <c:v>0</c:v>
                </c:pt>
                <c:pt idx="3585">
                  <c:v>0</c:v>
                </c:pt>
                <c:pt idx="3586">
                  <c:v>1</c:v>
                </c:pt>
                <c:pt idx="3587">
                  <c:v>0</c:v>
                </c:pt>
                <c:pt idx="3588">
                  <c:v>7</c:v>
                </c:pt>
                <c:pt idx="3589">
                  <c:v>2</c:v>
                </c:pt>
                <c:pt idx="3590">
                  <c:v>7</c:v>
                </c:pt>
                <c:pt idx="3591">
                  <c:v>4</c:v>
                </c:pt>
                <c:pt idx="3592">
                  <c:v>1</c:v>
                </c:pt>
                <c:pt idx="3593">
                  <c:v>0</c:v>
                </c:pt>
                <c:pt idx="3594">
                  <c:v>2</c:v>
                </c:pt>
                <c:pt idx="3595">
                  <c:v>25</c:v>
                </c:pt>
                <c:pt idx="3596">
                  <c:v>2</c:v>
                </c:pt>
                <c:pt idx="3597">
                  <c:v>1</c:v>
                </c:pt>
                <c:pt idx="3598">
                  <c:v>0</c:v>
                </c:pt>
                <c:pt idx="3599">
                  <c:v>1</c:v>
                </c:pt>
                <c:pt idx="3600">
                  <c:v>2</c:v>
                </c:pt>
                <c:pt idx="3601">
                  <c:v>1</c:v>
                </c:pt>
                <c:pt idx="3602">
                  <c:v>5</c:v>
                </c:pt>
                <c:pt idx="3603">
                  <c:v>2</c:v>
                </c:pt>
                <c:pt idx="3604">
                  <c:v>6</c:v>
                </c:pt>
                <c:pt idx="3605">
                  <c:v>6</c:v>
                </c:pt>
                <c:pt idx="3606">
                  <c:v>1</c:v>
                </c:pt>
                <c:pt idx="3607">
                  <c:v>2</c:v>
                </c:pt>
                <c:pt idx="3608">
                  <c:v>2</c:v>
                </c:pt>
                <c:pt idx="3609">
                  <c:v>1</c:v>
                </c:pt>
                <c:pt idx="3610">
                  <c:v>0</c:v>
                </c:pt>
                <c:pt idx="3611">
                  <c:v>18</c:v>
                </c:pt>
                <c:pt idx="3612">
                  <c:v>1</c:v>
                </c:pt>
                <c:pt idx="3613">
                  <c:v>1</c:v>
                </c:pt>
                <c:pt idx="3614">
                  <c:v>1</c:v>
                </c:pt>
                <c:pt idx="3615">
                  <c:v>8</c:v>
                </c:pt>
                <c:pt idx="3616">
                  <c:v>10</c:v>
                </c:pt>
                <c:pt idx="3617">
                  <c:v>4</c:v>
                </c:pt>
                <c:pt idx="3618">
                  <c:v>2</c:v>
                </c:pt>
                <c:pt idx="3619">
                  <c:v>10</c:v>
                </c:pt>
                <c:pt idx="3620">
                  <c:v>1</c:v>
                </c:pt>
                <c:pt idx="3621">
                  <c:v>3</c:v>
                </c:pt>
                <c:pt idx="3622">
                  <c:v>2</c:v>
                </c:pt>
                <c:pt idx="3623">
                  <c:v>2</c:v>
                </c:pt>
                <c:pt idx="3624">
                  <c:v>0</c:v>
                </c:pt>
                <c:pt idx="3625">
                  <c:v>2</c:v>
                </c:pt>
                <c:pt idx="3626">
                  <c:v>1</c:v>
                </c:pt>
                <c:pt idx="3627">
                  <c:v>4</c:v>
                </c:pt>
                <c:pt idx="3628">
                  <c:v>14</c:v>
                </c:pt>
                <c:pt idx="3629">
                  <c:v>0</c:v>
                </c:pt>
                <c:pt idx="3630">
                  <c:v>1</c:v>
                </c:pt>
                <c:pt idx="3631">
                  <c:v>2</c:v>
                </c:pt>
                <c:pt idx="3632">
                  <c:v>2</c:v>
                </c:pt>
                <c:pt idx="3633">
                  <c:v>1</c:v>
                </c:pt>
                <c:pt idx="3634">
                  <c:v>1</c:v>
                </c:pt>
                <c:pt idx="3635">
                  <c:v>1</c:v>
                </c:pt>
                <c:pt idx="3636">
                  <c:v>7</c:v>
                </c:pt>
                <c:pt idx="3637">
                  <c:v>2</c:v>
                </c:pt>
                <c:pt idx="3638">
                  <c:v>0</c:v>
                </c:pt>
                <c:pt idx="3639">
                  <c:v>0</c:v>
                </c:pt>
                <c:pt idx="3640">
                  <c:v>1</c:v>
                </c:pt>
                <c:pt idx="3641">
                  <c:v>4</c:v>
                </c:pt>
                <c:pt idx="3642">
                  <c:v>4</c:v>
                </c:pt>
                <c:pt idx="3643">
                  <c:v>20</c:v>
                </c:pt>
                <c:pt idx="3644">
                  <c:v>2</c:v>
                </c:pt>
                <c:pt idx="3645">
                  <c:v>8</c:v>
                </c:pt>
                <c:pt idx="3646">
                  <c:v>2</c:v>
                </c:pt>
                <c:pt idx="3647">
                  <c:v>5</c:v>
                </c:pt>
                <c:pt idx="3648">
                  <c:v>1</c:v>
                </c:pt>
                <c:pt idx="3649">
                  <c:v>1</c:v>
                </c:pt>
                <c:pt idx="3650">
                  <c:v>3</c:v>
                </c:pt>
                <c:pt idx="3651">
                  <c:v>2</c:v>
                </c:pt>
                <c:pt idx="3652">
                  <c:v>4</c:v>
                </c:pt>
                <c:pt idx="3653">
                  <c:v>4</c:v>
                </c:pt>
                <c:pt idx="3654">
                  <c:v>2</c:v>
                </c:pt>
                <c:pt idx="3655">
                  <c:v>6</c:v>
                </c:pt>
                <c:pt idx="3656">
                  <c:v>5</c:v>
                </c:pt>
                <c:pt idx="3657">
                  <c:v>4</c:v>
                </c:pt>
                <c:pt idx="3658">
                  <c:v>0</c:v>
                </c:pt>
                <c:pt idx="3659">
                  <c:v>0</c:v>
                </c:pt>
                <c:pt idx="3660">
                  <c:v>2</c:v>
                </c:pt>
                <c:pt idx="3661">
                  <c:v>0</c:v>
                </c:pt>
                <c:pt idx="3662">
                  <c:v>10</c:v>
                </c:pt>
                <c:pt idx="3663">
                  <c:v>1</c:v>
                </c:pt>
                <c:pt idx="3664">
                  <c:v>0</c:v>
                </c:pt>
                <c:pt idx="3665">
                  <c:v>1</c:v>
                </c:pt>
                <c:pt idx="3666">
                  <c:v>0</c:v>
                </c:pt>
                <c:pt idx="3667">
                  <c:v>0</c:v>
                </c:pt>
                <c:pt idx="3668">
                  <c:v>0</c:v>
                </c:pt>
                <c:pt idx="3669">
                  <c:v>1</c:v>
                </c:pt>
                <c:pt idx="3670">
                  <c:v>0</c:v>
                </c:pt>
                <c:pt idx="3671">
                  <c:v>0</c:v>
                </c:pt>
                <c:pt idx="3672">
                  <c:v>0</c:v>
                </c:pt>
                <c:pt idx="3673">
                  <c:v>2</c:v>
                </c:pt>
                <c:pt idx="3674">
                  <c:v>0</c:v>
                </c:pt>
                <c:pt idx="3675">
                  <c:v>0</c:v>
                </c:pt>
                <c:pt idx="3676">
                  <c:v>0</c:v>
                </c:pt>
                <c:pt idx="3677">
                  <c:v>0</c:v>
                </c:pt>
                <c:pt idx="3678">
                  <c:v>0</c:v>
                </c:pt>
                <c:pt idx="3679">
                  <c:v>3</c:v>
                </c:pt>
                <c:pt idx="3680">
                  <c:v>1</c:v>
                </c:pt>
                <c:pt idx="3681">
                  <c:v>0</c:v>
                </c:pt>
                <c:pt idx="3682">
                  <c:v>2</c:v>
                </c:pt>
                <c:pt idx="3683">
                  <c:v>0</c:v>
                </c:pt>
                <c:pt idx="3684">
                  <c:v>0</c:v>
                </c:pt>
                <c:pt idx="3685">
                  <c:v>0</c:v>
                </c:pt>
                <c:pt idx="3686">
                  <c:v>1</c:v>
                </c:pt>
                <c:pt idx="3687">
                  <c:v>3</c:v>
                </c:pt>
                <c:pt idx="3688">
                  <c:v>4</c:v>
                </c:pt>
                <c:pt idx="3689">
                  <c:v>2</c:v>
                </c:pt>
                <c:pt idx="3690">
                  <c:v>0</c:v>
                </c:pt>
                <c:pt idx="3691">
                  <c:v>0</c:v>
                </c:pt>
                <c:pt idx="3692">
                  <c:v>9</c:v>
                </c:pt>
                <c:pt idx="3693">
                  <c:v>1</c:v>
                </c:pt>
                <c:pt idx="3694">
                  <c:v>1</c:v>
                </c:pt>
                <c:pt idx="3695">
                  <c:v>0</c:v>
                </c:pt>
                <c:pt idx="3696">
                  <c:v>1</c:v>
                </c:pt>
                <c:pt idx="3697">
                  <c:v>1</c:v>
                </c:pt>
                <c:pt idx="3698">
                  <c:v>0</c:v>
                </c:pt>
                <c:pt idx="3699">
                  <c:v>0</c:v>
                </c:pt>
                <c:pt idx="3700">
                  <c:v>0</c:v>
                </c:pt>
                <c:pt idx="3701">
                  <c:v>1</c:v>
                </c:pt>
                <c:pt idx="3702">
                  <c:v>0</c:v>
                </c:pt>
                <c:pt idx="3703">
                  <c:v>2</c:v>
                </c:pt>
                <c:pt idx="3704">
                  <c:v>2</c:v>
                </c:pt>
                <c:pt idx="3705">
                  <c:v>0</c:v>
                </c:pt>
                <c:pt idx="3706">
                  <c:v>1</c:v>
                </c:pt>
                <c:pt idx="3707">
                  <c:v>5</c:v>
                </c:pt>
                <c:pt idx="3708">
                  <c:v>2</c:v>
                </c:pt>
                <c:pt idx="3709">
                  <c:v>0</c:v>
                </c:pt>
                <c:pt idx="3710">
                  <c:v>6</c:v>
                </c:pt>
                <c:pt idx="3711">
                  <c:v>0</c:v>
                </c:pt>
                <c:pt idx="3712">
                  <c:v>1</c:v>
                </c:pt>
                <c:pt idx="3713">
                  <c:v>1</c:v>
                </c:pt>
                <c:pt idx="3714">
                  <c:v>6</c:v>
                </c:pt>
                <c:pt idx="3715">
                  <c:v>0</c:v>
                </c:pt>
                <c:pt idx="3716">
                  <c:v>0</c:v>
                </c:pt>
                <c:pt idx="3717">
                  <c:v>1</c:v>
                </c:pt>
                <c:pt idx="3718">
                  <c:v>1</c:v>
                </c:pt>
                <c:pt idx="3719">
                  <c:v>1</c:v>
                </c:pt>
                <c:pt idx="3720">
                  <c:v>0</c:v>
                </c:pt>
                <c:pt idx="3721">
                  <c:v>0</c:v>
                </c:pt>
                <c:pt idx="3722">
                  <c:v>0</c:v>
                </c:pt>
                <c:pt idx="3723">
                  <c:v>1</c:v>
                </c:pt>
                <c:pt idx="3724">
                  <c:v>1</c:v>
                </c:pt>
                <c:pt idx="3725">
                  <c:v>0</c:v>
                </c:pt>
                <c:pt idx="3726">
                  <c:v>0</c:v>
                </c:pt>
                <c:pt idx="3727">
                  <c:v>1</c:v>
                </c:pt>
                <c:pt idx="3728">
                  <c:v>0</c:v>
                </c:pt>
                <c:pt idx="3729">
                  <c:v>7</c:v>
                </c:pt>
                <c:pt idx="3730">
                  <c:v>0</c:v>
                </c:pt>
                <c:pt idx="3731">
                  <c:v>0</c:v>
                </c:pt>
                <c:pt idx="3732">
                  <c:v>0</c:v>
                </c:pt>
                <c:pt idx="3733">
                  <c:v>4</c:v>
                </c:pt>
                <c:pt idx="3734">
                  <c:v>0</c:v>
                </c:pt>
                <c:pt idx="3735">
                  <c:v>0</c:v>
                </c:pt>
                <c:pt idx="3736">
                  <c:v>0</c:v>
                </c:pt>
                <c:pt idx="3737">
                  <c:v>0</c:v>
                </c:pt>
                <c:pt idx="3738">
                  <c:v>0</c:v>
                </c:pt>
                <c:pt idx="3739">
                  <c:v>0</c:v>
                </c:pt>
                <c:pt idx="3740">
                  <c:v>0</c:v>
                </c:pt>
                <c:pt idx="3741">
                  <c:v>0</c:v>
                </c:pt>
                <c:pt idx="3742">
                  <c:v>0</c:v>
                </c:pt>
                <c:pt idx="3743">
                  <c:v>2</c:v>
                </c:pt>
                <c:pt idx="3744">
                  <c:v>1</c:v>
                </c:pt>
                <c:pt idx="3745">
                  <c:v>0</c:v>
                </c:pt>
                <c:pt idx="3746">
                  <c:v>0</c:v>
                </c:pt>
                <c:pt idx="3747">
                  <c:v>0</c:v>
                </c:pt>
                <c:pt idx="3748">
                  <c:v>3</c:v>
                </c:pt>
                <c:pt idx="3749">
                  <c:v>4</c:v>
                </c:pt>
                <c:pt idx="3750">
                  <c:v>1</c:v>
                </c:pt>
                <c:pt idx="3751">
                  <c:v>0</c:v>
                </c:pt>
                <c:pt idx="3752">
                  <c:v>0</c:v>
                </c:pt>
                <c:pt idx="3753">
                  <c:v>0</c:v>
                </c:pt>
                <c:pt idx="3754">
                  <c:v>0</c:v>
                </c:pt>
                <c:pt idx="3755">
                  <c:v>0</c:v>
                </c:pt>
                <c:pt idx="3756">
                  <c:v>0</c:v>
                </c:pt>
                <c:pt idx="3757">
                  <c:v>4</c:v>
                </c:pt>
                <c:pt idx="3758">
                  <c:v>2</c:v>
                </c:pt>
                <c:pt idx="3759">
                  <c:v>1</c:v>
                </c:pt>
                <c:pt idx="3760">
                  <c:v>0</c:v>
                </c:pt>
                <c:pt idx="3761">
                  <c:v>0</c:v>
                </c:pt>
                <c:pt idx="3762">
                  <c:v>1</c:v>
                </c:pt>
                <c:pt idx="3763">
                  <c:v>0</c:v>
                </c:pt>
                <c:pt idx="3764">
                  <c:v>0</c:v>
                </c:pt>
                <c:pt idx="3765">
                  <c:v>3</c:v>
                </c:pt>
                <c:pt idx="3766">
                  <c:v>0</c:v>
                </c:pt>
                <c:pt idx="3767">
                  <c:v>0</c:v>
                </c:pt>
                <c:pt idx="3768">
                  <c:v>0</c:v>
                </c:pt>
                <c:pt idx="3769">
                  <c:v>1</c:v>
                </c:pt>
                <c:pt idx="3770">
                  <c:v>1</c:v>
                </c:pt>
                <c:pt idx="3771">
                  <c:v>6</c:v>
                </c:pt>
                <c:pt idx="3772">
                  <c:v>0</c:v>
                </c:pt>
                <c:pt idx="3773">
                  <c:v>0</c:v>
                </c:pt>
                <c:pt idx="3774">
                  <c:v>0</c:v>
                </c:pt>
                <c:pt idx="3775">
                  <c:v>6</c:v>
                </c:pt>
                <c:pt idx="3776">
                  <c:v>0</c:v>
                </c:pt>
                <c:pt idx="3777">
                  <c:v>4</c:v>
                </c:pt>
                <c:pt idx="3778">
                  <c:v>0</c:v>
                </c:pt>
                <c:pt idx="3779">
                  <c:v>2</c:v>
                </c:pt>
                <c:pt idx="3780">
                  <c:v>0</c:v>
                </c:pt>
                <c:pt idx="3781">
                  <c:v>0</c:v>
                </c:pt>
                <c:pt idx="3782">
                  <c:v>0</c:v>
                </c:pt>
                <c:pt idx="3783">
                  <c:v>0</c:v>
                </c:pt>
                <c:pt idx="3784">
                  <c:v>0</c:v>
                </c:pt>
                <c:pt idx="3785">
                  <c:v>0</c:v>
                </c:pt>
                <c:pt idx="3786">
                  <c:v>2</c:v>
                </c:pt>
                <c:pt idx="3787">
                  <c:v>3</c:v>
                </c:pt>
                <c:pt idx="3788">
                  <c:v>0</c:v>
                </c:pt>
                <c:pt idx="3789">
                  <c:v>0</c:v>
                </c:pt>
                <c:pt idx="3790">
                  <c:v>1</c:v>
                </c:pt>
                <c:pt idx="3791">
                  <c:v>2</c:v>
                </c:pt>
                <c:pt idx="3792">
                  <c:v>0</c:v>
                </c:pt>
                <c:pt idx="3793">
                  <c:v>0</c:v>
                </c:pt>
                <c:pt idx="3794">
                  <c:v>0</c:v>
                </c:pt>
                <c:pt idx="3795">
                  <c:v>0</c:v>
                </c:pt>
                <c:pt idx="3796">
                  <c:v>3</c:v>
                </c:pt>
                <c:pt idx="3797">
                  <c:v>0</c:v>
                </c:pt>
                <c:pt idx="3798">
                  <c:v>0</c:v>
                </c:pt>
                <c:pt idx="3799">
                  <c:v>0</c:v>
                </c:pt>
                <c:pt idx="3800">
                  <c:v>0</c:v>
                </c:pt>
                <c:pt idx="3801">
                  <c:v>0</c:v>
                </c:pt>
                <c:pt idx="3802">
                  <c:v>1</c:v>
                </c:pt>
                <c:pt idx="3803">
                  <c:v>3</c:v>
                </c:pt>
                <c:pt idx="3804">
                  <c:v>0</c:v>
                </c:pt>
                <c:pt idx="3805">
                  <c:v>11</c:v>
                </c:pt>
                <c:pt idx="3806">
                  <c:v>0</c:v>
                </c:pt>
                <c:pt idx="3807">
                  <c:v>0</c:v>
                </c:pt>
                <c:pt idx="3808">
                  <c:v>1</c:v>
                </c:pt>
                <c:pt idx="3809">
                  <c:v>2</c:v>
                </c:pt>
                <c:pt idx="3810">
                  <c:v>0</c:v>
                </c:pt>
                <c:pt idx="3811">
                  <c:v>3</c:v>
                </c:pt>
                <c:pt idx="3812">
                  <c:v>0</c:v>
                </c:pt>
                <c:pt idx="3813">
                  <c:v>1</c:v>
                </c:pt>
                <c:pt idx="3814">
                  <c:v>5</c:v>
                </c:pt>
                <c:pt idx="3815">
                  <c:v>3</c:v>
                </c:pt>
                <c:pt idx="3816">
                  <c:v>0</c:v>
                </c:pt>
                <c:pt idx="3817">
                  <c:v>2</c:v>
                </c:pt>
                <c:pt idx="3818">
                  <c:v>0</c:v>
                </c:pt>
                <c:pt idx="3819">
                  <c:v>1</c:v>
                </c:pt>
                <c:pt idx="3820">
                  <c:v>5</c:v>
                </c:pt>
                <c:pt idx="3821">
                  <c:v>3</c:v>
                </c:pt>
                <c:pt idx="3822">
                  <c:v>0</c:v>
                </c:pt>
                <c:pt idx="3823">
                  <c:v>0</c:v>
                </c:pt>
                <c:pt idx="3824">
                  <c:v>3</c:v>
                </c:pt>
                <c:pt idx="3825">
                  <c:v>3</c:v>
                </c:pt>
                <c:pt idx="3826">
                  <c:v>1</c:v>
                </c:pt>
                <c:pt idx="3827">
                  <c:v>0</c:v>
                </c:pt>
                <c:pt idx="3828">
                  <c:v>3</c:v>
                </c:pt>
                <c:pt idx="3829">
                  <c:v>0</c:v>
                </c:pt>
                <c:pt idx="3830">
                  <c:v>2</c:v>
                </c:pt>
                <c:pt idx="3831">
                  <c:v>1</c:v>
                </c:pt>
                <c:pt idx="3832">
                  <c:v>0</c:v>
                </c:pt>
                <c:pt idx="3833">
                  <c:v>1</c:v>
                </c:pt>
                <c:pt idx="3834">
                  <c:v>10</c:v>
                </c:pt>
                <c:pt idx="3835">
                  <c:v>1</c:v>
                </c:pt>
                <c:pt idx="3836">
                  <c:v>0</c:v>
                </c:pt>
                <c:pt idx="3837">
                  <c:v>0</c:v>
                </c:pt>
                <c:pt idx="3838">
                  <c:v>0</c:v>
                </c:pt>
                <c:pt idx="3839">
                  <c:v>2</c:v>
                </c:pt>
                <c:pt idx="3840">
                  <c:v>0</c:v>
                </c:pt>
                <c:pt idx="3841">
                  <c:v>13</c:v>
                </c:pt>
                <c:pt idx="3842">
                  <c:v>4</c:v>
                </c:pt>
                <c:pt idx="3843">
                  <c:v>1</c:v>
                </c:pt>
                <c:pt idx="3844">
                  <c:v>0</c:v>
                </c:pt>
                <c:pt idx="3845">
                  <c:v>1</c:v>
                </c:pt>
                <c:pt idx="3846">
                  <c:v>1</c:v>
                </c:pt>
                <c:pt idx="3847">
                  <c:v>0</c:v>
                </c:pt>
                <c:pt idx="3848">
                  <c:v>0</c:v>
                </c:pt>
                <c:pt idx="3849">
                  <c:v>1</c:v>
                </c:pt>
                <c:pt idx="3850">
                  <c:v>0</c:v>
                </c:pt>
                <c:pt idx="3851">
                  <c:v>0</c:v>
                </c:pt>
                <c:pt idx="3852">
                  <c:v>0</c:v>
                </c:pt>
                <c:pt idx="3853">
                  <c:v>3</c:v>
                </c:pt>
                <c:pt idx="3854">
                  <c:v>0</c:v>
                </c:pt>
                <c:pt idx="3855">
                  <c:v>0</c:v>
                </c:pt>
                <c:pt idx="3856">
                  <c:v>0</c:v>
                </c:pt>
                <c:pt idx="3857">
                  <c:v>2</c:v>
                </c:pt>
                <c:pt idx="3858">
                  <c:v>0</c:v>
                </c:pt>
                <c:pt idx="3859">
                  <c:v>0</c:v>
                </c:pt>
                <c:pt idx="3860">
                  <c:v>0</c:v>
                </c:pt>
                <c:pt idx="3861">
                  <c:v>0</c:v>
                </c:pt>
                <c:pt idx="3862">
                  <c:v>4</c:v>
                </c:pt>
                <c:pt idx="3863">
                  <c:v>0</c:v>
                </c:pt>
                <c:pt idx="3864">
                  <c:v>0</c:v>
                </c:pt>
                <c:pt idx="3865">
                  <c:v>0</c:v>
                </c:pt>
                <c:pt idx="3866">
                  <c:v>1</c:v>
                </c:pt>
                <c:pt idx="3867">
                  <c:v>0</c:v>
                </c:pt>
                <c:pt idx="3868">
                  <c:v>0</c:v>
                </c:pt>
                <c:pt idx="3869">
                  <c:v>0</c:v>
                </c:pt>
                <c:pt idx="3870">
                  <c:v>0</c:v>
                </c:pt>
                <c:pt idx="3871">
                  <c:v>0</c:v>
                </c:pt>
                <c:pt idx="3872">
                  <c:v>0</c:v>
                </c:pt>
                <c:pt idx="3873">
                  <c:v>7</c:v>
                </c:pt>
                <c:pt idx="3874">
                  <c:v>1</c:v>
                </c:pt>
                <c:pt idx="3875">
                  <c:v>0</c:v>
                </c:pt>
                <c:pt idx="3876">
                  <c:v>1</c:v>
                </c:pt>
                <c:pt idx="3877">
                  <c:v>0</c:v>
                </c:pt>
                <c:pt idx="3878">
                  <c:v>0</c:v>
                </c:pt>
                <c:pt idx="3879">
                  <c:v>2</c:v>
                </c:pt>
                <c:pt idx="3880">
                  <c:v>0</c:v>
                </c:pt>
                <c:pt idx="3881">
                  <c:v>0</c:v>
                </c:pt>
                <c:pt idx="3882">
                  <c:v>0</c:v>
                </c:pt>
                <c:pt idx="3883">
                  <c:v>3</c:v>
                </c:pt>
                <c:pt idx="3884">
                  <c:v>0</c:v>
                </c:pt>
                <c:pt idx="3885">
                  <c:v>0</c:v>
                </c:pt>
                <c:pt idx="3886">
                  <c:v>0</c:v>
                </c:pt>
                <c:pt idx="3887">
                  <c:v>2</c:v>
                </c:pt>
                <c:pt idx="3888">
                  <c:v>0</c:v>
                </c:pt>
                <c:pt idx="3889">
                  <c:v>2</c:v>
                </c:pt>
                <c:pt idx="3890">
                  <c:v>1</c:v>
                </c:pt>
                <c:pt idx="3891">
                  <c:v>0</c:v>
                </c:pt>
                <c:pt idx="3892">
                  <c:v>1</c:v>
                </c:pt>
                <c:pt idx="3893">
                  <c:v>1</c:v>
                </c:pt>
                <c:pt idx="3894">
                  <c:v>1</c:v>
                </c:pt>
                <c:pt idx="3895">
                  <c:v>0</c:v>
                </c:pt>
                <c:pt idx="3896">
                  <c:v>0</c:v>
                </c:pt>
                <c:pt idx="3897">
                  <c:v>0</c:v>
                </c:pt>
                <c:pt idx="3898">
                  <c:v>0</c:v>
                </c:pt>
                <c:pt idx="3899">
                  <c:v>3</c:v>
                </c:pt>
                <c:pt idx="3900">
                  <c:v>0</c:v>
                </c:pt>
                <c:pt idx="3901">
                  <c:v>0</c:v>
                </c:pt>
                <c:pt idx="3902">
                  <c:v>1</c:v>
                </c:pt>
                <c:pt idx="3903">
                  <c:v>0</c:v>
                </c:pt>
                <c:pt idx="3904">
                  <c:v>0</c:v>
                </c:pt>
                <c:pt idx="3905">
                  <c:v>1</c:v>
                </c:pt>
                <c:pt idx="3906">
                  <c:v>0</c:v>
                </c:pt>
                <c:pt idx="3907">
                  <c:v>0</c:v>
                </c:pt>
                <c:pt idx="3908">
                  <c:v>0</c:v>
                </c:pt>
                <c:pt idx="3909">
                  <c:v>0</c:v>
                </c:pt>
                <c:pt idx="3910">
                  <c:v>1</c:v>
                </c:pt>
                <c:pt idx="3911">
                  <c:v>0</c:v>
                </c:pt>
                <c:pt idx="3912">
                  <c:v>2</c:v>
                </c:pt>
                <c:pt idx="3913">
                  <c:v>1</c:v>
                </c:pt>
                <c:pt idx="3914">
                  <c:v>0</c:v>
                </c:pt>
                <c:pt idx="3915">
                  <c:v>0</c:v>
                </c:pt>
                <c:pt idx="3916">
                  <c:v>0</c:v>
                </c:pt>
                <c:pt idx="3917">
                  <c:v>2</c:v>
                </c:pt>
                <c:pt idx="3918">
                  <c:v>0</c:v>
                </c:pt>
                <c:pt idx="3919">
                  <c:v>0</c:v>
                </c:pt>
                <c:pt idx="3920">
                  <c:v>3</c:v>
                </c:pt>
                <c:pt idx="3921">
                  <c:v>2</c:v>
                </c:pt>
                <c:pt idx="3922">
                  <c:v>4</c:v>
                </c:pt>
                <c:pt idx="3923">
                  <c:v>0</c:v>
                </c:pt>
                <c:pt idx="3924">
                  <c:v>0</c:v>
                </c:pt>
                <c:pt idx="3925">
                  <c:v>5</c:v>
                </c:pt>
                <c:pt idx="3926">
                  <c:v>0</c:v>
                </c:pt>
                <c:pt idx="3927">
                  <c:v>0</c:v>
                </c:pt>
                <c:pt idx="3928">
                  <c:v>1</c:v>
                </c:pt>
                <c:pt idx="3929">
                  <c:v>0</c:v>
                </c:pt>
                <c:pt idx="3930">
                  <c:v>0</c:v>
                </c:pt>
                <c:pt idx="3931">
                  <c:v>0</c:v>
                </c:pt>
                <c:pt idx="3932">
                  <c:v>0</c:v>
                </c:pt>
                <c:pt idx="3933">
                  <c:v>0</c:v>
                </c:pt>
                <c:pt idx="3934">
                  <c:v>1</c:v>
                </c:pt>
                <c:pt idx="3935">
                  <c:v>0</c:v>
                </c:pt>
                <c:pt idx="3936">
                  <c:v>0</c:v>
                </c:pt>
                <c:pt idx="3937">
                  <c:v>2</c:v>
                </c:pt>
                <c:pt idx="3938">
                  <c:v>0</c:v>
                </c:pt>
                <c:pt idx="3939">
                  <c:v>0</c:v>
                </c:pt>
                <c:pt idx="3940">
                  <c:v>0</c:v>
                </c:pt>
                <c:pt idx="3941">
                  <c:v>0</c:v>
                </c:pt>
                <c:pt idx="3942">
                  <c:v>0</c:v>
                </c:pt>
                <c:pt idx="3943">
                  <c:v>0</c:v>
                </c:pt>
                <c:pt idx="3944">
                  <c:v>0</c:v>
                </c:pt>
                <c:pt idx="3945">
                  <c:v>0</c:v>
                </c:pt>
                <c:pt idx="3946">
                  <c:v>46</c:v>
                </c:pt>
                <c:pt idx="3947">
                  <c:v>0</c:v>
                </c:pt>
                <c:pt idx="3948">
                  <c:v>0</c:v>
                </c:pt>
                <c:pt idx="3949">
                  <c:v>4</c:v>
                </c:pt>
                <c:pt idx="3950">
                  <c:v>0</c:v>
                </c:pt>
                <c:pt idx="3951">
                  <c:v>0</c:v>
                </c:pt>
                <c:pt idx="3952">
                  <c:v>0</c:v>
                </c:pt>
                <c:pt idx="3953">
                  <c:v>0</c:v>
                </c:pt>
                <c:pt idx="3954">
                  <c:v>5</c:v>
                </c:pt>
                <c:pt idx="3955">
                  <c:v>0</c:v>
                </c:pt>
                <c:pt idx="3956">
                  <c:v>0</c:v>
                </c:pt>
                <c:pt idx="3957">
                  <c:v>2</c:v>
                </c:pt>
                <c:pt idx="3958">
                  <c:v>0</c:v>
                </c:pt>
                <c:pt idx="3959">
                  <c:v>8</c:v>
                </c:pt>
                <c:pt idx="3960">
                  <c:v>1</c:v>
                </c:pt>
                <c:pt idx="3961">
                  <c:v>1</c:v>
                </c:pt>
                <c:pt idx="3962">
                  <c:v>0</c:v>
                </c:pt>
                <c:pt idx="3963">
                  <c:v>0</c:v>
                </c:pt>
                <c:pt idx="3964">
                  <c:v>3</c:v>
                </c:pt>
                <c:pt idx="3965">
                  <c:v>0</c:v>
                </c:pt>
                <c:pt idx="3966">
                  <c:v>0</c:v>
                </c:pt>
                <c:pt idx="3967">
                  <c:v>0</c:v>
                </c:pt>
                <c:pt idx="3968">
                  <c:v>0</c:v>
                </c:pt>
                <c:pt idx="3969">
                  <c:v>0</c:v>
                </c:pt>
                <c:pt idx="3970">
                  <c:v>0</c:v>
                </c:pt>
                <c:pt idx="3971">
                  <c:v>0</c:v>
                </c:pt>
                <c:pt idx="3972">
                  <c:v>8</c:v>
                </c:pt>
                <c:pt idx="3973">
                  <c:v>6</c:v>
                </c:pt>
                <c:pt idx="3974">
                  <c:v>0</c:v>
                </c:pt>
                <c:pt idx="3975">
                  <c:v>2</c:v>
                </c:pt>
                <c:pt idx="3976">
                  <c:v>0</c:v>
                </c:pt>
                <c:pt idx="3977">
                  <c:v>0</c:v>
                </c:pt>
                <c:pt idx="3978">
                  <c:v>0</c:v>
                </c:pt>
                <c:pt idx="3979">
                  <c:v>0</c:v>
                </c:pt>
                <c:pt idx="3980">
                  <c:v>3</c:v>
                </c:pt>
                <c:pt idx="3981">
                  <c:v>1</c:v>
                </c:pt>
                <c:pt idx="3982">
                  <c:v>0</c:v>
                </c:pt>
                <c:pt idx="3983">
                  <c:v>2</c:v>
                </c:pt>
                <c:pt idx="3984">
                  <c:v>5</c:v>
                </c:pt>
                <c:pt idx="3985">
                  <c:v>0</c:v>
                </c:pt>
                <c:pt idx="3986">
                  <c:v>2</c:v>
                </c:pt>
                <c:pt idx="3987">
                  <c:v>3</c:v>
                </c:pt>
                <c:pt idx="3988">
                  <c:v>21</c:v>
                </c:pt>
                <c:pt idx="3989">
                  <c:v>3</c:v>
                </c:pt>
                <c:pt idx="3990">
                  <c:v>2</c:v>
                </c:pt>
                <c:pt idx="3991">
                  <c:v>0</c:v>
                </c:pt>
                <c:pt idx="3992">
                  <c:v>0</c:v>
                </c:pt>
                <c:pt idx="3993">
                  <c:v>0</c:v>
                </c:pt>
                <c:pt idx="3994">
                  <c:v>0</c:v>
                </c:pt>
                <c:pt idx="3995">
                  <c:v>0</c:v>
                </c:pt>
                <c:pt idx="3996">
                  <c:v>0</c:v>
                </c:pt>
                <c:pt idx="3997">
                  <c:v>1</c:v>
                </c:pt>
                <c:pt idx="3998">
                  <c:v>0</c:v>
                </c:pt>
                <c:pt idx="3999">
                  <c:v>0</c:v>
                </c:pt>
                <c:pt idx="4000">
                  <c:v>0</c:v>
                </c:pt>
                <c:pt idx="4001">
                  <c:v>0</c:v>
                </c:pt>
                <c:pt idx="4002">
                  <c:v>1</c:v>
                </c:pt>
                <c:pt idx="4003">
                  <c:v>0</c:v>
                </c:pt>
                <c:pt idx="4004">
                  <c:v>0</c:v>
                </c:pt>
                <c:pt idx="4005">
                  <c:v>0</c:v>
                </c:pt>
                <c:pt idx="4006">
                  <c:v>1</c:v>
                </c:pt>
                <c:pt idx="4007">
                  <c:v>1</c:v>
                </c:pt>
                <c:pt idx="4008">
                  <c:v>0</c:v>
                </c:pt>
                <c:pt idx="4009">
                  <c:v>3</c:v>
                </c:pt>
                <c:pt idx="4010">
                  <c:v>0</c:v>
                </c:pt>
                <c:pt idx="4011">
                  <c:v>1</c:v>
                </c:pt>
                <c:pt idx="4012">
                  <c:v>0</c:v>
                </c:pt>
                <c:pt idx="4013">
                  <c:v>0</c:v>
                </c:pt>
                <c:pt idx="4014">
                  <c:v>1</c:v>
                </c:pt>
                <c:pt idx="4015">
                  <c:v>3</c:v>
                </c:pt>
                <c:pt idx="4016">
                  <c:v>0</c:v>
                </c:pt>
                <c:pt idx="4017">
                  <c:v>11</c:v>
                </c:pt>
                <c:pt idx="4018">
                  <c:v>1</c:v>
                </c:pt>
                <c:pt idx="4019">
                  <c:v>0</c:v>
                </c:pt>
                <c:pt idx="4020">
                  <c:v>0</c:v>
                </c:pt>
                <c:pt idx="4021">
                  <c:v>0</c:v>
                </c:pt>
                <c:pt idx="4022">
                  <c:v>13</c:v>
                </c:pt>
                <c:pt idx="4023">
                  <c:v>1</c:v>
                </c:pt>
                <c:pt idx="4024">
                  <c:v>3</c:v>
                </c:pt>
                <c:pt idx="4025">
                  <c:v>0</c:v>
                </c:pt>
                <c:pt idx="4026">
                  <c:v>1</c:v>
                </c:pt>
                <c:pt idx="4027">
                  <c:v>3</c:v>
                </c:pt>
                <c:pt idx="4028">
                  <c:v>0</c:v>
                </c:pt>
                <c:pt idx="4029">
                  <c:v>3</c:v>
                </c:pt>
                <c:pt idx="4030">
                  <c:v>0</c:v>
                </c:pt>
                <c:pt idx="4031">
                  <c:v>0</c:v>
                </c:pt>
                <c:pt idx="4032">
                  <c:v>0</c:v>
                </c:pt>
                <c:pt idx="4033">
                  <c:v>0</c:v>
                </c:pt>
                <c:pt idx="4034">
                  <c:v>0</c:v>
                </c:pt>
                <c:pt idx="4035">
                  <c:v>2</c:v>
                </c:pt>
                <c:pt idx="4036">
                  <c:v>3</c:v>
                </c:pt>
                <c:pt idx="4037">
                  <c:v>13</c:v>
                </c:pt>
                <c:pt idx="4038">
                  <c:v>0</c:v>
                </c:pt>
                <c:pt idx="4039">
                  <c:v>2</c:v>
                </c:pt>
                <c:pt idx="4040">
                  <c:v>1</c:v>
                </c:pt>
                <c:pt idx="4041">
                  <c:v>1</c:v>
                </c:pt>
                <c:pt idx="4042">
                  <c:v>3</c:v>
                </c:pt>
                <c:pt idx="4043">
                  <c:v>0</c:v>
                </c:pt>
                <c:pt idx="4044">
                  <c:v>2</c:v>
                </c:pt>
                <c:pt idx="4045">
                  <c:v>1</c:v>
                </c:pt>
                <c:pt idx="4046">
                  <c:v>0</c:v>
                </c:pt>
                <c:pt idx="4047">
                  <c:v>1</c:v>
                </c:pt>
                <c:pt idx="4048">
                  <c:v>2</c:v>
                </c:pt>
                <c:pt idx="4049">
                  <c:v>0</c:v>
                </c:pt>
                <c:pt idx="4050">
                  <c:v>0</c:v>
                </c:pt>
                <c:pt idx="4051">
                  <c:v>1</c:v>
                </c:pt>
                <c:pt idx="4052">
                  <c:v>2</c:v>
                </c:pt>
                <c:pt idx="4053">
                  <c:v>3</c:v>
                </c:pt>
                <c:pt idx="4054">
                  <c:v>0</c:v>
                </c:pt>
                <c:pt idx="4055">
                  <c:v>3</c:v>
                </c:pt>
                <c:pt idx="4056">
                  <c:v>0</c:v>
                </c:pt>
                <c:pt idx="4057">
                  <c:v>0</c:v>
                </c:pt>
                <c:pt idx="4058">
                  <c:v>1</c:v>
                </c:pt>
                <c:pt idx="4059">
                  <c:v>9</c:v>
                </c:pt>
                <c:pt idx="4060">
                  <c:v>1</c:v>
                </c:pt>
                <c:pt idx="4061">
                  <c:v>5</c:v>
                </c:pt>
                <c:pt idx="4062">
                  <c:v>0</c:v>
                </c:pt>
                <c:pt idx="4063">
                  <c:v>1</c:v>
                </c:pt>
                <c:pt idx="4064">
                  <c:v>2</c:v>
                </c:pt>
                <c:pt idx="4065">
                  <c:v>1</c:v>
                </c:pt>
                <c:pt idx="4066">
                  <c:v>0</c:v>
                </c:pt>
                <c:pt idx="4067">
                  <c:v>0</c:v>
                </c:pt>
                <c:pt idx="4068">
                  <c:v>5</c:v>
                </c:pt>
                <c:pt idx="4069">
                  <c:v>38</c:v>
                </c:pt>
                <c:pt idx="4070">
                  <c:v>7</c:v>
                </c:pt>
                <c:pt idx="4071">
                  <c:v>0</c:v>
                </c:pt>
                <c:pt idx="4072">
                  <c:v>1</c:v>
                </c:pt>
                <c:pt idx="4073">
                  <c:v>0</c:v>
                </c:pt>
                <c:pt idx="4074">
                  <c:v>1</c:v>
                </c:pt>
                <c:pt idx="4075">
                  <c:v>0</c:v>
                </c:pt>
                <c:pt idx="4076">
                  <c:v>0</c:v>
                </c:pt>
                <c:pt idx="4077">
                  <c:v>2</c:v>
                </c:pt>
                <c:pt idx="4078">
                  <c:v>5</c:v>
                </c:pt>
                <c:pt idx="4079">
                  <c:v>8</c:v>
                </c:pt>
                <c:pt idx="4080">
                  <c:v>7</c:v>
                </c:pt>
                <c:pt idx="4081">
                  <c:v>1</c:v>
                </c:pt>
                <c:pt idx="4082">
                  <c:v>4</c:v>
                </c:pt>
                <c:pt idx="4083">
                  <c:v>33</c:v>
                </c:pt>
                <c:pt idx="4084">
                  <c:v>0</c:v>
                </c:pt>
                <c:pt idx="4085">
                  <c:v>0</c:v>
                </c:pt>
                <c:pt idx="4086">
                  <c:v>0</c:v>
                </c:pt>
                <c:pt idx="4087">
                  <c:v>0</c:v>
                </c:pt>
                <c:pt idx="4088">
                  <c:v>47</c:v>
                </c:pt>
                <c:pt idx="4089">
                  <c:v>9</c:v>
                </c:pt>
                <c:pt idx="4090">
                  <c:v>1</c:v>
                </c:pt>
                <c:pt idx="4091">
                  <c:v>0</c:v>
                </c:pt>
                <c:pt idx="4092">
                  <c:v>0</c:v>
                </c:pt>
                <c:pt idx="4093">
                  <c:v>0</c:v>
                </c:pt>
                <c:pt idx="4094">
                  <c:v>0</c:v>
                </c:pt>
                <c:pt idx="4095">
                  <c:v>0</c:v>
                </c:pt>
                <c:pt idx="4096">
                  <c:v>0</c:v>
                </c:pt>
                <c:pt idx="4097">
                  <c:v>0</c:v>
                </c:pt>
                <c:pt idx="4098">
                  <c:v>6</c:v>
                </c:pt>
                <c:pt idx="4099">
                  <c:v>0</c:v>
                </c:pt>
                <c:pt idx="4100">
                  <c:v>0</c:v>
                </c:pt>
                <c:pt idx="4101">
                  <c:v>0</c:v>
                </c:pt>
                <c:pt idx="4102">
                  <c:v>0</c:v>
                </c:pt>
                <c:pt idx="4103">
                  <c:v>0</c:v>
                </c:pt>
                <c:pt idx="4104">
                  <c:v>4</c:v>
                </c:pt>
                <c:pt idx="4105">
                  <c:v>3</c:v>
                </c:pt>
                <c:pt idx="4106">
                  <c:v>3</c:v>
                </c:pt>
                <c:pt idx="4107">
                  <c:v>0</c:v>
                </c:pt>
                <c:pt idx="4108">
                  <c:v>0</c:v>
                </c:pt>
                <c:pt idx="4109">
                  <c:v>1</c:v>
                </c:pt>
                <c:pt idx="4110">
                  <c:v>0</c:v>
                </c:pt>
                <c:pt idx="4111">
                  <c:v>0</c:v>
                </c:pt>
                <c:pt idx="4112">
                  <c:v>1</c:v>
                </c:pt>
                <c:pt idx="4113">
                  <c:v>8</c:v>
                </c:pt>
                <c:pt idx="4114">
                  <c:v>8</c:v>
                </c:pt>
                <c:pt idx="4115">
                  <c:v>0</c:v>
                </c:pt>
                <c:pt idx="4116">
                  <c:v>14</c:v>
                </c:pt>
                <c:pt idx="4117">
                  <c:v>2</c:v>
                </c:pt>
                <c:pt idx="4118">
                  <c:v>6</c:v>
                </c:pt>
                <c:pt idx="4119">
                  <c:v>0</c:v>
                </c:pt>
                <c:pt idx="4120">
                  <c:v>0</c:v>
                </c:pt>
                <c:pt idx="4121">
                  <c:v>5</c:v>
                </c:pt>
                <c:pt idx="4122">
                  <c:v>0</c:v>
                </c:pt>
                <c:pt idx="4123">
                  <c:v>0</c:v>
                </c:pt>
                <c:pt idx="4124">
                  <c:v>0</c:v>
                </c:pt>
                <c:pt idx="4125">
                  <c:v>0</c:v>
                </c:pt>
                <c:pt idx="4126">
                  <c:v>1</c:v>
                </c:pt>
                <c:pt idx="4127">
                  <c:v>0</c:v>
                </c:pt>
                <c:pt idx="4128">
                  <c:v>2</c:v>
                </c:pt>
                <c:pt idx="4129">
                  <c:v>0</c:v>
                </c:pt>
                <c:pt idx="4130">
                  <c:v>2</c:v>
                </c:pt>
                <c:pt idx="4131">
                  <c:v>0</c:v>
                </c:pt>
                <c:pt idx="4132">
                  <c:v>0</c:v>
                </c:pt>
                <c:pt idx="4133">
                  <c:v>2</c:v>
                </c:pt>
                <c:pt idx="4134">
                  <c:v>0</c:v>
                </c:pt>
                <c:pt idx="4135">
                  <c:v>0</c:v>
                </c:pt>
                <c:pt idx="4136">
                  <c:v>2</c:v>
                </c:pt>
                <c:pt idx="4137">
                  <c:v>0</c:v>
                </c:pt>
                <c:pt idx="4138">
                  <c:v>0</c:v>
                </c:pt>
                <c:pt idx="4139">
                  <c:v>0</c:v>
                </c:pt>
                <c:pt idx="4140">
                  <c:v>30</c:v>
                </c:pt>
                <c:pt idx="4141">
                  <c:v>1</c:v>
                </c:pt>
                <c:pt idx="4142">
                  <c:v>0</c:v>
                </c:pt>
                <c:pt idx="4143">
                  <c:v>9</c:v>
                </c:pt>
                <c:pt idx="4144">
                  <c:v>3</c:v>
                </c:pt>
                <c:pt idx="4145">
                  <c:v>0</c:v>
                </c:pt>
                <c:pt idx="4146">
                  <c:v>0</c:v>
                </c:pt>
                <c:pt idx="4147">
                  <c:v>3</c:v>
                </c:pt>
                <c:pt idx="4148">
                  <c:v>0</c:v>
                </c:pt>
                <c:pt idx="4149">
                  <c:v>16</c:v>
                </c:pt>
                <c:pt idx="4150">
                  <c:v>2</c:v>
                </c:pt>
                <c:pt idx="4151">
                  <c:v>5</c:v>
                </c:pt>
                <c:pt idx="4152">
                  <c:v>1</c:v>
                </c:pt>
                <c:pt idx="4153">
                  <c:v>0</c:v>
                </c:pt>
                <c:pt idx="4154">
                  <c:v>6</c:v>
                </c:pt>
                <c:pt idx="4155">
                  <c:v>1</c:v>
                </c:pt>
                <c:pt idx="4156">
                  <c:v>0</c:v>
                </c:pt>
                <c:pt idx="4157">
                  <c:v>1</c:v>
                </c:pt>
                <c:pt idx="4158">
                  <c:v>0</c:v>
                </c:pt>
                <c:pt idx="4159">
                  <c:v>0</c:v>
                </c:pt>
                <c:pt idx="4160">
                  <c:v>0</c:v>
                </c:pt>
                <c:pt idx="4161">
                  <c:v>0</c:v>
                </c:pt>
                <c:pt idx="4162">
                  <c:v>0</c:v>
                </c:pt>
                <c:pt idx="4163">
                  <c:v>6</c:v>
                </c:pt>
                <c:pt idx="4164">
                  <c:v>26</c:v>
                </c:pt>
                <c:pt idx="4165">
                  <c:v>1</c:v>
                </c:pt>
                <c:pt idx="4166">
                  <c:v>1</c:v>
                </c:pt>
                <c:pt idx="4167">
                  <c:v>21</c:v>
                </c:pt>
                <c:pt idx="4168">
                  <c:v>5</c:v>
                </c:pt>
                <c:pt idx="4169">
                  <c:v>0</c:v>
                </c:pt>
                <c:pt idx="4170">
                  <c:v>0</c:v>
                </c:pt>
                <c:pt idx="4171">
                  <c:v>0</c:v>
                </c:pt>
                <c:pt idx="4172">
                  <c:v>0</c:v>
                </c:pt>
                <c:pt idx="4173">
                  <c:v>0</c:v>
                </c:pt>
                <c:pt idx="4174">
                  <c:v>0</c:v>
                </c:pt>
                <c:pt idx="4175">
                  <c:v>2</c:v>
                </c:pt>
                <c:pt idx="4176">
                  <c:v>0</c:v>
                </c:pt>
                <c:pt idx="4177">
                  <c:v>0</c:v>
                </c:pt>
                <c:pt idx="4178">
                  <c:v>0</c:v>
                </c:pt>
                <c:pt idx="4179">
                  <c:v>0</c:v>
                </c:pt>
                <c:pt idx="4180">
                  <c:v>0</c:v>
                </c:pt>
                <c:pt idx="4181">
                  <c:v>0</c:v>
                </c:pt>
                <c:pt idx="4182">
                  <c:v>17</c:v>
                </c:pt>
                <c:pt idx="4183">
                  <c:v>0</c:v>
                </c:pt>
                <c:pt idx="4184">
                  <c:v>0</c:v>
                </c:pt>
                <c:pt idx="4185">
                  <c:v>2</c:v>
                </c:pt>
                <c:pt idx="4186">
                  <c:v>8</c:v>
                </c:pt>
                <c:pt idx="4187">
                  <c:v>0</c:v>
                </c:pt>
                <c:pt idx="4188">
                  <c:v>0</c:v>
                </c:pt>
                <c:pt idx="4189">
                  <c:v>0</c:v>
                </c:pt>
                <c:pt idx="4190">
                  <c:v>0</c:v>
                </c:pt>
                <c:pt idx="4191">
                  <c:v>0</c:v>
                </c:pt>
                <c:pt idx="4192">
                  <c:v>0</c:v>
                </c:pt>
                <c:pt idx="4193">
                  <c:v>1</c:v>
                </c:pt>
                <c:pt idx="4194">
                  <c:v>0</c:v>
                </c:pt>
                <c:pt idx="4195">
                  <c:v>15</c:v>
                </c:pt>
                <c:pt idx="4196">
                  <c:v>0</c:v>
                </c:pt>
                <c:pt idx="4197">
                  <c:v>0</c:v>
                </c:pt>
                <c:pt idx="4198">
                  <c:v>0</c:v>
                </c:pt>
                <c:pt idx="4199">
                  <c:v>9</c:v>
                </c:pt>
                <c:pt idx="4200">
                  <c:v>1</c:v>
                </c:pt>
                <c:pt idx="4201">
                  <c:v>17</c:v>
                </c:pt>
                <c:pt idx="4202">
                  <c:v>0</c:v>
                </c:pt>
                <c:pt idx="4203">
                  <c:v>1</c:v>
                </c:pt>
                <c:pt idx="4204">
                  <c:v>1</c:v>
                </c:pt>
                <c:pt idx="4205">
                  <c:v>0</c:v>
                </c:pt>
                <c:pt idx="4206">
                  <c:v>0</c:v>
                </c:pt>
                <c:pt idx="4207">
                  <c:v>0</c:v>
                </c:pt>
                <c:pt idx="4208">
                  <c:v>0</c:v>
                </c:pt>
                <c:pt idx="4209">
                  <c:v>0</c:v>
                </c:pt>
                <c:pt idx="4210">
                  <c:v>0</c:v>
                </c:pt>
                <c:pt idx="4211">
                  <c:v>3</c:v>
                </c:pt>
                <c:pt idx="4212">
                  <c:v>0</c:v>
                </c:pt>
                <c:pt idx="4213">
                  <c:v>0</c:v>
                </c:pt>
                <c:pt idx="4214">
                  <c:v>0</c:v>
                </c:pt>
                <c:pt idx="4215">
                  <c:v>2</c:v>
                </c:pt>
                <c:pt idx="4216">
                  <c:v>0</c:v>
                </c:pt>
                <c:pt idx="4217">
                  <c:v>0</c:v>
                </c:pt>
                <c:pt idx="4218">
                  <c:v>4</c:v>
                </c:pt>
                <c:pt idx="4219">
                  <c:v>0</c:v>
                </c:pt>
                <c:pt idx="4220">
                  <c:v>0</c:v>
                </c:pt>
                <c:pt idx="4221">
                  <c:v>38</c:v>
                </c:pt>
                <c:pt idx="4222">
                  <c:v>0</c:v>
                </c:pt>
                <c:pt idx="4223">
                  <c:v>0</c:v>
                </c:pt>
                <c:pt idx="4224">
                  <c:v>7</c:v>
                </c:pt>
                <c:pt idx="4225">
                  <c:v>0</c:v>
                </c:pt>
                <c:pt idx="4226">
                  <c:v>0</c:v>
                </c:pt>
                <c:pt idx="4227">
                  <c:v>0</c:v>
                </c:pt>
                <c:pt idx="4228">
                  <c:v>0</c:v>
                </c:pt>
                <c:pt idx="4229">
                  <c:v>2</c:v>
                </c:pt>
                <c:pt idx="4230">
                  <c:v>3</c:v>
                </c:pt>
                <c:pt idx="4231">
                  <c:v>0</c:v>
                </c:pt>
                <c:pt idx="4232">
                  <c:v>0</c:v>
                </c:pt>
                <c:pt idx="4233">
                  <c:v>1</c:v>
                </c:pt>
                <c:pt idx="4234">
                  <c:v>0</c:v>
                </c:pt>
                <c:pt idx="4235">
                  <c:v>0</c:v>
                </c:pt>
                <c:pt idx="4236">
                  <c:v>10</c:v>
                </c:pt>
                <c:pt idx="4237">
                  <c:v>3</c:v>
                </c:pt>
                <c:pt idx="4238">
                  <c:v>1</c:v>
                </c:pt>
                <c:pt idx="4239">
                  <c:v>2</c:v>
                </c:pt>
                <c:pt idx="4240">
                  <c:v>22</c:v>
                </c:pt>
                <c:pt idx="4241">
                  <c:v>1</c:v>
                </c:pt>
                <c:pt idx="4242">
                  <c:v>0</c:v>
                </c:pt>
                <c:pt idx="4243">
                  <c:v>5</c:v>
                </c:pt>
                <c:pt idx="4244">
                  <c:v>0</c:v>
                </c:pt>
                <c:pt idx="4245">
                  <c:v>0</c:v>
                </c:pt>
                <c:pt idx="4246">
                  <c:v>0</c:v>
                </c:pt>
                <c:pt idx="4247">
                  <c:v>0</c:v>
                </c:pt>
                <c:pt idx="4248">
                  <c:v>0</c:v>
                </c:pt>
                <c:pt idx="4249">
                  <c:v>0</c:v>
                </c:pt>
                <c:pt idx="4250">
                  <c:v>0</c:v>
                </c:pt>
                <c:pt idx="4251">
                  <c:v>4</c:v>
                </c:pt>
                <c:pt idx="4252">
                  <c:v>33</c:v>
                </c:pt>
                <c:pt idx="4253">
                  <c:v>0</c:v>
                </c:pt>
                <c:pt idx="4254">
                  <c:v>7</c:v>
                </c:pt>
                <c:pt idx="4255">
                  <c:v>0</c:v>
                </c:pt>
                <c:pt idx="4256">
                  <c:v>0</c:v>
                </c:pt>
                <c:pt idx="4257">
                  <c:v>2</c:v>
                </c:pt>
                <c:pt idx="4258">
                  <c:v>10</c:v>
                </c:pt>
                <c:pt idx="4259">
                  <c:v>9</c:v>
                </c:pt>
                <c:pt idx="4260">
                  <c:v>1</c:v>
                </c:pt>
                <c:pt idx="4261">
                  <c:v>13</c:v>
                </c:pt>
                <c:pt idx="4262">
                  <c:v>0</c:v>
                </c:pt>
                <c:pt idx="4263">
                  <c:v>0</c:v>
                </c:pt>
                <c:pt idx="4264">
                  <c:v>1</c:v>
                </c:pt>
                <c:pt idx="4265">
                  <c:v>1</c:v>
                </c:pt>
                <c:pt idx="4266">
                  <c:v>6</c:v>
                </c:pt>
                <c:pt idx="4267">
                  <c:v>2</c:v>
                </c:pt>
                <c:pt idx="4268">
                  <c:v>1</c:v>
                </c:pt>
                <c:pt idx="4269">
                  <c:v>2</c:v>
                </c:pt>
                <c:pt idx="4270">
                  <c:v>2</c:v>
                </c:pt>
                <c:pt idx="4271">
                  <c:v>10</c:v>
                </c:pt>
                <c:pt idx="4272">
                  <c:v>2</c:v>
                </c:pt>
                <c:pt idx="4273">
                  <c:v>4</c:v>
                </c:pt>
                <c:pt idx="4274">
                  <c:v>4</c:v>
                </c:pt>
                <c:pt idx="4275">
                  <c:v>21</c:v>
                </c:pt>
                <c:pt idx="4276">
                  <c:v>1</c:v>
                </c:pt>
                <c:pt idx="4277">
                  <c:v>7</c:v>
                </c:pt>
                <c:pt idx="4278">
                  <c:v>16</c:v>
                </c:pt>
                <c:pt idx="4279">
                  <c:v>7</c:v>
                </c:pt>
                <c:pt idx="4280">
                  <c:v>0</c:v>
                </c:pt>
                <c:pt idx="4281">
                  <c:v>4</c:v>
                </c:pt>
                <c:pt idx="4282">
                  <c:v>1</c:v>
                </c:pt>
                <c:pt idx="4283">
                  <c:v>0</c:v>
                </c:pt>
                <c:pt idx="4284">
                  <c:v>6</c:v>
                </c:pt>
                <c:pt idx="4285">
                  <c:v>5</c:v>
                </c:pt>
                <c:pt idx="4286">
                  <c:v>2</c:v>
                </c:pt>
                <c:pt idx="4287">
                  <c:v>1</c:v>
                </c:pt>
                <c:pt idx="4288">
                  <c:v>1</c:v>
                </c:pt>
                <c:pt idx="4289">
                  <c:v>0</c:v>
                </c:pt>
                <c:pt idx="4290">
                  <c:v>1</c:v>
                </c:pt>
                <c:pt idx="4291">
                  <c:v>2</c:v>
                </c:pt>
                <c:pt idx="4292">
                  <c:v>8</c:v>
                </c:pt>
                <c:pt idx="4293">
                  <c:v>4</c:v>
                </c:pt>
                <c:pt idx="4294">
                  <c:v>1</c:v>
                </c:pt>
                <c:pt idx="4295">
                  <c:v>3</c:v>
                </c:pt>
                <c:pt idx="4296">
                  <c:v>1</c:v>
                </c:pt>
                <c:pt idx="4297">
                  <c:v>14</c:v>
                </c:pt>
                <c:pt idx="4298">
                  <c:v>2</c:v>
                </c:pt>
                <c:pt idx="4299">
                  <c:v>1</c:v>
                </c:pt>
                <c:pt idx="4300">
                  <c:v>9</c:v>
                </c:pt>
                <c:pt idx="4301">
                  <c:v>0</c:v>
                </c:pt>
                <c:pt idx="4302">
                  <c:v>2</c:v>
                </c:pt>
                <c:pt idx="4303">
                  <c:v>1</c:v>
                </c:pt>
                <c:pt idx="4304">
                  <c:v>19</c:v>
                </c:pt>
                <c:pt idx="4305">
                  <c:v>4</c:v>
                </c:pt>
                <c:pt idx="4306">
                  <c:v>2</c:v>
                </c:pt>
                <c:pt idx="4307">
                  <c:v>4</c:v>
                </c:pt>
                <c:pt idx="4308">
                  <c:v>26</c:v>
                </c:pt>
                <c:pt idx="4309">
                  <c:v>2</c:v>
                </c:pt>
                <c:pt idx="4310">
                  <c:v>17</c:v>
                </c:pt>
                <c:pt idx="4311">
                  <c:v>1</c:v>
                </c:pt>
                <c:pt idx="4312">
                  <c:v>4</c:v>
                </c:pt>
                <c:pt idx="4313">
                  <c:v>8</c:v>
                </c:pt>
                <c:pt idx="4314">
                  <c:v>2</c:v>
                </c:pt>
                <c:pt idx="4315">
                  <c:v>2</c:v>
                </c:pt>
                <c:pt idx="4316">
                  <c:v>0</c:v>
                </c:pt>
                <c:pt idx="4317">
                  <c:v>2</c:v>
                </c:pt>
                <c:pt idx="4318">
                  <c:v>29</c:v>
                </c:pt>
                <c:pt idx="4319">
                  <c:v>1</c:v>
                </c:pt>
                <c:pt idx="4320">
                  <c:v>10</c:v>
                </c:pt>
                <c:pt idx="4321">
                  <c:v>1</c:v>
                </c:pt>
                <c:pt idx="4322">
                  <c:v>2</c:v>
                </c:pt>
                <c:pt idx="4323">
                  <c:v>4</c:v>
                </c:pt>
                <c:pt idx="4324">
                  <c:v>3</c:v>
                </c:pt>
                <c:pt idx="4325">
                  <c:v>7</c:v>
                </c:pt>
                <c:pt idx="4326">
                  <c:v>3</c:v>
                </c:pt>
                <c:pt idx="4327">
                  <c:v>2</c:v>
                </c:pt>
                <c:pt idx="4328">
                  <c:v>1</c:v>
                </c:pt>
                <c:pt idx="4329">
                  <c:v>3</c:v>
                </c:pt>
                <c:pt idx="4330">
                  <c:v>5</c:v>
                </c:pt>
                <c:pt idx="4331">
                  <c:v>0</c:v>
                </c:pt>
                <c:pt idx="4332">
                  <c:v>1</c:v>
                </c:pt>
                <c:pt idx="4333">
                  <c:v>0</c:v>
                </c:pt>
                <c:pt idx="4334">
                  <c:v>1</c:v>
                </c:pt>
                <c:pt idx="4335">
                  <c:v>10</c:v>
                </c:pt>
                <c:pt idx="4336">
                  <c:v>1</c:v>
                </c:pt>
                <c:pt idx="4337">
                  <c:v>3</c:v>
                </c:pt>
                <c:pt idx="4338">
                  <c:v>2</c:v>
                </c:pt>
                <c:pt idx="4339">
                  <c:v>6</c:v>
                </c:pt>
                <c:pt idx="4340">
                  <c:v>28</c:v>
                </c:pt>
                <c:pt idx="4341">
                  <c:v>0</c:v>
                </c:pt>
                <c:pt idx="4342">
                  <c:v>0</c:v>
                </c:pt>
                <c:pt idx="4343">
                  <c:v>16</c:v>
                </c:pt>
                <c:pt idx="4344">
                  <c:v>19</c:v>
                </c:pt>
                <c:pt idx="4345">
                  <c:v>8</c:v>
                </c:pt>
                <c:pt idx="4346">
                  <c:v>1</c:v>
                </c:pt>
                <c:pt idx="4347">
                  <c:v>1</c:v>
                </c:pt>
                <c:pt idx="4348">
                  <c:v>3</c:v>
                </c:pt>
                <c:pt idx="4349">
                  <c:v>2</c:v>
                </c:pt>
                <c:pt idx="4350">
                  <c:v>7</c:v>
                </c:pt>
                <c:pt idx="4351">
                  <c:v>0</c:v>
                </c:pt>
                <c:pt idx="4352">
                  <c:v>2</c:v>
                </c:pt>
                <c:pt idx="4353">
                  <c:v>3</c:v>
                </c:pt>
                <c:pt idx="4354">
                  <c:v>4</c:v>
                </c:pt>
                <c:pt idx="4355">
                  <c:v>7</c:v>
                </c:pt>
                <c:pt idx="4356">
                  <c:v>1</c:v>
                </c:pt>
                <c:pt idx="4357">
                  <c:v>60</c:v>
                </c:pt>
                <c:pt idx="4358">
                  <c:v>3</c:v>
                </c:pt>
                <c:pt idx="4359">
                  <c:v>0</c:v>
                </c:pt>
                <c:pt idx="4360">
                  <c:v>2</c:v>
                </c:pt>
                <c:pt idx="4361">
                  <c:v>1</c:v>
                </c:pt>
                <c:pt idx="4362">
                  <c:v>1</c:v>
                </c:pt>
                <c:pt idx="4363">
                  <c:v>34</c:v>
                </c:pt>
                <c:pt idx="4364">
                  <c:v>2</c:v>
                </c:pt>
                <c:pt idx="4365">
                  <c:v>5</c:v>
                </c:pt>
                <c:pt idx="4366">
                  <c:v>1</c:v>
                </c:pt>
                <c:pt idx="4367">
                  <c:v>6</c:v>
                </c:pt>
                <c:pt idx="4368">
                  <c:v>6</c:v>
                </c:pt>
                <c:pt idx="4369">
                  <c:v>2</c:v>
                </c:pt>
                <c:pt idx="4370">
                  <c:v>5</c:v>
                </c:pt>
                <c:pt idx="4371">
                  <c:v>0</c:v>
                </c:pt>
                <c:pt idx="4372">
                  <c:v>0</c:v>
                </c:pt>
                <c:pt idx="4373">
                  <c:v>0</c:v>
                </c:pt>
                <c:pt idx="4374">
                  <c:v>0</c:v>
                </c:pt>
                <c:pt idx="4375">
                  <c:v>0</c:v>
                </c:pt>
                <c:pt idx="4376">
                  <c:v>7</c:v>
                </c:pt>
                <c:pt idx="4377">
                  <c:v>0</c:v>
                </c:pt>
                <c:pt idx="4378">
                  <c:v>0</c:v>
                </c:pt>
                <c:pt idx="4379">
                  <c:v>0</c:v>
                </c:pt>
                <c:pt idx="4380">
                  <c:v>1</c:v>
                </c:pt>
                <c:pt idx="4381">
                  <c:v>0</c:v>
                </c:pt>
                <c:pt idx="4382">
                  <c:v>0</c:v>
                </c:pt>
                <c:pt idx="4383">
                  <c:v>0</c:v>
                </c:pt>
                <c:pt idx="4384">
                  <c:v>1</c:v>
                </c:pt>
                <c:pt idx="4385">
                  <c:v>0</c:v>
                </c:pt>
                <c:pt idx="4386">
                  <c:v>0</c:v>
                </c:pt>
                <c:pt idx="4387">
                  <c:v>0</c:v>
                </c:pt>
                <c:pt idx="4388">
                  <c:v>0</c:v>
                </c:pt>
                <c:pt idx="4389">
                  <c:v>0</c:v>
                </c:pt>
                <c:pt idx="4390">
                  <c:v>0</c:v>
                </c:pt>
                <c:pt idx="4391">
                  <c:v>3</c:v>
                </c:pt>
                <c:pt idx="4392">
                  <c:v>1</c:v>
                </c:pt>
                <c:pt idx="4393">
                  <c:v>0</c:v>
                </c:pt>
                <c:pt idx="4394">
                  <c:v>1</c:v>
                </c:pt>
                <c:pt idx="4395">
                  <c:v>0</c:v>
                </c:pt>
                <c:pt idx="4396">
                  <c:v>0</c:v>
                </c:pt>
                <c:pt idx="4397">
                  <c:v>0</c:v>
                </c:pt>
                <c:pt idx="4398">
                  <c:v>0</c:v>
                </c:pt>
                <c:pt idx="4399">
                  <c:v>0</c:v>
                </c:pt>
                <c:pt idx="4400">
                  <c:v>0</c:v>
                </c:pt>
                <c:pt idx="4401">
                  <c:v>0</c:v>
                </c:pt>
                <c:pt idx="4402">
                  <c:v>0</c:v>
                </c:pt>
                <c:pt idx="4403">
                  <c:v>0</c:v>
                </c:pt>
                <c:pt idx="4404">
                  <c:v>3</c:v>
                </c:pt>
                <c:pt idx="4405">
                  <c:v>0</c:v>
                </c:pt>
                <c:pt idx="4406">
                  <c:v>2</c:v>
                </c:pt>
                <c:pt idx="4407">
                  <c:v>1</c:v>
                </c:pt>
                <c:pt idx="4408">
                  <c:v>0</c:v>
                </c:pt>
                <c:pt idx="4409">
                  <c:v>0</c:v>
                </c:pt>
                <c:pt idx="4410">
                  <c:v>0</c:v>
                </c:pt>
                <c:pt idx="4411">
                  <c:v>0</c:v>
                </c:pt>
                <c:pt idx="4412">
                  <c:v>0</c:v>
                </c:pt>
                <c:pt idx="4413">
                  <c:v>7</c:v>
                </c:pt>
                <c:pt idx="4414">
                  <c:v>0</c:v>
                </c:pt>
                <c:pt idx="4415">
                  <c:v>0</c:v>
                </c:pt>
                <c:pt idx="4416">
                  <c:v>0</c:v>
                </c:pt>
                <c:pt idx="4417">
                  <c:v>0</c:v>
                </c:pt>
                <c:pt idx="4418">
                  <c:v>0</c:v>
                </c:pt>
                <c:pt idx="4419">
                  <c:v>0</c:v>
                </c:pt>
                <c:pt idx="4420">
                  <c:v>4</c:v>
                </c:pt>
                <c:pt idx="4421">
                  <c:v>0</c:v>
                </c:pt>
                <c:pt idx="4422">
                  <c:v>1</c:v>
                </c:pt>
                <c:pt idx="4423">
                  <c:v>0</c:v>
                </c:pt>
                <c:pt idx="4424">
                  <c:v>3</c:v>
                </c:pt>
                <c:pt idx="4425">
                  <c:v>3</c:v>
                </c:pt>
                <c:pt idx="4426">
                  <c:v>10</c:v>
                </c:pt>
                <c:pt idx="4427">
                  <c:v>1</c:v>
                </c:pt>
                <c:pt idx="4428">
                  <c:v>0</c:v>
                </c:pt>
                <c:pt idx="4429">
                  <c:v>1</c:v>
                </c:pt>
                <c:pt idx="4430">
                  <c:v>0</c:v>
                </c:pt>
                <c:pt idx="4431">
                  <c:v>0</c:v>
                </c:pt>
                <c:pt idx="4432">
                  <c:v>2</c:v>
                </c:pt>
                <c:pt idx="4433">
                  <c:v>0</c:v>
                </c:pt>
                <c:pt idx="4434">
                  <c:v>2</c:v>
                </c:pt>
                <c:pt idx="4435">
                  <c:v>0</c:v>
                </c:pt>
                <c:pt idx="4436">
                  <c:v>1</c:v>
                </c:pt>
                <c:pt idx="4437">
                  <c:v>0</c:v>
                </c:pt>
                <c:pt idx="4438">
                  <c:v>8</c:v>
                </c:pt>
                <c:pt idx="4439">
                  <c:v>0</c:v>
                </c:pt>
                <c:pt idx="4440">
                  <c:v>0</c:v>
                </c:pt>
                <c:pt idx="4441">
                  <c:v>0</c:v>
                </c:pt>
                <c:pt idx="4442">
                  <c:v>1</c:v>
                </c:pt>
                <c:pt idx="4443">
                  <c:v>0</c:v>
                </c:pt>
                <c:pt idx="4444">
                  <c:v>3</c:v>
                </c:pt>
                <c:pt idx="4445">
                  <c:v>0</c:v>
                </c:pt>
                <c:pt idx="4446">
                  <c:v>0</c:v>
                </c:pt>
                <c:pt idx="4447">
                  <c:v>0</c:v>
                </c:pt>
                <c:pt idx="4448">
                  <c:v>0</c:v>
                </c:pt>
                <c:pt idx="4449">
                  <c:v>0</c:v>
                </c:pt>
                <c:pt idx="4450">
                  <c:v>16</c:v>
                </c:pt>
                <c:pt idx="4451">
                  <c:v>1</c:v>
                </c:pt>
                <c:pt idx="4452">
                  <c:v>0</c:v>
                </c:pt>
                <c:pt idx="4453">
                  <c:v>1</c:v>
                </c:pt>
                <c:pt idx="4454">
                  <c:v>1</c:v>
                </c:pt>
                <c:pt idx="4455">
                  <c:v>0</c:v>
                </c:pt>
                <c:pt idx="4456">
                  <c:v>0</c:v>
                </c:pt>
                <c:pt idx="4457">
                  <c:v>0</c:v>
                </c:pt>
                <c:pt idx="4458">
                  <c:v>0</c:v>
                </c:pt>
                <c:pt idx="4459">
                  <c:v>3</c:v>
                </c:pt>
                <c:pt idx="4460">
                  <c:v>1</c:v>
                </c:pt>
                <c:pt idx="4461">
                  <c:v>1</c:v>
                </c:pt>
                <c:pt idx="4462">
                  <c:v>0</c:v>
                </c:pt>
                <c:pt idx="4463">
                  <c:v>2</c:v>
                </c:pt>
                <c:pt idx="4464">
                  <c:v>0</c:v>
                </c:pt>
                <c:pt idx="4465">
                  <c:v>0</c:v>
                </c:pt>
                <c:pt idx="4466">
                  <c:v>0</c:v>
                </c:pt>
                <c:pt idx="4467">
                  <c:v>2</c:v>
                </c:pt>
                <c:pt idx="4468">
                  <c:v>1</c:v>
                </c:pt>
                <c:pt idx="4469">
                  <c:v>1</c:v>
                </c:pt>
                <c:pt idx="4470">
                  <c:v>0</c:v>
                </c:pt>
                <c:pt idx="4471">
                  <c:v>2</c:v>
                </c:pt>
                <c:pt idx="4472">
                  <c:v>0</c:v>
                </c:pt>
                <c:pt idx="4473">
                  <c:v>0</c:v>
                </c:pt>
                <c:pt idx="4474">
                  <c:v>0</c:v>
                </c:pt>
                <c:pt idx="4475">
                  <c:v>5</c:v>
                </c:pt>
                <c:pt idx="4476">
                  <c:v>1</c:v>
                </c:pt>
                <c:pt idx="4477">
                  <c:v>0</c:v>
                </c:pt>
                <c:pt idx="4478">
                  <c:v>0</c:v>
                </c:pt>
                <c:pt idx="4479">
                  <c:v>2</c:v>
                </c:pt>
                <c:pt idx="4480">
                  <c:v>0</c:v>
                </c:pt>
                <c:pt idx="4481">
                  <c:v>4</c:v>
                </c:pt>
                <c:pt idx="4482">
                  <c:v>0</c:v>
                </c:pt>
                <c:pt idx="4483">
                  <c:v>0</c:v>
                </c:pt>
                <c:pt idx="4484">
                  <c:v>4</c:v>
                </c:pt>
                <c:pt idx="4485">
                  <c:v>0</c:v>
                </c:pt>
                <c:pt idx="4486">
                  <c:v>2</c:v>
                </c:pt>
                <c:pt idx="4487">
                  <c:v>0</c:v>
                </c:pt>
                <c:pt idx="4488">
                  <c:v>0</c:v>
                </c:pt>
                <c:pt idx="4489">
                  <c:v>0</c:v>
                </c:pt>
                <c:pt idx="4490">
                  <c:v>0</c:v>
                </c:pt>
                <c:pt idx="4491">
                  <c:v>0</c:v>
                </c:pt>
                <c:pt idx="4492">
                  <c:v>0</c:v>
                </c:pt>
                <c:pt idx="4493">
                  <c:v>0</c:v>
                </c:pt>
                <c:pt idx="4494">
                  <c:v>0</c:v>
                </c:pt>
                <c:pt idx="4495">
                  <c:v>5</c:v>
                </c:pt>
                <c:pt idx="4496">
                  <c:v>0</c:v>
                </c:pt>
                <c:pt idx="4497">
                  <c:v>0</c:v>
                </c:pt>
                <c:pt idx="4498">
                  <c:v>0</c:v>
                </c:pt>
                <c:pt idx="4499">
                  <c:v>0</c:v>
                </c:pt>
                <c:pt idx="4500">
                  <c:v>0</c:v>
                </c:pt>
                <c:pt idx="4501">
                  <c:v>0</c:v>
                </c:pt>
                <c:pt idx="4502">
                  <c:v>0</c:v>
                </c:pt>
                <c:pt idx="4503">
                  <c:v>0</c:v>
                </c:pt>
                <c:pt idx="4504">
                  <c:v>0</c:v>
                </c:pt>
                <c:pt idx="4505">
                  <c:v>0</c:v>
                </c:pt>
                <c:pt idx="4506">
                  <c:v>2</c:v>
                </c:pt>
                <c:pt idx="4507">
                  <c:v>0</c:v>
                </c:pt>
                <c:pt idx="4508">
                  <c:v>0</c:v>
                </c:pt>
                <c:pt idx="4509">
                  <c:v>2</c:v>
                </c:pt>
                <c:pt idx="4510">
                  <c:v>1</c:v>
                </c:pt>
                <c:pt idx="4511">
                  <c:v>0</c:v>
                </c:pt>
                <c:pt idx="4512">
                  <c:v>0</c:v>
                </c:pt>
                <c:pt idx="4513">
                  <c:v>0</c:v>
                </c:pt>
                <c:pt idx="4514">
                  <c:v>0</c:v>
                </c:pt>
                <c:pt idx="4515">
                  <c:v>5</c:v>
                </c:pt>
                <c:pt idx="4516">
                  <c:v>0</c:v>
                </c:pt>
                <c:pt idx="4517">
                  <c:v>1</c:v>
                </c:pt>
                <c:pt idx="4518">
                  <c:v>2</c:v>
                </c:pt>
                <c:pt idx="4519">
                  <c:v>2</c:v>
                </c:pt>
                <c:pt idx="4520">
                  <c:v>2</c:v>
                </c:pt>
                <c:pt idx="4521">
                  <c:v>0</c:v>
                </c:pt>
                <c:pt idx="4522">
                  <c:v>1</c:v>
                </c:pt>
                <c:pt idx="4523">
                  <c:v>0</c:v>
                </c:pt>
                <c:pt idx="4524">
                  <c:v>0</c:v>
                </c:pt>
                <c:pt idx="4525">
                  <c:v>0</c:v>
                </c:pt>
                <c:pt idx="4526">
                  <c:v>0</c:v>
                </c:pt>
                <c:pt idx="4527">
                  <c:v>0</c:v>
                </c:pt>
                <c:pt idx="4528">
                  <c:v>0</c:v>
                </c:pt>
                <c:pt idx="4529">
                  <c:v>1</c:v>
                </c:pt>
                <c:pt idx="4530">
                  <c:v>10</c:v>
                </c:pt>
                <c:pt idx="4531">
                  <c:v>0</c:v>
                </c:pt>
                <c:pt idx="4532">
                  <c:v>0</c:v>
                </c:pt>
                <c:pt idx="4533">
                  <c:v>0</c:v>
                </c:pt>
                <c:pt idx="4534">
                  <c:v>4</c:v>
                </c:pt>
                <c:pt idx="4535">
                  <c:v>0</c:v>
                </c:pt>
                <c:pt idx="4536">
                  <c:v>5</c:v>
                </c:pt>
                <c:pt idx="4537">
                  <c:v>0</c:v>
                </c:pt>
                <c:pt idx="4538">
                  <c:v>0</c:v>
                </c:pt>
                <c:pt idx="4539">
                  <c:v>0</c:v>
                </c:pt>
                <c:pt idx="4540">
                  <c:v>2</c:v>
                </c:pt>
                <c:pt idx="4541">
                  <c:v>0</c:v>
                </c:pt>
                <c:pt idx="4542">
                  <c:v>0</c:v>
                </c:pt>
                <c:pt idx="4543">
                  <c:v>0</c:v>
                </c:pt>
                <c:pt idx="4544">
                  <c:v>0</c:v>
                </c:pt>
                <c:pt idx="4545">
                  <c:v>3</c:v>
                </c:pt>
                <c:pt idx="4546">
                  <c:v>3</c:v>
                </c:pt>
                <c:pt idx="4547">
                  <c:v>0</c:v>
                </c:pt>
                <c:pt idx="4548">
                  <c:v>0</c:v>
                </c:pt>
                <c:pt idx="4549">
                  <c:v>0</c:v>
                </c:pt>
                <c:pt idx="4550">
                  <c:v>0</c:v>
                </c:pt>
                <c:pt idx="4551">
                  <c:v>0</c:v>
                </c:pt>
                <c:pt idx="4552">
                  <c:v>1</c:v>
                </c:pt>
                <c:pt idx="4553">
                  <c:v>0</c:v>
                </c:pt>
                <c:pt idx="4554">
                  <c:v>0</c:v>
                </c:pt>
                <c:pt idx="4555">
                  <c:v>8</c:v>
                </c:pt>
                <c:pt idx="4556">
                  <c:v>0</c:v>
                </c:pt>
                <c:pt idx="4557">
                  <c:v>0</c:v>
                </c:pt>
                <c:pt idx="4558">
                  <c:v>1</c:v>
                </c:pt>
                <c:pt idx="4559">
                  <c:v>43</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3</c:v>
                </c:pt>
                <c:pt idx="4577">
                  <c:v>0</c:v>
                </c:pt>
                <c:pt idx="4578">
                  <c:v>2</c:v>
                </c:pt>
                <c:pt idx="4579">
                  <c:v>0</c:v>
                </c:pt>
                <c:pt idx="4580">
                  <c:v>5</c:v>
                </c:pt>
                <c:pt idx="4581">
                  <c:v>0</c:v>
                </c:pt>
                <c:pt idx="4582">
                  <c:v>0</c:v>
                </c:pt>
                <c:pt idx="4583">
                  <c:v>0</c:v>
                </c:pt>
                <c:pt idx="4584">
                  <c:v>0</c:v>
                </c:pt>
                <c:pt idx="4585">
                  <c:v>0</c:v>
                </c:pt>
                <c:pt idx="4586">
                  <c:v>0</c:v>
                </c:pt>
                <c:pt idx="4587">
                  <c:v>0</c:v>
                </c:pt>
                <c:pt idx="4588">
                  <c:v>0</c:v>
                </c:pt>
                <c:pt idx="4589">
                  <c:v>3</c:v>
                </c:pt>
                <c:pt idx="4590">
                  <c:v>1</c:v>
                </c:pt>
                <c:pt idx="4591">
                  <c:v>0</c:v>
                </c:pt>
                <c:pt idx="4592">
                  <c:v>1</c:v>
                </c:pt>
                <c:pt idx="4593">
                  <c:v>0</c:v>
                </c:pt>
                <c:pt idx="4594">
                  <c:v>1</c:v>
                </c:pt>
                <c:pt idx="4595">
                  <c:v>0</c:v>
                </c:pt>
                <c:pt idx="4596">
                  <c:v>0</c:v>
                </c:pt>
                <c:pt idx="4597">
                  <c:v>0</c:v>
                </c:pt>
                <c:pt idx="4598">
                  <c:v>0</c:v>
                </c:pt>
                <c:pt idx="4599">
                  <c:v>0</c:v>
                </c:pt>
                <c:pt idx="4600">
                  <c:v>1</c:v>
                </c:pt>
                <c:pt idx="4601">
                  <c:v>1</c:v>
                </c:pt>
                <c:pt idx="4602">
                  <c:v>0</c:v>
                </c:pt>
                <c:pt idx="4603">
                  <c:v>0</c:v>
                </c:pt>
                <c:pt idx="4604">
                  <c:v>0</c:v>
                </c:pt>
                <c:pt idx="4605">
                  <c:v>0</c:v>
                </c:pt>
                <c:pt idx="4606">
                  <c:v>0</c:v>
                </c:pt>
                <c:pt idx="4607">
                  <c:v>0</c:v>
                </c:pt>
                <c:pt idx="4608">
                  <c:v>0</c:v>
                </c:pt>
                <c:pt idx="4609">
                  <c:v>0</c:v>
                </c:pt>
                <c:pt idx="4610">
                  <c:v>9</c:v>
                </c:pt>
                <c:pt idx="4611">
                  <c:v>0</c:v>
                </c:pt>
                <c:pt idx="4612">
                  <c:v>0</c:v>
                </c:pt>
                <c:pt idx="4613">
                  <c:v>1</c:v>
                </c:pt>
                <c:pt idx="4614">
                  <c:v>0</c:v>
                </c:pt>
                <c:pt idx="4615">
                  <c:v>0</c:v>
                </c:pt>
                <c:pt idx="4616">
                  <c:v>0</c:v>
                </c:pt>
                <c:pt idx="4617">
                  <c:v>0</c:v>
                </c:pt>
                <c:pt idx="4618">
                  <c:v>0</c:v>
                </c:pt>
                <c:pt idx="4619">
                  <c:v>0</c:v>
                </c:pt>
                <c:pt idx="4620">
                  <c:v>0</c:v>
                </c:pt>
                <c:pt idx="4621">
                  <c:v>0</c:v>
                </c:pt>
                <c:pt idx="4622">
                  <c:v>0</c:v>
                </c:pt>
                <c:pt idx="4623">
                  <c:v>3</c:v>
                </c:pt>
                <c:pt idx="4624">
                  <c:v>0</c:v>
                </c:pt>
                <c:pt idx="4625">
                  <c:v>0</c:v>
                </c:pt>
                <c:pt idx="4626">
                  <c:v>2</c:v>
                </c:pt>
                <c:pt idx="4627">
                  <c:v>8</c:v>
                </c:pt>
                <c:pt idx="4628">
                  <c:v>0</c:v>
                </c:pt>
                <c:pt idx="4629">
                  <c:v>0</c:v>
                </c:pt>
                <c:pt idx="4630">
                  <c:v>6</c:v>
                </c:pt>
                <c:pt idx="4631">
                  <c:v>0</c:v>
                </c:pt>
                <c:pt idx="4632">
                  <c:v>0</c:v>
                </c:pt>
                <c:pt idx="4633">
                  <c:v>0</c:v>
                </c:pt>
                <c:pt idx="4634">
                  <c:v>0</c:v>
                </c:pt>
                <c:pt idx="4635">
                  <c:v>0</c:v>
                </c:pt>
                <c:pt idx="4636">
                  <c:v>3</c:v>
                </c:pt>
                <c:pt idx="4637">
                  <c:v>1</c:v>
                </c:pt>
                <c:pt idx="4638">
                  <c:v>0</c:v>
                </c:pt>
                <c:pt idx="4639">
                  <c:v>2</c:v>
                </c:pt>
                <c:pt idx="4640">
                  <c:v>0</c:v>
                </c:pt>
                <c:pt idx="4641">
                  <c:v>2</c:v>
                </c:pt>
                <c:pt idx="4642">
                  <c:v>0</c:v>
                </c:pt>
                <c:pt idx="4643">
                  <c:v>0</c:v>
                </c:pt>
                <c:pt idx="4644">
                  <c:v>0</c:v>
                </c:pt>
                <c:pt idx="4645">
                  <c:v>1</c:v>
                </c:pt>
                <c:pt idx="4646">
                  <c:v>0</c:v>
                </c:pt>
                <c:pt idx="4647">
                  <c:v>2</c:v>
                </c:pt>
                <c:pt idx="4648">
                  <c:v>0</c:v>
                </c:pt>
                <c:pt idx="4649">
                  <c:v>0</c:v>
                </c:pt>
                <c:pt idx="4650">
                  <c:v>0</c:v>
                </c:pt>
                <c:pt idx="4651">
                  <c:v>0</c:v>
                </c:pt>
                <c:pt idx="4652">
                  <c:v>0</c:v>
                </c:pt>
                <c:pt idx="4653">
                  <c:v>0</c:v>
                </c:pt>
                <c:pt idx="4654">
                  <c:v>0</c:v>
                </c:pt>
                <c:pt idx="4655">
                  <c:v>0</c:v>
                </c:pt>
                <c:pt idx="4656">
                  <c:v>0</c:v>
                </c:pt>
                <c:pt idx="4657">
                  <c:v>0</c:v>
                </c:pt>
                <c:pt idx="4658">
                  <c:v>0</c:v>
                </c:pt>
                <c:pt idx="4659">
                  <c:v>2</c:v>
                </c:pt>
                <c:pt idx="4660">
                  <c:v>0</c:v>
                </c:pt>
                <c:pt idx="4661">
                  <c:v>0</c:v>
                </c:pt>
                <c:pt idx="4662">
                  <c:v>0</c:v>
                </c:pt>
                <c:pt idx="4663">
                  <c:v>0</c:v>
                </c:pt>
                <c:pt idx="4664">
                  <c:v>0</c:v>
                </c:pt>
                <c:pt idx="4665">
                  <c:v>0</c:v>
                </c:pt>
                <c:pt idx="4666">
                  <c:v>0</c:v>
                </c:pt>
                <c:pt idx="4667">
                  <c:v>1</c:v>
                </c:pt>
                <c:pt idx="4668">
                  <c:v>0</c:v>
                </c:pt>
                <c:pt idx="4669">
                  <c:v>0</c:v>
                </c:pt>
                <c:pt idx="4670">
                  <c:v>0</c:v>
                </c:pt>
                <c:pt idx="4671">
                  <c:v>0</c:v>
                </c:pt>
                <c:pt idx="4672">
                  <c:v>0</c:v>
                </c:pt>
                <c:pt idx="4673">
                  <c:v>2</c:v>
                </c:pt>
                <c:pt idx="4674">
                  <c:v>0</c:v>
                </c:pt>
                <c:pt idx="4675">
                  <c:v>18</c:v>
                </c:pt>
                <c:pt idx="4676">
                  <c:v>6</c:v>
                </c:pt>
                <c:pt idx="4677">
                  <c:v>1</c:v>
                </c:pt>
                <c:pt idx="4678">
                  <c:v>2</c:v>
                </c:pt>
                <c:pt idx="4679">
                  <c:v>1</c:v>
                </c:pt>
                <c:pt idx="4680">
                  <c:v>1</c:v>
                </c:pt>
                <c:pt idx="4681">
                  <c:v>2</c:v>
                </c:pt>
                <c:pt idx="4682">
                  <c:v>1</c:v>
                </c:pt>
                <c:pt idx="4683">
                  <c:v>0</c:v>
                </c:pt>
                <c:pt idx="4684">
                  <c:v>2</c:v>
                </c:pt>
                <c:pt idx="4685">
                  <c:v>4</c:v>
                </c:pt>
                <c:pt idx="4686">
                  <c:v>5</c:v>
                </c:pt>
                <c:pt idx="4687">
                  <c:v>2</c:v>
                </c:pt>
                <c:pt idx="4688">
                  <c:v>0</c:v>
                </c:pt>
                <c:pt idx="4689">
                  <c:v>1</c:v>
                </c:pt>
                <c:pt idx="4690">
                  <c:v>1</c:v>
                </c:pt>
                <c:pt idx="4691">
                  <c:v>1</c:v>
                </c:pt>
                <c:pt idx="4692">
                  <c:v>3</c:v>
                </c:pt>
                <c:pt idx="4693">
                  <c:v>0</c:v>
                </c:pt>
                <c:pt idx="4694">
                  <c:v>2</c:v>
                </c:pt>
                <c:pt idx="4695">
                  <c:v>1</c:v>
                </c:pt>
                <c:pt idx="4696">
                  <c:v>3</c:v>
                </c:pt>
                <c:pt idx="4697">
                  <c:v>3</c:v>
                </c:pt>
                <c:pt idx="4698">
                  <c:v>29</c:v>
                </c:pt>
                <c:pt idx="4699">
                  <c:v>1</c:v>
                </c:pt>
                <c:pt idx="4700">
                  <c:v>1</c:v>
                </c:pt>
                <c:pt idx="4701">
                  <c:v>2</c:v>
                </c:pt>
                <c:pt idx="4702">
                  <c:v>3</c:v>
                </c:pt>
                <c:pt idx="4703">
                  <c:v>0</c:v>
                </c:pt>
                <c:pt idx="4704">
                  <c:v>1</c:v>
                </c:pt>
                <c:pt idx="4705">
                  <c:v>0</c:v>
                </c:pt>
                <c:pt idx="4706">
                  <c:v>4</c:v>
                </c:pt>
                <c:pt idx="4707">
                  <c:v>0</c:v>
                </c:pt>
                <c:pt idx="4708">
                  <c:v>3</c:v>
                </c:pt>
                <c:pt idx="4709">
                  <c:v>2</c:v>
                </c:pt>
                <c:pt idx="4710">
                  <c:v>0</c:v>
                </c:pt>
                <c:pt idx="4711">
                  <c:v>28</c:v>
                </c:pt>
                <c:pt idx="4712">
                  <c:v>12</c:v>
                </c:pt>
                <c:pt idx="4713">
                  <c:v>1</c:v>
                </c:pt>
                <c:pt idx="4714">
                  <c:v>1</c:v>
                </c:pt>
                <c:pt idx="4715">
                  <c:v>6</c:v>
                </c:pt>
                <c:pt idx="4716">
                  <c:v>1</c:v>
                </c:pt>
                <c:pt idx="4717">
                  <c:v>1</c:v>
                </c:pt>
                <c:pt idx="4718">
                  <c:v>0</c:v>
                </c:pt>
                <c:pt idx="4719">
                  <c:v>0</c:v>
                </c:pt>
                <c:pt idx="4720">
                  <c:v>0</c:v>
                </c:pt>
                <c:pt idx="4721">
                  <c:v>5</c:v>
                </c:pt>
                <c:pt idx="4722">
                  <c:v>2</c:v>
                </c:pt>
                <c:pt idx="4723">
                  <c:v>1</c:v>
                </c:pt>
                <c:pt idx="4724">
                  <c:v>1</c:v>
                </c:pt>
                <c:pt idx="4725">
                  <c:v>3</c:v>
                </c:pt>
                <c:pt idx="4726">
                  <c:v>0</c:v>
                </c:pt>
                <c:pt idx="4727">
                  <c:v>49</c:v>
                </c:pt>
                <c:pt idx="4728">
                  <c:v>2</c:v>
                </c:pt>
                <c:pt idx="4729">
                  <c:v>2</c:v>
                </c:pt>
                <c:pt idx="4730">
                  <c:v>3</c:v>
                </c:pt>
                <c:pt idx="4731">
                  <c:v>1</c:v>
                </c:pt>
                <c:pt idx="4732">
                  <c:v>3</c:v>
                </c:pt>
                <c:pt idx="4733">
                  <c:v>9</c:v>
                </c:pt>
                <c:pt idx="4734">
                  <c:v>2</c:v>
                </c:pt>
                <c:pt idx="4735">
                  <c:v>7</c:v>
                </c:pt>
                <c:pt idx="4736">
                  <c:v>3</c:v>
                </c:pt>
                <c:pt idx="4737">
                  <c:v>0</c:v>
                </c:pt>
                <c:pt idx="4738">
                  <c:v>10</c:v>
                </c:pt>
                <c:pt idx="4739">
                  <c:v>1</c:v>
                </c:pt>
                <c:pt idx="4740">
                  <c:v>4</c:v>
                </c:pt>
                <c:pt idx="4741">
                  <c:v>5</c:v>
                </c:pt>
                <c:pt idx="4742">
                  <c:v>56</c:v>
                </c:pt>
                <c:pt idx="4743">
                  <c:v>4</c:v>
                </c:pt>
                <c:pt idx="4744">
                  <c:v>2</c:v>
                </c:pt>
                <c:pt idx="4745">
                  <c:v>0</c:v>
                </c:pt>
                <c:pt idx="4746">
                  <c:v>0</c:v>
                </c:pt>
                <c:pt idx="4747">
                  <c:v>0</c:v>
                </c:pt>
                <c:pt idx="4748">
                  <c:v>4</c:v>
                </c:pt>
                <c:pt idx="4749">
                  <c:v>4</c:v>
                </c:pt>
                <c:pt idx="4750">
                  <c:v>10</c:v>
                </c:pt>
                <c:pt idx="4751">
                  <c:v>59</c:v>
                </c:pt>
                <c:pt idx="4752">
                  <c:v>3</c:v>
                </c:pt>
                <c:pt idx="4753">
                  <c:v>0</c:v>
                </c:pt>
                <c:pt idx="4754">
                  <c:v>74</c:v>
                </c:pt>
                <c:pt idx="4755">
                  <c:v>2</c:v>
                </c:pt>
                <c:pt idx="4756">
                  <c:v>0</c:v>
                </c:pt>
                <c:pt idx="4757">
                  <c:v>1</c:v>
                </c:pt>
                <c:pt idx="4758">
                  <c:v>1</c:v>
                </c:pt>
                <c:pt idx="4759">
                  <c:v>1</c:v>
                </c:pt>
                <c:pt idx="4760">
                  <c:v>1</c:v>
                </c:pt>
                <c:pt idx="4761">
                  <c:v>0</c:v>
                </c:pt>
                <c:pt idx="4762">
                  <c:v>9</c:v>
                </c:pt>
                <c:pt idx="4763">
                  <c:v>3</c:v>
                </c:pt>
                <c:pt idx="4764">
                  <c:v>0</c:v>
                </c:pt>
                <c:pt idx="4765">
                  <c:v>2</c:v>
                </c:pt>
                <c:pt idx="4766">
                  <c:v>0</c:v>
                </c:pt>
                <c:pt idx="4767">
                  <c:v>0</c:v>
                </c:pt>
                <c:pt idx="4768">
                  <c:v>0</c:v>
                </c:pt>
                <c:pt idx="4769">
                  <c:v>2</c:v>
                </c:pt>
                <c:pt idx="4770">
                  <c:v>0</c:v>
                </c:pt>
                <c:pt idx="4771">
                  <c:v>0</c:v>
                </c:pt>
                <c:pt idx="4772">
                  <c:v>0</c:v>
                </c:pt>
                <c:pt idx="4773">
                  <c:v>0</c:v>
                </c:pt>
                <c:pt idx="4774">
                  <c:v>3</c:v>
                </c:pt>
                <c:pt idx="4775">
                  <c:v>0</c:v>
                </c:pt>
                <c:pt idx="4776">
                  <c:v>0</c:v>
                </c:pt>
                <c:pt idx="4777">
                  <c:v>0</c:v>
                </c:pt>
                <c:pt idx="4778">
                  <c:v>0</c:v>
                </c:pt>
                <c:pt idx="4779">
                  <c:v>0</c:v>
                </c:pt>
                <c:pt idx="4780">
                  <c:v>2</c:v>
                </c:pt>
                <c:pt idx="4781">
                  <c:v>0</c:v>
                </c:pt>
                <c:pt idx="4782">
                  <c:v>0</c:v>
                </c:pt>
                <c:pt idx="4783">
                  <c:v>0</c:v>
                </c:pt>
                <c:pt idx="4784">
                  <c:v>0</c:v>
                </c:pt>
                <c:pt idx="4785">
                  <c:v>10</c:v>
                </c:pt>
                <c:pt idx="4786">
                  <c:v>0</c:v>
                </c:pt>
                <c:pt idx="4787">
                  <c:v>0</c:v>
                </c:pt>
                <c:pt idx="4788">
                  <c:v>0</c:v>
                </c:pt>
                <c:pt idx="4789">
                  <c:v>0</c:v>
                </c:pt>
                <c:pt idx="4790">
                  <c:v>0</c:v>
                </c:pt>
                <c:pt idx="4791">
                  <c:v>0</c:v>
                </c:pt>
                <c:pt idx="4792">
                  <c:v>0</c:v>
                </c:pt>
                <c:pt idx="4793">
                  <c:v>0</c:v>
                </c:pt>
                <c:pt idx="4794">
                  <c:v>1</c:v>
                </c:pt>
                <c:pt idx="4795">
                  <c:v>0</c:v>
                </c:pt>
                <c:pt idx="4796">
                  <c:v>0</c:v>
                </c:pt>
                <c:pt idx="4797">
                  <c:v>0</c:v>
                </c:pt>
                <c:pt idx="4798">
                  <c:v>0</c:v>
                </c:pt>
                <c:pt idx="4799">
                  <c:v>3</c:v>
                </c:pt>
                <c:pt idx="4800">
                  <c:v>0</c:v>
                </c:pt>
                <c:pt idx="4801">
                  <c:v>0</c:v>
                </c:pt>
                <c:pt idx="4802">
                  <c:v>0</c:v>
                </c:pt>
                <c:pt idx="4803">
                  <c:v>0</c:v>
                </c:pt>
                <c:pt idx="4804">
                  <c:v>0</c:v>
                </c:pt>
                <c:pt idx="4805">
                  <c:v>0</c:v>
                </c:pt>
                <c:pt idx="4806">
                  <c:v>0</c:v>
                </c:pt>
                <c:pt idx="4807">
                  <c:v>0</c:v>
                </c:pt>
                <c:pt idx="4808">
                  <c:v>0</c:v>
                </c:pt>
                <c:pt idx="4809">
                  <c:v>0</c:v>
                </c:pt>
                <c:pt idx="4810">
                  <c:v>2</c:v>
                </c:pt>
                <c:pt idx="4811">
                  <c:v>0</c:v>
                </c:pt>
                <c:pt idx="4812">
                  <c:v>0</c:v>
                </c:pt>
                <c:pt idx="4813">
                  <c:v>2</c:v>
                </c:pt>
                <c:pt idx="4814">
                  <c:v>6</c:v>
                </c:pt>
                <c:pt idx="4815">
                  <c:v>0</c:v>
                </c:pt>
                <c:pt idx="4816">
                  <c:v>24</c:v>
                </c:pt>
                <c:pt idx="4817">
                  <c:v>0</c:v>
                </c:pt>
                <c:pt idx="4818">
                  <c:v>0</c:v>
                </c:pt>
                <c:pt idx="4819">
                  <c:v>0</c:v>
                </c:pt>
                <c:pt idx="4820">
                  <c:v>0</c:v>
                </c:pt>
                <c:pt idx="4821">
                  <c:v>0</c:v>
                </c:pt>
                <c:pt idx="4822">
                  <c:v>0</c:v>
                </c:pt>
                <c:pt idx="4823">
                  <c:v>0</c:v>
                </c:pt>
                <c:pt idx="4824">
                  <c:v>1</c:v>
                </c:pt>
                <c:pt idx="4825">
                  <c:v>0</c:v>
                </c:pt>
                <c:pt idx="4826">
                  <c:v>0</c:v>
                </c:pt>
                <c:pt idx="4827">
                  <c:v>0</c:v>
                </c:pt>
                <c:pt idx="4828">
                  <c:v>1</c:v>
                </c:pt>
                <c:pt idx="4829">
                  <c:v>0</c:v>
                </c:pt>
                <c:pt idx="4830">
                  <c:v>0</c:v>
                </c:pt>
                <c:pt idx="4831">
                  <c:v>5</c:v>
                </c:pt>
                <c:pt idx="4832">
                  <c:v>0</c:v>
                </c:pt>
                <c:pt idx="4833">
                  <c:v>0</c:v>
                </c:pt>
                <c:pt idx="4834">
                  <c:v>0</c:v>
                </c:pt>
                <c:pt idx="4835">
                  <c:v>0</c:v>
                </c:pt>
                <c:pt idx="4836">
                  <c:v>0</c:v>
                </c:pt>
                <c:pt idx="4837">
                  <c:v>0</c:v>
                </c:pt>
                <c:pt idx="4838">
                  <c:v>0</c:v>
                </c:pt>
                <c:pt idx="4839">
                  <c:v>0</c:v>
                </c:pt>
                <c:pt idx="4840">
                  <c:v>3</c:v>
                </c:pt>
                <c:pt idx="4841">
                  <c:v>1</c:v>
                </c:pt>
                <c:pt idx="4842">
                  <c:v>3</c:v>
                </c:pt>
                <c:pt idx="4843">
                  <c:v>0</c:v>
                </c:pt>
                <c:pt idx="4844">
                  <c:v>0</c:v>
                </c:pt>
                <c:pt idx="4845">
                  <c:v>2</c:v>
                </c:pt>
                <c:pt idx="4846">
                  <c:v>1</c:v>
                </c:pt>
                <c:pt idx="4847">
                  <c:v>0</c:v>
                </c:pt>
                <c:pt idx="4848">
                  <c:v>0</c:v>
                </c:pt>
                <c:pt idx="4849">
                  <c:v>1</c:v>
                </c:pt>
                <c:pt idx="4850">
                  <c:v>0</c:v>
                </c:pt>
                <c:pt idx="4851">
                  <c:v>1</c:v>
                </c:pt>
                <c:pt idx="4852">
                  <c:v>0</c:v>
                </c:pt>
                <c:pt idx="4853">
                  <c:v>0</c:v>
                </c:pt>
                <c:pt idx="4854">
                  <c:v>0</c:v>
                </c:pt>
                <c:pt idx="4855">
                  <c:v>0</c:v>
                </c:pt>
                <c:pt idx="4856">
                  <c:v>0</c:v>
                </c:pt>
                <c:pt idx="4857">
                  <c:v>0</c:v>
                </c:pt>
                <c:pt idx="4858">
                  <c:v>0</c:v>
                </c:pt>
                <c:pt idx="4859">
                  <c:v>0</c:v>
                </c:pt>
                <c:pt idx="4860">
                  <c:v>0</c:v>
                </c:pt>
                <c:pt idx="4861">
                  <c:v>2</c:v>
                </c:pt>
                <c:pt idx="4862">
                  <c:v>0</c:v>
                </c:pt>
                <c:pt idx="4863">
                  <c:v>1</c:v>
                </c:pt>
                <c:pt idx="4864">
                  <c:v>0</c:v>
                </c:pt>
                <c:pt idx="4865">
                  <c:v>0</c:v>
                </c:pt>
                <c:pt idx="4866">
                  <c:v>0</c:v>
                </c:pt>
                <c:pt idx="4867">
                  <c:v>1</c:v>
                </c:pt>
                <c:pt idx="4868">
                  <c:v>2</c:v>
                </c:pt>
                <c:pt idx="4869">
                  <c:v>1</c:v>
                </c:pt>
                <c:pt idx="4870">
                  <c:v>2</c:v>
                </c:pt>
                <c:pt idx="4871">
                  <c:v>0</c:v>
                </c:pt>
                <c:pt idx="4872">
                  <c:v>0</c:v>
                </c:pt>
                <c:pt idx="4873">
                  <c:v>0</c:v>
                </c:pt>
                <c:pt idx="4874">
                  <c:v>0</c:v>
                </c:pt>
                <c:pt idx="4875">
                  <c:v>0</c:v>
                </c:pt>
                <c:pt idx="4876">
                  <c:v>0</c:v>
                </c:pt>
                <c:pt idx="4877">
                  <c:v>0</c:v>
                </c:pt>
                <c:pt idx="4878">
                  <c:v>0</c:v>
                </c:pt>
                <c:pt idx="4879">
                  <c:v>0</c:v>
                </c:pt>
                <c:pt idx="4880">
                  <c:v>1</c:v>
                </c:pt>
                <c:pt idx="4881">
                  <c:v>0</c:v>
                </c:pt>
                <c:pt idx="4882">
                  <c:v>0</c:v>
                </c:pt>
                <c:pt idx="4883">
                  <c:v>0</c:v>
                </c:pt>
                <c:pt idx="4884">
                  <c:v>3</c:v>
                </c:pt>
                <c:pt idx="4885">
                  <c:v>0</c:v>
                </c:pt>
                <c:pt idx="4886">
                  <c:v>2</c:v>
                </c:pt>
                <c:pt idx="4887">
                  <c:v>1</c:v>
                </c:pt>
                <c:pt idx="4888">
                  <c:v>0</c:v>
                </c:pt>
                <c:pt idx="4889">
                  <c:v>2</c:v>
                </c:pt>
                <c:pt idx="4890">
                  <c:v>0</c:v>
                </c:pt>
                <c:pt idx="4891">
                  <c:v>0</c:v>
                </c:pt>
                <c:pt idx="4892">
                  <c:v>0</c:v>
                </c:pt>
                <c:pt idx="4893">
                  <c:v>0</c:v>
                </c:pt>
                <c:pt idx="4894">
                  <c:v>0</c:v>
                </c:pt>
                <c:pt idx="4895">
                  <c:v>2</c:v>
                </c:pt>
                <c:pt idx="4896">
                  <c:v>0</c:v>
                </c:pt>
                <c:pt idx="4897">
                  <c:v>0</c:v>
                </c:pt>
                <c:pt idx="4898">
                  <c:v>3</c:v>
                </c:pt>
                <c:pt idx="4899">
                  <c:v>0</c:v>
                </c:pt>
                <c:pt idx="4900">
                  <c:v>2</c:v>
                </c:pt>
                <c:pt idx="4901">
                  <c:v>3</c:v>
                </c:pt>
                <c:pt idx="4902">
                  <c:v>0</c:v>
                </c:pt>
                <c:pt idx="4903">
                  <c:v>1</c:v>
                </c:pt>
                <c:pt idx="4904">
                  <c:v>1</c:v>
                </c:pt>
                <c:pt idx="4905">
                  <c:v>3</c:v>
                </c:pt>
                <c:pt idx="4906">
                  <c:v>3</c:v>
                </c:pt>
                <c:pt idx="4907">
                  <c:v>0</c:v>
                </c:pt>
                <c:pt idx="4908">
                  <c:v>0</c:v>
                </c:pt>
                <c:pt idx="4909">
                  <c:v>3</c:v>
                </c:pt>
                <c:pt idx="4910">
                  <c:v>7</c:v>
                </c:pt>
                <c:pt idx="4911">
                  <c:v>0</c:v>
                </c:pt>
                <c:pt idx="4912">
                  <c:v>0</c:v>
                </c:pt>
                <c:pt idx="4913">
                  <c:v>1</c:v>
                </c:pt>
                <c:pt idx="4914">
                  <c:v>0</c:v>
                </c:pt>
                <c:pt idx="4915">
                  <c:v>3</c:v>
                </c:pt>
                <c:pt idx="4916">
                  <c:v>0</c:v>
                </c:pt>
                <c:pt idx="4917">
                  <c:v>3</c:v>
                </c:pt>
                <c:pt idx="4918">
                  <c:v>0</c:v>
                </c:pt>
                <c:pt idx="4919">
                  <c:v>0</c:v>
                </c:pt>
                <c:pt idx="4920">
                  <c:v>0</c:v>
                </c:pt>
                <c:pt idx="4921">
                  <c:v>1</c:v>
                </c:pt>
                <c:pt idx="4922">
                  <c:v>4</c:v>
                </c:pt>
                <c:pt idx="4923">
                  <c:v>1</c:v>
                </c:pt>
                <c:pt idx="4924">
                  <c:v>0</c:v>
                </c:pt>
                <c:pt idx="4925">
                  <c:v>1</c:v>
                </c:pt>
                <c:pt idx="4926">
                  <c:v>0</c:v>
                </c:pt>
                <c:pt idx="4927">
                  <c:v>2</c:v>
                </c:pt>
                <c:pt idx="4928">
                  <c:v>1</c:v>
                </c:pt>
                <c:pt idx="4929">
                  <c:v>1</c:v>
                </c:pt>
                <c:pt idx="4930">
                  <c:v>0</c:v>
                </c:pt>
                <c:pt idx="4931">
                  <c:v>3</c:v>
                </c:pt>
                <c:pt idx="4932">
                  <c:v>0</c:v>
                </c:pt>
                <c:pt idx="4933">
                  <c:v>1</c:v>
                </c:pt>
                <c:pt idx="4934">
                  <c:v>5</c:v>
                </c:pt>
                <c:pt idx="4935">
                  <c:v>3</c:v>
                </c:pt>
                <c:pt idx="4936">
                  <c:v>0</c:v>
                </c:pt>
                <c:pt idx="4937">
                  <c:v>0</c:v>
                </c:pt>
                <c:pt idx="4938">
                  <c:v>0</c:v>
                </c:pt>
                <c:pt idx="4939">
                  <c:v>2</c:v>
                </c:pt>
                <c:pt idx="4940">
                  <c:v>0</c:v>
                </c:pt>
                <c:pt idx="4941">
                  <c:v>0</c:v>
                </c:pt>
                <c:pt idx="4942">
                  <c:v>0</c:v>
                </c:pt>
                <c:pt idx="4943">
                  <c:v>3</c:v>
                </c:pt>
                <c:pt idx="4944">
                  <c:v>1</c:v>
                </c:pt>
                <c:pt idx="4945">
                  <c:v>1</c:v>
                </c:pt>
                <c:pt idx="4946">
                  <c:v>0</c:v>
                </c:pt>
                <c:pt idx="4947">
                  <c:v>0</c:v>
                </c:pt>
                <c:pt idx="4948">
                  <c:v>1</c:v>
                </c:pt>
                <c:pt idx="4949">
                  <c:v>2</c:v>
                </c:pt>
                <c:pt idx="4950">
                  <c:v>1</c:v>
                </c:pt>
                <c:pt idx="4951">
                  <c:v>0</c:v>
                </c:pt>
                <c:pt idx="4952">
                  <c:v>1</c:v>
                </c:pt>
                <c:pt idx="4953">
                  <c:v>0</c:v>
                </c:pt>
                <c:pt idx="4954">
                  <c:v>0</c:v>
                </c:pt>
                <c:pt idx="4955">
                  <c:v>0</c:v>
                </c:pt>
                <c:pt idx="4956">
                  <c:v>0</c:v>
                </c:pt>
                <c:pt idx="4957">
                  <c:v>0</c:v>
                </c:pt>
                <c:pt idx="4958">
                  <c:v>1</c:v>
                </c:pt>
                <c:pt idx="4959">
                  <c:v>2</c:v>
                </c:pt>
                <c:pt idx="4960">
                  <c:v>1</c:v>
                </c:pt>
                <c:pt idx="4961">
                  <c:v>0</c:v>
                </c:pt>
                <c:pt idx="4962">
                  <c:v>1</c:v>
                </c:pt>
                <c:pt idx="4963">
                  <c:v>2</c:v>
                </c:pt>
                <c:pt idx="4964">
                  <c:v>2</c:v>
                </c:pt>
                <c:pt idx="4965">
                  <c:v>0</c:v>
                </c:pt>
                <c:pt idx="4966">
                  <c:v>0</c:v>
                </c:pt>
                <c:pt idx="4967">
                  <c:v>3</c:v>
                </c:pt>
                <c:pt idx="4968">
                  <c:v>1</c:v>
                </c:pt>
                <c:pt idx="4969">
                  <c:v>2</c:v>
                </c:pt>
                <c:pt idx="4970">
                  <c:v>1</c:v>
                </c:pt>
                <c:pt idx="4971">
                  <c:v>0</c:v>
                </c:pt>
                <c:pt idx="4972">
                  <c:v>9</c:v>
                </c:pt>
                <c:pt idx="4973">
                  <c:v>1</c:v>
                </c:pt>
                <c:pt idx="4974">
                  <c:v>4</c:v>
                </c:pt>
                <c:pt idx="4975">
                  <c:v>1</c:v>
                </c:pt>
                <c:pt idx="4976">
                  <c:v>0</c:v>
                </c:pt>
                <c:pt idx="4977">
                  <c:v>0</c:v>
                </c:pt>
                <c:pt idx="4978">
                  <c:v>0</c:v>
                </c:pt>
                <c:pt idx="4979">
                  <c:v>0</c:v>
                </c:pt>
                <c:pt idx="4980">
                  <c:v>0</c:v>
                </c:pt>
                <c:pt idx="4981">
                  <c:v>2</c:v>
                </c:pt>
                <c:pt idx="4982">
                  <c:v>4</c:v>
                </c:pt>
                <c:pt idx="4983">
                  <c:v>1</c:v>
                </c:pt>
                <c:pt idx="4984">
                  <c:v>0</c:v>
                </c:pt>
                <c:pt idx="4985">
                  <c:v>1</c:v>
                </c:pt>
                <c:pt idx="4986">
                  <c:v>0</c:v>
                </c:pt>
                <c:pt idx="4987">
                  <c:v>4</c:v>
                </c:pt>
                <c:pt idx="4988">
                  <c:v>4</c:v>
                </c:pt>
                <c:pt idx="4989">
                  <c:v>3</c:v>
                </c:pt>
                <c:pt idx="4990">
                  <c:v>3</c:v>
                </c:pt>
                <c:pt idx="4991">
                  <c:v>0</c:v>
                </c:pt>
                <c:pt idx="4992">
                  <c:v>2</c:v>
                </c:pt>
                <c:pt idx="4993">
                  <c:v>3</c:v>
                </c:pt>
                <c:pt idx="4994">
                  <c:v>0</c:v>
                </c:pt>
                <c:pt idx="4995">
                  <c:v>3</c:v>
                </c:pt>
                <c:pt idx="4996">
                  <c:v>1</c:v>
                </c:pt>
                <c:pt idx="4997">
                  <c:v>0</c:v>
                </c:pt>
                <c:pt idx="4998">
                  <c:v>0</c:v>
                </c:pt>
                <c:pt idx="4999">
                  <c:v>1</c:v>
                </c:pt>
                <c:pt idx="5000">
                  <c:v>0</c:v>
                </c:pt>
                <c:pt idx="5001">
                  <c:v>1</c:v>
                </c:pt>
                <c:pt idx="5002">
                  <c:v>0</c:v>
                </c:pt>
                <c:pt idx="5003">
                  <c:v>0</c:v>
                </c:pt>
                <c:pt idx="5004">
                  <c:v>0</c:v>
                </c:pt>
                <c:pt idx="5005">
                  <c:v>1</c:v>
                </c:pt>
                <c:pt idx="5006">
                  <c:v>1</c:v>
                </c:pt>
                <c:pt idx="5007">
                  <c:v>0</c:v>
                </c:pt>
                <c:pt idx="5008">
                  <c:v>0</c:v>
                </c:pt>
                <c:pt idx="5009">
                  <c:v>0</c:v>
                </c:pt>
                <c:pt idx="5010">
                  <c:v>6</c:v>
                </c:pt>
                <c:pt idx="5011">
                  <c:v>0</c:v>
                </c:pt>
                <c:pt idx="5012">
                  <c:v>1</c:v>
                </c:pt>
                <c:pt idx="5013">
                  <c:v>0</c:v>
                </c:pt>
                <c:pt idx="5014">
                  <c:v>1</c:v>
                </c:pt>
                <c:pt idx="5015">
                  <c:v>0</c:v>
                </c:pt>
                <c:pt idx="5016">
                  <c:v>3</c:v>
                </c:pt>
                <c:pt idx="5017">
                  <c:v>2</c:v>
                </c:pt>
                <c:pt idx="5018">
                  <c:v>1</c:v>
                </c:pt>
                <c:pt idx="5019">
                  <c:v>1</c:v>
                </c:pt>
                <c:pt idx="5020">
                  <c:v>4</c:v>
                </c:pt>
                <c:pt idx="5021">
                  <c:v>7</c:v>
                </c:pt>
                <c:pt idx="5022">
                  <c:v>1</c:v>
                </c:pt>
                <c:pt idx="5023">
                  <c:v>3</c:v>
                </c:pt>
                <c:pt idx="5024">
                  <c:v>1</c:v>
                </c:pt>
                <c:pt idx="5025">
                  <c:v>0</c:v>
                </c:pt>
                <c:pt idx="5026">
                  <c:v>13</c:v>
                </c:pt>
                <c:pt idx="5027">
                  <c:v>0</c:v>
                </c:pt>
                <c:pt idx="5028">
                  <c:v>0</c:v>
                </c:pt>
                <c:pt idx="5029">
                  <c:v>21</c:v>
                </c:pt>
                <c:pt idx="5030">
                  <c:v>1</c:v>
                </c:pt>
                <c:pt idx="5031">
                  <c:v>0</c:v>
                </c:pt>
                <c:pt idx="5032">
                  <c:v>0</c:v>
                </c:pt>
                <c:pt idx="5033">
                  <c:v>2</c:v>
                </c:pt>
                <c:pt idx="5034">
                  <c:v>13</c:v>
                </c:pt>
                <c:pt idx="5035">
                  <c:v>1</c:v>
                </c:pt>
                <c:pt idx="5036">
                  <c:v>1</c:v>
                </c:pt>
                <c:pt idx="5037">
                  <c:v>0</c:v>
                </c:pt>
                <c:pt idx="5038">
                  <c:v>2</c:v>
                </c:pt>
                <c:pt idx="5039">
                  <c:v>0</c:v>
                </c:pt>
                <c:pt idx="5040">
                  <c:v>5</c:v>
                </c:pt>
                <c:pt idx="5041">
                  <c:v>1</c:v>
                </c:pt>
                <c:pt idx="5042">
                  <c:v>0</c:v>
                </c:pt>
                <c:pt idx="5043">
                  <c:v>1</c:v>
                </c:pt>
                <c:pt idx="5044">
                  <c:v>0</c:v>
                </c:pt>
                <c:pt idx="5045">
                  <c:v>2</c:v>
                </c:pt>
                <c:pt idx="5046">
                  <c:v>10</c:v>
                </c:pt>
                <c:pt idx="5047">
                  <c:v>4</c:v>
                </c:pt>
                <c:pt idx="5048">
                  <c:v>2</c:v>
                </c:pt>
                <c:pt idx="5049">
                  <c:v>5</c:v>
                </c:pt>
                <c:pt idx="5050">
                  <c:v>5</c:v>
                </c:pt>
                <c:pt idx="5051">
                  <c:v>1</c:v>
                </c:pt>
                <c:pt idx="5052">
                  <c:v>1</c:v>
                </c:pt>
                <c:pt idx="5053">
                  <c:v>0</c:v>
                </c:pt>
                <c:pt idx="5054">
                  <c:v>0</c:v>
                </c:pt>
                <c:pt idx="5055">
                  <c:v>1</c:v>
                </c:pt>
                <c:pt idx="5056">
                  <c:v>3</c:v>
                </c:pt>
                <c:pt idx="5057">
                  <c:v>1</c:v>
                </c:pt>
                <c:pt idx="5058">
                  <c:v>0</c:v>
                </c:pt>
                <c:pt idx="5059">
                  <c:v>0</c:v>
                </c:pt>
                <c:pt idx="5060">
                  <c:v>0</c:v>
                </c:pt>
                <c:pt idx="5061">
                  <c:v>2</c:v>
                </c:pt>
                <c:pt idx="5062">
                  <c:v>1</c:v>
                </c:pt>
                <c:pt idx="5063">
                  <c:v>0</c:v>
                </c:pt>
                <c:pt idx="5064">
                  <c:v>0</c:v>
                </c:pt>
                <c:pt idx="5065">
                  <c:v>1</c:v>
                </c:pt>
                <c:pt idx="5066">
                  <c:v>0</c:v>
                </c:pt>
                <c:pt idx="5067">
                  <c:v>0</c:v>
                </c:pt>
                <c:pt idx="5068">
                  <c:v>2</c:v>
                </c:pt>
                <c:pt idx="5069">
                  <c:v>0</c:v>
                </c:pt>
                <c:pt idx="5070">
                  <c:v>1</c:v>
                </c:pt>
                <c:pt idx="5071">
                  <c:v>0</c:v>
                </c:pt>
                <c:pt idx="5072">
                  <c:v>0</c:v>
                </c:pt>
                <c:pt idx="5073">
                  <c:v>2</c:v>
                </c:pt>
                <c:pt idx="5074">
                  <c:v>0</c:v>
                </c:pt>
                <c:pt idx="5075">
                  <c:v>0</c:v>
                </c:pt>
                <c:pt idx="5076">
                  <c:v>0</c:v>
                </c:pt>
                <c:pt idx="5077">
                  <c:v>0</c:v>
                </c:pt>
                <c:pt idx="5078">
                  <c:v>0</c:v>
                </c:pt>
                <c:pt idx="5079">
                  <c:v>2</c:v>
                </c:pt>
                <c:pt idx="5080">
                  <c:v>0</c:v>
                </c:pt>
                <c:pt idx="5081">
                  <c:v>0</c:v>
                </c:pt>
                <c:pt idx="5082">
                  <c:v>0</c:v>
                </c:pt>
                <c:pt idx="5083">
                  <c:v>1</c:v>
                </c:pt>
                <c:pt idx="5084">
                  <c:v>8</c:v>
                </c:pt>
                <c:pt idx="5085">
                  <c:v>0</c:v>
                </c:pt>
                <c:pt idx="5086">
                  <c:v>0</c:v>
                </c:pt>
                <c:pt idx="5087">
                  <c:v>1</c:v>
                </c:pt>
                <c:pt idx="5088">
                  <c:v>0</c:v>
                </c:pt>
                <c:pt idx="5089">
                  <c:v>0</c:v>
                </c:pt>
                <c:pt idx="5090">
                  <c:v>2</c:v>
                </c:pt>
                <c:pt idx="5091">
                  <c:v>0</c:v>
                </c:pt>
                <c:pt idx="5092">
                  <c:v>0</c:v>
                </c:pt>
                <c:pt idx="5093">
                  <c:v>0</c:v>
                </c:pt>
                <c:pt idx="5094">
                  <c:v>1</c:v>
                </c:pt>
                <c:pt idx="5095">
                  <c:v>7</c:v>
                </c:pt>
                <c:pt idx="5096">
                  <c:v>0</c:v>
                </c:pt>
                <c:pt idx="5097">
                  <c:v>0</c:v>
                </c:pt>
                <c:pt idx="5098">
                  <c:v>0</c:v>
                </c:pt>
                <c:pt idx="5099">
                  <c:v>1</c:v>
                </c:pt>
                <c:pt idx="5100">
                  <c:v>5</c:v>
                </c:pt>
                <c:pt idx="5101">
                  <c:v>1</c:v>
                </c:pt>
                <c:pt idx="5102">
                  <c:v>1</c:v>
                </c:pt>
                <c:pt idx="5103">
                  <c:v>0</c:v>
                </c:pt>
                <c:pt idx="5104">
                  <c:v>0</c:v>
                </c:pt>
                <c:pt idx="5105">
                  <c:v>0</c:v>
                </c:pt>
                <c:pt idx="5106">
                  <c:v>1</c:v>
                </c:pt>
                <c:pt idx="5107">
                  <c:v>0</c:v>
                </c:pt>
                <c:pt idx="5108">
                  <c:v>1</c:v>
                </c:pt>
                <c:pt idx="5109">
                  <c:v>8</c:v>
                </c:pt>
                <c:pt idx="5110">
                  <c:v>0</c:v>
                </c:pt>
                <c:pt idx="5111">
                  <c:v>15</c:v>
                </c:pt>
                <c:pt idx="5112">
                  <c:v>0</c:v>
                </c:pt>
                <c:pt idx="5113">
                  <c:v>8</c:v>
                </c:pt>
                <c:pt idx="5114">
                  <c:v>18</c:v>
                </c:pt>
                <c:pt idx="5115">
                  <c:v>0</c:v>
                </c:pt>
                <c:pt idx="5116">
                  <c:v>5</c:v>
                </c:pt>
                <c:pt idx="5117">
                  <c:v>0</c:v>
                </c:pt>
                <c:pt idx="5118">
                  <c:v>0</c:v>
                </c:pt>
                <c:pt idx="5119">
                  <c:v>1</c:v>
                </c:pt>
                <c:pt idx="5120">
                  <c:v>0</c:v>
                </c:pt>
                <c:pt idx="5121">
                  <c:v>8</c:v>
                </c:pt>
                <c:pt idx="5122">
                  <c:v>4</c:v>
                </c:pt>
                <c:pt idx="5123">
                  <c:v>2</c:v>
                </c:pt>
                <c:pt idx="5124">
                  <c:v>1</c:v>
                </c:pt>
                <c:pt idx="5125">
                  <c:v>1</c:v>
                </c:pt>
                <c:pt idx="5126">
                  <c:v>16</c:v>
                </c:pt>
                <c:pt idx="5127">
                  <c:v>1</c:v>
                </c:pt>
                <c:pt idx="5128">
                  <c:v>0</c:v>
                </c:pt>
                <c:pt idx="5129">
                  <c:v>0</c:v>
                </c:pt>
                <c:pt idx="5130">
                  <c:v>0</c:v>
                </c:pt>
                <c:pt idx="5131">
                  <c:v>0</c:v>
                </c:pt>
                <c:pt idx="5132">
                  <c:v>0</c:v>
                </c:pt>
                <c:pt idx="5133">
                  <c:v>4</c:v>
                </c:pt>
                <c:pt idx="5134">
                  <c:v>1</c:v>
                </c:pt>
                <c:pt idx="5135">
                  <c:v>95</c:v>
                </c:pt>
                <c:pt idx="5136">
                  <c:v>0</c:v>
                </c:pt>
                <c:pt idx="5137">
                  <c:v>1</c:v>
                </c:pt>
                <c:pt idx="5138">
                  <c:v>0</c:v>
                </c:pt>
                <c:pt idx="5139">
                  <c:v>0</c:v>
                </c:pt>
                <c:pt idx="5140">
                  <c:v>0</c:v>
                </c:pt>
                <c:pt idx="5141">
                  <c:v>0</c:v>
                </c:pt>
                <c:pt idx="5142">
                  <c:v>4</c:v>
                </c:pt>
                <c:pt idx="5143">
                  <c:v>2</c:v>
                </c:pt>
                <c:pt idx="5144">
                  <c:v>6</c:v>
                </c:pt>
                <c:pt idx="5145">
                  <c:v>0</c:v>
                </c:pt>
                <c:pt idx="5146">
                  <c:v>0</c:v>
                </c:pt>
                <c:pt idx="5147">
                  <c:v>0</c:v>
                </c:pt>
                <c:pt idx="5148">
                  <c:v>1</c:v>
                </c:pt>
                <c:pt idx="5149">
                  <c:v>0</c:v>
                </c:pt>
                <c:pt idx="5150">
                  <c:v>0</c:v>
                </c:pt>
                <c:pt idx="5151">
                  <c:v>1</c:v>
                </c:pt>
                <c:pt idx="5152">
                  <c:v>0</c:v>
                </c:pt>
                <c:pt idx="5153">
                  <c:v>0</c:v>
                </c:pt>
                <c:pt idx="5154">
                  <c:v>0</c:v>
                </c:pt>
                <c:pt idx="5155">
                  <c:v>2</c:v>
                </c:pt>
                <c:pt idx="5156">
                  <c:v>1</c:v>
                </c:pt>
                <c:pt idx="5157">
                  <c:v>1</c:v>
                </c:pt>
                <c:pt idx="5158">
                  <c:v>0</c:v>
                </c:pt>
                <c:pt idx="5159">
                  <c:v>3</c:v>
                </c:pt>
                <c:pt idx="5160">
                  <c:v>2</c:v>
                </c:pt>
                <c:pt idx="5161">
                  <c:v>0</c:v>
                </c:pt>
                <c:pt idx="5162">
                  <c:v>4</c:v>
                </c:pt>
                <c:pt idx="5163">
                  <c:v>0</c:v>
                </c:pt>
                <c:pt idx="5164">
                  <c:v>1</c:v>
                </c:pt>
                <c:pt idx="5165">
                  <c:v>1</c:v>
                </c:pt>
                <c:pt idx="5166">
                  <c:v>0</c:v>
                </c:pt>
                <c:pt idx="5167">
                  <c:v>4</c:v>
                </c:pt>
                <c:pt idx="5168">
                  <c:v>2</c:v>
                </c:pt>
                <c:pt idx="5169">
                  <c:v>1</c:v>
                </c:pt>
                <c:pt idx="5170">
                  <c:v>0</c:v>
                </c:pt>
                <c:pt idx="5171">
                  <c:v>2</c:v>
                </c:pt>
                <c:pt idx="5172">
                  <c:v>0</c:v>
                </c:pt>
                <c:pt idx="5173">
                  <c:v>2</c:v>
                </c:pt>
                <c:pt idx="5174">
                  <c:v>0</c:v>
                </c:pt>
                <c:pt idx="5175">
                  <c:v>1</c:v>
                </c:pt>
                <c:pt idx="5176">
                  <c:v>4</c:v>
                </c:pt>
                <c:pt idx="5177">
                  <c:v>0</c:v>
                </c:pt>
                <c:pt idx="5178">
                  <c:v>0</c:v>
                </c:pt>
                <c:pt idx="5179">
                  <c:v>2</c:v>
                </c:pt>
                <c:pt idx="5180">
                  <c:v>0</c:v>
                </c:pt>
                <c:pt idx="5181">
                  <c:v>0</c:v>
                </c:pt>
                <c:pt idx="5182">
                  <c:v>0</c:v>
                </c:pt>
                <c:pt idx="5183">
                  <c:v>2</c:v>
                </c:pt>
                <c:pt idx="5184">
                  <c:v>1</c:v>
                </c:pt>
                <c:pt idx="5185">
                  <c:v>2</c:v>
                </c:pt>
                <c:pt idx="5186">
                  <c:v>0</c:v>
                </c:pt>
                <c:pt idx="5187">
                  <c:v>0</c:v>
                </c:pt>
                <c:pt idx="5188">
                  <c:v>0</c:v>
                </c:pt>
                <c:pt idx="5189">
                  <c:v>0</c:v>
                </c:pt>
                <c:pt idx="5190">
                  <c:v>1</c:v>
                </c:pt>
                <c:pt idx="5191">
                  <c:v>1</c:v>
                </c:pt>
                <c:pt idx="5192">
                  <c:v>2</c:v>
                </c:pt>
                <c:pt idx="5193">
                  <c:v>0</c:v>
                </c:pt>
                <c:pt idx="5194">
                  <c:v>2</c:v>
                </c:pt>
                <c:pt idx="5195">
                  <c:v>0</c:v>
                </c:pt>
                <c:pt idx="5196">
                  <c:v>0</c:v>
                </c:pt>
                <c:pt idx="5197">
                  <c:v>0</c:v>
                </c:pt>
                <c:pt idx="5198">
                  <c:v>0</c:v>
                </c:pt>
                <c:pt idx="5199">
                  <c:v>0</c:v>
                </c:pt>
                <c:pt idx="5200">
                  <c:v>1</c:v>
                </c:pt>
                <c:pt idx="5201">
                  <c:v>1</c:v>
                </c:pt>
                <c:pt idx="5202">
                  <c:v>12</c:v>
                </c:pt>
                <c:pt idx="5203">
                  <c:v>0</c:v>
                </c:pt>
                <c:pt idx="5204">
                  <c:v>0</c:v>
                </c:pt>
                <c:pt idx="5205">
                  <c:v>0</c:v>
                </c:pt>
                <c:pt idx="5206">
                  <c:v>5</c:v>
                </c:pt>
                <c:pt idx="5207">
                  <c:v>0</c:v>
                </c:pt>
                <c:pt idx="5208">
                  <c:v>0</c:v>
                </c:pt>
                <c:pt idx="5209">
                  <c:v>0</c:v>
                </c:pt>
                <c:pt idx="5210">
                  <c:v>9</c:v>
                </c:pt>
                <c:pt idx="5211">
                  <c:v>0</c:v>
                </c:pt>
                <c:pt idx="5212">
                  <c:v>0</c:v>
                </c:pt>
                <c:pt idx="5213">
                  <c:v>0</c:v>
                </c:pt>
                <c:pt idx="5214">
                  <c:v>0</c:v>
                </c:pt>
                <c:pt idx="5215">
                  <c:v>0</c:v>
                </c:pt>
                <c:pt idx="5216">
                  <c:v>0</c:v>
                </c:pt>
                <c:pt idx="5217">
                  <c:v>0</c:v>
                </c:pt>
                <c:pt idx="5218">
                  <c:v>6</c:v>
                </c:pt>
                <c:pt idx="5219">
                  <c:v>0</c:v>
                </c:pt>
                <c:pt idx="5220">
                  <c:v>0</c:v>
                </c:pt>
                <c:pt idx="5221">
                  <c:v>9</c:v>
                </c:pt>
                <c:pt idx="5222">
                  <c:v>1</c:v>
                </c:pt>
                <c:pt idx="5223">
                  <c:v>5</c:v>
                </c:pt>
                <c:pt idx="5224">
                  <c:v>0</c:v>
                </c:pt>
                <c:pt idx="5225">
                  <c:v>0</c:v>
                </c:pt>
                <c:pt idx="5226">
                  <c:v>0</c:v>
                </c:pt>
                <c:pt idx="5227">
                  <c:v>0</c:v>
                </c:pt>
                <c:pt idx="5228">
                  <c:v>0</c:v>
                </c:pt>
                <c:pt idx="5229">
                  <c:v>0</c:v>
                </c:pt>
                <c:pt idx="5230">
                  <c:v>0</c:v>
                </c:pt>
                <c:pt idx="5231">
                  <c:v>0</c:v>
                </c:pt>
                <c:pt idx="5232">
                  <c:v>2</c:v>
                </c:pt>
                <c:pt idx="5233">
                  <c:v>0</c:v>
                </c:pt>
                <c:pt idx="5234">
                  <c:v>4</c:v>
                </c:pt>
                <c:pt idx="5235">
                  <c:v>9</c:v>
                </c:pt>
                <c:pt idx="5236">
                  <c:v>0</c:v>
                </c:pt>
                <c:pt idx="5237">
                  <c:v>8</c:v>
                </c:pt>
                <c:pt idx="5238">
                  <c:v>0</c:v>
                </c:pt>
                <c:pt idx="5239">
                  <c:v>3</c:v>
                </c:pt>
                <c:pt idx="5240">
                  <c:v>0</c:v>
                </c:pt>
                <c:pt idx="5241">
                  <c:v>0</c:v>
                </c:pt>
                <c:pt idx="5242">
                  <c:v>2</c:v>
                </c:pt>
                <c:pt idx="5243">
                  <c:v>1</c:v>
                </c:pt>
                <c:pt idx="5244">
                  <c:v>3</c:v>
                </c:pt>
                <c:pt idx="5245">
                  <c:v>10</c:v>
                </c:pt>
                <c:pt idx="5246">
                  <c:v>0</c:v>
                </c:pt>
                <c:pt idx="5247">
                  <c:v>1</c:v>
                </c:pt>
                <c:pt idx="5248">
                  <c:v>0</c:v>
                </c:pt>
                <c:pt idx="5249">
                  <c:v>0</c:v>
                </c:pt>
                <c:pt idx="5250">
                  <c:v>0</c:v>
                </c:pt>
                <c:pt idx="5251">
                  <c:v>0</c:v>
                </c:pt>
                <c:pt idx="5252">
                  <c:v>1</c:v>
                </c:pt>
                <c:pt idx="5253">
                  <c:v>4</c:v>
                </c:pt>
                <c:pt idx="5254">
                  <c:v>0</c:v>
                </c:pt>
                <c:pt idx="5255">
                  <c:v>4</c:v>
                </c:pt>
                <c:pt idx="5256">
                  <c:v>7</c:v>
                </c:pt>
                <c:pt idx="5257">
                  <c:v>1</c:v>
                </c:pt>
                <c:pt idx="5258">
                  <c:v>4</c:v>
                </c:pt>
                <c:pt idx="5259">
                  <c:v>0</c:v>
                </c:pt>
                <c:pt idx="5260">
                  <c:v>1</c:v>
                </c:pt>
                <c:pt idx="5261">
                  <c:v>0</c:v>
                </c:pt>
                <c:pt idx="5262">
                  <c:v>15</c:v>
                </c:pt>
                <c:pt idx="5263">
                  <c:v>3</c:v>
                </c:pt>
                <c:pt idx="5264">
                  <c:v>0</c:v>
                </c:pt>
                <c:pt idx="5265">
                  <c:v>0</c:v>
                </c:pt>
                <c:pt idx="5266">
                  <c:v>0</c:v>
                </c:pt>
                <c:pt idx="5267">
                  <c:v>1</c:v>
                </c:pt>
                <c:pt idx="5268">
                  <c:v>2</c:v>
                </c:pt>
                <c:pt idx="5269">
                  <c:v>1</c:v>
                </c:pt>
                <c:pt idx="5270">
                  <c:v>0</c:v>
                </c:pt>
                <c:pt idx="5271">
                  <c:v>0</c:v>
                </c:pt>
                <c:pt idx="5272">
                  <c:v>0</c:v>
                </c:pt>
                <c:pt idx="5273">
                  <c:v>0</c:v>
                </c:pt>
                <c:pt idx="5274">
                  <c:v>1</c:v>
                </c:pt>
                <c:pt idx="5275">
                  <c:v>0</c:v>
                </c:pt>
                <c:pt idx="5276">
                  <c:v>1</c:v>
                </c:pt>
                <c:pt idx="5277">
                  <c:v>12</c:v>
                </c:pt>
                <c:pt idx="5278">
                  <c:v>0</c:v>
                </c:pt>
                <c:pt idx="5279">
                  <c:v>1</c:v>
                </c:pt>
                <c:pt idx="5280">
                  <c:v>0</c:v>
                </c:pt>
                <c:pt idx="5281">
                  <c:v>0</c:v>
                </c:pt>
                <c:pt idx="5282">
                  <c:v>0</c:v>
                </c:pt>
                <c:pt idx="5283">
                  <c:v>0</c:v>
                </c:pt>
                <c:pt idx="5284">
                  <c:v>4</c:v>
                </c:pt>
                <c:pt idx="5285">
                  <c:v>1</c:v>
                </c:pt>
                <c:pt idx="5286">
                  <c:v>3</c:v>
                </c:pt>
                <c:pt idx="5287">
                  <c:v>0</c:v>
                </c:pt>
                <c:pt idx="5288">
                  <c:v>0</c:v>
                </c:pt>
                <c:pt idx="5289">
                  <c:v>0</c:v>
                </c:pt>
                <c:pt idx="5290">
                  <c:v>0</c:v>
                </c:pt>
                <c:pt idx="5291">
                  <c:v>2</c:v>
                </c:pt>
                <c:pt idx="5292">
                  <c:v>0</c:v>
                </c:pt>
                <c:pt idx="5293">
                  <c:v>0</c:v>
                </c:pt>
                <c:pt idx="5294">
                  <c:v>1</c:v>
                </c:pt>
                <c:pt idx="5295">
                  <c:v>1</c:v>
                </c:pt>
                <c:pt idx="5296">
                  <c:v>0</c:v>
                </c:pt>
                <c:pt idx="5297">
                  <c:v>0</c:v>
                </c:pt>
                <c:pt idx="5298">
                  <c:v>0</c:v>
                </c:pt>
                <c:pt idx="5299">
                  <c:v>0</c:v>
                </c:pt>
                <c:pt idx="5300">
                  <c:v>0</c:v>
                </c:pt>
                <c:pt idx="5301">
                  <c:v>0</c:v>
                </c:pt>
                <c:pt idx="5302">
                  <c:v>2</c:v>
                </c:pt>
                <c:pt idx="5303">
                  <c:v>0</c:v>
                </c:pt>
                <c:pt idx="5304">
                  <c:v>0</c:v>
                </c:pt>
                <c:pt idx="5305">
                  <c:v>0</c:v>
                </c:pt>
                <c:pt idx="5306">
                  <c:v>0</c:v>
                </c:pt>
                <c:pt idx="5307">
                  <c:v>0</c:v>
                </c:pt>
                <c:pt idx="5308">
                  <c:v>0</c:v>
                </c:pt>
                <c:pt idx="5309">
                  <c:v>0</c:v>
                </c:pt>
                <c:pt idx="5310">
                  <c:v>0</c:v>
                </c:pt>
                <c:pt idx="5311">
                  <c:v>0</c:v>
                </c:pt>
                <c:pt idx="5312">
                  <c:v>7</c:v>
                </c:pt>
                <c:pt idx="5313">
                  <c:v>0</c:v>
                </c:pt>
                <c:pt idx="5314">
                  <c:v>1</c:v>
                </c:pt>
                <c:pt idx="5315">
                  <c:v>0</c:v>
                </c:pt>
                <c:pt idx="5316">
                  <c:v>0</c:v>
                </c:pt>
                <c:pt idx="5317">
                  <c:v>0</c:v>
                </c:pt>
                <c:pt idx="5318">
                  <c:v>0</c:v>
                </c:pt>
                <c:pt idx="5319">
                  <c:v>2</c:v>
                </c:pt>
                <c:pt idx="5320">
                  <c:v>0</c:v>
                </c:pt>
                <c:pt idx="5321">
                  <c:v>0</c:v>
                </c:pt>
                <c:pt idx="5322">
                  <c:v>0</c:v>
                </c:pt>
                <c:pt idx="5323">
                  <c:v>6</c:v>
                </c:pt>
                <c:pt idx="5324">
                  <c:v>1</c:v>
                </c:pt>
                <c:pt idx="5325">
                  <c:v>0</c:v>
                </c:pt>
                <c:pt idx="5326">
                  <c:v>0</c:v>
                </c:pt>
                <c:pt idx="5327">
                  <c:v>0</c:v>
                </c:pt>
                <c:pt idx="5328">
                  <c:v>10</c:v>
                </c:pt>
                <c:pt idx="5329">
                  <c:v>0</c:v>
                </c:pt>
                <c:pt idx="5330">
                  <c:v>2</c:v>
                </c:pt>
                <c:pt idx="5331">
                  <c:v>0</c:v>
                </c:pt>
                <c:pt idx="5332">
                  <c:v>1</c:v>
                </c:pt>
                <c:pt idx="5333">
                  <c:v>0</c:v>
                </c:pt>
                <c:pt idx="5334">
                  <c:v>0</c:v>
                </c:pt>
                <c:pt idx="5335">
                  <c:v>0</c:v>
                </c:pt>
                <c:pt idx="5336">
                  <c:v>0</c:v>
                </c:pt>
                <c:pt idx="5337">
                  <c:v>0</c:v>
                </c:pt>
                <c:pt idx="5338">
                  <c:v>0</c:v>
                </c:pt>
                <c:pt idx="5339">
                  <c:v>0</c:v>
                </c:pt>
                <c:pt idx="5340">
                  <c:v>0</c:v>
                </c:pt>
                <c:pt idx="5341">
                  <c:v>0</c:v>
                </c:pt>
                <c:pt idx="5342">
                  <c:v>2</c:v>
                </c:pt>
                <c:pt idx="5343">
                  <c:v>0</c:v>
                </c:pt>
                <c:pt idx="5344">
                  <c:v>0</c:v>
                </c:pt>
                <c:pt idx="5345">
                  <c:v>0</c:v>
                </c:pt>
                <c:pt idx="5346">
                  <c:v>2</c:v>
                </c:pt>
                <c:pt idx="5347">
                  <c:v>0</c:v>
                </c:pt>
                <c:pt idx="5348">
                  <c:v>0</c:v>
                </c:pt>
                <c:pt idx="5349">
                  <c:v>3</c:v>
                </c:pt>
                <c:pt idx="5350">
                  <c:v>0</c:v>
                </c:pt>
                <c:pt idx="5351">
                  <c:v>1</c:v>
                </c:pt>
                <c:pt idx="5352">
                  <c:v>1</c:v>
                </c:pt>
                <c:pt idx="5353">
                  <c:v>0</c:v>
                </c:pt>
                <c:pt idx="5354">
                  <c:v>0</c:v>
                </c:pt>
                <c:pt idx="5355">
                  <c:v>1</c:v>
                </c:pt>
                <c:pt idx="5356">
                  <c:v>4</c:v>
                </c:pt>
                <c:pt idx="5357">
                  <c:v>0</c:v>
                </c:pt>
                <c:pt idx="5358">
                  <c:v>0</c:v>
                </c:pt>
                <c:pt idx="5359">
                  <c:v>0</c:v>
                </c:pt>
                <c:pt idx="5360">
                  <c:v>3</c:v>
                </c:pt>
                <c:pt idx="5361">
                  <c:v>0</c:v>
                </c:pt>
                <c:pt idx="5362">
                  <c:v>0</c:v>
                </c:pt>
                <c:pt idx="5363">
                  <c:v>2</c:v>
                </c:pt>
                <c:pt idx="5364">
                  <c:v>3</c:v>
                </c:pt>
                <c:pt idx="5365">
                  <c:v>0</c:v>
                </c:pt>
                <c:pt idx="5366">
                  <c:v>1</c:v>
                </c:pt>
                <c:pt idx="5367">
                  <c:v>9</c:v>
                </c:pt>
                <c:pt idx="5368">
                  <c:v>3</c:v>
                </c:pt>
                <c:pt idx="5369">
                  <c:v>6</c:v>
                </c:pt>
                <c:pt idx="5370">
                  <c:v>8</c:v>
                </c:pt>
                <c:pt idx="5371">
                  <c:v>0</c:v>
                </c:pt>
                <c:pt idx="5372">
                  <c:v>0</c:v>
                </c:pt>
                <c:pt idx="5373">
                  <c:v>5</c:v>
                </c:pt>
                <c:pt idx="5374">
                  <c:v>0</c:v>
                </c:pt>
                <c:pt idx="5375">
                  <c:v>0</c:v>
                </c:pt>
                <c:pt idx="5376">
                  <c:v>3</c:v>
                </c:pt>
                <c:pt idx="5377">
                  <c:v>0</c:v>
                </c:pt>
                <c:pt idx="5378">
                  <c:v>5</c:v>
                </c:pt>
                <c:pt idx="5379">
                  <c:v>1</c:v>
                </c:pt>
                <c:pt idx="5380">
                  <c:v>21</c:v>
                </c:pt>
                <c:pt idx="5381">
                  <c:v>0</c:v>
                </c:pt>
                <c:pt idx="5382">
                  <c:v>0</c:v>
                </c:pt>
                <c:pt idx="5383">
                  <c:v>1</c:v>
                </c:pt>
                <c:pt idx="5384">
                  <c:v>3</c:v>
                </c:pt>
                <c:pt idx="5385">
                  <c:v>0</c:v>
                </c:pt>
                <c:pt idx="5386">
                  <c:v>0</c:v>
                </c:pt>
                <c:pt idx="5387">
                  <c:v>5</c:v>
                </c:pt>
                <c:pt idx="5388">
                  <c:v>0</c:v>
                </c:pt>
                <c:pt idx="5389">
                  <c:v>7</c:v>
                </c:pt>
                <c:pt idx="5390">
                  <c:v>0</c:v>
                </c:pt>
                <c:pt idx="5391">
                  <c:v>0</c:v>
                </c:pt>
                <c:pt idx="5392">
                  <c:v>4</c:v>
                </c:pt>
                <c:pt idx="5393">
                  <c:v>0</c:v>
                </c:pt>
                <c:pt idx="5394">
                  <c:v>0</c:v>
                </c:pt>
                <c:pt idx="5395">
                  <c:v>0</c:v>
                </c:pt>
                <c:pt idx="5396">
                  <c:v>0</c:v>
                </c:pt>
                <c:pt idx="5397">
                  <c:v>0</c:v>
                </c:pt>
                <c:pt idx="5398">
                  <c:v>24</c:v>
                </c:pt>
                <c:pt idx="5399">
                  <c:v>0</c:v>
                </c:pt>
                <c:pt idx="5400">
                  <c:v>2</c:v>
                </c:pt>
                <c:pt idx="5401">
                  <c:v>2</c:v>
                </c:pt>
                <c:pt idx="5402">
                  <c:v>1</c:v>
                </c:pt>
                <c:pt idx="5403">
                  <c:v>9</c:v>
                </c:pt>
                <c:pt idx="5404">
                  <c:v>1</c:v>
                </c:pt>
                <c:pt idx="5405">
                  <c:v>28</c:v>
                </c:pt>
                <c:pt idx="5406">
                  <c:v>8</c:v>
                </c:pt>
                <c:pt idx="5407">
                  <c:v>0</c:v>
                </c:pt>
                <c:pt idx="5408">
                  <c:v>1</c:v>
                </c:pt>
                <c:pt idx="5409">
                  <c:v>0</c:v>
                </c:pt>
                <c:pt idx="5410">
                  <c:v>6</c:v>
                </c:pt>
                <c:pt idx="5411">
                  <c:v>5</c:v>
                </c:pt>
                <c:pt idx="5412">
                  <c:v>3</c:v>
                </c:pt>
                <c:pt idx="5413">
                  <c:v>0</c:v>
                </c:pt>
                <c:pt idx="5414">
                  <c:v>0</c:v>
                </c:pt>
                <c:pt idx="5415">
                  <c:v>1</c:v>
                </c:pt>
                <c:pt idx="5416">
                  <c:v>3</c:v>
                </c:pt>
                <c:pt idx="5417">
                  <c:v>1</c:v>
                </c:pt>
                <c:pt idx="5418">
                  <c:v>0</c:v>
                </c:pt>
                <c:pt idx="5419">
                  <c:v>3</c:v>
                </c:pt>
                <c:pt idx="5420">
                  <c:v>1</c:v>
                </c:pt>
                <c:pt idx="5421">
                  <c:v>1</c:v>
                </c:pt>
                <c:pt idx="5422">
                  <c:v>0</c:v>
                </c:pt>
                <c:pt idx="5423">
                  <c:v>8</c:v>
                </c:pt>
                <c:pt idx="5424">
                  <c:v>2</c:v>
                </c:pt>
                <c:pt idx="5425">
                  <c:v>2</c:v>
                </c:pt>
                <c:pt idx="5426">
                  <c:v>0</c:v>
                </c:pt>
                <c:pt idx="5427">
                  <c:v>1</c:v>
                </c:pt>
                <c:pt idx="5428">
                  <c:v>4</c:v>
                </c:pt>
                <c:pt idx="5429">
                  <c:v>3</c:v>
                </c:pt>
                <c:pt idx="5430">
                  <c:v>12</c:v>
                </c:pt>
                <c:pt idx="5431">
                  <c:v>0</c:v>
                </c:pt>
                <c:pt idx="5432">
                  <c:v>0</c:v>
                </c:pt>
                <c:pt idx="5433">
                  <c:v>0</c:v>
                </c:pt>
                <c:pt idx="5434">
                  <c:v>0</c:v>
                </c:pt>
                <c:pt idx="5435">
                  <c:v>2</c:v>
                </c:pt>
                <c:pt idx="5436">
                  <c:v>1</c:v>
                </c:pt>
                <c:pt idx="5437">
                  <c:v>0</c:v>
                </c:pt>
                <c:pt idx="5438">
                  <c:v>1</c:v>
                </c:pt>
                <c:pt idx="5439">
                  <c:v>3</c:v>
                </c:pt>
                <c:pt idx="5440">
                  <c:v>0</c:v>
                </c:pt>
                <c:pt idx="5441">
                  <c:v>2</c:v>
                </c:pt>
                <c:pt idx="5442">
                  <c:v>4</c:v>
                </c:pt>
                <c:pt idx="5443">
                  <c:v>2</c:v>
                </c:pt>
                <c:pt idx="5444">
                  <c:v>0</c:v>
                </c:pt>
                <c:pt idx="5445">
                  <c:v>1</c:v>
                </c:pt>
                <c:pt idx="5446">
                  <c:v>1</c:v>
                </c:pt>
                <c:pt idx="5447">
                  <c:v>6</c:v>
                </c:pt>
                <c:pt idx="5448">
                  <c:v>0</c:v>
                </c:pt>
                <c:pt idx="5449">
                  <c:v>0</c:v>
                </c:pt>
                <c:pt idx="5450">
                  <c:v>0</c:v>
                </c:pt>
                <c:pt idx="5451">
                  <c:v>0</c:v>
                </c:pt>
                <c:pt idx="5452">
                  <c:v>1</c:v>
                </c:pt>
                <c:pt idx="5453">
                  <c:v>1</c:v>
                </c:pt>
                <c:pt idx="5454">
                  <c:v>4</c:v>
                </c:pt>
                <c:pt idx="5455">
                  <c:v>5</c:v>
                </c:pt>
                <c:pt idx="5456">
                  <c:v>1</c:v>
                </c:pt>
                <c:pt idx="5457">
                  <c:v>0</c:v>
                </c:pt>
                <c:pt idx="5458">
                  <c:v>1</c:v>
                </c:pt>
                <c:pt idx="5459">
                  <c:v>10</c:v>
                </c:pt>
                <c:pt idx="5460">
                  <c:v>3</c:v>
                </c:pt>
                <c:pt idx="5461">
                  <c:v>5</c:v>
                </c:pt>
                <c:pt idx="5462">
                  <c:v>3</c:v>
                </c:pt>
                <c:pt idx="5463">
                  <c:v>0</c:v>
                </c:pt>
                <c:pt idx="5464">
                  <c:v>0</c:v>
                </c:pt>
                <c:pt idx="5465">
                  <c:v>3</c:v>
                </c:pt>
                <c:pt idx="5466">
                  <c:v>0</c:v>
                </c:pt>
                <c:pt idx="5467">
                  <c:v>5</c:v>
                </c:pt>
                <c:pt idx="5468">
                  <c:v>0</c:v>
                </c:pt>
                <c:pt idx="5469">
                  <c:v>0</c:v>
                </c:pt>
                <c:pt idx="5470">
                  <c:v>4</c:v>
                </c:pt>
                <c:pt idx="5471">
                  <c:v>0</c:v>
                </c:pt>
                <c:pt idx="5472">
                  <c:v>0</c:v>
                </c:pt>
                <c:pt idx="5473">
                  <c:v>4</c:v>
                </c:pt>
                <c:pt idx="5474">
                  <c:v>2</c:v>
                </c:pt>
                <c:pt idx="5475">
                  <c:v>0</c:v>
                </c:pt>
                <c:pt idx="5476">
                  <c:v>1</c:v>
                </c:pt>
                <c:pt idx="5477">
                  <c:v>2</c:v>
                </c:pt>
                <c:pt idx="5478">
                  <c:v>2</c:v>
                </c:pt>
                <c:pt idx="5479">
                  <c:v>0</c:v>
                </c:pt>
                <c:pt idx="5480">
                  <c:v>3</c:v>
                </c:pt>
                <c:pt idx="5481">
                  <c:v>3</c:v>
                </c:pt>
                <c:pt idx="5482">
                  <c:v>7</c:v>
                </c:pt>
                <c:pt idx="5483">
                  <c:v>0</c:v>
                </c:pt>
                <c:pt idx="5484">
                  <c:v>0</c:v>
                </c:pt>
                <c:pt idx="5485">
                  <c:v>1</c:v>
                </c:pt>
                <c:pt idx="5486">
                  <c:v>0</c:v>
                </c:pt>
                <c:pt idx="5487">
                  <c:v>1</c:v>
                </c:pt>
                <c:pt idx="5488">
                  <c:v>4</c:v>
                </c:pt>
                <c:pt idx="5489">
                  <c:v>0</c:v>
                </c:pt>
                <c:pt idx="5490">
                  <c:v>1</c:v>
                </c:pt>
                <c:pt idx="5491">
                  <c:v>0</c:v>
                </c:pt>
                <c:pt idx="5492">
                  <c:v>1</c:v>
                </c:pt>
                <c:pt idx="5493">
                  <c:v>2</c:v>
                </c:pt>
                <c:pt idx="5494">
                  <c:v>0</c:v>
                </c:pt>
                <c:pt idx="5495">
                  <c:v>0</c:v>
                </c:pt>
                <c:pt idx="5496">
                  <c:v>0</c:v>
                </c:pt>
                <c:pt idx="5497">
                  <c:v>0</c:v>
                </c:pt>
                <c:pt idx="5498">
                  <c:v>3</c:v>
                </c:pt>
                <c:pt idx="5499">
                  <c:v>0</c:v>
                </c:pt>
                <c:pt idx="5500">
                  <c:v>0</c:v>
                </c:pt>
                <c:pt idx="5501">
                  <c:v>2</c:v>
                </c:pt>
                <c:pt idx="5502">
                  <c:v>5</c:v>
                </c:pt>
                <c:pt idx="5503">
                  <c:v>2</c:v>
                </c:pt>
                <c:pt idx="5504">
                  <c:v>5</c:v>
                </c:pt>
                <c:pt idx="5505">
                  <c:v>1</c:v>
                </c:pt>
                <c:pt idx="5506">
                  <c:v>3</c:v>
                </c:pt>
                <c:pt idx="5507">
                  <c:v>0</c:v>
                </c:pt>
                <c:pt idx="5508">
                  <c:v>1</c:v>
                </c:pt>
                <c:pt idx="5509">
                  <c:v>1</c:v>
                </c:pt>
                <c:pt idx="5510">
                  <c:v>3</c:v>
                </c:pt>
                <c:pt idx="5511">
                  <c:v>0</c:v>
                </c:pt>
                <c:pt idx="5512">
                  <c:v>0</c:v>
                </c:pt>
                <c:pt idx="5513">
                  <c:v>1</c:v>
                </c:pt>
                <c:pt idx="5514">
                  <c:v>2</c:v>
                </c:pt>
                <c:pt idx="5515">
                  <c:v>0</c:v>
                </c:pt>
                <c:pt idx="5516">
                  <c:v>0</c:v>
                </c:pt>
                <c:pt idx="5517">
                  <c:v>1</c:v>
                </c:pt>
                <c:pt idx="5518">
                  <c:v>1</c:v>
                </c:pt>
                <c:pt idx="5519">
                  <c:v>0</c:v>
                </c:pt>
                <c:pt idx="5520">
                  <c:v>14</c:v>
                </c:pt>
                <c:pt idx="5521">
                  <c:v>0</c:v>
                </c:pt>
                <c:pt idx="5522">
                  <c:v>2</c:v>
                </c:pt>
                <c:pt idx="5523">
                  <c:v>0</c:v>
                </c:pt>
                <c:pt idx="5524">
                  <c:v>4</c:v>
                </c:pt>
                <c:pt idx="5525">
                  <c:v>17</c:v>
                </c:pt>
                <c:pt idx="5526">
                  <c:v>0</c:v>
                </c:pt>
                <c:pt idx="5527">
                  <c:v>0</c:v>
                </c:pt>
                <c:pt idx="5528">
                  <c:v>0</c:v>
                </c:pt>
                <c:pt idx="5529">
                  <c:v>3</c:v>
                </c:pt>
                <c:pt idx="5530">
                  <c:v>1</c:v>
                </c:pt>
                <c:pt idx="5531">
                  <c:v>0</c:v>
                </c:pt>
                <c:pt idx="5532">
                  <c:v>0</c:v>
                </c:pt>
                <c:pt idx="5533">
                  <c:v>0</c:v>
                </c:pt>
                <c:pt idx="5534">
                  <c:v>5</c:v>
                </c:pt>
                <c:pt idx="5535">
                  <c:v>2</c:v>
                </c:pt>
                <c:pt idx="5536">
                  <c:v>0</c:v>
                </c:pt>
                <c:pt idx="5537">
                  <c:v>8</c:v>
                </c:pt>
                <c:pt idx="5538">
                  <c:v>0</c:v>
                </c:pt>
                <c:pt idx="5539">
                  <c:v>0</c:v>
                </c:pt>
                <c:pt idx="5540">
                  <c:v>0</c:v>
                </c:pt>
                <c:pt idx="5541">
                  <c:v>4</c:v>
                </c:pt>
                <c:pt idx="5542">
                  <c:v>0</c:v>
                </c:pt>
                <c:pt idx="5543">
                  <c:v>0</c:v>
                </c:pt>
                <c:pt idx="5544">
                  <c:v>0</c:v>
                </c:pt>
                <c:pt idx="5545">
                  <c:v>0</c:v>
                </c:pt>
                <c:pt idx="5546">
                  <c:v>0</c:v>
                </c:pt>
                <c:pt idx="5547">
                  <c:v>0</c:v>
                </c:pt>
                <c:pt idx="5548">
                  <c:v>0</c:v>
                </c:pt>
                <c:pt idx="5549">
                  <c:v>0</c:v>
                </c:pt>
                <c:pt idx="5550">
                  <c:v>0</c:v>
                </c:pt>
                <c:pt idx="5551">
                  <c:v>3</c:v>
                </c:pt>
                <c:pt idx="5552">
                  <c:v>0</c:v>
                </c:pt>
                <c:pt idx="5553">
                  <c:v>0</c:v>
                </c:pt>
                <c:pt idx="5554">
                  <c:v>0</c:v>
                </c:pt>
                <c:pt idx="5555">
                  <c:v>0</c:v>
                </c:pt>
                <c:pt idx="5556">
                  <c:v>0</c:v>
                </c:pt>
                <c:pt idx="5557">
                  <c:v>0</c:v>
                </c:pt>
                <c:pt idx="5558">
                  <c:v>0</c:v>
                </c:pt>
                <c:pt idx="5559">
                  <c:v>0</c:v>
                </c:pt>
                <c:pt idx="5560">
                  <c:v>0</c:v>
                </c:pt>
                <c:pt idx="5561">
                  <c:v>0</c:v>
                </c:pt>
                <c:pt idx="5562">
                  <c:v>1</c:v>
                </c:pt>
                <c:pt idx="5563">
                  <c:v>0</c:v>
                </c:pt>
                <c:pt idx="5564">
                  <c:v>0</c:v>
                </c:pt>
                <c:pt idx="5565">
                  <c:v>0</c:v>
                </c:pt>
                <c:pt idx="5566">
                  <c:v>0</c:v>
                </c:pt>
                <c:pt idx="5567">
                  <c:v>0</c:v>
                </c:pt>
                <c:pt idx="5568">
                  <c:v>0</c:v>
                </c:pt>
                <c:pt idx="5569">
                  <c:v>0</c:v>
                </c:pt>
                <c:pt idx="5570">
                  <c:v>2</c:v>
                </c:pt>
                <c:pt idx="5571">
                  <c:v>0</c:v>
                </c:pt>
                <c:pt idx="5572">
                  <c:v>0</c:v>
                </c:pt>
                <c:pt idx="5573">
                  <c:v>2</c:v>
                </c:pt>
                <c:pt idx="5574">
                  <c:v>0</c:v>
                </c:pt>
                <c:pt idx="5575">
                  <c:v>0</c:v>
                </c:pt>
                <c:pt idx="5576">
                  <c:v>0</c:v>
                </c:pt>
                <c:pt idx="5577">
                  <c:v>0</c:v>
                </c:pt>
                <c:pt idx="5578">
                  <c:v>0</c:v>
                </c:pt>
                <c:pt idx="5579">
                  <c:v>0</c:v>
                </c:pt>
                <c:pt idx="5580">
                  <c:v>0</c:v>
                </c:pt>
                <c:pt idx="5581">
                  <c:v>1</c:v>
                </c:pt>
                <c:pt idx="5582">
                  <c:v>7</c:v>
                </c:pt>
                <c:pt idx="5583">
                  <c:v>0</c:v>
                </c:pt>
                <c:pt idx="5584">
                  <c:v>1</c:v>
                </c:pt>
                <c:pt idx="5585">
                  <c:v>0</c:v>
                </c:pt>
                <c:pt idx="5586">
                  <c:v>0</c:v>
                </c:pt>
                <c:pt idx="5587">
                  <c:v>0</c:v>
                </c:pt>
                <c:pt idx="5588">
                  <c:v>0</c:v>
                </c:pt>
                <c:pt idx="5589">
                  <c:v>0</c:v>
                </c:pt>
                <c:pt idx="5590">
                  <c:v>1</c:v>
                </c:pt>
                <c:pt idx="5591">
                  <c:v>0</c:v>
                </c:pt>
                <c:pt idx="5592">
                  <c:v>0</c:v>
                </c:pt>
                <c:pt idx="5593">
                  <c:v>0</c:v>
                </c:pt>
                <c:pt idx="5594">
                  <c:v>0</c:v>
                </c:pt>
                <c:pt idx="5595">
                  <c:v>0</c:v>
                </c:pt>
                <c:pt idx="5596">
                  <c:v>0</c:v>
                </c:pt>
                <c:pt idx="5597">
                  <c:v>0</c:v>
                </c:pt>
                <c:pt idx="5598">
                  <c:v>2</c:v>
                </c:pt>
                <c:pt idx="5599">
                  <c:v>0</c:v>
                </c:pt>
                <c:pt idx="5600">
                  <c:v>0</c:v>
                </c:pt>
                <c:pt idx="5601">
                  <c:v>0</c:v>
                </c:pt>
                <c:pt idx="5602">
                  <c:v>0</c:v>
                </c:pt>
                <c:pt idx="5603">
                  <c:v>0</c:v>
                </c:pt>
                <c:pt idx="5604">
                  <c:v>0</c:v>
                </c:pt>
                <c:pt idx="5605">
                  <c:v>0</c:v>
                </c:pt>
                <c:pt idx="5606">
                  <c:v>0</c:v>
                </c:pt>
                <c:pt idx="5607">
                  <c:v>0</c:v>
                </c:pt>
                <c:pt idx="5608">
                  <c:v>1</c:v>
                </c:pt>
                <c:pt idx="5609">
                  <c:v>0</c:v>
                </c:pt>
                <c:pt idx="5610">
                  <c:v>0</c:v>
                </c:pt>
                <c:pt idx="5611">
                  <c:v>1</c:v>
                </c:pt>
                <c:pt idx="5612">
                  <c:v>2</c:v>
                </c:pt>
                <c:pt idx="5613">
                  <c:v>6</c:v>
                </c:pt>
                <c:pt idx="5614">
                  <c:v>0</c:v>
                </c:pt>
                <c:pt idx="5615">
                  <c:v>1</c:v>
                </c:pt>
                <c:pt idx="5616">
                  <c:v>0</c:v>
                </c:pt>
                <c:pt idx="5617">
                  <c:v>0</c:v>
                </c:pt>
                <c:pt idx="5618">
                  <c:v>0</c:v>
                </c:pt>
                <c:pt idx="5619">
                  <c:v>0</c:v>
                </c:pt>
                <c:pt idx="5620">
                  <c:v>0</c:v>
                </c:pt>
                <c:pt idx="5621">
                  <c:v>0</c:v>
                </c:pt>
                <c:pt idx="5622">
                  <c:v>0</c:v>
                </c:pt>
                <c:pt idx="5623">
                  <c:v>0</c:v>
                </c:pt>
                <c:pt idx="5624">
                  <c:v>0</c:v>
                </c:pt>
                <c:pt idx="5625">
                  <c:v>0</c:v>
                </c:pt>
                <c:pt idx="5626">
                  <c:v>2</c:v>
                </c:pt>
                <c:pt idx="5627">
                  <c:v>0</c:v>
                </c:pt>
                <c:pt idx="5628">
                  <c:v>1</c:v>
                </c:pt>
                <c:pt idx="5629">
                  <c:v>1</c:v>
                </c:pt>
                <c:pt idx="5630">
                  <c:v>0</c:v>
                </c:pt>
                <c:pt idx="5631">
                  <c:v>0</c:v>
                </c:pt>
                <c:pt idx="5632">
                  <c:v>0</c:v>
                </c:pt>
                <c:pt idx="5633">
                  <c:v>4</c:v>
                </c:pt>
                <c:pt idx="5634">
                  <c:v>3</c:v>
                </c:pt>
                <c:pt idx="5635">
                  <c:v>0</c:v>
                </c:pt>
                <c:pt idx="5636">
                  <c:v>0</c:v>
                </c:pt>
                <c:pt idx="5637">
                  <c:v>3</c:v>
                </c:pt>
                <c:pt idx="5638">
                  <c:v>0</c:v>
                </c:pt>
                <c:pt idx="5639">
                  <c:v>1</c:v>
                </c:pt>
                <c:pt idx="5640">
                  <c:v>0</c:v>
                </c:pt>
                <c:pt idx="5641">
                  <c:v>0</c:v>
                </c:pt>
                <c:pt idx="5642">
                  <c:v>0</c:v>
                </c:pt>
                <c:pt idx="5643">
                  <c:v>0</c:v>
                </c:pt>
                <c:pt idx="5644">
                  <c:v>0</c:v>
                </c:pt>
                <c:pt idx="5645">
                  <c:v>0</c:v>
                </c:pt>
                <c:pt idx="5646">
                  <c:v>0</c:v>
                </c:pt>
                <c:pt idx="5647">
                  <c:v>2</c:v>
                </c:pt>
                <c:pt idx="5648">
                  <c:v>0</c:v>
                </c:pt>
                <c:pt idx="5649">
                  <c:v>1</c:v>
                </c:pt>
                <c:pt idx="5650">
                  <c:v>0</c:v>
                </c:pt>
                <c:pt idx="5651">
                  <c:v>0</c:v>
                </c:pt>
                <c:pt idx="5652">
                  <c:v>8</c:v>
                </c:pt>
                <c:pt idx="5653">
                  <c:v>3</c:v>
                </c:pt>
                <c:pt idx="5654">
                  <c:v>0</c:v>
                </c:pt>
                <c:pt idx="5655">
                  <c:v>0</c:v>
                </c:pt>
                <c:pt idx="5656">
                  <c:v>0</c:v>
                </c:pt>
                <c:pt idx="5657">
                  <c:v>5</c:v>
                </c:pt>
                <c:pt idx="5658">
                  <c:v>0</c:v>
                </c:pt>
                <c:pt idx="5659">
                  <c:v>0</c:v>
                </c:pt>
                <c:pt idx="5660">
                  <c:v>0</c:v>
                </c:pt>
                <c:pt idx="5661">
                  <c:v>0</c:v>
                </c:pt>
                <c:pt idx="5662">
                  <c:v>4</c:v>
                </c:pt>
                <c:pt idx="5663">
                  <c:v>2</c:v>
                </c:pt>
                <c:pt idx="5664">
                  <c:v>0</c:v>
                </c:pt>
                <c:pt idx="5665">
                  <c:v>0</c:v>
                </c:pt>
                <c:pt idx="5666">
                  <c:v>0</c:v>
                </c:pt>
                <c:pt idx="5667">
                  <c:v>0</c:v>
                </c:pt>
                <c:pt idx="5668">
                  <c:v>0</c:v>
                </c:pt>
                <c:pt idx="5669">
                  <c:v>0</c:v>
                </c:pt>
                <c:pt idx="5670">
                  <c:v>0</c:v>
                </c:pt>
                <c:pt idx="5671">
                  <c:v>4</c:v>
                </c:pt>
                <c:pt idx="5672">
                  <c:v>0</c:v>
                </c:pt>
                <c:pt idx="5673">
                  <c:v>0</c:v>
                </c:pt>
                <c:pt idx="5674">
                  <c:v>0</c:v>
                </c:pt>
                <c:pt idx="5675">
                  <c:v>0</c:v>
                </c:pt>
                <c:pt idx="5676">
                  <c:v>0</c:v>
                </c:pt>
                <c:pt idx="5677">
                  <c:v>8</c:v>
                </c:pt>
                <c:pt idx="5678">
                  <c:v>0</c:v>
                </c:pt>
                <c:pt idx="5679">
                  <c:v>1</c:v>
                </c:pt>
                <c:pt idx="5680">
                  <c:v>18</c:v>
                </c:pt>
                <c:pt idx="5681">
                  <c:v>0</c:v>
                </c:pt>
                <c:pt idx="5682">
                  <c:v>0</c:v>
                </c:pt>
                <c:pt idx="5683">
                  <c:v>0</c:v>
                </c:pt>
                <c:pt idx="5684">
                  <c:v>0</c:v>
                </c:pt>
                <c:pt idx="5685">
                  <c:v>0</c:v>
                </c:pt>
                <c:pt idx="5686">
                  <c:v>0</c:v>
                </c:pt>
                <c:pt idx="5687">
                  <c:v>0</c:v>
                </c:pt>
                <c:pt idx="5688">
                  <c:v>0</c:v>
                </c:pt>
                <c:pt idx="5689">
                  <c:v>0</c:v>
                </c:pt>
                <c:pt idx="5690">
                  <c:v>0</c:v>
                </c:pt>
                <c:pt idx="5691">
                  <c:v>1</c:v>
                </c:pt>
                <c:pt idx="5692">
                  <c:v>3</c:v>
                </c:pt>
                <c:pt idx="5693">
                  <c:v>1</c:v>
                </c:pt>
                <c:pt idx="5694">
                  <c:v>3</c:v>
                </c:pt>
                <c:pt idx="5695">
                  <c:v>2</c:v>
                </c:pt>
                <c:pt idx="5696">
                  <c:v>0</c:v>
                </c:pt>
                <c:pt idx="5697">
                  <c:v>0</c:v>
                </c:pt>
                <c:pt idx="5698">
                  <c:v>2</c:v>
                </c:pt>
                <c:pt idx="5699">
                  <c:v>1</c:v>
                </c:pt>
                <c:pt idx="5700">
                  <c:v>0</c:v>
                </c:pt>
                <c:pt idx="5701">
                  <c:v>1</c:v>
                </c:pt>
                <c:pt idx="5702">
                  <c:v>0</c:v>
                </c:pt>
                <c:pt idx="5703">
                  <c:v>1</c:v>
                </c:pt>
                <c:pt idx="5704">
                  <c:v>0</c:v>
                </c:pt>
                <c:pt idx="5705">
                  <c:v>0</c:v>
                </c:pt>
                <c:pt idx="5706">
                  <c:v>0</c:v>
                </c:pt>
                <c:pt idx="5707">
                  <c:v>1</c:v>
                </c:pt>
                <c:pt idx="5708">
                  <c:v>0</c:v>
                </c:pt>
                <c:pt idx="5709">
                  <c:v>0</c:v>
                </c:pt>
                <c:pt idx="5710">
                  <c:v>0</c:v>
                </c:pt>
                <c:pt idx="5711">
                  <c:v>1</c:v>
                </c:pt>
                <c:pt idx="5712">
                  <c:v>3</c:v>
                </c:pt>
                <c:pt idx="5713">
                  <c:v>0</c:v>
                </c:pt>
                <c:pt idx="5714">
                  <c:v>0</c:v>
                </c:pt>
                <c:pt idx="5715">
                  <c:v>3</c:v>
                </c:pt>
                <c:pt idx="5716">
                  <c:v>8</c:v>
                </c:pt>
                <c:pt idx="5717">
                  <c:v>3</c:v>
                </c:pt>
                <c:pt idx="5718">
                  <c:v>45</c:v>
                </c:pt>
                <c:pt idx="5719">
                  <c:v>0</c:v>
                </c:pt>
                <c:pt idx="5720">
                  <c:v>0</c:v>
                </c:pt>
                <c:pt idx="5721">
                  <c:v>0</c:v>
                </c:pt>
                <c:pt idx="5722">
                  <c:v>1</c:v>
                </c:pt>
                <c:pt idx="5723">
                  <c:v>1</c:v>
                </c:pt>
                <c:pt idx="5724">
                  <c:v>0</c:v>
                </c:pt>
                <c:pt idx="5725">
                  <c:v>3</c:v>
                </c:pt>
                <c:pt idx="5726">
                  <c:v>0</c:v>
                </c:pt>
                <c:pt idx="5727">
                  <c:v>1</c:v>
                </c:pt>
                <c:pt idx="5728">
                  <c:v>11</c:v>
                </c:pt>
                <c:pt idx="5729">
                  <c:v>0</c:v>
                </c:pt>
                <c:pt idx="5730">
                  <c:v>5</c:v>
                </c:pt>
                <c:pt idx="5731">
                  <c:v>0</c:v>
                </c:pt>
                <c:pt idx="5732">
                  <c:v>0</c:v>
                </c:pt>
                <c:pt idx="5733">
                  <c:v>0</c:v>
                </c:pt>
                <c:pt idx="5734">
                  <c:v>0</c:v>
                </c:pt>
                <c:pt idx="5735">
                  <c:v>0</c:v>
                </c:pt>
                <c:pt idx="5736">
                  <c:v>0</c:v>
                </c:pt>
                <c:pt idx="5737">
                  <c:v>0</c:v>
                </c:pt>
                <c:pt idx="5738">
                  <c:v>3</c:v>
                </c:pt>
                <c:pt idx="5739">
                  <c:v>0</c:v>
                </c:pt>
                <c:pt idx="5740">
                  <c:v>0</c:v>
                </c:pt>
                <c:pt idx="5741">
                  <c:v>1</c:v>
                </c:pt>
                <c:pt idx="5742">
                  <c:v>0</c:v>
                </c:pt>
                <c:pt idx="5743">
                  <c:v>0</c:v>
                </c:pt>
                <c:pt idx="5744">
                  <c:v>0</c:v>
                </c:pt>
                <c:pt idx="5745">
                  <c:v>0</c:v>
                </c:pt>
                <c:pt idx="5746">
                  <c:v>0</c:v>
                </c:pt>
                <c:pt idx="5747">
                  <c:v>0</c:v>
                </c:pt>
                <c:pt idx="5748">
                  <c:v>0</c:v>
                </c:pt>
                <c:pt idx="5749">
                  <c:v>0</c:v>
                </c:pt>
                <c:pt idx="5750">
                  <c:v>0</c:v>
                </c:pt>
                <c:pt idx="5751">
                  <c:v>1</c:v>
                </c:pt>
                <c:pt idx="5752">
                  <c:v>0</c:v>
                </c:pt>
                <c:pt idx="5753">
                  <c:v>1</c:v>
                </c:pt>
                <c:pt idx="5754">
                  <c:v>0</c:v>
                </c:pt>
                <c:pt idx="5755">
                  <c:v>0</c:v>
                </c:pt>
                <c:pt idx="5756">
                  <c:v>0</c:v>
                </c:pt>
                <c:pt idx="5757">
                  <c:v>0</c:v>
                </c:pt>
                <c:pt idx="5758">
                  <c:v>0</c:v>
                </c:pt>
                <c:pt idx="5759">
                  <c:v>0</c:v>
                </c:pt>
                <c:pt idx="5760">
                  <c:v>0</c:v>
                </c:pt>
                <c:pt idx="5761">
                  <c:v>0</c:v>
                </c:pt>
                <c:pt idx="5762">
                  <c:v>0</c:v>
                </c:pt>
                <c:pt idx="5763">
                  <c:v>0</c:v>
                </c:pt>
                <c:pt idx="5764">
                  <c:v>1</c:v>
                </c:pt>
                <c:pt idx="5765">
                  <c:v>0</c:v>
                </c:pt>
                <c:pt idx="5766">
                  <c:v>1</c:v>
                </c:pt>
                <c:pt idx="5767">
                  <c:v>0</c:v>
                </c:pt>
                <c:pt idx="5768">
                  <c:v>0</c:v>
                </c:pt>
                <c:pt idx="5769">
                  <c:v>1</c:v>
                </c:pt>
                <c:pt idx="5770">
                  <c:v>0</c:v>
                </c:pt>
                <c:pt idx="5771">
                  <c:v>1</c:v>
                </c:pt>
                <c:pt idx="5772">
                  <c:v>0</c:v>
                </c:pt>
                <c:pt idx="5773">
                  <c:v>0</c:v>
                </c:pt>
                <c:pt idx="5774">
                  <c:v>0</c:v>
                </c:pt>
                <c:pt idx="5775">
                  <c:v>2</c:v>
                </c:pt>
                <c:pt idx="5776">
                  <c:v>1</c:v>
                </c:pt>
                <c:pt idx="5777">
                  <c:v>4</c:v>
                </c:pt>
                <c:pt idx="5778">
                  <c:v>0</c:v>
                </c:pt>
                <c:pt idx="5779">
                  <c:v>0</c:v>
                </c:pt>
                <c:pt idx="5780">
                  <c:v>9</c:v>
                </c:pt>
                <c:pt idx="5781">
                  <c:v>71</c:v>
                </c:pt>
                <c:pt idx="5782">
                  <c:v>1</c:v>
                </c:pt>
                <c:pt idx="5783">
                  <c:v>1</c:v>
                </c:pt>
                <c:pt idx="5784">
                  <c:v>0</c:v>
                </c:pt>
                <c:pt idx="5785">
                  <c:v>0</c:v>
                </c:pt>
                <c:pt idx="5786">
                  <c:v>1</c:v>
                </c:pt>
                <c:pt idx="5787">
                  <c:v>0</c:v>
                </c:pt>
                <c:pt idx="5788">
                  <c:v>0</c:v>
                </c:pt>
                <c:pt idx="5789">
                  <c:v>0</c:v>
                </c:pt>
                <c:pt idx="5790">
                  <c:v>31</c:v>
                </c:pt>
                <c:pt idx="5791">
                  <c:v>0</c:v>
                </c:pt>
                <c:pt idx="5792">
                  <c:v>1</c:v>
                </c:pt>
                <c:pt idx="5793">
                  <c:v>0</c:v>
                </c:pt>
                <c:pt idx="5794">
                  <c:v>0</c:v>
                </c:pt>
                <c:pt idx="5795">
                  <c:v>0</c:v>
                </c:pt>
                <c:pt idx="5796">
                  <c:v>0</c:v>
                </c:pt>
                <c:pt idx="5797">
                  <c:v>0</c:v>
                </c:pt>
                <c:pt idx="5798">
                  <c:v>1</c:v>
                </c:pt>
                <c:pt idx="5799">
                  <c:v>0</c:v>
                </c:pt>
                <c:pt idx="5800">
                  <c:v>0</c:v>
                </c:pt>
                <c:pt idx="5801">
                  <c:v>0</c:v>
                </c:pt>
                <c:pt idx="5802">
                  <c:v>3</c:v>
                </c:pt>
                <c:pt idx="5803">
                  <c:v>0</c:v>
                </c:pt>
                <c:pt idx="5804">
                  <c:v>0</c:v>
                </c:pt>
                <c:pt idx="5805">
                  <c:v>1</c:v>
                </c:pt>
                <c:pt idx="5806">
                  <c:v>1</c:v>
                </c:pt>
                <c:pt idx="5807">
                  <c:v>0</c:v>
                </c:pt>
                <c:pt idx="5808">
                  <c:v>3</c:v>
                </c:pt>
                <c:pt idx="5809">
                  <c:v>0</c:v>
                </c:pt>
                <c:pt idx="5810">
                  <c:v>2</c:v>
                </c:pt>
                <c:pt idx="5811">
                  <c:v>0</c:v>
                </c:pt>
                <c:pt idx="5812">
                  <c:v>0</c:v>
                </c:pt>
                <c:pt idx="5813">
                  <c:v>0</c:v>
                </c:pt>
                <c:pt idx="5814">
                  <c:v>0</c:v>
                </c:pt>
                <c:pt idx="5815">
                  <c:v>16</c:v>
                </c:pt>
                <c:pt idx="5816">
                  <c:v>10</c:v>
                </c:pt>
                <c:pt idx="5817">
                  <c:v>2</c:v>
                </c:pt>
                <c:pt idx="5818">
                  <c:v>0</c:v>
                </c:pt>
                <c:pt idx="5819">
                  <c:v>0</c:v>
                </c:pt>
                <c:pt idx="5820">
                  <c:v>0</c:v>
                </c:pt>
                <c:pt idx="5821">
                  <c:v>0</c:v>
                </c:pt>
                <c:pt idx="5822">
                  <c:v>1</c:v>
                </c:pt>
                <c:pt idx="5823">
                  <c:v>0</c:v>
                </c:pt>
                <c:pt idx="5824">
                  <c:v>3</c:v>
                </c:pt>
                <c:pt idx="5825">
                  <c:v>1</c:v>
                </c:pt>
                <c:pt idx="5826">
                  <c:v>0</c:v>
                </c:pt>
                <c:pt idx="5827">
                  <c:v>0</c:v>
                </c:pt>
                <c:pt idx="5828">
                  <c:v>3</c:v>
                </c:pt>
                <c:pt idx="5829">
                  <c:v>6</c:v>
                </c:pt>
                <c:pt idx="5830">
                  <c:v>0</c:v>
                </c:pt>
                <c:pt idx="5831">
                  <c:v>1</c:v>
                </c:pt>
                <c:pt idx="5832">
                  <c:v>0</c:v>
                </c:pt>
                <c:pt idx="5833">
                  <c:v>0</c:v>
                </c:pt>
                <c:pt idx="5834">
                  <c:v>0</c:v>
                </c:pt>
                <c:pt idx="5835">
                  <c:v>8</c:v>
                </c:pt>
                <c:pt idx="5836">
                  <c:v>1</c:v>
                </c:pt>
                <c:pt idx="5837">
                  <c:v>0</c:v>
                </c:pt>
                <c:pt idx="5838">
                  <c:v>0</c:v>
                </c:pt>
                <c:pt idx="5839">
                  <c:v>0</c:v>
                </c:pt>
                <c:pt idx="5840">
                  <c:v>2</c:v>
                </c:pt>
                <c:pt idx="5841">
                  <c:v>0</c:v>
                </c:pt>
                <c:pt idx="5842">
                  <c:v>1</c:v>
                </c:pt>
                <c:pt idx="5843">
                  <c:v>0</c:v>
                </c:pt>
                <c:pt idx="5844">
                  <c:v>0</c:v>
                </c:pt>
                <c:pt idx="5845">
                  <c:v>5</c:v>
                </c:pt>
                <c:pt idx="5846">
                  <c:v>1</c:v>
                </c:pt>
                <c:pt idx="5847">
                  <c:v>0</c:v>
                </c:pt>
                <c:pt idx="5848">
                  <c:v>0</c:v>
                </c:pt>
                <c:pt idx="5849">
                  <c:v>2</c:v>
                </c:pt>
                <c:pt idx="5850">
                  <c:v>2</c:v>
                </c:pt>
                <c:pt idx="5851">
                  <c:v>0</c:v>
                </c:pt>
                <c:pt idx="5852">
                  <c:v>2</c:v>
                </c:pt>
                <c:pt idx="5853">
                  <c:v>1</c:v>
                </c:pt>
                <c:pt idx="5854">
                  <c:v>0</c:v>
                </c:pt>
                <c:pt idx="5855">
                  <c:v>2</c:v>
                </c:pt>
                <c:pt idx="5856">
                  <c:v>0</c:v>
                </c:pt>
                <c:pt idx="5857">
                  <c:v>0</c:v>
                </c:pt>
                <c:pt idx="5858">
                  <c:v>0</c:v>
                </c:pt>
                <c:pt idx="5859">
                  <c:v>8</c:v>
                </c:pt>
                <c:pt idx="5860">
                  <c:v>1</c:v>
                </c:pt>
                <c:pt idx="5861">
                  <c:v>0</c:v>
                </c:pt>
                <c:pt idx="5862">
                  <c:v>15</c:v>
                </c:pt>
                <c:pt idx="5863">
                  <c:v>0</c:v>
                </c:pt>
                <c:pt idx="5864">
                  <c:v>0</c:v>
                </c:pt>
                <c:pt idx="5865">
                  <c:v>1</c:v>
                </c:pt>
                <c:pt idx="5866">
                  <c:v>1</c:v>
                </c:pt>
                <c:pt idx="5867">
                  <c:v>0</c:v>
                </c:pt>
                <c:pt idx="5868">
                  <c:v>39</c:v>
                </c:pt>
                <c:pt idx="5869">
                  <c:v>0</c:v>
                </c:pt>
                <c:pt idx="5870">
                  <c:v>4</c:v>
                </c:pt>
                <c:pt idx="5871">
                  <c:v>1</c:v>
                </c:pt>
                <c:pt idx="5872">
                  <c:v>0</c:v>
                </c:pt>
                <c:pt idx="5873">
                  <c:v>1</c:v>
                </c:pt>
                <c:pt idx="5874">
                  <c:v>1</c:v>
                </c:pt>
                <c:pt idx="5875">
                  <c:v>0</c:v>
                </c:pt>
                <c:pt idx="5876">
                  <c:v>0</c:v>
                </c:pt>
                <c:pt idx="5877">
                  <c:v>0</c:v>
                </c:pt>
                <c:pt idx="5878">
                  <c:v>0</c:v>
                </c:pt>
                <c:pt idx="5879">
                  <c:v>1</c:v>
                </c:pt>
                <c:pt idx="5880">
                  <c:v>0</c:v>
                </c:pt>
                <c:pt idx="5881">
                  <c:v>1</c:v>
                </c:pt>
                <c:pt idx="5882">
                  <c:v>2</c:v>
                </c:pt>
                <c:pt idx="5883">
                  <c:v>1</c:v>
                </c:pt>
                <c:pt idx="5884">
                  <c:v>0</c:v>
                </c:pt>
                <c:pt idx="5885">
                  <c:v>2</c:v>
                </c:pt>
                <c:pt idx="5886">
                  <c:v>0</c:v>
                </c:pt>
                <c:pt idx="5887">
                  <c:v>28</c:v>
                </c:pt>
                <c:pt idx="5888">
                  <c:v>1</c:v>
                </c:pt>
                <c:pt idx="5889">
                  <c:v>5</c:v>
                </c:pt>
                <c:pt idx="5890">
                  <c:v>1</c:v>
                </c:pt>
                <c:pt idx="5891">
                  <c:v>13</c:v>
                </c:pt>
                <c:pt idx="5892">
                  <c:v>2</c:v>
                </c:pt>
                <c:pt idx="5893">
                  <c:v>27</c:v>
                </c:pt>
                <c:pt idx="5894">
                  <c:v>0</c:v>
                </c:pt>
                <c:pt idx="5895">
                  <c:v>10</c:v>
                </c:pt>
                <c:pt idx="5896">
                  <c:v>1</c:v>
                </c:pt>
                <c:pt idx="5897">
                  <c:v>0</c:v>
                </c:pt>
                <c:pt idx="5898">
                  <c:v>1</c:v>
                </c:pt>
                <c:pt idx="5899">
                  <c:v>0</c:v>
                </c:pt>
                <c:pt idx="5900">
                  <c:v>0</c:v>
                </c:pt>
                <c:pt idx="5901">
                  <c:v>0</c:v>
                </c:pt>
                <c:pt idx="5902">
                  <c:v>1</c:v>
                </c:pt>
                <c:pt idx="5903">
                  <c:v>0</c:v>
                </c:pt>
                <c:pt idx="5904">
                  <c:v>0</c:v>
                </c:pt>
                <c:pt idx="5905">
                  <c:v>0</c:v>
                </c:pt>
                <c:pt idx="5906">
                  <c:v>0</c:v>
                </c:pt>
                <c:pt idx="5907">
                  <c:v>0</c:v>
                </c:pt>
                <c:pt idx="5908">
                  <c:v>2</c:v>
                </c:pt>
                <c:pt idx="5909">
                  <c:v>0</c:v>
                </c:pt>
                <c:pt idx="5910">
                  <c:v>0</c:v>
                </c:pt>
                <c:pt idx="5911">
                  <c:v>0</c:v>
                </c:pt>
                <c:pt idx="5912">
                  <c:v>0</c:v>
                </c:pt>
                <c:pt idx="5913">
                  <c:v>0</c:v>
                </c:pt>
                <c:pt idx="5914">
                  <c:v>0</c:v>
                </c:pt>
                <c:pt idx="5915">
                  <c:v>0</c:v>
                </c:pt>
                <c:pt idx="5916">
                  <c:v>0</c:v>
                </c:pt>
                <c:pt idx="5917">
                  <c:v>0</c:v>
                </c:pt>
                <c:pt idx="5918">
                  <c:v>0</c:v>
                </c:pt>
                <c:pt idx="5919">
                  <c:v>0</c:v>
                </c:pt>
                <c:pt idx="5920">
                  <c:v>2</c:v>
                </c:pt>
                <c:pt idx="5921">
                  <c:v>0</c:v>
                </c:pt>
                <c:pt idx="5922">
                  <c:v>0</c:v>
                </c:pt>
                <c:pt idx="5923">
                  <c:v>1</c:v>
                </c:pt>
                <c:pt idx="5924">
                  <c:v>0</c:v>
                </c:pt>
                <c:pt idx="5925">
                  <c:v>0</c:v>
                </c:pt>
                <c:pt idx="5926">
                  <c:v>0</c:v>
                </c:pt>
                <c:pt idx="5927">
                  <c:v>1</c:v>
                </c:pt>
                <c:pt idx="5928">
                  <c:v>0</c:v>
                </c:pt>
                <c:pt idx="5929">
                  <c:v>2</c:v>
                </c:pt>
                <c:pt idx="5930">
                  <c:v>0</c:v>
                </c:pt>
                <c:pt idx="5931">
                  <c:v>0</c:v>
                </c:pt>
                <c:pt idx="5932">
                  <c:v>0</c:v>
                </c:pt>
                <c:pt idx="5933">
                  <c:v>0</c:v>
                </c:pt>
                <c:pt idx="5934">
                  <c:v>0</c:v>
                </c:pt>
                <c:pt idx="5935">
                  <c:v>0</c:v>
                </c:pt>
                <c:pt idx="5936">
                  <c:v>1</c:v>
                </c:pt>
                <c:pt idx="5937">
                  <c:v>0</c:v>
                </c:pt>
                <c:pt idx="5938">
                  <c:v>0</c:v>
                </c:pt>
                <c:pt idx="5939">
                  <c:v>0</c:v>
                </c:pt>
                <c:pt idx="5940">
                  <c:v>0</c:v>
                </c:pt>
                <c:pt idx="5941">
                  <c:v>0</c:v>
                </c:pt>
                <c:pt idx="5942">
                  <c:v>0</c:v>
                </c:pt>
                <c:pt idx="5943">
                  <c:v>0</c:v>
                </c:pt>
                <c:pt idx="5944">
                  <c:v>2</c:v>
                </c:pt>
                <c:pt idx="5945">
                  <c:v>1</c:v>
                </c:pt>
                <c:pt idx="5946">
                  <c:v>0</c:v>
                </c:pt>
                <c:pt idx="5947">
                  <c:v>0</c:v>
                </c:pt>
                <c:pt idx="5948">
                  <c:v>2</c:v>
                </c:pt>
                <c:pt idx="5949">
                  <c:v>0</c:v>
                </c:pt>
                <c:pt idx="5950">
                  <c:v>0</c:v>
                </c:pt>
                <c:pt idx="5951">
                  <c:v>0</c:v>
                </c:pt>
                <c:pt idx="5952">
                  <c:v>0</c:v>
                </c:pt>
                <c:pt idx="5953">
                  <c:v>0</c:v>
                </c:pt>
                <c:pt idx="5954">
                  <c:v>0</c:v>
                </c:pt>
                <c:pt idx="5955">
                  <c:v>0</c:v>
                </c:pt>
                <c:pt idx="5956">
                  <c:v>0</c:v>
                </c:pt>
                <c:pt idx="5957">
                  <c:v>1</c:v>
                </c:pt>
                <c:pt idx="5958">
                  <c:v>0</c:v>
                </c:pt>
                <c:pt idx="5959">
                  <c:v>2</c:v>
                </c:pt>
                <c:pt idx="5960">
                  <c:v>0</c:v>
                </c:pt>
                <c:pt idx="5961">
                  <c:v>1</c:v>
                </c:pt>
                <c:pt idx="5962">
                  <c:v>0</c:v>
                </c:pt>
                <c:pt idx="5963">
                  <c:v>0</c:v>
                </c:pt>
                <c:pt idx="5964">
                  <c:v>0</c:v>
                </c:pt>
                <c:pt idx="5965">
                  <c:v>3</c:v>
                </c:pt>
                <c:pt idx="5966">
                  <c:v>0</c:v>
                </c:pt>
                <c:pt idx="5967">
                  <c:v>0</c:v>
                </c:pt>
                <c:pt idx="5968">
                  <c:v>0</c:v>
                </c:pt>
                <c:pt idx="5969">
                  <c:v>0</c:v>
                </c:pt>
                <c:pt idx="5970">
                  <c:v>0</c:v>
                </c:pt>
                <c:pt idx="5971">
                  <c:v>1</c:v>
                </c:pt>
                <c:pt idx="5972">
                  <c:v>0</c:v>
                </c:pt>
                <c:pt idx="5973">
                  <c:v>0</c:v>
                </c:pt>
                <c:pt idx="5974">
                  <c:v>0</c:v>
                </c:pt>
                <c:pt idx="5975">
                  <c:v>0</c:v>
                </c:pt>
                <c:pt idx="5976">
                  <c:v>0</c:v>
                </c:pt>
                <c:pt idx="5977">
                  <c:v>0</c:v>
                </c:pt>
                <c:pt idx="5978">
                  <c:v>0</c:v>
                </c:pt>
                <c:pt idx="5979">
                  <c:v>0</c:v>
                </c:pt>
                <c:pt idx="5980">
                  <c:v>0</c:v>
                </c:pt>
                <c:pt idx="5981">
                  <c:v>3</c:v>
                </c:pt>
                <c:pt idx="5982">
                  <c:v>0</c:v>
                </c:pt>
                <c:pt idx="5983">
                  <c:v>0</c:v>
                </c:pt>
                <c:pt idx="5984">
                  <c:v>1</c:v>
                </c:pt>
                <c:pt idx="5985">
                  <c:v>1</c:v>
                </c:pt>
                <c:pt idx="5986">
                  <c:v>4</c:v>
                </c:pt>
                <c:pt idx="5987">
                  <c:v>1</c:v>
                </c:pt>
                <c:pt idx="5988">
                  <c:v>1</c:v>
                </c:pt>
                <c:pt idx="5989">
                  <c:v>2</c:v>
                </c:pt>
                <c:pt idx="5990">
                  <c:v>0</c:v>
                </c:pt>
                <c:pt idx="5991">
                  <c:v>0</c:v>
                </c:pt>
                <c:pt idx="5992">
                  <c:v>0</c:v>
                </c:pt>
                <c:pt idx="5993">
                  <c:v>0</c:v>
                </c:pt>
                <c:pt idx="5994">
                  <c:v>0</c:v>
                </c:pt>
                <c:pt idx="5995">
                  <c:v>0</c:v>
                </c:pt>
                <c:pt idx="5996">
                  <c:v>0</c:v>
                </c:pt>
                <c:pt idx="5997">
                  <c:v>0</c:v>
                </c:pt>
                <c:pt idx="5998">
                  <c:v>1</c:v>
                </c:pt>
                <c:pt idx="5999">
                  <c:v>0</c:v>
                </c:pt>
                <c:pt idx="6000">
                  <c:v>0</c:v>
                </c:pt>
                <c:pt idx="6001">
                  <c:v>0</c:v>
                </c:pt>
                <c:pt idx="6002">
                  <c:v>0</c:v>
                </c:pt>
                <c:pt idx="6003">
                  <c:v>0</c:v>
                </c:pt>
                <c:pt idx="6004">
                  <c:v>1</c:v>
                </c:pt>
                <c:pt idx="6005">
                  <c:v>50</c:v>
                </c:pt>
                <c:pt idx="6006">
                  <c:v>2</c:v>
                </c:pt>
                <c:pt idx="6007">
                  <c:v>1</c:v>
                </c:pt>
                <c:pt idx="6008">
                  <c:v>2</c:v>
                </c:pt>
                <c:pt idx="6009">
                  <c:v>2</c:v>
                </c:pt>
                <c:pt idx="6010">
                  <c:v>2</c:v>
                </c:pt>
                <c:pt idx="6011">
                  <c:v>3</c:v>
                </c:pt>
                <c:pt idx="6012">
                  <c:v>1</c:v>
                </c:pt>
                <c:pt idx="6013">
                  <c:v>1</c:v>
                </c:pt>
                <c:pt idx="6014">
                  <c:v>1</c:v>
                </c:pt>
                <c:pt idx="6015">
                  <c:v>6</c:v>
                </c:pt>
                <c:pt idx="6016">
                  <c:v>2</c:v>
                </c:pt>
                <c:pt idx="6017">
                  <c:v>0</c:v>
                </c:pt>
                <c:pt idx="6018">
                  <c:v>3</c:v>
                </c:pt>
                <c:pt idx="6019">
                  <c:v>0</c:v>
                </c:pt>
                <c:pt idx="6020">
                  <c:v>0</c:v>
                </c:pt>
                <c:pt idx="6021">
                  <c:v>2</c:v>
                </c:pt>
                <c:pt idx="6022">
                  <c:v>0</c:v>
                </c:pt>
                <c:pt idx="6023">
                  <c:v>1</c:v>
                </c:pt>
                <c:pt idx="6024">
                  <c:v>0</c:v>
                </c:pt>
                <c:pt idx="6025">
                  <c:v>0</c:v>
                </c:pt>
                <c:pt idx="6026">
                  <c:v>0</c:v>
                </c:pt>
                <c:pt idx="6027">
                  <c:v>6</c:v>
                </c:pt>
                <c:pt idx="6028">
                  <c:v>1</c:v>
                </c:pt>
                <c:pt idx="6029">
                  <c:v>6</c:v>
                </c:pt>
                <c:pt idx="6030">
                  <c:v>0</c:v>
                </c:pt>
                <c:pt idx="6031">
                  <c:v>0</c:v>
                </c:pt>
                <c:pt idx="6032">
                  <c:v>0</c:v>
                </c:pt>
                <c:pt idx="6033">
                  <c:v>0</c:v>
                </c:pt>
                <c:pt idx="6034">
                  <c:v>2</c:v>
                </c:pt>
                <c:pt idx="6035">
                  <c:v>0</c:v>
                </c:pt>
                <c:pt idx="6036">
                  <c:v>0</c:v>
                </c:pt>
                <c:pt idx="6037">
                  <c:v>1</c:v>
                </c:pt>
                <c:pt idx="6038">
                  <c:v>0</c:v>
                </c:pt>
                <c:pt idx="6039">
                  <c:v>0</c:v>
                </c:pt>
                <c:pt idx="6040">
                  <c:v>0</c:v>
                </c:pt>
                <c:pt idx="6041">
                  <c:v>0</c:v>
                </c:pt>
                <c:pt idx="6042">
                  <c:v>0</c:v>
                </c:pt>
                <c:pt idx="6043">
                  <c:v>9</c:v>
                </c:pt>
                <c:pt idx="6044">
                  <c:v>5</c:v>
                </c:pt>
                <c:pt idx="6045">
                  <c:v>0</c:v>
                </c:pt>
                <c:pt idx="6046">
                  <c:v>16</c:v>
                </c:pt>
                <c:pt idx="6047">
                  <c:v>0</c:v>
                </c:pt>
                <c:pt idx="6048">
                  <c:v>0</c:v>
                </c:pt>
                <c:pt idx="6049">
                  <c:v>0</c:v>
                </c:pt>
                <c:pt idx="6050">
                  <c:v>0</c:v>
                </c:pt>
                <c:pt idx="6051">
                  <c:v>1</c:v>
                </c:pt>
                <c:pt idx="6052">
                  <c:v>0</c:v>
                </c:pt>
                <c:pt idx="6053">
                  <c:v>0</c:v>
                </c:pt>
                <c:pt idx="6054">
                  <c:v>0</c:v>
                </c:pt>
                <c:pt idx="6055">
                  <c:v>2</c:v>
                </c:pt>
                <c:pt idx="6056">
                  <c:v>0</c:v>
                </c:pt>
                <c:pt idx="6057">
                  <c:v>0</c:v>
                </c:pt>
                <c:pt idx="6058">
                  <c:v>2</c:v>
                </c:pt>
                <c:pt idx="6059">
                  <c:v>2</c:v>
                </c:pt>
                <c:pt idx="6060">
                  <c:v>0</c:v>
                </c:pt>
                <c:pt idx="6061">
                  <c:v>0</c:v>
                </c:pt>
                <c:pt idx="6062">
                  <c:v>0</c:v>
                </c:pt>
                <c:pt idx="6063">
                  <c:v>0</c:v>
                </c:pt>
                <c:pt idx="6064">
                  <c:v>4</c:v>
                </c:pt>
                <c:pt idx="6065">
                  <c:v>1</c:v>
                </c:pt>
                <c:pt idx="6066">
                  <c:v>0</c:v>
                </c:pt>
                <c:pt idx="6067">
                  <c:v>1</c:v>
                </c:pt>
                <c:pt idx="6068">
                  <c:v>0</c:v>
                </c:pt>
                <c:pt idx="6069">
                  <c:v>0</c:v>
                </c:pt>
                <c:pt idx="6070">
                  <c:v>0</c:v>
                </c:pt>
                <c:pt idx="6071">
                  <c:v>0</c:v>
                </c:pt>
                <c:pt idx="6072">
                  <c:v>15</c:v>
                </c:pt>
                <c:pt idx="6073">
                  <c:v>5</c:v>
                </c:pt>
                <c:pt idx="6074">
                  <c:v>100</c:v>
                </c:pt>
                <c:pt idx="6075">
                  <c:v>0</c:v>
                </c:pt>
                <c:pt idx="6076">
                  <c:v>0</c:v>
                </c:pt>
                <c:pt idx="6077">
                  <c:v>0</c:v>
                </c:pt>
                <c:pt idx="6078">
                  <c:v>0</c:v>
                </c:pt>
                <c:pt idx="6079">
                  <c:v>0</c:v>
                </c:pt>
                <c:pt idx="6080">
                  <c:v>2</c:v>
                </c:pt>
                <c:pt idx="6081">
                  <c:v>2</c:v>
                </c:pt>
                <c:pt idx="6082">
                  <c:v>0</c:v>
                </c:pt>
                <c:pt idx="6083">
                  <c:v>0</c:v>
                </c:pt>
                <c:pt idx="6084">
                  <c:v>0</c:v>
                </c:pt>
                <c:pt idx="6085">
                  <c:v>0</c:v>
                </c:pt>
                <c:pt idx="6086">
                  <c:v>7</c:v>
                </c:pt>
                <c:pt idx="6087">
                  <c:v>0</c:v>
                </c:pt>
                <c:pt idx="6088">
                  <c:v>4</c:v>
                </c:pt>
                <c:pt idx="6089">
                  <c:v>0</c:v>
                </c:pt>
                <c:pt idx="6090">
                  <c:v>4</c:v>
                </c:pt>
                <c:pt idx="6091">
                  <c:v>0</c:v>
                </c:pt>
                <c:pt idx="6092">
                  <c:v>1</c:v>
                </c:pt>
                <c:pt idx="6093">
                  <c:v>0</c:v>
                </c:pt>
                <c:pt idx="6094">
                  <c:v>0</c:v>
                </c:pt>
                <c:pt idx="6095">
                  <c:v>0</c:v>
                </c:pt>
                <c:pt idx="6096">
                  <c:v>1</c:v>
                </c:pt>
                <c:pt idx="6097">
                  <c:v>21</c:v>
                </c:pt>
                <c:pt idx="6098">
                  <c:v>0</c:v>
                </c:pt>
                <c:pt idx="6099">
                  <c:v>0</c:v>
                </c:pt>
                <c:pt idx="6100">
                  <c:v>0</c:v>
                </c:pt>
                <c:pt idx="6101">
                  <c:v>0</c:v>
                </c:pt>
                <c:pt idx="6102">
                  <c:v>1</c:v>
                </c:pt>
                <c:pt idx="6103">
                  <c:v>0</c:v>
                </c:pt>
                <c:pt idx="6104">
                  <c:v>0</c:v>
                </c:pt>
                <c:pt idx="6105">
                  <c:v>0</c:v>
                </c:pt>
                <c:pt idx="6106">
                  <c:v>0</c:v>
                </c:pt>
                <c:pt idx="6107">
                  <c:v>0</c:v>
                </c:pt>
                <c:pt idx="6108">
                  <c:v>0</c:v>
                </c:pt>
                <c:pt idx="6109">
                  <c:v>10</c:v>
                </c:pt>
                <c:pt idx="6110">
                  <c:v>1</c:v>
                </c:pt>
                <c:pt idx="6111">
                  <c:v>1</c:v>
                </c:pt>
                <c:pt idx="6112">
                  <c:v>1</c:v>
                </c:pt>
                <c:pt idx="6113">
                  <c:v>3</c:v>
                </c:pt>
                <c:pt idx="6114">
                  <c:v>0</c:v>
                </c:pt>
                <c:pt idx="6115">
                  <c:v>1</c:v>
                </c:pt>
                <c:pt idx="6116">
                  <c:v>0</c:v>
                </c:pt>
                <c:pt idx="6117">
                  <c:v>0</c:v>
                </c:pt>
                <c:pt idx="6118">
                  <c:v>1</c:v>
                </c:pt>
                <c:pt idx="6119">
                  <c:v>3</c:v>
                </c:pt>
                <c:pt idx="6120">
                  <c:v>1</c:v>
                </c:pt>
                <c:pt idx="6121">
                  <c:v>5</c:v>
                </c:pt>
                <c:pt idx="6122">
                  <c:v>3</c:v>
                </c:pt>
                <c:pt idx="6123">
                  <c:v>0</c:v>
                </c:pt>
                <c:pt idx="6124">
                  <c:v>0</c:v>
                </c:pt>
                <c:pt idx="6125">
                  <c:v>0</c:v>
                </c:pt>
                <c:pt idx="6126">
                  <c:v>21</c:v>
                </c:pt>
                <c:pt idx="6127">
                  <c:v>19</c:v>
                </c:pt>
                <c:pt idx="6128">
                  <c:v>0</c:v>
                </c:pt>
                <c:pt idx="6129">
                  <c:v>0</c:v>
                </c:pt>
                <c:pt idx="6130">
                  <c:v>1</c:v>
                </c:pt>
                <c:pt idx="6131">
                  <c:v>2</c:v>
                </c:pt>
                <c:pt idx="6132">
                  <c:v>0</c:v>
                </c:pt>
                <c:pt idx="6133">
                  <c:v>0</c:v>
                </c:pt>
                <c:pt idx="6134">
                  <c:v>1</c:v>
                </c:pt>
                <c:pt idx="6135">
                  <c:v>2</c:v>
                </c:pt>
                <c:pt idx="6136">
                  <c:v>2</c:v>
                </c:pt>
                <c:pt idx="6137">
                  <c:v>0</c:v>
                </c:pt>
                <c:pt idx="6138">
                  <c:v>2</c:v>
                </c:pt>
                <c:pt idx="6139">
                  <c:v>9</c:v>
                </c:pt>
                <c:pt idx="6140">
                  <c:v>0</c:v>
                </c:pt>
                <c:pt idx="6141">
                  <c:v>0</c:v>
                </c:pt>
                <c:pt idx="6142">
                  <c:v>3</c:v>
                </c:pt>
                <c:pt idx="6143">
                  <c:v>0</c:v>
                </c:pt>
                <c:pt idx="6144">
                  <c:v>7</c:v>
                </c:pt>
                <c:pt idx="6145">
                  <c:v>0</c:v>
                </c:pt>
                <c:pt idx="6146">
                  <c:v>0</c:v>
                </c:pt>
                <c:pt idx="6147">
                  <c:v>4</c:v>
                </c:pt>
                <c:pt idx="6148">
                  <c:v>1</c:v>
                </c:pt>
                <c:pt idx="6149">
                  <c:v>0</c:v>
                </c:pt>
                <c:pt idx="6150">
                  <c:v>0</c:v>
                </c:pt>
                <c:pt idx="6151">
                  <c:v>0</c:v>
                </c:pt>
                <c:pt idx="6152">
                  <c:v>0</c:v>
                </c:pt>
                <c:pt idx="6153">
                  <c:v>3</c:v>
                </c:pt>
                <c:pt idx="6154">
                  <c:v>2</c:v>
                </c:pt>
                <c:pt idx="6155">
                  <c:v>1</c:v>
                </c:pt>
                <c:pt idx="6156">
                  <c:v>1</c:v>
                </c:pt>
                <c:pt idx="6157">
                  <c:v>2</c:v>
                </c:pt>
                <c:pt idx="6158">
                  <c:v>0</c:v>
                </c:pt>
                <c:pt idx="6159">
                  <c:v>0</c:v>
                </c:pt>
                <c:pt idx="6160">
                  <c:v>2</c:v>
                </c:pt>
                <c:pt idx="6161">
                  <c:v>2</c:v>
                </c:pt>
                <c:pt idx="6162">
                  <c:v>1</c:v>
                </c:pt>
                <c:pt idx="6163">
                  <c:v>0</c:v>
                </c:pt>
                <c:pt idx="6164">
                  <c:v>3</c:v>
                </c:pt>
                <c:pt idx="6165">
                  <c:v>0</c:v>
                </c:pt>
                <c:pt idx="6166">
                  <c:v>0</c:v>
                </c:pt>
                <c:pt idx="6167">
                  <c:v>2</c:v>
                </c:pt>
                <c:pt idx="6168">
                  <c:v>0</c:v>
                </c:pt>
                <c:pt idx="6169">
                  <c:v>0</c:v>
                </c:pt>
                <c:pt idx="6170">
                  <c:v>0</c:v>
                </c:pt>
                <c:pt idx="6171">
                  <c:v>2</c:v>
                </c:pt>
                <c:pt idx="6172">
                  <c:v>1</c:v>
                </c:pt>
                <c:pt idx="6173">
                  <c:v>1</c:v>
                </c:pt>
                <c:pt idx="6174">
                  <c:v>2</c:v>
                </c:pt>
                <c:pt idx="6175">
                  <c:v>7</c:v>
                </c:pt>
                <c:pt idx="6176">
                  <c:v>1</c:v>
                </c:pt>
                <c:pt idx="6177">
                  <c:v>0</c:v>
                </c:pt>
                <c:pt idx="6178">
                  <c:v>1</c:v>
                </c:pt>
                <c:pt idx="6179">
                  <c:v>1</c:v>
                </c:pt>
                <c:pt idx="6180">
                  <c:v>0</c:v>
                </c:pt>
                <c:pt idx="6181">
                  <c:v>2</c:v>
                </c:pt>
                <c:pt idx="6182">
                  <c:v>6</c:v>
                </c:pt>
                <c:pt idx="6183">
                  <c:v>0</c:v>
                </c:pt>
                <c:pt idx="6184">
                  <c:v>2</c:v>
                </c:pt>
                <c:pt idx="6185">
                  <c:v>15</c:v>
                </c:pt>
                <c:pt idx="6186">
                  <c:v>1</c:v>
                </c:pt>
                <c:pt idx="6187">
                  <c:v>0</c:v>
                </c:pt>
                <c:pt idx="6188">
                  <c:v>0</c:v>
                </c:pt>
                <c:pt idx="6189">
                  <c:v>0</c:v>
                </c:pt>
                <c:pt idx="6190">
                  <c:v>2</c:v>
                </c:pt>
                <c:pt idx="6191">
                  <c:v>0</c:v>
                </c:pt>
                <c:pt idx="6192">
                  <c:v>5</c:v>
                </c:pt>
                <c:pt idx="6193">
                  <c:v>0</c:v>
                </c:pt>
                <c:pt idx="6194">
                  <c:v>0</c:v>
                </c:pt>
                <c:pt idx="6195">
                  <c:v>2</c:v>
                </c:pt>
                <c:pt idx="6196">
                  <c:v>0</c:v>
                </c:pt>
                <c:pt idx="6197">
                  <c:v>0</c:v>
                </c:pt>
                <c:pt idx="6198">
                  <c:v>0</c:v>
                </c:pt>
                <c:pt idx="6199">
                  <c:v>0</c:v>
                </c:pt>
                <c:pt idx="6200">
                  <c:v>0</c:v>
                </c:pt>
                <c:pt idx="6201">
                  <c:v>0</c:v>
                </c:pt>
                <c:pt idx="6202">
                  <c:v>0</c:v>
                </c:pt>
                <c:pt idx="6203">
                  <c:v>0</c:v>
                </c:pt>
                <c:pt idx="6204">
                  <c:v>0</c:v>
                </c:pt>
                <c:pt idx="6205">
                  <c:v>3</c:v>
                </c:pt>
                <c:pt idx="6206">
                  <c:v>0</c:v>
                </c:pt>
                <c:pt idx="6207">
                  <c:v>0</c:v>
                </c:pt>
                <c:pt idx="6208">
                  <c:v>2</c:v>
                </c:pt>
                <c:pt idx="6209">
                  <c:v>2</c:v>
                </c:pt>
                <c:pt idx="6210">
                  <c:v>0</c:v>
                </c:pt>
                <c:pt idx="6211">
                  <c:v>2</c:v>
                </c:pt>
                <c:pt idx="6212">
                  <c:v>0</c:v>
                </c:pt>
                <c:pt idx="6213">
                  <c:v>0</c:v>
                </c:pt>
                <c:pt idx="6214">
                  <c:v>0</c:v>
                </c:pt>
                <c:pt idx="6215">
                  <c:v>42</c:v>
                </c:pt>
                <c:pt idx="6216">
                  <c:v>0</c:v>
                </c:pt>
                <c:pt idx="6217">
                  <c:v>0</c:v>
                </c:pt>
                <c:pt idx="6218">
                  <c:v>0</c:v>
                </c:pt>
                <c:pt idx="6219">
                  <c:v>0</c:v>
                </c:pt>
                <c:pt idx="6220">
                  <c:v>0</c:v>
                </c:pt>
                <c:pt idx="6221">
                  <c:v>0</c:v>
                </c:pt>
                <c:pt idx="6222">
                  <c:v>0</c:v>
                </c:pt>
                <c:pt idx="6223">
                  <c:v>0</c:v>
                </c:pt>
                <c:pt idx="6224">
                  <c:v>0</c:v>
                </c:pt>
                <c:pt idx="6225">
                  <c:v>0</c:v>
                </c:pt>
                <c:pt idx="6226">
                  <c:v>0</c:v>
                </c:pt>
                <c:pt idx="6227">
                  <c:v>2</c:v>
                </c:pt>
                <c:pt idx="6228">
                  <c:v>0</c:v>
                </c:pt>
                <c:pt idx="6229">
                  <c:v>0</c:v>
                </c:pt>
                <c:pt idx="6230">
                  <c:v>0</c:v>
                </c:pt>
                <c:pt idx="6231">
                  <c:v>0</c:v>
                </c:pt>
                <c:pt idx="6232">
                  <c:v>0</c:v>
                </c:pt>
                <c:pt idx="6233">
                  <c:v>0</c:v>
                </c:pt>
                <c:pt idx="6234">
                  <c:v>1</c:v>
                </c:pt>
                <c:pt idx="6235">
                  <c:v>0</c:v>
                </c:pt>
                <c:pt idx="6236">
                  <c:v>2</c:v>
                </c:pt>
                <c:pt idx="6237">
                  <c:v>2</c:v>
                </c:pt>
                <c:pt idx="6238">
                  <c:v>0</c:v>
                </c:pt>
                <c:pt idx="6239">
                  <c:v>1</c:v>
                </c:pt>
                <c:pt idx="6240">
                  <c:v>0</c:v>
                </c:pt>
                <c:pt idx="6241">
                  <c:v>4</c:v>
                </c:pt>
                <c:pt idx="6242">
                  <c:v>0</c:v>
                </c:pt>
                <c:pt idx="6243">
                  <c:v>0</c:v>
                </c:pt>
                <c:pt idx="6244">
                  <c:v>1</c:v>
                </c:pt>
                <c:pt idx="6245">
                  <c:v>0</c:v>
                </c:pt>
                <c:pt idx="6246">
                  <c:v>0</c:v>
                </c:pt>
                <c:pt idx="6247">
                  <c:v>1</c:v>
                </c:pt>
                <c:pt idx="6248">
                  <c:v>0</c:v>
                </c:pt>
                <c:pt idx="6249">
                  <c:v>0</c:v>
                </c:pt>
                <c:pt idx="6250">
                  <c:v>0</c:v>
                </c:pt>
                <c:pt idx="6251">
                  <c:v>1</c:v>
                </c:pt>
                <c:pt idx="6252">
                  <c:v>1</c:v>
                </c:pt>
                <c:pt idx="6253">
                  <c:v>4</c:v>
                </c:pt>
                <c:pt idx="6254">
                  <c:v>0</c:v>
                </c:pt>
                <c:pt idx="6255">
                  <c:v>1</c:v>
                </c:pt>
                <c:pt idx="6256">
                  <c:v>1</c:v>
                </c:pt>
                <c:pt idx="6257">
                  <c:v>0</c:v>
                </c:pt>
                <c:pt idx="6258">
                  <c:v>4</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7</c:v>
                </c:pt>
                <c:pt idx="6272">
                  <c:v>0</c:v>
                </c:pt>
                <c:pt idx="6273">
                  <c:v>0</c:v>
                </c:pt>
                <c:pt idx="6274">
                  <c:v>0</c:v>
                </c:pt>
                <c:pt idx="6275">
                  <c:v>0</c:v>
                </c:pt>
                <c:pt idx="6276">
                  <c:v>0</c:v>
                </c:pt>
                <c:pt idx="6277">
                  <c:v>0</c:v>
                </c:pt>
                <c:pt idx="6278">
                  <c:v>1</c:v>
                </c:pt>
                <c:pt idx="6279">
                  <c:v>3</c:v>
                </c:pt>
                <c:pt idx="6280">
                  <c:v>1</c:v>
                </c:pt>
                <c:pt idx="6281">
                  <c:v>0</c:v>
                </c:pt>
                <c:pt idx="6282">
                  <c:v>2</c:v>
                </c:pt>
                <c:pt idx="6283">
                  <c:v>2</c:v>
                </c:pt>
                <c:pt idx="6284">
                  <c:v>0</c:v>
                </c:pt>
                <c:pt idx="6285">
                  <c:v>0</c:v>
                </c:pt>
                <c:pt idx="6286">
                  <c:v>0</c:v>
                </c:pt>
                <c:pt idx="6287">
                  <c:v>0</c:v>
                </c:pt>
                <c:pt idx="6288">
                  <c:v>2</c:v>
                </c:pt>
                <c:pt idx="6289">
                  <c:v>0</c:v>
                </c:pt>
                <c:pt idx="6290">
                  <c:v>16</c:v>
                </c:pt>
                <c:pt idx="6291">
                  <c:v>2</c:v>
                </c:pt>
                <c:pt idx="6292">
                  <c:v>0</c:v>
                </c:pt>
                <c:pt idx="6293">
                  <c:v>2</c:v>
                </c:pt>
                <c:pt idx="6294">
                  <c:v>20</c:v>
                </c:pt>
                <c:pt idx="6295">
                  <c:v>1</c:v>
                </c:pt>
                <c:pt idx="6296">
                  <c:v>0</c:v>
                </c:pt>
                <c:pt idx="6297">
                  <c:v>0</c:v>
                </c:pt>
                <c:pt idx="6298">
                  <c:v>0</c:v>
                </c:pt>
                <c:pt idx="6299">
                  <c:v>0</c:v>
                </c:pt>
                <c:pt idx="6300">
                  <c:v>3</c:v>
                </c:pt>
                <c:pt idx="6301">
                  <c:v>0</c:v>
                </c:pt>
                <c:pt idx="6302">
                  <c:v>1</c:v>
                </c:pt>
                <c:pt idx="6303">
                  <c:v>6</c:v>
                </c:pt>
                <c:pt idx="6304">
                  <c:v>3</c:v>
                </c:pt>
                <c:pt idx="6305">
                  <c:v>0</c:v>
                </c:pt>
                <c:pt idx="6306">
                  <c:v>5</c:v>
                </c:pt>
                <c:pt idx="6307">
                  <c:v>2</c:v>
                </c:pt>
                <c:pt idx="6308">
                  <c:v>0</c:v>
                </c:pt>
                <c:pt idx="6309">
                  <c:v>0</c:v>
                </c:pt>
                <c:pt idx="6310">
                  <c:v>1</c:v>
                </c:pt>
                <c:pt idx="6311">
                  <c:v>1</c:v>
                </c:pt>
                <c:pt idx="6312">
                  <c:v>0</c:v>
                </c:pt>
                <c:pt idx="6313">
                  <c:v>0</c:v>
                </c:pt>
                <c:pt idx="6314">
                  <c:v>0</c:v>
                </c:pt>
                <c:pt idx="6315">
                  <c:v>0</c:v>
                </c:pt>
                <c:pt idx="6316">
                  <c:v>1</c:v>
                </c:pt>
                <c:pt idx="6317">
                  <c:v>0</c:v>
                </c:pt>
                <c:pt idx="6318">
                  <c:v>1</c:v>
                </c:pt>
                <c:pt idx="6319">
                  <c:v>0</c:v>
                </c:pt>
                <c:pt idx="6320">
                  <c:v>0</c:v>
                </c:pt>
                <c:pt idx="6321">
                  <c:v>0</c:v>
                </c:pt>
                <c:pt idx="6322">
                  <c:v>0</c:v>
                </c:pt>
                <c:pt idx="6323">
                  <c:v>3</c:v>
                </c:pt>
                <c:pt idx="6324">
                  <c:v>0</c:v>
                </c:pt>
                <c:pt idx="6325">
                  <c:v>0</c:v>
                </c:pt>
                <c:pt idx="6326">
                  <c:v>0</c:v>
                </c:pt>
                <c:pt idx="6327">
                  <c:v>0</c:v>
                </c:pt>
                <c:pt idx="6328">
                  <c:v>0</c:v>
                </c:pt>
                <c:pt idx="6329">
                  <c:v>0</c:v>
                </c:pt>
                <c:pt idx="6330">
                  <c:v>1</c:v>
                </c:pt>
                <c:pt idx="6331">
                  <c:v>0</c:v>
                </c:pt>
                <c:pt idx="6332">
                  <c:v>1</c:v>
                </c:pt>
                <c:pt idx="6333">
                  <c:v>0</c:v>
                </c:pt>
                <c:pt idx="6334">
                  <c:v>1</c:v>
                </c:pt>
                <c:pt idx="6335">
                  <c:v>0</c:v>
                </c:pt>
                <c:pt idx="6336">
                  <c:v>0</c:v>
                </c:pt>
                <c:pt idx="6337">
                  <c:v>0</c:v>
                </c:pt>
                <c:pt idx="6338">
                  <c:v>0</c:v>
                </c:pt>
                <c:pt idx="6339">
                  <c:v>0</c:v>
                </c:pt>
                <c:pt idx="6340">
                  <c:v>16</c:v>
                </c:pt>
                <c:pt idx="6341">
                  <c:v>0</c:v>
                </c:pt>
                <c:pt idx="6342">
                  <c:v>0</c:v>
                </c:pt>
                <c:pt idx="6343">
                  <c:v>0</c:v>
                </c:pt>
                <c:pt idx="6344">
                  <c:v>1</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2</c:v>
                </c:pt>
                <c:pt idx="6358">
                  <c:v>0</c:v>
                </c:pt>
                <c:pt idx="6359">
                  <c:v>6</c:v>
                </c:pt>
                <c:pt idx="6360">
                  <c:v>0</c:v>
                </c:pt>
                <c:pt idx="6361">
                  <c:v>0</c:v>
                </c:pt>
                <c:pt idx="6362">
                  <c:v>0</c:v>
                </c:pt>
                <c:pt idx="6363">
                  <c:v>0</c:v>
                </c:pt>
                <c:pt idx="6364">
                  <c:v>0</c:v>
                </c:pt>
                <c:pt idx="6365">
                  <c:v>0</c:v>
                </c:pt>
                <c:pt idx="6366">
                  <c:v>0</c:v>
                </c:pt>
                <c:pt idx="6367">
                  <c:v>0</c:v>
                </c:pt>
                <c:pt idx="6368">
                  <c:v>0</c:v>
                </c:pt>
                <c:pt idx="6369">
                  <c:v>1</c:v>
                </c:pt>
                <c:pt idx="6370">
                  <c:v>1</c:v>
                </c:pt>
                <c:pt idx="6371">
                  <c:v>0</c:v>
                </c:pt>
                <c:pt idx="6372">
                  <c:v>13</c:v>
                </c:pt>
                <c:pt idx="6373">
                  <c:v>0</c:v>
                </c:pt>
                <c:pt idx="6374">
                  <c:v>22</c:v>
                </c:pt>
                <c:pt idx="6375">
                  <c:v>0</c:v>
                </c:pt>
                <c:pt idx="6376">
                  <c:v>3</c:v>
                </c:pt>
                <c:pt idx="6377">
                  <c:v>0</c:v>
                </c:pt>
                <c:pt idx="6378">
                  <c:v>0</c:v>
                </c:pt>
                <c:pt idx="6379">
                  <c:v>0</c:v>
                </c:pt>
                <c:pt idx="6380">
                  <c:v>0</c:v>
                </c:pt>
                <c:pt idx="6381">
                  <c:v>0</c:v>
                </c:pt>
                <c:pt idx="6382">
                  <c:v>2</c:v>
                </c:pt>
                <c:pt idx="6383">
                  <c:v>0</c:v>
                </c:pt>
                <c:pt idx="6384">
                  <c:v>0</c:v>
                </c:pt>
                <c:pt idx="6385">
                  <c:v>0</c:v>
                </c:pt>
                <c:pt idx="6386">
                  <c:v>0</c:v>
                </c:pt>
                <c:pt idx="6387">
                  <c:v>0</c:v>
                </c:pt>
                <c:pt idx="6388">
                  <c:v>0</c:v>
                </c:pt>
                <c:pt idx="6389">
                  <c:v>1</c:v>
                </c:pt>
                <c:pt idx="6390">
                  <c:v>0</c:v>
                </c:pt>
                <c:pt idx="6391">
                  <c:v>0</c:v>
                </c:pt>
                <c:pt idx="6392">
                  <c:v>0</c:v>
                </c:pt>
                <c:pt idx="6393">
                  <c:v>2</c:v>
                </c:pt>
                <c:pt idx="6394">
                  <c:v>0</c:v>
                </c:pt>
                <c:pt idx="6395">
                  <c:v>0</c:v>
                </c:pt>
                <c:pt idx="6396">
                  <c:v>2</c:v>
                </c:pt>
                <c:pt idx="6397">
                  <c:v>0</c:v>
                </c:pt>
                <c:pt idx="6398">
                  <c:v>0</c:v>
                </c:pt>
                <c:pt idx="6399">
                  <c:v>0</c:v>
                </c:pt>
                <c:pt idx="6400">
                  <c:v>1</c:v>
                </c:pt>
                <c:pt idx="6401">
                  <c:v>0</c:v>
                </c:pt>
                <c:pt idx="6402">
                  <c:v>19</c:v>
                </c:pt>
                <c:pt idx="6403">
                  <c:v>0</c:v>
                </c:pt>
                <c:pt idx="6404">
                  <c:v>0</c:v>
                </c:pt>
                <c:pt idx="6405">
                  <c:v>0</c:v>
                </c:pt>
                <c:pt idx="6406">
                  <c:v>1</c:v>
                </c:pt>
                <c:pt idx="6407">
                  <c:v>0</c:v>
                </c:pt>
                <c:pt idx="6408">
                  <c:v>0</c:v>
                </c:pt>
                <c:pt idx="6409">
                  <c:v>2</c:v>
                </c:pt>
                <c:pt idx="6410">
                  <c:v>8</c:v>
                </c:pt>
                <c:pt idx="6411">
                  <c:v>5</c:v>
                </c:pt>
                <c:pt idx="6412">
                  <c:v>5</c:v>
                </c:pt>
                <c:pt idx="6413">
                  <c:v>2</c:v>
                </c:pt>
                <c:pt idx="6414">
                  <c:v>8</c:v>
                </c:pt>
                <c:pt idx="6415">
                  <c:v>4</c:v>
                </c:pt>
                <c:pt idx="6416">
                  <c:v>39</c:v>
                </c:pt>
                <c:pt idx="6417">
                  <c:v>1</c:v>
                </c:pt>
                <c:pt idx="6418">
                  <c:v>0</c:v>
                </c:pt>
                <c:pt idx="6419">
                  <c:v>1</c:v>
                </c:pt>
                <c:pt idx="6420">
                  <c:v>0</c:v>
                </c:pt>
                <c:pt idx="6421">
                  <c:v>0</c:v>
                </c:pt>
                <c:pt idx="6422">
                  <c:v>0</c:v>
                </c:pt>
                <c:pt idx="6423">
                  <c:v>0</c:v>
                </c:pt>
                <c:pt idx="6424">
                  <c:v>0</c:v>
                </c:pt>
                <c:pt idx="6425">
                  <c:v>2</c:v>
                </c:pt>
                <c:pt idx="6426">
                  <c:v>0</c:v>
                </c:pt>
                <c:pt idx="6427">
                  <c:v>2</c:v>
                </c:pt>
                <c:pt idx="6428">
                  <c:v>0</c:v>
                </c:pt>
                <c:pt idx="6429">
                  <c:v>0</c:v>
                </c:pt>
                <c:pt idx="6430">
                  <c:v>0</c:v>
                </c:pt>
                <c:pt idx="6431">
                  <c:v>0</c:v>
                </c:pt>
                <c:pt idx="6432">
                  <c:v>0</c:v>
                </c:pt>
                <c:pt idx="6433">
                  <c:v>0</c:v>
                </c:pt>
                <c:pt idx="6434">
                  <c:v>1</c:v>
                </c:pt>
                <c:pt idx="6435">
                  <c:v>0</c:v>
                </c:pt>
                <c:pt idx="6436">
                  <c:v>1</c:v>
                </c:pt>
                <c:pt idx="6437">
                  <c:v>1</c:v>
                </c:pt>
                <c:pt idx="6438">
                  <c:v>1</c:v>
                </c:pt>
                <c:pt idx="6439">
                  <c:v>1</c:v>
                </c:pt>
                <c:pt idx="6440">
                  <c:v>1</c:v>
                </c:pt>
                <c:pt idx="6441">
                  <c:v>0</c:v>
                </c:pt>
                <c:pt idx="6442">
                  <c:v>0</c:v>
                </c:pt>
                <c:pt idx="6443">
                  <c:v>0</c:v>
                </c:pt>
                <c:pt idx="6444">
                  <c:v>0</c:v>
                </c:pt>
                <c:pt idx="6445">
                  <c:v>0</c:v>
                </c:pt>
                <c:pt idx="6446">
                  <c:v>0</c:v>
                </c:pt>
                <c:pt idx="6447">
                  <c:v>0</c:v>
                </c:pt>
                <c:pt idx="6448">
                  <c:v>9</c:v>
                </c:pt>
                <c:pt idx="6449">
                  <c:v>0</c:v>
                </c:pt>
                <c:pt idx="6450">
                  <c:v>0</c:v>
                </c:pt>
                <c:pt idx="6451">
                  <c:v>0</c:v>
                </c:pt>
                <c:pt idx="6452">
                  <c:v>2</c:v>
                </c:pt>
                <c:pt idx="6453">
                  <c:v>0</c:v>
                </c:pt>
                <c:pt idx="6454">
                  <c:v>1</c:v>
                </c:pt>
                <c:pt idx="6455">
                  <c:v>0</c:v>
                </c:pt>
                <c:pt idx="6456">
                  <c:v>10</c:v>
                </c:pt>
                <c:pt idx="6457">
                  <c:v>0</c:v>
                </c:pt>
                <c:pt idx="6458">
                  <c:v>0</c:v>
                </c:pt>
                <c:pt idx="6459">
                  <c:v>1</c:v>
                </c:pt>
                <c:pt idx="6460">
                  <c:v>0</c:v>
                </c:pt>
                <c:pt idx="6461">
                  <c:v>0</c:v>
                </c:pt>
                <c:pt idx="6462">
                  <c:v>0</c:v>
                </c:pt>
                <c:pt idx="6463">
                  <c:v>5</c:v>
                </c:pt>
                <c:pt idx="6464">
                  <c:v>6</c:v>
                </c:pt>
                <c:pt idx="6465">
                  <c:v>0</c:v>
                </c:pt>
                <c:pt idx="6466">
                  <c:v>0</c:v>
                </c:pt>
                <c:pt idx="6467">
                  <c:v>1</c:v>
                </c:pt>
                <c:pt idx="6468">
                  <c:v>1</c:v>
                </c:pt>
                <c:pt idx="6469">
                  <c:v>0</c:v>
                </c:pt>
                <c:pt idx="6470">
                  <c:v>0</c:v>
                </c:pt>
                <c:pt idx="6471">
                  <c:v>0</c:v>
                </c:pt>
                <c:pt idx="6472">
                  <c:v>0</c:v>
                </c:pt>
                <c:pt idx="6473">
                  <c:v>0</c:v>
                </c:pt>
                <c:pt idx="6474">
                  <c:v>5</c:v>
                </c:pt>
                <c:pt idx="6475">
                  <c:v>3</c:v>
                </c:pt>
                <c:pt idx="6476">
                  <c:v>4</c:v>
                </c:pt>
                <c:pt idx="6477">
                  <c:v>0</c:v>
                </c:pt>
                <c:pt idx="6478">
                  <c:v>0</c:v>
                </c:pt>
                <c:pt idx="6479">
                  <c:v>1</c:v>
                </c:pt>
                <c:pt idx="6480">
                  <c:v>4</c:v>
                </c:pt>
                <c:pt idx="6481">
                  <c:v>0</c:v>
                </c:pt>
                <c:pt idx="6482">
                  <c:v>24</c:v>
                </c:pt>
                <c:pt idx="6483">
                  <c:v>0</c:v>
                </c:pt>
                <c:pt idx="6484">
                  <c:v>0</c:v>
                </c:pt>
                <c:pt idx="6485">
                  <c:v>0</c:v>
                </c:pt>
                <c:pt idx="6486">
                  <c:v>6</c:v>
                </c:pt>
                <c:pt idx="6487">
                  <c:v>0</c:v>
                </c:pt>
                <c:pt idx="6488">
                  <c:v>0</c:v>
                </c:pt>
                <c:pt idx="6489">
                  <c:v>21</c:v>
                </c:pt>
                <c:pt idx="6490">
                  <c:v>3</c:v>
                </c:pt>
                <c:pt idx="6491">
                  <c:v>1</c:v>
                </c:pt>
                <c:pt idx="6492">
                  <c:v>0</c:v>
                </c:pt>
                <c:pt idx="6493">
                  <c:v>1</c:v>
                </c:pt>
                <c:pt idx="6494">
                  <c:v>1</c:v>
                </c:pt>
                <c:pt idx="6495">
                  <c:v>4</c:v>
                </c:pt>
                <c:pt idx="6496">
                  <c:v>0</c:v>
                </c:pt>
                <c:pt idx="6497">
                  <c:v>5</c:v>
                </c:pt>
                <c:pt idx="6498">
                  <c:v>8</c:v>
                </c:pt>
                <c:pt idx="6499">
                  <c:v>2</c:v>
                </c:pt>
                <c:pt idx="6500">
                  <c:v>1</c:v>
                </c:pt>
                <c:pt idx="6501">
                  <c:v>0</c:v>
                </c:pt>
                <c:pt idx="6502">
                  <c:v>1</c:v>
                </c:pt>
                <c:pt idx="6503">
                  <c:v>1</c:v>
                </c:pt>
                <c:pt idx="6504">
                  <c:v>0</c:v>
                </c:pt>
                <c:pt idx="6505">
                  <c:v>15</c:v>
                </c:pt>
                <c:pt idx="6506">
                  <c:v>6</c:v>
                </c:pt>
                <c:pt idx="6507">
                  <c:v>3</c:v>
                </c:pt>
                <c:pt idx="6508">
                  <c:v>0</c:v>
                </c:pt>
                <c:pt idx="6509">
                  <c:v>0</c:v>
                </c:pt>
                <c:pt idx="6510">
                  <c:v>1</c:v>
                </c:pt>
                <c:pt idx="6511">
                  <c:v>1</c:v>
                </c:pt>
                <c:pt idx="6512">
                  <c:v>6</c:v>
                </c:pt>
                <c:pt idx="6513">
                  <c:v>1</c:v>
                </c:pt>
                <c:pt idx="6514">
                  <c:v>1</c:v>
                </c:pt>
                <c:pt idx="6515">
                  <c:v>0</c:v>
                </c:pt>
                <c:pt idx="6516">
                  <c:v>0</c:v>
                </c:pt>
                <c:pt idx="6517">
                  <c:v>0</c:v>
                </c:pt>
                <c:pt idx="6518">
                  <c:v>0</c:v>
                </c:pt>
                <c:pt idx="6519">
                  <c:v>0</c:v>
                </c:pt>
                <c:pt idx="6520">
                  <c:v>0</c:v>
                </c:pt>
                <c:pt idx="6521">
                  <c:v>0</c:v>
                </c:pt>
                <c:pt idx="6522">
                  <c:v>1</c:v>
                </c:pt>
                <c:pt idx="6523">
                  <c:v>1</c:v>
                </c:pt>
                <c:pt idx="6524">
                  <c:v>4</c:v>
                </c:pt>
                <c:pt idx="6525">
                  <c:v>0</c:v>
                </c:pt>
                <c:pt idx="6526">
                  <c:v>0</c:v>
                </c:pt>
                <c:pt idx="6527">
                  <c:v>0</c:v>
                </c:pt>
                <c:pt idx="6528">
                  <c:v>0</c:v>
                </c:pt>
                <c:pt idx="6529">
                  <c:v>1</c:v>
                </c:pt>
                <c:pt idx="6530">
                  <c:v>0</c:v>
                </c:pt>
                <c:pt idx="6531">
                  <c:v>0</c:v>
                </c:pt>
                <c:pt idx="6532">
                  <c:v>1</c:v>
                </c:pt>
                <c:pt idx="6533">
                  <c:v>1</c:v>
                </c:pt>
                <c:pt idx="6534">
                  <c:v>11</c:v>
                </c:pt>
                <c:pt idx="6535">
                  <c:v>2</c:v>
                </c:pt>
                <c:pt idx="6536">
                  <c:v>17</c:v>
                </c:pt>
                <c:pt idx="6537">
                  <c:v>2</c:v>
                </c:pt>
                <c:pt idx="6538">
                  <c:v>1</c:v>
                </c:pt>
                <c:pt idx="6539">
                  <c:v>0</c:v>
                </c:pt>
                <c:pt idx="6540">
                  <c:v>1</c:v>
                </c:pt>
                <c:pt idx="6541">
                  <c:v>2</c:v>
                </c:pt>
                <c:pt idx="6542">
                  <c:v>0</c:v>
                </c:pt>
                <c:pt idx="6543">
                  <c:v>1</c:v>
                </c:pt>
                <c:pt idx="6544">
                  <c:v>0</c:v>
                </c:pt>
                <c:pt idx="6545">
                  <c:v>1</c:v>
                </c:pt>
                <c:pt idx="6546">
                  <c:v>0</c:v>
                </c:pt>
                <c:pt idx="6547">
                  <c:v>0</c:v>
                </c:pt>
                <c:pt idx="6548">
                  <c:v>0</c:v>
                </c:pt>
                <c:pt idx="6549">
                  <c:v>10</c:v>
                </c:pt>
                <c:pt idx="6550">
                  <c:v>0</c:v>
                </c:pt>
                <c:pt idx="6551">
                  <c:v>0</c:v>
                </c:pt>
                <c:pt idx="6552">
                  <c:v>0</c:v>
                </c:pt>
                <c:pt idx="6553">
                  <c:v>1</c:v>
                </c:pt>
                <c:pt idx="6554">
                  <c:v>0</c:v>
                </c:pt>
                <c:pt idx="6555">
                  <c:v>3</c:v>
                </c:pt>
                <c:pt idx="6556">
                  <c:v>4</c:v>
                </c:pt>
                <c:pt idx="6557">
                  <c:v>8</c:v>
                </c:pt>
                <c:pt idx="6558">
                  <c:v>0</c:v>
                </c:pt>
                <c:pt idx="6559">
                  <c:v>4</c:v>
                </c:pt>
                <c:pt idx="6560">
                  <c:v>1</c:v>
                </c:pt>
                <c:pt idx="6561">
                  <c:v>0</c:v>
                </c:pt>
                <c:pt idx="6562">
                  <c:v>1</c:v>
                </c:pt>
                <c:pt idx="6563">
                  <c:v>0</c:v>
                </c:pt>
                <c:pt idx="6564">
                  <c:v>1</c:v>
                </c:pt>
                <c:pt idx="6565">
                  <c:v>1</c:v>
                </c:pt>
                <c:pt idx="6566">
                  <c:v>2</c:v>
                </c:pt>
                <c:pt idx="6567">
                  <c:v>1</c:v>
                </c:pt>
                <c:pt idx="6568">
                  <c:v>0</c:v>
                </c:pt>
                <c:pt idx="6569">
                  <c:v>0</c:v>
                </c:pt>
                <c:pt idx="6570">
                  <c:v>0</c:v>
                </c:pt>
                <c:pt idx="6571">
                  <c:v>0</c:v>
                </c:pt>
                <c:pt idx="6572">
                  <c:v>0</c:v>
                </c:pt>
                <c:pt idx="6573">
                  <c:v>2</c:v>
                </c:pt>
                <c:pt idx="6574">
                  <c:v>0</c:v>
                </c:pt>
                <c:pt idx="6575">
                  <c:v>3</c:v>
                </c:pt>
                <c:pt idx="6576">
                  <c:v>0</c:v>
                </c:pt>
                <c:pt idx="6577">
                  <c:v>0</c:v>
                </c:pt>
                <c:pt idx="6578">
                  <c:v>0</c:v>
                </c:pt>
                <c:pt idx="6579">
                  <c:v>0</c:v>
                </c:pt>
                <c:pt idx="6580">
                  <c:v>1</c:v>
                </c:pt>
                <c:pt idx="6581">
                  <c:v>0</c:v>
                </c:pt>
                <c:pt idx="6582">
                  <c:v>0</c:v>
                </c:pt>
                <c:pt idx="6583">
                  <c:v>0</c:v>
                </c:pt>
                <c:pt idx="6584">
                  <c:v>0</c:v>
                </c:pt>
                <c:pt idx="6585">
                  <c:v>13</c:v>
                </c:pt>
                <c:pt idx="6586">
                  <c:v>13</c:v>
                </c:pt>
                <c:pt idx="6587">
                  <c:v>1</c:v>
                </c:pt>
                <c:pt idx="6588">
                  <c:v>1</c:v>
                </c:pt>
                <c:pt idx="6589">
                  <c:v>1</c:v>
                </c:pt>
                <c:pt idx="6590">
                  <c:v>0</c:v>
                </c:pt>
                <c:pt idx="6591">
                  <c:v>1</c:v>
                </c:pt>
                <c:pt idx="6592">
                  <c:v>1</c:v>
                </c:pt>
                <c:pt idx="6593">
                  <c:v>4</c:v>
                </c:pt>
                <c:pt idx="6594">
                  <c:v>3</c:v>
                </c:pt>
                <c:pt idx="6595">
                  <c:v>1</c:v>
                </c:pt>
                <c:pt idx="6596">
                  <c:v>0</c:v>
                </c:pt>
                <c:pt idx="6597">
                  <c:v>2</c:v>
                </c:pt>
                <c:pt idx="6598">
                  <c:v>0</c:v>
                </c:pt>
                <c:pt idx="6599">
                  <c:v>0</c:v>
                </c:pt>
                <c:pt idx="6600">
                  <c:v>0</c:v>
                </c:pt>
                <c:pt idx="6601">
                  <c:v>0</c:v>
                </c:pt>
                <c:pt idx="6602">
                  <c:v>0</c:v>
                </c:pt>
                <c:pt idx="6603">
                  <c:v>9</c:v>
                </c:pt>
                <c:pt idx="6604">
                  <c:v>0</c:v>
                </c:pt>
                <c:pt idx="6605">
                  <c:v>0</c:v>
                </c:pt>
                <c:pt idx="6606">
                  <c:v>0</c:v>
                </c:pt>
                <c:pt idx="6607">
                  <c:v>0</c:v>
                </c:pt>
                <c:pt idx="6608">
                  <c:v>0</c:v>
                </c:pt>
                <c:pt idx="6609">
                  <c:v>0</c:v>
                </c:pt>
                <c:pt idx="6610">
                  <c:v>0</c:v>
                </c:pt>
                <c:pt idx="6611">
                  <c:v>18</c:v>
                </c:pt>
                <c:pt idx="6612">
                  <c:v>0</c:v>
                </c:pt>
                <c:pt idx="6613">
                  <c:v>0</c:v>
                </c:pt>
                <c:pt idx="6614">
                  <c:v>0</c:v>
                </c:pt>
                <c:pt idx="6615">
                  <c:v>13</c:v>
                </c:pt>
                <c:pt idx="6616">
                  <c:v>3</c:v>
                </c:pt>
                <c:pt idx="6617">
                  <c:v>0</c:v>
                </c:pt>
                <c:pt idx="6618">
                  <c:v>3</c:v>
                </c:pt>
                <c:pt idx="6619">
                  <c:v>6</c:v>
                </c:pt>
                <c:pt idx="6620">
                  <c:v>7</c:v>
                </c:pt>
                <c:pt idx="6621">
                  <c:v>11</c:v>
                </c:pt>
                <c:pt idx="6622">
                  <c:v>0</c:v>
                </c:pt>
                <c:pt idx="6623">
                  <c:v>0</c:v>
                </c:pt>
                <c:pt idx="6624">
                  <c:v>2</c:v>
                </c:pt>
                <c:pt idx="6625">
                  <c:v>1</c:v>
                </c:pt>
                <c:pt idx="6626">
                  <c:v>0</c:v>
                </c:pt>
                <c:pt idx="6627">
                  <c:v>0</c:v>
                </c:pt>
                <c:pt idx="6628">
                  <c:v>0</c:v>
                </c:pt>
                <c:pt idx="6629">
                  <c:v>0</c:v>
                </c:pt>
                <c:pt idx="6630">
                  <c:v>0</c:v>
                </c:pt>
                <c:pt idx="6631">
                  <c:v>0</c:v>
                </c:pt>
                <c:pt idx="6632">
                  <c:v>0</c:v>
                </c:pt>
                <c:pt idx="6633">
                  <c:v>1</c:v>
                </c:pt>
                <c:pt idx="6634">
                  <c:v>0</c:v>
                </c:pt>
                <c:pt idx="6635">
                  <c:v>0</c:v>
                </c:pt>
                <c:pt idx="6636">
                  <c:v>0</c:v>
                </c:pt>
                <c:pt idx="6637">
                  <c:v>3</c:v>
                </c:pt>
                <c:pt idx="6638">
                  <c:v>0</c:v>
                </c:pt>
                <c:pt idx="6639">
                  <c:v>8</c:v>
                </c:pt>
                <c:pt idx="6640">
                  <c:v>2</c:v>
                </c:pt>
                <c:pt idx="6641">
                  <c:v>2</c:v>
                </c:pt>
                <c:pt idx="6642">
                  <c:v>3</c:v>
                </c:pt>
                <c:pt idx="6643">
                  <c:v>4</c:v>
                </c:pt>
                <c:pt idx="6644">
                  <c:v>0</c:v>
                </c:pt>
                <c:pt idx="6645">
                  <c:v>0</c:v>
                </c:pt>
                <c:pt idx="6646">
                  <c:v>0</c:v>
                </c:pt>
                <c:pt idx="6647">
                  <c:v>1</c:v>
                </c:pt>
                <c:pt idx="6648">
                  <c:v>0</c:v>
                </c:pt>
                <c:pt idx="6649">
                  <c:v>0</c:v>
                </c:pt>
                <c:pt idx="6650">
                  <c:v>5</c:v>
                </c:pt>
                <c:pt idx="6651">
                  <c:v>0</c:v>
                </c:pt>
                <c:pt idx="6652">
                  <c:v>0</c:v>
                </c:pt>
                <c:pt idx="6653">
                  <c:v>3</c:v>
                </c:pt>
                <c:pt idx="6654">
                  <c:v>0</c:v>
                </c:pt>
                <c:pt idx="6655">
                  <c:v>0</c:v>
                </c:pt>
                <c:pt idx="6656">
                  <c:v>0</c:v>
                </c:pt>
                <c:pt idx="6657">
                  <c:v>0</c:v>
                </c:pt>
                <c:pt idx="6658">
                  <c:v>0</c:v>
                </c:pt>
                <c:pt idx="6659">
                  <c:v>11</c:v>
                </c:pt>
                <c:pt idx="6660">
                  <c:v>0</c:v>
                </c:pt>
                <c:pt idx="6661">
                  <c:v>0</c:v>
                </c:pt>
                <c:pt idx="6662">
                  <c:v>0</c:v>
                </c:pt>
                <c:pt idx="6663">
                  <c:v>0</c:v>
                </c:pt>
                <c:pt idx="6664">
                  <c:v>0</c:v>
                </c:pt>
                <c:pt idx="6665">
                  <c:v>13</c:v>
                </c:pt>
                <c:pt idx="6666">
                  <c:v>1</c:v>
                </c:pt>
                <c:pt idx="6667">
                  <c:v>5</c:v>
                </c:pt>
                <c:pt idx="6668">
                  <c:v>0</c:v>
                </c:pt>
                <c:pt idx="6669">
                  <c:v>32</c:v>
                </c:pt>
                <c:pt idx="6670">
                  <c:v>0</c:v>
                </c:pt>
                <c:pt idx="6671">
                  <c:v>0</c:v>
                </c:pt>
                <c:pt idx="6672">
                  <c:v>0</c:v>
                </c:pt>
                <c:pt idx="6673">
                  <c:v>0</c:v>
                </c:pt>
                <c:pt idx="6674">
                  <c:v>2</c:v>
                </c:pt>
                <c:pt idx="6675">
                  <c:v>3</c:v>
                </c:pt>
                <c:pt idx="6676">
                  <c:v>0</c:v>
                </c:pt>
                <c:pt idx="6677">
                  <c:v>0</c:v>
                </c:pt>
                <c:pt idx="6678">
                  <c:v>0</c:v>
                </c:pt>
                <c:pt idx="6679">
                  <c:v>0</c:v>
                </c:pt>
                <c:pt idx="6680">
                  <c:v>3</c:v>
                </c:pt>
                <c:pt idx="6681">
                  <c:v>0</c:v>
                </c:pt>
                <c:pt idx="6682">
                  <c:v>0</c:v>
                </c:pt>
                <c:pt idx="6683">
                  <c:v>1</c:v>
                </c:pt>
                <c:pt idx="6684">
                  <c:v>0</c:v>
                </c:pt>
                <c:pt idx="6685">
                  <c:v>3</c:v>
                </c:pt>
                <c:pt idx="6686">
                  <c:v>0</c:v>
                </c:pt>
                <c:pt idx="6687">
                  <c:v>0</c:v>
                </c:pt>
                <c:pt idx="6688">
                  <c:v>0</c:v>
                </c:pt>
                <c:pt idx="6689">
                  <c:v>0</c:v>
                </c:pt>
                <c:pt idx="6690">
                  <c:v>0</c:v>
                </c:pt>
                <c:pt idx="6691">
                  <c:v>49</c:v>
                </c:pt>
                <c:pt idx="6692">
                  <c:v>0</c:v>
                </c:pt>
                <c:pt idx="6693">
                  <c:v>1</c:v>
                </c:pt>
                <c:pt idx="6694">
                  <c:v>0</c:v>
                </c:pt>
                <c:pt idx="6695">
                  <c:v>1</c:v>
                </c:pt>
                <c:pt idx="6696">
                  <c:v>3</c:v>
                </c:pt>
                <c:pt idx="6697">
                  <c:v>0</c:v>
                </c:pt>
                <c:pt idx="6698">
                  <c:v>0</c:v>
                </c:pt>
                <c:pt idx="6699">
                  <c:v>0</c:v>
                </c:pt>
                <c:pt idx="6700">
                  <c:v>14</c:v>
                </c:pt>
                <c:pt idx="6701">
                  <c:v>47</c:v>
                </c:pt>
                <c:pt idx="6702">
                  <c:v>0</c:v>
                </c:pt>
                <c:pt idx="6703">
                  <c:v>0</c:v>
                </c:pt>
                <c:pt idx="6704">
                  <c:v>0</c:v>
                </c:pt>
                <c:pt idx="6705">
                  <c:v>0</c:v>
                </c:pt>
                <c:pt idx="6706">
                  <c:v>2</c:v>
                </c:pt>
                <c:pt idx="6707">
                  <c:v>0</c:v>
                </c:pt>
                <c:pt idx="6708">
                  <c:v>0</c:v>
                </c:pt>
                <c:pt idx="6709">
                  <c:v>0</c:v>
                </c:pt>
                <c:pt idx="6710">
                  <c:v>1</c:v>
                </c:pt>
                <c:pt idx="6711">
                  <c:v>0</c:v>
                </c:pt>
                <c:pt idx="6712">
                  <c:v>0</c:v>
                </c:pt>
                <c:pt idx="6713">
                  <c:v>3</c:v>
                </c:pt>
                <c:pt idx="6714">
                  <c:v>0</c:v>
                </c:pt>
                <c:pt idx="6715">
                  <c:v>0</c:v>
                </c:pt>
                <c:pt idx="6716">
                  <c:v>0</c:v>
                </c:pt>
                <c:pt idx="6717">
                  <c:v>0</c:v>
                </c:pt>
                <c:pt idx="6718">
                  <c:v>3</c:v>
                </c:pt>
                <c:pt idx="6719">
                  <c:v>0</c:v>
                </c:pt>
                <c:pt idx="6720">
                  <c:v>0</c:v>
                </c:pt>
                <c:pt idx="6721">
                  <c:v>0</c:v>
                </c:pt>
                <c:pt idx="6722">
                  <c:v>0</c:v>
                </c:pt>
                <c:pt idx="6723">
                  <c:v>0</c:v>
                </c:pt>
                <c:pt idx="6724">
                  <c:v>0</c:v>
                </c:pt>
                <c:pt idx="6725">
                  <c:v>0</c:v>
                </c:pt>
                <c:pt idx="6726">
                  <c:v>10</c:v>
                </c:pt>
                <c:pt idx="6727">
                  <c:v>0</c:v>
                </c:pt>
                <c:pt idx="6728">
                  <c:v>0</c:v>
                </c:pt>
                <c:pt idx="6729">
                  <c:v>0</c:v>
                </c:pt>
                <c:pt idx="6730">
                  <c:v>0</c:v>
                </c:pt>
                <c:pt idx="6731">
                  <c:v>3</c:v>
                </c:pt>
                <c:pt idx="6732">
                  <c:v>0</c:v>
                </c:pt>
                <c:pt idx="6733">
                  <c:v>0</c:v>
                </c:pt>
                <c:pt idx="6734">
                  <c:v>0</c:v>
                </c:pt>
                <c:pt idx="6735">
                  <c:v>0</c:v>
                </c:pt>
                <c:pt idx="6736">
                  <c:v>0</c:v>
                </c:pt>
                <c:pt idx="6737">
                  <c:v>5</c:v>
                </c:pt>
                <c:pt idx="6738">
                  <c:v>1</c:v>
                </c:pt>
                <c:pt idx="6739">
                  <c:v>0</c:v>
                </c:pt>
                <c:pt idx="6740">
                  <c:v>0</c:v>
                </c:pt>
                <c:pt idx="6741">
                  <c:v>0</c:v>
                </c:pt>
                <c:pt idx="6742">
                  <c:v>2</c:v>
                </c:pt>
                <c:pt idx="6743">
                  <c:v>0</c:v>
                </c:pt>
                <c:pt idx="6744">
                  <c:v>1</c:v>
                </c:pt>
                <c:pt idx="6745">
                  <c:v>0</c:v>
                </c:pt>
                <c:pt idx="6746">
                  <c:v>0</c:v>
                </c:pt>
                <c:pt idx="6747">
                  <c:v>0</c:v>
                </c:pt>
                <c:pt idx="6748">
                  <c:v>0</c:v>
                </c:pt>
                <c:pt idx="6749">
                  <c:v>0</c:v>
                </c:pt>
                <c:pt idx="6750">
                  <c:v>0</c:v>
                </c:pt>
                <c:pt idx="6751">
                  <c:v>0</c:v>
                </c:pt>
                <c:pt idx="6752">
                  <c:v>0</c:v>
                </c:pt>
                <c:pt idx="6753">
                  <c:v>1</c:v>
                </c:pt>
                <c:pt idx="6754">
                  <c:v>0</c:v>
                </c:pt>
                <c:pt idx="6755">
                  <c:v>5</c:v>
                </c:pt>
                <c:pt idx="6756">
                  <c:v>2</c:v>
                </c:pt>
                <c:pt idx="6757">
                  <c:v>0</c:v>
                </c:pt>
                <c:pt idx="6758">
                  <c:v>1</c:v>
                </c:pt>
                <c:pt idx="6759">
                  <c:v>0</c:v>
                </c:pt>
                <c:pt idx="6760">
                  <c:v>12</c:v>
                </c:pt>
                <c:pt idx="6761">
                  <c:v>1</c:v>
                </c:pt>
                <c:pt idx="6762">
                  <c:v>2</c:v>
                </c:pt>
                <c:pt idx="6763">
                  <c:v>6</c:v>
                </c:pt>
                <c:pt idx="6764">
                  <c:v>0</c:v>
                </c:pt>
                <c:pt idx="6765">
                  <c:v>0</c:v>
                </c:pt>
                <c:pt idx="6766">
                  <c:v>1</c:v>
                </c:pt>
                <c:pt idx="6767">
                  <c:v>0</c:v>
                </c:pt>
                <c:pt idx="6768">
                  <c:v>0</c:v>
                </c:pt>
                <c:pt idx="6769">
                  <c:v>2</c:v>
                </c:pt>
                <c:pt idx="6770">
                  <c:v>14</c:v>
                </c:pt>
                <c:pt idx="6771">
                  <c:v>0</c:v>
                </c:pt>
                <c:pt idx="6772">
                  <c:v>0</c:v>
                </c:pt>
                <c:pt idx="6773">
                  <c:v>1</c:v>
                </c:pt>
                <c:pt idx="6774">
                  <c:v>69</c:v>
                </c:pt>
                <c:pt idx="6775">
                  <c:v>2</c:v>
                </c:pt>
                <c:pt idx="6776">
                  <c:v>0</c:v>
                </c:pt>
                <c:pt idx="6777">
                  <c:v>0</c:v>
                </c:pt>
                <c:pt idx="6778">
                  <c:v>0</c:v>
                </c:pt>
                <c:pt idx="6779">
                  <c:v>1</c:v>
                </c:pt>
                <c:pt idx="6780">
                  <c:v>1</c:v>
                </c:pt>
                <c:pt idx="6781">
                  <c:v>6</c:v>
                </c:pt>
                <c:pt idx="6782">
                  <c:v>3</c:v>
                </c:pt>
                <c:pt idx="6783">
                  <c:v>2</c:v>
                </c:pt>
                <c:pt idx="6784">
                  <c:v>0</c:v>
                </c:pt>
                <c:pt idx="6785">
                  <c:v>2</c:v>
                </c:pt>
                <c:pt idx="6786">
                  <c:v>1</c:v>
                </c:pt>
                <c:pt idx="6787">
                  <c:v>1</c:v>
                </c:pt>
                <c:pt idx="6788">
                  <c:v>1</c:v>
                </c:pt>
                <c:pt idx="6789">
                  <c:v>0</c:v>
                </c:pt>
                <c:pt idx="6790">
                  <c:v>0</c:v>
                </c:pt>
                <c:pt idx="6791">
                  <c:v>0</c:v>
                </c:pt>
                <c:pt idx="6792">
                  <c:v>0</c:v>
                </c:pt>
                <c:pt idx="6793">
                  <c:v>0</c:v>
                </c:pt>
                <c:pt idx="6794">
                  <c:v>1</c:v>
                </c:pt>
                <c:pt idx="6795">
                  <c:v>0</c:v>
                </c:pt>
                <c:pt idx="6796">
                  <c:v>0</c:v>
                </c:pt>
                <c:pt idx="6797">
                  <c:v>0</c:v>
                </c:pt>
                <c:pt idx="6798">
                  <c:v>0</c:v>
                </c:pt>
                <c:pt idx="6799">
                  <c:v>3</c:v>
                </c:pt>
                <c:pt idx="6800">
                  <c:v>2</c:v>
                </c:pt>
                <c:pt idx="6801">
                  <c:v>8</c:v>
                </c:pt>
                <c:pt idx="6802">
                  <c:v>4</c:v>
                </c:pt>
                <c:pt idx="6803">
                  <c:v>0</c:v>
                </c:pt>
                <c:pt idx="6804">
                  <c:v>1</c:v>
                </c:pt>
                <c:pt idx="6805">
                  <c:v>0</c:v>
                </c:pt>
                <c:pt idx="6806">
                  <c:v>6</c:v>
                </c:pt>
                <c:pt idx="6807">
                  <c:v>1</c:v>
                </c:pt>
                <c:pt idx="6808">
                  <c:v>0</c:v>
                </c:pt>
                <c:pt idx="6809">
                  <c:v>0</c:v>
                </c:pt>
                <c:pt idx="6810">
                  <c:v>0</c:v>
                </c:pt>
                <c:pt idx="6811">
                  <c:v>2</c:v>
                </c:pt>
                <c:pt idx="6812">
                  <c:v>0</c:v>
                </c:pt>
                <c:pt idx="6813">
                  <c:v>0</c:v>
                </c:pt>
                <c:pt idx="6814">
                  <c:v>8</c:v>
                </c:pt>
                <c:pt idx="6815">
                  <c:v>0</c:v>
                </c:pt>
                <c:pt idx="6816">
                  <c:v>0</c:v>
                </c:pt>
                <c:pt idx="6817">
                  <c:v>0</c:v>
                </c:pt>
                <c:pt idx="6818">
                  <c:v>2</c:v>
                </c:pt>
                <c:pt idx="6819">
                  <c:v>10</c:v>
                </c:pt>
                <c:pt idx="6820">
                  <c:v>0</c:v>
                </c:pt>
                <c:pt idx="6821">
                  <c:v>0</c:v>
                </c:pt>
                <c:pt idx="6822">
                  <c:v>0</c:v>
                </c:pt>
                <c:pt idx="6823">
                  <c:v>0</c:v>
                </c:pt>
                <c:pt idx="6824">
                  <c:v>0</c:v>
                </c:pt>
                <c:pt idx="6825">
                  <c:v>1</c:v>
                </c:pt>
                <c:pt idx="6826">
                  <c:v>0</c:v>
                </c:pt>
                <c:pt idx="6827">
                  <c:v>1</c:v>
                </c:pt>
                <c:pt idx="6828">
                  <c:v>0</c:v>
                </c:pt>
                <c:pt idx="6829">
                  <c:v>1</c:v>
                </c:pt>
                <c:pt idx="6830">
                  <c:v>23</c:v>
                </c:pt>
                <c:pt idx="6831">
                  <c:v>3</c:v>
                </c:pt>
                <c:pt idx="6832">
                  <c:v>0</c:v>
                </c:pt>
                <c:pt idx="6833">
                  <c:v>0</c:v>
                </c:pt>
                <c:pt idx="6834">
                  <c:v>0</c:v>
                </c:pt>
                <c:pt idx="6835">
                  <c:v>8</c:v>
                </c:pt>
                <c:pt idx="6836">
                  <c:v>1</c:v>
                </c:pt>
                <c:pt idx="6837">
                  <c:v>3</c:v>
                </c:pt>
                <c:pt idx="6838">
                  <c:v>6</c:v>
                </c:pt>
                <c:pt idx="6839">
                  <c:v>2</c:v>
                </c:pt>
                <c:pt idx="6840">
                  <c:v>0</c:v>
                </c:pt>
                <c:pt idx="6841">
                  <c:v>0</c:v>
                </c:pt>
                <c:pt idx="6842">
                  <c:v>1</c:v>
                </c:pt>
                <c:pt idx="6843">
                  <c:v>0</c:v>
                </c:pt>
                <c:pt idx="6844">
                  <c:v>0</c:v>
                </c:pt>
                <c:pt idx="6845">
                  <c:v>17</c:v>
                </c:pt>
                <c:pt idx="6846">
                  <c:v>0</c:v>
                </c:pt>
                <c:pt idx="6847">
                  <c:v>0</c:v>
                </c:pt>
                <c:pt idx="6848">
                  <c:v>119</c:v>
                </c:pt>
                <c:pt idx="6849">
                  <c:v>0</c:v>
                </c:pt>
                <c:pt idx="6850">
                  <c:v>1</c:v>
                </c:pt>
                <c:pt idx="6851">
                  <c:v>1</c:v>
                </c:pt>
                <c:pt idx="6852">
                  <c:v>2</c:v>
                </c:pt>
                <c:pt idx="6853">
                  <c:v>24</c:v>
                </c:pt>
                <c:pt idx="6854">
                  <c:v>0</c:v>
                </c:pt>
                <c:pt idx="6855">
                  <c:v>2</c:v>
                </c:pt>
                <c:pt idx="6856">
                  <c:v>0</c:v>
                </c:pt>
                <c:pt idx="6857">
                  <c:v>8</c:v>
                </c:pt>
                <c:pt idx="6858">
                  <c:v>1</c:v>
                </c:pt>
                <c:pt idx="6859">
                  <c:v>1</c:v>
                </c:pt>
                <c:pt idx="6860">
                  <c:v>1</c:v>
                </c:pt>
                <c:pt idx="6861">
                  <c:v>1</c:v>
                </c:pt>
                <c:pt idx="6862">
                  <c:v>3</c:v>
                </c:pt>
                <c:pt idx="6863">
                  <c:v>2</c:v>
                </c:pt>
                <c:pt idx="6864">
                  <c:v>0</c:v>
                </c:pt>
                <c:pt idx="6865">
                  <c:v>2</c:v>
                </c:pt>
                <c:pt idx="6866">
                  <c:v>0</c:v>
                </c:pt>
                <c:pt idx="6867">
                  <c:v>0</c:v>
                </c:pt>
                <c:pt idx="6868">
                  <c:v>38</c:v>
                </c:pt>
                <c:pt idx="6869">
                  <c:v>1</c:v>
                </c:pt>
                <c:pt idx="6870">
                  <c:v>0</c:v>
                </c:pt>
                <c:pt idx="6871">
                  <c:v>1</c:v>
                </c:pt>
                <c:pt idx="6872">
                  <c:v>4</c:v>
                </c:pt>
                <c:pt idx="6873">
                  <c:v>0</c:v>
                </c:pt>
                <c:pt idx="6874">
                  <c:v>0</c:v>
                </c:pt>
                <c:pt idx="6875">
                  <c:v>0</c:v>
                </c:pt>
                <c:pt idx="6876">
                  <c:v>0</c:v>
                </c:pt>
                <c:pt idx="6877">
                  <c:v>1</c:v>
                </c:pt>
                <c:pt idx="6878">
                  <c:v>8</c:v>
                </c:pt>
                <c:pt idx="6879">
                  <c:v>2</c:v>
                </c:pt>
                <c:pt idx="6880">
                  <c:v>0</c:v>
                </c:pt>
                <c:pt idx="6881">
                  <c:v>53</c:v>
                </c:pt>
                <c:pt idx="6882">
                  <c:v>1</c:v>
                </c:pt>
                <c:pt idx="6883">
                  <c:v>1</c:v>
                </c:pt>
                <c:pt idx="6884">
                  <c:v>2</c:v>
                </c:pt>
                <c:pt idx="6885">
                  <c:v>17</c:v>
                </c:pt>
                <c:pt idx="6886">
                  <c:v>2</c:v>
                </c:pt>
                <c:pt idx="6887">
                  <c:v>0</c:v>
                </c:pt>
                <c:pt idx="6888">
                  <c:v>4</c:v>
                </c:pt>
                <c:pt idx="6889">
                  <c:v>9</c:v>
                </c:pt>
                <c:pt idx="6890">
                  <c:v>0</c:v>
                </c:pt>
                <c:pt idx="6891">
                  <c:v>0</c:v>
                </c:pt>
                <c:pt idx="6892">
                  <c:v>10</c:v>
                </c:pt>
                <c:pt idx="6893">
                  <c:v>1</c:v>
                </c:pt>
                <c:pt idx="6894">
                  <c:v>0</c:v>
                </c:pt>
                <c:pt idx="6895">
                  <c:v>0</c:v>
                </c:pt>
                <c:pt idx="6896">
                  <c:v>0</c:v>
                </c:pt>
                <c:pt idx="6897">
                  <c:v>1</c:v>
                </c:pt>
                <c:pt idx="6898">
                  <c:v>6</c:v>
                </c:pt>
                <c:pt idx="6899">
                  <c:v>11</c:v>
                </c:pt>
                <c:pt idx="6900">
                  <c:v>8</c:v>
                </c:pt>
                <c:pt idx="6901">
                  <c:v>1</c:v>
                </c:pt>
                <c:pt idx="6902">
                  <c:v>0</c:v>
                </c:pt>
                <c:pt idx="6903">
                  <c:v>0</c:v>
                </c:pt>
                <c:pt idx="6904">
                  <c:v>1</c:v>
                </c:pt>
                <c:pt idx="6905">
                  <c:v>2</c:v>
                </c:pt>
                <c:pt idx="6906">
                  <c:v>2</c:v>
                </c:pt>
                <c:pt idx="6907">
                  <c:v>1</c:v>
                </c:pt>
                <c:pt idx="6908">
                  <c:v>0</c:v>
                </c:pt>
                <c:pt idx="6909">
                  <c:v>0</c:v>
                </c:pt>
                <c:pt idx="6910">
                  <c:v>0</c:v>
                </c:pt>
                <c:pt idx="6911">
                  <c:v>0</c:v>
                </c:pt>
                <c:pt idx="6912">
                  <c:v>1</c:v>
                </c:pt>
                <c:pt idx="6913">
                  <c:v>2</c:v>
                </c:pt>
                <c:pt idx="6914">
                  <c:v>0</c:v>
                </c:pt>
                <c:pt idx="6915">
                  <c:v>10</c:v>
                </c:pt>
                <c:pt idx="6916">
                  <c:v>16</c:v>
                </c:pt>
                <c:pt idx="6917">
                  <c:v>6</c:v>
                </c:pt>
                <c:pt idx="6918">
                  <c:v>0</c:v>
                </c:pt>
                <c:pt idx="6919">
                  <c:v>1</c:v>
                </c:pt>
                <c:pt idx="6920">
                  <c:v>0</c:v>
                </c:pt>
                <c:pt idx="6921">
                  <c:v>26</c:v>
                </c:pt>
                <c:pt idx="6922">
                  <c:v>0</c:v>
                </c:pt>
                <c:pt idx="6923">
                  <c:v>0</c:v>
                </c:pt>
                <c:pt idx="6924">
                  <c:v>0</c:v>
                </c:pt>
                <c:pt idx="6925">
                  <c:v>0</c:v>
                </c:pt>
                <c:pt idx="6926">
                  <c:v>0</c:v>
                </c:pt>
                <c:pt idx="6927">
                  <c:v>0</c:v>
                </c:pt>
                <c:pt idx="6928">
                  <c:v>0</c:v>
                </c:pt>
                <c:pt idx="6929">
                  <c:v>25</c:v>
                </c:pt>
                <c:pt idx="6930">
                  <c:v>1</c:v>
                </c:pt>
                <c:pt idx="6931">
                  <c:v>8</c:v>
                </c:pt>
                <c:pt idx="6932">
                  <c:v>4</c:v>
                </c:pt>
                <c:pt idx="6933">
                  <c:v>1</c:v>
                </c:pt>
                <c:pt idx="6934">
                  <c:v>0</c:v>
                </c:pt>
                <c:pt idx="6935">
                  <c:v>0</c:v>
                </c:pt>
                <c:pt idx="6936">
                  <c:v>2</c:v>
                </c:pt>
                <c:pt idx="6937">
                  <c:v>0</c:v>
                </c:pt>
                <c:pt idx="6938">
                  <c:v>1</c:v>
                </c:pt>
                <c:pt idx="6939">
                  <c:v>1</c:v>
                </c:pt>
                <c:pt idx="6940">
                  <c:v>7</c:v>
                </c:pt>
                <c:pt idx="6941">
                  <c:v>2</c:v>
                </c:pt>
                <c:pt idx="6942">
                  <c:v>0</c:v>
                </c:pt>
                <c:pt idx="6943">
                  <c:v>0</c:v>
                </c:pt>
                <c:pt idx="6944">
                  <c:v>0</c:v>
                </c:pt>
                <c:pt idx="6945">
                  <c:v>0</c:v>
                </c:pt>
                <c:pt idx="6946">
                  <c:v>1</c:v>
                </c:pt>
                <c:pt idx="6947">
                  <c:v>1</c:v>
                </c:pt>
                <c:pt idx="6948">
                  <c:v>0</c:v>
                </c:pt>
                <c:pt idx="6949">
                  <c:v>0</c:v>
                </c:pt>
                <c:pt idx="6950">
                  <c:v>0</c:v>
                </c:pt>
                <c:pt idx="6951">
                  <c:v>3</c:v>
                </c:pt>
                <c:pt idx="6952">
                  <c:v>11</c:v>
                </c:pt>
                <c:pt idx="6953">
                  <c:v>6</c:v>
                </c:pt>
                <c:pt idx="6954">
                  <c:v>1</c:v>
                </c:pt>
                <c:pt idx="6955">
                  <c:v>10</c:v>
                </c:pt>
                <c:pt idx="6956">
                  <c:v>0</c:v>
                </c:pt>
                <c:pt idx="6957">
                  <c:v>1</c:v>
                </c:pt>
                <c:pt idx="6958">
                  <c:v>0</c:v>
                </c:pt>
                <c:pt idx="6959">
                  <c:v>0</c:v>
                </c:pt>
                <c:pt idx="6960">
                  <c:v>0</c:v>
                </c:pt>
                <c:pt idx="6961">
                  <c:v>4</c:v>
                </c:pt>
                <c:pt idx="6962">
                  <c:v>0</c:v>
                </c:pt>
                <c:pt idx="6963">
                  <c:v>0</c:v>
                </c:pt>
                <c:pt idx="6964">
                  <c:v>18</c:v>
                </c:pt>
                <c:pt idx="6965">
                  <c:v>4</c:v>
                </c:pt>
                <c:pt idx="6966">
                  <c:v>0</c:v>
                </c:pt>
                <c:pt idx="6967">
                  <c:v>0</c:v>
                </c:pt>
                <c:pt idx="6968">
                  <c:v>0</c:v>
                </c:pt>
                <c:pt idx="6969">
                  <c:v>0</c:v>
                </c:pt>
                <c:pt idx="6970">
                  <c:v>1</c:v>
                </c:pt>
                <c:pt idx="6971">
                  <c:v>0</c:v>
                </c:pt>
                <c:pt idx="6972">
                  <c:v>1</c:v>
                </c:pt>
                <c:pt idx="6973">
                  <c:v>10</c:v>
                </c:pt>
                <c:pt idx="6974">
                  <c:v>1</c:v>
                </c:pt>
                <c:pt idx="6975">
                  <c:v>0</c:v>
                </c:pt>
                <c:pt idx="6976">
                  <c:v>2</c:v>
                </c:pt>
                <c:pt idx="6977">
                  <c:v>0</c:v>
                </c:pt>
                <c:pt idx="6978">
                  <c:v>0</c:v>
                </c:pt>
                <c:pt idx="6979">
                  <c:v>7</c:v>
                </c:pt>
                <c:pt idx="6980">
                  <c:v>12</c:v>
                </c:pt>
                <c:pt idx="6981">
                  <c:v>2</c:v>
                </c:pt>
                <c:pt idx="6982">
                  <c:v>5</c:v>
                </c:pt>
                <c:pt idx="6983">
                  <c:v>0</c:v>
                </c:pt>
                <c:pt idx="6984">
                  <c:v>6</c:v>
                </c:pt>
                <c:pt idx="6985">
                  <c:v>1</c:v>
                </c:pt>
                <c:pt idx="6986">
                  <c:v>0</c:v>
                </c:pt>
                <c:pt idx="6987">
                  <c:v>1</c:v>
                </c:pt>
                <c:pt idx="6988">
                  <c:v>0</c:v>
                </c:pt>
                <c:pt idx="6989">
                  <c:v>1</c:v>
                </c:pt>
                <c:pt idx="6990">
                  <c:v>0</c:v>
                </c:pt>
                <c:pt idx="6991">
                  <c:v>5</c:v>
                </c:pt>
                <c:pt idx="6992">
                  <c:v>1</c:v>
                </c:pt>
                <c:pt idx="6993">
                  <c:v>0</c:v>
                </c:pt>
                <c:pt idx="6994">
                  <c:v>0</c:v>
                </c:pt>
                <c:pt idx="6995">
                  <c:v>3</c:v>
                </c:pt>
                <c:pt idx="6996">
                  <c:v>0</c:v>
                </c:pt>
                <c:pt idx="6997">
                  <c:v>0</c:v>
                </c:pt>
                <c:pt idx="6998">
                  <c:v>4</c:v>
                </c:pt>
                <c:pt idx="6999">
                  <c:v>2</c:v>
                </c:pt>
                <c:pt idx="7000">
                  <c:v>2</c:v>
                </c:pt>
                <c:pt idx="7001">
                  <c:v>8</c:v>
                </c:pt>
                <c:pt idx="7002">
                  <c:v>0</c:v>
                </c:pt>
                <c:pt idx="7003">
                  <c:v>0</c:v>
                </c:pt>
                <c:pt idx="7004">
                  <c:v>1</c:v>
                </c:pt>
                <c:pt idx="7005">
                  <c:v>2</c:v>
                </c:pt>
                <c:pt idx="7006">
                  <c:v>4</c:v>
                </c:pt>
                <c:pt idx="7007">
                  <c:v>6</c:v>
                </c:pt>
                <c:pt idx="7008">
                  <c:v>0</c:v>
                </c:pt>
                <c:pt idx="7009">
                  <c:v>0</c:v>
                </c:pt>
                <c:pt idx="7010">
                  <c:v>0</c:v>
                </c:pt>
                <c:pt idx="7011">
                  <c:v>3</c:v>
                </c:pt>
                <c:pt idx="7012">
                  <c:v>3</c:v>
                </c:pt>
                <c:pt idx="7013">
                  <c:v>0</c:v>
                </c:pt>
                <c:pt idx="7014">
                  <c:v>0</c:v>
                </c:pt>
                <c:pt idx="7015">
                  <c:v>1</c:v>
                </c:pt>
                <c:pt idx="7016">
                  <c:v>44</c:v>
                </c:pt>
                <c:pt idx="7017">
                  <c:v>0</c:v>
                </c:pt>
                <c:pt idx="7018">
                  <c:v>0</c:v>
                </c:pt>
                <c:pt idx="7019">
                  <c:v>0</c:v>
                </c:pt>
                <c:pt idx="7020">
                  <c:v>3</c:v>
                </c:pt>
                <c:pt idx="7021">
                  <c:v>1</c:v>
                </c:pt>
                <c:pt idx="7022">
                  <c:v>0</c:v>
                </c:pt>
                <c:pt idx="7023">
                  <c:v>1</c:v>
                </c:pt>
                <c:pt idx="7024">
                  <c:v>2</c:v>
                </c:pt>
                <c:pt idx="7025">
                  <c:v>0</c:v>
                </c:pt>
                <c:pt idx="7026">
                  <c:v>0</c:v>
                </c:pt>
                <c:pt idx="7027">
                  <c:v>1</c:v>
                </c:pt>
                <c:pt idx="7028">
                  <c:v>0</c:v>
                </c:pt>
                <c:pt idx="7029">
                  <c:v>0</c:v>
                </c:pt>
                <c:pt idx="7030">
                  <c:v>13</c:v>
                </c:pt>
                <c:pt idx="7031">
                  <c:v>16</c:v>
                </c:pt>
                <c:pt idx="7032">
                  <c:v>0</c:v>
                </c:pt>
                <c:pt idx="7033">
                  <c:v>4</c:v>
                </c:pt>
                <c:pt idx="7034">
                  <c:v>1</c:v>
                </c:pt>
                <c:pt idx="7035">
                  <c:v>0</c:v>
                </c:pt>
                <c:pt idx="7036">
                  <c:v>12</c:v>
                </c:pt>
                <c:pt idx="7037">
                  <c:v>0</c:v>
                </c:pt>
                <c:pt idx="7038">
                  <c:v>8</c:v>
                </c:pt>
                <c:pt idx="7039">
                  <c:v>4</c:v>
                </c:pt>
                <c:pt idx="7040">
                  <c:v>1</c:v>
                </c:pt>
                <c:pt idx="7041">
                  <c:v>0</c:v>
                </c:pt>
                <c:pt idx="7042">
                  <c:v>1</c:v>
                </c:pt>
                <c:pt idx="7043">
                  <c:v>6</c:v>
                </c:pt>
                <c:pt idx="7044">
                  <c:v>86</c:v>
                </c:pt>
                <c:pt idx="7045">
                  <c:v>0</c:v>
                </c:pt>
                <c:pt idx="7046">
                  <c:v>1</c:v>
                </c:pt>
                <c:pt idx="7047">
                  <c:v>1</c:v>
                </c:pt>
                <c:pt idx="7048">
                  <c:v>6</c:v>
                </c:pt>
                <c:pt idx="7049">
                  <c:v>0</c:v>
                </c:pt>
                <c:pt idx="7050">
                  <c:v>0</c:v>
                </c:pt>
                <c:pt idx="7051">
                  <c:v>2</c:v>
                </c:pt>
                <c:pt idx="7052">
                  <c:v>0</c:v>
                </c:pt>
                <c:pt idx="7053">
                  <c:v>1</c:v>
                </c:pt>
                <c:pt idx="7054">
                  <c:v>1</c:v>
                </c:pt>
                <c:pt idx="7055">
                  <c:v>1</c:v>
                </c:pt>
                <c:pt idx="7056">
                  <c:v>0</c:v>
                </c:pt>
                <c:pt idx="7057">
                  <c:v>0</c:v>
                </c:pt>
                <c:pt idx="7058">
                  <c:v>0</c:v>
                </c:pt>
                <c:pt idx="7059">
                  <c:v>3</c:v>
                </c:pt>
                <c:pt idx="7060">
                  <c:v>0</c:v>
                </c:pt>
                <c:pt idx="7061">
                  <c:v>0</c:v>
                </c:pt>
                <c:pt idx="7062">
                  <c:v>0</c:v>
                </c:pt>
                <c:pt idx="7063">
                  <c:v>0</c:v>
                </c:pt>
                <c:pt idx="7064">
                  <c:v>0</c:v>
                </c:pt>
                <c:pt idx="7065">
                  <c:v>5</c:v>
                </c:pt>
                <c:pt idx="7066">
                  <c:v>32</c:v>
                </c:pt>
                <c:pt idx="7067">
                  <c:v>0</c:v>
                </c:pt>
                <c:pt idx="7068">
                  <c:v>0</c:v>
                </c:pt>
                <c:pt idx="7069">
                  <c:v>2</c:v>
                </c:pt>
                <c:pt idx="7070">
                  <c:v>1</c:v>
                </c:pt>
                <c:pt idx="7071">
                  <c:v>11</c:v>
                </c:pt>
                <c:pt idx="7072">
                  <c:v>1</c:v>
                </c:pt>
                <c:pt idx="7073">
                  <c:v>0</c:v>
                </c:pt>
                <c:pt idx="7074">
                  <c:v>0</c:v>
                </c:pt>
                <c:pt idx="7075">
                  <c:v>8</c:v>
                </c:pt>
                <c:pt idx="7076">
                  <c:v>2</c:v>
                </c:pt>
                <c:pt idx="7077">
                  <c:v>1</c:v>
                </c:pt>
                <c:pt idx="7078">
                  <c:v>1</c:v>
                </c:pt>
                <c:pt idx="7079">
                  <c:v>4</c:v>
                </c:pt>
                <c:pt idx="7080">
                  <c:v>0</c:v>
                </c:pt>
                <c:pt idx="7081">
                  <c:v>9</c:v>
                </c:pt>
                <c:pt idx="7082">
                  <c:v>0</c:v>
                </c:pt>
                <c:pt idx="7083">
                  <c:v>0</c:v>
                </c:pt>
                <c:pt idx="7084">
                  <c:v>10</c:v>
                </c:pt>
                <c:pt idx="7085">
                  <c:v>1</c:v>
                </c:pt>
                <c:pt idx="7086">
                  <c:v>1</c:v>
                </c:pt>
                <c:pt idx="7087">
                  <c:v>0</c:v>
                </c:pt>
                <c:pt idx="7088">
                  <c:v>0</c:v>
                </c:pt>
                <c:pt idx="7089">
                  <c:v>0</c:v>
                </c:pt>
                <c:pt idx="7090">
                  <c:v>4</c:v>
                </c:pt>
                <c:pt idx="7091">
                  <c:v>0</c:v>
                </c:pt>
                <c:pt idx="7092">
                  <c:v>9</c:v>
                </c:pt>
                <c:pt idx="7093">
                  <c:v>0</c:v>
                </c:pt>
                <c:pt idx="7094">
                  <c:v>2</c:v>
                </c:pt>
                <c:pt idx="7095">
                  <c:v>7</c:v>
                </c:pt>
                <c:pt idx="7096">
                  <c:v>8</c:v>
                </c:pt>
                <c:pt idx="7097">
                  <c:v>0</c:v>
                </c:pt>
                <c:pt idx="7098">
                  <c:v>0</c:v>
                </c:pt>
                <c:pt idx="7099">
                  <c:v>0</c:v>
                </c:pt>
                <c:pt idx="7100">
                  <c:v>0</c:v>
                </c:pt>
                <c:pt idx="7101">
                  <c:v>0</c:v>
                </c:pt>
                <c:pt idx="7102">
                  <c:v>0</c:v>
                </c:pt>
                <c:pt idx="7103">
                  <c:v>0</c:v>
                </c:pt>
                <c:pt idx="7104">
                  <c:v>9</c:v>
                </c:pt>
                <c:pt idx="7105">
                  <c:v>1</c:v>
                </c:pt>
                <c:pt idx="7106">
                  <c:v>0</c:v>
                </c:pt>
                <c:pt idx="7107">
                  <c:v>0</c:v>
                </c:pt>
                <c:pt idx="7108">
                  <c:v>0</c:v>
                </c:pt>
                <c:pt idx="7109">
                  <c:v>0</c:v>
                </c:pt>
                <c:pt idx="7110">
                  <c:v>3</c:v>
                </c:pt>
                <c:pt idx="7111">
                  <c:v>4</c:v>
                </c:pt>
                <c:pt idx="7112">
                  <c:v>0</c:v>
                </c:pt>
                <c:pt idx="7113">
                  <c:v>0</c:v>
                </c:pt>
                <c:pt idx="7114">
                  <c:v>1</c:v>
                </c:pt>
                <c:pt idx="7115">
                  <c:v>0</c:v>
                </c:pt>
                <c:pt idx="7116">
                  <c:v>1</c:v>
                </c:pt>
                <c:pt idx="7117">
                  <c:v>0</c:v>
                </c:pt>
                <c:pt idx="7118">
                  <c:v>0</c:v>
                </c:pt>
                <c:pt idx="7119">
                  <c:v>0</c:v>
                </c:pt>
                <c:pt idx="7120">
                  <c:v>0</c:v>
                </c:pt>
                <c:pt idx="7121">
                  <c:v>0</c:v>
                </c:pt>
                <c:pt idx="7122">
                  <c:v>0</c:v>
                </c:pt>
                <c:pt idx="7123">
                  <c:v>0</c:v>
                </c:pt>
                <c:pt idx="7124">
                  <c:v>0</c:v>
                </c:pt>
                <c:pt idx="7125">
                  <c:v>0</c:v>
                </c:pt>
                <c:pt idx="7126">
                  <c:v>0</c:v>
                </c:pt>
                <c:pt idx="7127">
                  <c:v>1</c:v>
                </c:pt>
                <c:pt idx="7128">
                  <c:v>0</c:v>
                </c:pt>
                <c:pt idx="7129">
                  <c:v>0</c:v>
                </c:pt>
                <c:pt idx="7130">
                  <c:v>0</c:v>
                </c:pt>
                <c:pt idx="7131">
                  <c:v>0</c:v>
                </c:pt>
                <c:pt idx="7132">
                  <c:v>0</c:v>
                </c:pt>
                <c:pt idx="7133">
                  <c:v>0</c:v>
                </c:pt>
                <c:pt idx="7134">
                  <c:v>0</c:v>
                </c:pt>
                <c:pt idx="7135">
                  <c:v>0</c:v>
                </c:pt>
                <c:pt idx="7136">
                  <c:v>0</c:v>
                </c:pt>
                <c:pt idx="7137">
                  <c:v>0</c:v>
                </c:pt>
                <c:pt idx="7138">
                  <c:v>2</c:v>
                </c:pt>
                <c:pt idx="7139">
                  <c:v>0</c:v>
                </c:pt>
                <c:pt idx="7140">
                  <c:v>0</c:v>
                </c:pt>
                <c:pt idx="7141">
                  <c:v>0</c:v>
                </c:pt>
                <c:pt idx="7142">
                  <c:v>4</c:v>
                </c:pt>
                <c:pt idx="7143">
                  <c:v>0</c:v>
                </c:pt>
                <c:pt idx="7144">
                  <c:v>0</c:v>
                </c:pt>
                <c:pt idx="7145">
                  <c:v>0</c:v>
                </c:pt>
                <c:pt idx="7146">
                  <c:v>0</c:v>
                </c:pt>
                <c:pt idx="7147">
                  <c:v>2</c:v>
                </c:pt>
                <c:pt idx="7148">
                  <c:v>0</c:v>
                </c:pt>
                <c:pt idx="7149">
                  <c:v>0</c:v>
                </c:pt>
                <c:pt idx="7150">
                  <c:v>0</c:v>
                </c:pt>
                <c:pt idx="7151">
                  <c:v>5</c:v>
                </c:pt>
                <c:pt idx="7152">
                  <c:v>0</c:v>
                </c:pt>
                <c:pt idx="7153">
                  <c:v>3</c:v>
                </c:pt>
                <c:pt idx="7154">
                  <c:v>0</c:v>
                </c:pt>
                <c:pt idx="7155">
                  <c:v>0</c:v>
                </c:pt>
                <c:pt idx="7156">
                  <c:v>0</c:v>
                </c:pt>
                <c:pt idx="7157">
                  <c:v>2</c:v>
                </c:pt>
                <c:pt idx="7158">
                  <c:v>0</c:v>
                </c:pt>
                <c:pt idx="7159">
                  <c:v>0</c:v>
                </c:pt>
                <c:pt idx="7160">
                  <c:v>2</c:v>
                </c:pt>
                <c:pt idx="7161">
                  <c:v>4</c:v>
                </c:pt>
                <c:pt idx="7162">
                  <c:v>0</c:v>
                </c:pt>
                <c:pt idx="7163">
                  <c:v>0</c:v>
                </c:pt>
                <c:pt idx="7164">
                  <c:v>0</c:v>
                </c:pt>
                <c:pt idx="7165">
                  <c:v>0</c:v>
                </c:pt>
                <c:pt idx="7166">
                  <c:v>0</c:v>
                </c:pt>
                <c:pt idx="7167">
                  <c:v>0</c:v>
                </c:pt>
                <c:pt idx="7168">
                  <c:v>0</c:v>
                </c:pt>
                <c:pt idx="7169">
                  <c:v>0</c:v>
                </c:pt>
                <c:pt idx="7170">
                  <c:v>0</c:v>
                </c:pt>
                <c:pt idx="7171">
                  <c:v>1</c:v>
                </c:pt>
                <c:pt idx="7172">
                  <c:v>0</c:v>
                </c:pt>
                <c:pt idx="7173">
                  <c:v>0</c:v>
                </c:pt>
                <c:pt idx="7174">
                  <c:v>0</c:v>
                </c:pt>
                <c:pt idx="7175">
                  <c:v>2</c:v>
                </c:pt>
                <c:pt idx="7176">
                  <c:v>0</c:v>
                </c:pt>
                <c:pt idx="7177">
                  <c:v>0</c:v>
                </c:pt>
                <c:pt idx="7178">
                  <c:v>0</c:v>
                </c:pt>
                <c:pt idx="7179">
                  <c:v>1</c:v>
                </c:pt>
                <c:pt idx="7180">
                  <c:v>0</c:v>
                </c:pt>
                <c:pt idx="7181">
                  <c:v>2</c:v>
                </c:pt>
                <c:pt idx="7182">
                  <c:v>0</c:v>
                </c:pt>
                <c:pt idx="7183">
                  <c:v>0</c:v>
                </c:pt>
                <c:pt idx="7184">
                  <c:v>0</c:v>
                </c:pt>
                <c:pt idx="7185">
                  <c:v>3</c:v>
                </c:pt>
                <c:pt idx="7186">
                  <c:v>0</c:v>
                </c:pt>
                <c:pt idx="7187">
                  <c:v>0</c:v>
                </c:pt>
                <c:pt idx="7188">
                  <c:v>0</c:v>
                </c:pt>
                <c:pt idx="7189">
                  <c:v>0</c:v>
                </c:pt>
                <c:pt idx="7190">
                  <c:v>0</c:v>
                </c:pt>
                <c:pt idx="7191">
                  <c:v>8</c:v>
                </c:pt>
                <c:pt idx="7192">
                  <c:v>0</c:v>
                </c:pt>
                <c:pt idx="7193">
                  <c:v>0</c:v>
                </c:pt>
                <c:pt idx="7194">
                  <c:v>0</c:v>
                </c:pt>
                <c:pt idx="7195">
                  <c:v>16</c:v>
                </c:pt>
                <c:pt idx="7196">
                  <c:v>0</c:v>
                </c:pt>
                <c:pt idx="7197">
                  <c:v>0</c:v>
                </c:pt>
                <c:pt idx="7198">
                  <c:v>0</c:v>
                </c:pt>
                <c:pt idx="7199">
                  <c:v>1</c:v>
                </c:pt>
                <c:pt idx="7200">
                  <c:v>0</c:v>
                </c:pt>
                <c:pt idx="7201">
                  <c:v>0</c:v>
                </c:pt>
                <c:pt idx="7202">
                  <c:v>0</c:v>
                </c:pt>
                <c:pt idx="7203">
                  <c:v>0</c:v>
                </c:pt>
                <c:pt idx="7204">
                  <c:v>1</c:v>
                </c:pt>
                <c:pt idx="7205">
                  <c:v>0</c:v>
                </c:pt>
                <c:pt idx="7206">
                  <c:v>0</c:v>
                </c:pt>
                <c:pt idx="7207">
                  <c:v>0</c:v>
                </c:pt>
                <c:pt idx="7208">
                  <c:v>0</c:v>
                </c:pt>
                <c:pt idx="7209">
                  <c:v>0</c:v>
                </c:pt>
                <c:pt idx="7210">
                  <c:v>0</c:v>
                </c:pt>
                <c:pt idx="7211">
                  <c:v>0</c:v>
                </c:pt>
                <c:pt idx="7212">
                  <c:v>0</c:v>
                </c:pt>
                <c:pt idx="7213">
                  <c:v>0</c:v>
                </c:pt>
                <c:pt idx="7214">
                  <c:v>2</c:v>
                </c:pt>
                <c:pt idx="7215">
                  <c:v>0</c:v>
                </c:pt>
                <c:pt idx="7216">
                  <c:v>0</c:v>
                </c:pt>
                <c:pt idx="7217">
                  <c:v>3</c:v>
                </c:pt>
                <c:pt idx="7218">
                  <c:v>0</c:v>
                </c:pt>
                <c:pt idx="7219">
                  <c:v>1</c:v>
                </c:pt>
                <c:pt idx="7220">
                  <c:v>1</c:v>
                </c:pt>
                <c:pt idx="7221">
                  <c:v>3</c:v>
                </c:pt>
                <c:pt idx="7222">
                  <c:v>1</c:v>
                </c:pt>
                <c:pt idx="7223">
                  <c:v>0</c:v>
                </c:pt>
                <c:pt idx="7224">
                  <c:v>0</c:v>
                </c:pt>
                <c:pt idx="7225">
                  <c:v>0</c:v>
                </c:pt>
                <c:pt idx="7226">
                  <c:v>4</c:v>
                </c:pt>
                <c:pt idx="7227">
                  <c:v>0</c:v>
                </c:pt>
                <c:pt idx="7228">
                  <c:v>0</c:v>
                </c:pt>
                <c:pt idx="7229">
                  <c:v>14</c:v>
                </c:pt>
                <c:pt idx="7230">
                  <c:v>1</c:v>
                </c:pt>
                <c:pt idx="7231">
                  <c:v>1</c:v>
                </c:pt>
                <c:pt idx="7232">
                  <c:v>2</c:v>
                </c:pt>
                <c:pt idx="7233">
                  <c:v>1</c:v>
                </c:pt>
                <c:pt idx="7234">
                  <c:v>3</c:v>
                </c:pt>
                <c:pt idx="7235">
                  <c:v>1</c:v>
                </c:pt>
                <c:pt idx="7236">
                  <c:v>3</c:v>
                </c:pt>
                <c:pt idx="7237">
                  <c:v>0</c:v>
                </c:pt>
                <c:pt idx="7238">
                  <c:v>0</c:v>
                </c:pt>
                <c:pt idx="7239">
                  <c:v>1</c:v>
                </c:pt>
                <c:pt idx="7240">
                  <c:v>1</c:v>
                </c:pt>
                <c:pt idx="7241">
                  <c:v>0</c:v>
                </c:pt>
                <c:pt idx="7242">
                  <c:v>0</c:v>
                </c:pt>
                <c:pt idx="7243">
                  <c:v>2</c:v>
                </c:pt>
                <c:pt idx="7244">
                  <c:v>0</c:v>
                </c:pt>
              </c:numCache>
            </c:numRef>
          </c:yVal>
          <c:smooth val="0"/>
          <c:extLst>
            <c:ext xmlns:c16="http://schemas.microsoft.com/office/drawing/2014/chart" uri="{C3380CC4-5D6E-409C-BE32-E72D297353CC}">
              <c16:uniqueId val="{00000000-01E2-409C-9701-C77AA901A708}"/>
            </c:ext>
          </c:extLst>
        </c:ser>
        <c:dLbls>
          <c:showLegendKey val="0"/>
          <c:showVal val="0"/>
          <c:showCatName val="0"/>
          <c:showSerName val="0"/>
          <c:showPercent val="0"/>
          <c:showBubbleSize val="0"/>
        </c:dLbls>
        <c:axId val="1713058991"/>
        <c:axId val="1728941535"/>
      </c:scatterChart>
      <c:valAx>
        <c:axId val="171305899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Popula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728941535"/>
        <c:crosses val="autoZero"/>
        <c:crossBetween val="midCat"/>
      </c:valAx>
      <c:valAx>
        <c:axId val="17289415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71305899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r>
              <a:rPr lang="en-CA" sz="1200">
                <a:latin typeface="Helvetica Neue" panose="020B0604020202020204" charset="0"/>
              </a:rPr>
              <a:t>Starbucks Stores to County GDP</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endParaRPr lang="en-US"/>
        </a:p>
      </c:txPr>
    </c:title>
    <c:autoTitleDeleted val="0"/>
    <c:plotArea>
      <c:layout/>
      <c:scatterChart>
        <c:scatterStyle val="lineMarker"/>
        <c:varyColors val="0"/>
        <c:ser>
          <c:idx val="0"/>
          <c:order val="0"/>
          <c:tx>
            <c:strRef>
              <c:f>pivot!$AG$3</c:f>
              <c:strCache>
                <c:ptCount val="1"/>
                <c:pt idx="0">
                  <c:v>Sum of Starbucks</c:v>
                </c:pt>
              </c:strCache>
            </c:strRef>
          </c:tx>
          <c:spPr>
            <a:ln w="19050" cap="rnd">
              <a:noFill/>
              <a:round/>
            </a:ln>
            <a:effectLst/>
          </c:spPr>
          <c:marker>
            <c:symbol val="circle"/>
            <c:size val="5"/>
            <c:spPr>
              <a:solidFill>
                <a:schemeClr val="accent1"/>
              </a:solidFill>
              <a:ln w="9525">
                <a:solidFill>
                  <a:schemeClr val="accent1"/>
                </a:solidFill>
              </a:ln>
              <a:effectLst/>
            </c:spPr>
          </c:marker>
          <c:xVal>
            <c:numRef>
              <c:f>pivot!$AA$4:$AA$835</c:f>
              <c:numCache>
                <c:formatCode>General</c:formatCode>
                <c:ptCount val="824"/>
                <c:pt idx="0">
                  <c:v>1209527043</c:v>
                </c:pt>
                <c:pt idx="1">
                  <c:v>299718394</c:v>
                </c:pt>
                <c:pt idx="2">
                  <c:v>368879898</c:v>
                </c:pt>
                <c:pt idx="3">
                  <c:v>22198772825</c:v>
                </c:pt>
                <c:pt idx="4">
                  <c:v>248189455</c:v>
                </c:pt>
                <c:pt idx="5">
                  <c:v>7041225360</c:v>
                </c:pt>
                <c:pt idx="6">
                  <c:v>59623995959</c:v>
                </c:pt>
                <c:pt idx="7">
                  <c:v>372994596</c:v>
                </c:pt>
                <c:pt idx="8">
                  <c:v>9515751082</c:v>
                </c:pt>
                <c:pt idx="9">
                  <c:v>4209168095</c:v>
                </c:pt>
                <c:pt idx="10">
                  <c:v>8816369421</c:v>
                </c:pt>
                <c:pt idx="11">
                  <c:v>3221167609</c:v>
                </c:pt>
                <c:pt idx="12">
                  <c:v>558538620</c:v>
                </c:pt>
                <c:pt idx="13">
                  <c:v>364190108</c:v>
                </c:pt>
                <c:pt idx="14">
                  <c:v>37182815292</c:v>
                </c:pt>
                <c:pt idx="15">
                  <c:v>3523851433</c:v>
                </c:pt>
                <c:pt idx="16">
                  <c:v>604692572</c:v>
                </c:pt>
                <c:pt idx="17">
                  <c:v>245743245</c:v>
                </c:pt>
                <c:pt idx="18">
                  <c:v>310396800</c:v>
                </c:pt>
                <c:pt idx="19">
                  <c:v>790307768</c:v>
                </c:pt>
                <c:pt idx="20">
                  <c:v>686747216</c:v>
                </c:pt>
                <c:pt idx="21">
                  <c:v>2417566892</c:v>
                </c:pt>
                <c:pt idx="22">
                  <c:v>11830716890</c:v>
                </c:pt>
                <c:pt idx="23">
                  <c:v>316621174</c:v>
                </c:pt>
                <c:pt idx="24">
                  <c:v>315076208</c:v>
                </c:pt>
                <c:pt idx="25">
                  <c:v>257595284</c:v>
                </c:pt>
                <c:pt idx="26">
                  <c:v>22563884302</c:v>
                </c:pt>
                <c:pt idx="27">
                  <c:v>449585530</c:v>
                </c:pt>
                <c:pt idx="28">
                  <c:v>122913638</c:v>
                </c:pt>
                <c:pt idx="29">
                  <c:v>13130294005</c:v>
                </c:pt>
                <c:pt idx="30">
                  <c:v>529099737</c:v>
                </c:pt>
                <c:pt idx="31">
                  <c:v>782492053</c:v>
                </c:pt>
                <c:pt idx="32">
                  <c:v>3879122874</c:v>
                </c:pt>
                <c:pt idx="33">
                  <c:v>1453240404</c:v>
                </c:pt>
                <c:pt idx="34">
                  <c:v>1929898097</c:v>
                </c:pt>
                <c:pt idx="35">
                  <c:v>879528554</c:v>
                </c:pt>
                <c:pt idx="36">
                  <c:v>8412773820</c:v>
                </c:pt>
                <c:pt idx="37">
                  <c:v>1203805898</c:v>
                </c:pt>
                <c:pt idx="38">
                  <c:v>2652003227</c:v>
                </c:pt>
                <c:pt idx="39">
                  <c:v>434819212</c:v>
                </c:pt>
                <c:pt idx="40">
                  <c:v>200543784</c:v>
                </c:pt>
                <c:pt idx="41">
                  <c:v>727055629</c:v>
                </c:pt>
                <c:pt idx="42">
                  <c:v>1162031808</c:v>
                </c:pt>
                <c:pt idx="43">
                  <c:v>192172400</c:v>
                </c:pt>
                <c:pt idx="44">
                  <c:v>8653473823</c:v>
                </c:pt>
                <c:pt idx="45">
                  <c:v>913716712</c:v>
                </c:pt>
                <c:pt idx="46">
                  <c:v>646457635</c:v>
                </c:pt>
                <c:pt idx="47">
                  <c:v>2120868072</c:v>
                </c:pt>
                <c:pt idx="48">
                  <c:v>588909444</c:v>
                </c:pt>
                <c:pt idx="49">
                  <c:v>2514786192</c:v>
                </c:pt>
                <c:pt idx="50">
                  <c:v>216829860</c:v>
                </c:pt>
                <c:pt idx="51">
                  <c:v>6924466701</c:v>
                </c:pt>
                <c:pt idx="52">
                  <c:v>761050207</c:v>
                </c:pt>
                <c:pt idx="53">
                  <c:v>3145390091</c:v>
                </c:pt>
                <c:pt idx="54">
                  <c:v>701310804</c:v>
                </c:pt>
                <c:pt idx="55">
                  <c:v>3064349945</c:v>
                </c:pt>
                <c:pt idx="56">
                  <c:v>345560212</c:v>
                </c:pt>
                <c:pt idx="57">
                  <c:v>910964767</c:v>
                </c:pt>
                <c:pt idx="58">
                  <c:v>1038536542</c:v>
                </c:pt>
                <c:pt idx="59">
                  <c:v>367599708</c:v>
                </c:pt>
                <c:pt idx="60">
                  <c:v>7659140200</c:v>
                </c:pt>
                <c:pt idx="61">
                  <c:v>46263308</c:v>
                </c:pt>
                <c:pt idx="62">
                  <c:v>46091929885</c:v>
                </c:pt>
                <c:pt idx="63">
                  <c:v>12990568986</c:v>
                </c:pt>
                <c:pt idx="64">
                  <c:v>3957295858</c:v>
                </c:pt>
                <c:pt idx="65">
                  <c:v>5013829668</c:v>
                </c:pt>
                <c:pt idx="66">
                  <c:v>3785442730</c:v>
                </c:pt>
                <c:pt idx="67">
                  <c:v>85445204</c:v>
                </c:pt>
                <c:pt idx="68">
                  <c:v>2805252082</c:v>
                </c:pt>
                <c:pt idx="69">
                  <c:v>40286820</c:v>
                </c:pt>
                <c:pt idx="70">
                  <c:v>248894126</c:v>
                </c:pt>
                <c:pt idx="71">
                  <c:v>1504472585</c:v>
                </c:pt>
                <c:pt idx="72">
                  <c:v>264416928</c:v>
                </c:pt>
                <c:pt idx="73">
                  <c:v>4935972602</c:v>
                </c:pt>
                <c:pt idx="74">
                  <c:v>2732681123</c:v>
                </c:pt>
                <c:pt idx="75">
                  <c:v>427168780</c:v>
                </c:pt>
                <c:pt idx="76">
                  <c:v>12563972096</c:v>
                </c:pt>
                <c:pt idx="77">
                  <c:v>551036703</c:v>
                </c:pt>
                <c:pt idx="78">
                  <c:v>370715178</c:v>
                </c:pt>
                <c:pt idx="79">
                  <c:v>1330302249</c:v>
                </c:pt>
                <c:pt idx="80">
                  <c:v>684373599</c:v>
                </c:pt>
                <c:pt idx="81">
                  <c:v>1359389987</c:v>
                </c:pt>
                <c:pt idx="82">
                  <c:v>982276426</c:v>
                </c:pt>
                <c:pt idx="83">
                  <c:v>211537368</c:v>
                </c:pt>
                <c:pt idx="84">
                  <c:v>201841937</c:v>
                </c:pt>
                <c:pt idx="85">
                  <c:v>17308027347</c:v>
                </c:pt>
                <c:pt idx="86">
                  <c:v>21548675914</c:v>
                </c:pt>
                <c:pt idx="87">
                  <c:v>32619353028</c:v>
                </c:pt>
                <c:pt idx="88">
                  <c:v>211546470</c:v>
                </c:pt>
                <c:pt idx="89">
                  <c:v>5101179838</c:v>
                </c:pt>
                <c:pt idx="90">
                  <c:v>3782731924</c:v>
                </c:pt>
                <c:pt idx="91">
                  <c:v>66832782368</c:v>
                </c:pt>
                <c:pt idx="92">
                  <c:v>9754189529</c:v>
                </c:pt>
                <c:pt idx="93">
                  <c:v>10988107</c:v>
                </c:pt>
                <c:pt idx="94">
                  <c:v>1471298837</c:v>
                </c:pt>
                <c:pt idx="95">
                  <c:v>200193096</c:v>
                </c:pt>
                <c:pt idx="96">
                  <c:v>129403300</c:v>
                </c:pt>
                <c:pt idx="97">
                  <c:v>27171608913</c:v>
                </c:pt>
                <c:pt idx="98">
                  <c:v>1960658798</c:v>
                </c:pt>
                <c:pt idx="99">
                  <c:v>1520376625</c:v>
                </c:pt>
                <c:pt idx="100">
                  <c:v>550231211</c:v>
                </c:pt>
                <c:pt idx="101">
                  <c:v>428974156</c:v>
                </c:pt>
                <c:pt idx="102">
                  <c:v>18657521177</c:v>
                </c:pt>
                <c:pt idx="103">
                  <c:v>16870427529</c:v>
                </c:pt>
                <c:pt idx="104">
                  <c:v>6353237246</c:v>
                </c:pt>
                <c:pt idx="105">
                  <c:v>634204116</c:v>
                </c:pt>
                <c:pt idx="106">
                  <c:v>2060004295</c:v>
                </c:pt>
                <c:pt idx="107">
                  <c:v>4246245182</c:v>
                </c:pt>
                <c:pt idx="108">
                  <c:v>651531842</c:v>
                </c:pt>
                <c:pt idx="109">
                  <c:v>4972162240</c:v>
                </c:pt>
                <c:pt idx="110">
                  <c:v>525846455</c:v>
                </c:pt>
                <c:pt idx="111">
                  <c:v>3560567096</c:v>
                </c:pt>
                <c:pt idx="112">
                  <c:v>729982050</c:v>
                </c:pt>
                <c:pt idx="113">
                  <c:v>2010953641</c:v>
                </c:pt>
                <c:pt idx="114">
                  <c:v>1988700142</c:v>
                </c:pt>
                <c:pt idx="115">
                  <c:v>19754188780</c:v>
                </c:pt>
                <c:pt idx="116">
                  <c:v>3080429021</c:v>
                </c:pt>
                <c:pt idx="117">
                  <c:v>215892905</c:v>
                </c:pt>
                <c:pt idx="118">
                  <c:v>3345709284</c:v>
                </c:pt>
                <c:pt idx="119">
                  <c:v>1922263365</c:v>
                </c:pt>
                <c:pt idx="120">
                  <c:v>610169149</c:v>
                </c:pt>
                <c:pt idx="121">
                  <c:v>935980019</c:v>
                </c:pt>
                <c:pt idx="122">
                  <c:v>4783390167</c:v>
                </c:pt>
                <c:pt idx="123">
                  <c:v>539534507</c:v>
                </c:pt>
                <c:pt idx="124">
                  <c:v>3349793875</c:v>
                </c:pt>
                <c:pt idx="125">
                  <c:v>180235510</c:v>
                </c:pt>
                <c:pt idx="126">
                  <c:v>1290825578</c:v>
                </c:pt>
                <c:pt idx="127">
                  <c:v>1552373232</c:v>
                </c:pt>
                <c:pt idx="128">
                  <c:v>1013255838</c:v>
                </c:pt>
                <c:pt idx="129">
                  <c:v>1921895456</c:v>
                </c:pt>
                <c:pt idx="130">
                  <c:v>3463750572</c:v>
                </c:pt>
                <c:pt idx="131">
                  <c:v>340711323</c:v>
                </c:pt>
                <c:pt idx="132">
                  <c:v>5794760301</c:v>
                </c:pt>
                <c:pt idx="133">
                  <c:v>923805139</c:v>
                </c:pt>
                <c:pt idx="134">
                  <c:v>3418550106</c:v>
                </c:pt>
                <c:pt idx="135">
                  <c:v>185134320</c:v>
                </c:pt>
                <c:pt idx="136">
                  <c:v>8782439481</c:v>
                </c:pt>
                <c:pt idx="137">
                  <c:v>291544038</c:v>
                </c:pt>
                <c:pt idx="138">
                  <c:v>1864971476</c:v>
                </c:pt>
                <c:pt idx="139">
                  <c:v>520140423</c:v>
                </c:pt>
                <c:pt idx="140">
                  <c:v>1775412436</c:v>
                </c:pt>
                <c:pt idx="141">
                  <c:v>1740998994</c:v>
                </c:pt>
                <c:pt idx="142">
                  <c:v>551576004</c:v>
                </c:pt>
                <c:pt idx="143">
                  <c:v>10028739602</c:v>
                </c:pt>
                <c:pt idx="144">
                  <c:v>8448516480</c:v>
                </c:pt>
                <c:pt idx="145">
                  <c:v>24586155985</c:v>
                </c:pt>
                <c:pt idx="146">
                  <c:v>13516264587</c:v>
                </c:pt>
                <c:pt idx="147">
                  <c:v>2334186677</c:v>
                </c:pt>
                <c:pt idx="148">
                  <c:v>1132525611</c:v>
                </c:pt>
                <c:pt idx="149">
                  <c:v>1903226869</c:v>
                </c:pt>
                <c:pt idx="150">
                  <c:v>2057247455</c:v>
                </c:pt>
                <c:pt idx="151">
                  <c:v>16271695016</c:v>
                </c:pt>
                <c:pt idx="152">
                  <c:v>114211650</c:v>
                </c:pt>
                <c:pt idx="153">
                  <c:v>1213204692</c:v>
                </c:pt>
                <c:pt idx="154">
                  <c:v>496170171</c:v>
                </c:pt>
                <c:pt idx="155">
                  <c:v>212148674</c:v>
                </c:pt>
                <c:pt idx="156">
                  <c:v>19789974221</c:v>
                </c:pt>
                <c:pt idx="157">
                  <c:v>3849811423</c:v>
                </c:pt>
                <c:pt idx="158">
                  <c:v>585769057</c:v>
                </c:pt>
                <c:pt idx="159">
                  <c:v>7156923617</c:v>
                </c:pt>
                <c:pt idx="160">
                  <c:v>4242713046</c:v>
                </c:pt>
                <c:pt idx="161">
                  <c:v>1858369857</c:v>
                </c:pt>
                <c:pt idx="162">
                  <c:v>974778211</c:v>
                </c:pt>
                <c:pt idx="163">
                  <c:v>7374952819</c:v>
                </c:pt>
                <c:pt idx="164">
                  <c:v>5795736754</c:v>
                </c:pt>
                <c:pt idx="165">
                  <c:v>29077430332</c:v>
                </c:pt>
                <c:pt idx="166">
                  <c:v>605304010</c:v>
                </c:pt>
                <c:pt idx="167">
                  <c:v>1283587818</c:v>
                </c:pt>
                <c:pt idx="168">
                  <c:v>15824231075</c:v>
                </c:pt>
                <c:pt idx="169">
                  <c:v>483205176</c:v>
                </c:pt>
                <c:pt idx="170">
                  <c:v>9775000373</c:v>
                </c:pt>
                <c:pt idx="171">
                  <c:v>2298559190</c:v>
                </c:pt>
                <c:pt idx="172">
                  <c:v>398358904</c:v>
                </c:pt>
                <c:pt idx="173">
                  <c:v>49866361702</c:v>
                </c:pt>
                <c:pt idx="174">
                  <c:v>1365560540</c:v>
                </c:pt>
                <c:pt idx="175">
                  <c:v>1141793972</c:v>
                </c:pt>
                <c:pt idx="176">
                  <c:v>462517083</c:v>
                </c:pt>
                <c:pt idx="177">
                  <c:v>192423000</c:v>
                </c:pt>
                <c:pt idx="178">
                  <c:v>5211447371</c:v>
                </c:pt>
                <c:pt idx="179">
                  <c:v>3142964192</c:v>
                </c:pt>
                <c:pt idx="180">
                  <c:v>2311032033</c:v>
                </c:pt>
                <c:pt idx="181">
                  <c:v>469377062</c:v>
                </c:pt>
                <c:pt idx="182">
                  <c:v>192917999</c:v>
                </c:pt>
                <c:pt idx="183">
                  <c:v>612557520</c:v>
                </c:pt>
                <c:pt idx="184">
                  <c:v>1202536296</c:v>
                </c:pt>
                <c:pt idx="185">
                  <c:v>1268257100</c:v>
                </c:pt>
                <c:pt idx="186">
                  <c:v>24416918065</c:v>
                </c:pt>
                <c:pt idx="187">
                  <c:v>517924108</c:v>
                </c:pt>
                <c:pt idx="188">
                  <c:v>41619748897</c:v>
                </c:pt>
                <c:pt idx="189">
                  <c:v>217219350</c:v>
                </c:pt>
                <c:pt idx="190">
                  <c:v>17218270114</c:v>
                </c:pt>
                <c:pt idx="191">
                  <c:v>22343601496</c:v>
                </c:pt>
                <c:pt idx="192">
                  <c:v>624755880</c:v>
                </c:pt>
                <c:pt idx="193">
                  <c:v>8313858252</c:v>
                </c:pt>
                <c:pt idx="194">
                  <c:v>2689303891</c:v>
                </c:pt>
                <c:pt idx="195">
                  <c:v>10138679298</c:v>
                </c:pt>
                <c:pt idx="196">
                  <c:v>1050426836</c:v>
                </c:pt>
                <c:pt idx="197">
                  <c:v>241092897</c:v>
                </c:pt>
                <c:pt idx="198">
                  <c:v>287580678</c:v>
                </c:pt>
                <c:pt idx="199">
                  <c:v>210113800</c:v>
                </c:pt>
                <c:pt idx="200">
                  <c:v>1092156890</c:v>
                </c:pt>
                <c:pt idx="201">
                  <c:v>29047263886</c:v>
                </c:pt>
                <c:pt idx="202">
                  <c:v>32251421111</c:v>
                </c:pt>
                <c:pt idx="203">
                  <c:v>1240406082</c:v>
                </c:pt>
                <c:pt idx="204">
                  <c:v>34648496786</c:v>
                </c:pt>
                <c:pt idx="205">
                  <c:v>3990086027</c:v>
                </c:pt>
                <c:pt idx="206">
                  <c:v>476040222</c:v>
                </c:pt>
                <c:pt idx="207">
                  <c:v>131213544</c:v>
                </c:pt>
                <c:pt idx="208">
                  <c:v>226896746</c:v>
                </c:pt>
                <c:pt idx="209">
                  <c:v>1155736247</c:v>
                </c:pt>
                <c:pt idx="210">
                  <c:v>31998169530</c:v>
                </c:pt>
                <c:pt idx="211">
                  <c:v>339931725</c:v>
                </c:pt>
                <c:pt idx="212">
                  <c:v>1797621516</c:v>
                </c:pt>
                <c:pt idx="213">
                  <c:v>122183061</c:v>
                </c:pt>
                <c:pt idx="214">
                  <c:v>694649358</c:v>
                </c:pt>
                <c:pt idx="215">
                  <c:v>2205148264</c:v>
                </c:pt>
                <c:pt idx="216">
                  <c:v>21591918153</c:v>
                </c:pt>
                <c:pt idx="217">
                  <c:v>334777392</c:v>
                </c:pt>
                <c:pt idx="218">
                  <c:v>900448136</c:v>
                </c:pt>
                <c:pt idx="219">
                  <c:v>47267557215</c:v>
                </c:pt>
                <c:pt idx="220">
                  <c:v>10815585752</c:v>
                </c:pt>
                <c:pt idx="221">
                  <c:v>29988691288</c:v>
                </c:pt>
                <c:pt idx="222">
                  <c:v>1658032114</c:v>
                </c:pt>
                <c:pt idx="223">
                  <c:v>170605674</c:v>
                </c:pt>
                <c:pt idx="224">
                  <c:v>13802182109</c:v>
                </c:pt>
                <c:pt idx="225">
                  <c:v>166097525</c:v>
                </c:pt>
                <c:pt idx="226">
                  <c:v>3479995030</c:v>
                </c:pt>
                <c:pt idx="227">
                  <c:v>2862903626</c:v>
                </c:pt>
                <c:pt idx="228">
                  <c:v>335575385</c:v>
                </c:pt>
                <c:pt idx="229">
                  <c:v>92185472</c:v>
                </c:pt>
                <c:pt idx="230">
                  <c:v>1605834595</c:v>
                </c:pt>
                <c:pt idx="231">
                  <c:v>6709374748</c:v>
                </c:pt>
                <c:pt idx="232">
                  <c:v>20949498121</c:v>
                </c:pt>
                <c:pt idx="233">
                  <c:v>993116355</c:v>
                </c:pt>
                <c:pt idx="234">
                  <c:v>415248033</c:v>
                </c:pt>
                <c:pt idx="235">
                  <c:v>60452570</c:v>
                </c:pt>
                <c:pt idx="236">
                  <c:v>296290750</c:v>
                </c:pt>
                <c:pt idx="237">
                  <c:v>741828536</c:v>
                </c:pt>
                <c:pt idx="238">
                  <c:v>35912695838</c:v>
                </c:pt>
                <c:pt idx="239">
                  <c:v>8770981340</c:v>
                </c:pt>
                <c:pt idx="240">
                  <c:v>65944740941</c:v>
                </c:pt>
                <c:pt idx="241">
                  <c:v>244574070</c:v>
                </c:pt>
                <c:pt idx="242">
                  <c:v>384762510</c:v>
                </c:pt>
                <c:pt idx="243">
                  <c:v>243664090</c:v>
                </c:pt>
                <c:pt idx="244">
                  <c:v>60442827560</c:v>
                </c:pt>
                <c:pt idx="245">
                  <c:v>5081889968</c:v>
                </c:pt>
                <c:pt idx="246">
                  <c:v>1396060754</c:v>
                </c:pt>
                <c:pt idx="247">
                  <c:v>518840614</c:v>
                </c:pt>
                <c:pt idx="248">
                  <c:v>144590446</c:v>
                </c:pt>
                <c:pt idx="249">
                  <c:v>2467340158</c:v>
                </c:pt>
                <c:pt idx="250">
                  <c:v>19184379965</c:v>
                </c:pt>
                <c:pt idx="251">
                  <c:v>3445341134</c:v>
                </c:pt>
                <c:pt idx="252">
                  <c:v>187249568</c:v>
                </c:pt>
                <c:pt idx="253">
                  <c:v>2382585089</c:v>
                </c:pt>
                <c:pt idx="254">
                  <c:v>973981462</c:v>
                </c:pt>
                <c:pt idx="255">
                  <c:v>2777659626</c:v>
                </c:pt>
                <c:pt idx="256">
                  <c:v>144699096</c:v>
                </c:pt>
                <c:pt idx="257">
                  <c:v>5624493905</c:v>
                </c:pt>
                <c:pt idx="258">
                  <c:v>54810335797</c:v>
                </c:pt>
                <c:pt idx="259">
                  <c:v>2927043662</c:v>
                </c:pt>
                <c:pt idx="260">
                  <c:v>1119326208</c:v>
                </c:pt>
                <c:pt idx="261">
                  <c:v>656199042</c:v>
                </c:pt>
                <c:pt idx="262">
                  <c:v>791783616</c:v>
                </c:pt>
                <c:pt idx="263">
                  <c:v>21176420448</c:v>
                </c:pt>
                <c:pt idx="264">
                  <c:v>49945327442</c:v>
                </c:pt>
                <c:pt idx="265">
                  <c:v>383730136</c:v>
                </c:pt>
                <c:pt idx="266">
                  <c:v>50932614</c:v>
                </c:pt>
                <c:pt idx="267">
                  <c:v>390202920</c:v>
                </c:pt>
                <c:pt idx="268">
                  <c:v>1154330507</c:v>
                </c:pt>
                <c:pt idx="269">
                  <c:v>409039575</c:v>
                </c:pt>
                <c:pt idx="270">
                  <c:v>3213434738</c:v>
                </c:pt>
                <c:pt idx="271">
                  <c:v>11427650108</c:v>
                </c:pt>
                <c:pt idx="272">
                  <c:v>265113810</c:v>
                </c:pt>
                <c:pt idx="273">
                  <c:v>593652969</c:v>
                </c:pt>
                <c:pt idx="274">
                  <c:v>323199777</c:v>
                </c:pt>
                <c:pt idx="275">
                  <c:v>666658223</c:v>
                </c:pt>
                <c:pt idx="276">
                  <c:v>436952505</c:v>
                </c:pt>
                <c:pt idx="277">
                  <c:v>601514790</c:v>
                </c:pt>
                <c:pt idx="278">
                  <c:v>10530125592</c:v>
                </c:pt>
                <c:pt idx="279">
                  <c:v>2072371714</c:v>
                </c:pt>
                <c:pt idx="280">
                  <c:v>216802528</c:v>
                </c:pt>
                <c:pt idx="281">
                  <c:v>1835838020</c:v>
                </c:pt>
                <c:pt idx="282">
                  <c:v>1176159678</c:v>
                </c:pt>
                <c:pt idx="283">
                  <c:v>1200704375</c:v>
                </c:pt>
                <c:pt idx="284">
                  <c:v>474811994</c:v>
                </c:pt>
                <c:pt idx="285">
                  <c:v>502839508</c:v>
                </c:pt>
                <c:pt idx="286">
                  <c:v>700257049</c:v>
                </c:pt>
                <c:pt idx="287">
                  <c:v>3205529138</c:v>
                </c:pt>
                <c:pt idx="288">
                  <c:v>658597329</c:v>
                </c:pt>
                <c:pt idx="289">
                  <c:v>581624414</c:v>
                </c:pt>
                <c:pt idx="290">
                  <c:v>1067068079</c:v>
                </c:pt>
                <c:pt idx="291">
                  <c:v>844111952</c:v>
                </c:pt>
                <c:pt idx="292">
                  <c:v>724997494</c:v>
                </c:pt>
                <c:pt idx="293">
                  <c:v>8121064306</c:v>
                </c:pt>
                <c:pt idx="294">
                  <c:v>332901690</c:v>
                </c:pt>
                <c:pt idx="295">
                  <c:v>661017913</c:v>
                </c:pt>
                <c:pt idx="296">
                  <c:v>1156057910</c:v>
                </c:pt>
                <c:pt idx="297">
                  <c:v>632272452</c:v>
                </c:pt>
                <c:pt idx="298">
                  <c:v>331289200</c:v>
                </c:pt>
                <c:pt idx="299">
                  <c:v>296346616</c:v>
                </c:pt>
                <c:pt idx="300">
                  <c:v>24571662061</c:v>
                </c:pt>
                <c:pt idx="301">
                  <c:v>277171950</c:v>
                </c:pt>
                <c:pt idx="302">
                  <c:v>483028245</c:v>
                </c:pt>
                <c:pt idx="303">
                  <c:v>4955332589</c:v>
                </c:pt>
                <c:pt idx="304">
                  <c:v>27662595372</c:v>
                </c:pt>
                <c:pt idx="305">
                  <c:v>14342654337</c:v>
                </c:pt>
                <c:pt idx="306">
                  <c:v>4451916358</c:v>
                </c:pt>
                <c:pt idx="307">
                  <c:v>3813909566</c:v>
                </c:pt>
                <c:pt idx="308">
                  <c:v>2918969907</c:v>
                </c:pt>
                <c:pt idx="309">
                  <c:v>4499375620</c:v>
                </c:pt>
                <c:pt idx="310">
                  <c:v>433021293</c:v>
                </c:pt>
                <c:pt idx="311">
                  <c:v>330295988</c:v>
                </c:pt>
                <c:pt idx="312">
                  <c:v>3006540370</c:v>
                </c:pt>
                <c:pt idx="313">
                  <c:v>84990924</c:v>
                </c:pt>
                <c:pt idx="314">
                  <c:v>90819872</c:v>
                </c:pt>
                <c:pt idx="315">
                  <c:v>582765113</c:v>
                </c:pt>
                <c:pt idx="316">
                  <c:v>671614119</c:v>
                </c:pt>
                <c:pt idx="317">
                  <c:v>2932279930</c:v>
                </c:pt>
                <c:pt idx="318">
                  <c:v>1004232036</c:v>
                </c:pt>
                <c:pt idx="319">
                  <c:v>414456792</c:v>
                </c:pt>
                <c:pt idx="320">
                  <c:v>53326417346</c:v>
                </c:pt>
                <c:pt idx="321">
                  <c:v>10522748706</c:v>
                </c:pt>
                <c:pt idx="322">
                  <c:v>10452161486</c:v>
                </c:pt>
                <c:pt idx="323">
                  <c:v>789955559</c:v>
                </c:pt>
                <c:pt idx="324">
                  <c:v>4953667451</c:v>
                </c:pt>
                <c:pt idx="325">
                  <c:v>767979556</c:v>
                </c:pt>
                <c:pt idx="326">
                  <c:v>2208052351</c:v>
                </c:pt>
                <c:pt idx="327">
                  <c:v>46134578802</c:v>
                </c:pt>
                <c:pt idx="328">
                  <c:v>522964678</c:v>
                </c:pt>
                <c:pt idx="329">
                  <c:v>660441780</c:v>
                </c:pt>
                <c:pt idx="330">
                  <c:v>767012015</c:v>
                </c:pt>
                <c:pt idx="331">
                  <c:v>34417175697</c:v>
                </c:pt>
                <c:pt idx="332">
                  <c:v>667504836</c:v>
                </c:pt>
                <c:pt idx="333">
                  <c:v>198689715</c:v>
                </c:pt>
                <c:pt idx="334">
                  <c:v>3216981708</c:v>
                </c:pt>
                <c:pt idx="335">
                  <c:v>328572032</c:v>
                </c:pt>
                <c:pt idx="336">
                  <c:v>25500574570</c:v>
                </c:pt>
                <c:pt idx="337">
                  <c:v>77680875</c:v>
                </c:pt>
                <c:pt idx="338">
                  <c:v>3066277789</c:v>
                </c:pt>
                <c:pt idx="339">
                  <c:v>4704489051</c:v>
                </c:pt>
                <c:pt idx="340">
                  <c:v>521369022</c:v>
                </c:pt>
                <c:pt idx="341">
                  <c:v>1812936306</c:v>
                </c:pt>
                <c:pt idx="342">
                  <c:v>854005724</c:v>
                </c:pt>
                <c:pt idx="343">
                  <c:v>425911084</c:v>
                </c:pt>
                <c:pt idx="344">
                  <c:v>2029775857</c:v>
                </c:pt>
                <c:pt idx="345">
                  <c:v>5291252119</c:v>
                </c:pt>
                <c:pt idx="346">
                  <c:v>1202819130</c:v>
                </c:pt>
                <c:pt idx="347">
                  <c:v>8735642932</c:v>
                </c:pt>
                <c:pt idx="348">
                  <c:v>38319222</c:v>
                </c:pt>
                <c:pt idx="349">
                  <c:v>905102954</c:v>
                </c:pt>
                <c:pt idx="350">
                  <c:v>257870969</c:v>
                </c:pt>
                <c:pt idx="351">
                  <c:v>819313128</c:v>
                </c:pt>
                <c:pt idx="352">
                  <c:v>279360354</c:v>
                </c:pt>
                <c:pt idx="353">
                  <c:v>1264369200</c:v>
                </c:pt>
                <c:pt idx="354">
                  <c:v>1013975844</c:v>
                </c:pt>
                <c:pt idx="355">
                  <c:v>1353544757</c:v>
                </c:pt>
                <c:pt idx="356">
                  <c:v>1214226933</c:v>
                </c:pt>
                <c:pt idx="357">
                  <c:v>644827694</c:v>
                </c:pt>
                <c:pt idx="358">
                  <c:v>15142742512</c:v>
                </c:pt>
                <c:pt idx="359">
                  <c:v>4388883959</c:v>
                </c:pt>
                <c:pt idx="360">
                  <c:v>282256800</c:v>
                </c:pt>
                <c:pt idx="361">
                  <c:v>72054459637</c:v>
                </c:pt>
                <c:pt idx="362">
                  <c:v>432140292</c:v>
                </c:pt>
                <c:pt idx="363">
                  <c:v>141941902</c:v>
                </c:pt>
                <c:pt idx="364">
                  <c:v>402856720</c:v>
                </c:pt>
                <c:pt idx="365">
                  <c:v>1586507540</c:v>
                </c:pt>
                <c:pt idx="366">
                  <c:v>406351686</c:v>
                </c:pt>
                <c:pt idx="367">
                  <c:v>214591046</c:v>
                </c:pt>
                <c:pt idx="368">
                  <c:v>1054074917</c:v>
                </c:pt>
                <c:pt idx="369">
                  <c:v>2173423823</c:v>
                </c:pt>
                <c:pt idx="370">
                  <c:v>384894961</c:v>
                </c:pt>
                <c:pt idx="371">
                  <c:v>220089584</c:v>
                </c:pt>
                <c:pt idx="372">
                  <c:v>7883133412</c:v>
                </c:pt>
                <c:pt idx="373">
                  <c:v>202307525</c:v>
                </c:pt>
                <c:pt idx="374">
                  <c:v>288029115</c:v>
                </c:pt>
                <c:pt idx="375">
                  <c:v>654663072</c:v>
                </c:pt>
                <c:pt idx="376">
                  <c:v>18885412894</c:v>
                </c:pt>
                <c:pt idx="377">
                  <c:v>2462121023</c:v>
                </c:pt>
                <c:pt idx="378">
                  <c:v>1455156312</c:v>
                </c:pt>
                <c:pt idx="379">
                  <c:v>4807632414</c:v>
                </c:pt>
                <c:pt idx="380">
                  <c:v>2384905943</c:v>
                </c:pt>
                <c:pt idx="381">
                  <c:v>4687859087</c:v>
                </c:pt>
                <c:pt idx="382">
                  <c:v>22049724902</c:v>
                </c:pt>
                <c:pt idx="383">
                  <c:v>5556880288</c:v>
                </c:pt>
                <c:pt idx="384">
                  <c:v>15238439894</c:v>
                </c:pt>
                <c:pt idx="385">
                  <c:v>257003768</c:v>
                </c:pt>
                <c:pt idx="386">
                  <c:v>1048240128</c:v>
                </c:pt>
                <c:pt idx="387">
                  <c:v>78030055150</c:v>
                </c:pt>
                <c:pt idx="388">
                  <c:v>158210010</c:v>
                </c:pt>
                <c:pt idx="389">
                  <c:v>10454991757</c:v>
                </c:pt>
                <c:pt idx="390">
                  <c:v>1362678285</c:v>
                </c:pt>
                <c:pt idx="391">
                  <c:v>823354056</c:v>
                </c:pt>
                <c:pt idx="392">
                  <c:v>215470080</c:v>
                </c:pt>
                <c:pt idx="393">
                  <c:v>2272346871</c:v>
                </c:pt>
                <c:pt idx="394">
                  <c:v>3156168442</c:v>
                </c:pt>
                <c:pt idx="395">
                  <c:v>1547074176</c:v>
                </c:pt>
                <c:pt idx="396">
                  <c:v>5206113936</c:v>
                </c:pt>
                <c:pt idx="397">
                  <c:v>8282033806</c:v>
                </c:pt>
                <c:pt idx="398">
                  <c:v>2228175409</c:v>
                </c:pt>
                <c:pt idx="399">
                  <c:v>48130990893</c:v>
                </c:pt>
                <c:pt idx="400">
                  <c:v>77254102</c:v>
                </c:pt>
                <c:pt idx="401">
                  <c:v>352718595</c:v>
                </c:pt>
                <c:pt idx="402">
                  <c:v>14469021105</c:v>
                </c:pt>
                <c:pt idx="403">
                  <c:v>11120557129</c:v>
                </c:pt>
                <c:pt idx="404">
                  <c:v>377667722</c:v>
                </c:pt>
                <c:pt idx="405">
                  <c:v>118145763</c:v>
                </c:pt>
                <c:pt idx="406">
                  <c:v>1770323056</c:v>
                </c:pt>
                <c:pt idx="407">
                  <c:v>12040940807</c:v>
                </c:pt>
                <c:pt idx="408">
                  <c:v>234102456</c:v>
                </c:pt>
                <c:pt idx="409">
                  <c:v>318608136</c:v>
                </c:pt>
                <c:pt idx="410">
                  <c:v>2691917930</c:v>
                </c:pt>
                <c:pt idx="411">
                  <c:v>390450903</c:v>
                </c:pt>
                <c:pt idx="412">
                  <c:v>1046526499</c:v>
                </c:pt>
                <c:pt idx="413">
                  <c:v>666407104</c:v>
                </c:pt>
                <c:pt idx="414">
                  <c:v>3112407590</c:v>
                </c:pt>
                <c:pt idx="415">
                  <c:v>526934860</c:v>
                </c:pt>
                <c:pt idx="416">
                  <c:v>3790432994</c:v>
                </c:pt>
                <c:pt idx="417">
                  <c:v>21428154995</c:v>
                </c:pt>
                <c:pt idx="418">
                  <c:v>10531939838</c:v>
                </c:pt>
                <c:pt idx="419">
                  <c:v>1951171811</c:v>
                </c:pt>
                <c:pt idx="420">
                  <c:v>7253089723</c:v>
                </c:pt>
                <c:pt idx="421">
                  <c:v>178706816</c:v>
                </c:pt>
                <c:pt idx="422">
                  <c:v>638005358</c:v>
                </c:pt>
                <c:pt idx="423">
                  <c:v>1929805499</c:v>
                </c:pt>
                <c:pt idx="424">
                  <c:v>1228531448</c:v>
                </c:pt>
                <c:pt idx="425">
                  <c:v>4497060548</c:v>
                </c:pt>
                <c:pt idx="426">
                  <c:v>2948310055</c:v>
                </c:pt>
                <c:pt idx="427">
                  <c:v>3391635564</c:v>
                </c:pt>
                <c:pt idx="428">
                  <c:v>10964929149</c:v>
                </c:pt>
                <c:pt idx="429">
                  <c:v>2006141225</c:v>
                </c:pt>
                <c:pt idx="430">
                  <c:v>9212160287</c:v>
                </c:pt>
                <c:pt idx="431">
                  <c:v>14415922845</c:v>
                </c:pt>
                <c:pt idx="432">
                  <c:v>447451306</c:v>
                </c:pt>
                <c:pt idx="433">
                  <c:v>2047222889</c:v>
                </c:pt>
                <c:pt idx="434">
                  <c:v>11415482602</c:v>
                </c:pt>
                <c:pt idx="435">
                  <c:v>106428985</c:v>
                </c:pt>
                <c:pt idx="436">
                  <c:v>811250640</c:v>
                </c:pt>
                <c:pt idx="437">
                  <c:v>7315113787</c:v>
                </c:pt>
                <c:pt idx="438">
                  <c:v>1069583681</c:v>
                </c:pt>
                <c:pt idx="439">
                  <c:v>1206275392</c:v>
                </c:pt>
                <c:pt idx="440">
                  <c:v>640884231</c:v>
                </c:pt>
                <c:pt idx="441">
                  <c:v>31415008</c:v>
                </c:pt>
                <c:pt idx="442">
                  <c:v>27880529239</c:v>
                </c:pt>
                <c:pt idx="443">
                  <c:v>2335143626</c:v>
                </c:pt>
                <c:pt idx="444">
                  <c:v>221950209</c:v>
                </c:pt>
                <c:pt idx="445">
                  <c:v>2238368358</c:v>
                </c:pt>
                <c:pt idx="446">
                  <c:v>14004489035</c:v>
                </c:pt>
                <c:pt idx="447">
                  <c:v>208006344</c:v>
                </c:pt>
                <c:pt idx="448">
                  <c:v>5030640002</c:v>
                </c:pt>
                <c:pt idx="449">
                  <c:v>360480140</c:v>
                </c:pt>
                <c:pt idx="450">
                  <c:v>1862833887</c:v>
                </c:pt>
                <c:pt idx="451">
                  <c:v>11822353170</c:v>
                </c:pt>
                <c:pt idx="452">
                  <c:v>413487942</c:v>
                </c:pt>
                <c:pt idx="453">
                  <c:v>1503233356</c:v>
                </c:pt>
                <c:pt idx="454">
                  <c:v>2868041961</c:v>
                </c:pt>
                <c:pt idx="455">
                  <c:v>13784182205</c:v>
                </c:pt>
                <c:pt idx="456">
                  <c:v>658840705</c:v>
                </c:pt>
                <c:pt idx="457">
                  <c:v>16200862482</c:v>
                </c:pt>
                <c:pt idx="458">
                  <c:v>18404244</c:v>
                </c:pt>
                <c:pt idx="459">
                  <c:v>1675635201</c:v>
                </c:pt>
                <c:pt idx="460">
                  <c:v>807841098</c:v>
                </c:pt>
                <c:pt idx="461">
                  <c:v>6723678674</c:v>
                </c:pt>
                <c:pt idx="462">
                  <c:v>2596301583</c:v>
                </c:pt>
                <c:pt idx="463">
                  <c:v>284288535</c:v>
                </c:pt>
                <c:pt idx="464">
                  <c:v>4946742987</c:v>
                </c:pt>
                <c:pt idx="465">
                  <c:v>1849149328</c:v>
                </c:pt>
                <c:pt idx="466">
                  <c:v>56977440</c:v>
                </c:pt>
                <c:pt idx="467">
                  <c:v>450585129</c:v>
                </c:pt>
                <c:pt idx="468">
                  <c:v>410936500</c:v>
                </c:pt>
                <c:pt idx="469">
                  <c:v>13280821217</c:v>
                </c:pt>
                <c:pt idx="470">
                  <c:v>289289676</c:v>
                </c:pt>
                <c:pt idx="471">
                  <c:v>449037082</c:v>
                </c:pt>
                <c:pt idx="472">
                  <c:v>5476655822</c:v>
                </c:pt>
                <c:pt idx="473">
                  <c:v>715936200</c:v>
                </c:pt>
                <c:pt idx="474">
                  <c:v>382851886</c:v>
                </c:pt>
                <c:pt idx="475">
                  <c:v>513566131</c:v>
                </c:pt>
                <c:pt idx="476">
                  <c:v>448056894</c:v>
                </c:pt>
                <c:pt idx="477">
                  <c:v>5360496139</c:v>
                </c:pt>
                <c:pt idx="478">
                  <c:v>318533240</c:v>
                </c:pt>
                <c:pt idx="479">
                  <c:v>1775761309</c:v>
                </c:pt>
                <c:pt idx="480">
                  <c:v>4662635544</c:v>
                </c:pt>
                <c:pt idx="481">
                  <c:v>17126209043</c:v>
                </c:pt>
                <c:pt idx="482">
                  <c:v>112353212</c:v>
                </c:pt>
                <c:pt idx="483">
                  <c:v>3000209203</c:v>
                </c:pt>
                <c:pt idx="484">
                  <c:v>145567208</c:v>
                </c:pt>
                <c:pt idx="485">
                  <c:v>3035704329</c:v>
                </c:pt>
                <c:pt idx="486">
                  <c:v>67380447227</c:v>
                </c:pt>
                <c:pt idx="487">
                  <c:v>122408992031</c:v>
                </c:pt>
                <c:pt idx="488">
                  <c:v>1594192868</c:v>
                </c:pt>
                <c:pt idx="489">
                  <c:v>534762768</c:v>
                </c:pt>
                <c:pt idx="490">
                  <c:v>143005041</c:v>
                </c:pt>
                <c:pt idx="491">
                  <c:v>563861560</c:v>
                </c:pt>
                <c:pt idx="492">
                  <c:v>27936146355</c:v>
                </c:pt>
                <c:pt idx="493">
                  <c:v>203215122</c:v>
                </c:pt>
                <c:pt idx="494">
                  <c:v>178451703</c:v>
                </c:pt>
                <c:pt idx="495">
                  <c:v>348761385</c:v>
                </c:pt>
                <c:pt idx="496">
                  <c:v>29688255933</c:v>
                </c:pt>
                <c:pt idx="497">
                  <c:v>835153042</c:v>
                </c:pt>
                <c:pt idx="498">
                  <c:v>36798075667</c:v>
                </c:pt>
                <c:pt idx="499">
                  <c:v>938706710</c:v>
                </c:pt>
                <c:pt idx="500">
                  <c:v>9097121803</c:v>
                </c:pt>
                <c:pt idx="501">
                  <c:v>402765825</c:v>
                </c:pt>
                <c:pt idx="502">
                  <c:v>54729948382</c:v>
                </c:pt>
                <c:pt idx="503">
                  <c:v>701672190</c:v>
                </c:pt>
                <c:pt idx="504">
                  <c:v>1097595393</c:v>
                </c:pt>
                <c:pt idx="505">
                  <c:v>349440048</c:v>
                </c:pt>
                <c:pt idx="506">
                  <c:v>2188423977</c:v>
                </c:pt>
                <c:pt idx="507">
                  <c:v>23949570896</c:v>
                </c:pt>
                <c:pt idx="508">
                  <c:v>455944128</c:v>
                </c:pt>
                <c:pt idx="509">
                  <c:v>954587000</c:v>
                </c:pt>
                <c:pt idx="510">
                  <c:v>255369338</c:v>
                </c:pt>
                <c:pt idx="511">
                  <c:v>839220756</c:v>
                </c:pt>
                <c:pt idx="512">
                  <c:v>634117765</c:v>
                </c:pt>
                <c:pt idx="513">
                  <c:v>33349536825</c:v>
                </c:pt>
                <c:pt idx="514">
                  <c:v>825829136</c:v>
                </c:pt>
                <c:pt idx="515">
                  <c:v>5332176440</c:v>
                </c:pt>
                <c:pt idx="516">
                  <c:v>4307486355</c:v>
                </c:pt>
                <c:pt idx="517">
                  <c:v>1645303635</c:v>
                </c:pt>
                <c:pt idx="518">
                  <c:v>1969548093</c:v>
                </c:pt>
                <c:pt idx="519">
                  <c:v>70298299706</c:v>
                </c:pt>
                <c:pt idx="520">
                  <c:v>593885479</c:v>
                </c:pt>
                <c:pt idx="521">
                  <c:v>1039783511</c:v>
                </c:pt>
                <c:pt idx="522">
                  <c:v>2960842158</c:v>
                </c:pt>
                <c:pt idx="523">
                  <c:v>311365152</c:v>
                </c:pt>
                <c:pt idx="524">
                  <c:v>870747163</c:v>
                </c:pt>
                <c:pt idx="525">
                  <c:v>5569002974</c:v>
                </c:pt>
                <c:pt idx="526">
                  <c:v>2569327588</c:v>
                </c:pt>
                <c:pt idx="527">
                  <c:v>5112730162</c:v>
                </c:pt>
                <c:pt idx="528">
                  <c:v>422687580</c:v>
                </c:pt>
                <c:pt idx="529">
                  <c:v>192870916</c:v>
                </c:pt>
                <c:pt idx="530">
                  <c:v>360623312</c:v>
                </c:pt>
                <c:pt idx="531">
                  <c:v>47981527806</c:v>
                </c:pt>
                <c:pt idx="532">
                  <c:v>11737119121</c:v>
                </c:pt>
                <c:pt idx="533">
                  <c:v>1319117434</c:v>
                </c:pt>
                <c:pt idx="534">
                  <c:v>227722446</c:v>
                </c:pt>
                <c:pt idx="535">
                  <c:v>56592153063</c:v>
                </c:pt>
                <c:pt idx="536">
                  <c:v>20173947138</c:v>
                </c:pt>
                <c:pt idx="537">
                  <c:v>153181545</c:v>
                </c:pt>
                <c:pt idx="538">
                  <c:v>332025174</c:v>
                </c:pt>
                <c:pt idx="539">
                  <c:v>343842880</c:v>
                </c:pt>
                <c:pt idx="540">
                  <c:v>955542537</c:v>
                </c:pt>
                <c:pt idx="541">
                  <c:v>204018165</c:v>
                </c:pt>
                <c:pt idx="542">
                  <c:v>6879621046</c:v>
                </c:pt>
                <c:pt idx="543">
                  <c:v>212743678</c:v>
                </c:pt>
                <c:pt idx="544">
                  <c:v>364534095</c:v>
                </c:pt>
                <c:pt idx="545">
                  <c:v>3594849696</c:v>
                </c:pt>
                <c:pt idx="546">
                  <c:v>5376046549</c:v>
                </c:pt>
                <c:pt idx="547">
                  <c:v>6341644239</c:v>
                </c:pt>
                <c:pt idx="548">
                  <c:v>13763531877</c:v>
                </c:pt>
                <c:pt idx="549">
                  <c:v>3742596513</c:v>
                </c:pt>
                <c:pt idx="550">
                  <c:v>11414672266</c:v>
                </c:pt>
                <c:pt idx="551">
                  <c:v>7195496797</c:v>
                </c:pt>
                <c:pt idx="552">
                  <c:v>90286586</c:v>
                </c:pt>
                <c:pt idx="553">
                  <c:v>2692183273</c:v>
                </c:pt>
                <c:pt idx="554">
                  <c:v>251144865</c:v>
                </c:pt>
                <c:pt idx="555">
                  <c:v>1330045767</c:v>
                </c:pt>
                <c:pt idx="556">
                  <c:v>8930725237</c:v>
                </c:pt>
                <c:pt idx="557">
                  <c:v>867831756</c:v>
                </c:pt>
                <c:pt idx="558">
                  <c:v>2733272124</c:v>
                </c:pt>
                <c:pt idx="559">
                  <c:v>5691213009</c:v>
                </c:pt>
                <c:pt idx="560">
                  <c:v>179433920</c:v>
                </c:pt>
                <c:pt idx="561">
                  <c:v>634402268</c:v>
                </c:pt>
                <c:pt idx="562">
                  <c:v>4181703976</c:v>
                </c:pt>
                <c:pt idx="563">
                  <c:v>206277290</c:v>
                </c:pt>
                <c:pt idx="564">
                  <c:v>322499466</c:v>
                </c:pt>
                <c:pt idx="565">
                  <c:v>58707816136</c:v>
                </c:pt>
                <c:pt idx="566">
                  <c:v>11694995480</c:v>
                </c:pt>
                <c:pt idx="567">
                  <c:v>16619435029</c:v>
                </c:pt>
                <c:pt idx="568">
                  <c:v>2449083828</c:v>
                </c:pt>
                <c:pt idx="569">
                  <c:v>1027796008</c:v>
                </c:pt>
                <c:pt idx="570">
                  <c:v>284724850</c:v>
                </c:pt>
                <c:pt idx="571">
                  <c:v>162698121</c:v>
                </c:pt>
                <c:pt idx="572">
                  <c:v>436188726</c:v>
                </c:pt>
                <c:pt idx="573">
                  <c:v>2818712305</c:v>
                </c:pt>
                <c:pt idx="574">
                  <c:v>4415047123</c:v>
                </c:pt>
                <c:pt idx="575">
                  <c:v>143305610</c:v>
                </c:pt>
                <c:pt idx="576">
                  <c:v>1398982755</c:v>
                </c:pt>
                <c:pt idx="577">
                  <c:v>46803702051</c:v>
                </c:pt>
                <c:pt idx="578">
                  <c:v>297273714</c:v>
                </c:pt>
                <c:pt idx="579">
                  <c:v>1075161275</c:v>
                </c:pt>
                <c:pt idx="580">
                  <c:v>915229696</c:v>
                </c:pt>
                <c:pt idx="581">
                  <c:v>30969529034</c:v>
                </c:pt>
                <c:pt idx="582">
                  <c:v>2424383837</c:v>
                </c:pt>
                <c:pt idx="583">
                  <c:v>416504212</c:v>
                </c:pt>
                <c:pt idx="584">
                  <c:v>33734498445</c:v>
                </c:pt>
                <c:pt idx="585">
                  <c:v>191424761</c:v>
                </c:pt>
                <c:pt idx="586">
                  <c:v>189226994</c:v>
                </c:pt>
                <c:pt idx="587">
                  <c:v>1632665418</c:v>
                </c:pt>
                <c:pt idx="588">
                  <c:v>1407293348</c:v>
                </c:pt>
                <c:pt idx="589">
                  <c:v>14299301020</c:v>
                </c:pt>
                <c:pt idx="590">
                  <c:v>23760163286</c:v>
                </c:pt>
                <c:pt idx="591">
                  <c:v>163293542</c:v>
                </c:pt>
                <c:pt idx="592">
                  <c:v>18082391644</c:v>
                </c:pt>
                <c:pt idx="593">
                  <c:v>556602435</c:v>
                </c:pt>
                <c:pt idx="594">
                  <c:v>6666928773</c:v>
                </c:pt>
                <c:pt idx="595">
                  <c:v>2639302178</c:v>
                </c:pt>
                <c:pt idx="596">
                  <c:v>167326768</c:v>
                </c:pt>
                <c:pt idx="597">
                  <c:v>254725146</c:v>
                </c:pt>
                <c:pt idx="598">
                  <c:v>1116918296</c:v>
                </c:pt>
                <c:pt idx="599">
                  <c:v>485878239</c:v>
                </c:pt>
                <c:pt idx="600">
                  <c:v>130508504</c:v>
                </c:pt>
                <c:pt idx="601">
                  <c:v>136588492</c:v>
                </c:pt>
                <c:pt idx="602">
                  <c:v>862288042</c:v>
                </c:pt>
                <c:pt idx="603">
                  <c:v>16454859615</c:v>
                </c:pt>
                <c:pt idx="604">
                  <c:v>218292380</c:v>
                </c:pt>
                <c:pt idx="605">
                  <c:v>1776136654</c:v>
                </c:pt>
                <c:pt idx="606">
                  <c:v>1521867519</c:v>
                </c:pt>
                <c:pt idx="607">
                  <c:v>5913114930</c:v>
                </c:pt>
                <c:pt idx="608">
                  <c:v>74016044755</c:v>
                </c:pt>
                <c:pt idx="609">
                  <c:v>195692680</c:v>
                </c:pt>
                <c:pt idx="610">
                  <c:v>6699186568</c:v>
                </c:pt>
                <c:pt idx="611">
                  <c:v>19506334981</c:v>
                </c:pt>
                <c:pt idx="612">
                  <c:v>365636835</c:v>
                </c:pt>
                <c:pt idx="613">
                  <c:v>2224884073</c:v>
                </c:pt>
                <c:pt idx="614">
                  <c:v>188006521</c:v>
                </c:pt>
                <c:pt idx="615">
                  <c:v>4460380120</c:v>
                </c:pt>
                <c:pt idx="616">
                  <c:v>1740748758</c:v>
                </c:pt>
                <c:pt idx="617">
                  <c:v>3861567387</c:v>
                </c:pt>
                <c:pt idx="618">
                  <c:v>27404803545</c:v>
                </c:pt>
                <c:pt idx="619">
                  <c:v>63681846221</c:v>
                </c:pt>
                <c:pt idx="620">
                  <c:v>6153712422</c:v>
                </c:pt>
                <c:pt idx="621">
                  <c:v>4885291946</c:v>
                </c:pt>
                <c:pt idx="622">
                  <c:v>3739934353</c:v>
                </c:pt>
                <c:pt idx="623">
                  <c:v>642324147</c:v>
                </c:pt>
                <c:pt idx="624">
                  <c:v>220007524</c:v>
                </c:pt>
                <c:pt idx="625">
                  <c:v>1865902441</c:v>
                </c:pt>
                <c:pt idx="626">
                  <c:v>2688327147</c:v>
                </c:pt>
                <c:pt idx="627">
                  <c:v>11440298544</c:v>
                </c:pt>
                <c:pt idx="628">
                  <c:v>681222068</c:v>
                </c:pt>
                <c:pt idx="629">
                  <c:v>1493972402</c:v>
                </c:pt>
                <c:pt idx="630">
                  <c:v>925100052</c:v>
                </c:pt>
                <c:pt idx="631">
                  <c:v>546850005</c:v>
                </c:pt>
                <c:pt idx="632">
                  <c:v>155959647</c:v>
                </c:pt>
                <c:pt idx="633">
                  <c:v>589652124</c:v>
                </c:pt>
                <c:pt idx="634">
                  <c:v>178475409</c:v>
                </c:pt>
                <c:pt idx="635">
                  <c:v>50349482587</c:v>
                </c:pt>
                <c:pt idx="636">
                  <c:v>983307316</c:v>
                </c:pt>
                <c:pt idx="637">
                  <c:v>5364306231</c:v>
                </c:pt>
                <c:pt idx="638">
                  <c:v>1475606699</c:v>
                </c:pt>
                <c:pt idx="639">
                  <c:v>519605069</c:v>
                </c:pt>
                <c:pt idx="640">
                  <c:v>33474274395</c:v>
                </c:pt>
                <c:pt idx="641">
                  <c:v>1921937622</c:v>
                </c:pt>
                <c:pt idx="642">
                  <c:v>51045773709</c:v>
                </c:pt>
                <c:pt idx="643">
                  <c:v>41914467775</c:v>
                </c:pt>
                <c:pt idx="644">
                  <c:v>18084646337</c:v>
                </c:pt>
                <c:pt idx="645">
                  <c:v>9732838694</c:v>
                </c:pt>
                <c:pt idx="646">
                  <c:v>34552696839</c:v>
                </c:pt>
                <c:pt idx="647">
                  <c:v>298145372</c:v>
                </c:pt>
                <c:pt idx="648">
                  <c:v>1258613444</c:v>
                </c:pt>
                <c:pt idx="649">
                  <c:v>5723128040</c:v>
                </c:pt>
                <c:pt idx="650">
                  <c:v>456588680</c:v>
                </c:pt>
                <c:pt idx="651">
                  <c:v>128028285</c:v>
                </c:pt>
                <c:pt idx="652">
                  <c:v>12947874547</c:v>
                </c:pt>
                <c:pt idx="653">
                  <c:v>8165217136</c:v>
                </c:pt>
                <c:pt idx="654">
                  <c:v>4698897919</c:v>
                </c:pt>
                <c:pt idx="655">
                  <c:v>15558782201</c:v>
                </c:pt>
                <c:pt idx="656">
                  <c:v>8602992440</c:v>
                </c:pt>
                <c:pt idx="657">
                  <c:v>1679073638</c:v>
                </c:pt>
                <c:pt idx="658">
                  <c:v>449826195</c:v>
                </c:pt>
                <c:pt idx="659">
                  <c:v>4391182867</c:v>
                </c:pt>
                <c:pt idx="660">
                  <c:v>386332704</c:v>
                </c:pt>
                <c:pt idx="661">
                  <c:v>203332550</c:v>
                </c:pt>
                <c:pt idx="662">
                  <c:v>1527169447</c:v>
                </c:pt>
                <c:pt idx="663">
                  <c:v>918042376</c:v>
                </c:pt>
                <c:pt idx="664">
                  <c:v>8185272625</c:v>
                </c:pt>
                <c:pt idx="665">
                  <c:v>242519739</c:v>
                </c:pt>
                <c:pt idx="666">
                  <c:v>16504951328</c:v>
                </c:pt>
                <c:pt idx="667">
                  <c:v>2053128610</c:v>
                </c:pt>
                <c:pt idx="668">
                  <c:v>4573096727</c:v>
                </c:pt>
                <c:pt idx="669">
                  <c:v>895353909</c:v>
                </c:pt>
                <c:pt idx="670">
                  <c:v>2353356643</c:v>
                </c:pt>
                <c:pt idx="671">
                  <c:v>2480344195</c:v>
                </c:pt>
                <c:pt idx="672">
                  <c:v>746392769</c:v>
                </c:pt>
                <c:pt idx="673">
                  <c:v>2848752862</c:v>
                </c:pt>
                <c:pt idx="674">
                  <c:v>1252968819</c:v>
                </c:pt>
                <c:pt idx="675">
                  <c:v>441920520</c:v>
                </c:pt>
                <c:pt idx="676">
                  <c:v>504192580</c:v>
                </c:pt>
                <c:pt idx="677">
                  <c:v>3553063907</c:v>
                </c:pt>
                <c:pt idx="678">
                  <c:v>506313470</c:v>
                </c:pt>
                <c:pt idx="679">
                  <c:v>32855525055</c:v>
                </c:pt>
                <c:pt idx="680">
                  <c:v>695070692</c:v>
                </c:pt>
                <c:pt idx="681">
                  <c:v>16018015115</c:v>
                </c:pt>
                <c:pt idx="682">
                  <c:v>17335311835</c:v>
                </c:pt>
                <c:pt idx="683">
                  <c:v>19778619601</c:v>
                </c:pt>
                <c:pt idx="684">
                  <c:v>353667100</c:v>
                </c:pt>
                <c:pt idx="685">
                  <c:v>2159143713</c:v>
                </c:pt>
                <c:pt idx="686">
                  <c:v>595988241</c:v>
                </c:pt>
                <c:pt idx="687">
                  <c:v>14707975957</c:v>
                </c:pt>
                <c:pt idx="688">
                  <c:v>3495631811</c:v>
                </c:pt>
                <c:pt idx="689">
                  <c:v>675816950</c:v>
                </c:pt>
                <c:pt idx="690">
                  <c:v>804695906</c:v>
                </c:pt>
                <c:pt idx="691">
                  <c:v>8953667526</c:v>
                </c:pt>
                <c:pt idx="692">
                  <c:v>2818561627</c:v>
                </c:pt>
                <c:pt idx="693">
                  <c:v>157496991</c:v>
                </c:pt>
                <c:pt idx="694">
                  <c:v>1089608912</c:v>
                </c:pt>
                <c:pt idx="695">
                  <c:v>11010814030</c:v>
                </c:pt>
                <c:pt idx="696">
                  <c:v>1440681620</c:v>
                </c:pt>
                <c:pt idx="697">
                  <c:v>108016266</c:v>
                </c:pt>
                <c:pt idx="698">
                  <c:v>1790406434</c:v>
                </c:pt>
                <c:pt idx="699">
                  <c:v>2525065608</c:v>
                </c:pt>
                <c:pt idx="700">
                  <c:v>8012518824</c:v>
                </c:pt>
                <c:pt idx="701">
                  <c:v>1117335177</c:v>
                </c:pt>
                <c:pt idx="702">
                  <c:v>752463571</c:v>
                </c:pt>
                <c:pt idx="703">
                  <c:v>7824940861</c:v>
                </c:pt>
                <c:pt idx="704">
                  <c:v>6309057321</c:v>
                </c:pt>
                <c:pt idx="705">
                  <c:v>13765890251</c:v>
                </c:pt>
                <c:pt idx="706">
                  <c:v>9616689942</c:v>
                </c:pt>
                <c:pt idx="707">
                  <c:v>3137036848</c:v>
                </c:pt>
                <c:pt idx="708">
                  <c:v>1183541360</c:v>
                </c:pt>
                <c:pt idx="709">
                  <c:v>488595555</c:v>
                </c:pt>
                <c:pt idx="710">
                  <c:v>819626444</c:v>
                </c:pt>
                <c:pt idx="711">
                  <c:v>1839038970</c:v>
                </c:pt>
                <c:pt idx="712">
                  <c:v>614116739</c:v>
                </c:pt>
                <c:pt idx="713">
                  <c:v>629145813</c:v>
                </c:pt>
                <c:pt idx="714">
                  <c:v>20708896675</c:v>
                </c:pt>
                <c:pt idx="715">
                  <c:v>4650053604</c:v>
                </c:pt>
                <c:pt idx="716">
                  <c:v>455443942</c:v>
                </c:pt>
                <c:pt idx="717">
                  <c:v>6241190518</c:v>
                </c:pt>
                <c:pt idx="718">
                  <c:v>1370670105</c:v>
                </c:pt>
                <c:pt idx="719">
                  <c:v>545059676</c:v>
                </c:pt>
                <c:pt idx="720">
                  <c:v>2553920708</c:v>
                </c:pt>
                <c:pt idx="721">
                  <c:v>392787591</c:v>
                </c:pt>
                <c:pt idx="722">
                  <c:v>1207943779</c:v>
                </c:pt>
                <c:pt idx="723">
                  <c:v>4434349351</c:v>
                </c:pt>
                <c:pt idx="724">
                  <c:v>1410975284</c:v>
                </c:pt>
                <c:pt idx="725">
                  <c:v>115072762</c:v>
                </c:pt>
                <c:pt idx="726">
                  <c:v>511451906</c:v>
                </c:pt>
                <c:pt idx="727">
                  <c:v>2692801608</c:v>
                </c:pt>
                <c:pt idx="728">
                  <c:v>143888000</c:v>
                </c:pt>
                <c:pt idx="729">
                  <c:v>1001268807</c:v>
                </c:pt>
                <c:pt idx="730">
                  <c:v>6085288679</c:v>
                </c:pt>
                <c:pt idx="731">
                  <c:v>897006852</c:v>
                </c:pt>
                <c:pt idx="732">
                  <c:v>378655214</c:v>
                </c:pt>
                <c:pt idx="733">
                  <c:v>1238558283</c:v>
                </c:pt>
                <c:pt idx="734">
                  <c:v>197370602</c:v>
                </c:pt>
                <c:pt idx="735">
                  <c:v>2703713668</c:v>
                </c:pt>
                <c:pt idx="736">
                  <c:v>1573176908</c:v>
                </c:pt>
                <c:pt idx="737">
                  <c:v>718400458</c:v>
                </c:pt>
                <c:pt idx="738">
                  <c:v>258490181</c:v>
                </c:pt>
                <c:pt idx="739">
                  <c:v>300214381</c:v>
                </c:pt>
                <c:pt idx="740">
                  <c:v>361299939</c:v>
                </c:pt>
                <c:pt idx="741">
                  <c:v>96472620</c:v>
                </c:pt>
                <c:pt idx="742">
                  <c:v>1585590128</c:v>
                </c:pt>
                <c:pt idx="743">
                  <c:v>4381806351</c:v>
                </c:pt>
                <c:pt idx="744">
                  <c:v>9559667053</c:v>
                </c:pt>
                <c:pt idx="745">
                  <c:v>1053649296</c:v>
                </c:pt>
                <c:pt idx="746">
                  <c:v>125990010</c:v>
                </c:pt>
                <c:pt idx="747">
                  <c:v>2310630018</c:v>
                </c:pt>
                <c:pt idx="748">
                  <c:v>704144645</c:v>
                </c:pt>
                <c:pt idx="749">
                  <c:v>26781562</c:v>
                </c:pt>
                <c:pt idx="750">
                  <c:v>751974678</c:v>
                </c:pt>
                <c:pt idx="751">
                  <c:v>4937630658</c:v>
                </c:pt>
                <c:pt idx="752">
                  <c:v>1661447311</c:v>
                </c:pt>
                <c:pt idx="753">
                  <c:v>28854123520</c:v>
                </c:pt>
                <c:pt idx="754">
                  <c:v>550060126</c:v>
                </c:pt>
                <c:pt idx="755">
                  <c:v>9651257027</c:v>
                </c:pt>
                <c:pt idx="756">
                  <c:v>1239637642</c:v>
                </c:pt>
                <c:pt idx="757">
                  <c:v>428593194</c:v>
                </c:pt>
                <c:pt idx="758">
                  <c:v>1117066878</c:v>
                </c:pt>
                <c:pt idx="759">
                  <c:v>30434653222</c:v>
                </c:pt>
                <c:pt idx="760">
                  <c:v>2015947126</c:v>
                </c:pt>
                <c:pt idx="761">
                  <c:v>782180750</c:v>
                </c:pt>
                <c:pt idx="762">
                  <c:v>490184093</c:v>
                </c:pt>
                <c:pt idx="763">
                  <c:v>123931197</c:v>
                </c:pt>
                <c:pt idx="764">
                  <c:v>16113758976</c:v>
                </c:pt>
                <c:pt idx="765">
                  <c:v>16117162349</c:v>
                </c:pt>
                <c:pt idx="766">
                  <c:v>272134640</c:v>
                </c:pt>
                <c:pt idx="767">
                  <c:v>193651675</c:v>
                </c:pt>
                <c:pt idx="768">
                  <c:v>867519036</c:v>
                </c:pt>
                <c:pt idx="769">
                  <c:v>430036790</c:v>
                </c:pt>
                <c:pt idx="770">
                  <c:v>1595359199</c:v>
                </c:pt>
                <c:pt idx="771">
                  <c:v>1316637468</c:v>
                </c:pt>
                <c:pt idx="772">
                  <c:v>4070459229</c:v>
                </c:pt>
                <c:pt idx="773">
                  <c:v>2835582100</c:v>
                </c:pt>
                <c:pt idx="774">
                  <c:v>708052355</c:v>
                </c:pt>
                <c:pt idx="775">
                  <c:v>19142043135</c:v>
                </c:pt>
                <c:pt idx="776">
                  <c:v>670496789</c:v>
                </c:pt>
                <c:pt idx="777">
                  <c:v>423214626</c:v>
                </c:pt>
                <c:pt idx="778">
                  <c:v>197335059</c:v>
                </c:pt>
                <c:pt idx="779">
                  <c:v>49756615081</c:v>
                </c:pt>
                <c:pt idx="780">
                  <c:v>13783777587</c:v>
                </c:pt>
                <c:pt idx="781">
                  <c:v>180918808</c:v>
                </c:pt>
                <c:pt idx="782">
                  <c:v>17363007177</c:v>
                </c:pt>
                <c:pt idx="783">
                  <c:v>1410136921</c:v>
                </c:pt>
                <c:pt idx="784">
                  <c:v>485595470</c:v>
                </c:pt>
                <c:pt idx="785">
                  <c:v>53798519322</c:v>
                </c:pt>
                <c:pt idx="786">
                  <c:v>7518944312</c:v>
                </c:pt>
                <c:pt idx="787">
                  <c:v>531819684</c:v>
                </c:pt>
                <c:pt idx="788">
                  <c:v>11360914824</c:v>
                </c:pt>
                <c:pt idx="789">
                  <c:v>454724160</c:v>
                </c:pt>
                <c:pt idx="790">
                  <c:v>144569266</c:v>
                </c:pt>
                <c:pt idx="791">
                  <c:v>327922280</c:v>
                </c:pt>
                <c:pt idx="792">
                  <c:v>47105342230</c:v>
                </c:pt>
                <c:pt idx="793">
                  <c:v>10120218413</c:v>
                </c:pt>
                <c:pt idx="794">
                  <c:v>652371589</c:v>
                </c:pt>
                <c:pt idx="795">
                  <c:v>7161105127</c:v>
                </c:pt>
                <c:pt idx="796">
                  <c:v>862877183</c:v>
                </c:pt>
                <c:pt idx="797">
                  <c:v>1299717199</c:v>
                </c:pt>
                <c:pt idx="798">
                  <c:v>1806900599</c:v>
                </c:pt>
                <c:pt idx="799">
                  <c:v>1017883918</c:v>
                </c:pt>
                <c:pt idx="800">
                  <c:v>789540478</c:v>
                </c:pt>
                <c:pt idx="801">
                  <c:v>186466410</c:v>
                </c:pt>
                <c:pt idx="802">
                  <c:v>24738916201</c:v>
                </c:pt>
                <c:pt idx="803">
                  <c:v>744729709</c:v>
                </c:pt>
                <c:pt idx="804">
                  <c:v>1757391712</c:v>
                </c:pt>
                <c:pt idx="805">
                  <c:v>937402852</c:v>
                </c:pt>
                <c:pt idx="806">
                  <c:v>219624150</c:v>
                </c:pt>
                <c:pt idx="807">
                  <c:v>11001618168</c:v>
                </c:pt>
                <c:pt idx="808">
                  <c:v>1006531960</c:v>
                </c:pt>
                <c:pt idx="809">
                  <c:v>588741278</c:v>
                </c:pt>
                <c:pt idx="810">
                  <c:v>5258424237</c:v>
                </c:pt>
                <c:pt idx="811">
                  <c:v>1694674610</c:v>
                </c:pt>
                <c:pt idx="812">
                  <c:v>32842916344</c:v>
                </c:pt>
                <c:pt idx="813">
                  <c:v>351192836</c:v>
                </c:pt>
                <c:pt idx="814">
                  <c:v>3656699121</c:v>
                </c:pt>
                <c:pt idx="815">
                  <c:v>516609850</c:v>
                </c:pt>
                <c:pt idx="816">
                  <c:v>816924307</c:v>
                </c:pt>
                <c:pt idx="817">
                  <c:v>736045483</c:v>
                </c:pt>
                <c:pt idx="818">
                  <c:v>3086209852</c:v>
                </c:pt>
                <c:pt idx="819">
                  <c:v>2450832484</c:v>
                </c:pt>
                <c:pt idx="820">
                  <c:v>355488000</c:v>
                </c:pt>
                <c:pt idx="821">
                  <c:v>8021585432</c:v>
                </c:pt>
                <c:pt idx="822">
                  <c:v>20146396676</c:v>
                </c:pt>
                <c:pt idx="823">
                  <c:v>895980375</c:v>
                </c:pt>
              </c:numCache>
            </c:numRef>
          </c:xVal>
          <c:yVal>
            <c:numRef>
              <c:f>pivot!$AG$4:$AG$835</c:f>
              <c:numCache>
                <c:formatCode>General</c:formatCode>
                <c:ptCount val="824"/>
                <c:pt idx="0">
                  <c:v>0</c:v>
                </c:pt>
                <c:pt idx="1">
                  <c:v>0</c:v>
                </c:pt>
                <c:pt idx="2">
                  <c:v>0</c:v>
                </c:pt>
                <c:pt idx="3">
                  <c:v>63</c:v>
                </c:pt>
                <c:pt idx="4">
                  <c:v>0</c:v>
                </c:pt>
                <c:pt idx="5">
                  <c:v>16</c:v>
                </c:pt>
                <c:pt idx="6">
                  <c:v>124</c:v>
                </c:pt>
                <c:pt idx="7">
                  <c:v>2</c:v>
                </c:pt>
                <c:pt idx="8">
                  <c:v>28</c:v>
                </c:pt>
                <c:pt idx="9">
                  <c:v>8</c:v>
                </c:pt>
                <c:pt idx="10">
                  <c:v>15</c:v>
                </c:pt>
                <c:pt idx="11">
                  <c:v>6</c:v>
                </c:pt>
                <c:pt idx="12">
                  <c:v>0</c:v>
                </c:pt>
                <c:pt idx="13">
                  <c:v>0</c:v>
                </c:pt>
                <c:pt idx="14">
                  <c:v>72</c:v>
                </c:pt>
                <c:pt idx="15">
                  <c:v>4</c:v>
                </c:pt>
                <c:pt idx="16">
                  <c:v>0</c:v>
                </c:pt>
                <c:pt idx="17">
                  <c:v>2</c:v>
                </c:pt>
                <c:pt idx="18">
                  <c:v>0</c:v>
                </c:pt>
                <c:pt idx="19">
                  <c:v>0</c:v>
                </c:pt>
                <c:pt idx="20">
                  <c:v>0</c:v>
                </c:pt>
                <c:pt idx="21">
                  <c:v>2</c:v>
                </c:pt>
                <c:pt idx="22">
                  <c:v>13</c:v>
                </c:pt>
                <c:pt idx="23">
                  <c:v>0</c:v>
                </c:pt>
                <c:pt idx="24">
                  <c:v>0</c:v>
                </c:pt>
                <c:pt idx="25">
                  <c:v>0</c:v>
                </c:pt>
                <c:pt idx="26">
                  <c:v>69</c:v>
                </c:pt>
                <c:pt idx="27">
                  <c:v>1</c:v>
                </c:pt>
                <c:pt idx="28">
                  <c:v>0</c:v>
                </c:pt>
                <c:pt idx="29">
                  <c:v>47</c:v>
                </c:pt>
                <c:pt idx="30">
                  <c:v>0</c:v>
                </c:pt>
                <c:pt idx="31">
                  <c:v>0</c:v>
                </c:pt>
                <c:pt idx="32">
                  <c:v>2</c:v>
                </c:pt>
                <c:pt idx="33">
                  <c:v>1</c:v>
                </c:pt>
                <c:pt idx="34">
                  <c:v>0</c:v>
                </c:pt>
                <c:pt idx="35">
                  <c:v>2</c:v>
                </c:pt>
                <c:pt idx="36">
                  <c:v>14</c:v>
                </c:pt>
                <c:pt idx="37">
                  <c:v>1</c:v>
                </c:pt>
                <c:pt idx="38">
                  <c:v>3</c:v>
                </c:pt>
                <c:pt idx="39">
                  <c:v>0</c:v>
                </c:pt>
                <c:pt idx="40">
                  <c:v>0</c:v>
                </c:pt>
                <c:pt idx="41">
                  <c:v>3</c:v>
                </c:pt>
                <c:pt idx="42">
                  <c:v>2</c:v>
                </c:pt>
                <c:pt idx="43">
                  <c:v>2</c:v>
                </c:pt>
                <c:pt idx="44">
                  <c:v>8</c:v>
                </c:pt>
                <c:pt idx="45">
                  <c:v>0</c:v>
                </c:pt>
                <c:pt idx="46">
                  <c:v>0</c:v>
                </c:pt>
                <c:pt idx="47">
                  <c:v>3</c:v>
                </c:pt>
                <c:pt idx="48">
                  <c:v>1</c:v>
                </c:pt>
                <c:pt idx="49">
                  <c:v>9</c:v>
                </c:pt>
                <c:pt idx="50">
                  <c:v>0</c:v>
                </c:pt>
                <c:pt idx="51">
                  <c:v>6</c:v>
                </c:pt>
                <c:pt idx="52">
                  <c:v>0</c:v>
                </c:pt>
                <c:pt idx="53">
                  <c:v>2</c:v>
                </c:pt>
                <c:pt idx="54">
                  <c:v>0</c:v>
                </c:pt>
                <c:pt idx="55">
                  <c:v>5</c:v>
                </c:pt>
                <c:pt idx="56">
                  <c:v>1</c:v>
                </c:pt>
                <c:pt idx="57">
                  <c:v>2</c:v>
                </c:pt>
                <c:pt idx="58">
                  <c:v>2</c:v>
                </c:pt>
                <c:pt idx="59">
                  <c:v>0</c:v>
                </c:pt>
                <c:pt idx="60">
                  <c:v>20</c:v>
                </c:pt>
                <c:pt idx="61">
                  <c:v>0</c:v>
                </c:pt>
                <c:pt idx="62">
                  <c:v>56</c:v>
                </c:pt>
                <c:pt idx="63">
                  <c:v>15</c:v>
                </c:pt>
                <c:pt idx="64">
                  <c:v>3</c:v>
                </c:pt>
                <c:pt idx="65">
                  <c:v>4</c:v>
                </c:pt>
                <c:pt idx="66">
                  <c:v>3</c:v>
                </c:pt>
                <c:pt idx="67">
                  <c:v>0</c:v>
                </c:pt>
                <c:pt idx="68">
                  <c:v>3</c:v>
                </c:pt>
                <c:pt idx="69">
                  <c:v>0</c:v>
                </c:pt>
                <c:pt idx="70">
                  <c:v>0</c:v>
                </c:pt>
                <c:pt idx="71">
                  <c:v>3</c:v>
                </c:pt>
                <c:pt idx="72">
                  <c:v>0</c:v>
                </c:pt>
                <c:pt idx="73">
                  <c:v>12</c:v>
                </c:pt>
                <c:pt idx="74">
                  <c:v>4</c:v>
                </c:pt>
                <c:pt idx="75">
                  <c:v>0</c:v>
                </c:pt>
                <c:pt idx="76">
                  <c:v>42</c:v>
                </c:pt>
                <c:pt idx="77">
                  <c:v>0</c:v>
                </c:pt>
                <c:pt idx="78">
                  <c:v>0</c:v>
                </c:pt>
                <c:pt idx="79">
                  <c:v>1</c:v>
                </c:pt>
                <c:pt idx="80">
                  <c:v>1</c:v>
                </c:pt>
                <c:pt idx="81">
                  <c:v>0</c:v>
                </c:pt>
                <c:pt idx="82">
                  <c:v>0</c:v>
                </c:pt>
                <c:pt idx="83">
                  <c:v>0</c:v>
                </c:pt>
                <c:pt idx="84">
                  <c:v>0</c:v>
                </c:pt>
                <c:pt idx="85">
                  <c:v>15</c:v>
                </c:pt>
                <c:pt idx="86">
                  <c:v>9</c:v>
                </c:pt>
                <c:pt idx="87">
                  <c:v>19</c:v>
                </c:pt>
                <c:pt idx="88">
                  <c:v>0</c:v>
                </c:pt>
                <c:pt idx="89">
                  <c:v>2</c:v>
                </c:pt>
                <c:pt idx="90">
                  <c:v>14</c:v>
                </c:pt>
                <c:pt idx="91">
                  <c:v>116</c:v>
                </c:pt>
                <c:pt idx="92">
                  <c:v>14</c:v>
                </c:pt>
                <c:pt idx="93">
                  <c:v>0</c:v>
                </c:pt>
                <c:pt idx="94">
                  <c:v>0</c:v>
                </c:pt>
                <c:pt idx="95">
                  <c:v>0</c:v>
                </c:pt>
                <c:pt idx="96">
                  <c:v>0</c:v>
                </c:pt>
                <c:pt idx="97">
                  <c:v>29</c:v>
                </c:pt>
                <c:pt idx="98">
                  <c:v>1</c:v>
                </c:pt>
                <c:pt idx="99">
                  <c:v>6</c:v>
                </c:pt>
                <c:pt idx="100">
                  <c:v>0</c:v>
                </c:pt>
                <c:pt idx="101">
                  <c:v>0</c:v>
                </c:pt>
                <c:pt idx="102">
                  <c:v>23</c:v>
                </c:pt>
                <c:pt idx="103">
                  <c:v>28</c:v>
                </c:pt>
                <c:pt idx="104">
                  <c:v>20</c:v>
                </c:pt>
                <c:pt idx="105">
                  <c:v>0</c:v>
                </c:pt>
                <c:pt idx="106">
                  <c:v>3</c:v>
                </c:pt>
                <c:pt idx="107">
                  <c:v>5</c:v>
                </c:pt>
                <c:pt idx="108">
                  <c:v>2</c:v>
                </c:pt>
                <c:pt idx="109">
                  <c:v>6</c:v>
                </c:pt>
                <c:pt idx="110">
                  <c:v>0</c:v>
                </c:pt>
                <c:pt idx="111">
                  <c:v>2</c:v>
                </c:pt>
                <c:pt idx="112">
                  <c:v>2</c:v>
                </c:pt>
                <c:pt idx="113">
                  <c:v>3</c:v>
                </c:pt>
                <c:pt idx="114">
                  <c:v>2</c:v>
                </c:pt>
                <c:pt idx="115">
                  <c:v>29</c:v>
                </c:pt>
                <c:pt idx="116">
                  <c:v>13</c:v>
                </c:pt>
                <c:pt idx="117">
                  <c:v>0</c:v>
                </c:pt>
                <c:pt idx="118">
                  <c:v>3</c:v>
                </c:pt>
                <c:pt idx="119">
                  <c:v>6</c:v>
                </c:pt>
                <c:pt idx="120">
                  <c:v>0</c:v>
                </c:pt>
                <c:pt idx="121">
                  <c:v>2</c:v>
                </c:pt>
                <c:pt idx="122">
                  <c:v>10</c:v>
                </c:pt>
                <c:pt idx="123">
                  <c:v>0</c:v>
                </c:pt>
                <c:pt idx="124">
                  <c:v>6</c:v>
                </c:pt>
                <c:pt idx="125">
                  <c:v>0</c:v>
                </c:pt>
                <c:pt idx="126">
                  <c:v>0</c:v>
                </c:pt>
                <c:pt idx="127">
                  <c:v>0</c:v>
                </c:pt>
                <c:pt idx="128">
                  <c:v>0</c:v>
                </c:pt>
                <c:pt idx="129">
                  <c:v>1</c:v>
                </c:pt>
                <c:pt idx="130">
                  <c:v>21</c:v>
                </c:pt>
                <c:pt idx="131">
                  <c:v>1</c:v>
                </c:pt>
                <c:pt idx="132">
                  <c:v>38</c:v>
                </c:pt>
                <c:pt idx="133">
                  <c:v>1</c:v>
                </c:pt>
                <c:pt idx="134">
                  <c:v>3</c:v>
                </c:pt>
                <c:pt idx="135">
                  <c:v>0</c:v>
                </c:pt>
                <c:pt idx="136">
                  <c:v>21</c:v>
                </c:pt>
                <c:pt idx="137">
                  <c:v>0</c:v>
                </c:pt>
                <c:pt idx="138">
                  <c:v>3</c:v>
                </c:pt>
                <c:pt idx="139">
                  <c:v>0</c:v>
                </c:pt>
                <c:pt idx="140">
                  <c:v>8</c:v>
                </c:pt>
                <c:pt idx="141">
                  <c:v>5</c:v>
                </c:pt>
                <c:pt idx="142">
                  <c:v>0</c:v>
                </c:pt>
                <c:pt idx="143">
                  <c:v>15</c:v>
                </c:pt>
                <c:pt idx="144">
                  <c:v>14</c:v>
                </c:pt>
                <c:pt idx="145">
                  <c:v>52</c:v>
                </c:pt>
                <c:pt idx="146">
                  <c:v>32</c:v>
                </c:pt>
                <c:pt idx="147">
                  <c:v>1</c:v>
                </c:pt>
                <c:pt idx="148">
                  <c:v>0</c:v>
                </c:pt>
                <c:pt idx="149">
                  <c:v>3</c:v>
                </c:pt>
                <c:pt idx="150">
                  <c:v>0</c:v>
                </c:pt>
                <c:pt idx="151">
                  <c:v>47</c:v>
                </c:pt>
                <c:pt idx="152">
                  <c:v>0</c:v>
                </c:pt>
                <c:pt idx="153">
                  <c:v>2</c:v>
                </c:pt>
                <c:pt idx="154">
                  <c:v>0</c:v>
                </c:pt>
                <c:pt idx="155">
                  <c:v>1</c:v>
                </c:pt>
                <c:pt idx="156">
                  <c:v>46</c:v>
                </c:pt>
                <c:pt idx="157">
                  <c:v>8</c:v>
                </c:pt>
                <c:pt idx="158">
                  <c:v>1</c:v>
                </c:pt>
                <c:pt idx="159">
                  <c:v>9</c:v>
                </c:pt>
                <c:pt idx="160">
                  <c:v>0</c:v>
                </c:pt>
                <c:pt idx="161">
                  <c:v>11</c:v>
                </c:pt>
                <c:pt idx="162">
                  <c:v>0</c:v>
                </c:pt>
                <c:pt idx="163">
                  <c:v>8</c:v>
                </c:pt>
                <c:pt idx="164">
                  <c:v>7</c:v>
                </c:pt>
                <c:pt idx="165">
                  <c:v>56</c:v>
                </c:pt>
                <c:pt idx="166">
                  <c:v>0</c:v>
                </c:pt>
                <c:pt idx="167">
                  <c:v>2</c:v>
                </c:pt>
                <c:pt idx="168">
                  <c:v>14</c:v>
                </c:pt>
                <c:pt idx="169">
                  <c:v>1</c:v>
                </c:pt>
                <c:pt idx="170">
                  <c:v>24</c:v>
                </c:pt>
                <c:pt idx="171">
                  <c:v>0</c:v>
                </c:pt>
                <c:pt idx="172">
                  <c:v>1</c:v>
                </c:pt>
                <c:pt idx="173">
                  <c:v>101</c:v>
                </c:pt>
                <c:pt idx="174">
                  <c:v>3</c:v>
                </c:pt>
                <c:pt idx="175">
                  <c:v>1</c:v>
                </c:pt>
                <c:pt idx="176">
                  <c:v>0</c:v>
                </c:pt>
                <c:pt idx="177">
                  <c:v>0</c:v>
                </c:pt>
                <c:pt idx="178">
                  <c:v>14</c:v>
                </c:pt>
                <c:pt idx="179">
                  <c:v>6</c:v>
                </c:pt>
                <c:pt idx="180">
                  <c:v>1</c:v>
                </c:pt>
                <c:pt idx="181">
                  <c:v>0</c:v>
                </c:pt>
                <c:pt idx="182">
                  <c:v>0</c:v>
                </c:pt>
                <c:pt idx="183">
                  <c:v>1</c:v>
                </c:pt>
                <c:pt idx="184">
                  <c:v>3</c:v>
                </c:pt>
                <c:pt idx="185">
                  <c:v>2</c:v>
                </c:pt>
                <c:pt idx="186">
                  <c:v>52</c:v>
                </c:pt>
                <c:pt idx="187">
                  <c:v>0</c:v>
                </c:pt>
                <c:pt idx="188">
                  <c:v>82</c:v>
                </c:pt>
                <c:pt idx="189">
                  <c:v>0</c:v>
                </c:pt>
                <c:pt idx="190">
                  <c:v>22</c:v>
                </c:pt>
                <c:pt idx="191">
                  <c:v>20</c:v>
                </c:pt>
                <c:pt idx="192">
                  <c:v>0</c:v>
                </c:pt>
                <c:pt idx="193">
                  <c:v>23</c:v>
                </c:pt>
                <c:pt idx="194">
                  <c:v>5</c:v>
                </c:pt>
                <c:pt idx="195">
                  <c:v>11</c:v>
                </c:pt>
                <c:pt idx="196">
                  <c:v>2</c:v>
                </c:pt>
                <c:pt idx="197">
                  <c:v>0</c:v>
                </c:pt>
                <c:pt idx="198">
                  <c:v>0</c:v>
                </c:pt>
                <c:pt idx="199">
                  <c:v>0</c:v>
                </c:pt>
                <c:pt idx="200">
                  <c:v>0</c:v>
                </c:pt>
                <c:pt idx="201">
                  <c:v>38</c:v>
                </c:pt>
                <c:pt idx="202">
                  <c:v>42</c:v>
                </c:pt>
                <c:pt idx="203">
                  <c:v>2</c:v>
                </c:pt>
                <c:pt idx="204">
                  <c:v>97</c:v>
                </c:pt>
                <c:pt idx="205">
                  <c:v>6</c:v>
                </c:pt>
                <c:pt idx="206">
                  <c:v>0</c:v>
                </c:pt>
                <c:pt idx="207">
                  <c:v>0</c:v>
                </c:pt>
                <c:pt idx="208">
                  <c:v>0</c:v>
                </c:pt>
                <c:pt idx="209">
                  <c:v>1</c:v>
                </c:pt>
                <c:pt idx="210">
                  <c:v>80</c:v>
                </c:pt>
                <c:pt idx="211">
                  <c:v>0</c:v>
                </c:pt>
                <c:pt idx="212">
                  <c:v>0</c:v>
                </c:pt>
                <c:pt idx="213">
                  <c:v>0</c:v>
                </c:pt>
                <c:pt idx="214">
                  <c:v>1</c:v>
                </c:pt>
                <c:pt idx="215">
                  <c:v>3</c:v>
                </c:pt>
                <c:pt idx="216">
                  <c:v>56</c:v>
                </c:pt>
                <c:pt idx="217">
                  <c:v>0</c:v>
                </c:pt>
                <c:pt idx="218">
                  <c:v>1</c:v>
                </c:pt>
                <c:pt idx="219">
                  <c:v>87</c:v>
                </c:pt>
                <c:pt idx="220">
                  <c:v>7</c:v>
                </c:pt>
                <c:pt idx="221">
                  <c:v>43</c:v>
                </c:pt>
                <c:pt idx="222">
                  <c:v>17</c:v>
                </c:pt>
                <c:pt idx="223">
                  <c:v>0</c:v>
                </c:pt>
                <c:pt idx="224">
                  <c:v>18</c:v>
                </c:pt>
                <c:pt idx="225">
                  <c:v>0</c:v>
                </c:pt>
                <c:pt idx="226">
                  <c:v>3</c:v>
                </c:pt>
                <c:pt idx="227">
                  <c:v>7</c:v>
                </c:pt>
                <c:pt idx="228">
                  <c:v>0</c:v>
                </c:pt>
                <c:pt idx="229">
                  <c:v>0</c:v>
                </c:pt>
                <c:pt idx="230">
                  <c:v>3</c:v>
                </c:pt>
                <c:pt idx="231">
                  <c:v>20</c:v>
                </c:pt>
                <c:pt idx="232">
                  <c:v>64</c:v>
                </c:pt>
                <c:pt idx="233">
                  <c:v>2</c:v>
                </c:pt>
                <c:pt idx="234">
                  <c:v>0</c:v>
                </c:pt>
                <c:pt idx="235">
                  <c:v>0</c:v>
                </c:pt>
                <c:pt idx="236">
                  <c:v>0</c:v>
                </c:pt>
                <c:pt idx="237">
                  <c:v>5</c:v>
                </c:pt>
                <c:pt idx="238">
                  <c:v>38</c:v>
                </c:pt>
                <c:pt idx="239">
                  <c:v>16</c:v>
                </c:pt>
                <c:pt idx="240">
                  <c:v>73</c:v>
                </c:pt>
                <c:pt idx="241">
                  <c:v>0</c:v>
                </c:pt>
                <c:pt idx="242">
                  <c:v>0</c:v>
                </c:pt>
                <c:pt idx="243">
                  <c:v>0</c:v>
                </c:pt>
                <c:pt idx="244">
                  <c:v>106</c:v>
                </c:pt>
                <c:pt idx="245">
                  <c:v>7</c:v>
                </c:pt>
                <c:pt idx="246">
                  <c:v>3</c:v>
                </c:pt>
                <c:pt idx="247">
                  <c:v>2</c:v>
                </c:pt>
                <c:pt idx="248">
                  <c:v>0</c:v>
                </c:pt>
                <c:pt idx="249">
                  <c:v>7</c:v>
                </c:pt>
                <c:pt idx="250">
                  <c:v>34</c:v>
                </c:pt>
                <c:pt idx="251">
                  <c:v>5</c:v>
                </c:pt>
                <c:pt idx="252">
                  <c:v>0</c:v>
                </c:pt>
                <c:pt idx="253">
                  <c:v>5</c:v>
                </c:pt>
                <c:pt idx="254">
                  <c:v>0</c:v>
                </c:pt>
                <c:pt idx="255">
                  <c:v>4</c:v>
                </c:pt>
                <c:pt idx="256">
                  <c:v>0</c:v>
                </c:pt>
                <c:pt idx="257">
                  <c:v>9</c:v>
                </c:pt>
                <c:pt idx="258">
                  <c:v>108</c:v>
                </c:pt>
                <c:pt idx="259">
                  <c:v>9</c:v>
                </c:pt>
                <c:pt idx="260">
                  <c:v>6</c:v>
                </c:pt>
                <c:pt idx="261">
                  <c:v>0</c:v>
                </c:pt>
                <c:pt idx="262">
                  <c:v>2</c:v>
                </c:pt>
                <c:pt idx="263">
                  <c:v>73</c:v>
                </c:pt>
                <c:pt idx="264">
                  <c:v>124</c:v>
                </c:pt>
                <c:pt idx="265">
                  <c:v>0</c:v>
                </c:pt>
                <c:pt idx="266">
                  <c:v>0</c:v>
                </c:pt>
                <c:pt idx="267">
                  <c:v>0</c:v>
                </c:pt>
                <c:pt idx="268">
                  <c:v>4</c:v>
                </c:pt>
                <c:pt idx="269">
                  <c:v>0</c:v>
                </c:pt>
                <c:pt idx="270">
                  <c:v>0</c:v>
                </c:pt>
                <c:pt idx="271">
                  <c:v>8</c:v>
                </c:pt>
                <c:pt idx="272">
                  <c:v>0</c:v>
                </c:pt>
                <c:pt idx="273">
                  <c:v>2</c:v>
                </c:pt>
                <c:pt idx="274">
                  <c:v>5</c:v>
                </c:pt>
                <c:pt idx="275">
                  <c:v>0</c:v>
                </c:pt>
                <c:pt idx="276">
                  <c:v>0</c:v>
                </c:pt>
                <c:pt idx="277">
                  <c:v>2</c:v>
                </c:pt>
                <c:pt idx="278">
                  <c:v>10</c:v>
                </c:pt>
                <c:pt idx="279">
                  <c:v>5</c:v>
                </c:pt>
                <c:pt idx="280">
                  <c:v>0</c:v>
                </c:pt>
                <c:pt idx="281">
                  <c:v>3</c:v>
                </c:pt>
                <c:pt idx="282">
                  <c:v>1</c:v>
                </c:pt>
                <c:pt idx="283">
                  <c:v>3</c:v>
                </c:pt>
                <c:pt idx="284">
                  <c:v>0</c:v>
                </c:pt>
                <c:pt idx="285">
                  <c:v>5</c:v>
                </c:pt>
                <c:pt idx="286">
                  <c:v>2</c:v>
                </c:pt>
                <c:pt idx="287">
                  <c:v>6</c:v>
                </c:pt>
                <c:pt idx="288">
                  <c:v>1</c:v>
                </c:pt>
                <c:pt idx="289">
                  <c:v>0</c:v>
                </c:pt>
                <c:pt idx="290">
                  <c:v>3</c:v>
                </c:pt>
                <c:pt idx="291">
                  <c:v>1</c:v>
                </c:pt>
                <c:pt idx="292">
                  <c:v>0</c:v>
                </c:pt>
                <c:pt idx="293">
                  <c:v>17</c:v>
                </c:pt>
                <c:pt idx="294">
                  <c:v>0</c:v>
                </c:pt>
                <c:pt idx="295">
                  <c:v>0</c:v>
                </c:pt>
                <c:pt idx="296">
                  <c:v>2</c:v>
                </c:pt>
                <c:pt idx="297">
                  <c:v>2</c:v>
                </c:pt>
                <c:pt idx="298">
                  <c:v>0</c:v>
                </c:pt>
                <c:pt idx="299">
                  <c:v>1</c:v>
                </c:pt>
                <c:pt idx="300">
                  <c:v>42</c:v>
                </c:pt>
                <c:pt idx="301">
                  <c:v>1</c:v>
                </c:pt>
                <c:pt idx="302">
                  <c:v>0</c:v>
                </c:pt>
                <c:pt idx="303">
                  <c:v>13</c:v>
                </c:pt>
                <c:pt idx="304">
                  <c:v>65</c:v>
                </c:pt>
                <c:pt idx="305">
                  <c:v>15</c:v>
                </c:pt>
                <c:pt idx="306">
                  <c:v>8</c:v>
                </c:pt>
                <c:pt idx="307">
                  <c:v>6</c:v>
                </c:pt>
                <c:pt idx="308">
                  <c:v>2</c:v>
                </c:pt>
                <c:pt idx="309">
                  <c:v>6</c:v>
                </c:pt>
                <c:pt idx="310">
                  <c:v>1</c:v>
                </c:pt>
                <c:pt idx="311">
                  <c:v>0</c:v>
                </c:pt>
                <c:pt idx="312">
                  <c:v>5</c:v>
                </c:pt>
                <c:pt idx="313">
                  <c:v>0</c:v>
                </c:pt>
                <c:pt idx="314">
                  <c:v>1</c:v>
                </c:pt>
                <c:pt idx="315">
                  <c:v>0</c:v>
                </c:pt>
                <c:pt idx="316">
                  <c:v>1</c:v>
                </c:pt>
                <c:pt idx="317">
                  <c:v>3</c:v>
                </c:pt>
                <c:pt idx="318">
                  <c:v>1</c:v>
                </c:pt>
                <c:pt idx="319">
                  <c:v>0</c:v>
                </c:pt>
                <c:pt idx="320">
                  <c:v>96</c:v>
                </c:pt>
                <c:pt idx="321">
                  <c:v>29</c:v>
                </c:pt>
                <c:pt idx="322">
                  <c:v>7</c:v>
                </c:pt>
                <c:pt idx="323">
                  <c:v>2</c:v>
                </c:pt>
                <c:pt idx="324">
                  <c:v>5</c:v>
                </c:pt>
                <c:pt idx="325">
                  <c:v>0</c:v>
                </c:pt>
                <c:pt idx="326">
                  <c:v>0</c:v>
                </c:pt>
                <c:pt idx="327">
                  <c:v>70</c:v>
                </c:pt>
                <c:pt idx="328">
                  <c:v>0</c:v>
                </c:pt>
                <c:pt idx="329">
                  <c:v>1</c:v>
                </c:pt>
                <c:pt idx="330">
                  <c:v>0</c:v>
                </c:pt>
                <c:pt idx="331">
                  <c:v>91</c:v>
                </c:pt>
                <c:pt idx="332">
                  <c:v>0</c:v>
                </c:pt>
                <c:pt idx="333">
                  <c:v>0</c:v>
                </c:pt>
                <c:pt idx="334">
                  <c:v>4</c:v>
                </c:pt>
                <c:pt idx="335">
                  <c:v>0</c:v>
                </c:pt>
                <c:pt idx="336">
                  <c:v>25</c:v>
                </c:pt>
                <c:pt idx="337">
                  <c:v>0</c:v>
                </c:pt>
                <c:pt idx="338">
                  <c:v>6</c:v>
                </c:pt>
                <c:pt idx="339">
                  <c:v>2</c:v>
                </c:pt>
                <c:pt idx="340">
                  <c:v>0</c:v>
                </c:pt>
                <c:pt idx="341">
                  <c:v>0</c:v>
                </c:pt>
                <c:pt idx="342">
                  <c:v>1</c:v>
                </c:pt>
                <c:pt idx="343">
                  <c:v>0</c:v>
                </c:pt>
                <c:pt idx="344">
                  <c:v>9</c:v>
                </c:pt>
                <c:pt idx="345">
                  <c:v>1</c:v>
                </c:pt>
                <c:pt idx="346">
                  <c:v>3</c:v>
                </c:pt>
                <c:pt idx="347">
                  <c:v>11</c:v>
                </c:pt>
                <c:pt idx="348">
                  <c:v>0</c:v>
                </c:pt>
                <c:pt idx="349">
                  <c:v>0</c:v>
                </c:pt>
                <c:pt idx="350">
                  <c:v>0</c:v>
                </c:pt>
                <c:pt idx="351">
                  <c:v>1</c:v>
                </c:pt>
                <c:pt idx="352">
                  <c:v>0</c:v>
                </c:pt>
                <c:pt idx="353">
                  <c:v>6</c:v>
                </c:pt>
                <c:pt idx="354">
                  <c:v>1</c:v>
                </c:pt>
                <c:pt idx="355">
                  <c:v>5</c:v>
                </c:pt>
                <c:pt idx="356">
                  <c:v>1</c:v>
                </c:pt>
                <c:pt idx="357">
                  <c:v>1</c:v>
                </c:pt>
                <c:pt idx="358">
                  <c:v>31</c:v>
                </c:pt>
                <c:pt idx="359">
                  <c:v>10</c:v>
                </c:pt>
                <c:pt idx="360">
                  <c:v>0</c:v>
                </c:pt>
                <c:pt idx="361">
                  <c:v>159</c:v>
                </c:pt>
                <c:pt idx="362">
                  <c:v>0</c:v>
                </c:pt>
                <c:pt idx="363">
                  <c:v>0</c:v>
                </c:pt>
                <c:pt idx="364">
                  <c:v>0</c:v>
                </c:pt>
                <c:pt idx="365">
                  <c:v>1</c:v>
                </c:pt>
                <c:pt idx="366">
                  <c:v>0</c:v>
                </c:pt>
                <c:pt idx="367">
                  <c:v>0</c:v>
                </c:pt>
                <c:pt idx="368">
                  <c:v>1</c:v>
                </c:pt>
                <c:pt idx="369">
                  <c:v>8</c:v>
                </c:pt>
                <c:pt idx="370">
                  <c:v>0</c:v>
                </c:pt>
                <c:pt idx="371">
                  <c:v>0</c:v>
                </c:pt>
                <c:pt idx="372">
                  <c:v>15</c:v>
                </c:pt>
                <c:pt idx="373">
                  <c:v>0</c:v>
                </c:pt>
                <c:pt idx="374">
                  <c:v>0</c:v>
                </c:pt>
                <c:pt idx="375">
                  <c:v>2</c:v>
                </c:pt>
                <c:pt idx="376">
                  <c:v>30</c:v>
                </c:pt>
                <c:pt idx="377">
                  <c:v>15</c:v>
                </c:pt>
                <c:pt idx="378">
                  <c:v>5</c:v>
                </c:pt>
                <c:pt idx="379">
                  <c:v>6</c:v>
                </c:pt>
                <c:pt idx="380">
                  <c:v>5</c:v>
                </c:pt>
                <c:pt idx="381">
                  <c:v>10</c:v>
                </c:pt>
                <c:pt idx="382">
                  <c:v>52</c:v>
                </c:pt>
                <c:pt idx="383">
                  <c:v>5</c:v>
                </c:pt>
                <c:pt idx="384">
                  <c:v>40</c:v>
                </c:pt>
                <c:pt idx="385">
                  <c:v>0</c:v>
                </c:pt>
                <c:pt idx="386">
                  <c:v>0</c:v>
                </c:pt>
                <c:pt idx="387">
                  <c:v>71</c:v>
                </c:pt>
                <c:pt idx="388">
                  <c:v>0</c:v>
                </c:pt>
                <c:pt idx="389">
                  <c:v>28</c:v>
                </c:pt>
                <c:pt idx="390">
                  <c:v>5</c:v>
                </c:pt>
                <c:pt idx="391">
                  <c:v>2</c:v>
                </c:pt>
                <c:pt idx="392">
                  <c:v>0</c:v>
                </c:pt>
                <c:pt idx="393">
                  <c:v>5</c:v>
                </c:pt>
                <c:pt idx="394">
                  <c:v>3</c:v>
                </c:pt>
                <c:pt idx="395">
                  <c:v>2</c:v>
                </c:pt>
                <c:pt idx="396">
                  <c:v>10</c:v>
                </c:pt>
                <c:pt idx="397">
                  <c:v>12</c:v>
                </c:pt>
                <c:pt idx="398">
                  <c:v>1</c:v>
                </c:pt>
                <c:pt idx="399">
                  <c:v>73</c:v>
                </c:pt>
                <c:pt idx="400">
                  <c:v>0</c:v>
                </c:pt>
                <c:pt idx="401">
                  <c:v>1</c:v>
                </c:pt>
                <c:pt idx="402">
                  <c:v>17</c:v>
                </c:pt>
                <c:pt idx="403">
                  <c:v>28</c:v>
                </c:pt>
                <c:pt idx="404">
                  <c:v>0</c:v>
                </c:pt>
                <c:pt idx="405">
                  <c:v>0</c:v>
                </c:pt>
                <c:pt idx="406">
                  <c:v>1</c:v>
                </c:pt>
                <c:pt idx="407">
                  <c:v>24</c:v>
                </c:pt>
                <c:pt idx="408">
                  <c:v>0</c:v>
                </c:pt>
                <c:pt idx="409">
                  <c:v>1</c:v>
                </c:pt>
                <c:pt idx="410">
                  <c:v>7</c:v>
                </c:pt>
                <c:pt idx="411">
                  <c:v>2</c:v>
                </c:pt>
                <c:pt idx="412">
                  <c:v>2</c:v>
                </c:pt>
                <c:pt idx="413">
                  <c:v>2</c:v>
                </c:pt>
                <c:pt idx="414">
                  <c:v>0</c:v>
                </c:pt>
                <c:pt idx="415">
                  <c:v>0</c:v>
                </c:pt>
                <c:pt idx="416">
                  <c:v>1</c:v>
                </c:pt>
                <c:pt idx="417">
                  <c:v>19</c:v>
                </c:pt>
                <c:pt idx="418">
                  <c:v>13</c:v>
                </c:pt>
                <c:pt idx="419">
                  <c:v>2</c:v>
                </c:pt>
                <c:pt idx="420">
                  <c:v>9</c:v>
                </c:pt>
                <c:pt idx="421">
                  <c:v>0</c:v>
                </c:pt>
                <c:pt idx="422">
                  <c:v>0</c:v>
                </c:pt>
                <c:pt idx="423">
                  <c:v>11</c:v>
                </c:pt>
                <c:pt idx="424">
                  <c:v>2</c:v>
                </c:pt>
                <c:pt idx="425">
                  <c:v>6</c:v>
                </c:pt>
                <c:pt idx="426">
                  <c:v>3</c:v>
                </c:pt>
                <c:pt idx="427">
                  <c:v>10</c:v>
                </c:pt>
                <c:pt idx="428">
                  <c:v>17</c:v>
                </c:pt>
                <c:pt idx="429">
                  <c:v>0</c:v>
                </c:pt>
                <c:pt idx="430">
                  <c:v>11</c:v>
                </c:pt>
                <c:pt idx="431">
                  <c:v>38</c:v>
                </c:pt>
                <c:pt idx="432">
                  <c:v>0</c:v>
                </c:pt>
                <c:pt idx="433">
                  <c:v>5</c:v>
                </c:pt>
                <c:pt idx="434">
                  <c:v>27</c:v>
                </c:pt>
                <c:pt idx="435">
                  <c:v>0</c:v>
                </c:pt>
                <c:pt idx="436">
                  <c:v>1</c:v>
                </c:pt>
                <c:pt idx="437">
                  <c:v>7</c:v>
                </c:pt>
                <c:pt idx="438">
                  <c:v>1</c:v>
                </c:pt>
                <c:pt idx="439">
                  <c:v>10</c:v>
                </c:pt>
                <c:pt idx="440">
                  <c:v>1</c:v>
                </c:pt>
                <c:pt idx="441">
                  <c:v>3</c:v>
                </c:pt>
                <c:pt idx="442">
                  <c:v>34</c:v>
                </c:pt>
                <c:pt idx="443">
                  <c:v>3</c:v>
                </c:pt>
                <c:pt idx="444">
                  <c:v>0</c:v>
                </c:pt>
                <c:pt idx="445">
                  <c:v>9</c:v>
                </c:pt>
                <c:pt idx="446">
                  <c:v>14</c:v>
                </c:pt>
                <c:pt idx="447">
                  <c:v>0</c:v>
                </c:pt>
                <c:pt idx="448">
                  <c:v>8</c:v>
                </c:pt>
                <c:pt idx="449">
                  <c:v>1</c:v>
                </c:pt>
                <c:pt idx="450">
                  <c:v>4</c:v>
                </c:pt>
                <c:pt idx="451">
                  <c:v>12</c:v>
                </c:pt>
                <c:pt idx="452">
                  <c:v>0</c:v>
                </c:pt>
                <c:pt idx="453">
                  <c:v>1</c:v>
                </c:pt>
                <c:pt idx="454">
                  <c:v>6</c:v>
                </c:pt>
                <c:pt idx="455">
                  <c:v>33</c:v>
                </c:pt>
                <c:pt idx="456">
                  <c:v>1</c:v>
                </c:pt>
                <c:pt idx="457">
                  <c:v>36</c:v>
                </c:pt>
                <c:pt idx="458">
                  <c:v>2</c:v>
                </c:pt>
                <c:pt idx="459">
                  <c:v>6</c:v>
                </c:pt>
                <c:pt idx="460">
                  <c:v>0</c:v>
                </c:pt>
                <c:pt idx="461">
                  <c:v>1</c:v>
                </c:pt>
                <c:pt idx="462">
                  <c:v>8</c:v>
                </c:pt>
                <c:pt idx="463">
                  <c:v>0</c:v>
                </c:pt>
                <c:pt idx="464">
                  <c:v>29</c:v>
                </c:pt>
                <c:pt idx="465">
                  <c:v>2</c:v>
                </c:pt>
                <c:pt idx="466">
                  <c:v>0</c:v>
                </c:pt>
                <c:pt idx="467">
                  <c:v>2</c:v>
                </c:pt>
                <c:pt idx="468">
                  <c:v>0</c:v>
                </c:pt>
                <c:pt idx="469">
                  <c:v>27</c:v>
                </c:pt>
                <c:pt idx="470">
                  <c:v>0</c:v>
                </c:pt>
                <c:pt idx="471">
                  <c:v>0</c:v>
                </c:pt>
                <c:pt idx="472">
                  <c:v>41</c:v>
                </c:pt>
                <c:pt idx="473">
                  <c:v>1</c:v>
                </c:pt>
                <c:pt idx="474">
                  <c:v>0</c:v>
                </c:pt>
                <c:pt idx="475">
                  <c:v>0</c:v>
                </c:pt>
                <c:pt idx="476">
                  <c:v>2</c:v>
                </c:pt>
                <c:pt idx="477">
                  <c:v>7</c:v>
                </c:pt>
                <c:pt idx="478">
                  <c:v>0</c:v>
                </c:pt>
                <c:pt idx="479">
                  <c:v>5</c:v>
                </c:pt>
                <c:pt idx="480">
                  <c:v>16</c:v>
                </c:pt>
                <c:pt idx="481">
                  <c:v>21</c:v>
                </c:pt>
                <c:pt idx="482">
                  <c:v>0</c:v>
                </c:pt>
                <c:pt idx="483">
                  <c:v>15</c:v>
                </c:pt>
                <c:pt idx="484">
                  <c:v>0</c:v>
                </c:pt>
                <c:pt idx="485">
                  <c:v>9</c:v>
                </c:pt>
                <c:pt idx="486">
                  <c:v>123</c:v>
                </c:pt>
                <c:pt idx="487">
                  <c:v>138</c:v>
                </c:pt>
                <c:pt idx="488">
                  <c:v>1</c:v>
                </c:pt>
                <c:pt idx="489">
                  <c:v>0</c:v>
                </c:pt>
                <c:pt idx="490">
                  <c:v>0</c:v>
                </c:pt>
                <c:pt idx="491">
                  <c:v>0</c:v>
                </c:pt>
                <c:pt idx="492">
                  <c:v>50</c:v>
                </c:pt>
                <c:pt idx="493">
                  <c:v>0</c:v>
                </c:pt>
                <c:pt idx="494">
                  <c:v>0</c:v>
                </c:pt>
                <c:pt idx="495">
                  <c:v>1</c:v>
                </c:pt>
                <c:pt idx="496">
                  <c:v>31</c:v>
                </c:pt>
                <c:pt idx="497">
                  <c:v>5</c:v>
                </c:pt>
                <c:pt idx="498">
                  <c:v>43</c:v>
                </c:pt>
                <c:pt idx="499">
                  <c:v>0</c:v>
                </c:pt>
                <c:pt idx="500">
                  <c:v>52</c:v>
                </c:pt>
                <c:pt idx="501">
                  <c:v>1</c:v>
                </c:pt>
                <c:pt idx="502">
                  <c:v>98</c:v>
                </c:pt>
                <c:pt idx="503">
                  <c:v>0</c:v>
                </c:pt>
                <c:pt idx="504">
                  <c:v>6</c:v>
                </c:pt>
                <c:pt idx="505">
                  <c:v>0</c:v>
                </c:pt>
                <c:pt idx="506">
                  <c:v>2</c:v>
                </c:pt>
                <c:pt idx="507">
                  <c:v>27</c:v>
                </c:pt>
                <c:pt idx="508">
                  <c:v>0</c:v>
                </c:pt>
                <c:pt idx="509">
                  <c:v>0</c:v>
                </c:pt>
                <c:pt idx="510">
                  <c:v>0</c:v>
                </c:pt>
                <c:pt idx="511">
                  <c:v>0</c:v>
                </c:pt>
                <c:pt idx="512">
                  <c:v>0</c:v>
                </c:pt>
                <c:pt idx="513">
                  <c:v>106</c:v>
                </c:pt>
                <c:pt idx="514">
                  <c:v>1</c:v>
                </c:pt>
                <c:pt idx="515">
                  <c:v>7</c:v>
                </c:pt>
                <c:pt idx="516">
                  <c:v>2</c:v>
                </c:pt>
                <c:pt idx="517">
                  <c:v>2</c:v>
                </c:pt>
                <c:pt idx="518">
                  <c:v>5</c:v>
                </c:pt>
                <c:pt idx="519">
                  <c:v>70</c:v>
                </c:pt>
                <c:pt idx="520">
                  <c:v>0</c:v>
                </c:pt>
                <c:pt idx="521">
                  <c:v>1</c:v>
                </c:pt>
                <c:pt idx="522">
                  <c:v>9</c:v>
                </c:pt>
                <c:pt idx="523">
                  <c:v>0</c:v>
                </c:pt>
                <c:pt idx="524">
                  <c:v>1</c:v>
                </c:pt>
                <c:pt idx="525">
                  <c:v>9</c:v>
                </c:pt>
                <c:pt idx="526">
                  <c:v>0</c:v>
                </c:pt>
                <c:pt idx="527">
                  <c:v>4</c:v>
                </c:pt>
                <c:pt idx="528">
                  <c:v>1</c:v>
                </c:pt>
                <c:pt idx="529">
                  <c:v>0</c:v>
                </c:pt>
                <c:pt idx="530">
                  <c:v>1</c:v>
                </c:pt>
                <c:pt idx="531">
                  <c:v>63</c:v>
                </c:pt>
                <c:pt idx="532">
                  <c:v>7</c:v>
                </c:pt>
                <c:pt idx="533">
                  <c:v>2</c:v>
                </c:pt>
                <c:pt idx="534">
                  <c:v>0</c:v>
                </c:pt>
                <c:pt idx="535">
                  <c:v>95</c:v>
                </c:pt>
                <c:pt idx="536">
                  <c:v>15</c:v>
                </c:pt>
                <c:pt idx="537">
                  <c:v>0</c:v>
                </c:pt>
                <c:pt idx="538">
                  <c:v>0</c:v>
                </c:pt>
                <c:pt idx="539">
                  <c:v>0</c:v>
                </c:pt>
                <c:pt idx="540">
                  <c:v>0</c:v>
                </c:pt>
                <c:pt idx="541">
                  <c:v>0</c:v>
                </c:pt>
                <c:pt idx="542">
                  <c:v>7</c:v>
                </c:pt>
                <c:pt idx="543">
                  <c:v>1</c:v>
                </c:pt>
                <c:pt idx="544">
                  <c:v>0</c:v>
                </c:pt>
                <c:pt idx="545">
                  <c:v>3</c:v>
                </c:pt>
                <c:pt idx="546">
                  <c:v>9</c:v>
                </c:pt>
                <c:pt idx="547">
                  <c:v>3</c:v>
                </c:pt>
                <c:pt idx="548">
                  <c:v>13</c:v>
                </c:pt>
                <c:pt idx="549">
                  <c:v>6</c:v>
                </c:pt>
                <c:pt idx="550">
                  <c:v>18</c:v>
                </c:pt>
                <c:pt idx="551">
                  <c:v>5</c:v>
                </c:pt>
                <c:pt idx="552">
                  <c:v>0</c:v>
                </c:pt>
                <c:pt idx="553">
                  <c:v>0</c:v>
                </c:pt>
                <c:pt idx="554">
                  <c:v>0</c:v>
                </c:pt>
                <c:pt idx="555">
                  <c:v>5</c:v>
                </c:pt>
                <c:pt idx="556">
                  <c:v>11</c:v>
                </c:pt>
                <c:pt idx="557">
                  <c:v>0</c:v>
                </c:pt>
                <c:pt idx="558">
                  <c:v>5</c:v>
                </c:pt>
                <c:pt idx="559">
                  <c:v>4</c:v>
                </c:pt>
                <c:pt idx="560">
                  <c:v>0</c:v>
                </c:pt>
                <c:pt idx="561">
                  <c:v>0</c:v>
                </c:pt>
                <c:pt idx="562">
                  <c:v>5</c:v>
                </c:pt>
                <c:pt idx="563">
                  <c:v>0</c:v>
                </c:pt>
                <c:pt idx="564">
                  <c:v>0</c:v>
                </c:pt>
                <c:pt idx="565">
                  <c:v>70</c:v>
                </c:pt>
                <c:pt idx="566">
                  <c:v>10</c:v>
                </c:pt>
                <c:pt idx="567">
                  <c:v>8</c:v>
                </c:pt>
                <c:pt idx="568">
                  <c:v>3</c:v>
                </c:pt>
                <c:pt idx="569">
                  <c:v>0</c:v>
                </c:pt>
                <c:pt idx="570">
                  <c:v>1</c:v>
                </c:pt>
                <c:pt idx="571">
                  <c:v>0</c:v>
                </c:pt>
                <c:pt idx="572">
                  <c:v>0</c:v>
                </c:pt>
                <c:pt idx="573">
                  <c:v>2</c:v>
                </c:pt>
                <c:pt idx="574">
                  <c:v>12</c:v>
                </c:pt>
                <c:pt idx="575">
                  <c:v>0</c:v>
                </c:pt>
                <c:pt idx="576">
                  <c:v>2</c:v>
                </c:pt>
                <c:pt idx="577">
                  <c:v>82</c:v>
                </c:pt>
                <c:pt idx="578">
                  <c:v>0</c:v>
                </c:pt>
                <c:pt idx="579">
                  <c:v>2</c:v>
                </c:pt>
                <c:pt idx="580">
                  <c:v>2</c:v>
                </c:pt>
                <c:pt idx="581">
                  <c:v>104</c:v>
                </c:pt>
                <c:pt idx="582">
                  <c:v>3</c:v>
                </c:pt>
                <c:pt idx="583">
                  <c:v>0</c:v>
                </c:pt>
                <c:pt idx="584">
                  <c:v>40</c:v>
                </c:pt>
                <c:pt idx="585">
                  <c:v>0</c:v>
                </c:pt>
                <c:pt idx="586">
                  <c:v>0</c:v>
                </c:pt>
                <c:pt idx="587">
                  <c:v>4</c:v>
                </c:pt>
                <c:pt idx="588">
                  <c:v>2</c:v>
                </c:pt>
                <c:pt idx="589">
                  <c:v>66</c:v>
                </c:pt>
                <c:pt idx="590">
                  <c:v>20</c:v>
                </c:pt>
                <c:pt idx="591">
                  <c:v>0</c:v>
                </c:pt>
                <c:pt idx="592">
                  <c:v>12</c:v>
                </c:pt>
                <c:pt idx="593">
                  <c:v>0</c:v>
                </c:pt>
                <c:pt idx="594">
                  <c:v>17</c:v>
                </c:pt>
                <c:pt idx="595">
                  <c:v>3</c:v>
                </c:pt>
                <c:pt idx="596">
                  <c:v>0</c:v>
                </c:pt>
                <c:pt idx="597">
                  <c:v>0</c:v>
                </c:pt>
                <c:pt idx="598">
                  <c:v>0</c:v>
                </c:pt>
                <c:pt idx="599">
                  <c:v>0</c:v>
                </c:pt>
                <c:pt idx="600">
                  <c:v>0</c:v>
                </c:pt>
                <c:pt idx="601">
                  <c:v>0</c:v>
                </c:pt>
                <c:pt idx="602">
                  <c:v>0</c:v>
                </c:pt>
                <c:pt idx="603">
                  <c:v>29</c:v>
                </c:pt>
                <c:pt idx="604">
                  <c:v>0</c:v>
                </c:pt>
                <c:pt idx="605">
                  <c:v>2</c:v>
                </c:pt>
                <c:pt idx="606">
                  <c:v>4</c:v>
                </c:pt>
                <c:pt idx="607">
                  <c:v>3</c:v>
                </c:pt>
                <c:pt idx="608">
                  <c:v>54</c:v>
                </c:pt>
                <c:pt idx="609">
                  <c:v>1</c:v>
                </c:pt>
                <c:pt idx="610">
                  <c:v>8</c:v>
                </c:pt>
                <c:pt idx="611">
                  <c:v>28</c:v>
                </c:pt>
                <c:pt idx="612">
                  <c:v>0</c:v>
                </c:pt>
                <c:pt idx="613">
                  <c:v>8</c:v>
                </c:pt>
                <c:pt idx="614">
                  <c:v>0</c:v>
                </c:pt>
                <c:pt idx="615">
                  <c:v>4</c:v>
                </c:pt>
                <c:pt idx="616">
                  <c:v>2</c:v>
                </c:pt>
                <c:pt idx="617">
                  <c:v>6</c:v>
                </c:pt>
                <c:pt idx="618">
                  <c:v>45</c:v>
                </c:pt>
                <c:pt idx="619">
                  <c:v>162</c:v>
                </c:pt>
                <c:pt idx="620">
                  <c:v>10</c:v>
                </c:pt>
                <c:pt idx="621">
                  <c:v>3</c:v>
                </c:pt>
                <c:pt idx="622">
                  <c:v>9</c:v>
                </c:pt>
                <c:pt idx="623">
                  <c:v>0</c:v>
                </c:pt>
                <c:pt idx="624">
                  <c:v>0</c:v>
                </c:pt>
                <c:pt idx="625">
                  <c:v>4</c:v>
                </c:pt>
                <c:pt idx="626">
                  <c:v>26</c:v>
                </c:pt>
                <c:pt idx="627">
                  <c:v>12</c:v>
                </c:pt>
                <c:pt idx="628">
                  <c:v>0</c:v>
                </c:pt>
                <c:pt idx="629">
                  <c:v>2</c:v>
                </c:pt>
                <c:pt idx="630">
                  <c:v>3</c:v>
                </c:pt>
                <c:pt idx="631">
                  <c:v>3</c:v>
                </c:pt>
                <c:pt idx="632">
                  <c:v>0</c:v>
                </c:pt>
                <c:pt idx="633">
                  <c:v>0</c:v>
                </c:pt>
                <c:pt idx="634">
                  <c:v>0</c:v>
                </c:pt>
                <c:pt idx="635">
                  <c:v>165</c:v>
                </c:pt>
                <c:pt idx="636">
                  <c:v>2</c:v>
                </c:pt>
                <c:pt idx="637">
                  <c:v>6</c:v>
                </c:pt>
                <c:pt idx="638">
                  <c:v>0</c:v>
                </c:pt>
                <c:pt idx="639">
                  <c:v>0</c:v>
                </c:pt>
                <c:pt idx="640">
                  <c:v>66</c:v>
                </c:pt>
                <c:pt idx="641">
                  <c:v>3</c:v>
                </c:pt>
                <c:pt idx="642">
                  <c:v>125</c:v>
                </c:pt>
                <c:pt idx="643">
                  <c:v>93</c:v>
                </c:pt>
                <c:pt idx="644">
                  <c:v>45</c:v>
                </c:pt>
                <c:pt idx="645">
                  <c:v>37</c:v>
                </c:pt>
                <c:pt idx="646">
                  <c:v>72</c:v>
                </c:pt>
                <c:pt idx="647">
                  <c:v>2</c:v>
                </c:pt>
                <c:pt idx="648">
                  <c:v>7</c:v>
                </c:pt>
                <c:pt idx="649">
                  <c:v>10</c:v>
                </c:pt>
                <c:pt idx="650">
                  <c:v>0</c:v>
                </c:pt>
                <c:pt idx="651">
                  <c:v>0</c:v>
                </c:pt>
                <c:pt idx="652">
                  <c:v>34</c:v>
                </c:pt>
                <c:pt idx="653">
                  <c:v>19</c:v>
                </c:pt>
                <c:pt idx="654">
                  <c:v>1</c:v>
                </c:pt>
                <c:pt idx="655">
                  <c:v>15</c:v>
                </c:pt>
                <c:pt idx="656">
                  <c:v>10</c:v>
                </c:pt>
                <c:pt idx="657">
                  <c:v>1</c:v>
                </c:pt>
                <c:pt idx="658">
                  <c:v>0</c:v>
                </c:pt>
                <c:pt idx="659">
                  <c:v>8</c:v>
                </c:pt>
                <c:pt idx="660">
                  <c:v>0</c:v>
                </c:pt>
                <c:pt idx="661">
                  <c:v>0</c:v>
                </c:pt>
                <c:pt idx="662">
                  <c:v>0</c:v>
                </c:pt>
                <c:pt idx="663">
                  <c:v>0</c:v>
                </c:pt>
                <c:pt idx="664">
                  <c:v>11</c:v>
                </c:pt>
                <c:pt idx="665">
                  <c:v>0</c:v>
                </c:pt>
                <c:pt idx="666">
                  <c:v>30</c:v>
                </c:pt>
                <c:pt idx="667">
                  <c:v>0</c:v>
                </c:pt>
                <c:pt idx="668">
                  <c:v>13</c:v>
                </c:pt>
                <c:pt idx="669">
                  <c:v>0</c:v>
                </c:pt>
                <c:pt idx="670">
                  <c:v>3</c:v>
                </c:pt>
                <c:pt idx="671">
                  <c:v>2</c:v>
                </c:pt>
                <c:pt idx="672">
                  <c:v>1</c:v>
                </c:pt>
                <c:pt idx="673">
                  <c:v>2</c:v>
                </c:pt>
                <c:pt idx="674">
                  <c:v>0</c:v>
                </c:pt>
                <c:pt idx="675">
                  <c:v>0</c:v>
                </c:pt>
                <c:pt idx="676">
                  <c:v>2</c:v>
                </c:pt>
                <c:pt idx="677">
                  <c:v>13</c:v>
                </c:pt>
                <c:pt idx="678">
                  <c:v>0</c:v>
                </c:pt>
                <c:pt idx="679">
                  <c:v>103</c:v>
                </c:pt>
                <c:pt idx="680">
                  <c:v>6</c:v>
                </c:pt>
                <c:pt idx="681">
                  <c:v>41</c:v>
                </c:pt>
                <c:pt idx="682">
                  <c:v>20</c:v>
                </c:pt>
                <c:pt idx="683">
                  <c:v>65</c:v>
                </c:pt>
                <c:pt idx="684">
                  <c:v>0</c:v>
                </c:pt>
                <c:pt idx="685">
                  <c:v>5</c:v>
                </c:pt>
                <c:pt idx="686">
                  <c:v>0</c:v>
                </c:pt>
                <c:pt idx="687">
                  <c:v>68</c:v>
                </c:pt>
                <c:pt idx="688">
                  <c:v>8</c:v>
                </c:pt>
                <c:pt idx="689">
                  <c:v>0</c:v>
                </c:pt>
                <c:pt idx="690">
                  <c:v>0</c:v>
                </c:pt>
                <c:pt idx="691">
                  <c:v>12</c:v>
                </c:pt>
                <c:pt idx="692">
                  <c:v>2</c:v>
                </c:pt>
                <c:pt idx="693">
                  <c:v>0</c:v>
                </c:pt>
                <c:pt idx="694">
                  <c:v>0</c:v>
                </c:pt>
                <c:pt idx="695">
                  <c:v>10</c:v>
                </c:pt>
                <c:pt idx="696">
                  <c:v>1</c:v>
                </c:pt>
                <c:pt idx="697">
                  <c:v>0</c:v>
                </c:pt>
                <c:pt idx="698">
                  <c:v>0</c:v>
                </c:pt>
                <c:pt idx="699">
                  <c:v>3</c:v>
                </c:pt>
                <c:pt idx="700">
                  <c:v>8</c:v>
                </c:pt>
                <c:pt idx="701">
                  <c:v>0</c:v>
                </c:pt>
                <c:pt idx="702">
                  <c:v>0</c:v>
                </c:pt>
                <c:pt idx="703">
                  <c:v>11</c:v>
                </c:pt>
                <c:pt idx="704">
                  <c:v>5</c:v>
                </c:pt>
                <c:pt idx="705">
                  <c:v>46</c:v>
                </c:pt>
                <c:pt idx="706">
                  <c:v>17</c:v>
                </c:pt>
                <c:pt idx="707">
                  <c:v>8</c:v>
                </c:pt>
                <c:pt idx="708">
                  <c:v>3</c:v>
                </c:pt>
                <c:pt idx="709">
                  <c:v>1</c:v>
                </c:pt>
                <c:pt idx="710">
                  <c:v>1</c:v>
                </c:pt>
                <c:pt idx="711">
                  <c:v>0</c:v>
                </c:pt>
                <c:pt idx="712">
                  <c:v>1</c:v>
                </c:pt>
                <c:pt idx="713">
                  <c:v>0</c:v>
                </c:pt>
                <c:pt idx="714">
                  <c:v>44</c:v>
                </c:pt>
                <c:pt idx="715">
                  <c:v>3</c:v>
                </c:pt>
                <c:pt idx="716">
                  <c:v>0</c:v>
                </c:pt>
                <c:pt idx="717">
                  <c:v>8</c:v>
                </c:pt>
                <c:pt idx="718">
                  <c:v>4</c:v>
                </c:pt>
                <c:pt idx="719">
                  <c:v>0</c:v>
                </c:pt>
                <c:pt idx="720">
                  <c:v>8</c:v>
                </c:pt>
                <c:pt idx="721">
                  <c:v>0</c:v>
                </c:pt>
                <c:pt idx="722">
                  <c:v>0</c:v>
                </c:pt>
                <c:pt idx="723">
                  <c:v>4</c:v>
                </c:pt>
                <c:pt idx="724">
                  <c:v>4</c:v>
                </c:pt>
                <c:pt idx="725">
                  <c:v>0</c:v>
                </c:pt>
                <c:pt idx="726">
                  <c:v>2</c:v>
                </c:pt>
                <c:pt idx="727">
                  <c:v>2</c:v>
                </c:pt>
                <c:pt idx="728">
                  <c:v>0</c:v>
                </c:pt>
                <c:pt idx="729">
                  <c:v>2</c:v>
                </c:pt>
                <c:pt idx="730">
                  <c:v>15</c:v>
                </c:pt>
                <c:pt idx="731">
                  <c:v>2</c:v>
                </c:pt>
                <c:pt idx="732">
                  <c:v>2</c:v>
                </c:pt>
                <c:pt idx="733">
                  <c:v>0</c:v>
                </c:pt>
                <c:pt idx="734">
                  <c:v>0</c:v>
                </c:pt>
                <c:pt idx="735">
                  <c:v>3</c:v>
                </c:pt>
                <c:pt idx="736">
                  <c:v>1</c:v>
                </c:pt>
                <c:pt idx="737">
                  <c:v>2</c:v>
                </c:pt>
                <c:pt idx="738">
                  <c:v>1</c:v>
                </c:pt>
                <c:pt idx="739">
                  <c:v>0</c:v>
                </c:pt>
                <c:pt idx="740">
                  <c:v>0</c:v>
                </c:pt>
                <c:pt idx="741">
                  <c:v>1</c:v>
                </c:pt>
                <c:pt idx="742">
                  <c:v>1</c:v>
                </c:pt>
                <c:pt idx="743">
                  <c:v>9</c:v>
                </c:pt>
                <c:pt idx="744">
                  <c:v>28</c:v>
                </c:pt>
                <c:pt idx="745">
                  <c:v>3</c:v>
                </c:pt>
                <c:pt idx="746">
                  <c:v>0</c:v>
                </c:pt>
                <c:pt idx="747">
                  <c:v>2</c:v>
                </c:pt>
                <c:pt idx="748">
                  <c:v>0</c:v>
                </c:pt>
                <c:pt idx="749">
                  <c:v>0</c:v>
                </c:pt>
                <c:pt idx="750">
                  <c:v>0</c:v>
                </c:pt>
                <c:pt idx="751">
                  <c:v>4</c:v>
                </c:pt>
                <c:pt idx="752">
                  <c:v>4</c:v>
                </c:pt>
                <c:pt idx="753">
                  <c:v>26</c:v>
                </c:pt>
                <c:pt idx="754">
                  <c:v>1</c:v>
                </c:pt>
                <c:pt idx="755">
                  <c:v>9</c:v>
                </c:pt>
                <c:pt idx="756">
                  <c:v>1</c:v>
                </c:pt>
                <c:pt idx="757">
                  <c:v>0</c:v>
                </c:pt>
                <c:pt idx="758">
                  <c:v>0</c:v>
                </c:pt>
                <c:pt idx="759">
                  <c:v>96</c:v>
                </c:pt>
                <c:pt idx="760">
                  <c:v>1</c:v>
                </c:pt>
                <c:pt idx="761">
                  <c:v>1</c:v>
                </c:pt>
                <c:pt idx="762">
                  <c:v>0</c:v>
                </c:pt>
                <c:pt idx="763">
                  <c:v>0</c:v>
                </c:pt>
                <c:pt idx="764">
                  <c:v>33</c:v>
                </c:pt>
                <c:pt idx="765">
                  <c:v>10</c:v>
                </c:pt>
                <c:pt idx="766">
                  <c:v>0</c:v>
                </c:pt>
                <c:pt idx="767">
                  <c:v>0</c:v>
                </c:pt>
                <c:pt idx="768">
                  <c:v>0</c:v>
                </c:pt>
                <c:pt idx="769">
                  <c:v>0</c:v>
                </c:pt>
                <c:pt idx="770">
                  <c:v>0</c:v>
                </c:pt>
                <c:pt idx="771">
                  <c:v>5</c:v>
                </c:pt>
                <c:pt idx="772">
                  <c:v>4</c:v>
                </c:pt>
                <c:pt idx="773">
                  <c:v>4</c:v>
                </c:pt>
                <c:pt idx="774">
                  <c:v>4</c:v>
                </c:pt>
                <c:pt idx="775">
                  <c:v>51</c:v>
                </c:pt>
                <c:pt idx="776">
                  <c:v>3</c:v>
                </c:pt>
                <c:pt idx="777">
                  <c:v>0</c:v>
                </c:pt>
                <c:pt idx="778">
                  <c:v>0</c:v>
                </c:pt>
                <c:pt idx="779">
                  <c:v>126</c:v>
                </c:pt>
                <c:pt idx="780">
                  <c:v>21</c:v>
                </c:pt>
                <c:pt idx="781">
                  <c:v>0</c:v>
                </c:pt>
                <c:pt idx="782">
                  <c:v>30</c:v>
                </c:pt>
                <c:pt idx="783">
                  <c:v>0</c:v>
                </c:pt>
                <c:pt idx="784">
                  <c:v>0</c:v>
                </c:pt>
                <c:pt idx="785">
                  <c:v>64</c:v>
                </c:pt>
                <c:pt idx="786">
                  <c:v>9</c:v>
                </c:pt>
                <c:pt idx="787">
                  <c:v>0</c:v>
                </c:pt>
                <c:pt idx="788">
                  <c:v>30</c:v>
                </c:pt>
                <c:pt idx="789">
                  <c:v>0</c:v>
                </c:pt>
                <c:pt idx="790">
                  <c:v>0</c:v>
                </c:pt>
                <c:pt idx="791">
                  <c:v>0</c:v>
                </c:pt>
                <c:pt idx="792">
                  <c:v>51</c:v>
                </c:pt>
                <c:pt idx="793">
                  <c:v>12</c:v>
                </c:pt>
                <c:pt idx="794">
                  <c:v>1</c:v>
                </c:pt>
                <c:pt idx="795">
                  <c:v>26</c:v>
                </c:pt>
                <c:pt idx="796">
                  <c:v>1</c:v>
                </c:pt>
                <c:pt idx="797">
                  <c:v>1</c:v>
                </c:pt>
                <c:pt idx="798">
                  <c:v>3</c:v>
                </c:pt>
                <c:pt idx="799">
                  <c:v>0</c:v>
                </c:pt>
                <c:pt idx="800">
                  <c:v>6</c:v>
                </c:pt>
                <c:pt idx="801">
                  <c:v>0</c:v>
                </c:pt>
                <c:pt idx="802">
                  <c:v>31</c:v>
                </c:pt>
                <c:pt idx="803">
                  <c:v>2</c:v>
                </c:pt>
                <c:pt idx="804">
                  <c:v>3</c:v>
                </c:pt>
                <c:pt idx="805">
                  <c:v>2</c:v>
                </c:pt>
                <c:pt idx="806">
                  <c:v>0</c:v>
                </c:pt>
                <c:pt idx="807">
                  <c:v>17</c:v>
                </c:pt>
                <c:pt idx="808">
                  <c:v>1</c:v>
                </c:pt>
                <c:pt idx="809">
                  <c:v>2</c:v>
                </c:pt>
                <c:pt idx="810">
                  <c:v>8</c:v>
                </c:pt>
                <c:pt idx="811">
                  <c:v>2</c:v>
                </c:pt>
                <c:pt idx="812">
                  <c:v>20</c:v>
                </c:pt>
                <c:pt idx="813">
                  <c:v>0</c:v>
                </c:pt>
                <c:pt idx="814">
                  <c:v>4</c:v>
                </c:pt>
                <c:pt idx="815">
                  <c:v>0</c:v>
                </c:pt>
                <c:pt idx="816">
                  <c:v>0</c:v>
                </c:pt>
                <c:pt idx="817">
                  <c:v>1</c:v>
                </c:pt>
                <c:pt idx="818">
                  <c:v>7</c:v>
                </c:pt>
                <c:pt idx="819">
                  <c:v>6</c:v>
                </c:pt>
                <c:pt idx="820">
                  <c:v>0</c:v>
                </c:pt>
                <c:pt idx="821">
                  <c:v>19</c:v>
                </c:pt>
                <c:pt idx="822">
                  <c:v>39</c:v>
                </c:pt>
                <c:pt idx="823">
                  <c:v>1</c:v>
                </c:pt>
              </c:numCache>
            </c:numRef>
          </c:yVal>
          <c:smooth val="0"/>
          <c:extLst>
            <c:ext xmlns:c16="http://schemas.microsoft.com/office/drawing/2014/chart" uri="{C3380CC4-5D6E-409C-BE32-E72D297353CC}">
              <c16:uniqueId val="{00000000-7CB1-4E72-BF4A-2E3DBF7B9B9A}"/>
            </c:ext>
          </c:extLst>
        </c:ser>
        <c:dLbls>
          <c:showLegendKey val="0"/>
          <c:showVal val="0"/>
          <c:showCatName val="0"/>
          <c:showSerName val="0"/>
          <c:showPercent val="0"/>
          <c:showBubbleSize val="0"/>
        </c:dLbls>
        <c:axId val="1529359"/>
        <c:axId val="1905507872"/>
      </c:scatterChart>
      <c:valAx>
        <c:axId val="152935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GD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905507872"/>
        <c:crosses val="autoZero"/>
        <c:crossBetween val="midCat"/>
      </c:valAx>
      <c:valAx>
        <c:axId val="1905507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52935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r>
              <a:rPr lang="en-CA" sz="1200">
                <a:latin typeface="Helvetica Neue" panose="020B0604020202020204" charset="0"/>
              </a:rPr>
              <a:t>Starbucks</a:t>
            </a:r>
            <a:r>
              <a:rPr lang="en-CA" sz="1200" baseline="0">
                <a:latin typeface="Helvetica Neue" panose="020B0604020202020204" charset="0"/>
              </a:rPr>
              <a:t> Stores to County Total Workers</a:t>
            </a:r>
            <a:endParaRPr lang="en-CA" sz="1200">
              <a:latin typeface="Helvetica Neue" panose="020B0604020202020204" charset="0"/>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endParaRPr lang="en-US"/>
        </a:p>
      </c:txPr>
    </c:title>
    <c:autoTitleDeleted val="0"/>
    <c:plotArea>
      <c:layout/>
      <c:scatterChart>
        <c:scatterStyle val="lineMarker"/>
        <c:varyColors val="0"/>
        <c:ser>
          <c:idx val="0"/>
          <c:order val="0"/>
          <c:tx>
            <c:strRef>
              <c:f>pivot!$AG$3</c:f>
              <c:strCache>
                <c:ptCount val="1"/>
                <c:pt idx="0">
                  <c:v>Sum of Starbucks</c:v>
                </c:pt>
              </c:strCache>
            </c:strRef>
          </c:tx>
          <c:spPr>
            <a:ln w="19050" cap="rnd">
              <a:noFill/>
              <a:round/>
            </a:ln>
            <a:effectLst/>
          </c:spPr>
          <c:marker>
            <c:symbol val="circle"/>
            <c:size val="5"/>
            <c:spPr>
              <a:solidFill>
                <a:schemeClr val="accent1"/>
              </a:solidFill>
              <a:ln w="9525">
                <a:solidFill>
                  <a:schemeClr val="accent1"/>
                </a:solidFill>
              </a:ln>
              <a:effectLst/>
            </c:spPr>
          </c:marker>
          <c:xVal>
            <c:numRef>
              <c:f>pivot!$X$4:$X$835</c:f>
              <c:numCache>
                <c:formatCode>General</c:formatCode>
                <c:ptCount val="824"/>
                <c:pt idx="0">
                  <c:v>19430</c:v>
                </c:pt>
                <c:pt idx="1">
                  <c:v>2942</c:v>
                </c:pt>
                <c:pt idx="2">
                  <c:v>6458</c:v>
                </c:pt>
                <c:pt idx="3">
                  <c:v>346467</c:v>
                </c:pt>
                <c:pt idx="4">
                  <c:v>3434</c:v>
                </c:pt>
                <c:pt idx="5">
                  <c:v>108254</c:v>
                </c:pt>
                <c:pt idx="6">
                  <c:v>710843</c:v>
                </c:pt>
                <c:pt idx="7">
                  <c:v>6588</c:v>
                </c:pt>
                <c:pt idx="8">
                  <c:v>122253</c:v>
                </c:pt>
                <c:pt idx="9">
                  <c:v>44763</c:v>
                </c:pt>
                <c:pt idx="10">
                  <c:v>96144</c:v>
                </c:pt>
                <c:pt idx="11">
                  <c:v>49538</c:v>
                </c:pt>
                <c:pt idx="12">
                  <c:v>7688</c:v>
                </c:pt>
                <c:pt idx="13">
                  <c:v>5791</c:v>
                </c:pt>
                <c:pt idx="14">
                  <c:v>447838</c:v>
                </c:pt>
                <c:pt idx="15">
                  <c:v>57459</c:v>
                </c:pt>
                <c:pt idx="16">
                  <c:v>9067</c:v>
                </c:pt>
                <c:pt idx="17">
                  <c:v>2765</c:v>
                </c:pt>
                <c:pt idx="18">
                  <c:v>4819</c:v>
                </c:pt>
                <c:pt idx="19">
                  <c:v>11651</c:v>
                </c:pt>
                <c:pt idx="20">
                  <c:v>10525</c:v>
                </c:pt>
                <c:pt idx="21">
                  <c:v>37754</c:v>
                </c:pt>
                <c:pt idx="22">
                  <c:v>164267</c:v>
                </c:pt>
                <c:pt idx="23">
                  <c:v>4605</c:v>
                </c:pt>
                <c:pt idx="24">
                  <c:v>5987</c:v>
                </c:pt>
                <c:pt idx="25">
                  <c:v>4210</c:v>
                </c:pt>
                <c:pt idx="26">
                  <c:v>305228</c:v>
                </c:pt>
                <c:pt idx="27">
                  <c:v>5575</c:v>
                </c:pt>
                <c:pt idx="28">
                  <c:v>2100</c:v>
                </c:pt>
                <c:pt idx="29">
                  <c:v>130413</c:v>
                </c:pt>
                <c:pt idx="30">
                  <c:v>7613</c:v>
                </c:pt>
                <c:pt idx="31">
                  <c:v>12577</c:v>
                </c:pt>
                <c:pt idx="32">
                  <c:v>50650</c:v>
                </c:pt>
                <c:pt idx="33">
                  <c:v>24140</c:v>
                </c:pt>
                <c:pt idx="34">
                  <c:v>31169</c:v>
                </c:pt>
                <c:pt idx="35">
                  <c:v>17381</c:v>
                </c:pt>
                <c:pt idx="36">
                  <c:v>112774</c:v>
                </c:pt>
                <c:pt idx="37">
                  <c:v>18460</c:v>
                </c:pt>
                <c:pt idx="38">
                  <c:v>39409</c:v>
                </c:pt>
                <c:pt idx="39">
                  <c:v>7719</c:v>
                </c:pt>
                <c:pt idx="40">
                  <c:v>3563</c:v>
                </c:pt>
                <c:pt idx="41">
                  <c:v>10349</c:v>
                </c:pt>
                <c:pt idx="42">
                  <c:v>16223</c:v>
                </c:pt>
                <c:pt idx="43">
                  <c:v>3647</c:v>
                </c:pt>
                <c:pt idx="44">
                  <c:v>90846</c:v>
                </c:pt>
                <c:pt idx="45">
                  <c:v>15157</c:v>
                </c:pt>
                <c:pt idx="46">
                  <c:v>10351</c:v>
                </c:pt>
                <c:pt idx="47">
                  <c:v>36910</c:v>
                </c:pt>
                <c:pt idx="48">
                  <c:v>8481</c:v>
                </c:pt>
                <c:pt idx="49">
                  <c:v>40430</c:v>
                </c:pt>
                <c:pt idx="50">
                  <c:v>2716</c:v>
                </c:pt>
                <c:pt idx="51">
                  <c:v>104100</c:v>
                </c:pt>
                <c:pt idx="52">
                  <c:v>10690</c:v>
                </c:pt>
                <c:pt idx="53">
                  <c:v>42289</c:v>
                </c:pt>
                <c:pt idx="54">
                  <c:v>8573</c:v>
                </c:pt>
                <c:pt idx="55">
                  <c:v>40623</c:v>
                </c:pt>
                <c:pt idx="56">
                  <c:v>5755</c:v>
                </c:pt>
                <c:pt idx="57">
                  <c:v>13893</c:v>
                </c:pt>
                <c:pt idx="58">
                  <c:v>16556</c:v>
                </c:pt>
                <c:pt idx="59">
                  <c:v>7782</c:v>
                </c:pt>
                <c:pt idx="60">
                  <c:v>102055</c:v>
                </c:pt>
                <c:pt idx="61">
                  <c:v>1023</c:v>
                </c:pt>
                <c:pt idx="62">
                  <c:v>433809</c:v>
                </c:pt>
                <c:pt idx="63">
                  <c:v>184684</c:v>
                </c:pt>
                <c:pt idx="64">
                  <c:v>51118</c:v>
                </c:pt>
                <c:pt idx="65">
                  <c:v>70560</c:v>
                </c:pt>
                <c:pt idx="66">
                  <c:v>54720</c:v>
                </c:pt>
                <c:pt idx="67">
                  <c:v>1429</c:v>
                </c:pt>
                <c:pt idx="68">
                  <c:v>41311</c:v>
                </c:pt>
                <c:pt idx="69">
                  <c:v>542</c:v>
                </c:pt>
                <c:pt idx="70">
                  <c:v>4594</c:v>
                </c:pt>
                <c:pt idx="71">
                  <c:v>27568</c:v>
                </c:pt>
                <c:pt idx="72">
                  <c:v>3874</c:v>
                </c:pt>
                <c:pt idx="73">
                  <c:v>72356</c:v>
                </c:pt>
                <c:pt idx="74">
                  <c:v>42296</c:v>
                </c:pt>
                <c:pt idx="75">
                  <c:v>5424</c:v>
                </c:pt>
                <c:pt idx="76">
                  <c:v>132129</c:v>
                </c:pt>
                <c:pt idx="77">
                  <c:v>8360</c:v>
                </c:pt>
                <c:pt idx="78">
                  <c:v>6613</c:v>
                </c:pt>
                <c:pt idx="79">
                  <c:v>18250</c:v>
                </c:pt>
                <c:pt idx="80">
                  <c:v>10180</c:v>
                </c:pt>
                <c:pt idx="81">
                  <c:v>21235</c:v>
                </c:pt>
                <c:pt idx="82">
                  <c:v>15690</c:v>
                </c:pt>
                <c:pt idx="83">
                  <c:v>3526</c:v>
                </c:pt>
                <c:pt idx="84">
                  <c:v>3033</c:v>
                </c:pt>
                <c:pt idx="85">
                  <c:v>223984</c:v>
                </c:pt>
                <c:pt idx="86">
                  <c:v>280123</c:v>
                </c:pt>
                <c:pt idx="87">
                  <c:v>580110</c:v>
                </c:pt>
                <c:pt idx="88">
                  <c:v>3584</c:v>
                </c:pt>
                <c:pt idx="89">
                  <c:v>67810</c:v>
                </c:pt>
                <c:pt idx="90">
                  <c:v>43137</c:v>
                </c:pt>
                <c:pt idx="91">
                  <c:v>951634</c:v>
                </c:pt>
                <c:pt idx="92">
                  <c:v>144059</c:v>
                </c:pt>
                <c:pt idx="93">
                  <c:v>154</c:v>
                </c:pt>
                <c:pt idx="94">
                  <c:v>18951</c:v>
                </c:pt>
                <c:pt idx="95">
                  <c:v>3242</c:v>
                </c:pt>
                <c:pt idx="96">
                  <c:v>2124</c:v>
                </c:pt>
                <c:pt idx="97">
                  <c:v>296068</c:v>
                </c:pt>
                <c:pt idx="98">
                  <c:v>30903</c:v>
                </c:pt>
                <c:pt idx="99">
                  <c:v>27432</c:v>
                </c:pt>
                <c:pt idx="100">
                  <c:v>7608</c:v>
                </c:pt>
                <c:pt idx="101">
                  <c:v>6331</c:v>
                </c:pt>
                <c:pt idx="102">
                  <c:v>209601</c:v>
                </c:pt>
                <c:pt idx="103">
                  <c:v>235760</c:v>
                </c:pt>
                <c:pt idx="104">
                  <c:v>83542</c:v>
                </c:pt>
                <c:pt idx="105">
                  <c:v>9723</c:v>
                </c:pt>
                <c:pt idx="106">
                  <c:v>44821</c:v>
                </c:pt>
                <c:pt idx="107">
                  <c:v>59847</c:v>
                </c:pt>
                <c:pt idx="108">
                  <c:v>7570</c:v>
                </c:pt>
                <c:pt idx="109">
                  <c:v>68580</c:v>
                </c:pt>
                <c:pt idx="110">
                  <c:v>6951</c:v>
                </c:pt>
                <c:pt idx="111">
                  <c:v>54877</c:v>
                </c:pt>
                <c:pt idx="112">
                  <c:v>14508</c:v>
                </c:pt>
                <c:pt idx="113">
                  <c:v>30640</c:v>
                </c:pt>
                <c:pt idx="114">
                  <c:v>26976</c:v>
                </c:pt>
                <c:pt idx="115">
                  <c:v>244003</c:v>
                </c:pt>
                <c:pt idx="116">
                  <c:v>47147</c:v>
                </c:pt>
                <c:pt idx="117">
                  <c:v>4237</c:v>
                </c:pt>
                <c:pt idx="118">
                  <c:v>32181</c:v>
                </c:pt>
                <c:pt idx="119">
                  <c:v>29035</c:v>
                </c:pt>
                <c:pt idx="120">
                  <c:v>9365</c:v>
                </c:pt>
                <c:pt idx="121">
                  <c:v>13984</c:v>
                </c:pt>
                <c:pt idx="122">
                  <c:v>75137</c:v>
                </c:pt>
                <c:pt idx="123">
                  <c:v>8413</c:v>
                </c:pt>
                <c:pt idx="124">
                  <c:v>36064</c:v>
                </c:pt>
                <c:pt idx="125">
                  <c:v>3367</c:v>
                </c:pt>
                <c:pt idx="126">
                  <c:v>18281</c:v>
                </c:pt>
                <c:pt idx="127">
                  <c:v>24286</c:v>
                </c:pt>
                <c:pt idx="128">
                  <c:v>15411</c:v>
                </c:pt>
                <c:pt idx="129">
                  <c:v>26789</c:v>
                </c:pt>
                <c:pt idx="130">
                  <c:v>50638</c:v>
                </c:pt>
                <c:pt idx="131">
                  <c:v>4496</c:v>
                </c:pt>
                <c:pt idx="132">
                  <c:v>89041</c:v>
                </c:pt>
                <c:pt idx="133">
                  <c:v>11440</c:v>
                </c:pt>
                <c:pt idx="134">
                  <c:v>36940</c:v>
                </c:pt>
                <c:pt idx="135">
                  <c:v>3740</c:v>
                </c:pt>
                <c:pt idx="136">
                  <c:v>130766</c:v>
                </c:pt>
                <c:pt idx="137">
                  <c:v>5516</c:v>
                </c:pt>
                <c:pt idx="138">
                  <c:v>31130</c:v>
                </c:pt>
                <c:pt idx="139">
                  <c:v>7317</c:v>
                </c:pt>
                <c:pt idx="140">
                  <c:v>23959</c:v>
                </c:pt>
                <c:pt idx="141">
                  <c:v>24463</c:v>
                </c:pt>
                <c:pt idx="142">
                  <c:v>7821</c:v>
                </c:pt>
                <c:pt idx="143">
                  <c:v>138375</c:v>
                </c:pt>
                <c:pt idx="144">
                  <c:v>121508</c:v>
                </c:pt>
                <c:pt idx="145">
                  <c:v>251185</c:v>
                </c:pt>
                <c:pt idx="146">
                  <c:v>175541</c:v>
                </c:pt>
                <c:pt idx="147">
                  <c:v>37074</c:v>
                </c:pt>
                <c:pt idx="148">
                  <c:v>15077</c:v>
                </c:pt>
                <c:pt idx="149">
                  <c:v>28684</c:v>
                </c:pt>
                <c:pt idx="150">
                  <c:v>20329</c:v>
                </c:pt>
                <c:pt idx="151">
                  <c:v>175800</c:v>
                </c:pt>
                <c:pt idx="152">
                  <c:v>2237</c:v>
                </c:pt>
                <c:pt idx="153">
                  <c:v>10102</c:v>
                </c:pt>
                <c:pt idx="154">
                  <c:v>7774</c:v>
                </c:pt>
                <c:pt idx="155">
                  <c:v>3983</c:v>
                </c:pt>
                <c:pt idx="156">
                  <c:v>259786</c:v>
                </c:pt>
                <c:pt idx="157">
                  <c:v>60824</c:v>
                </c:pt>
                <c:pt idx="158">
                  <c:v>8389</c:v>
                </c:pt>
                <c:pt idx="159">
                  <c:v>105201</c:v>
                </c:pt>
                <c:pt idx="160">
                  <c:v>83175</c:v>
                </c:pt>
                <c:pt idx="161">
                  <c:v>15140</c:v>
                </c:pt>
                <c:pt idx="162">
                  <c:v>14732</c:v>
                </c:pt>
                <c:pt idx="163">
                  <c:v>100809</c:v>
                </c:pt>
                <c:pt idx="164">
                  <c:v>84465</c:v>
                </c:pt>
                <c:pt idx="165">
                  <c:v>383931</c:v>
                </c:pt>
                <c:pt idx="166">
                  <c:v>12048</c:v>
                </c:pt>
                <c:pt idx="167">
                  <c:v>20319</c:v>
                </c:pt>
                <c:pt idx="168">
                  <c:v>134571</c:v>
                </c:pt>
                <c:pt idx="169">
                  <c:v>8758</c:v>
                </c:pt>
                <c:pt idx="170">
                  <c:v>140600</c:v>
                </c:pt>
                <c:pt idx="171">
                  <c:v>37269</c:v>
                </c:pt>
                <c:pt idx="172">
                  <c:v>5980</c:v>
                </c:pt>
                <c:pt idx="173">
                  <c:v>520931</c:v>
                </c:pt>
                <c:pt idx="174">
                  <c:v>18302</c:v>
                </c:pt>
                <c:pt idx="175">
                  <c:v>18238</c:v>
                </c:pt>
                <c:pt idx="176">
                  <c:v>7427</c:v>
                </c:pt>
                <c:pt idx="177">
                  <c:v>2900</c:v>
                </c:pt>
                <c:pt idx="178">
                  <c:v>66793</c:v>
                </c:pt>
                <c:pt idx="179">
                  <c:v>41268</c:v>
                </c:pt>
                <c:pt idx="180">
                  <c:v>33781</c:v>
                </c:pt>
                <c:pt idx="181">
                  <c:v>7546</c:v>
                </c:pt>
                <c:pt idx="182">
                  <c:v>2927</c:v>
                </c:pt>
                <c:pt idx="183">
                  <c:v>8935</c:v>
                </c:pt>
                <c:pt idx="184">
                  <c:v>19130</c:v>
                </c:pt>
                <c:pt idx="185">
                  <c:v>17779</c:v>
                </c:pt>
                <c:pt idx="186">
                  <c:v>314975</c:v>
                </c:pt>
                <c:pt idx="187">
                  <c:v>5057</c:v>
                </c:pt>
                <c:pt idx="188">
                  <c:v>548877</c:v>
                </c:pt>
                <c:pt idx="189">
                  <c:v>3888</c:v>
                </c:pt>
                <c:pt idx="190">
                  <c:v>219457</c:v>
                </c:pt>
                <c:pt idx="191">
                  <c:v>286576</c:v>
                </c:pt>
                <c:pt idx="192">
                  <c:v>9848</c:v>
                </c:pt>
                <c:pt idx="193">
                  <c:v>108795</c:v>
                </c:pt>
                <c:pt idx="194">
                  <c:v>39438</c:v>
                </c:pt>
                <c:pt idx="195">
                  <c:v>144359</c:v>
                </c:pt>
                <c:pt idx="196">
                  <c:v>15086</c:v>
                </c:pt>
                <c:pt idx="197">
                  <c:v>4151</c:v>
                </c:pt>
                <c:pt idx="198">
                  <c:v>4527</c:v>
                </c:pt>
                <c:pt idx="199">
                  <c:v>3668</c:v>
                </c:pt>
                <c:pt idx="200">
                  <c:v>16448</c:v>
                </c:pt>
                <c:pt idx="201">
                  <c:v>407005</c:v>
                </c:pt>
                <c:pt idx="202">
                  <c:v>357090</c:v>
                </c:pt>
                <c:pt idx="203">
                  <c:v>17061</c:v>
                </c:pt>
                <c:pt idx="204">
                  <c:v>407352</c:v>
                </c:pt>
                <c:pt idx="205">
                  <c:v>52756</c:v>
                </c:pt>
                <c:pt idx="206">
                  <c:v>9975</c:v>
                </c:pt>
                <c:pt idx="207">
                  <c:v>1828</c:v>
                </c:pt>
                <c:pt idx="208">
                  <c:v>3313</c:v>
                </c:pt>
                <c:pt idx="209">
                  <c:v>19651</c:v>
                </c:pt>
                <c:pt idx="210">
                  <c:v>366579</c:v>
                </c:pt>
                <c:pt idx="211">
                  <c:v>5017</c:v>
                </c:pt>
                <c:pt idx="212">
                  <c:v>29700</c:v>
                </c:pt>
                <c:pt idx="213">
                  <c:v>1757</c:v>
                </c:pt>
                <c:pt idx="214">
                  <c:v>9079</c:v>
                </c:pt>
                <c:pt idx="215">
                  <c:v>36741</c:v>
                </c:pt>
                <c:pt idx="216">
                  <c:v>267176</c:v>
                </c:pt>
                <c:pt idx="217">
                  <c:v>5196</c:v>
                </c:pt>
                <c:pt idx="218">
                  <c:v>16516</c:v>
                </c:pt>
                <c:pt idx="219">
                  <c:v>513258</c:v>
                </c:pt>
                <c:pt idx="220">
                  <c:v>123170</c:v>
                </c:pt>
                <c:pt idx="221">
                  <c:v>442399</c:v>
                </c:pt>
                <c:pt idx="222">
                  <c:v>19736</c:v>
                </c:pt>
                <c:pt idx="223">
                  <c:v>3214</c:v>
                </c:pt>
                <c:pt idx="224">
                  <c:v>189921</c:v>
                </c:pt>
                <c:pt idx="225">
                  <c:v>1966</c:v>
                </c:pt>
                <c:pt idx="226">
                  <c:v>46322</c:v>
                </c:pt>
                <c:pt idx="227">
                  <c:v>46169</c:v>
                </c:pt>
                <c:pt idx="228">
                  <c:v>5331</c:v>
                </c:pt>
                <c:pt idx="229">
                  <c:v>1388</c:v>
                </c:pt>
                <c:pt idx="230">
                  <c:v>22906</c:v>
                </c:pt>
                <c:pt idx="231">
                  <c:v>67472</c:v>
                </c:pt>
                <c:pt idx="232">
                  <c:v>274614</c:v>
                </c:pt>
                <c:pt idx="233">
                  <c:v>13417</c:v>
                </c:pt>
                <c:pt idx="234">
                  <c:v>6446</c:v>
                </c:pt>
                <c:pt idx="235">
                  <c:v>905</c:v>
                </c:pt>
                <c:pt idx="236">
                  <c:v>4686</c:v>
                </c:pt>
                <c:pt idx="237">
                  <c:v>9147</c:v>
                </c:pt>
                <c:pt idx="238">
                  <c:v>491034</c:v>
                </c:pt>
                <c:pt idx="239">
                  <c:v>130968</c:v>
                </c:pt>
                <c:pt idx="240">
                  <c:v>780026</c:v>
                </c:pt>
                <c:pt idx="241">
                  <c:v>4308</c:v>
                </c:pt>
                <c:pt idx="242">
                  <c:v>6668</c:v>
                </c:pt>
                <c:pt idx="243">
                  <c:v>4450</c:v>
                </c:pt>
                <c:pt idx="244">
                  <c:v>593526</c:v>
                </c:pt>
                <c:pt idx="245">
                  <c:v>70086</c:v>
                </c:pt>
                <c:pt idx="246">
                  <c:v>9917</c:v>
                </c:pt>
                <c:pt idx="247">
                  <c:v>6339</c:v>
                </c:pt>
                <c:pt idx="248">
                  <c:v>2288</c:v>
                </c:pt>
                <c:pt idx="249">
                  <c:v>25873</c:v>
                </c:pt>
                <c:pt idx="250">
                  <c:v>249804</c:v>
                </c:pt>
                <c:pt idx="251">
                  <c:v>41887</c:v>
                </c:pt>
                <c:pt idx="252">
                  <c:v>3157</c:v>
                </c:pt>
                <c:pt idx="253">
                  <c:v>35406</c:v>
                </c:pt>
                <c:pt idx="254">
                  <c:v>9780</c:v>
                </c:pt>
                <c:pt idx="255">
                  <c:v>44434</c:v>
                </c:pt>
                <c:pt idx="256">
                  <c:v>2098</c:v>
                </c:pt>
                <c:pt idx="257">
                  <c:v>88989</c:v>
                </c:pt>
                <c:pt idx="258">
                  <c:v>796332</c:v>
                </c:pt>
                <c:pt idx="259">
                  <c:v>37671</c:v>
                </c:pt>
                <c:pt idx="260">
                  <c:v>15167</c:v>
                </c:pt>
                <c:pt idx="261">
                  <c:v>9740</c:v>
                </c:pt>
                <c:pt idx="262">
                  <c:v>9787</c:v>
                </c:pt>
                <c:pt idx="263">
                  <c:v>323237</c:v>
                </c:pt>
                <c:pt idx="264">
                  <c:v>601688</c:v>
                </c:pt>
                <c:pt idx="265">
                  <c:v>7781</c:v>
                </c:pt>
                <c:pt idx="266">
                  <c:v>658</c:v>
                </c:pt>
                <c:pt idx="267">
                  <c:v>5525</c:v>
                </c:pt>
                <c:pt idx="268">
                  <c:v>17712</c:v>
                </c:pt>
                <c:pt idx="269">
                  <c:v>6224</c:v>
                </c:pt>
                <c:pt idx="270">
                  <c:v>36566</c:v>
                </c:pt>
                <c:pt idx="271">
                  <c:v>164734</c:v>
                </c:pt>
                <c:pt idx="272">
                  <c:v>4147</c:v>
                </c:pt>
                <c:pt idx="273">
                  <c:v>7879</c:v>
                </c:pt>
                <c:pt idx="274">
                  <c:v>3027</c:v>
                </c:pt>
                <c:pt idx="275">
                  <c:v>8159</c:v>
                </c:pt>
                <c:pt idx="276">
                  <c:v>5362</c:v>
                </c:pt>
                <c:pt idx="277">
                  <c:v>10363</c:v>
                </c:pt>
                <c:pt idx="278">
                  <c:v>128612</c:v>
                </c:pt>
                <c:pt idx="279">
                  <c:v>23265</c:v>
                </c:pt>
                <c:pt idx="280">
                  <c:v>3343</c:v>
                </c:pt>
                <c:pt idx="281">
                  <c:v>16404</c:v>
                </c:pt>
                <c:pt idx="282">
                  <c:v>16173</c:v>
                </c:pt>
                <c:pt idx="283">
                  <c:v>21844</c:v>
                </c:pt>
                <c:pt idx="284">
                  <c:v>8008</c:v>
                </c:pt>
                <c:pt idx="285">
                  <c:v>8297</c:v>
                </c:pt>
                <c:pt idx="286">
                  <c:v>11031</c:v>
                </c:pt>
                <c:pt idx="287">
                  <c:v>54461</c:v>
                </c:pt>
                <c:pt idx="288">
                  <c:v>11470</c:v>
                </c:pt>
                <c:pt idx="289">
                  <c:v>9725</c:v>
                </c:pt>
                <c:pt idx="290">
                  <c:v>14512</c:v>
                </c:pt>
                <c:pt idx="291">
                  <c:v>14497</c:v>
                </c:pt>
                <c:pt idx="292">
                  <c:v>11124</c:v>
                </c:pt>
                <c:pt idx="293">
                  <c:v>103865</c:v>
                </c:pt>
                <c:pt idx="294">
                  <c:v>5844</c:v>
                </c:pt>
                <c:pt idx="295">
                  <c:v>9104</c:v>
                </c:pt>
                <c:pt idx="296">
                  <c:v>14414</c:v>
                </c:pt>
                <c:pt idx="297">
                  <c:v>10503</c:v>
                </c:pt>
                <c:pt idx="298">
                  <c:v>3316</c:v>
                </c:pt>
                <c:pt idx="299">
                  <c:v>6059</c:v>
                </c:pt>
                <c:pt idx="300">
                  <c:v>403048</c:v>
                </c:pt>
                <c:pt idx="301">
                  <c:v>4984</c:v>
                </c:pt>
                <c:pt idx="302">
                  <c:v>7605</c:v>
                </c:pt>
                <c:pt idx="303">
                  <c:v>74781</c:v>
                </c:pt>
                <c:pt idx="304">
                  <c:v>348910</c:v>
                </c:pt>
                <c:pt idx="305">
                  <c:v>195291</c:v>
                </c:pt>
                <c:pt idx="306">
                  <c:v>54149</c:v>
                </c:pt>
                <c:pt idx="307">
                  <c:v>58542</c:v>
                </c:pt>
                <c:pt idx="308">
                  <c:v>41769</c:v>
                </c:pt>
                <c:pt idx="309">
                  <c:v>47532</c:v>
                </c:pt>
                <c:pt idx="310">
                  <c:v>6943</c:v>
                </c:pt>
                <c:pt idx="311">
                  <c:v>4617</c:v>
                </c:pt>
                <c:pt idx="312">
                  <c:v>44207</c:v>
                </c:pt>
                <c:pt idx="313">
                  <c:v>1092</c:v>
                </c:pt>
                <c:pt idx="314">
                  <c:v>1582</c:v>
                </c:pt>
                <c:pt idx="315">
                  <c:v>9293</c:v>
                </c:pt>
                <c:pt idx="316">
                  <c:v>11282</c:v>
                </c:pt>
                <c:pt idx="317">
                  <c:v>38908</c:v>
                </c:pt>
                <c:pt idx="318">
                  <c:v>16589</c:v>
                </c:pt>
                <c:pt idx="319">
                  <c:v>9388</c:v>
                </c:pt>
                <c:pt idx="320">
                  <c:v>592764</c:v>
                </c:pt>
                <c:pt idx="321">
                  <c:v>141891</c:v>
                </c:pt>
                <c:pt idx="322">
                  <c:v>162198</c:v>
                </c:pt>
                <c:pt idx="323">
                  <c:v>11892</c:v>
                </c:pt>
                <c:pt idx="324">
                  <c:v>67645</c:v>
                </c:pt>
                <c:pt idx="325">
                  <c:v>12950</c:v>
                </c:pt>
                <c:pt idx="326">
                  <c:v>27114</c:v>
                </c:pt>
                <c:pt idx="327">
                  <c:v>662703</c:v>
                </c:pt>
                <c:pt idx="328">
                  <c:v>9009</c:v>
                </c:pt>
                <c:pt idx="329">
                  <c:v>11931</c:v>
                </c:pt>
                <c:pt idx="330">
                  <c:v>13551</c:v>
                </c:pt>
                <c:pt idx="331">
                  <c:v>459131</c:v>
                </c:pt>
                <c:pt idx="332">
                  <c:v>10526</c:v>
                </c:pt>
                <c:pt idx="333">
                  <c:v>3897</c:v>
                </c:pt>
                <c:pt idx="334">
                  <c:v>51825</c:v>
                </c:pt>
                <c:pt idx="335">
                  <c:v>4691</c:v>
                </c:pt>
                <c:pt idx="336">
                  <c:v>373039</c:v>
                </c:pt>
                <c:pt idx="337">
                  <c:v>924</c:v>
                </c:pt>
                <c:pt idx="338">
                  <c:v>44626</c:v>
                </c:pt>
                <c:pt idx="339">
                  <c:v>37570</c:v>
                </c:pt>
                <c:pt idx="340">
                  <c:v>8634</c:v>
                </c:pt>
                <c:pt idx="341">
                  <c:v>28869</c:v>
                </c:pt>
                <c:pt idx="342">
                  <c:v>14197</c:v>
                </c:pt>
                <c:pt idx="343">
                  <c:v>6489</c:v>
                </c:pt>
                <c:pt idx="344">
                  <c:v>38178</c:v>
                </c:pt>
                <c:pt idx="345">
                  <c:v>54934</c:v>
                </c:pt>
                <c:pt idx="346">
                  <c:v>18028</c:v>
                </c:pt>
                <c:pt idx="347">
                  <c:v>122343</c:v>
                </c:pt>
                <c:pt idx="348">
                  <c:v>535</c:v>
                </c:pt>
                <c:pt idx="349">
                  <c:v>16283</c:v>
                </c:pt>
                <c:pt idx="350">
                  <c:v>3927</c:v>
                </c:pt>
                <c:pt idx="351">
                  <c:v>14617</c:v>
                </c:pt>
                <c:pt idx="352">
                  <c:v>4357</c:v>
                </c:pt>
                <c:pt idx="353">
                  <c:v>24152</c:v>
                </c:pt>
                <c:pt idx="354">
                  <c:v>14785</c:v>
                </c:pt>
                <c:pt idx="355">
                  <c:v>18257</c:v>
                </c:pt>
                <c:pt idx="356">
                  <c:v>13517</c:v>
                </c:pt>
                <c:pt idx="357">
                  <c:v>8749</c:v>
                </c:pt>
                <c:pt idx="358">
                  <c:v>212657</c:v>
                </c:pt>
                <c:pt idx="359">
                  <c:v>47323</c:v>
                </c:pt>
                <c:pt idx="360">
                  <c:v>5570</c:v>
                </c:pt>
                <c:pt idx="361">
                  <c:v>968911</c:v>
                </c:pt>
                <c:pt idx="362">
                  <c:v>5978</c:v>
                </c:pt>
                <c:pt idx="363">
                  <c:v>3216</c:v>
                </c:pt>
                <c:pt idx="364">
                  <c:v>5637</c:v>
                </c:pt>
                <c:pt idx="365">
                  <c:v>19846</c:v>
                </c:pt>
                <c:pt idx="366">
                  <c:v>4596</c:v>
                </c:pt>
                <c:pt idx="367">
                  <c:v>3102</c:v>
                </c:pt>
                <c:pt idx="368">
                  <c:v>18847</c:v>
                </c:pt>
                <c:pt idx="369">
                  <c:v>27989</c:v>
                </c:pt>
                <c:pt idx="370">
                  <c:v>6107</c:v>
                </c:pt>
                <c:pt idx="371">
                  <c:v>3664</c:v>
                </c:pt>
                <c:pt idx="372">
                  <c:v>114367</c:v>
                </c:pt>
                <c:pt idx="373">
                  <c:v>3488</c:v>
                </c:pt>
                <c:pt idx="374">
                  <c:v>4310</c:v>
                </c:pt>
                <c:pt idx="375">
                  <c:v>12316</c:v>
                </c:pt>
                <c:pt idx="376">
                  <c:v>232976</c:v>
                </c:pt>
                <c:pt idx="377">
                  <c:v>39470</c:v>
                </c:pt>
                <c:pt idx="378">
                  <c:v>21724</c:v>
                </c:pt>
                <c:pt idx="379">
                  <c:v>64869</c:v>
                </c:pt>
                <c:pt idx="380">
                  <c:v>37028</c:v>
                </c:pt>
                <c:pt idx="381">
                  <c:v>69234</c:v>
                </c:pt>
                <c:pt idx="382">
                  <c:v>318754</c:v>
                </c:pt>
                <c:pt idx="383">
                  <c:v>76794</c:v>
                </c:pt>
                <c:pt idx="384">
                  <c:v>251461</c:v>
                </c:pt>
                <c:pt idx="385">
                  <c:v>4102</c:v>
                </c:pt>
                <c:pt idx="386">
                  <c:v>13122</c:v>
                </c:pt>
                <c:pt idx="387">
                  <c:v>1281168</c:v>
                </c:pt>
                <c:pt idx="388">
                  <c:v>2214</c:v>
                </c:pt>
                <c:pt idx="389">
                  <c:v>116601</c:v>
                </c:pt>
                <c:pt idx="390">
                  <c:v>19276</c:v>
                </c:pt>
                <c:pt idx="391">
                  <c:v>12640</c:v>
                </c:pt>
                <c:pt idx="392">
                  <c:v>2476</c:v>
                </c:pt>
                <c:pt idx="393">
                  <c:v>37072</c:v>
                </c:pt>
                <c:pt idx="394">
                  <c:v>46921</c:v>
                </c:pt>
                <c:pt idx="395">
                  <c:v>20664</c:v>
                </c:pt>
                <c:pt idx="396">
                  <c:v>76628</c:v>
                </c:pt>
                <c:pt idx="397">
                  <c:v>115440</c:v>
                </c:pt>
                <c:pt idx="398">
                  <c:v>31868</c:v>
                </c:pt>
                <c:pt idx="399">
                  <c:v>561182</c:v>
                </c:pt>
                <c:pt idx="400">
                  <c:v>1203</c:v>
                </c:pt>
                <c:pt idx="401">
                  <c:v>5680</c:v>
                </c:pt>
                <c:pt idx="402">
                  <c:v>210687</c:v>
                </c:pt>
                <c:pt idx="403">
                  <c:v>158422</c:v>
                </c:pt>
                <c:pt idx="404">
                  <c:v>5820</c:v>
                </c:pt>
                <c:pt idx="405">
                  <c:v>2447</c:v>
                </c:pt>
                <c:pt idx="406">
                  <c:v>24155</c:v>
                </c:pt>
                <c:pt idx="407">
                  <c:v>159124</c:v>
                </c:pt>
                <c:pt idx="408">
                  <c:v>4182</c:v>
                </c:pt>
                <c:pt idx="409">
                  <c:v>4755</c:v>
                </c:pt>
                <c:pt idx="410">
                  <c:v>40225</c:v>
                </c:pt>
                <c:pt idx="411">
                  <c:v>5207</c:v>
                </c:pt>
                <c:pt idx="412">
                  <c:v>17462</c:v>
                </c:pt>
                <c:pt idx="413">
                  <c:v>10222</c:v>
                </c:pt>
                <c:pt idx="414">
                  <c:v>47849</c:v>
                </c:pt>
                <c:pt idx="415">
                  <c:v>6677</c:v>
                </c:pt>
                <c:pt idx="416">
                  <c:v>57844</c:v>
                </c:pt>
                <c:pt idx="417">
                  <c:v>256263</c:v>
                </c:pt>
                <c:pt idx="418">
                  <c:v>142979</c:v>
                </c:pt>
                <c:pt idx="419">
                  <c:v>30304</c:v>
                </c:pt>
                <c:pt idx="420">
                  <c:v>115884</c:v>
                </c:pt>
                <c:pt idx="421">
                  <c:v>2259</c:v>
                </c:pt>
                <c:pt idx="422">
                  <c:v>10022</c:v>
                </c:pt>
                <c:pt idx="423">
                  <c:v>28068</c:v>
                </c:pt>
                <c:pt idx="424">
                  <c:v>22655</c:v>
                </c:pt>
                <c:pt idx="425">
                  <c:v>65319</c:v>
                </c:pt>
                <c:pt idx="426">
                  <c:v>47031</c:v>
                </c:pt>
                <c:pt idx="427">
                  <c:v>49830</c:v>
                </c:pt>
                <c:pt idx="428">
                  <c:v>140134</c:v>
                </c:pt>
                <c:pt idx="429">
                  <c:v>32192</c:v>
                </c:pt>
                <c:pt idx="430">
                  <c:v>126221</c:v>
                </c:pt>
                <c:pt idx="431">
                  <c:v>166690</c:v>
                </c:pt>
                <c:pt idx="432">
                  <c:v>6303</c:v>
                </c:pt>
                <c:pt idx="433">
                  <c:v>39168</c:v>
                </c:pt>
                <c:pt idx="434">
                  <c:v>168999</c:v>
                </c:pt>
                <c:pt idx="435">
                  <c:v>1551</c:v>
                </c:pt>
                <c:pt idx="436">
                  <c:v>11976</c:v>
                </c:pt>
                <c:pt idx="437">
                  <c:v>115110</c:v>
                </c:pt>
                <c:pt idx="438">
                  <c:v>16887</c:v>
                </c:pt>
                <c:pt idx="439">
                  <c:v>20689</c:v>
                </c:pt>
                <c:pt idx="440">
                  <c:v>9904</c:v>
                </c:pt>
                <c:pt idx="441">
                  <c:v>647</c:v>
                </c:pt>
                <c:pt idx="442">
                  <c:v>391676</c:v>
                </c:pt>
                <c:pt idx="443">
                  <c:v>30861</c:v>
                </c:pt>
                <c:pt idx="444">
                  <c:v>3301</c:v>
                </c:pt>
                <c:pt idx="445">
                  <c:v>40891</c:v>
                </c:pt>
                <c:pt idx="446">
                  <c:v>199250</c:v>
                </c:pt>
                <c:pt idx="447">
                  <c:v>2852</c:v>
                </c:pt>
                <c:pt idx="448">
                  <c:v>71761</c:v>
                </c:pt>
                <c:pt idx="449">
                  <c:v>6601</c:v>
                </c:pt>
                <c:pt idx="450">
                  <c:v>25923</c:v>
                </c:pt>
                <c:pt idx="451">
                  <c:v>136695</c:v>
                </c:pt>
                <c:pt idx="452">
                  <c:v>5509</c:v>
                </c:pt>
                <c:pt idx="453">
                  <c:v>22649</c:v>
                </c:pt>
                <c:pt idx="454">
                  <c:v>42296</c:v>
                </c:pt>
                <c:pt idx="455">
                  <c:v>107845</c:v>
                </c:pt>
                <c:pt idx="456">
                  <c:v>9415</c:v>
                </c:pt>
                <c:pt idx="457">
                  <c:v>240061</c:v>
                </c:pt>
                <c:pt idx="458">
                  <c:v>1147</c:v>
                </c:pt>
                <c:pt idx="459">
                  <c:v>26738</c:v>
                </c:pt>
                <c:pt idx="460">
                  <c:v>10963</c:v>
                </c:pt>
                <c:pt idx="461">
                  <c:v>64350</c:v>
                </c:pt>
                <c:pt idx="462">
                  <c:v>34791</c:v>
                </c:pt>
                <c:pt idx="463">
                  <c:v>4489</c:v>
                </c:pt>
                <c:pt idx="464">
                  <c:v>65128</c:v>
                </c:pt>
                <c:pt idx="465">
                  <c:v>25991</c:v>
                </c:pt>
                <c:pt idx="466">
                  <c:v>1304</c:v>
                </c:pt>
                <c:pt idx="467">
                  <c:v>7940</c:v>
                </c:pt>
                <c:pt idx="468">
                  <c:v>7091</c:v>
                </c:pt>
                <c:pt idx="469">
                  <c:v>160165</c:v>
                </c:pt>
                <c:pt idx="470">
                  <c:v>4653</c:v>
                </c:pt>
                <c:pt idx="471">
                  <c:v>7523</c:v>
                </c:pt>
                <c:pt idx="472">
                  <c:v>74080</c:v>
                </c:pt>
                <c:pt idx="473">
                  <c:v>9398</c:v>
                </c:pt>
                <c:pt idx="474">
                  <c:v>6159</c:v>
                </c:pt>
                <c:pt idx="475">
                  <c:v>6880</c:v>
                </c:pt>
                <c:pt idx="476">
                  <c:v>8941</c:v>
                </c:pt>
                <c:pt idx="477">
                  <c:v>79005</c:v>
                </c:pt>
                <c:pt idx="478">
                  <c:v>4531</c:v>
                </c:pt>
                <c:pt idx="479">
                  <c:v>25829</c:v>
                </c:pt>
                <c:pt idx="480">
                  <c:v>71365</c:v>
                </c:pt>
                <c:pt idx="481">
                  <c:v>222447</c:v>
                </c:pt>
                <c:pt idx="482">
                  <c:v>1846</c:v>
                </c:pt>
                <c:pt idx="483">
                  <c:v>45615</c:v>
                </c:pt>
                <c:pt idx="484">
                  <c:v>2832</c:v>
                </c:pt>
                <c:pt idx="485">
                  <c:v>44869</c:v>
                </c:pt>
                <c:pt idx="486">
                  <c:v>1092895</c:v>
                </c:pt>
                <c:pt idx="487">
                  <c:v>1266298</c:v>
                </c:pt>
                <c:pt idx="488">
                  <c:v>18735</c:v>
                </c:pt>
                <c:pt idx="489">
                  <c:v>9444</c:v>
                </c:pt>
                <c:pt idx="490">
                  <c:v>2356</c:v>
                </c:pt>
                <c:pt idx="491">
                  <c:v>8768</c:v>
                </c:pt>
                <c:pt idx="492">
                  <c:v>422293</c:v>
                </c:pt>
                <c:pt idx="493">
                  <c:v>3097</c:v>
                </c:pt>
                <c:pt idx="494">
                  <c:v>3132</c:v>
                </c:pt>
                <c:pt idx="495">
                  <c:v>5806</c:v>
                </c:pt>
                <c:pt idx="496">
                  <c:v>277967</c:v>
                </c:pt>
                <c:pt idx="497">
                  <c:v>11738</c:v>
                </c:pt>
                <c:pt idx="498">
                  <c:v>496525</c:v>
                </c:pt>
                <c:pt idx="499">
                  <c:v>15459</c:v>
                </c:pt>
                <c:pt idx="500">
                  <c:v>138341</c:v>
                </c:pt>
                <c:pt idx="501">
                  <c:v>5886</c:v>
                </c:pt>
                <c:pt idx="502">
                  <c:v>644974</c:v>
                </c:pt>
                <c:pt idx="503">
                  <c:v>9004</c:v>
                </c:pt>
                <c:pt idx="504">
                  <c:v>14948</c:v>
                </c:pt>
                <c:pt idx="505">
                  <c:v>7470</c:v>
                </c:pt>
                <c:pt idx="506">
                  <c:v>33928</c:v>
                </c:pt>
                <c:pt idx="507">
                  <c:v>217064</c:v>
                </c:pt>
                <c:pt idx="508">
                  <c:v>6950</c:v>
                </c:pt>
                <c:pt idx="509">
                  <c:v>16318</c:v>
                </c:pt>
                <c:pt idx="510">
                  <c:v>3609</c:v>
                </c:pt>
                <c:pt idx="511">
                  <c:v>13783</c:v>
                </c:pt>
                <c:pt idx="512">
                  <c:v>8487</c:v>
                </c:pt>
                <c:pt idx="513">
                  <c:v>425466</c:v>
                </c:pt>
                <c:pt idx="514">
                  <c:v>14422</c:v>
                </c:pt>
                <c:pt idx="515">
                  <c:v>82360</c:v>
                </c:pt>
                <c:pt idx="516">
                  <c:v>66414</c:v>
                </c:pt>
                <c:pt idx="517">
                  <c:v>26586</c:v>
                </c:pt>
                <c:pt idx="518">
                  <c:v>24983</c:v>
                </c:pt>
                <c:pt idx="519">
                  <c:v>666061</c:v>
                </c:pt>
                <c:pt idx="520">
                  <c:v>10027</c:v>
                </c:pt>
                <c:pt idx="521">
                  <c:v>16025</c:v>
                </c:pt>
                <c:pt idx="522">
                  <c:v>31549</c:v>
                </c:pt>
                <c:pt idx="523">
                  <c:v>3990</c:v>
                </c:pt>
                <c:pt idx="524">
                  <c:v>14408</c:v>
                </c:pt>
                <c:pt idx="525">
                  <c:v>87643</c:v>
                </c:pt>
                <c:pt idx="526">
                  <c:v>45871</c:v>
                </c:pt>
                <c:pt idx="527">
                  <c:v>72180</c:v>
                </c:pt>
                <c:pt idx="528">
                  <c:v>8079</c:v>
                </c:pt>
                <c:pt idx="529">
                  <c:v>2526</c:v>
                </c:pt>
                <c:pt idx="530">
                  <c:v>6947</c:v>
                </c:pt>
                <c:pt idx="531">
                  <c:v>475869</c:v>
                </c:pt>
                <c:pt idx="532">
                  <c:v>147598</c:v>
                </c:pt>
                <c:pt idx="533">
                  <c:v>21615</c:v>
                </c:pt>
                <c:pt idx="534">
                  <c:v>2759</c:v>
                </c:pt>
                <c:pt idx="535">
                  <c:v>591126</c:v>
                </c:pt>
                <c:pt idx="536">
                  <c:v>241609</c:v>
                </c:pt>
                <c:pt idx="537">
                  <c:v>2796</c:v>
                </c:pt>
                <c:pt idx="538">
                  <c:v>5221</c:v>
                </c:pt>
                <c:pt idx="539">
                  <c:v>4740</c:v>
                </c:pt>
                <c:pt idx="540">
                  <c:v>13764</c:v>
                </c:pt>
                <c:pt idx="541">
                  <c:v>3622</c:v>
                </c:pt>
                <c:pt idx="542">
                  <c:v>92435</c:v>
                </c:pt>
                <c:pt idx="543">
                  <c:v>4078</c:v>
                </c:pt>
                <c:pt idx="544">
                  <c:v>7184</c:v>
                </c:pt>
                <c:pt idx="545">
                  <c:v>32041</c:v>
                </c:pt>
                <c:pt idx="546">
                  <c:v>63608</c:v>
                </c:pt>
                <c:pt idx="547">
                  <c:v>88293</c:v>
                </c:pt>
                <c:pt idx="548">
                  <c:v>183756</c:v>
                </c:pt>
                <c:pt idx="549">
                  <c:v>45885</c:v>
                </c:pt>
                <c:pt idx="550">
                  <c:v>162143</c:v>
                </c:pt>
                <c:pt idx="551">
                  <c:v>152726</c:v>
                </c:pt>
                <c:pt idx="552">
                  <c:v>1582</c:v>
                </c:pt>
                <c:pt idx="553">
                  <c:v>38919</c:v>
                </c:pt>
                <c:pt idx="554">
                  <c:v>3845</c:v>
                </c:pt>
                <c:pt idx="555">
                  <c:v>20639</c:v>
                </c:pt>
                <c:pt idx="556">
                  <c:v>127298</c:v>
                </c:pt>
                <c:pt idx="557">
                  <c:v>12667</c:v>
                </c:pt>
                <c:pt idx="558">
                  <c:v>43467</c:v>
                </c:pt>
                <c:pt idx="559">
                  <c:v>76644</c:v>
                </c:pt>
                <c:pt idx="560">
                  <c:v>3123</c:v>
                </c:pt>
                <c:pt idx="561">
                  <c:v>10617</c:v>
                </c:pt>
                <c:pt idx="562">
                  <c:v>42833</c:v>
                </c:pt>
                <c:pt idx="563">
                  <c:v>2722</c:v>
                </c:pt>
                <c:pt idx="564">
                  <c:v>5827</c:v>
                </c:pt>
                <c:pt idx="565">
                  <c:v>663168</c:v>
                </c:pt>
                <c:pt idx="566">
                  <c:v>160292</c:v>
                </c:pt>
                <c:pt idx="567">
                  <c:v>236732</c:v>
                </c:pt>
                <c:pt idx="568">
                  <c:v>38011</c:v>
                </c:pt>
                <c:pt idx="569">
                  <c:v>15856</c:v>
                </c:pt>
                <c:pt idx="570">
                  <c:v>3404</c:v>
                </c:pt>
                <c:pt idx="571">
                  <c:v>3390</c:v>
                </c:pt>
                <c:pt idx="572">
                  <c:v>6741</c:v>
                </c:pt>
                <c:pt idx="573">
                  <c:v>42525</c:v>
                </c:pt>
                <c:pt idx="574">
                  <c:v>57670</c:v>
                </c:pt>
                <c:pt idx="575">
                  <c:v>2079</c:v>
                </c:pt>
                <c:pt idx="576">
                  <c:v>20076</c:v>
                </c:pt>
                <c:pt idx="577">
                  <c:v>678882</c:v>
                </c:pt>
                <c:pt idx="578">
                  <c:v>4054</c:v>
                </c:pt>
                <c:pt idx="579">
                  <c:v>16159</c:v>
                </c:pt>
                <c:pt idx="580">
                  <c:v>11138</c:v>
                </c:pt>
                <c:pt idx="581">
                  <c:v>400573</c:v>
                </c:pt>
                <c:pt idx="582">
                  <c:v>30997</c:v>
                </c:pt>
                <c:pt idx="583">
                  <c:v>6758</c:v>
                </c:pt>
                <c:pt idx="584">
                  <c:v>428125</c:v>
                </c:pt>
                <c:pt idx="585">
                  <c:v>2463</c:v>
                </c:pt>
                <c:pt idx="586">
                  <c:v>2815</c:v>
                </c:pt>
                <c:pt idx="587">
                  <c:v>17024</c:v>
                </c:pt>
                <c:pt idx="588">
                  <c:v>23654</c:v>
                </c:pt>
                <c:pt idx="589">
                  <c:v>160254</c:v>
                </c:pt>
                <c:pt idx="590">
                  <c:v>260510</c:v>
                </c:pt>
                <c:pt idx="591">
                  <c:v>2639</c:v>
                </c:pt>
                <c:pt idx="592">
                  <c:v>281062</c:v>
                </c:pt>
                <c:pt idx="593">
                  <c:v>6334</c:v>
                </c:pt>
                <c:pt idx="594">
                  <c:v>98889</c:v>
                </c:pt>
                <c:pt idx="595">
                  <c:v>43893</c:v>
                </c:pt>
                <c:pt idx="596">
                  <c:v>2513</c:v>
                </c:pt>
                <c:pt idx="597">
                  <c:v>4541</c:v>
                </c:pt>
                <c:pt idx="598">
                  <c:v>13668</c:v>
                </c:pt>
                <c:pt idx="599">
                  <c:v>7257</c:v>
                </c:pt>
                <c:pt idx="600">
                  <c:v>1752</c:v>
                </c:pt>
                <c:pt idx="601">
                  <c:v>1734</c:v>
                </c:pt>
                <c:pt idx="602">
                  <c:v>14297</c:v>
                </c:pt>
                <c:pt idx="603">
                  <c:v>229487</c:v>
                </c:pt>
                <c:pt idx="604">
                  <c:v>3901</c:v>
                </c:pt>
                <c:pt idx="605">
                  <c:v>25010</c:v>
                </c:pt>
                <c:pt idx="606">
                  <c:v>24585</c:v>
                </c:pt>
                <c:pt idx="607">
                  <c:v>68775</c:v>
                </c:pt>
                <c:pt idx="608">
                  <c:v>1113218</c:v>
                </c:pt>
                <c:pt idx="609">
                  <c:v>2914</c:v>
                </c:pt>
                <c:pt idx="610">
                  <c:v>92903</c:v>
                </c:pt>
                <c:pt idx="611">
                  <c:v>250509</c:v>
                </c:pt>
                <c:pt idx="612">
                  <c:v>5337</c:v>
                </c:pt>
                <c:pt idx="613">
                  <c:v>33316</c:v>
                </c:pt>
                <c:pt idx="614">
                  <c:v>2992</c:v>
                </c:pt>
                <c:pt idx="615">
                  <c:v>58316</c:v>
                </c:pt>
                <c:pt idx="616">
                  <c:v>26479</c:v>
                </c:pt>
                <c:pt idx="617">
                  <c:v>62190</c:v>
                </c:pt>
                <c:pt idx="618">
                  <c:v>380149</c:v>
                </c:pt>
                <c:pt idx="619">
                  <c:v>914448</c:v>
                </c:pt>
                <c:pt idx="620">
                  <c:v>81346</c:v>
                </c:pt>
                <c:pt idx="621">
                  <c:v>75850</c:v>
                </c:pt>
                <c:pt idx="622">
                  <c:v>55437</c:v>
                </c:pt>
                <c:pt idx="623">
                  <c:v>8608</c:v>
                </c:pt>
                <c:pt idx="624">
                  <c:v>2973</c:v>
                </c:pt>
                <c:pt idx="625">
                  <c:v>26994</c:v>
                </c:pt>
                <c:pt idx="626">
                  <c:v>44553</c:v>
                </c:pt>
                <c:pt idx="627">
                  <c:v>125746</c:v>
                </c:pt>
                <c:pt idx="628">
                  <c:v>7672</c:v>
                </c:pt>
                <c:pt idx="629">
                  <c:v>22108</c:v>
                </c:pt>
                <c:pt idx="630">
                  <c:v>10248</c:v>
                </c:pt>
                <c:pt idx="631">
                  <c:v>9436</c:v>
                </c:pt>
                <c:pt idx="632">
                  <c:v>2675</c:v>
                </c:pt>
                <c:pt idx="633">
                  <c:v>9987</c:v>
                </c:pt>
                <c:pt idx="634">
                  <c:v>2598</c:v>
                </c:pt>
                <c:pt idx="635">
                  <c:v>690944</c:v>
                </c:pt>
                <c:pt idx="636">
                  <c:v>13497</c:v>
                </c:pt>
                <c:pt idx="637">
                  <c:v>75729</c:v>
                </c:pt>
                <c:pt idx="638">
                  <c:v>19478</c:v>
                </c:pt>
                <c:pt idx="639">
                  <c:v>7022</c:v>
                </c:pt>
                <c:pt idx="640">
                  <c:v>518080</c:v>
                </c:pt>
                <c:pt idx="641">
                  <c:v>25968</c:v>
                </c:pt>
                <c:pt idx="642">
                  <c:v>836522</c:v>
                </c:pt>
                <c:pt idx="643">
                  <c:v>472217</c:v>
                </c:pt>
                <c:pt idx="644">
                  <c:v>259001</c:v>
                </c:pt>
                <c:pt idx="645">
                  <c:v>112087</c:v>
                </c:pt>
                <c:pt idx="646">
                  <c:v>352335</c:v>
                </c:pt>
                <c:pt idx="647">
                  <c:v>3356</c:v>
                </c:pt>
                <c:pt idx="648">
                  <c:v>20303</c:v>
                </c:pt>
                <c:pt idx="649">
                  <c:v>71681</c:v>
                </c:pt>
                <c:pt idx="650">
                  <c:v>7324</c:v>
                </c:pt>
                <c:pt idx="651">
                  <c:v>2734</c:v>
                </c:pt>
                <c:pt idx="652">
                  <c:v>139639</c:v>
                </c:pt>
                <c:pt idx="653">
                  <c:v>89947</c:v>
                </c:pt>
                <c:pt idx="654">
                  <c:v>61026</c:v>
                </c:pt>
                <c:pt idx="655">
                  <c:v>134033</c:v>
                </c:pt>
                <c:pt idx="656">
                  <c:v>94023</c:v>
                </c:pt>
                <c:pt idx="657">
                  <c:v>25320</c:v>
                </c:pt>
                <c:pt idx="658">
                  <c:v>5495</c:v>
                </c:pt>
                <c:pt idx="659">
                  <c:v>54716</c:v>
                </c:pt>
                <c:pt idx="660">
                  <c:v>5362</c:v>
                </c:pt>
                <c:pt idx="661">
                  <c:v>2871</c:v>
                </c:pt>
                <c:pt idx="662">
                  <c:v>23852</c:v>
                </c:pt>
                <c:pt idx="663">
                  <c:v>13803</c:v>
                </c:pt>
                <c:pt idx="664">
                  <c:v>103653</c:v>
                </c:pt>
                <c:pt idx="665">
                  <c:v>4737</c:v>
                </c:pt>
                <c:pt idx="666">
                  <c:v>233781</c:v>
                </c:pt>
                <c:pt idx="667">
                  <c:v>32369</c:v>
                </c:pt>
                <c:pt idx="668">
                  <c:v>58710</c:v>
                </c:pt>
                <c:pt idx="669">
                  <c:v>14307</c:v>
                </c:pt>
                <c:pt idx="670">
                  <c:v>37578</c:v>
                </c:pt>
                <c:pt idx="671">
                  <c:v>38305</c:v>
                </c:pt>
                <c:pt idx="672">
                  <c:v>11931</c:v>
                </c:pt>
                <c:pt idx="673">
                  <c:v>40417</c:v>
                </c:pt>
                <c:pt idx="674">
                  <c:v>20112</c:v>
                </c:pt>
                <c:pt idx="675">
                  <c:v>7791</c:v>
                </c:pt>
                <c:pt idx="676">
                  <c:v>6203</c:v>
                </c:pt>
                <c:pt idx="677">
                  <c:v>43455</c:v>
                </c:pt>
                <c:pt idx="678">
                  <c:v>8318</c:v>
                </c:pt>
                <c:pt idx="679">
                  <c:v>402427</c:v>
                </c:pt>
                <c:pt idx="680">
                  <c:v>11555</c:v>
                </c:pt>
                <c:pt idx="681">
                  <c:v>207161</c:v>
                </c:pt>
                <c:pt idx="682">
                  <c:v>167404</c:v>
                </c:pt>
                <c:pt idx="683">
                  <c:v>217376</c:v>
                </c:pt>
                <c:pt idx="684">
                  <c:v>5361</c:v>
                </c:pt>
                <c:pt idx="685">
                  <c:v>26996</c:v>
                </c:pt>
                <c:pt idx="686">
                  <c:v>7959</c:v>
                </c:pt>
                <c:pt idx="687">
                  <c:v>200537</c:v>
                </c:pt>
                <c:pt idx="688">
                  <c:v>45931</c:v>
                </c:pt>
                <c:pt idx="689">
                  <c:v>11400</c:v>
                </c:pt>
                <c:pt idx="690">
                  <c:v>10894</c:v>
                </c:pt>
                <c:pt idx="691">
                  <c:v>130726</c:v>
                </c:pt>
                <c:pt idx="692">
                  <c:v>35208</c:v>
                </c:pt>
                <c:pt idx="693">
                  <c:v>2488</c:v>
                </c:pt>
                <c:pt idx="694">
                  <c:v>15798</c:v>
                </c:pt>
                <c:pt idx="695">
                  <c:v>120616</c:v>
                </c:pt>
                <c:pt idx="696">
                  <c:v>23472</c:v>
                </c:pt>
                <c:pt idx="697">
                  <c:v>1762</c:v>
                </c:pt>
                <c:pt idx="698">
                  <c:v>26636</c:v>
                </c:pt>
                <c:pt idx="699">
                  <c:v>36702</c:v>
                </c:pt>
                <c:pt idx="700">
                  <c:v>121913</c:v>
                </c:pt>
                <c:pt idx="701">
                  <c:v>19442</c:v>
                </c:pt>
                <c:pt idx="702">
                  <c:v>12748</c:v>
                </c:pt>
                <c:pt idx="703">
                  <c:v>98148</c:v>
                </c:pt>
                <c:pt idx="704">
                  <c:v>81038</c:v>
                </c:pt>
                <c:pt idx="705">
                  <c:v>200764</c:v>
                </c:pt>
                <c:pt idx="706">
                  <c:v>143061</c:v>
                </c:pt>
                <c:pt idx="707">
                  <c:v>52143</c:v>
                </c:pt>
                <c:pt idx="708">
                  <c:v>16137</c:v>
                </c:pt>
                <c:pt idx="709">
                  <c:v>9344</c:v>
                </c:pt>
                <c:pt idx="710">
                  <c:v>12624</c:v>
                </c:pt>
                <c:pt idx="711">
                  <c:v>23986</c:v>
                </c:pt>
                <c:pt idx="712">
                  <c:v>8422</c:v>
                </c:pt>
                <c:pt idx="713">
                  <c:v>8834</c:v>
                </c:pt>
                <c:pt idx="714">
                  <c:v>262148</c:v>
                </c:pt>
                <c:pt idx="715">
                  <c:v>26835</c:v>
                </c:pt>
                <c:pt idx="716">
                  <c:v>6395</c:v>
                </c:pt>
                <c:pt idx="717">
                  <c:v>68692</c:v>
                </c:pt>
                <c:pt idx="718">
                  <c:v>16249</c:v>
                </c:pt>
                <c:pt idx="719">
                  <c:v>8261</c:v>
                </c:pt>
                <c:pt idx="720">
                  <c:v>40690</c:v>
                </c:pt>
                <c:pt idx="721">
                  <c:v>6504</c:v>
                </c:pt>
                <c:pt idx="722">
                  <c:v>19486</c:v>
                </c:pt>
                <c:pt idx="723">
                  <c:v>59520</c:v>
                </c:pt>
                <c:pt idx="724">
                  <c:v>18474</c:v>
                </c:pt>
                <c:pt idx="725">
                  <c:v>2557</c:v>
                </c:pt>
                <c:pt idx="726">
                  <c:v>6154</c:v>
                </c:pt>
                <c:pt idx="727">
                  <c:v>39067</c:v>
                </c:pt>
                <c:pt idx="728">
                  <c:v>2797</c:v>
                </c:pt>
                <c:pt idx="729">
                  <c:v>15756</c:v>
                </c:pt>
                <c:pt idx="730">
                  <c:v>74971</c:v>
                </c:pt>
                <c:pt idx="731">
                  <c:v>16027</c:v>
                </c:pt>
                <c:pt idx="732">
                  <c:v>5219</c:v>
                </c:pt>
                <c:pt idx="733">
                  <c:v>16690</c:v>
                </c:pt>
                <c:pt idx="734">
                  <c:v>3279</c:v>
                </c:pt>
                <c:pt idx="735">
                  <c:v>40289</c:v>
                </c:pt>
                <c:pt idx="736">
                  <c:v>26784</c:v>
                </c:pt>
                <c:pt idx="737">
                  <c:v>11137</c:v>
                </c:pt>
                <c:pt idx="738">
                  <c:v>2777</c:v>
                </c:pt>
                <c:pt idx="739">
                  <c:v>5136</c:v>
                </c:pt>
                <c:pt idx="740">
                  <c:v>5222</c:v>
                </c:pt>
                <c:pt idx="741">
                  <c:v>1891</c:v>
                </c:pt>
                <c:pt idx="742">
                  <c:v>28264</c:v>
                </c:pt>
                <c:pt idx="743">
                  <c:v>65906</c:v>
                </c:pt>
                <c:pt idx="744">
                  <c:v>157051</c:v>
                </c:pt>
                <c:pt idx="745">
                  <c:v>10839</c:v>
                </c:pt>
                <c:pt idx="746">
                  <c:v>2480</c:v>
                </c:pt>
                <c:pt idx="747">
                  <c:v>36125</c:v>
                </c:pt>
                <c:pt idx="748">
                  <c:v>11143</c:v>
                </c:pt>
                <c:pt idx="749">
                  <c:v>530</c:v>
                </c:pt>
                <c:pt idx="750">
                  <c:v>11920</c:v>
                </c:pt>
                <c:pt idx="751">
                  <c:v>63710</c:v>
                </c:pt>
                <c:pt idx="752">
                  <c:v>26424</c:v>
                </c:pt>
                <c:pt idx="753">
                  <c:v>350516</c:v>
                </c:pt>
                <c:pt idx="754">
                  <c:v>9541</c:v>
                </c:pt>
                <c:pt idx="755">
                  <c:v>171271</c:v>
                </c:pt>
                <c:pt idx="756">
                  <c:v>19161</c:v>
                </c:pt>
                <c:pt idx="757">
                  <c:v>6970</c:v>
                </c:pt>
                <c:pt idx="758">
                  <c:v>17114</c:v>
                </c:pt>
                <c:pt idx="759">
                  <c:v>375804</c:v>
                </c:pt>
                <c:pt idx="760">
                  <c:v>31472</c:v>
                </c:pt>
                <c:pt idx="761">
                  <c:v>12653</c:v>
                </c:pt>
                <c:pt idx="762">
                  <c:v>5669</c:v>
                </c:pt>
                <c:pt idx="763">
                  <c:v>2404</c:v>
                </c:pt>
                <c:pt idx="764">
                  <c:v>236952</c:v>
                </c:pt>
                <c:pt idx="765">
                  <c:v>221251</c:v>
                </c:pt>
                <c:pt idx="766">
                  <c:v>4249</c:v>
                </c:pt>
                <c:pt idx="767">
                  <c:v>3331</c:v>
                </c:pt>
                <c:pt idx="768">
                  <c:v>13526</c:v>
                </c:pt>
                <c:pt idx="769">
                  <c:v>5653</c:v>
                </c:pt>
                <c:pt idx="770">
                  <c:v>28740</c:v>
                </c:pt>
                <c:pt idx="771">
                  <c:v>17737</c:v>
                </c:pt>
                <c:pt idx="772">
                  <c:v>60004</c:v>
                </c:pt>
                <c:pt idx="773">
                  <c:v>43335</c:v>
                </c:pt>
                <c:pt idx="774">
                  <c:v>12816</c:v>
                </c:pt>
                <c:pt idx="775">
                  <c:v>243507</c:v>
                </c:pt>
                <c:pt idx="776">
                  <c:v>9160</c:v>
                </c:pt>
                <c:pt idx="777">
                  <c:v>6121</c:v>
                </c:pt>
                <c:pt idx="778">
                  <c:v>2696</c:v>
                </c:pt>
                <c:pt idx="779">
                  <c:v>633304</c:v>
                </c:pt>
                <c:pt idx="780">
                  <c:v>172053</c:v>
                </c:pt>
                <c:pt idx="781">
                  <c:v>2435</c:v>
                </c:pt>
                <c:pt idx="782">
                  <c:v>187657</c:v>
                </c:pt>
                <c:pt idx="783">
                  <c:v>18987</c:v>
                </c:pt>
                <c:pt idx="784">
                  <c:v>7423</c:v>
                </c:pt>
                <c:pt idx="785">
                  <c:v>777312</c:v>
                </c:pt>
                <c:pt idx="786">
                  <c:v>123809</c:v>
                </c:pt>
                <c:pt idx="787">
                  <c:v>9748</c:v>
                </c:pt>
                <c:pt idx="788">
                  <c:v>156934</c:v>
                </c:pt>
                <c:pt idx="789">
                  <c:v>6966</c:v>
                </c:pt>
                <c:pt idx="790">
                  <c:v>2600</c:v>
                </c:pt>
                <c:pt idx="791">
                  <c:v>5080</c:v>
                </c:pt>
                <c:pt idx="792">
                  <c:v>404710</c:v>
                </c:pt>
                <c:pt idx="793">
                  <c:v>130761</c:v>
                </c:pt>
                <c:pt idx="794">
                  <c:v>9463</c:v>
                </c:pt>
                <c:pt idx="795">
                  <c:v>95265</c:v>
                </c:pt>
                <c:pt idx="796">
                  <c:v>13744</c:v>
                </c:pt>
                <c:pt idx="797">
                  <c:v>20105</c:v>
                </c:pt>
                <c:pt idx="798">
                  <c:v>35998</c:v>
                </c:pt>
                <c:pt idx="799">
                  <c:v>17214</c:v>
                </c:pt>
                <c:pt idx="800">
                  <c:v>16140</c:v>
                </c:pt>
                <c:pt idx="801">
                  <c:v>3023</c:v>
                </c:pt>
                <c:pt idx="802">
                  <c:v>321890</c:v>
                </c:pt>
                <c:pt idx="803">
                  <c:v>12122</c:v>
                </c:pt>
                <c:pt idx="804">
                  <c:v>24628</c:v>
                </c:pt>
                <c:pt idx="805">
                  <c:v>15268</c:v>
                </c:pt>
                <c:pt idx="806">
                  <c:v>3249</c:v>
                </c:pt>
                <c:pt idx="807">
                  <c:v>161135</c:v>
                </c:pt>
                <c:pt idx="808">
                  <c:v>19259</c:v>
                </c:pt>
                <c:pt idx="809">
                  <c:v>9975</c:v>
                </c:pt>
                <c:pt idx="810">
                  <c:v>70771</c:v>
                </c:pt>
                <c:pt idx="811">
                  <c:v>22271</c:v>
                </c:pt>
                <c:pt idx="812">
                  <c:v>405197</c:v>
                </c:pt>
                <c:pt idx="813">
                  <c:v>5733</c:v>
                </c:pt>
                <c:pt idx="814">
                  <c:v>48572</c:v>
                </c:pt>
                <c:pt idx="815">
                  <c:v>8470</c:v>
                </c:pt>
                <c:pt idx="816">
                  <c:v>10991</c:v>
                </c:pt>
                <c:pt idx="817">
                  <c:v>10968</c:v>
                </c:pt>
                <c:pt idx="818">
                  <c:v>50325</c:v>
                </c:pt>
                <c:pt idx="819">
                  <c:v>32074</c:v>
                </c:pt>
                <c:pt idx="820">
                  <c:v>5681</c:v>
                </c:pt>
                <c:pt idx="821">
                  <c:v>95887</c:v>
                </c:pt>
                <c:pt idx="822">
                  <c:v>278430</c:v>
                </c:pt>
                <c:pt idx="823">
                  <c:v>13908</c:v>
                </c:pt>
              </c:numCache>
            </c:numRef>
          </c:xVal>
          <c:yVal>
            <c:numRef>
              <c:f>pivot!$AG$4:$AG$835</c:f>
              <c:numCache>
                <c:formatCode>General</c:formatCode>
                <c:ptCount val="824"/>
                <c:pt idx="0">
                  <c:v>0</c:v>
                </c:pt>
                <c:pt idx="1">
                  <c:v>0</c:v>
                </c:pt>
                <c:pt idx="2">
                  <c:v>0</c:v>
                </c:pt>
                <c:pt idx="3">
                  <c:v>63</c:v>
                </c:pt>
                <c:pt idx="4">
                  <c:v>0</c:v>
                </c:pt>
                <c:pt idx="5">
                  <c:v>16</c:v>
                </c:pt>
                <c:pt idx="6">
                  <c:v>124</c:v>
                </c:pt>
                <c:pt idx="7">
                  <c:v>2</c:v>
                </c:pt>
                <c:pt idx="8">
                  <c:v>28</c:v>
                </c:pt>
                <c:pt idx="9">
                  <c:v>8</c:v>
                </c:pt>
                <c:pt idx="10">
                  <c:v>15</c:v>
                </c:pt>
                <c:pt idx="11">
                  <c:v>6</c:v>
                </c:pt>
                <c:pt idx="12">
                  <c:v>0</c:v>
                </c:pt>
                <c:pt idx="13">
                  <c:v>0</c:v>
                </c:pt>
                <c:pt idx="14">
                  <c:v>72</c:v>
                </c:pt>
                <c:pt idx="15">
                  <c:v>4</c:v>
                </c:pt>
                <c:pt idx="16">
                  <c:v>0</c:v>
                </c:pt>
                <c:pt idx="17">
                  <c:v>2</c:v>
                </c:pt>
                <c:pt idx="18">
                  <c:v>0</c:v>
                </c:pt>
                <c:pt idx="19">
                  <c:v>0</c:v>
                </c:pt>
                <c:pt idx="20">
                  <c:v>0</c:v>
                </c:pt>
                <c:pt idx="21">
                  <c:v>2</c:v>
                </c:pt>
                <c:pt idx="22">
                  <c:v>13</c:v>
                </c:pt>
                <c:pt idx="23">
                  <c:v>0</c:v>
                </c:pt>
                <c:pt idx="24">
                  <c:v>0</c:v>
                </c:pt>
                <c:pt idx="25">
                  <c:v>0</c:v>
                </c:pt>
                <c:pt idx="26">
                  <c:v>69</c:v>
                </c:pt>
                <c:pt idx="27">
                  <c:v>1</c:v>
                </c:pt>
                <c:pt idx="28">
                  <c:v>0</c:v>
                </c:pt>
                <c:pt idx="29">
                  <c:v>47</c:v>
                </c:pt>
                <c:pt idx="30">
                  <c:v>0</c:v>
                </c:pt>
                <c:pt idx="31">
                  <c:v>0</c:v>
                </c:pt>
                <c:pt idx="32">
                  <c:v>2</c:v>
                </c:pt>
                <c:pt idx="33">
                  <c:v>1</c:v>
                </c:pt>
                <c:pt idx="34">
                  <c:v>0</c:v>
                </c:pt>
                <c:pt idx="35">
                  <c:v>2</c:v>
                </c:pt>
                <c:pt idx="36">
                  <c:v>14</c:v>
                </c:pt>
                <c:pt idx="37">
                  <c:v>1</c:v>
                </c:pt>
                <c:pt idx="38">
                  <c:v>3</c:v>
                </c:pt>
                <c:pt idx="39">
                  <c:v>0</c:v>
                </c:pt>
                <c:pt idx="40">
                  <c:v>0</c:v>
                </c:pt>
                <c:pt idx="41">
                  <c:v>3</c:v>
                </c:pt>
                <c:pt idx="42">
                  <c:v>2</c:v>
                </c:pt>
                <c:pt idx="43">
                  <c:v>2</c:v>
                </c:pt>
                <c:pt idx="44">
                  <c:v>8</c:v>
                </c:pt>
                <c:pt idx="45">
                  <c:v>0</c:v>
                </c:pt>
                <c:pt idx="46">
                  <c:v>0</c:v>
                </c:pt>
                <c:pt idx="47">
                  <c:v>3</c:v>
                </c:pt>
                <c:pt idx="48">
                  <c:v>1</c:v>
                </c:pt>
                <c:pt idx="49">
                  <c:v>9</c:v>
                </c:pt>
                <c:pt idx="50">
                  <c:v>0</c:v>
                </c:pt>
                <c:pt idx="51">
                  <c:v>6</c:v>
                </c:pt>
                <c:pt idx="52">
                  <c:v>0</c:v>
                </c:pt>
                <c:pt idx="53">
                  <c:v>2</c:v>
                </c:pt>
                <c:pt idx="54">
                  <c:v>0</c:v>
                </c:pt>
                <c:pt idx="55">
                  <c:v>5</c:v>
                </c:pt>
                <c:pt idx="56">
                  <c:v>1</c:v>
                </c:pt>
                <c:pt idx="57">
                  <c:v>2</c:v>
                </c:pt>
                <c:pt idx="58">
                  <c:v>2</c:v>
                </c:pt>
                <c:pt idx="59">
                  <c:v>0</c:v>
                </c:pt>
                <c:pt idx="60">
                  <c:v>20</c:v>
                </c:pt>
                <c:pt idx="61">
                  <c:v>0</c:v>
                </c:pt>
                <c:pt idx="62">
                  <c:v>56</c:v>
                </c:pt>
                <c:pt idx="63">
                  <c:v>15</c:v>
                </c:pt>
                <c:pt idx="64">
                  <c:v>3</c:v>
                </c:pt>
                <c:pt idx="65">
                  <c:v>4</c:v>
                </c:pt>
                <c:pt idx="66">
                  <c:v>3</c:v>
                </c:pt>
                <c:pt idx="67">
                  <c:v>0</c:v>
                </c:pt>
                <c:pt idx="68">
                  <c:v>3</c:v>
                </c:pt>
                <c:pt idx="69">
                  <c:v>0</c:v>
                </c:pt>
                <c:pt idx="70">
                  <c:v>0</c:v>
                </c:pt>
                <c:pt idx="71">
                  <c:v>3</c:v>
                </c:pt>
                <c:pt idx="72">
                  <c:v>0</c:v>
                </c:pt>
                <c:pt idx="73">
                  <c:v>12</c:v>
                </c:pt>
                <c:pt idx="74">
                  <c:v>4</c:v>
                </c:pt>
                <c:pt idx="75">
                  <c:v>0</c:v>
                </c:pt>
                <c:pt idx="76">
                  <c:v>42</c:v>
                </c:pt>
                <c:pt idx="77">
                  <c:v>0</c:v>
                </c:pt>
                <c:pt idx="78">
                  <c:v>0</c:v>
                </c:pt>
                <c:pt idx="79">
                  <c:v>1</c:v>
                </c:pt>
                <c:pt idx="80">
                  <c:v>1</c:v>
                </c:pt>
                <c:pt idx="81">
                  <c:v>0</c:v>
                </c:pt>
                <c:pt idx="82">
                  <c:v>0</c:v>
                </c:pt>
                <c:pt idx="83">
                  <c:v>0</c:v>
                </c:pt>
                <c:pt idx="84">
                  <c:v>0</c:v>
                </c:pt>
                <c:pt idx="85">
                  <c:v>15</c:v>
                </c:pt>
                <c:pt idx="86">
                  <c:v>9</c:v>
                </c:pt>
                <c:pt idx="87">
                  <c:v>19</c:v>
                </c:pt>
                <c:pt idx="88">
                  <c:v>0</c:v>
                </c:pt>
                <c:pt idx="89">
                  <c:v>2</c:v>
                </c:pt>
                <c:pt idx="90">
                  <c:v>14</c:v>
                </c:pt>
                <c:pt idx="91">
                  <c:v>116</c:v>
                </c:pt>
                <c:pt idx="92">
                  <c:v>14</c:v>
                </c:pt>
                <c:pt idx="93">
                  <c:v>0</c:v>
                </c:pt>
                <c:pt idx="94">
                  <c:v>0</c:v>
                </c:pt>
                <c:pt idx="95">
                  <c:v>0</c:v>
                </c:pt>
                <c:pt idx="96">
                  <c:v>0</c:v>
                </c:pt>
                <c:pt idx="97">
                  <c:v>29</c:v>
                </c:pt>
                <c:pt idx="98">
                  <c:v>1</c:v>
                </c:pt>
                <c:pt idx="99">
                  <c:v>6</c:v>
                </c:pt>
                <c:pt idx="100">
                  <c:v>0</c:v>
                </c:pt>
                <c:pt idx="101">
                  <c:v>0</c:v>
                </c:pt>
                <c:pt idx="102">
                  <c:v>23</c:v>
                </c:pt>
                <c:pt idx="103">
                  <c:v>28</c:v>
                </c:pt>
                <c:pt idx="104">
                  <c:v>20</c:v>
                </c:pt>
                <c:pt idx="105">
                  <c:v>0</c:v>
                </c:pt>
                <c:pt idx="106">
                  <c:v>3</c:v>
                </c:pt>
                <c:pt idx="107">
                  <c:v>5</c:v>
                </c:pt>
                <c:pt idx="108">
                  <c:v>2</c:v>
                </c:pt>
                <c:pt idx="109">
                  <c:v>6</c:v>
                </c:pt>
                <c:pt idx="110">
                  <c:v>0</c:v>
                </c:pt>
                <c:pt idx="111">
                  <c:v>2</c:v>
                </c:pt>
                <c:pt idx="112">
                  <c:v>2</c:v>
                </c:pt>
                <c:pt idx="113">
                  <c:v>3</c:v>
                </c:pt>
                <c:pt idx="114">
                  <c:v>2</c:v>
                </c:pt>
                <c:pt idx="115">
                  <c:v>29</c:v>
                </c:pt>
                <c:pt idx="116">
                  <c:v>13</c:v>
                </c:pt>
                <c:pt idx="117">
                  <c:v>0</c:v>
                </c:pt>
                <c:pt idx="118">
                  <c:v>3</c:v>
                </c:pt>
                <c:pt idx="119">
                  <c:v>6</c:v>
                </c:pt>
                <c:pt idx="120">
                  <c:v>0</c:v>
                </c:pt>
                <c:pt idx="121">
                  <c:v>2</c:v>
                </c:pt>
                <c:pt idx="122">
                  <c:v>10</c:v>
                </c:pt>
                <c:pt idx="123">
                  <c:v>0</c:v>
                </c:pt>
                <c:pt idx="124">
                  <c:v>6</c:v>
                </c:pt>
                <c:pt idx="125">
                  <c:v>0</c:v>
                </c:pt>
                <c:pt idx="126">
                  <c:v>0</c:v>
                </c:pt>
                <c:pt idx="127">
                  <c:v>0</c:v>
                </c:pt>
                <c:pt idx="128">
                  <c:v>0</c:v>
                </c:pt>
                <c:pt idx="129">
                  <c:v>1</c:v>
                </c:pt>
                <c:pt idx="130">
                  <c:v>21</c:v>
                </c:pt>
                <c:pt idx="131">
                  <c:v>1</c:v>
                </c:pt>
                <c:pt idx="132">
                  <c:v>38</c:v>
                </c:pt>
                <c:pt idx="133">
                  <c:v>1</c:v>
                </c:pt>
                <c:pt idx="134">
                  <c:v>3</c:v>
                </c:pt>
                <c:pt idx="135">
                  <c:v>0</c:v>
                </c:pt>
                <c:pt idx="136">
                  <c:v>21</c:v>
                </c:pt>
                <c:pt idx="137">
                  <c:v>0</c:v>
                </c:pt>
                <c:pt idx="138">
                  <c:v>3</c:v>
                </c:pt>
                <c:pt idx="139">
                  <c:v>0</c:v>
                </c:pt>
                <c:pt idx="140">
                  <c:v>8</c:v>
                </c:pt>
                <c:pt idx="141">
                  <c:v>5</c:v>
                </c:pt>
                <c:pt idx="142">
                  <c:v>0</c:v>
                </c:pt>
                <c:pt idx="143">
                  <c:v>15</c:v>
                </c:pt>
                <c:pt idx="144">
                  <c:v>14</c:v>
                </c:pt>
                <c:pt idx="145">
                  <c:v>52</c:v>
                </c:pt>
                <c:pt idx="146">
                  <c:v>32</c:v>
                </c:pt>
                <c:pt idx="147">
                  <c:v>1</c:v>
                </c:pt>
                <c:pt idx="148">
                  <c:v>0</c:v>
                </c:pt>
                <c:pt idx="149">
                  <c:v>3</c:v>
                </c:pt>
                <c:pt idx="150">
                  <c:v>0</c:v>
                </c:pt>
                <c:pt idx="151">
                  <c:v>47</c:v>
                </c:pt>
                <c:pt idx="152">
                  <c:v>0</c:v>
                </c:pt>
                <c:pt idx="153">
                  <c:v>2</c:v>
                </c:pt>
                <c:pt idx="154">
                  <c:v>0</c:v>
                </c:pt>
                <c:pt idx="155">
                  <c:v>1</c:v>
                </c:pt>
                <c:pt idx="156">
                  <c:v>46</c:v>
                </c:pt>
                <c:pt idx="157">
                  <c:v>8</c:v>
                </c:pt>
                <c:pt idx="158">
                  <c:v>1</c:v>
                </c:pt>
                <c:pt idx="159">
                  <c:v>9</c:v>
                </c:pt>
                <c:pt idx="160">
                  <c:v>0</c:v>
                </c:pt>
                <c:pt idx="161">
                  <c:v>11</c:v>
                </c:pt>
                <c:pt idx="162">
                  <c:v>0</c:v>
                </c:pt>
                <c:pt idx="163">
                  <c:v>8</c:v>
                </c:pt>
                <c:pt idx="164">
                  <c:v>7</c:v>
                </c:pt>
                <c:pt idx="165">
                  <c:v>56</c:v>
                </c:pt>
                <c:pt idx="166">
                  <c:v>0</c:v>
                </c:pt>
                <c:pt idx="167">
                  <c:v>2</c:v>
                </c:pt>
                <c:pt idx="168">
                  <c:v>14</c:v>
                </c:pt>
                <c:pt idx="169">
                  <c:v>1</c:v>
                </c:pt>
                <c:pt idx="170">
                  <c:v>24</c:v>
                </c:pt>
                <c:pt idx="171">
                  <c:v>0</c:v>
                </c:pt>
                <c:pt idx="172">
                  <c:v>1</c:v>
                </c:pt>
                <c:pt idx="173">
                  <c:v>101</c:v>
                </c:pt>
                <c:pt idx="174">
                  <c:v>3</c:v>
                </c:pt>
                <c:pt idx="175">
                  <c:v>1</c:v>
                </c:pt>
                <c:pt idx="176">
                  <c:v>0</c:v>
                </c:pt>
                <c:pt idx="177">
                  <c:v>0</c:v>
                </c:pt>
                <c:pt idx="178">
                  <c:v>14</c:v>
                </c:pt>
                <c:pt idx="179">
                  <c:v>6</c:v>
                </c:pt>
                <c:pt idx="180">
                  <c:v>1</c:v>
                </c:pt>
                <c:pt idx="181">
                  <c:v>0</c:v>
                </c:pt>
                <c:pt idx="182">
                  <c:v>0</c:v>
                </c:pt>
                <c:pt idx="183">
                  <c:v>1</c:v>
                </c:pt>
                <c:pt idx="184">
                  <c:v>3</c:v>
                </c:pt>
                <c:pt idx="185">
                  <c:v>2</c:v>
                </c:pt>
                <c:pt idx="186">
                  <c:v>52</c:v>
                </c:pt>
                <c:pt idx="187">
                  <c:v>0</c:v>
                </c:pt>
                <c:pt idx="188">
                  <c:v>82</c:v>
                </c:pt>
                <c:pt idx="189">
                  <c:v>0</c:v>
                </c:pt>
                <c:pt idx="190">
                  <c:v>22</c:v>
                </c:pt>
                <c:pt idx="191">
                  <c:v>20</c:v>
                </c:pt>
                <c:pt idx="192">
                  <c:v>0</c:v>
                </c:pt>
                <c:pt idx="193">
                  <c:v>23</c:v>
                </c:pt>
                <c:pt idx="194">
                  <c:v>5</c:v>
                </c:pt>
                <c:pt idx="195">
                  <c:v>11</c:v>
                </c:pt>
                <c:pt idx="196">
                  <c:v>2</c:v>
                </c:pt>
                <c:pt idx="197">
                  <c:v>0</c:v>
                </c:pt>
                <c:pt idx="198">
                  <c:v>0</c:v>
                </c:pt>
                <c:pt idx="199">
                  <c:v>0</c:v>
                </c:pt>
                <c:pt idx="200">
                  <c:v>0</c:v>
                </c:pt>
                <c:pt idx="201">
                  <c:v>38</c:v>
                </c:pt>
                <c:pt idx="202">
                  <c:v>42</c:v>
                </c:pt>
                <c:pt idx="203">
                  <c:v>2</c:v>
                </c:pt>
                <c:pt idx="204">
                  <c:v>97</c:v>
                </c:pt>
                <c:pt idx="205">
                  <c:v>6</c:v>
                </c:pt>
                <c:pt idx="206">
                  <c:v>0</c:v>
                </c:pt>
                <c:pt idx="207">
                  <c:v>0</c:v>
                </c:pt>
                <c:pt idx="208">
                  <c:v>0</c:v>
                </c:pt>
                <c:pt idx="209">
                  <c:v>1</c:v>
                </c:pt>
                <c:pt idx="210">
                  <c:v>80</c:v>
                </c:pt>
                <c:pt idx="211">
                  <c:v>0</c:v>
                </c:pt>
                <c:pt idx="212">
                  <c:v>0</c:v>
                </c:pt>
                <c:pt idx="213">
                  <c:v>0</c:v>
                </c:pt>
                <c:pt idx="214">
                  <c:v>1</c:v>
                </c:pt>
                <c:pt idx="215">
                  <c:v>3</c:v>
                </c:pt>
                <c:pt idx="216">
                  <c:v>56</c:v>
                </c:pt>
                <c:pt idx="217">
                  <c:v>0</c:v>
                </c:pt>
                <c:pt idx="218">
                  <c:v>1</c:v>
                </c:pt>
                <c:pt idx="219">
                  <c:v>87</c:v>
                </c:pt>
                <c:pt idx="220">
                  <c:v>7</c:v>
                </c:pt>
                <c:pt idx="221">
                  <c:v>43</c:v>
                </c:pt>
                <c:pt idx="222">
                  <c:v>17</c:v>
                </c:pt>
                <c:pt idx="223">
                  <c:v>0</c:v>
                </c:pt>
                <c:pt idx="224">
                  <c:v>18</c:v>
                </c:pt>
                <c:pt idx="225">
                  <c:v>0</c:v>
                </c:pt>
                <c:pt idx="226">
                  <c:v>3</c:v>
                </c:pt>
                <c:pt idx="227">
                  <c:v>7</c:v>
                </c:pt>
                <c:pt idx="228">
                  <c:v>0</c:v>
                </c:pt>
                <c:pt idx="229">
                  <c:v>0</c:v>
                </c:pt>
                <c:pt idx="230">
                  <c:v>3</c:v>
                </c:pt>
                <c:pt idx="231">
                  <c:v>20</c:v>
                </c:pt>
                <c:pt idx="232">
                  <c:v>64</c:v>
                </c:pt>
                <c:pt idx="233">
                  <c:v>2</c:v>
                </c:pt>
                <c:pt idx="234">
                  <c:v>0</c:v>
                </c:pt>
                <c:pt idx="235">
                  <c:v>0</c:v>
                </c:pt>
                <c:pt idx="236">
                  <c:v>0</c:v>
                </c:pt>
                <c:pt idx="237">
                  <c:v>5</c:v>
                </c:pt>
                <c:pt idx="238">
                  <c:v>38</c:v>
                </c:pt>
                <c:pt idx="239">
                  <c:v>16</c:v>
                </c:pt>
                <c:pt idx="240">
                  <c:v>73</c:v>
                </c:pt>
                <c:pt idx="241">
                  <c:v>0</c:v>
                </c:pt>
                <c:pt idx="242">
                  <c:v>0</c:v>
                </c:pt>
                <c:pt idx="243">
                  <c:v>0</c:v>
                </c:pt>
                <c:pt idx="244">
                  <c:v>106</c:v>
                </c:pt>
                <c:pt idx="245">
                  <c:v>7</c:v>
                </c:pt>
                <c:pt idx="246">
                  <c:v>3</c:v>
                </c:pt>
                <c:pt idx="247">
                  <c:v>2</c:v>
                </c:pt>
                <c:pt idx="248">
                  <c:v>0</c:v>
                </c:pt>
                <c:pt idx="249">
                  <c:v>7</c:v>
                </c:pt>
                <c:pt idx="250">
                  <c:v>34</c:v>
                </c:pt>
                <c:pt idx="251">
                  <c:v>5</c:v>
                </c:pt>
                <c:pt idx="252">
                  <c:v>0</c:v>
                </c:pt>
                <c:pt idx="253">
                  <c:v>5</c:v>
                </c:pt>
                <c:pt idx="254">
                  <c:v>0</c:v>
                </c:pt>
                <c:pt idx="255">
                  <c:v>4</c:v>
                </c:pt>
                <c:pt idx="256">
                  <c:v>0</c:v>
                </c:pt>
                <c:pt idx="257">
                  <c:v>9</c:v>
                </c:pt>
                <c:pt idx="258">
                  <c:v>108</c:v>
                </c:pt>
                <c:pt idx="259">
                  <c:v>9</c:v>
                </c:pt>
                <c:pt idx="260">
                  <c:v>6</c:v>
                </c:pt>
                <c:pt idx="261">
                  <c:v>0</c:v>
                </c:pt>
                <c:pt idx="262">
                  <c:v>2</c:v>
                </c:pt>
                <c:pt idx="263">
                  <c:v>73</c:v>
                </c:pt>
                <c:pt idx="264">
                  <c:v>124</c:v>
                </c:pt>
                <c:pt idx="265">
                  <c:v>0</c:v>
                </c:pt>
                <c:pt idx="266">
                  <c:v>0</c:v>
                </c:pt>
                <c:pt idx="267">
                  <c:v>0</c:v>
                </c:pt>
                <c:pt idx="268">
                  <c:v>4</c:v>
                </c:pt>
                <c:pt idx="269">
                  <c:v>0</c:v>
                </c:pt>
                <c:pt idx="270">
                  <c:v>0</c:v>
                </c:pt>
                <c:pt idx="271">
                  <c:v>8</c:v>
                </c:pt>
                <c:pt idx="272">
                  <c:v>0</c:v>
                </c:pt>
                <c:pt idx="273">
                  <c:v>2</c:v>
                </c:pt>
                <c:pt idx="274">
                  <c:v>5</c:v>
                </c:pt>
                <c:pt idx="275">
                  <c:v>0</c:v>
                </c:pt>
                <c:pt idx="276">
                  <c:v>0</c:v>
                </c:pt>
                <c:pt idx="277">
                  <c:v>2</c:v>
                </c:pt>
                <c:pt idx="278">
                  <c:v>10</c:v>
                </c:pt>
                <c:pt idx="279">
                  <c:v>5</c:v>
                </c:pt>
                <c:pt idx="280">
                  <c:v>0</c:v>
                </c:pt>
                <c:pt idx="281">
                  <c:v>3</c:v>
                </c:pt>
                <c:pt idx="282">
                  <c:v>1</c:v>
                </c:pt>
                <c:pt idx="283">
                  <c:v>3</c:v>
                </c:pt>
                <c:pt idx="284">
                  <c:v>0</c:v>
                </c:pt>
                <c:pt idx="285">
                  <c:v>5</c:v>
                </c:pt>
                <c:pt idx="286">
                  <c:v>2</c:v>
                </c:pt>
                <c:pt idx="287">
                  <c:v>6</c:v>
                </c:pt>
                <c:pt idx="288">
                  <c:v>1</c:v>
                </c:pt>
                <c:pt idx="289">
                  <c:v>0</c:v>
                </c:pt>
                <c:pt idx="290">
                  <c:v>3</c:v>
                </c:pt>
                <c:pt idx="291">
                  <c:v>1</c:v>
                </c:pt>
                <c:pt idx="292">
                  <c:v>0</c:v>
                </c:pt>
                <c:pt idx="293">
                  <c:v>17</c:v>
                </c:pt>
                <c:pt idx="294">
                  <c:v>0</c:v>
                </c:pt>
                <c:pt idx="295">
                  <c:v>0</c:v>
                </c:pt>
                <c:pt idx="296">
                  <c:v>2</c:v>
                </c:pt>
                <c:pt idx="297">
                  <c:v>2</c:v>
                </c:pt>
                <c:pt idx="298">
                  <c:v>0</c:v>
                </c:pt>
                <c:pt idx="299">
                  <c:v>1</c:v>
                </c:pt>
                <c:pt idx="300">
                  <c:v>42</c:v>
                </c:pt>
                <c:pt idx="301">
                  <c:v>1</c:v>
                </c:pt>
                <c:pt idx="302">
                  <c:v>0</c:v>
                </c:pt>
                <c:pt idx="303">
                  <c:v>13</c:v>
                </c:pt>
                <c:pt idx="304">
                  <c:v>65</c:v>
                </c:pt>
                <c:pt idx="305">
                  <c:v>15</c:v>
                </c:pt>
                <c:pt idx="306">
                  <c:v>8</c:v>
                </c:pt>
                <c:pt idx="307">
                  <c:v>6</c:v>
                </c:pt>
                <c:pt idx="308">
                  <c:v>2</c:v>
                </c:pt>
                <c:pt idx="309">
                  <c:v>6</c:v>
                </c:pt>
                <c:pt idx="310">
                  <c:v>1</c:v>
                </c:pt>
                <c:pt idx="311">
                  <c:v>0</c:v>
                </c:pt>
                <c:pt idx="312">
                  <c:v>5</c:v>
                </c:pt>
                <c:pt idx="313">
                  <c:v>0</c:v>
                </c:pt>
                <c:pt idx="314">
                  <c:v>1</c:v>
                </c:pt>
                <c:pt idx="315">
                  <c:v>0</c:v>
                </c:pt>
                <c:pt idx="316">
                  <c:v>1</c:v>
                </c:pt>
                <c:pt idx="317">
                  <c:v>3</c:v>
                </c:pt>
                <c:pt idx="318">
                  <c:v>1</c:v>
                </c:pt>
                <c:pt idx="319">
                  <c:v>0</c:v>
                </c:pt>
                <c:pt idx="320">
                  <c:v>96</c:v>
                </c:pt>
                <c:pt idx="321">
                  <c:v>29</c:v>
                </c:pt>
                <c:pt idx="322">
                  <c:v>7</c:v>
                </c:pt>
                <c:pt idx="323">
                  <c:v>2</c:v>
                </c:pt>
                <c:pt idx="324">
                  <c:v>5</c:v>
                </c:pt>
                <c:pt idx="325">
                  <c:v>0</c:v>
                </c:pt>
                <c:pt idx="326">
                  <c:v>0</c:v>
                </c:pt>
                <c:pt idx="327">
                  <c:v>70</c:v>
                </c:pt>
                <c:pt idx="328">
                  <c:v>0</c:v>
                </c:pt>
                <c:pt idx="329">
                  <c:v>1</c:v>
                </c:pt>
                <c:pt idx="330">
                  <c:v>0</c:v>
                </c:pt>
                <c:pt idx="331">
                  <c:v>91</c:v>
                </c:pt>
                <c:pt idx="332">
                  <c:v>0</c:v>
                </c:pt>
                <c:pt idx="333">
                  <c:v>0</c:v>
                </c:pt>
                <c:pt idx="334">
                  <c:v>4</c:v>
                </c:pt>
                <c:pt idx="335">
                  <c:v>0</c:v>
                </c:pt>
                <c:pt idx="336">
                  <c:v>25</c:v>
                </c:pt>
                <c:pt idx="337">
                  <c:v>0</c:v>
                </c:pt>
                <c:pt idx="338">
                  <c:v>6</c:v>
                </c:pt>
                <c:pt idx="339">
                  <c:v>2</c:v>
                </c:pt>
                <c:pt idx="340">
                  <c:v>0</c:v>
                </c:pt>
                <c:pt idx="341">
                  <c:v>0</c:v>
                </c:pt>
                <c:pt idx="342">
                  <c:v>1</c:v>
                </c:pt>
                <c:pt idx="343">
                  <c:v>0</c:v>
                </c:pt>
                <c:pt idx="344">
                  <c:v>9</c:v>
                </c:pt>
                <c:pt idx="345">
                  <c:v>1</c:v>
                </c:pt>
                <c:pt idx="346">
                  <c:v>3</c:v>
                </c:pt>
                <c:pt idx="347">
                  <c:v>11</c:v>
                </c:pt>
                <c:pt idx="348">
                  <c:v>0</c:v>
                </c:pt>
                <c:pt idx="349">
                  <c:v>0</c:v>
                </c:pt>
                <c:pt idx="350">
                  <c:v>0</c:v>
                </c:pt>
                <c:pt idx="351">
                  <c:v>1</c:v>
                </c:pt>
                <c:pt idx="352">
                  <c:v>0</c:v>
                </c:pt>
                <c:pt idx="353">
                  <c:v>6</c:v>
                </c:pt>
                <c:pt idx="354">
                  <c:v>1</c:v>
                </c:pt>
                <c:pt idx="355">
                  <c:v>5</c:v>
                </c:pt>
                <c:pt idx="356">
                  <c:v>1</c:v>
                </c:pt>
                <c:pt idx="357">
                  <c:v>1</c:v>
                </c:pt>
                <c:pt idx="358">
                  <c:v>31</c:v>
                </c:pt>
                <c:pt idx="359">
                  <c:v>10</c:v>
                </c:pt>
                <c:pt idx="360">
                  <c:v>0</c:v>
                </c:pt>
                <c:pt idx="361">
                  <c:v>159</c:v>
                </c:pt>
                <c:pt idx="362">
                  <c:v>0</c:v>
                </c:pt>
                <c:pt idx="363">
                  <c:v>0</c:v>
                </c:pt>
                <c:pt idx="364">
                  <c:v>0</c:v>
                </c:pt>
                <c:pt idx="365">
                  <c:v>1</c:v>
                </c:pt>
                <c:pt idx="366">
                  <c:v>0</c:v>
                </c:pt>
                <c:pt idx="367">
                  <c:v>0</c:v>
                </c:pt>
                <c:pt idx="368">
                  <c:v>1</c:v>
                </c:pt>
                <c:pt idx="369">
                  <c:v>8</c:v>
                </c:pt>
                <c:pt idx="370">
                  <c:v>0</c:v>
                </c:pt>
                <c:pt idx="371">
                  <c:v>0</c:v>
                </c:pt>
                <c:pt idx="372">
                  <c:v>15</c:v>
                </c:pt>
                <c:pt idx="373">
                  <c:v>0</c:v>
                </c:pt>
                <c:pt idx="374">
                  <c:v>0</c:v>
                </c:pt>
                <c:pt idx="375">
                  <c:v>2</c:v>
                </c:pt>
                <c:pt idx="376">
                  <c:v>30</c:v>
                </c:pt>
                <c:pt idx="377">
                  <c:v>15</c:v>
                </c:pt>
                <c:pt idx="378">
                  <c:v>5</c:v>
                </c:pt>
                <c:pt idx="379">
                  <c:v>6</c:v>
                </c:pt>
                <c:pt idx="380">
                  <c:v>5</c:v>
                </c:pt>
                <c:pt idx="381">
                  <c:v>10</c:v>
                </c:pt>
                <c:pt idx="382">
                  <c:v>52</c:v>
                </c:pt>
                <c:pt idx="383">
                  <c:v>5</c:v>
                </c:pt>
                <c:pt idx="384">
                  <c:v>40</c:v>
                </c:pt>
                <c:pt idx="385">
                  <c:v>0</c:v>
                </c:pt>
                <c:pt idx="386">
                  <c:v>0</c:v>
                </c:pt>
                <c:pt idx="387">
                  <c:v>71</c:v>
                </c:pt>
                <c:pt idx="388">
                  <c:v>0</c:v>
                </c:pt>
                <c:pt idx="389">
                  <c:v>28</c:v>
                </c:pt>
                <c:pt idx="390">
                  <c:v>5</c:v>
                </c:pt>
                <c:pt idx="391">
                  <c:v>2</c:v>
                </c:pt>
                <c:pt idx="392">
                  <c:v>0</c:v>
                </c:pt>
                <c:pt idx="393">
                  <c:v>5</c:v>
                </c:pt>
                <c:pt idx="394">
                  <c:v>3</c:v>
                </c:pt>
                <c:pt idx="395">
                  <c:v>2</c:v>
                </c:pt>
                <c:pt idx="396">
                  <c:v>10</c:v>
                </c:pt>
                <c:pt idx="397">
                  <c:v>12</c:v>
                </c:pt>
                <c:pt idx="398">
                  <c:v>1</c:v>
                </c:pt>
                <c:pt idx="399">
                  <c:v>73</c:v>
                </c:pt>
                <c:pt idx="400">
                  <c:v>0</c:v>
                </c:pt>
                <c:pt idx="401">
                  <c:v>1</c:v>
                </c:pt>
                <c:pt idx="402">
                  <c:v>17</c:v>
                </c:pt>
                <c:pt idx="403">
                  <c:v>28</c:v>
                </c:pt>
                <c:pt idx="404">
                  <c:v>0</c:v>
                </c:pt>
                <c:pt idx="405">
                  <c:v>0</c:v>
                </c:pt>
                <c:pt idx="406">
                  <c:v>1</c:v>
                </c:pt>
                <c:pt idx="407">
                  <c:v>24</c:v>
                </c:pt>
                <c:pt idx="408">
                  <c:v>0</c:v>
                </c:pt>
                <c:pt idx="409">
                  <c:v>1</c:v>
                </c:pt>
                <c:pt idx="410">
                  <c:v>7</c:v>
                </c:pt>
                <c:pt idx="411">
                  <c:v>2</c:v>
                </c:pt>
                <c:pt idx="412">
                  <c:v>2</c:v>
                </c:pt>
                <c:pt idx="413">
                  <c:v>2</c:v>
                </c:pt>
                <c:pt idx="414">
                  <c:v>0</c:v>
                </c:pt>
                <c:pt idx="415">
                  <c:v>0</c:v>
                </c:pt>
                <c:pt idx="416">
                  <c:v>1</c:v>
                </c:pt>
                <c:pt idx="417">
                  <c:v>19</c:v>
                </c:pt>
                <c:pt idx="418">
                  <c:v>13</c:v>
                </c:pt>
                <c:pt idx="419">
                  <c:v>2</c:v>
                </c:pt>
                <c:pt idx="420">
                  <c:v>9</c:v>
                </c:pt>
                <c:pt idx="421">
                  <c:v>0</c:v>
                </c:pt>
                <c:pt idx="422">
                  <c:v>0</c:v>
                </c:pt>
                <c:pt idx="423">
                  <c:v>11</c:v>
                </c:pt>
                <c:pt idx="424">
                  <c:v>2</c:v>
                </c:pt>
                <c:pt idx="425">
                  <c:v>6</c:v>
                </c:pt>
                <c:pt idx="426">
                  <c:v>3</c:v>
                </c:pt>
                <c:pt idx="427">
                  <c:v>10</c:v>
                </c:pt>
                <c:pt idx="428">
                  <c:v>17</c:v>
                </c:pt>
                <c:pt idx="429">
                  <c:v>0</c:v>
                </c:pt>
                <c:pt idx="430">
                  <c:v>11</c:v>
                </c:pt>
                <c:pt idx="431">
                  <c:v>38</c:v>
                </c:pt>
                <c:pt idx="432">
                  <c:v>0</c:v>
                </c:pt>
                <c:pt idx="433">
                  <c:v>5</c:v>
                </c:pt>
                <c:pt idx="434">
                  <c:v>27</c:v>
                </c:pt>
                <c:pt idx="435">
                  <c:v>0</c:v>
                </c:pt>
                <c:pt idx="436">
                  <c:v>1</c:v>
                </c:pt>
                <c:pt idx="437">
                  <c:v>7</c:v>
                </c:pt>
                <c:pt idx="438">
                  <c:v>1</c:v>
                </c:pt>
                <c:pt idx="439">
                  <c:v>10</c:v>
                </c:pt>
                <c:pt idx="440">
                  <c:v>1</c:v>
                </c:pt>
                <c:pt idx="441">
                  <c:v>3</c:v>
                </c:pt>
                <c:pt idx="442">
                  <c:v>34</c:v>
                </c:pt>
                <c:pt idx="443">
                  <c:v>3</c:v>
                </c:pt>
                <c:pt idx="444">
                  <c:v>0</c:v>
                </c:pt>
                <c:pt idx="445">
                  <c:v>9</c:v>
                </c:pt>
                <c:pt idx="446">
                  <c:v>14</c:v>
                </c:pt>
                <c:pt idx="447">
                  <c:v>0</c:v>
                </c:pt>
                <c:pt idx="448">
                  <c:v>8</c:v>
                </c:pt>
                <c:pt idx="449">
                  <c:v>1</c:v>
                </c:pt>
                <c:pt idx="450">
                  <c:v>4</c:v>
                </c:pt>
                <c:pt idx="451">
                  <c:v>12</c:v>
                </c:pt>
                <c:pt idx="452">
                  <c:v>0</c:v>
                </c:pt>
                <c:pt idx="453">
                  <c:v>1</c:v>
                </c:pt>
                <c:pt idx="454">
                  <c:v>6</c:v>
                </c:pt>
                <c:pt idx="455">
                  <c:v>33</c:v>
                </c:pt>
                <c:pt idx="456">
                  <c:v>1</c:v>
                </c:pt>
                <c:pt idx="457">
                  <c:v>36</c:v>
                </c:pt>
                <c:pt idx="458">
                  <c:v>2</c:v>
                </c:pt>
                <c:pt idx="459">
                  <c:v>6</c:v>
                </c:pt>
                <c:pt idx="460">
                  <c:v>0</c:v>
                </c:pt>
                <c:pt idx="461">
                  <c:v>1</c:v>
                </c:pt>
                <c:pt idx="462">
                  <c:v>8</c:v>
                </c:pt>
                <c:pt idx="463">
                  <c:v>0</c:v>
                </c:pt>
                <c:pt idx="464">
                  <c:v>29</c:v>
                </c:pt>
                <c:pt idx="465">
                  <c:v>2</c:v>
                </c:pt>
                <c:pt idx="466">
                  <c:v>0</c:v>
                </c:pt>
                <c:pt idx="467">
                  <c:v>2</c:v>
                </c:pt>
                <c:pt idx="468">
                  <c:v>0</c:v>
                </c:pt>
                <c:pt idx="469">
                  <c:v>27</c:v>
                </c:pt>
                <c:pt idx="470">
                  <c:v>0</c:v>
                </c:pt>
                <c:pt idx="471">
                  <c:v>0</c:v>
                </c:pt>
                <c:pt idx="472">
                  <c:v>41</c:v>
                </c:pt>
                <c:pt idx="473">
                  <c:v>1</c:v>
                </c:pt>
                <c:pt idx="474">
                  <c:v>0</c:v>
                </c:pt>
                <c:pt idx="475">
                  <c:v>0</c:v>
                </c:pt>
                <c:pt idx="476">
                  <c:v>2</c:v>
                </c:pt>
                <c:pt idx="477">
                  <c:v>7</c:v>
                </c:pt>
                <c:pt idx="478">
                  <c:v>0</c:v>
                </c:pt>
                <c:pt idx="479">
                  <c:v>5</c:v>
                </c:pt>
                <c:pt idx="480">
                  <c:v>16</c:v>
                </c:pt>
                <c:pt idx="481">
                  <c:v>21</c:v>
                </c:pt>
                <c:pt idx="482">
                  <c:v>0</c:v>
                </c:pt>
                <c:pt idx="483">
                  <c:v>15</c:v>
                </c:pt>
                <c:pt idx="484">
                  <c:v>0</c:v>
                </c:pt>
                <c:pt idx="485">
                  <c:v>9</c:v>
                </c:pt>
                <c:pt idx="486">
                  <c:v>123</c:v>
                </c:pt>
                <c:pt idx="487">
                  <c:v>138</c:v>
                </c:pt>
                <c:pt idx="488">
                  <c:v>1</c:v>
                </c:pt>
                <c:pt idx="489">
                  <c:v>0</c:v>
                </c:pt>
                <c:pt idx="490">
                  <c:v>0</c:v>
                </c:pt>
                <c:pt idx="491">
                  <c:v>0</c:v>
                </c:pt>
                <c:pt idx="492">
                  <c:v>50</c:v>
                </c:pt>
                <c:pt idx="493">
                  <c:v>0</c:v>
                </c:pt>
                <c:pt idx="494">
                  <c:v>0</c:v>
                </c:pt>
                <c:pt idx="495">
                  <c:v>1</c:v>
                </c:pt>
                <c:pt idx="496">
                  <c:v>31</c:v>
                </c:pt>
                <c:pt idx="497">
                  <c:v>5</c:v>
                </c:pt>
                <c:pt idx="498">
                  <c:v>43</c:v>
                </c:pt>
                <c:pt idx="499">
                  <c:v>0</c:v>
                </c:pt>
                <c:pt idx="500">
                  <c:v>52</c:v>
                </c:pt>
                <c:pt idx="501">
                  <c:v>1</c:v>
                </c:pt>
                <c:pt idx="502">
                  <c:v>98</c:v>
                </c:pt>
                <c:pt idx="503">
                  <c:v>0</c:v>
                </c:pt>
                <c:pt idx="504">
                  <c:v>6</c:v>
                </c:pt>
                <c:pt idx="505">
                  <c:v>0</c:v>
                </c:pt>
                <c:pt idx="506">
                  <c:v>2</c:v>
                </c:pt>
                <c:pt idx="507">
                  <c:v>27</c:v>
                </c:pt>
                <c:pt idx="508">
                  <c:v>0</c:v>
                </c:pt>
                <c:pt idx="509">
                  <c:v>0</c:v>
                </c:pt>
                <c:pt idx="510">
                  <c:v>0</c:v>
                </c:pt>
                <c:pt idx="511">
                  <c:v>0</c:v>
                </c:pt>
                <c:pt idx="512">
                  <c:v>0</c:v>
                </c:pt>
                <c:pt idx="513">
                  <c:v>106</c:v>
                </c:pt>
                <c:pt idx="514">
                  <c:v>1</c:v>
                </c:pt>
                <c:pt idx="515">
                  <c:v>7</c:v>
                </c:pt>
                <c:pt idx="516">
                  <c:v>2</c:v>
                </c:pt>
                <c:pt idx="517">
                  <c:v>2</c:v>
                </c:pt>
                <c:pt idx="518">
                  <c:v>5</c:v>
                </c:pt>
                <c:pt idx="519">
                  <c:v>70</c:v>
                </c:pt>
                <c:pt idx="520">
                  <c:v>0</c:v>
                </c:pt>
                <c:pt idx="521">
                  <c:v>1</c:v>
                </c:pt>
                <c:pt idx="522">
                  <c:v>9</c:v>
                </c:pt>
                <c:pt idx="523">
                  <c:v>0</c:v>
                </c:pt>
                <c:pt idx="524">
                  <c:v>1</c:v>
                </c:pt>
                <c:pt idx="525">
                  <c:v>9</c:v>
                </c:pt>
                <c:pt idx="526">
                  <c:v>0</c:v>
                </c:pt>
                <c:pt idx="527">
                  <c:v>4</c:v>
                </c:pt>
                <c:pt idx="528">
                  <c:v>1</c:v>
                </c:pt>
                <c:pt idx="529">
                  <c:v>0</c:v>
                </c:pt>
                <c:pt idx="530">
                  <c:v>1</c:v>
                </c:pt>
                <c:pt idx="531">
                  <c:v>63</c:v>
                </c:pt>
                <c:pt idx="532">
                  <c:v>7</c:v>
                </c:pt>
                <c:pt idx="533">
                  <c:v>2</c:v>
                </c:pt>
                <c:pt idx="534">
                  <c:v>0</c:v>
                </c:pt>
                <c:pt idx="535">
                  <c:v>95</c:v>
                </c:pt>
                <c:pt idx="536">
                  <c:v>15</c:v>
                </c:pt>
                <c:pt idx="537">
                  <c:v>0</c:v>
                </c:pt>
                <c:pt idx="538">
                  <c:v>0</c:v>
                </c:pt>
                <c:pt idx="539">
                  <c:v>0</c:v>
                </c:pt>
                <c:pt idx="540">
                  <c:v>0</c:v>
                </c:pt>
                <c:pt idx="541">
                  <c:v>0</c:v>
                </c:pt>
                <c:pt idx="542">
                  <c:v>7</c:v>
                </c:pt>
                <c:pt idx="543">
                  <c:v>1</c:v>
                </c:pt>
                <c:pt idx="544">
                  <c:v>0</c:v>
                </c:pt>
                <c:pt idx="545">
                  <c:v>3</c:v>
                </c:pt>
                <c:pt idx="546">
                  <c:v>9</c:v>
                </c:pt>
                <c:pt idx="547">
                  <c:v>3</c:v>
                </c:pt>
                <c:pt idx="548">
                  <c:v>13</c:v>
                </c:pt>
                <c:pt idx="549">
                  <c:v>6</c:v>
                </c:pt>
                <c:pt idx="550">
                  <c:v>18</c:v>
                </c:pt>
                <c:pt idx="551">
                  <c:v>5</c:v>
                </c:pt>
                <c:pt idx="552">
                  <c:v>0</c:v>
                </c:pt>
                <c:pt idx="553">
                  <c:v>0</c:v>
                </c:pt>
                <c:pt idx="554">
                  <c:v>0</c:v>
                </c:pt>
                <c:pt idx="555">
                  <c:v>5</c:v>
                </c:pt>
                <c:pt idx="556">
                  <c:v>11</c:v>
                </c:pt>
                <c:pt idx="557">
                  <c:v>0</c:v>
                </c:pt>
                <c:pt idx="558">
                  <c:v>5</c:v>
                </c:pt>
                <c:pt idx="559">
                  <c:v>4</c:v>
                </c:pt>
                <c:pt idx="560">
                  <c:v>0</c:v>
                </c:pt>
                <c:pt idx="561">
                  <c:v>0</c:v>
                </c:pt>
                <c:pt idx="562">
                  <c:v>5</c:v>
                </c:pt>
                <c:pt idx="563">
                  <c:v>0</c:v>
                </c:pt>
                <c:pt idx="564">
                  <c:v>0</c:v>
                </c:pt>
                <c:pt idx="565">
                  <c:v>70</c:v>
                </c:pt>
                <c:pt idx="566">
                  <c:v>10</c:v>
                </c:pt>
                <c:pt idx="567">
                  <c:v>8</c:v>
                </c:pt>
                <c:pt idx="568">
                  <c:v>3</c:v>
                </c:pt>
                <c:pt idx="569">
                  <c:v>0</c:v>
                </c:pt>
                <c:pt idx="570">
                  <c:v>1</c:v>
                </c:pt>
                <c:pt idx="571">
                  <c:v>0</c:v>
                </c:pt>
                <c:pt idx="572">
                  <c:v>0</c:v>
                </c:pt>
                <c:pt idx="573">
                  <c:v>2</c:v>
                </c:pt>
                <c:pt idx="574">
                  <c:v>12</c:v>
                </c:pt>
                <c:pt idx="575">
                  <c:v>0</c:v>
                </c:pt>
                <c:pt idx="576">
                  <c:v>2</c:v>
                </c:pt>
                <c:pt idx="577">
                  <c:v>82</c:v>
                </c:pt>
                <c:pt idx="578">
                  <c:v>0</c:v>
                </c:pt>
                <c:pt idx="579">
                  <c:v>2</c:v>
                </c:pt>
                <c:pt idx="580">
                  <c:v>2</c:v>
                </c:pt>
                <c:pt idx="581">
                  <c:v>104</c:v>
                </c:pt>
                <c:pt idx="582">
                  <c:v>3</c:v>
                </c:pt>
                <c:pt idx="583">
                  <c:v>0</c:v>
                </c:pt>
                <c:pt idx="584">
                  <c:v>40</c:v>
                </c:pt>
                <c:pt idx="585">
                  <c:v>0</c:v>
                </c:pt>
                <c:pt idx="586">
                  <c:v>0</c:v>
                </c:pt>
                <c:pt idx="587">
                  <c:v>4</c:v>
                </c:pt>
                <c:pt idx="588">
                  <c:v>2</c:v>
                </c:pt>
                <c:pt idx="589">
                  <c:v>66</c:v>
                </c:pt>
                <c:pt idx="590">
                  <c:v>20</c:v>
                </c:pt>
                <c:pt idx="591">
                  <c:v>0</c:v>
                </c:pt>
                <c:pt idx="592">
                  <c:v>12</c:v>
                </c:pt>
                <c:pt idx="593">
                  <c:v>0</c:v>
                </c:pt>
                <c:pt idx="594">
                  <c:v>17</c:v>
                </c:pt>
                <c:pt idx="595">
                  <c:v>3</c:v>
                </c:pt>
                <c:pt idx="596">
                  <c:v>0</c:v>
                </c:pt>
                <c:pt idx="597">
                  <c:v>0</c:v>
                </c:pt>
                <c:pt idx="598">
                  <c:v>0</c:v>
                </c:pt>
                <c:pt idx="599">
                  <c:v>0</c:v>
                </c:pt>
                <c:pt idx="600">
                  <c:v>0</c:v>
                </c:pt>
                <c:pt idx="601">
                  <c:v>0</c:v>
                </c:pt>
                <c:pt idx="602">
                  <c:v>0</c:v>
                </c:pt>
                <c:pt idx="603">
                  <c:v>29</c:v>
                </c:pt>
                <c:pt idx="604">
                  <c:v>0</c:v>
                </c:pt>
                <c:pt idx="605">
                  <c:v>2</c:v>
                </c:pt>
                <c:pt idx="606">
                  <c:v>4</c:v>
                </c:pt>
                <c:pt idx="607">
                  <c:v>3</c:v>
                </c:pt>
                <c:pt idx="608">
                  <c:v>54</c:v>
                </c:pt>
                <c:pt idx="609">
                  <c:v>1</c:v>
                </c:pt>
                <c:pt idx="610">
                  <c:v>8</c:v>
                </c:pt>
                <c:pt idx="611">
                  <c:v>28</c:v>
                </c:pt>
                <c:pt idx="612">
                  <c:v>0</c:v>
                </c:pt>
                <c:pt idx="613">
                  <c:v>8</c:v>
                </c:pt>
                <c:pt idx="614">
                  <c:v>0</c:v>
                </c:pt>
                <c:pt idx="615">
                  <c:v>4</c:v>
                </c:pt>
                <c:pt idx="616">
                  <c:v>2</c:v>
                </c:pt>
                <c:pt idx="617">
                  <c:v>6</c:v>
                </c:pt>
                <c:pt idx="618">
                  <c:v>45</c:v>
                </c:pt>
                <c:pt idx="619">
                  <c:v>162</c:v>
                </c:pt>
                <c:pt idx="620">
                  <c:v>10</c:v>
                </c:pt>
                <c:pt idx="621">
                  <c:v>3</c:v>
                </c:pt>
                <c:pt idx="622">
                  <c:v>9</c:v>
                </c:pt>
                <c:pt idx="623">
                  <c:v>0</c:v>
                </c:pt>
                <c:pt idx="624">
                  <c:v>0</c:v>
                </c:pt>
                <c:pt idx="625">
                  <c:v>4</c:v>
                </c:pt>
                <c:pt idx="626">
                  <c:v>26</c:v>
                </c:pt>
                <c:pt idx="627">
                  <c:v>12</c:v>
                </c:pt>
                <c:pt idx="628">
                  <c:v>0</c:v>
                </c:pt>
                <c:pt idx="629">
                  <c:v>2</c:v>
                </c:pt>
                <c:pt idx="630">
                  <c:v>3</c:v>
                </c:pt>
                <c:pt idx="631">
                  <c:v>3</c:v>
                </c:pt>
                <c:pt idx="632">
                  <c:v>0</c:v>
                </c:pt>
                <c:pt idx="633">
                  <c:v>0</c:v>
                </c:pt>
                <c:pt idx="634">
                  <c:v>0</c:v>
                </c:pt>
                <c:pt idx="635">
                  <c:v>165</c:v>
                </c:pt>
                <c:pt idx="636">
                  <c:v>2</c:v>
                </c:pt>
                <c:pt idx="637">
                  <c:v>6</c:v>
                </c:pt>
                <c:pt idx="638">
                  <c:v>0</c:v>
                </c:pt>
                <c:pt idx="639">
                  <c:v>0</c:v>
                </c:pt>
                <c:pt idx="640">
                  <c:v>66</c:v>
                </c:pt>
                <c:pt idx="641">
                  <c:v>3</c:v>
                </c:pt>
                <c:pt idx="642">
                  <c:v>125</c:v>
                </c:pt>
                <c:pt idx="643">
                  <c:v>93</c:v>
                </c:pt>
                <c:pt idx="644">
                  <c:v>45</c:v>
                </c:pt>
                <c:pt idx="645">
                  <c:v>37</c:v>
                </c:pt>
                <c:pt idx="646">
                  <c:v>72</c:v>
                </c:pt>
                <c:pt idx="647">
                  <c:v>2</c:v>
                </c:pt>
                <c:pt idx="648">
                  <c:v>7</c:v>
                </c:pt>
                <c:pt idx="649">
                  <c:v>10</c:v>
                </c:pt>
                <c:pt idx="650">
                  <c:v>0</c:v>
                </c:pt>
                <c:pt idx="651">
                  <c:v>0</c:v>
                </c:pt>
                <c:pt idx="652">
                  <c:v>34</c:v>
                </c:pt>
                <c:pt idx="653">
                  <c:v>19</c:v>
                </c:pt>
                <c:pt idx="654">
                  <c:v>1</c:v>
                </c:pt>
                <c:pt idx="655">
                  <c:v>15</c:v>
                </c:pt>
                <c:pt idx="656">
                  <c:v>10</c:v>
                </c:pt>
                <c:pt idx="657">
                  <c:v>1</c:v>
                </c:pt>
                <c:pt idx="658">
                  <c:v>0</c:v>
                </c:pt>
                <c:pt idx="659">
                  <c:v>8</c:v>
                </c:pt>
                <c:pt idx="660">
                  <c:v>0</c:v>
                </c:pt>
                <c:pt idx="661">
                  <c:v>0</c:v>
                </c:pt>
                <c:pt idx="662">
                  <c:v>0</c:v>
                </c:pt>
                <c:pt idx="663">
                  <c:v>0</c:v>
                </c:pt>
                <c:pt idx="664">
                  <c:v>11</c:v>
                </c:pt>
                <c:pt idx="665">
                  <c:v>0</c:v>
                </c:pt>
                <c:pt idx="666">
                  <c:v>30</c:v>
                </c:pt>
                <c:pt idx="667">
                  <c:v>0</c:v>
                </c:pt>
                <c:pt idx="668">
                  <c:v>13</c:v>
                </c:pt>
                <c:pt idx="669">
                  <c:v>0</c:v>
                </c:pt>
                <c:pt idx="670">
                  <c:v>3</c:v>
                </c:pt>
                <c:pt idx="671">
                  <c:v>2</c:v>
                </c:pt>
                <c:pt idx="672">
                  <c:v>1</c:v>
                </c:pt>
                <c:pt idx="673">
                  <c:v>2</c:v>
                </c:pt>
                <c:pt idx="674">
                  <c:v>0</c:v>
                </c:pt>
                <c:pt idx="675">
                  <c:v>0</c:v>
                </c:pt>
                <c:pt idx="676">
                  <c:v>2</c:v>
                </c:pt>
                <c:pt idx="677">
                  <c:v>13</c:v>
                </c:pt>
                <c:pt idx="678">
                  <c:v>0</c:v>
                </c:pt>
                <c:pt idx="679">
                  <c:v>103</c:v>
                </c:pt>
                <c:pt idx="680">
                  <c:v>6</c:v>
                </c:pt>
                <c:pt idx="681">
                  <c:v>41</c:v>
                </c:pt>
                <c:pt idx="682">
                  <c:v>20</c:v>
                </c:pt>
                <c:pt idx="683">
                  <c:v>65</c:v>
                </c:pt>
                <c:pt idx="684">
                  <c:v>0</c:v>
                </c:pt>
                <c:pt idx="685">
                  <c:v>5</c:v>
                </c:pt>
                <c:pt idx="686">
                  <c:v>0</c:v>
                </c:pt>
                <c:pt idx="687">
                  <c:v>68</c:v>
                </c:pt>
                <c:pt idx="688">
                  <c:v>8</c:v>
                </c:pt>
                <c:pt idx="689">
                  <c:v>0</c:v>
                </c:pt>
                <c:pt idx="690">
                  <c:v>0</c:v>
                </c:pt>
                <c:pt idx="691">
                  <c:v>12</c:v>
                </c:pt>
                <c:pt idx="692">
                  <c:v>2</c:v>
                </c:pt>
                <c:pt idx="693">
                  <c:v>0</c:v>
                </c:pt>
                <c:pt idx="694">
                  <c:v>0</c:v>
                </c:pt>
                <c:pt idx="695">
                  <c:v>10</c:v>
                </c:pt>
                <c:pt idx="696">
                  <c:v>1</c:v>
                </c:pt>
                <c:pt idx="697">
                  <c:v>0</c:v>
                </c:pt>
                <c:pt idx="698">
                  <c:v>0</c:v>
                </c:pt>
                <c:pt idx="699">
                  <c:v>3</c:v>
                </c:pt>
                <c:pt idx="700">
                  <c:v>8</c:v>
                </c:pt>
                <c:pt idx="701">
                  <c:v>0</c:v>
                </c:pt>
                <c:pt idx="702">
                  <c:v>0</c:v>
                </c:pt>
                <c:pt idx="703">
                  <c:v>11</c:v>
                </c:pt>
                <c:pt idx="704">
                  <c:v>5</c:v>
                </c:pt>
                <c:pt idx="705">
                  <c:v>46</c:v>
                </c:pt>
                <c:pt idx="706">
                  <c:v>17</c:v>
                </c:pt>
                <c:pt idx="707">
                  <c:v>8</c:v>
                </c:pt>
                <c:pt idx="708">
                  <c:v>3</c:v>
                </c:pt>
                <c:pt idx="709">
                  <c:v>1</c:v>
                </c:pt>
                <c:pt idx="710">
                  <c:v>1</c:v>
                </c:pt>
                <c:pt idx="711">
                  <c:v>0</c:v>
                </c:pt>
                <c:pt idx="712">
                  <c:v>1</c:v>
                </c:pt>
                <c:pt idx="713">
                  <c:v>0</c:v>
                </c:pt>
                <c:pt idx="714">
                  <c:v>44</c:v>
                </c:pt>
                <c:pt idx="715">
                  <c:v>3</c:v>
                </c:pt>
                <c:pt idx="716">
                  <c:v>0</c:v>
                </c:pt>
                <c:pt idx="717">
                  <c:v>8</c:v>
                </c:pt>
                <c:pt idx="718">
                  <c:v>4</c:v>
                </c:pt>
                <c:pt idx="719">
                  <c:v>0</c:v>
                </c:pt>
                <c:pt idx="720">
                  <c:v>8</c:v>
                </c:pt>
                <c:pt idx="721">
                  <c:v>0</c:v>
                </c:pt>
                <c:pt idx="722">
                  <c:v>0</c:v>
                </c:pt>
                <c:pt idx="723">
                  <c:v>4</c:v>
                </c:pt>
                <c:pt idx="724">
                  <c:v>4</c:v>
                </c:pt>
                <c:pt idx="725">
                  <c:v>0</c:v>
                </c:pt>
                <c:pt idx="726">
                  <c:v>2</c:v>
                </c:pt>
                <c:pt idx="727">
                  <c:v>2</c:v>
                </c:pt>
                <c:pt idx="728">
                  <c:v>0</c:v>
                </c:pt>
                <c:pt idx="729">
                  <c:v>2</c:v>
                </c:pt>
                <c:pt idx="730">
                  <c:v>15</c:v>
                </c:pt>
                <c:pt idx="731">
                  <c:v>2</c:v>
                </c:pt>
                <c:pt idx="732">
                  <c:v>2</c:v>
                </c:pt>
                <c:pt idx="733">
                  <c:v>0</c:v>
                </c:pt>
                <c:pt idx="734">
                  <c:v>0</c:v>
                </c:pt>
                <c:pt idx="735">
                  <c:v>3</c:v>
                </c:pt>
                <c:pt idx="736">
                  <c:v>1</c:v>
                </c:pt>
                <c:pt idx="737">
                  <c:v>2</c:v>
                </c:pt>
                <c:pt idx="738">
                  <c:v>1</c:v>
                </c:pt>
                <c:pt idx="739">
                  <c:v>0</c:v>
                </c:pt>
                <c:pt idx="740">
                  <c:v>0</c:v>
                </c:pt>
                <c:pt idx="741">
                  <c:v>1</c:v>
                </c:pt>
                <c:pt idx="742">
                  <c:v>1</c:v>
                </c:pt>
                <c:pt idx="743">
                  <c:v>9</c:v>
                </c:pt>
                <c:pt idx="744">
                  <c:v>28</c:v>
                </c:pt>
                <c:pt idx="745">
                  <c:v>3</c:v>
                </c:pt>
                <c:pt idx="746">
                  <c:v>0</c:v>
                </c:pt>
                <c:pt idx="747">
                  <c:v>2</c:v>
                </c:pt>
                <c:pt idx="748">
                  <c:v>0</c:v>
                </c:pt>
                <c:pt idx="749">
                  <c:v>0</c:v>
                </c:pt>
                <c:pt idx="750">
                  <c:v>0</c:v>
                </c:pt>
                <c:pt idx="751">
                  <c:v>4</c:v>
                </c:pt>
                <c:pt idx="752">
                  <c:v>4</c:v>
                </c:pt>
                <c:pt idx="753">
                  <c:v>26</c:v>
                </c:pt>
                <c:pt idx="754">
                  <c:v>1</c:v>
                </c:pt>
                <c:pt idx="755">
                  <c:v>9</c:v>
                </c:pt>
                <c:pt idx="756">
                  <c:v>1</c:v>
                </c:pt>
                <c:pt idx="757">
                  <c:v>0</c:v>
                </c:pt>
                <c:pt idx="758">
                  <c:v>0</c:v>
                </c:pt>
                <c:pt idx="759">
                  <c:v>96</c:v>
                </c:pt>
                <c:pt idx="760">
                  <c:v>1</c:v>
                </c:pt>
                <c:pt idx="761">
                  <c:v>1</c:v>
                </c:pt>
                <c:pt idx="762">
                  <c:v>0</c:v>
                </c:pt>
                <c:pt idx="763">
                  <c:v>0</c:v>
                </c:pt>
                <c:pt idx="764">
                  <c:v>33</c:v>
                </c:pt>
                <c:pt idx="765">
                  <c:v>10</c:v>
                </c:pt>
                <c:pt idx="766">
                  <c:v>0</c:v>
                </c:pt>
                <c:pt idx="767">
                  <c:v>0</c:v>
                </c:pt>
                <c:pt idx="768">
                  <c:v>0</c:v>
                </c:pt>
                <c:pt idx="769">
                  <c:v>0</c:v>
                </c:pt>
                <c:pt idx="770">
                  <c:v>0</c:v>
                </c:pt>
                <c:pt idx="771">
                  <c:v>5</c:v>
                </c:pt>
                <c:pt idx="772">
                  <c:v>4</c:v>
                </c:pt>
                <c:pt idx="773">
                  <c:v>4</c:v>
                </c:pt>
                <c:pt idx="774">
                  <c:v>4</c:v>
                </c:pt>
                <c:pt idx="775">
                  <c:v>51</c:v>
                </c:pt>
                <c:pt idx="776">
                  <c:v>3</c:v>
                </c:pt>
                <c:pt idx="777">
                  <c:v>0</c:v>
                </c:pt>
                <c:pt idx="778">
                  <c:v>0</c:v>
                </c:pt>
                <c:pt idx="779">
                  <c:v>126</c:v>
                </c:pt>
                <c:pt idx="780">
                  <c:v>21</c:v>
                </c:pt>
                <c:pt idx="781">
                  <c:v>0</c:v>
                </c:pt>
                <c:pt idx="782">
                  <c:v>30</c:v>
                </c:pt>
                <c:pt idx="783">
                  <c:v>0</c:v>
                </c:pt>
                <c:pt idx="784">
                  <c:v>0</c:v>
                </c:pt>
                <c:pt idx="785">
                  <c:v>64</c:v>
                </c:pt>
                <c:pt idx="786">
                  <c:v>9</c:v>
                </c:pt>
                <c:pt idx="787">
                  <c:v>0</c:v>
                </c:pt>
                <c:pt idx="788">
                  <c:v>30</c:v>
                </c:pt>
                <c:pt idx="789">
                  <c:v>0</c:v>
                </c:pt>
                <c:pt idx="790">
                  <c:v>0</c:v>
                </c:pt>
                <c:pt idx="791">
                  <c:v>0</c:v>
                </c:pt>
                <c:pt idx="792">
                  <c:v>51</c:v>
                </c:pt>
                <c:pt idx="793">
                  <c:v>12</c:v>
                </c:pt>
                <c:pt idx="794">
                  <c:v>1</c:v>
                </c:pt>
                <c:pt idx="795">
                  <c:v>26</c:v>
                </c:pt>
                <c:pt idx="796">
                  <c:v>1</c:v>
                </c:pt>
                <c:pt idx="797">
                  <c:v>1</c:v>
                </c:pt>
                <c:pt idx="798">
                  <c:v>3</c:v>
                </c:pt>
                <c:pt idx="799">
                  <c:v>0</c:v>
                </c:pt>
                <c:pt idx="800">
                  <c:v>6</c:v>
                </c:pt>
                <c:pt idx="801">
                  <c:v>0</c:v>
                </c:pt>
                <c:pt idx="802">
                  <c:v>31</c:v>
                </c:pt>
                <c:pt idx="803">
                  <c:v>2</c:v>
                </c:pt>
                <c:pt idx="804">
                  <c:v>3</c:v>
                </c:pt>
                <c:pt idx="805">
                  <c:v>2</c:v>
                </c:pt>
                <c:pt idx="806">
                  <c:v>0</c:v>
                </c:pt>
                <c:pt idx="807">
                  <c:v>17</c:v>
                </c:pt>
                <c:pt idx="808">
                  <c:v>1</c:v>
                </c:pt>
                <c:pt idx="809">
                  <c:v>2</c:v>
                </c:pt>
                <c:pt idx="810">
                  <c:v>8</c:v>
                </c:pt>
                <c:pt idx="811">
                  <c:v>2</c:v>
                </c:pt>
                <c:pt idx="812">
                  <c:v>20</c:v>
                </c:pt>
                <c:pt idx="813">
                  <c:v>0</c:v>
                </c:pt>
                <c:pt idx="814">
                  <c:v>4</c:v>
                </c:pt>
                <c:pt idx="815">
                  <c:v>0</c:v>
                </c:pt>
                <c:pt idx="816">
                  <c:v>0</c:v>
                </c:pt>
                <c:pt idx="817">
                  <c:v>1</c:v>
                </c:pt>
                <c:pt idx="818">
                  <c:v>7</c:v>
                </c:pt>
                <c:pt idx="819">
                  <c:v>6</c:v>
                </c:pt>
                <c:pt idx="820">
                  <c:v>0</c:v>
                </c:pt>
                <c:pt idx="821">
                  <c:v>19</c:v>
                </c:pt>
                <c:pt idx="822">
                  <c:v>39</c:v>
                </c:pt>
                <c:pt idx="823">
                  <c:v>1</c:v>
                </c:pt>
              </c:numCache>
            </c:numRef>
          </c:yVal>
          <c:smooth val="0"/>
          <c:extLst>
            <c:ext xmlns:c16="http://schemas.microsoft.com/office/drawing/2014/chart" uri="{C3380CC4-5D6E-409C-BE32-E72D297353CC}">
              <c16:uniqueId val="{00000000-43D7-4523-BFE9-0EE4F3FB9527}"/>
            </c:ext>
          </c:extLst>
        </c:ser>
        <c:dLbls>
          <c:showLegendKey val="0"/>
          <c:showVal val="0"/>
          <c:showCatName val="0"/>
          <c:showSerName val="0"/>
          <c:showPercent val="0"/>
          <c:showBubbleSize val="0"/>
        </c:dLbls>
        <c:axId val="1104214607"/>
        <c:axId val="1728911775"/>
      </c:scatterChart>
      <c:valAx>
        <c:axId val="110421460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Total Worker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728911775"/>
        <c:crosses val="autoZero"/>
        <c:crossBetween val="midCat"/>
      </c:valAx>
      <c:valAx>
        <c:axId val="172891177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10421460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r>
              <a:rPr lang="en-CA" sz="1200">
                <a:latin typeface="Helvetica Neue" panose="020B0604020202020204" charset="0"/>
              </a:rPr>
              <a:t>(City)</a:t>
            </a:r>
            <a:r>
              <a:rPr lang="en-CA" sz="1200" baseline="0">
                <a:latin typeface="Helvetica Neue" panose="020B0604020202020204" charset="0"/>
              </a:rPr>
              <a:t> </a:t>
            </a:r>
            <a:r>
              <a:rPr lang="en-CA" sz="1200">
                <a:latin typeface="Helvetica Neue" panose="020B0604020202020204" charset="0"/>
              </a:rPr>
              <a:t>Median Age to Starbucks Stores</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endParaRPr lang="en-US"/>
        </a:p>
      </c:txPr>
    </c:title>
    <c:autoTitleDeleted val="0"/>
    <c:plotArea>
      <c:layout/>
      <c:scatterChart>
        <c:scatterStyle val="lineMarker"/>
        <c:varyColors val="0"/>
        <c:ser>
          <c:idx val="0"/>
          <c:order val="0"/>
          <c:tx>
            <c:strRef>
              <c:f>city_regression_data!$I$1</c:f>
              <c:strCache>
                <c:ptCount val="1"/>
                <c:pt idx="0">
                  <c:v>Sum of Starbucks</c:v>
                </c:pt>
              </c:strCache>
            </c:strRef>
          </c:tx>
          <c:spPr>
            <a:ln w="19050" cap="rnd">
              <a:noFill/>
              <a:round/>
            </a:ln>
            <a:effectLst/>
          </c:spPr>
          <c:marker>
            <c:symbol val="circle"/>
            <c:size val="5"/>
            <c:spPr>
              <a:solidFill>
                <a:schemeClr val="accent1"/>
              </a:solidFill>
              <a:ln w="9525">
                <a:solidFill>
                  <a:schemeClr val="accent1"/>
                </a:solidFill>
              </a:ln>
              <a:effectLst/>
            </c:spPr>
          </c:marker>
          <c:xVal>
            <c:numRef>
              <c:f>city_regression_data!$F$2:$F$4549</c:f>
              <c:numCache>
                <c:formatCode>General</c:formatCode>
                <c:ptCount val="4548"/>
                <c:pt idx="0">
                  <c:v>43.2</c:v>
                </c:pt>
                <c:pt idx="1">
                  <c:v>42.6</c:v>
                </c:pt>
                <c:pt idx="2">
                  <c:v>32.4</c:v>
                </c:pt>
                <c:pt idx="3">
                  <c:v>37.4039995577822</c:v>
                </c:pt>
                <c:pt idx="4">
                  <c:v>41.355299334811498</c:v>
                </c:pt>
                <c:pt idx="5">
                  <c:v>35.305268819990097</c:v>
                </c:pt>
                <c:pt idx="6">
                  <c:v>39.474516133534799</c:v>
                </c:pt>
                <c:pt idx="7">
                  <c:v>37.564541939668999</c:v>
                </c:pt>
                <c:pt idx="8">
                  <c:v>40.880155491706297</c:v>
                </c:pt>
                <c:pt idx="9">
                  <c:v>32.868484736696402</c:v>
                </c:pt>
                <c:pt idx="10">
                  <c:v>43.6</c:v>
                </c:pt>
                <c:pt idx="11">
                  <c:v>31.8304118643713</c:v>
                </c:pt>
                <c:pt idx="12">
                  <c:v>34.998767307923401</c:v>
                </c:pt>
                <c:pt idx="13">
                  <c:v>36.9</c:v>
                </c:pt>
                <c:pt idx="14">
                  <c:v>35.152052554465698</c:v>
                </c:pt>
                <c:pt idx="15">
                  <c:v>39.524403369519497</c:v>
                </c:pt>
                <c:pt idx="16">
                  <c:v>53.099148817586602</c:v>
                </c:pt>
                <c:pt idx="17">
                  <c:v>40.5</c:v>
                </c:pt>
                <c:pt idx="18">
                  <c:v>34.676709403547399</c:v>
                </c:pt>
                <c:pt idx="19">
                  <c:v>42.089599722571798</c:v>
                </c:pt>
                <c:pt idx="20">
                  <c:v>35.7468802317347</c:v>
                </c:pt>
                <c:pt idx="21">
                  <c:v>49.4</c:v>
                </c:pt>
                <c:pt idx="22">
                  <c:v>39.462803234501301</c:v>
                </c:pt>
                <c:pt idx="23">
                  <c:v>38.325422326963697</c:v>
                </c:pt>
                <c:pt idx="24">
                  <c:v>30.039149832511701</c:v>
                </c:pt>
                <c:pt idx="25">
                  <c:v>30.515553205642</c:v>
                </c:pt>
                <c:pt idx="26">
                  <c:v>32.0820911116882</c:v>
                </c:pt>
                <c:pt idx="27">
                  <c:v>35.462574593853397</c:v>
                </c:pt>
                <c:pt idx="28">
                  <c:v>36.899512180000002</c:v>
                </c:pt>
                <c:pt idx="29">
                  <c:v>37.200000000000003</c:v>
                </c:pt>
                <c:pt idx="30">
                  <c:v>27.9</c:v>
                </c:pt>
                <c:pt idx="31">
                  <c:v>38.756994697206103</c:v>
                </c:pt>
                <c:pt idx="32">
                  <c:v>44.825411899071497</c:v>
                </c:pt>
                <c:pt idx="33">
                  <c:v>38.5167364111796</c:v>
                </c:pt>
                <c:pt idx="34">
                  <c:v>35.276831776092401</c:v>
                </c:pt>
                <c:pt idx="35">
                  <c:v>42.467465390531501</c:v>
                </c:pt>
                <c:pt idx="36">
                  <c:v>39.837614765290198</c:v>
                </c:pt>
                <c:pt idx="37">
                  <c:v>38.915472149999999</c:v>
                </c:pt>
                <c:pt idx="38">
                  <c:v>36.843424469943798</c:v>
                </c:pt>
                <c:pt idx="39">
                  <c:v>39.421248187471399</c:v>
                </c:pt>
                <c:pt idx="40">
                  <c:v>36.5936348911412</c:v>
                </c:pt>
                <c:pt idx="41">
                  <c:v>37.3588544826437</c:v>
                </c:pt>
                <c:pt idx="42">
                  <c:v>34.350848966742497</c:v>
                </c:pt>
                <c:pt idx="43">
                  <c:v>46.5</c:v>
                </c:pt>
                <c:pt idx="44">
                  <c:v>44.6</c:v>
                </c:pt>
                <c:pt idx="45">
                  <c:v>40.200000000000003</c:v>
                </c:pt>
                <c:pt idx="46">
                  <c:v>52.4</c:v>
                </c:pt>
                <c:pt idx="47">
                  <c:v>36.700000000000003</c:v>
                </c:pt>
                <c:pt idx="48">
                  <c:v>41.286366422673296</c:v>
                </c:pt>
                <c:pt idx="49">
                  <c:v>37.6</c:v>
                </c:pt>
                <c:pt idx="50">
                  <c:v>41.8</c:v>
                </c:pt>
                <c:pt idx="51">
                  <c:v>44.6</c:v>
                </c:pt>
                <c:pt idx="52">
                  <c:v>37.200000000000003</c:v>
                </c:pt>
                <c:pt idx="53">
                  <c:v>35.677377212923702</c:v>
                </c:pt>
                <c:pt idx="54">
                  <c:v>39</c:v>
                </c:pt>
                <c:pt idx="55">
                  <c:v>58.8</c:v>
                </c:pt>
                <c:pt idx="56">
                  <c:v>35.5</c:v>
                </c:pt>
                <c:pt idx="57">
                  <c:v>37.213178949937202</c:v>
                </c:pt>
                <c:pt idx="58">
                  <c:v>36.5</c:v>
                </c:pt>
                <c:pt idx="59">
                  <c:v>48.1</c:v>
                </c:pt>
                <c:pt idx="60">
                  <c:v>43.3562926814528</c:v>
                </c:pt>
                <c:pt idx="61">
                  <c:v>28.4</c:v>
                </c:pt>
                <c:pt idx="62">
                  <c:v>47</c:v>
                </c:pt>
                <c:pt idx="63">
                  <c:v>38.4</c:v>
                </c:pt>
                <c:pt idx="64">
                  <c:v>25.5</c:v>
                </c:pt>
                <c:pt idx="65">
                  <c:v>41.8</c:v>
                </c:pt>
                <c:pt idx="66">
                  <c:v>34.799999999999997</c:v>
                </c:pt>
                <c:pt idx="67">
                  <c:v>50.459632502543201</c:v>
                </c:pt>
                <c:pt idx="68">
                  <c:v>31.5</c:v>
                </c:pt>
                <c:pt idx="69">
                  <c:v>31.127844818034301</c:v>
                </c:pt>
                <c:pt idx="70">
                  <c:v>36</c:v>
                </c:pt>
                <c:pt idx="71">
                  <c:v>42.5</c:v>
                </c:pt>
                <c:pt idx="72">
                  <c:v>31.899999999999899</c:v>
                </c:pt>
                <c:pt idx="73">
                  <c:v>35.9</c:v>
                </c:pt>
                <c:pt idx="74">
                  <c:v>30.7</c:v>
                </c:pt>
                <c:pt idx="75">
                  <c:v>34.700000000000003</c:v>
                </c:pt>
                <c:pt idx="76">
                  <c:v>40.299999999999898</c:v>
                </c:pt>
                <c:pt idx="77">
                  <c:v>45.2</c:v>
                </c:pt>
                <c:pt idx="78">
                  <c:v>34.182607077216502</c:v>
                </c:pt>
                <c:pt idx="79">
                  <c:v>43.8</c:v>
                </c:pt>
                <c:pt idx="80">
                  <c:v>35.1</c:v>
                </c:pt>
                <c:pt idx="81">
                  <c:v>63.3</c:v>
                </c:pt>
                <c:pt idx="82">
                  <c:v>36.4</c:v>
                </c:pt>
                <c:pt idx="83">
                  <c:v>45.8</c:v>
                </c:pt>
                <c:pt idx="84">
                  <c:v>45.9</c:v>
                </c:pt>
                <c:pt idx="85">
                  <c:v>30.8</c:v>
                </c:pt>
                <c:pt idx="86">
                  <c:v>40.700000000000003</c:v>
                </c:pt>
                <c:pt idx="87">
                  <c:v>40.9</c:v>
                </c:pt>
                <c:pt idx="88">
                  <c:v>39.799999999999997</c:v>
                </c:pt>
                <c:pt idx="89">
                  <c:v>36.633452310000003</c:v>
                </c:pt>
                <c:pt idx="90">
                  <c:v>39.276791092650697</c:v>
                </c:pt>
                <c:pt idx="91">
                  <c:v>38.299999999999997</c:v>
                </c:pt>
                <c:pt idx="92">
                  <c:v>25.1</c:v>
                </c:pt>
                <c:pt idx="93">
                  <c:v>44.5</c:v>
                </c:pt>
                <c:pt idx="94">
                  <c:v>33.299999999999997</c:v>
                </c:pt>
                <c:pt idx="95">
                  <c:v>34</c:v>
                </c:pt>
                <c:pt idx="96">
                  <c:v>44.2</c:v>
                </c:pt>
                <c:pt idx="97">
                  <c:v>40.308628350293802</c:v>
                </c:pt>
                <c:pt idx="98">
                  <c:v>39.700000000000003</c:v>
                </c:pt>
                <c:pt idx="99">
                  <c:v>37.260676250000003</c:v>
                </c:pt>
                <c:pt idx="100">
                  <c:v>36.049183944100101</c:v>
                </c:pt>
                <c:pt idx="101">
                  <c:v>49.6</c:v>
                </c:pt>
                <c:pt idx="102">
                  <c:v>40.700000000000003</c:v>
                </c:pt>
                <c:pt idx="103">
                  <c:v>42.625948099755199</c:v>
                </c:pt>
                <c:pt idx="104">
                  <c:v>42.2</c:v>
                </c:pt>
                <c:pt idx="105">
                  <c:v>43.6</c:v>
                </c:pt>
                <c:pt idx="106">
                  <c:v>41.091873278236903</c:v>
                </c:pt>
                <c:pt idx="107">
                  <c:v>35</c:v>
                </c:pt>
                <c:pt idx="108">
                  <c:v>48.3</c:v>
                </c:pt>
                <c:pt idx="109">
                  <c:v>40.299999999999997</c:v>
                </c:pt>
                <c:pt idx="110">
                  <c:v>32</c:v>
                </c:pt>
                <c:pt idx="111">
                  <c:v>45.7</c:v>
                </c:pt>
                <c:pt idx="112">
                  <c:v>41.6</c:v>
                </c:pt>
                <c:pt idx="113">
                  <c:v>32.280542137675702</c:v>
                </c:pt>
                <c:pt idx="114">
                  <c:v>38.200000000000003</c:v>
                </c:pt>
                <c:pt idx="115">
                  <c:v>39</c:v>
                </c:pt>
                <c:pt idx="116">
                  <c:v>34.6</c:v>
                </c:pt>
                <c:pt idx="117">
                  <c:v>36.133954820399801</c:v>
                </c:pt>
                <c:pt idx="118">
                  <c:v>38.015003949001397</c:v>
                </c:pt>
                <c:pt idx="119">
                  <c:v>41.6</c:v>
                </c:pt>
                <c:pt idx="120">
                  <c:v>46.7</c:v>
                </c:pt>
                <c:pt idx="121">
                  <c:v>35.766651544021997</c:v>
                </c:pt>
                <c:pt idx="122">
                  <c:v>33.700000000000003</c:v>
                </c:pt>
                <c:pt idx="123">
                  <c:v>46.8</c:v>
                </c:pt>
                <c:pt idx="124">
                  <c:v>32.4</c:v>
                </c:pt>
                <c:pt idx="125">
                  <c:v>38.9</c:v>
                </c:pt>
                <c:pt idx="126">
                  <c:v>33</c:v>
                </c:pt>
                <c:pt idx="127">
                  <c:v>38.932038430391998</c:v>
                </c:pt>
                <c:pt idx="128">
                  <c:v>34.700000000000003</c:v>
                </c:pt>
                <c:pt idx="129">
                  <c:v>35.799999999999997</c:v>
                </c:pt>
                <c:pt idx="130">
                  <c:v>35.531569719154596</c:v>
                </c:pt>
                <c:pt idx="131">
                  <c:v>41.7</c:v>
                </c:pt>
                <c:pt idx="132">
                  <c:v>44.3</c:v>
                </c:pt>
                <c:pt idx="133">
                  <c:v>36.012243723664099</c:v>
                </c:pt>
                <c:pt idx="134">
                  <c:v>39.299999999999997</c:v>
                </c:pt>
                <c:pt idx="135">
                  <c:v>37.810354706848301</c:v>
                </c:pt>
                <c:pt idx="136">
                  <c:v>44.2</c:v>
                </c:pt>
                <c:pt idx="137">
                  <c:v>39.5912993750255</c:v>
                </c:pt>
                <c:pt idx="138">
                  <c:v>41.2</c:v>
                </c:pt>
                <c:pt idx="139">
                  <c:v>40.354528640785297</c:v>
                </c:pt>
                <c:pt idx="140">
                  <c:v>48.3</c:v>
                </c:pt>
                <c:pt idx="141">
                  <c:v>46.7300650801998</c:v>
                </c:pt>
                <c:pt idx="142">
                  <c:v>25.906923047806501</c:v>
                </c:pt>
                <c:pt idx="143">
                  <c:v>50.799999999999898</c:v>
                </c:pt>
                <c:pt idx="144">
                  <c:v>31.7</c:v>
                </c:pt>
                <c:pt idx="145">
                  <c:v>38.906816226447503</c:v>
                </c:pt>
                <c:pt idx="146">
                  <c:v>44</c:v>
                </c:pt>
                <c:pt idx="147">
                  <c:v>27.9</c:v>
                </c:pt>
                <c:pt idx="148">
                  <c:v>35</c:v>
                </c:pt>
                <c:pt idx="149">
                  <c:v>35.939549228736603</c:v>
                </c:pt>
                <c:pt idx="150">
                  <c:v>41.4</c:v>
                </c:pt>
                <c:pt idx="151">
                  <c:v>36.5</c:v>
                </c:pt>
                <c:pt idx="152">
                  <c:v>28.5</c:v>
                </c:pt>
                <c:pt idx="153">
                  <c:v>36.250703699935499</c:v>
                </c:pt>
                <c:pt idx="154">
                  <c:v>31.4</c:v>
                </c:pt>
                <c:pt idx="155">
                  <c:v>41.799999999999898</c:v>
                </c:pt>
                <c:pt idx="156">
                  <c:v>44.6</c:v>
                </c:pt>
                <c:pt idx="157">
                  <c:v>36.382725898651003</c:v>
                </c:pt>
                <c:pt idx="158">
                  <c:v>36.799999999999997</c:v>
                </c:pt>
                <c:pt idx="159">
                  <c:v>44.4</c:v>
                </c:pt>
                <c:pt idx="160">
                  <c:v>37.732491194105997</c:v>
                </c:pt>
                <c:pt idx="161">
                  <c:v>34.799999999999997</c:v>
                </c:pt>
                <c:pt idx="162">
                  <c:v>44.5630891211906</c:v>
                </c:pt>
                <c:pt idx="163">
                  <c:v>34.5</c:v>
                </c:pt>
                <c:pt idx="164">
                  <c:v>37.530652801684198</c:v>
                </c:pt>
                <c:pt idx="165">
                  <c:v>41.594881486895602</c:v>
                </c:pt>
                <c:pt idx="166">
                  <c:v>44</c:v>
                </c:pt>
                <c:pt idx="167">
                  <c:v>36.345334207407703</c:v>
                </c:pt>
                <c:pt idx="168">
                  <c:v>39.700000000000003</c:v>
                </c:pt>
                <c:pt idx="169">
                  <c:v>35.299999999999997</c:v>
                </c:pt>
                <c:pt idx="170">
                  <c:v>29.8</c:v>
                </c:pt>
                <c:pt idx="171">
                  <c:v>40.200000000000003</c:v>
                </c:pt>
                <c:pt idx="172">
                  <c:v>31.785204388626401</c:v>
                </c:pt>
                <c:pt idx="173">
                  <c:v>39.6</c:v>
                </c:pt>
                <c:pt idx="174">
                  <c:v>46.5</c:v>
                </c:pt>
                <c:pt idx="175">
                  <c:v>39.200000000000003</c:v>
                </c:pt>
                <c:pt idx="176">
                  <c:v>43.9</c:v>
                </c:pt>
                <c:pt idx="177">
                  <c:v>34.700000000000003</c:v>
                </c:pt>
                <c:pt idx="178">
                  <c:v>44.9</c:v>
                </c:pt>
                <c:pt idx="179">
                  <c:v>35.700000000000003</c:v>
                </c:pt>
                <c:pt idx="180">
                  <c:v>38.5028630422199</c:v>
                </c:pt>
                <c:pt idx="181">
                  <c:v>32.609079544565297</c:v>
                </c:pt>
                <c:pt idx="182">
                  <c:v>35.5993622270191</c:v>
                </c:pt>
                <c:pt idx="183">
                  <c:v>39.299999999999997</c:v>
                </c:pt>
                <c:pt idx="184">
                  <c:v>38.998561159320602</c:v>
                </c:pt>
                <c:pt idx="185">
                  <c:v>39.684725789394101</c:v>
                </c:pt>
                <c:pt idx="186">
                  <c:v>51</c:v>
                </c:pt>
                <c:pt idx="187">
                  <c:v>36.1</c:v>
                </c:pt>
                <c:pt idx="188">
                  <c:v>40.942387692739899</c:v>
                </c:pt>
                <c:pt idx="189">
                  <c:v>40.055619532309201</c:v>
                </c:pt>
                <c:pt idx="190">
                  <c:v>29.3</c:v>
                </c:pt>
                <c:pt idx="191">
                  <c:v>42.4</c:v>
                </c:pt>
                <c:pt idx="192">
                  <c:v>36.799999999999997</c:v>
                </c:pt>
                <c:pt idx="193">
                  <c:v>49.791203436028702</c:v>
                </c:pt>
                <c:pt idx="194">
                  <c:v>34.799999999999997</c:v>
                </c:pt>
                <c:pt idx="195">
                  <c:v>39.799999999999997</c:v>
                </c:pt>
                <c:pt idx="196">
                  <c:v>53.1</c:v>
                </c:pt>
                <c:pt idx="197">
                  <c:v>38</c:v>
                </c:pt>
                <c:pt idx="198">
                  <c:v>43.5</c:v>
                </c:pt>
                <c:pt idx="199">
                  <c:v>45.3</c:v>
                </c:pt>
                <c:pt idx="200">
                  <c:v>33.200000000000003</c:v>
                </c:pt>
                <c:pt idx="201">
                  <c:v>39.200000000000003</c:v>
                </c:pt>
                <c:pt idx="202">
                  <c:v>32.200000000000003</c:v>
                </c:pt>
                <c:pt idx="203">
                  <c:v>33.299999999999997</c:v>
                </c:pt>
                <c:pt idx="204">
                  <c:v>37.3038674216819</c:v>
                </c:pt>
                <c:pt idx="205">
                  <c:v>48.8</c:v>
                </c:pt>
                <c:pt idx="206">
                  <c:v>39.915341385979602</c:v>
                </c:pt>
                <c:pt idx="207">
                  <c:v>42.7</c:v>
                </c:pt>
                <c:pt idx="208">
                  <c:v>40.5</c:v>
                </c:pt>
                <c:pt idx="209">
                  <c:v>33.195474522351503</c:v>
                </c:pt>
                <c:pt idx="210">
                  <c:v>34.4</c:v>
                </c:pt>
                <c:pt idx="211">
                  <c:v>34.4</c:v>
                </c:pt>
                <c:pt idx="212">
                  <c:v>34.9</c:v>
                </c:pt>
                <c:pt idx="213">
                  <c:v>42.6822961270571</c:v>
                </c:pt>
                <c:pt idx="214">
                  <c:v>33</c:v>
                </c:pt>
                <c:pt idx="215">
                  <c:v>33.4</c:v>
                </c:pt>
                <c:pt idx="216">
                  <c:v>67.400000000000006</c:v>
                </c:pt>
                <c:pt idx="217">
                  <c:v>40.685268423570498</c:v>
                </c:pt>
                <c:pt idx="218">
                  <c:v>36.490310826103297</c:v>
                </c:pt>
                <c:pt idx="219">
                  <c:v>34.133037080024202</c:v>
                </c:pt>
                <c:pt idx="220">
                  <c:v>52.6</c:v>
                </c:pt>
                <c:pt idx="221">
                  <c:v>31.8</c:v>
                </c:pt>
                <c:pt idx="222">
                  <c:v>28.9</c:v>
                </c:pt>
                <c:pt idx="223">
                  <c:v>31.4</c:v>
                </c:pt>
                <c:pt idx="224">
                  <c:v>39.1</c:v>
                </c:pt>
                <c:pt idx="225">
                  <c:v>37.6</c:v>
                </c:pt>
                <c:pt idx="226">
                  <c:v>44.6</c:v>
                </c:pt>
                <c:pt idx="227">
                  <c:v>41.5</c:v>
                </c:pt>
                <c:pt idx="228">
                  <c:v>37.700000000000003</c:v>
                </c:pt>
                <c:pt idx="229">
                  <c:v>46.8</c:v>
                </c:pt>
                <c:pt idx="230">
                  <c:v>38.039065323001502</c:v>
                </c:pt>
                <c:pt idx="231">
                  <c:v>43.2</c:v>
                </c:pt>
                <c:pt idx="232">
                  <c:v>44.2</c:v>
                </c:pt>
                <c:pt idx="233">
                  <c:v>36.487003189345899</c:v>
                </c:pt>
                <c:pt idx="234">
                  <c:v>49.7</c:v>
                </c:pt>
                <c:pt idx="235">
                  <c:v>45</c:v>
                </c:pt>
                <c:pt idx="236">
                  <c:v>35.200000000000003</c:v>
                </c:pt>
                <c:pt idx="237">
                  <c:v>45.3</c:v>
                </c:pt>
                <c:pt idx="238">
                  <c:v>47.2</c:v>
                </c:pt>
                <c:pt idx="239">
                  <c:v>74.5</c:v>
                </c:pt>
                <c:pt idx="240">
                  <c:v>48.2</c:v>
                </c:pt>
                <c:pt idx="241">
                  <c:v>31.650352699756301</c:v>
                </c:pt>
                <c:pt idx="242">
                  <c:v>39.9</c:v>
                </c:pt>
                <c:pt idx="243">
                  <c:v>45.5</c:v>
                </c:pt>
                <c:pt idx="244">
                  <c:v>49.8</c:v>
                </c:pt>
                <c:pt idx="245">
                  <c:v>39.299999999999997</c:v>
                </c:pt>
                <c:pt idx="246">
                  <c:v>38.313400741571897</c:v>
                </c:pt>
                <c:pt idx="247">
                  <c:v>29.3</c:v>
                </c:pt>
                <c:pt idx="248">
                  <c:v>33.200000000000003</c:v>
                </c:pt>
                <c:pt idx="249">
                  <c:v>46.799999999999898</c:v>
                </c:pt>
                <c:pt idx="250">
                  <c:v>32.9</c:v>
                </c:pt>
                <c:pt idx="251">
                  <c:v>35.799999999999997</c:v>
                </c:pt>
                <c:pt idx="252">
                  <c:v>46.1</c:v>
                </c:pt>
                <c:pt idx="253">
                  <c:v>35.700000000000003</c:v>
                </c:pt>
                <c:pt idx="254">
                  <c:v>30.6</c:v>
                </c:pt>
                <c:pt idx="255">
                  <c:v>44</c:v>
                </c:pt>
                <c:pt idx="256">
                  <c:v>33.700000000000003</c:v>
                </c:pt>
                <c:pt idx="257">
                  <c:v>34.700000000000003</c:v>
                </c:pt>
                <c:pt idx="258">
                  <c:v>38.700000000000003</c:v>
                </c:pt>
                <c:pt idx="259">
                  <c:v>31.4</c:v>
                </c:pt>
                <c:pt idx="260">
                  <c:v>38.5</c:v>
                </c:pt>
                <c:pt idx="261">
                  <c:v>37.700000000000003</c:v>
                </c:pt>
                <c:pt idx="262">
                  <c:v>39.5</c:v>
                </c:pt>
                <c:pt idx="263">
                  <c:v>35.4</c:v>
                </c:pt>
                <c:pt idx="264">
                  <c:v>43.8</c:v>
                </c:pt>
                <c:pt idx="265">
                  <c:v>36.1484305946679</c:v>
                </c:pt>
                <c:pt idx="266">
                  <c:v>47.1</c:v>
                </c:pt>
                <c:pt idx="267">
                  <c:v>44</c:v>
                </c:pt>
                <c:pt idx="268">
                  <c:v>34.635126047592003</c:v>
                </c:pt>
                <c:pt idx="269">
                  <c:v>29.1</c:v>
                </c:pt>
                <c:pt idx="270">
                  <c:v>45.617488351934099</c:v>
                </c:pt>
                <c:pt idx="271">
                  <c:v>47.9</c:v>
                </c:pt>
                <c:pt idx="272">
                  <c:v>58.399999999999899</c:v>
                </c:pt>
                <c:pt idx="273">
                  <c:v>31.3</c:v>
                </c:pt>
                <c:pt idx="274">
                  <c:v>30.581161171963501</c:v>
                </c:pt>
                <c:pt idx="275">
                  <c:v>38.200000000000003</c:v>
                </c:pt>
                <c:pt idx="276">
                  <c:v>36.891612874554198</c:v>
                </c:pt>
                <c:pt idx="277">
                  <c:v>34.6</c:v>
                </c:pt>
                <c:pt idx="278">
                  <c:v>39</c:v>
                </c:pt>
                <c:pt idx="279">
                  <c:v>41.2</c:v>
                </c:pt>
                <c:pt idx="280">
                  <c:v>33.9</c:v>
                </c:pt>
                <c:pt idx="281">
                  <c:v>31.3</c:v>
                </c:pt>
                <c:pt idx="282">
                  <c:v>28</c:v>
                </c:pt>
                <c:pt idx="283">
                  <c:v>39</c:v>
                </c:pt>
                <c:pt idx="284">
                  <c:v>27</c:v>
                </c:pt>
                <c:pt idx="285">
                  <c:v>38.880573843371899</c:v>
                </c:pt>
                <c:pt idx="286">
                  <c:v>29.4759887754959</c:v>
                </c:pt>
                <c:pt idx="287">
                  <c:v>44.9</c:v>
                </c:pt>
                <c:pt idx="288">
                  <c:v>35.799999999999997</c:v>
                </c:pt>
                <c:pt idx="289">
                  <c:v>34.5</c:v>
                </c:pt>
                <c:pt idx="290">
                  <c:v>39.200000000000003</c:v>
                </c:pt>
                <c:pt idx="291">
                  <c:v>45.4024293122933</c:v>
                </c:pt>
                <c:pt idx="292">
                  <c:v>34.676933304947603</c:v>
                </c:pt>
                <c:pt idx="293">
                  <c:v>38.9</c:v>
                </c:pt>
                <c:pt idx="294">
                  <c:v>39.6</c:v>
                </c:pt>
                <c:pt idx="295">
                  <c:v>37.4</c:v>
                </c:pt>
                <c:pt idx="296">
                  <c:v>42.8</c:v>
                </c:pt>
                <c:pt idx="297">
                  <c:v>42</c:v>
                </c:pt>
                <c:pt idx="298">
                  <c:v>39</c:v>
                </c:pt>
                <c:pt idx="299">
                  <c:v>44.1</c:v>
                </c:pt>
                <c:pt idx="300">
                  <c:v>31.623185402829002</c:v>
                </c:pt>
                <c:pt idx="301">
                  <c:v>38.799999999999997</c:v>
                </c:pt>
                <c:pt idx="302">
                  <c:v>51.5</c:v>
                </c:pt>
                <c:pt idx="303">
                  <c:v>35.572692741161198</c:v>
                </c:pt>
                <c:pt idx="304">
                  <c:v>33.9</c:v>
                </c:pt>
                <c:pt idx="305">
                  <c:v>38.4</c:v>
                </c:pt>
                <c:pt idx="306">
                  <c:v>36.200000000000003</c:v>
                </c:pt>
                <c:pt idx="307">
                  <c:v>44.9</c:v>
                </c:pt>
                <c:pt idx="308">
                  <c:v>36.5</c:v>
                </c:pt>
                <c:pt idx="309">
                  <c:v>42.7</c:v>
                </c:pt>
                <c:pt idx="310">
                  <c:v>33.9</c:v>
                </c:pt>
                <c:pt idx="311">
                  <c:v>46.466214879475203</c:v>
                </c:pt>
                <c:pt idx="312">
                  <c:v>41.8</c:v>
                </c:pt>
                <c:pt idx="313">
                  <c:v>40.799999999999997</c:v>
                </c:pt>
                <c:pt idx="314">
                  <c:v>32.5</c:v>
                </c:pt>
                <c:pt idx="315">
                  <c:v>35</c:v>
                </c:pt>
                <c:pt idx="316">
                  <c:v>36.552517300866498</c:v>
                </c:pt>
                <c:pt idx="317">
                  <c:v>38.081364500718799</c:v>
                </c:pt>
                <c:pt idx="318">
                  <c:v>35.5</c:v>
                </c:pt>
                <c:pt idx="319">
                  <c:v>48.294817307221102</c:v>
                </c:pt>
                <c:pt idx="320">
                  <c:v>42.9</c:v>
                </c:pt>
                <c:pt idx="321">
                  <c:v>39.5</c:v>
                </c:pt>
                <c:pt idx="322">
                  <c:v>35.4</c:v>
                </c:pt>
                <c:pt idx="323">
                  <c:v>34.459736396712302</c:v>
                </c:pt>
                <c:pt idx="324">
                  <c:v>50.9</c:v>
                </c:pt>
                <c:pt idx="325">
                  <c:v>38.200000000000003</c:v>
                </c:pt>
                <c:pt idx="326">
                  <c:v>32.630094365541702</c:v>
                </c:pt>
                <c:pt idx="327">
                  <c:v>36.500269465028502</c:v>
                </c:pt>
                <c:pt idx="328">
                  <c:v>41.7</c:v>
                </c:pt>
                <c:pt idx="329">
                  <c:v>49</c:v>
                </c:pt>
                <c:pt idx="330">
                  <c:v>36.700000000000003</c:v>
                </c:pt>
                <c:pt idx="331">
                  <c:v>42.443901439999998</c:v>
                </c:pt>
                <c:pt idx="332">
                  <c:v>33.497522148587301</c:v>
                </c:pt>
                <c:pt idx="333">
                  <c:v>48</c:v>
                </c:pt>
                <c:pt idx="334">
                  <c:v>43.4</c:v>
                </c:pt>
                <c:pt idx="335">
                  <c:v>34.299999999999997</c:v>
                </c:pt>
                <c:pt idx="336">
                  <c:v>59.875076665737303</c:v>
                </c:pt>
                <c:pt idx="337">
                  <c:v>56.1818550585566</c:v>
                </c:pt>
                <c:pt idx="338">
                  <c:v>35.018595674284597</c:v>
                </c:pt>
                <c:pt idx="339">
                  <c:v>36.299999999999997</c:v>
                </c:pt>
                <c:pt idx="340">
                  <c:v>51</c:v>
                </c:pt>
                <c:pt idx="341">
                  <c:v>34.700000000000003</c:v>
                </c:pt>
                <c:pt idx="342">
                  <c:v>56.5</c:v>
                </c:pt>
                <c:pt idx="343">
                  <c:v>31.6</c:v>
                </c:pt>
                <c:pt idx="344">
                  <c:v>29</c:v>
                </c:pt>
                <c:pt idx="345">
                  <c:v>39.724465337193699</c:v>
                </c:pt>
                <c:pt idx="346">
                  <c:v>39.200000000000003</c:v>
                </c:pt>
                <c:pt idx="347">
                  <c:v>30.8</c:v>
                </c:pt>
                <c:pt idx="348">
                  <c:v>53.8</c:v>
                </c:pt>
                <c:pt idx="349">
                  <c:v>56.399999999999899</c:v>
                </c:pt>
                <c:pt idx="350">
                  <c:v>30.662454407294799</c:v>
                </c:pt>
                <c:pt idx="351">
                  <c:v>42.741971680103198</c:v>
                </c:pt>
                <c:pt idx="352">
                  <c:v>33.5</c:v>
                </c:pt>
                <c:pt idx="353">
                  <c:v>39</c:v>
                </c:pt>
                <c:pt idx="354">
                  <c:v>42.6</c:v>
                </c:pt>
                <c:pt idx="355">
                  <c:v>34.700000000000003</c:v>
                </c:pt>
                <c:pt idx="356">
                  <c:v>37.1</c:v>
                </c:pt>
                <c:pt idx="357">
                  <c:v>50.5</c:v>
                </c:pt>
                <c:pt idx="358">
                  <c:v>37</c:v>
                </c:pt>
                <c:pt idx="359">
                  <c:v>41.6</c:v>
                </c:pt>
                <c:pt idx="360">
                  <c:v>33.162615585348703</c:v>
                </c:pt>
                <c:pt idx="361">
                  <c:v>45.2</c:v>
                </c:pt>
                <c:pt idx="362">
                  <c:v>31.6</c:v>
                </c:pt>
                <c:pt idx="363">
                  <c:v>41.6</c:v>
                </c:pt>
                <c:pt idx="364">
                  <c:v>40.5</c:v>
                </c:pt>
                <c:pt idx="365">
                  <c:v>36.218950298750599</c:v>
                </c:pt>
                <c:pt idx="366">
                  <c:v>37.335732633042703</c:v>
                </c:pt>
                <c:pt idx="367">
                  <c:v>65</c:v>
                </c:pt>
                <c:pt idx="368">
                  <c:v>49.7</c:v>
                </c:pt>
                <c:pt idx="369">
                  <c:v>38.299999999999997</c:v>
                </c:pt>
                <c:pt idx="370">
                  <c:v>39.6</c:v>
                </c:pt>
                <c:pt idx="371">
                  <c:v>39.657020481545402</c:v>
                </c:pt>
                <c:pt idx="372">
                  <c:v>35.315680954964698</c:v>
                </c:pt>
                <c:pt idx="373">
                  <c:v>41.086227129337502</c:v>
                </c:pt>
                <c:pt idx="374">
                  <c:v>35.075807022800902</c:v>
                </c:pt>
                <c:pt idx="375">
                  <c:v>31.4</c:v>
                </c:pt>
                <c:pt idx="376">
                  <c:v>48.9</c:v>
                </c:pt>
                <c:pt idx="377">
                  <c:v>37.5</c:v>
                </c:pt>
                <c:pt idx="378">
                  <c:v>31.2059844712082</c:v>
                </c:pt>
                <c:pt idx="379">
                  <c:v>35.630697536881001</c:v>
                </c:pt>
                <c:pt idx="380">
                  <c:v>37.5</c:v>
                </c:pt>
                <c:pt idx="381">
                  <c:v>35.700000000000003</c:v>
                </c:pt>
                <c:pt idx="382">
                  <c:v>63.299999999999898</c:v>
                </c:pt>
                <c:pt idx="383">
                  <c:v>40.5</c:v>
                </c:pt>
                <c:pt idx="384">
                  <c:v>34.5</c:v>
                </c:pt>
                <c:pt idx="385">
                  <c:v>33.1881288874674</c:v>
                </c:pt>
                <c:pt idx="386">
                  <c:v>36.766532309752002</c:v>
                </c:pt>
                <c:pt idx="387">
                  <c:v>38.299999999999997</c:v>
                </c:pt>
                <c:pt idx="388">
                  <c:v>34.200000000000003</c:v>
                </c:pt>
                <c:pt idx="389">
                  <c:v>42.1</c:v>
                </c:pt>
                <c:pt idx="390">
                  <c:v>39.280178855405197</c:v>
                </c:pt>
                <c:pt idx="391">
                  <c:v>42</c:v>
                </c:pt>
                <c:pt idx="392">
                  <c:v>33.305746699942503</c:v>
                </c:pt>
                <c:pt idx="393">
                  <c:v>45.7</c:v>
                </c:pt>
                <c:pt idx="394">
                  <c:v>30.481450644527602</c:v>
                </c:pt>
                <c:pt idx="395">
                  <c:v>39.1</c:v>
                </c:pt>
                <c:pt idx="396">
                  <c:v>40.9</c:v>
                </c:pt>
                <c:pt idx="397">
                  <c:v>41.4</c:v>
                </c:pt>
                <c:pt idx="398">
                  <c:v>35.810839881386201</c:v>
                </c:pt>
                <c:pt idx="399">
                  <c:v>42.7</c:v>
                </c:pt>
                <c:pt idx="400">
                  <c:v>35.4</c:v>
                </c:pt>
                <c:pt idx="401">
                  <c:v>42.464613850878699</c:v>
                </c:pt>
                <c:pt idx="402">
                  <c:v>33.068785545781999</c:v>
                </c:pt>
                <c:pt idx="403">
                  <c:v>44.8</c:v>
                </c:pt>
                <c:pt idx="404">
                  <c:v>39.1644038341731</c:v>
                </c:pt>
                <c:pt idx="405">
                  <c:v>40.200000000000003</c:v>
                </c:pt>
                <c:pt idx="406">
                  <c:v>30.052152228528801</c:v>
                </c:pt>
                <c:pt idx="407">
                  <c:v>37.5</c:v>
                </c:pt>
                <c:pt idx="408">
                  <c:v>38.490945366112697</c:v>
                </c:pt>
                <c:pt idx="409">
                  <c:v>35.299999999999997</c:v>
                </c:pt>
                <c:pt idx="410">
                  <c:v>40.290415415118296</c:v>
                </c:pt>
                <c:pt idx="411">
                  <c:v>44.377272417877101</c:v>
                </c:pt>
                <c:pt idx="412">
                  <c:v>40.626805076036597</c:v>
                </c:pt>
                <c:pt idx="413">
                  <c:v>33.1</c:v>
                </c:pt>
                <c:pt idx="414">
                  <c:v>33.940185588905997</c:v>
                </c:pt>
                <c:pt idx="415">
                  <c:v>40.519070254985103</c:v>
                </c:pt>
                <c:pt idx="416">
                  <c:v>34.685969981087197</c:v>
                </c:pt>
                <c:pt idx="417">
                  <c:v>38.545872565458502</c:v>
                </c:pt>
                <c:pt idx="418">
                  <c:v>41.1</c:v>
                </c:pt>
                <c:pt idx="419">
                  <c:v>38.1</c:v>
                </c:pt>
                <c:pt idx="420">
                  <c:v>35.106902768834502</c:v>
                </c:pt>
                <c:pt idx="421">
                  <c:v>34</c:v>
                </c:pt>
                <c:pt idx="422">
                  <c:v>40.771345781446499</c:v>
                </c:pt>
                <c:pt idx="423">
                  <c:v>39.299999999999997</c:v>
                </c:pt>
                <c:pt idx="424">
                  <c:v>51.4</c:v>
                </c:pt>
                <c:pt idx="425">
                  <c:v>46.6</c:v>
                </c:pt>
                <c:pt idx="426">
                  <c:v>59.4</c:v>
                </c:pt>
                <c:pt idx="427">
                  <c:v>33.9</c:v>
                </c:pt>
                <c:pt idx="428">
                  <c:v>50.6</c:v>
                </c:pt>
                <c:pt idx="429">
                  <c:v>32.299999999999997</c:v>
                </c:pt>
                <c:pt idx="430">
                  <c:v>27.8</c:v>
                </c:pt>
                <c:pt idx="431">
                  <c:v>39.210075566750596</c:v>
                </c:pt>
                <c:pt idx="432">
                  <c:v>45.6</c:v>
                </c:pt>
                <c:pt idx="433">
                  <c:v>48.3</c:v>
                </c:pt>
                <c:pt idx="434">
                  <c:v>36</c:v>
                </c:pt>
                <c:pt idx="435">
                  <c:v>41.296009722189901</c:v>
                </c:pt>
                <c:pt idx="436">
                  <c:v>55</c:v>
                </c:pt>
                <c:pt idx="437">
                  <c:v>46.3</c:v>
                </c:pt>
                <c:pt idx="438">
                  <c:v>35.1</c:v>
                </c:pt>
                <c:pt idx="439">
                  <c:v>52.9</c:v>
                </c:pt>
                <c:pt idx="440">
                  <c:v>49.7</c:v>
                </c:pt>
                <c:pt idx="441">
                  <c:v>52.3</c:v>
                </c:pt>
                <c:pt idx="442">
                  <c:v>50</c:v>
                </c:pt>
                <c:pt idx="443">
                  <c:v>35.700000000000003</c:v>
                </c:pt>
                <c:pt idx="444">
                  <c:v>33.299999999999997</c:v>
                </c:pt>
                <c:pt idx="445">
                  <c:v>40.200000000000003</c:v>
                </c:pt>
                <c:pt idx="446">
                  <c:v>40.4</c:v>
                </c:pt>
                <c:pt idx="447">
                  <c:v>42</c:v>
                </c:pt>
                <c:pt idx="448">
                  <c:v>35.457652439999997</c:v>
                </c:pt>
                <c:pt idx="449">
                  <c:v>36.6</c:v>
                </c:pt>
                <c:pt idx="450">
                  <c:v>40.1</c:v>
                </c:pt>
                <c:pt idx="451">
                  <c:v>33.424011451924201</c:v>
                </c:pt>
                <c:pt idx="452">
                  <c:v>36.6</c:v>
                </c:pt>
                <c:pt idx="453">
                  <c:v>40.299999999999997</c:v>
                </c:pt>
                <c:pt idx="454">
                  <c:v>36</c:v>
                </c:pt>
                <c:pt idx="455">
                  <c:v>36.6</c:v>
                </c:pt>
                <c:pt idx="456">
                  <c:v>45.1</c:v>
                </c:pt>
                <c:pt idx="457">
                  <c:v>35.338073422284097</c:v>
                </c:pt>
                <c:pt idx="458">
                  <c:v>34</c:v>
                </c:pt>
                <c:pt idx="459">
                  <c:v>36.5</c:v>
                </c:pt>
                <c:pt idx="460">
                  <c:v>31</c:v>
                </c:pt>
                <c:pt idx="461">
                  <c:v>44.1</c:v>
                </c:pt>
                <c:pt idx="462">
                  <c:v>40.700000000000003</c:v>
                </c:pt>
                <c:pt idx="463">
                  <c:v>36.864141402335903</c:v>
                </c:pt>
                <c:pt idx="464">
                  <c:v>42.9</c:v>
                </c:pt>
                <c:pt idx="465">
                  <c:v>46.9</c:v>
                </c:pt>
                <c:pt idx="466">
                  <c:v>46.1</c:v>
                </c:pt>
                <c:pt idx="467">
                  <c:v>44.463330861746101</c:v>
                </c:pt>
                <c:pt idx="468">
                  <c:v>35.5</c:v>
                </c:pt>
                <c:pt idx="469">
                  <c:v>40.917420091711399</c:v>
                </c:pt>
                <c:pt idx="470">
                  <c:v>45.2</c:v>
                </c:pt>
                <c:pt idx="471">
                  <c:v>34.548537726372501</c:v>
                </c:pt>
                <c:pt idx="472">
                  <c:v>42.4</c:v>
                </c:pt>
                <c:pt idx="473">
                  <c:v>28.3</c:v>
                </c:pt>
                <c:pt idx="474">
                  <c:v>34.020243266724499</c:v>
                </c:pt>
                <c:pt idx="475">
                  <c:v>36.095441545143103</c:v>
                </c:pt>
                <c:pt idx="476">
                  <c:v>26.399999999999899</c:v>
                </c:pt>
                <c:pt idx="477">
                  <c:v>39.200000000000003</c:v>
                </c:pt>
                <c:pt idx="478">
                  <c:v>40.799999999999997</c:v>
                </c:pt>
                <c:pt idx="479">
                  <c:v>38.252229766929702</c:v>
                </c:pt>
                <c:pt idx="480">
                  <c:v>44.4</c:v>
                </c:pt>
                <c:pt idx="481">
                  <c:v>38.391219761002603</c:v>
                </c:pt>
                <c:pt idx="482">
                  <c:v>39.669320807022899</c:v>
                </c:pt>
                <c:pt idx="483">
                  <c:v>39.902391341882598</c:v>
                </c:pt>
                <c:pt idx="484">
                  <c:v>41.7</c:v>
                </c:pt>
                <c:pt idx="485">
                  <c:v>45.1</c:v>
                </c:pt>
                <c:pt idx="486">
                  <c:v>37.6</c:v>
                </c:pt>
                <c:pt idx="487">
                  <c:v>35.407668568059997</c:v>
                </c:pt>
                <c:pt idx="488">
                  <c:v>39.4</c:v>
                </c:pt>
                <c:pt idx="489">
                  <c:v>40.888692342929602</c:v>
                </c:pt>
                <c:pt idx="490">
                  <c:v>50.9</c:v>
                </c:pt>
                <c:pt idx="491">
                  <c:v>32.690675857747102</c:v>
                </c:pt>
                <c:pt idx="492">
                  <c:v>34.974617551316399</c:v>
                </c:pt>
                <c:pt idx="493">
                  <c:v>45.2</c:v>
                </c:pt>
                <c:pt idx="494">
                  <c:v>47.0727649238626</c:v>
                </c:pt>
                <c:pt idx="495">
                  <c:v>30.6</c:v>
                </c:pt>
                <c:pt idx="496">
                  <c:v>34.1</c:v>
                </c:pt>
                <c:pt idx="497">
                  <c:v>44.5</c:v>
                </c:pt>
                <c:pt idx="498">
                  <c:v>47.2</c:v>
                </c:pt>
                <c:pt idx="499">
                  <c:v>39.762941814498397</c:v>
                </c:pt>
                <c:pt idx="500">
                  <c:v>44.4</c:v>
                </c:pt>
                <c:pt idx="501">
                  <c:v>34.372702043248999</c:v>
                </c:pt>
                <c:pt idx="502">
                  <c:v>51.4</c:v>
                </c:pt>
                <c:pt idx="503">
                  <c:v>28.7</c:v>
                </c:pt>
                <c:pt idx="504">
                  <c:v>40.799999999999997</c:v>
                </c:pt>
                <c:pt idx="505">
                  <c:v>36.552320568095297</c:v>
                </c:pt>
                <c:pt idx="506">
                  <c:v>36.1</c:v>
                </c:pt>
                <c:pt idx="507">
                  <c:v>32.1</c:v>
                </c:pt>
                <c:pt idx="508">
                  <c:v>40.700000000000003</c:v>
                </c:pt>
                <c:pt idx="509">
                  <c:v>36.1</c:v>
                </c:pt>
                <c:pt idx="510">
                  <c:v>31.6</c:v>
                </c:pt>
                <c:pt idx="511">
                  <c:v>41.9</c:v>
                </c:pt>
                <c:pt idx="512">
                  <c:v>37.299999999999997</c:v>
                </c:pt>
                <c:pt idx="513">
                  <c:v>39.4</c:v>
                </c:pt>
                <c:pt idx="514">
                  <c:v>36.301689266310497</c:v>
                </c:pt>
                <c:pt idx="515">
                  <c:v>40.9336785299542</c:v>
                </c:pt>
                <c:pt idx="516">
                  <c:v>44.074479686336197</c:v>
                </c:pt>
                <c:pt idx="517">
                  <c:v>38.6</c:v>
                </c:pt>
                <c:pt idx="518">
                  <c:v>39</c:v>
                </c:pt>
                <c:pt idx="519">
                  <c:v>37.700000000000003</c:v>
                </c:pt>
                <c:pt idx="520">
                  <c:v>35.9</c:v>
                </c:pt>
                <c:pt idx="521">
                  <c:v>40.4</c:v>
                </c:pt>
                <c:pt idx="522">
                  <c:v>32.4</c:v>
                </c:pt>
                <c:pt idx="523">
                  <c:v>39.7974812359314</c:v>
                </c:pt>
                <c:pt idx="524">
                  <c:v>40.4</c:v>
                </c:pt>
                <c:pt idx="525">
                  <c:v>35.7105547207154</c:v>
                </c:pt>
                <c:pt idx="526">
                  <c:v>35.1</c:v>
                </c:pt>
                <c:pt idx="527">
                  <c:v>38.700000000000003</c:v>
                </c:pt>
                <c:pt idx="528">
                  <c:v>50.7</c:v>
                </c:pt>
                <c:pt idx="529">
                  <c:v>34.5</c:v>
                </c:pt>
                <c:pt idx="530">
                  <c:v>36.224122014850401</c:v>
                </c:pt>
                <c:pt idx="531">
                  <c:v>38.294343947247697</c:v>
                </c:pt>
                <c:pt idx="532">
                  <c:v>35.1</c:v>
                </c:pt>
                <c:pt idx="533">
                  <c:v>37</c:v>
                </c:pt>
                <c:pt idx="534">
                  <c:v>44.5</c:v>
                </c:pt>
                <c:pt idx="535">
                  <c:v>41.4</c:v>
                </c:pt>
                <c:pt idx="536">
                  <c:v>38.314317914649003</c:v>
                </c:pt>
                <c:pt idx="537">
                  <c:v>43.8</c:v>
                </c:pt>
                <c:pt idx="538">
                  <c:v>33.200000000000003</c:v>
                </c:pt>
                <c:pt idx="539">
                  <c:v>36.799999999999997</c:v>
                </c:pt>
                <c:pt idx="540">
                  <c:v>36.053486575864802</c:v>
                </c:pt>
                <c:pt idx="541">
                  <c:v>32.4</c:v>
                </c:pt>
                <c:pt idx="542">
                  <c:v>49</c:v>
                </c:pt>
                <c:pt idx="543">
                  <c:v>42.8</c:v>
                </c:pt>
                <c:pt idx="544">
                  <c:v>37.5</c:v>
                </c:pt>
                <c:pt idx="545">
                  <c:v>44.4</c:v>
                </c:pt>
                <c:pt idx="546">
                  <c:v>35.200000000000003</c:v>
                </c:pt>
                <c:pt idx="547">
                  <c:v>58.1</c:v>
                </c:pt>
                <c:pt idx="548">
                  <c:v>40.949199425228301</c:v>
                </c:pt>
                <c:pt idx="549">
                  <c:v>35.700000000000003</c:v>
                </c:pt>
                <c:pt idx="550">
                  <c:v>43</c:v>
                </c:pt>
                <c:pt idx="551">
                  <c:v>37.5</c:v>
                </c:pt>
                <c:pt idx="552">
                  <c:v>43</c:v>
                </c:pt>
                <c:pt idx="553">
                  <c:v>37.5064321616887</c:v>
                </c:pt>
                <c:pt idx="554">
                  <c:v>37.299999999999997</c:v>
                </c:pt>
                <c:pt idx="555">
                  <c:v>55.9</c:v>
                </c:pt>
                <c:pt idx="556">
                  <c:v>28.3</c:v>
                </c:pt>
                <c:pt idx="557">
                  <c:v>48.7</c:v>
                </c:pt>
                <c:pt idx="558">
                  <c:v>32.784004626239202</c:v>
                </c:pt>
                <c:pt idx="559">
                  <c:v>38.200000000000003</c:v>
                </c:pt>
                <c:pt idx="560">
                  <c:v>34.9</c:v>
                </c:pt>
                <c:pt idx="561">
                  <c:v>48.2</c:v>
                </c:pt>
                <c:pt idx="562">
                  <c:v>41.6</c:v>
                </c:pt>
                <c:pt idx="563">
                  <c:v>39.4</c:v>
                </c:pt>
                <c:pt idx="564">
                  <c:v>40.620158790409299</c:v>
                </c:pt>
                <c:pt idx="565">
                  <c:v>50.299999999999898</c:v>
                </c:pt>
                <c:pt idx="566">
                  <c:v>39.814391029262197</c:v>
                </c:pt>
                <c:pt idx="567">
                  <c:v>33.336984034858197</c:v>
                </c:pt>
                <c:pt idx="568">
                  <c:v>28.1</c:v>
                </c:pt>
                <c:pt idx="569">
                  <c:v>35.5</c:v>
                </c:pt>
                <c:pt idx="570">
                  <c:v>36.4</c:v>
                </c:pt>
                <c:pt idx="571">
                  <c:v>47.2</c:v>
                </c:pt>
                <c:pt idx="572">
                  <c:v>35.200000000000003</c:v>
                </c:pt>
                <c:pt idx="573">
                  <c:v>39.5</c:v>
                </c:pt>
                <c:pt idx="574">
                  <c:v>39.700000000000003</c:v>
                </c:pt>
                <c:pt idx="575">
                  <c:v>36.5</c:v>
                </c:pt>
                <c:pt idx="576">
                  <c:v>45.1</c:v>
                </c:pt>
                <c:pt idx="577">
                  <c:v>41.613423117920902</c:v>
                </c:pt>
                <c:pt idx="578">
                  <c:v>39.200000000000003</c:v>
                </c:pt>
                <c:pt idx="579">
                  <c:v>39.599794516611098</c:v>
                </c:pt>
                <c:pt idx="580">
                  <c:v>40.1</c:v>
                </c:pt>
                <c:pt idx="581">
                  <c:v>41.3142223653835</c:v>
                </c:pt>
                <c:pt idx="582">
                  <c:v>34.700000000000003</c:v>
                </c:pt>
                <c:pt idx="583">
                  <c:v>46.850539552818603</c:v>
                </c:pt>
                <c:pt idx="584">
                  <c:v>43.3</c:v>
                </c:pt>
                <c:pt idx="585">
                  <c:v>43.8</c:v>
                </c:pt>
                <c:pt idx="586">
                  <c:v>39</c:v>
                </c:pt>
                <c:pt idx="587">
                  <c:v>49.4</c:v>
                </c:pt>
                <c:pt idx="588">
                  <c:v>38.200000000000003</c:v>
                </c:pt>
                <c:pt idx="589">
                  <c:v>40.310705423608603</c:v>
                </c:pt>
                <c:pt idx="590">
                  <c:v>51.8</c:v>
                </c:pt>
                <c:pt idx="591">
                  <c:v>45.1</c:v>
                </c:pt>
                <c:pt idx="592">
                  <c:v>46.9</c:v>
                </c:pt>
                <c:pt idx="593">
                  <c:v>41.2</c:v>
                </c:pt>
                <c:pt idx="594">
                  <c:v>37.700000000000003</c:v>
                </c:pt>
                <c:pt idx="595">
                  <c:v>38</c:v>
                </c:pt>
                <c:pt idx="596">
                  <c:v>35.799999999999997</c:v>
                </c:pt>
                <c:pt idx="597">
                  <c:v>44.5</c:v>
                </c:pt>
                <c:pt idx="598">
                  <c:v>49.6</c:v>
                </c:pt>
                <c:pt idx="599">
                  <c:v>38.709489187173702</c:v>
                </c:pt>
                <c:pt idx="600">
                  <c:v>42.6</c:v>
                </c:pt>
                <c:pt idx="601">
                  <c:v>38.799999999999997</c:v>
                </c:pt>
                <c:pt idx="602">
                  <c:v>60.7</c:v>
                </c:pt>
                <c:pt idx="603">
                  <c:v>47</c:v>
                </c:pt>
                <c:pt idx="604">
                  <c:v>40.799999999999997</c:v>
                </c:pt>
                <c:pt idx="605">
                  <c:v>37.810017809439003</c:v>
                </c:pt>
                <c:pt idx="606">
                  <c:v>49.9</c:v>
                </c:pt>
                <c:pt idx="607">
                  <c:v>44</c:v>
                </c:pt>
                <c:pt idx="608">
                  <c:v>39.764007808292902</c:v>
                </c:pt>
                <c:pt idx="609">
                  <c:v>38.9</c:v>
                </c:pt>
                <c:pt idx="610">
                  <c:v>41.9</c:v>
                </c:pt>
                <c:pt idx="611">
                  <c:v>40.4</c:v>
                </c:pt>
                <c:pt idx="612">
                  <c:v>44.8</c:v>
                </c:pt>
                <c:pt idx="613">
                  <c:v>38</c:v>
                </c:pt>
                <c:pt idx="614">
                  <c:v>32.9</c:v>
                </c:pt>
                <c:pt idx="615">
                  <c:v>43.4</c:v>
                </c:pt>
                <c:pt idx="616">
                  <c:v>55.8</c:v>
                </c:pt>
                <c:pt idx="617">
                  <c:v>40.799999999999997</c:v>
                </c:pt>
                <c:pt idx="618">
                  <c:v>48.883253629999999</c:v>
                </c:pt>
                <c:pt idx="619">
                  <c:v>40.5</c:v>
                </c:pt>
                <c:pt idx="620">
                  <c:v>56.2</c:v>
                </c:pt>
                <c:pt idx="621">
                  <c:v>49.791086115950201</c:v>
                </c:pt>
                <c:pt idx="622">
                  <c:v>49.036215829359698</c:v>
                </c:pt>
                <c:pt idx="623">
                  <c:v>64.3</c:v>
                </c:pt>
                <c:pt idx="624">
                  <c:v>38.200473255433899</c:v>
                </c:pt>
                <c:pt idx="625">
                  <c:v>41.3</c:v>
                </c:pt>
                <c:pt idx="626">
                  <c:v>52.433316765804598</c:v>
                </c:pt>
                <c:pt idx="627">
                  <c:v>46.6</c:v>
                </c:pt>
                <c:pt idx="628">
                  <c:v>45.1</c:v>
                </c:pt>
                <c:pt idx="629">
                  <c:v>39.4</c:v>
                </c:pt>
                <c:pt idx="630">
                  <c:v>42.1</c:v>
                </c:pt>
                <c:pt idx="631">
                  <c:v>48.211159757516299</c:v>
                </c:pt>
                <c:pt idx="632">
                  <c:v>39.992973132565602</c:v>
                </c:pt>
                <c:pt idx="633">
                  <c:v>49.2</c:v>
                </c:pt>
                <c:pt idx="634">
                  <c:v>46.409983229541602</c:v>
                </c:pt>
                <c:pt idx="635">
                  <c:v>63.7</c:v>
                </c:pt>
                <c:pt idx="636">
                  <c:v>42.383932568005399</c:v>
                </c:pt>
                <c:pt idx="637">
                  <c:v>43.275809560812299</c:v>
                </c:pt>
                <c:pt idx="638">
                  <c:v>58.2</c:v>
                </c:pt>
                <c:pt idx="639">
                  <c:v>36.203245399510799</c:v>
                </c:pt>
                <c:pt idx="640">
                  <c:v>46.8</c:v>
                </c:pt>
                <c:pt idx="641">
                  <c:v>42</c:v>
                </c:pt>
                <c:pt idx="642">
                  <c:v>34</c:v>
                </c:pt>
                <c:pt idx="643">
                  <c:v>40.9</c:v>
                </c:pt>
                <c:pt idx="644">
                  <c:v>46.3</c:v>
                </c:pt>
                <c:pt idx="645">
                  <c:v>41.9</c:v>
                </c:pt>
                <c:pt idx="646">
                  <c:v>37.231631520532702</c:v>
                </c:pt>
                <c:pt idx="647">
                  <c:v>42.670168619145898</c:v>
                </c:pt>
                <c:pt idx="648">
                  <c:v>45.3</c:v>
                </c:pt>
                <c:pt idx="649">
                  <c:v>48.6</c:v>
                </c:pt>
                <c:pt idx="650">
                  <c:v>47.97424419</c:v>
                </c:pt>
                <c:pt idx="651">
                  <c:v>41.2</c:v>
                </c:pt>
                <c:pt idx="652">
                  <c:v>42.456553490653398</c:v>
                </c:pt>
                <c:pt idx="653">
                  <c:v>57.694475597783502</c:v>
                </c:pt>
                <c:pt idx="654">
                  <c:v>38.145387404872501</c:v>
                </c:pt>
                <c:pt idx="655">
                  <c:v>43.1</c:v>
                </c:pt>
                <c:pt idx="656">
                  <c:v>39.6</c:v>
                </c:pt>
                <c:pt idx="657">
                  <c:v>32.6</c:v>
                </c:pt>
                <c:pt idx="658">
                  <c:v>57.9</c:v>
                </c:pt>
                <c:pt idx="659">
                  <c:v>58.5</c:v>
                </c:pt>
                <c:pt idx="660">
                  <c:v>46.9</c:v>
                </c:pt>
                <c:pt idx="661">
                  <c:v>53.7</c:v>
                </c:pt>
                <c:pt idx="662">
                  <c:v>56</c:v>
                </c:pt>
                <c:pt idx="663">
                  <c:v>65.697557618531604</c:v>
                </c:pt>
                <c:pt idx="664">
                  <c:v>38.1</c:v>
                </c:pt>
                <c:pt idx="665">
                  <c:v>35.6</c:v>
                </c:pt>
                <c:pt idx="666">
                  <c:v>53.8</c:v>
                </c:pt>
                <c:pt idx="667">
                  <c:v>46.1</c:v>
                </c:pt>
                <c:pt idx="668">
                  <c:v>41.090719655011</c:v>
                </c:pt>
                <c:pt idx="669">
                  <c:v>39.200000000000003</c:v>
                </c:pt>
                <c:pt idx="670">
                  <c:v>49.065939882089801</c:v>
                </c:pt>
                <c:pt idx="671">
                  <c:v>45.955903669999998</c:v>
                </c:pt>
                <c:pt idx="672">
                  <c:v>38.046696940209699</c:v>
                </c:pt>
                <c:pt idx="673">
                  <c:v>39.9</c:v>
                </c:pt>
                <c:pt idx="674">
                  <c:v>50</c:v>
                </c:pt>
                <c:pt idx="675">
                  <c:v>32.365406169613301</c:v>
                </c:pt>
                <c:pt idx="676">
                  <c:v>31.4</c:v>
                </c:pt>
                <c:pt idx="677">
                  <c:v>40.200000000000003</c:v>
                </c:pt>
                <c:pt idx="678">
                  <c:v>43.8</c:v>
                </c:pt>
                <c:pt idx="679">
                  <c:v>43.5</c:v>
                </c:pt>
                <c:pt idx="680">
                  <c:v>39.9</c:v>
                </c:pt>
                <c:pt idx="681">
                  <c:v>45.4</c:v>
                </c:pt>
                <c:pt idx="682">
                  <c:v>50.4</c:v>
                </c:pt>
                <c:pt idx="683">
                  <c:v>44.473782831464803</c:v>
                </c:pt>
                <c:pt idx="684">
                  <c:v>57.7</c:v>
                </c:pt>
                <c:pt idx="685">
                  <c:v>44.571936700000002</c:v>
                </c:pt>
                <c:pt idx="686">
                  <c:v>32.982123799359599</c:v>
                </c:pt>
                <c:pt idx="687">
                  <c:v>59.8278346861375</c:v>
                </c:pt>
                <c:pt idx="688">
                  <c:v>59.6</c:v>
                </c:pt>
                <c:pt idx="689">
                  <c:v>30</c:v>
                </c:pt>
                <c:pt idx="690">
                  <c:v>51.4</c:v>
                </c:pt>
                <c:pt idx="691">
                  <c:v>34.799999999999997</c:v>
                </c:pt>
                <c:pt idx="692">
                  <c:v>52.1</c:v>
                </c:pt>
                <c:pt idx="693">
                  <c:v>55.4</c:v>
                </c:pt>
                <c:pt idx="694">
                  <c:v>44.3</c:v>
                </c:pt>
                <c:pt idx="695">
                  <c:v>62</c:v>
                </c:pt>
                <c:pt idx="696">
                  <c:v>36.706862999215097</c:v>
                </c:pt>
                <c:pt idx="697">
                  <c:v>40.4</c:v>
                </c:pt>
                <c:pt idx="698">
                  <c:v>47.098839351510598</c:v>
                </c:pt>
                <c:pt idx="699">
                  <c:v>41.6</c:v>
                </c:pt>
                <c:pt idx="700">
                  <c:v>37.062768228495699</c:v>
                </c:pt>
                <c:pt idx="701">
                  <c:v>34.299999999999997</c:v>
                </c:pt>
                <c:pt idx="702">
                  <c:v>68.599999999999994</c:v>
                </c:pt>
                <c:pt idx="703">
                  <c:v>41.3</c:v>
                </c:pt>
                <c:pt idx="704">
                  <c:v>38.4</c:v>
                </c:pt>
                <c:pt idx="705">
                  <c:v>37.349925940802798</c:v>
                </c:pt>
                <c:pt idx="706">
                  <c:v>43.5</c:v>
                </c:pt>
                <c:pt idx="707">
                  <c:v>53.3</c:v>
                </c:pt>
                <c:pt idx="708">
                  <c:v>45.157535176220399</c:v>
                </c:pt>
                <c:pt idx="709">
                  <c:v>40.757079017052703</c:v>
                </c:pt>
                <c:pt idx="710">
                  <c:v>35.700000000000003</c:v>
                </c:pt>
                <c:pt idx="711">
                  <c:v>40.326272129383398</c:v>
                </c:pt>
                <c:pt idx="712">
                  <c:v>36.9737742755228</c:v>
                </c:pt>
                <c:pt idx="713">
                  <c:v>49.365281107199003</c:v>
                </c:pt>
                <c:pt idx="714">
                  <c:v>54.899999999999899</c:v>
                </c:pt>
                <c:pt idx="715">
                  <c:v>45.2</c:v>
                </c:pt>
                <c:pt idx="716">
                  <c:v>58.8</c:v>
                </c:pt>
                <c:pt idx="717">
                  <c:v>43.8</c:v>
                </c:pt>
                <c:pt idx="718">
                  <c:v>44.913172137355197</c:v>
                </c:pt>
                <c:pt idx="719">
                  <c:v>43</c:v>
                </c:pt>
                <c:pt idx="720">
                  <c:v>42.819647374041999</c:v>
                </c:pt>
                <c:pt idx="721">
                  <c:v>35.1</c:v>
                </c:pt>
                <c:pt idx="722">
                  <c:v>38.6</c:v>
                </c:pt>
                <c:pt idx="723">
                  <c:v>43.3</c:v>
                </c:pt>
                <c:pt idx="724">
                  <c:v>40.6</c:v>
                </c:pt>
                <c:pt idx="725">
                  <c:v>41.926154669520997</c:v>
                </c:pt>
                <c:pt idx="726">
                  <c:v>38.5</c:v>
                </c:pt>
                <c:pt idx="727">
                  <c:v>44.883301596866502</c:v>
                </c:pt>
                <c:pt idx="728">
                  <c:v>40.613588269213601</c:v>
                </c:pt>
                <c:pt idx="729">
                  <c:v>41.5753218964675</c:v>
                </c:pt>
                <c:pt idx="730">
                  <c:v>38.200000000000003</c:v>
                </c:pt>
                <c:pt idx="731">
                  <c:v>38.299999999999997</c:v>
                </c:pt>
                <c:pt idx="732">
                  <c:v>37.962640589669</c:v>
                </c:pt>
                <c:pt idx="733">
                  <c:v>51.8</c:v>
                </c:pt>
                <c:pt idx="734">
                  <c:v>56.9</c:v>
                </c:pt>
                <c:pt idx="735">
                  <c:v>47.6</c:v>
                </c:pt>
                <c:pt idx="736">
                  <c:v>48.1</c:v>
                </c:pt>
                <c:pt idx="737">
                  <c:v>37.5</c:v>
                </c:pt>
                <c:pt idx="738">
                  <c:v>42.7</c:v>
                </c:pt>
                <c:pt idx="739">
                  <c:v>48.239485860000002</c:v>
                </c:pt>
                <c:pt idx="740">
                  <c:v>57.479238754325202</c:v>
                </c:pt>
                <c:pt idx="741">
                  <c:v>39.6</c:v>
                </c:pt>
                <c:pt idx="742">
                  <c:v>63</c:v>
                </c:pt>
                <c:pt idx="743">
                  <c:v>61.108231807704897</c:v>
                </c:pt>
                <c:pt idx="744">
                  <c:v>50.3</c:v>
                </c:pt>
                <c:pt idx="745">
                  <c:v>58.9</c:v>
                </c:pt>
                <c:pt idx="746">
                  <c:v>57.3</c:v>
                </c:pt>
                <c:pt idx="747">
                  <c:v>44.371721459487297</c:v>
                </c:pt>
                <c:pt idx="748">
                  <c:v>35.799999999999997</c:v>
                </c:pt>
                <c:pt idx="749">
                  <c:v>44</c:v>
                </c:pt>
                <c:pt idx="750">
                  <c:v>43.751034289320501</c:v>
                </c:pt>
                <c:pt idx="751">
                  <c:v>50.899999999999899</c:v>
                </c:pt>
                <c:pt idx="752">
                  <c:v>46.1</c:v>
                </c:pt>
                <c:pt idx="753">
                  <c:v>44.3</c:v>
                </c:pt>
                <c:pt idx="754">
                  <c:v>44.2</c:v>
                </c:pt>
                <c:pt idx="755">
                  <c:v>39.5</c:v>
                </c:pt>
                <c:pt idx="756">
                  <c:v>35.128660542713099</c:v>
                </c:pt>
                <c:pt idx="757">
                  <c:v>55.350422686750598</c:v>
                </c:pt>
                <c:pt idx="758">
                  <c:v>59.7</c:v>
                </c:pt>
                <c:pt idx="759">
                  <c:v>35.1</c:v>
                </c:pt>
                <c:pt idx="760">
                  <c:v>41.5</c:v>
                </c:pt>
                <c:pt idx="761">
                  <c:v>42.238452879999997</c:v>
                </c:pt>
                <c:pt idx="762">
                  <c:v>69.599999999999994</c:v>
                </c:pt>
                <c:pt idx="763">
                  <c:v>48.9412266434435</c:v>
                </c:pt>
                <c:pt idx="764">
                  <c:v>51.5</c:v>
                </c:pt>
                <c:pt idx="765">
                  <c:v>50.767379481493201</c:v>
                </c:pt>
                <c:pt idx="766">
                  <c:v>49.961149472233203</c:v>
                </c:pt>
                <c:pt idx="767">
                  <c:v>45.2</c:v>
                </c:pt>
                <c:pt idx="768">
                  <c:v>40.5630598934411</c:v>
                </c:pt>
                <c:pt idx="769">
                  <c:v>38.799999999999997</c:v>
                </c:pt>
                <c:pt idx="770">
                  <c:v>37.711254054963803</c:v>
                </c:pt>
                <c:pt idx="771">
                  <c:v>40.799999999999997</c:v>
                </c:pt>
                <c:pt idx="772">
                  <c:v>44.858221870946799</c:v>
                </c:pt>
                <c:pt idx="773">
                  <c:v>38.592381849161498</c:v>
                </c:pt>
                <c:pt idx="774">
                  <c:v>40.799999999999898</c:v>
                </c:pt>
                <c:pt idx="775">
                  <c:v>41.999920384489798</c:v>
                </c:pt>
                <c:pt idx="776">
                  <c:v>40.299999999999997</c:v>
                </c:pt>
                <c:pt idx="777">
                  <c:v>50.299999999999898</c:v>
                </c:pt>
                <c:pt idx="778">
                  <c:v>55.354652773304103</c:v>
                </c:pt>
                <c:pt idx="779">
                  <c:v>49.522055441563197</c:v>
                </c:pt>
                <c:pt idx="780">
                  <c:v>42.9</c:v>
                </c:pt>
                <c:pt idx="781">
                  <c:v>54</c:v>
                </c:pt>
                <c:pt idx="782">
                  <c:v>45.086666696805501</c:v>
                </c:pt>
                <c:pt idx="783">
                  <c:v>62.8</c:v>
                </c:pt>
                <c:pt idx="784">
                  <c:v>38.392199222633998</c:v>
                </c:pt>
                <c:pt idx="785">
                  <c:v>35.988144226927602</c:v>
                </c:pt>
                <c:pt idx="786">
                  <c:v>46.9</c:v>
                </c:pt>
                <c:pt idx="787">
                  <c:v>37</c:v>
                </c:pt>
                <c:pt idx="788">
                  <c:v>48</c:v>
                </c:pt>
                <c:pt idx="789">
                  <c:v>46.1421902917388</c:v>
                </c:pt>
                <c:pt idx="790">
                  <c:v>37.201950525644499</c:v>
                </c:pt>
                <c:pt idx="791">
                  <c:v>38</c:v>
                </c:pt>
                <c:pt idx="792">
                  <c:v>46.239902220611597</c:v>
                </c:pt>
                <c:pt idx="793">
                  <c:v>36.696050664778497</c:v>
                </c:pt>
                <c:pt idx="794">
                  <c:v>68.2</c:v>
                </c:pt>
                <c:pt idx="795">
                  <c:v>51.243904210367397</c:v>
                </c:pt>
                <c:pt idx="796">
                  <c:v>47.5</c:v>
                </c:pt>
                <c:pt idx="797">
                  <c:v>60.561043722033503</c:v>
                </c:pt>
                <c:pt idx="798">
                  <c:v>53.719002014810101</c:v>
                </c:pt>
                <c:pt idx="799">
                  <c:v>41</c:v>
                </c:pt>
                <c:pt idx="800">
                  <c:v>49.14221912</c:v>
                </c:pt>
                <c:pt idx="801">
                  <c:v>44.7</c:v>
                </c:pt>
                <c:pt idx="802">
                  <c:v>45.932019823705197</c:v>
                </c:pt>
                <c:pt idx="803">
                  <c:v>38</c:v>
                </c:pt>
                <c:pt idx="804">
                  <c:v>51.205143509999999</c:v>
                </c:pt>
                <c:pt idx="805">
                  <c:v>70.099999999999994</c:v>
                </c:pt>
                <c:pt idx="806">
                  <c:v>32.749798262706697</c:v>
                </c:pt>
                <c:pt idx="807">
                  <c:v>36.622329416952702</c:v>
                </c:pt>
                <c:pt idx="808">
                  <c:v>53.2</c:v>
                </c:pt>
                <c:pt idx="809">
                  <c:v>53.6</c:v>
                </c:pt>
                <c:pt idx="810">
                  <c:v>53.1</c:v>
                </c:pt>
                <c:pt idx="811">
                  <c:v>71.945023734177198</c:v>
                </c:pt>
                <c:pt idx="812">
                  <c:v>42.6</c:v>
                </c:pt>
                <c:pt idx="813">
                  <c:v>47.73873382</c:v>
                </c:pt>
                <c:pt idx="814">
                  <c:v>40.9</c:v>
                </c:pt>
                <c:pt idx="815">
                  <c:v>44.8</c:v>
                </c:pt>
                <c:pt idx="816">
                  <c:v>42.627168450126</c:v>
                </c:pt>
                <c:pt idx="817">
                  <c:v>64.701861759311896</c:v>
                </c:pt>
                <c:pt idx="818">
                  <c:v>51.270140251782998</c:v>
                </c:pt>
                <c:pt idx="819">
                  <c:v>57.8</c:v>
                </c:pt>
                <c:pt idx="820">
                  <c:v>35.1</c:v>
                </c:pt>
                <c:pt idx="821">
                  <c:v>39.799999999999997</c:v>
                </c:pt>
                <c:pt idx="822">
                  <c:v>36.799999999999997</c:v>
                </c:pt>
                <c:pt idx="823">
                  <c:v>40.007998976097603</c:v>
                </c:pt>
                <c:pt idx="824">
                  <c:v>43.5</c:v>
                </c:pt>
                <c:pt idx="825">
                  <c:v>44.4</c:v>
                </c:pt>
                <c:pt idx="826">
                  <c:v>35.200000000000003</c:v>
                </c:pt>
                <c:pt idx="827">
                  <c:v>36.299999999999997</c:v>
                </c:pt>
                <c:pt idx="828">
                  <c:v>37.200000000000003</c:v>
                </c:pt>
                <c:pt idx="829">
                  <c:v>40.6483541316192</c:v>
                </c:pt>
                <c:pt idx="830">
                  <c:v>38.251662163900598</c:v>
                </c:pt>
                <c:pt idx="831">
                  <c:v>42.7</c:v>
                </c:pt>
                <c:pt idx="832">
                  <c:v>37.299999999999997</c:v>
                </c:pt>
                <c:pt idx="833">
                  <c:v>55.838453131718502</c:v>
                </c:pt>
                <c:pt idx="834">
                  <c:v>36.029286477969698</c:v>
                </c:pt>
                <c:pt idx="835">
                  <c:v>41.3</c:v>
                </c:pt>
                <c:pt idx="836">
                  <c:v>36.4</c:v>
                </c:pt>
                <c:pt idx="837">
                  <c:v>36.470854938932902</c:v>
                </c:pt>
                <c:pt idx="838">
                  <c:v>37.700000000000003</c:v>
                </c:pt>
                <c:pt idx="839">
                  <c:v>40.191536053422503</c:v>
                </c:pt>
                <c:pt idx="840">
                  <c:v>34.2031995463934</c:v>
                </c:pt>
                <c:pt idx="841">
                  <c:v>41.3</c:v>
                </c:pt>
                <c:pt idx="842">
                  <c:v>29.329816899042498</c:v>
                </c:pt>
                <c:pt idx="843">
                  <c:v>33.6</c:v>
                </c:pt>
                <c:pt idx="844">
                  <c:v>36.146446588490299</c:v>
                </c:pt>
                <c:pt idx="845">
                  <c:v>31.9</c:v>
                </c:pt>
                <c:pt idx="846">
                  <c:v>41.2</c:v>
                </c:pt>
                <c:pt idx="847">
                  <c:v>35.200000000000003</c:v>
                </c:pt>
                <c:pt idx="848">
                  <c:v>39.9</c:v>
                </c:pt>
                <c:pt idx="849">
                  <c:v>35.700000000000003</c:v>
                </c:pt>
                <c:pt idx="850">
                  <c:v>40.299999999999997</c:v>
                </c:pt>
                <c:pt idx="851">
                  <c:v>35</c:v>
                </c:pt>
                <c:pt idx="852">
                  <c:v>41</c:v>
                </c:pt>
                <c:pt idx="853">
                  <c:v>55.5</c:v>
                </c:pt>
                <c:pt idx="854">
                  <c:v>40.200000000000003</c:v>
                </c:pt>
                <c:pt idx="855">
                  <c:v>50</c:v>
                </c:pt>
                <c:pt idx="856">
                  <c:v>36.5</c:v>
                </c:pt>
                <c:pt idx="857">
                  <c:v>38.5</c:v>
                </c:pt>
                <c:pt idx="858">
                  <c:v>38.267208566831201</c:v>
                </c:pt>
                <c:pt idx="859">
                  <c:v>36.799032937744201</c:v>
                </c:pt>
                <c:pt idx="860">
                  <c:v>42</c:v>
                </c:pt>
                <c:pt idx="861">
                  <c:v>36.8402949643921</c:v>
                </c:pt>
                <c:pt idx="862">
                  <c:v>36.799999999999997</c:v>
                </c:pt>
                <c:pt idx="863">
                  <c:v>40.5</c:v>
                </c:pt>
                <c:pt idx="864">
                  <c:v>39.214292565496201</c:v>
                </c:pt>
                <c:pt idx="865">
                  <c:v>37.9</c:v>
                </c:pt>
                <c:pt idx="866">
                  <c:v>33.971832995917801</c:v>
                </c:pt>
                <c:pt idx="867">
                  <c:v>36.979440152986697</c:v>
                </c:pt>
                <c:pt idx="868">
                  <c:v>36.700000000000003</c:v>
                </c:pt>
                <c:pt idx="869">
                  <c:v>38.1</c:v>
                </c:pt>
                <c:pt idx="870">
                  <c:v>40.6</c:v>
                </c:pt>
                <c:pt idx="871">
                  <c:v>37.1</c:v>
                </c:pt>
                <c:pt idx="872">
                  <c:v>49.2</c:v>
                </c:pt>
                <c:pt idx="873">
                  <c:v>43.2</c:v>
                </c:pt>
                <c:pt idx="874">
                  <c:v>36.6</c:v>
                </c:pt>
                <c:pt idx="875">
                  <c:v>35.270306895396203</c:v>
                </c:pt>
                <c:pt idx="876">
                  <c:v>36.6341784274193</c:v>
                </c:pt>
                <c:pt idx="877">
                  <c:v>40.033656838174601</c:v>
                </c:pt>
                <c:pt idx="878">
                  <c:v>39.4</c:v>
                </c:pt>
                <c:pt idx="879">
                  <c:v>37.200000000000003</c:v>
                </c:pt>
                <c:pt idx="880">
                  <c:v>36.206130307542203</c:v>
                </c:pt>
                <c:pt idx="881">
                  <c:v>38.860056247846202</c:v>
                </c:pt>
                <c:pt idx="882">
                  <c:v>37.4</c:v>
                </c:pt>
                <c:pt idx="883">
                  <c:v>37.5</c:v>
                </c:pt>
                <c:pt idx="884">
                  <c:v>35.5</c:v>
                </c:pt>
                <c:pt idx="885">
                  <c:v>35.734459670859103</c:v>
                </c:pt>
                <c:pt idx="886">
                  <c:v>49.6</c:v>
                </c:pt>
                <c:pt idx="887">
                  <c:v>39.6</c:v>
                </c:pt>
                <c:pt idx="888">
                  <c:v>43.1</c:v>
                </c:pt>
                <c:pt idx="889">
                  <c:v>39.132572569147399</c:v>
                </c:pt>
                <c:pt idx="890">
                  <c:v>34.6607346094154</c:v>
                </c:pt>
                <c:pt idx="891">
                  <c:v>36.9971156354868</c:v>
                </c:pt>
                <c:pt idx="892">
                  <c:v>52.9</c:v>
                </c:pt>
                <c:pt idx="893">
                  <c:v>41.6</c:v>
                </c:pt>
                <c:pt idx="894">
                  <c:v>39.615130951860401</c:v>
                </c:pt>
                <c:pt idx="895">
                  <c:v>41.299999999999898</c:v>
                </c:pt>
                <c:pt idx="896">
                  <c:v>47.4</c:v>
                </c:pt>
                <c:pt idx="897">
                  <c:v>42.6</c:v>
                </c:pt>
                <c:pt idx="898">
                  <c:v>40</c:v>
                </c:pt>
                <c:pt idx="899">
                  <c:v>49.5</c:v>
                </c:pt>
                <c:pt idx="900">
                  <c:v>39.5</c:v>
                </c:pt>
                <c:pt idx="901">
                  <c:v>33.4</c:v>
                </c:pt>
                <c:pt idx="902">
                  <c:v>43.082511340325297</c:v>
                </c:pt>
                <c:pt idx="903">
                  <c:v>40.700000000000003</c:v>
                </c:pt>
                <c:pt idx="904">
                  <c:v>39.700000000000003</c:v>
                </c:pt>
                <c:pt idx="905">
                  <c:v>40.9</c:v>
                </c:pt>
                <c:pt idx="906">
                  <c:v>30.2</c:v>
                </c:pt>
                <c:pt idx="907">
                  <c:v>41</c:v>
                </c:pt>
                <c:pt idx="908">
                  <c:v>40.5</c:v>
                </c:pt>
                <c:pt idx="909">
                  <c:v>34.200000000000003</c:v>
                </c:pt>
                <c:pt idx="910">
                  <c:v>38.235163493241402</c:v>
                </c:pt>
                <c:pt idx="911">
                  <c:v>38</c:v>
                </c:pt>
                <c:pt idx="912">
                  <c:v>38.9</c:v>
                </c:pt>
                <c:pt idx="913">
                  <c:v>39.799999999999997</c:v>
                </c:pt>
                <c:pt idx="914">
                  <c:v>52.9</c:v>
                </c:pt>
                <c:pt idx="915">
                  <c:v>39.649603489999997</c:v>
                </c:pt>
                <c:pt idx="916">
                  <c:v>33.799999999999997</c:v>
                </c:pt>
                <c:pt idx="917">
                  <c:v>35</c:v>
                </c:pt>
                <c:pt idx="918">
                  <c:v>48.1</c:v>
                </c:pt>
                <c:pt idx="919">
                  <c:v>43.6</c:v>
                </c:pt>
                <c:pt idx="920">
                  <c:v>37</c:v>
                </c:pt>
                <c:pt idx="921">
                  <c:v>35.6</c:v>
                </c:pt>
                <c:pt idx="922">
                  <c:v>58.9</c:v>
                </c:pt>
                <c:pt idx="923">
                  <c:v>29.7</c:v>
                </c:pt>
                <c:pt idx="924">
                  <c:v>38.5</c:v>
                </c:pt>
                <c:pt idx="925">
                  <c:v>39.200000000000003</c:v>
                </c:pt>
                <c:pt idx="926">
                  <c:v>43.4</c:v>
                </c:pt>
                <c:pt idx="927">
                  <c:v>36.9</c:v>
                </c:pt>
                <c:pt idx="928">
                  <c:v>48.7</c:v>
                </c:pt>
                <c:pt idx="929">
                  <c:v>38.299999999999997</c:v>
                </c:pt>
                <c:pt idx="930">
                  <c:v>39.4188772362739</c:v>
                </c:pt>
                <c:pt idx="931">
                  <c:v>32.1</c:v>
                </c:pt>
                <c:pt idx="932">
                  <c:v>35.501387431502799</c:v>
                </c:pt>
                <c:pt idx="933">
                  <c:v>32.9</c:v>
                </c:pt>
                <c:pt idx="934">
                  <c:v>39.5</c:v>
                </c:pt>
                <c:pt idx="935">
                  <c:v>36.299999999999997</c:v>
                </c:pt>
                <c:pt idx="936">
                  <c:v>35.1</c:v>
                </c:pt>
                <c:pt idx="937">
                  <c:v>48.4</c:v>
                </c:pt>
                <c:pt idx="938">
                  <c:v>33.879277017477598</c:v>
                </c:pt>
                <c:pt idx="939">
                  <c:v>35.5</c:v>
                </c:pt>
                <c:pt idx="940">
                  <c:v>38.4</c:v>
                </c:pt>
                <c:pt idx="941">
                  <c:v>34</c:v>
                </c:pt>
                <c:pt idx="942">
                  <c:v>35.560531953907599</c:v>
                </c:pt>
                <c:pt idx="943">
                  <c:v>36.6</c:v>
                </c:pt>
                <c:pt idx="944">
                  <c:v>35.6</c:v>
                </c:pt>
                <c:pt idx="945">
                  <c:v>38.299999999999997</c:v>
                </c:pt>
                <c:pt idx="946">
                  <c:v>38.799999999999997</c:v>
                </c:pt>
                <c:pt idx="947">
                  <c:v>37</c:v>
                </c:pt>
                <c:pt idx="948">
                  <c:v>37.195812599999996</c:v>
                </c:pt>
                <c:pt idx="949">
                  <c:v>41.1</c:v>
                </c:pt>
                <c:pt idx="950">
                  <c:v>35.6</c:v>
                </c:pt>
                <c:pt idx="951">
                  <c:v>38.316939768004801</c:v>
                </c:pt>
                <c:pt idx="952">
                  <c:v>44.5</c:v>
                </c:pt>
                <c:pt idx="953">
                  <c:v>39.305588428665303</c:v>
                </c:pt>
                <c:pt idx="954">
                  <c:v>35.475885611953601</c:v>
                </c:pt>
                <c:pt idx="955">
                  <c:v>41.1</c:v>
                </c:pt>
                <c:pt idx="956">
                  <c:v>42.6</c:v>
                </c:pt>
                <c:pt idx="957">
                  <c:v>39.299999999999997</c:v>
                </c:pt>
                <c:pt idx="958">
                  <c:v>36.6</c:v>
                </c:pt>
                <c:pt idx="959">
                  <c:v>42.6</c:v>
                </c:pt>
                <c:pt idx="960">
                  <c:v>35.6</c:v>
                </c:pt>
                <c:pt idx="961">
                  <c:v>41.2</c:v>
                </c:pt>
                <c:pt idx="962">
                  <c:v>55.5</c:v>
                </c:pt>
                <c:pt idx="963">
                  <c:v>29.5</c:v>
                </c:pt>
                <c:pt idx="964">
                  <c:v>36.6</c:v>
                </c:pt>
                <c:pt idx="965">
                  <c:v>41.7</c:v>
                </c:pt>
                <c:pt idx="966">
                  <c:v>37.971508785211803</c:v>
                </c:pt>
                <c:pt idx="967">
                  <c:v>30.664855119124201</c:v>
                </c:pt>
                <c:pt idx="968">
                  <c:v>32.5</c:v>
                </c:pt>
                <c:pt idx="969">
                  <c:v>38.9</c:v>
                </c:pt>
                <c:pt idx="970">
                  <c:v>42.6</c:v>
                </c:pt>
                <c:pt idx="971">
                  <c:v>35.1</c:v>
                </c:pt>
                <c:pt idx="972">
                  <c:v>35.9</c:v>
                </c:pt>
                <c:pt idx="973">
                  <c:v>39.1</c:v>
                </c:pt>
                <c:pt idx="974">
                  <c:v>37.6</c:v>
                </c:pt>
                <c:pt idx="975">
                  <c:v>33.200000000000003</c:v>
                </c:pt>
                <c:pt idx="976">
                  <c:v>30.3</c:v>
                </c:pt>
                <c:pt idx="977">
                  <c:v>40.200000000000003</c:v>
                </c:pt>
                <c:pt idx="978">
                  <c:v>41.4</c:v>
                </c:pt>
                <c:pt idx="979">
                  <c:v>35.6</c:v>
                </c:pt>
                <c:pt idx="980">
                  <c:v>40.200000000000003</c:v>
                </c:pt>
                <c:pt idx="981">
                  <c:v>35.4</c:v>
                </c:pt>
                <c:pt idx="982">
                  <c:v>48.9</c:v>
                </c:pt>
                <c:pt idx="983">
                  <c:v>34.9</c:v>
                </c:pt>
                <c:pt idx="984">
                  <c:v>36.1</c:v>
                </c:pt>
                <c:pt idx="985">
                  <c:v>41</c:v>
                </c:pt>
                <c:pt idx="986">
                  <c:v>35.057577255871401</c:v>
                </c:pt>
                <c:pt idx="987">
                  <c:v>39.200000000000003</c:v>
                </c:pt>
                <c:pt idx="988">
                  <c:v>38.838624289800798</c:v>
                </c:pt>
                <c:pt idx="989">
                  <c:v>43.5</c:v>
                </c:pt>
                <c:pt idx="990">
                  <c:v>41.139096870000003</c:v>
                </c:pt>
                <c:pt idx="991">
                  <c:v>37.1</c:v>
                </c:pt>
                <c:pt idx="992">
                  <c:v>33.6</c:v>
                </c:pt>
                <c:pt idx="993">
                  <c:v>57</c:v>
                </c:pt>
                <c:pt idx="994">
                  <c:v>40.799999999999997</c:v>
                </c:pt>
                <c:pt idx="995">
                  <c:v>35.392445890119497</c:v>
                </c:pt>
                <c:pt idx="996">
                  <c:v>39.799999999999997</c:v>
                </c:pt>
                <c:pt idx="997">
                  <c:v>43.7</c:v>
                </c:pt>
                <c:pt idx="998">
                  <c:v>35.890452090493604</c:v>
                </c:pt>
                <c:pt idx="999">
                  <c:v>38.66391376</c:v>
                </c:pt>
                <c:pt idx="1000">
                  <c:v>42.2</c:v>
                </c:pt>
                <c:pt idx="1001">
                  <c:v>27.475645029999999</c:v>
                </c:pt>
                <c:pt idx="1002">
                  <c:v>38.1</c:v>
                </c:pt>
                <c:pt idx="1003">
                  <c:v>37.854823870923099</c:v>
                </c:pt>
                <c:pt idx="1004">
                  <c:v>44.5</c:v>
                </c:pt>
                <c:pt idx="1005">
                  <c:v>39.4</c:v>
                </c:pt>
                <c:pt idx="1006">
                  <c:v>36.1</c:v>
                </c:pt>
                <c:pt idx="1007">
                  <c:v>42.9</c:v>
                </c:pt>
                <c:pt idx="1008">
                  <c:v>43.1</c:v>
                </c:pt>
                <c:pt idx="1009">
                  <c:v>38.5</c:v>
                </c:pt>
                <c:pt idx="1010">
                  <c:v>41.7</c:v>
                </c:pt>
                <c:pt idx="1011">
                  <c:v>38.435059425217197</c:v>
                </c:pt>
                <c:pt idx="1012">
                  <c:v>39</c:v>
                </c:pt>
                <c:pt idx="1013">
                  <c:v>35.9231865</c:v>
                </c:pt>
                <c:pt idx="1014">
                  <c:v>40.799999999999997</c:v>
                </c:pt>
                <c:pt idx="1015">
                  <c:v>51.7</c:v>
                </c:pt>
                <c:pt idx="1016">
                  <c:v>43.5</c:v>
                </c:pt>
                <c:pt idx="1017">
                  <c:v>42.7</c:v>
                </c:pt>
                <c:pt idx="1018">
                  <c:v>34.5</c:v>
                </c:pt>
                <c:pt idx="1019">
                  <c:v>30.2589756459497</c:v>
                </c:pt>
                <c:pt idx="1020">
                  <c:v>35.5</c:v>
                </c:pt>
                <c:pt idx="1021">
                  <c:v>37.9</c:v>
                </c:pt>
                <c:pt idx="1022">
                  <c:v>35.700000000000003</c:v>
                </c:pt>
                <c:pt idx="1023">
                  <c:v>34.526003256283197</c:v>
                </c:pt>
                <c:pt idx="1024">
                  <c:v>48.899999999999899</c:v>
                </c:pt>
                <c:pt idx="1025">
                  <c:v>39.038872380000001</c:v>
                </c:pt>
                <c:pt idx="1026">
                  <c:v>35.1</c:v>
                </c:pt>
                <c:pt idx="1027">
                  <c:v>39.200000000000003</c:v>
                </c:pt>
                <c:pt idx="1028">
                  <c:v>36.6</c:v>
                </c:pt>
                <c:pt idx="1029">
                  <c:v>40.061568556696102</c:v>
                </c:pt>
                <c:pt idx="1030">
                  <c:v>39.6</c:v>
                </c:pt>
                <c:pt idx="1031">
                  <c:v>43</c:v>
                </c:pt>
                <c:pt idx="1032">
                  <c:v>33.799999999999997</c:v>
                </c:pt>
                <c:pt idx="1033">
                  <c:v>40.1</c:v>
                </c:pt>
                <c:pt idx="1034">
                  <c:v>42.4</c:v>
                </c:pt>
                <c:pt idx="1035">
                  <c:v>42.4</c:v>
                </c:pt>
                <c:pt idx="1036">
                  <c:v>36.1</c:v>
                </c:pt>
                <c:pt idx="1037">
                  <c:v>43.2</c:v>
                </c:pt>
                <c:pt idx="1038">
                  <c:v>44.4</c:v>
                </c:pt>
                <c:pt idx="1039">
                  <c:v>45.1</c:v>
                </c:pt>
                <c:pt idx="1040">
                  <c:v>35</c:v>
                </c:pt>
                <c:pt idx="1041">
                  <c:v>45.7</c:v>
                </c:pt>
                <c:pt idx="1042">
                  <c:v>47.2</c:v>
                </c:pt>
                <c:pt idx="1043">
                  <c:v>44.4</c:v>
                </c:pt>
                <c:pt idx="1044">
                  <c:v>42.1</c:v>
                </c:pt>
                <c:pt idx="1045">
                  <c:v>40.299999999999997</c:v>
                </c:pt>
                <c:pt idx="1046">
                  <c:v>23.3</c:v>
                </c:pt>
                <c:pt idx="1047">
                  <c:v>40.799999999999997</c:v>
                </c:pt>
                <c:pt idx="1048">
                  <c:v>43.9</c:v>
                </c:pt>
                <c:pt idx="1049">
                  <c:v>41.2</c:v>
                </c:pt>
                <c:pt idx="1050">
                  <c:v>41.9</c:v>
                </c:pt>
                <c:pt idx="1051">
                  <c:v>28</c:v>
                </c:pt>
                <c:pt idx="1052">
                  <c:v>32.799999999999997</c:v>
                </c:pt>
                <c:pt idx="1053">
                  <c:v>38.9</c:v>
                </c:pt>
                <c:pt idx="1054">
                  <c:v>35.700000000000003</c:v>
                </c:pt>
                <c:pt idx="1055">
                  <c:v>39.9</c:v>
                </c:pt>
                <c:pt idx="1056">
                  <c:v>37.9</c:v>
                </c:pt>
                <c:pt idx="1057">
                  <c:v>41</c:v>
                </c:pt>
                <c:pt idx="1058">
                  <c:v>45.4</c:v>
                </c:pt>
                <c:pt idx="1059">
                  <c:v>42.6</c:v>
                </c:pt>
                <c:pt idx="1060">
                  <c:v>38.6</c:v>
                </c:pt>
                <c:pt idx="1061">
                  <c:v>40.299999999999997</c:v>
                </c:pt>
                <c:pt idx="1062">
                  <c:v>41.5</c:v>
                </c:pt>
                <c:pt idx="1063">
                  <c:v>47.6</c:v>
                </c:pt>
                <c:pt idx="1064">
                  <c:v>44</c:v>
                </c:pt>
                <c:pt idx="1065">
                  <c:v>34.799999999999997</c:v>
                </c:pt>
                <c:pt idx="1066">
                  <c:v>42.372278749725403</c:v>
                </c:pt>
                <c:pt idx="1067">
                  <c:v>34.886446861486</c:v>
                </c:pt>
                <c:pt idx="1068">
                  <c:v>46.8</c:v>
                </c:pt>
                <c:pt idx="1069">
                  <c:v>40.700000000000003</c:v>
                </c:pt>
                <c:pt idx="1070">
                  <c:v>38.299999999999898</c:v>
                </c:pt>
                <c:pt idx="1071">
                  <c:v>36.6</c:v>
                </c:pt>
                <c:pt idx="1072">
                  <c:v>41.1</c:v>
                </c:pt>
                <c:pt idx="1073">
                  <c:v>40.040652080000001</c:v>
                </c:pt>
                <c:pt idx="1074">
                  <c:v>37.700000000000003</c:v>
                </c:pt>
                <c:pt idx="1075">
                  <c:v>40.5</c:v>
                </c:pt>
                <c:pt idx="1076">
                  <c:v>36.200000000000003</c:v>
                </c:pt>
                <c:pt idx="1077">
                  <c:v>41.6</c:v>
                </c:pt>
                <c:pt idx="1078">
                  <c:v>41.1</c:v>
                </c:pt>
                <c:pt idx="1079">
                  <c:v>36.200000000000003</c:v>
                </c:pt>
                <c:pt idx="1080">
                  <c:v>41.3</c:v>
                </c:pt>
                <c:pt idx="1081">
                  <c:v>41.5</c:v>
                </c:pt>
                <c:pt idx="1082">
                  <c:v>35.853817133751903</c:v>
                </c:pt>
                <c:pt idx="1083">
                  <c:v>35.200000000000003</c:v>
                </c:pt>
                <c:pt idx="1084">
                  <c:v>37.364710664300098</c:v>
                </c:pt>
                <c:pt idx="1085">
                  <c:v>50.8</c:v>
                </c:pt>
                <c:pt idx="1086">
                  <c:v>34.200000000000003</c:v>
                </c:pt>
                <c:pt idx="1087">
                  <c:v>36.6</c:v>
                </c:pt>
                <c:pt idx="1088">
                  <c:v>40.1</c:v>
                </c:pt>
                <c:pt idx="1089">
                  <c:v>39.1</c:v>
                </c:pt>
                <c:pt idx="1090">
                  <c:v>36.799999999999997</c:v>
                </c:pt>
                <c:pt idx="1091">
                  <c:v>47</c:v>
                </c:pt>
                <c:pt idx="1092">
                  <c:v>40.799999999999997</c:v>
                </c:pt>
                <c:pt idx="1093">
                  <c:v>40.200000000000003</c:v>
                </c:pt>
                <c:pt idx="1094">
                  <c:v>41.2</c:v>
                </c:pt>
                <c:pt idx="1095">
                  <c:v>38.5</c:v>
                </c:pt>
                <c:pt idx="1096">
                  <c:v>38.299999999999997</c:v>
                </c:pt>
                <c:pt idx="1097">
                  <c:v>36.9</c:v>
                </c:pt>
                <c:pt idx="1098">
                  <c:v>44.1</c:v>
                </c:pt>
                <c:pt idx="1099">
                  <c:v>25.8</c:v>
                </c:pt>
                <c:pt idx="1100">
                  <c:v>43.4</c:v>
                </c:pt>
                <c:pt idx="1101">
                  <c:v>39</c:v>
                </c:pt>
                <c:pt idx="1102">
                  <c:v>45.8</c:v>
                </c:pt>
                <c:pt idx="1103">
                  <c:v>40.1</c:v>
                </c:pt>
                <c:pt idx="1104">
                  <c:v>32</c:v>
                </c:pt>
                <c:pt idx="1105">
                  <c:v>36.6</c:v>
                </c:pt>
                <c:pt idx="1106">
                  <c:v>40.700000000000003</c:v>
                </c:pt>
                <c:pt idx="1107">
                  <c:v>41.8</c:v>
                </c:pt>
                <c:pt idx="1108">
                  <c:v>42.7</c:v>
                </c:pt>
                <c:pt idx="1109">
                  <c:v>30.810997558203098</c:v>
                </c:pt>
                <c:pt idx="1110">
                  <c:v>37.5</c:v>
                </c:pt>
                <c:pt idx="1111">
                  <c:v>29.3</c:v>
                </c:pt>
                <c:pt idx="1112">
                  <c:v>35.6</c:v>
                </c:pt>
                <c:pt idx="1113">
                  <c:v>36.299999999999997</c:v>
                </c:pt>
                <c:pt idx="1114">
                  <c:v>42.4</c:v>
                </c:pt>
                <c:pt idx="1115">
                  <c:v>35</c:v>
                </c:pt>
                <c:pt idx="1116">
                  <c:v>42.6</c:v>
                </c:pt>
                <c:pt idx="1117">
                  <c:v>32.9</c:v>
                </c:pt>
                <c:pt idx="1118">
                  <c:v>41.1</c:v>
                </c:pt>
                <c:pt idx="1119">
                  <c:v>40.4</c:v>
                </c:pt>
                <c:pt idx="1120">
                  <c:v>41.7</c:v>
                </c:pt>
                <c:pt idx="1121">
                  <c:v>39.6</c:v>
                </c:pt>
                <c:pt idx="1122">
                  <c:v>40.5</c:v>
                </c:pt>
                <c:pt idx="1123">
                  <c:v>40.799999999999997</c:v>
                </c:pt>
                <c:pt idx="1124">
                  <c:v>39.4</c:v>
                </c:pt>
                <c:pt idx="1125">
                  <c:v>47.5</c:v>
                </c:pt>
                <c:pt idx="1126">
                  <c:v>49.5</c:v>
                </c:pt>
                <c:pt idx="1127">
                  <c:v>40.992272941811002</c:v>
                </c:pt>
                <c:pt idx="1128">
                  <c:v>39.616337520000002</c:v>
                </c:pt>
                <c:pt idx="1129">
                  <c:v>44.8</c:v>
                </c:pt>
                <c:pt idx="1130">
                  <c:v>42.8618752313957</c:v>
                </c:pt>
                <c:pt idx="1131">
                  <c:v>43.6</c:v>
                </c:pt>
                <c:pt idx="1132">
                  <c:v>25.5</c:v>
                </c:pt>
                <c:pt idx="1133">
                  <c:v>41.220908861896298</c:v>
                </c:pt>
                <c:pt idx="1134">
                  <c:v>43.1</c:v>
                </c:pt>
                <c:pt idx="1135">
                  <c:v>37.5</c:v>
                </c:pt>
                <c:pt idx="1136">
                  <c:v>43.199837069305502</c:v>
                </c:pt>
                <c:pt idx="1137">
                  <c:v>41.8</c:v>
                </c:pt>
                <c:pt idx="1138">
                  <c:v>44.3</c:v>
                </c:pt>
                <c:pt idx="1139">
                  <c:v>35.799999999999997</c:v>
                </c:pt>
                <c:pt idx="1140">
                  <c:v>39.6</c:v>
                </c:pt>
                <c:pt idx="1141">
                  <c:v>42.8</c:v>
                </c:pt>
                <c:pt idx="1142">
                  <c:v>37.536961228908702</c:v>
                </c:pt>
                <c:pt idx="1143">
                  <c:v>41.2</c:v>
                </c:pt>
                <c:pt idx="1144">
                  <c:v>34.6</c:v>
                </c:pt>
                <c:pt idx="1145">
                  <c:v>39.6</c:v>
                </c:pt>
                <c:pt idx="1146">
                  <c:v>37.700000000000003</c:v>
                </c:pt>
                <c:pt idx="1147">
                  <c:v>44.1</c:v>
                </c:pt>
                <c:pt idx="1148">
                  <c:v>48</c:v>
                </c:pt>
                <c:pt idx="1149">
                  <c:v>36.764831912497897</c:v>
                </c:pt>
                <c:pt idx="1150">
                  <c:v>41.9</c:v>
                </c:pt>
                <c:pt idx="1151">
                  <c:v>40.9</c:v>
                </c:pt>
                <c:pt idx="1152">
                  <c:v>40.200000000000003</c:v>
                </c:pt>
                <c:pt idx="1153">
                  <c:v>44.2</c:v>
                </c:pt>
                <c:pt idx="1154">
                  <c:v>35.912872388011998</c:v>
                </c:pt>
                <c:pt idx="1155">
                  <c:v>40.200000000000003</c:v>
                </c:pt>
                <c:pt idx="1156">
                  <c:v>45</c:v>
                </c:pt>
                <c:pt idx="1157">
                  <c:v>39.799999999999997</c:v>
                </c:pt>
                <c:pt idx="1158">
                  <c:v>37.200000000000003</c:v>
                </c:pt>
                <c:pt idx="1159">
                  <c:v>44.2</c:v>
                </c:pt>
                <c:pt idx="1160">
                  <c:v>42.8</c:v>
                </c:pt>
                <c:pt idx="1161">
                  <c:v>42.4</c:v>
                </c:pt>
                <c:pt idx="1162">
                  <c:v>41.5</c:v>
                </c:pt>
                <c:pt idx="1163">
                  <c:v>47.5</c:v>
                </c:pt>
                <c:pt idx="1164">
                  <c:v>41.8</c:v>
                </c:pt>
                <c:pt idx="1165">
                  <c:v>42.6</c:v>
                </c:pt>
                <c:pt idx="1166">
                  <c:v>38.200000000000003</c:v>
                </c:pt>
                <c:pt idx="1167">
                  <c:v>45.3</c:v>
                </c:pt>
                <c:pt idx="1168">
                  <c:v>45.6</c:v>
                </c:pt>
                <c:pt idx="1169">
                  <c:v>56.8</c:v>
                </c:pt>
                <c:pt idx="1170">
                  <c:v>41.9</c:v>
                </c:pt>
                <c:pt idx="1171">
                  <c:v>45.1</c:v>
                </c:pt>
                <c:pt idx="1172">
                  <c:v>39.1</c:v>
                </c:pt>
                <c:pt idx="1173">
                  <c:v>41.2</c:v>
                </c:pt>
                <c:pt idx="1174">
                  <c:v>42.5</c:v>
                </c:pt>
                <c:pt idx="1175">
                  <c:v>44.4</c:v>
                </c:pt>
                <c:pt idx="1176">
                  <c:v>32.9</c:v>
                </c:pt>
                <c:pt idx="1177">
                  <c:v>41.9</c:v>
                </c:pt>
                <c:pt idx="1178">
                  <c:v>41.4</c:v>
                </c:pt>
                <c:pt idx="1179">
                  <c:v>46.4</c:v>
                </c:pt>
                <c:pt idx="1180">
                  <c:v>35</c:v>
                </c:pt>
                <c:pt idx="1181">
                  <c:v>45.328179851778302</c:v>
                </c:pt>
                <c:pt idx="1182">
                  <c:v>50.6</c:v>
                </c:pt>
                <c:pt idx="1183">
                  <c:v>39.1</c:v>
                </c:pt>
                <c:pt idx="1184">
                  <c:v>41.4</c:v>
                </c:pt>
                <c:pt idx="1185">
                  <c:v>40.1</c:v>
                </c:pt>
                <c:pt idx="1186">
                  <c:v>40</c:v>
                </c:pt>
                <c:pt idx="1187">
                  <c:v>34.5</c:v>
                </c:pt>
                <c:pt idx="1188">
                  <c:v>40.1</c:v>
                </c:pt>
                <c:pt idx="1189">
                  <c:v>34.200000000000003</c:v>
                </c:pt>
                <c:pt idx="1190">
                  <c:v>39.6</c:v>
                </c:pt>
                <c:pt idx="1191">
                  <c:v>33.6</c:v>
                </c:pt>
                <c:pt idx="1192">
                  <c:v>35.799999999999997</c:v>
                </c:pt>
                <c:pt idx="1193">
                  <c:v>43.6</c:v>
                </c:pt>
                <c:pt idx="1194">
                  <c:v>44.1</c:v>
                </c:pt>
                <c:pt idx="1195">
                  <c:v>34</c:v>
                </c:pt>
                <c:pt idx="1196">
                  <c:v>40.5</c:v>
                </c:pt>
                <c:pt idx="1197">
                  <c:v>36.9</c:v>
                </c:pt>
                <c:pt idx="1198">
                  <c:v>41.5</c:v>
                </c:pt>
                <c:pt idx="1199">
                  <c:v>48.4</c:v>
                </c:pt>
                <c:pt idx="1200">
                  <c:v>41.6</c:v>
                </c:pt>
                <c:pt idx="1201">
                  <c:v>41.6</c:v>
                </c:pt>
                <c:pt idx="1202">
                  <c:v>42.2</c:v>
                </c:pt>
                <c:pt idx="1203">
                  <c:v>38.349012435991199</c:v>
                </c:pt>
                <c:pt idx="1204">
                  <c:v>44.1</c:v>
                </c:pt>
                <c:pt idx="1205">
                  <c:v>39.5</c:v>
                </c:pt>
                <c:pt idx="1206">
                  <c:v>39.299999999999997</c:v>
                </c:pt>
                <c:pt idx="1207">
                  <c:v>48.3</c:v>
                </c:pt>
                <c:pt idx="1208">
                  <c:v>43.1</c:v>
                </c:pt>
                <c:pt idx="1209">
                  <c:v>40.299999999999997</c:v>
                </c:pt>
                <c:pt idx="1210">
                  <c:v>44.9</c:v>
                </c:pt>
                <c:pt idx="1211">
                  <c:v>40.299999999999997</c:v>
                </c:pt>
                <c:pt idx="1212">
                  <c:v>41.899999999999899</c:v>
                </c:pt>
                <c:pt idx="1213">
                  <c:v>48.6</c:v>
                </c:pt>
                <c:pt idx="1214">
                  <c:v>35.385460476681203</c:v>
                </c:pt>
                <c:pt idx="1215">
                  <c:v>31.8</c:v>
                </c:pt>
                <c:pt idx="1216">
                  <c:v>37.5</c:v>
                </c:pt>
                <c:pt idx="1217">
                  <c:v>42.7</c:v>
                </c:pt>
                <c:pt idx="1218">
                  <c:v>42.5</c:v>
                </c:pt>
                <c:pt idx="1219">
                  <c:v>44.3</c:v>
                </c:pt>
                <c:pt idx="1220">
                  <c:v>40.5</c:v>
                </c:pt>
                <c:pt idx="1221">
                  <c:v>40.4</c:v>
                </c:pt>
                <c:pt idx="1222">
                  <c:v>45.2</c:v>
                </c:pt>
                <c:pt idx="1223">
                  <c:v>46.5</c:v>
                </c:pt>
                <c:pt idx="1224">
                  <c:v>35.9</c:v>
                </c:pt>
                <c:pt idx="1225">
                  <c:v>38.799999999999997</c:v>
                </c:pt>
                <c:pt idx="1226">
                  <c:v>42.4</c:v>
                </c:pt>
                <c:pt idx="1227">
                  <c:v>40.5</c:v>
                </c:pt>
                <c:pt idx="1228">
                  <c:v>41.1</c:v>
                </c:pt>
                <c:pt idx="1229">
                  <c:v>41.6</c:v>
                </c:pt>
                <c:pt idx="1230">
                  <c:v>38.299999999999997</c:v>
                </c:pt>
                <c:pt idx="1231">
                  <c:v>44.5</c:v>
                </c:pt>
                <c:pt idx="1232">
                  <c:v>41.7</c:v>
                </c:pt>
                <c:pt idx="1233">
                  <c:v>43.4</c:v>
                </c:pt>
                <c:pt idx="1234">
                  <c:v>39.6</c:v>
                </c:pt>
                <c:pt idx="1235">
                  <c:v>52.1</c:v>
                </c:pt>
                <c:pt idx="1236">
                  <c:v>46</c:v>
                </c:pt>
                <c:pt idx="1237">
                  <c:v>37.9</c:v>
                </c:pt>
                <c:pt idx="1238">
                  <c:v>45.9</c:v>
                </c:pt>
                <c:pt idx="1239">
                  <c:v>37.9</c:v>
                </c:pt>
                <c:pt idx="1240">
                  <c:v>38.299999999999997</c:v>
                </c:pt>
                <c:pt idx="1241">
                  <c:v>38.5</c:v>
                </c:pt>
                <c:pt idx="1242">
                  <c:v>37.9</c:v>
                </c:pt>
                <c:pt idx="1243">
                  <c:v>39.1</c:v>
                </c:pt>
                <c:pt idx="1244">
                  <c:v>29</c:v>
                </c:pt>
                <c:pt idx="1245">
                  <c:v>37.1</c:v>
                </c:pt>
                <c:pt idx="1246">
                  <c:v>43.7</c:v>
                </c:pt>
                <c:pt idx="1247">
                  <c:v>45.9</c:v>
                </c:pt>
                <c:pt idx="1248">
                  <c:v>37.799999999999997</c:v>
                </c:pt>
                <c:pt idx="1249">
                  <c:v>41.6</c:v>
                </c:pt>
                <c:pt idx="1250">
                  <c:v>33.200000000000003</c:v>
                </c:pt>
                <c:pt idx="1251">
                  <c:v>45.799999999999898</c:v>
                </c:pt>
                <c:pt idx="1252">
                  <c:v>38</c:v>
                </c:pt>
                <c:pt idx="1253">
                  <c:v>42.4</c:v>
                </c:pt>
                <c:pt idx="1254">
                  <c:v>43</c:v>
                </c:pt>
                <c:pt idx="1255">
                  <c:v>39.9</c:v>
                </c:pt>
                <c:pt idx="1256">
                  <c:v>40.299999999999997</c:v>
                </c:pt>
                <c:pt idx="1257">
                  <c:v>43.8</c:v>
                </c:pt>
                <c:pt idx="1258">
                  <c:v>41.848374927452099</c:v>
                </c:pt>
                <c:pt idx="1259">
                  <c:v>35.558783095723001</c:v>
                </c:pt>
                <c:pt idx="1260">
                  <c:v>41</c:v>
                </c:pt>
                <c:pt idx="1261">
                  <c:v>41.6</c:v>
                </c:pt>
                <c:pt idx="1262">
                  <c:v>46.4</c:v>
                </c:pt>
                <c:pt idx="1263">
                  <c:v>37.5</c:v>
                </c:pt>
                <c:pt idx="1264">
                  <c:v>46.9</c:v>
                </c:pt>
                <c:pt idx="1265">
                  <c:v>34.4</c:v>
                </c:pt>
                <c:pt idx="1266">
                  <c:v>42.6</c:v>
                </c:pt>
                <c:pt idx="1267">
                  <c:v>39.700000000000003</c:v>
                </c:pt>
                <c:pt idx="1268">
                  <c:v>45.1</c:v>
                </c:pt>
                <c:pt idx="1269">
                  <c:v>37.700000000000003</c:v>
                </c:pt>
                <c:pt idx="1270">
                  <c:v>33.200000000000003</c:v>
                </c:pt>
                <c:pt idx="1271">
                  <c:v>40.799999999999997</c:v>
                </c:pt>
                <c:pt idx="1272">
                  <c:v>39.9</c:v>
                </c:pt>
                <c:pt idx="1273">
                  <c:v>42.8</c:v>
                </c:pt>
                <c:pt idx="1274">
                  <c:v>43</c:v>
                </c:pt>
                <c:pt idx="1275">
                  <c:v>46.2</c:v>
                </c:pt>
                <c:pt idx="1276">
                  <c:v>45.4</c:v>
                </c:pt>
                <c:pt idx="1277">
                  <c:v>40.6</c:v>
                </c:pt>
                <c:pt idx="1278">
                  <c:v>36.299999999999997</c:v>
                </c:pt>
                <c:pt idx="1279">
                  <c:v>40.6</c:v>
                </c:pt>
                <c:pt idx="1280">
                  <c:v>38.6</c:v>
                </c:pt>
                <c:pt idx="1281">
                  <c:v>39.700000000000003</c:v>
                </c:pt>
                <c:pt idx="1282">
                  <c:v>39.570391435662799</c:v>
                </c:pt>
                <c:pt idx="1283">
                  <c:v>45.5</c:v>
                </c:pt>
                <c:pt idx="1284">
                  <c:v>46.7</c:v>
                </c:pt>
                <c:pt idx="1285">
                  <c:v>37.1</c:v>
                </c:pt>
                <c:pt idx="1286">
                  <c:v>46.9</c:v>
                </c:pt>
                <c:pt idx="1287">
                  <c:v>25.3</c:v>
                </c:pt>
                <c:pt idx="1288">
                  <c:v>41.2</c:v>
                </c:pt>
                <c:pt idx="1289">
                  <c:v>28.4</c:v>
                </c:pt>
                <c:pt idx="1290">
                  <c:v>37.799999999999997</c:v>
                </c:pt>
                <c:pt idx="1291">
                  <c:v>56.6</c:v>
                </c:pt>
                <c:pt idx="1292">
                  <c:v>41.4</c:v>
                </c:pt>
                <c:pt idx="1293">
                  <c:v>41.299999999999898</c:v>
                </c:pt>
                <c:pt idx="1294">
                  <c:v>40.087883548983299</c:v>
                </c:pt>
                <c:pt idx="1295">
                  <c:v>37.1</c:v>
                </c:pt>
                <c:pt idx="1296">
                  <c:v>41.7</c:v>
                </c:pt>
                <c:pt idx="1297">
                  <c:v>42.7</c:v>
                </c:pt>
                <c:pt idx="1298">
                  <c:v>45.9</c:v>
                </c:pt>
                <c:pt idx="1299">
                  <c:v>37</c:v>
                </c:pt>
                <c:pt idx="1300">
                  <c:v>52.1</c:v>
                </c:pt>
                <c:pt idx="1301">
                  <c:v>45.654342710000002</c:v>
                </c:pt>
                <c:pt idx="1302">
                  <c:v>39.799999999999997</c:v>
                </c:pt>
                <c:pt idx="1303">
                  <c:v>41.4</c:v>
                </c:pt>
                <c:pt idx="1304">
                  <c:v>38.658156037620103</c:v>
                </c:pt>
                <c:pt idx="1305">
                  <c:v>49.5</c:v>
                </c:pt>
                <c:pt idx="1306">
                  <c:v>46.7</c:v>
                </c:pt>
                <c:pt idx="1307">
                  <c:v>50.2</c:v>
                </c:pt>
                <c:pt idx="1308">
                  <c:v>46.5</c:v>
                </c:pt>
                <c:pt idx="1309">
                  <c:v>44.1</c:v>
                </c:pt>
                <c:pt idx="1310">
                  <c:v>45</c:v>
                </c:pt>
                <c:pt idx="1311">
                  <c:v>42.6</c:v>
                </c:pt>
                <c:pt idx="1312">
                  <c:v>37.496524457521097</c:v>
                </c:pt>
                <c:pt idx="1313">
                  <c:v>39.9</c:v>
                </c:pt>
                <c:pt idx="1314">
                  <c:v>48.4</c:v>
                </c:pt>
                <c:pt idx="1315">
                  <c:v>39.799999999999997</c:v>
                </c:pt>
                <c:pt idx="1316">
                  <c:v>45.7</c:v>
                </c:pt>
                <c:pt idx="1317">
                  <c:v>36.205013758175099</c:v>
                </c:pt>
                <c:pt idx="1318">
                  <c:v>34.700000000000003</c:v>
                </c:pt>
                <c:pt idx="1319">
                  <c:v>40.700000000000003</c:v>
                </c:pt>
                <c:pt idx="1320">
                  <c:v>30</c:v>
                </c:pt>
                <c:pt idx="1321">
                  <c:v>47.8</c:v>
                </c:pt>
                <c:pt idx="1322">
                  <c:v>41.470753522241502</c:v>
                </c:pt>
                <c:pt idx="1323">
                  <c:v>35.4</c:v>
                </c:pt>
                <c:pt idx="1324">
                  <c:v>41.1</c:v>
                </c:pt>
                <c:pt idx="1325">
                  <c:v>49.8</c:v>
                </c:pt>
                <c:pt idx="1326">
                  <c:v>41.6</c:v>
                </c:pt>
                <c:pt idx="1327">
                  <c:v>40.6</c:v>
                </c:pt>
                <c:pt idx="1328">
                  <c:v>35.4</c:v>
                </c:pt>
                <c:pt idx="1329">
                  <c:v>30.9</c:v>
                </c:pt>
                <c:pt idx="1330">
                  <c:v>42.4</c:v>
                </c:pt>
                <c:pt idx="1331">
                  <c:v>40.200000000000003</c:v>
                </c:pt>
                <c:pt idx="1332">
                  <c:v>40.299999999999997</c:v>
                </c:pt>
                <c:pt idx="1333">
                  <c:v>41.3</c:v>
                </c:pt>
                <c:pt idx="1334">
                  <c:v>35.5</c:v>
                </c:pt>
                <c:pt idx="1335">
                  <c:v>40.473138212516503</c:v>
                </c:pt>
                <c:pt idx="1336">
                  <c:v>38.700000000000003</c:v>
                </c:pt>
                <c:pt idx="1337">
                  <c:v>35.700000000000003</c:v>
                </c:pt>
                <c:pt idx="1338">
                  <c:v>38.4</c:v>
                </c:pt>
                <c:pt idx="1339">
                  <c:v>41.9</c:v>
                </c:pt>
                <c:pt idx="1340">
                  <c:v>33.700000000000003</c:v>
                </c:pt>
                <c:pt idx="1341">
                  <c:v>42.933766802782998</c:v>
                </c:pt>
                <c:pt idx="1342">
                  <c:v>40.6</c:v>
                </c:pt>
                <c:pt idx="1343">
                  <c:v>38.6</c:v>
                </c:pt>
                <c:pt idx="1344">
                  <c:v>50.3</c:v>
                </c:pt>
                <c:pt idx="1345">
                  <c:v>38.200000000000003</c:v>
                </c:pt>
                <c:pt idx="1346">
                  <c:v>47.4</c:v>
                </c:pt>
                <c:pt idx="1347">
                  <c:v>42.2</c:v>
                </c:pt>
                <c:pt idx="1348">
                  <c:v>43.2</c:v>
                </c:pt>
                <c:pt idx="1349">
                  <c:v>43.060038295835298</c:v>
                </c:pt>
                <c:pt idx="1350">
                  <c:v>34.200000000000003</c:v>
                </c:pt>
                <c:pt idx="1351">
                  <c:v>39</c:v>
                </c:pt>
                <c:pt idx="1352">
                  <c:v>41.1</c:v>
                </c:pt>
                <c:pt idx="1353">
                  <c:v>42.1</c:v>
                </c:pt>
                <c:pt idx="1354">
                  <c:v>44.3</c:v>
                </c:pt>
                <c:pt idx="1355">
                  <c:v>42.5</c:v>
                </c:pt>
                <c:pt idx="1356">
                  <c:v>40.763677094341197</c:v>
                </c:pt>
                <c:pt idx="1357">
                  <c:v>40.4</c:v>
                </c:pt>
                <c:pt idx="1358">
                  <c:v>43.7</c:v>
                </c:pt>
                <c:pt idx="1359">
                  <c:v>45.5</c:v>
                </c:pt>
                <c:pt idx="1360">
                  <c:v>38.1</c:v>
                </c:pt>
                <c:pt idx="1361">
                  <c:v>42.5</c:v>
                </c:pt>
                <c:pt idx="1362">
                  <c:v>44.2</c:v>
                </c:pt>
                <c:pt idx="1363">
                  <c:v>40.5</c:v>
                </c:pt>
                <c:pt idx="1364">
                  <c:v>34.6</c:v>
                </c:pt>
                <c:pt idx="1365">
                  <c:v>37</c:v>
                </c:pt>
                <c:pt idx="1366">
                  <c:v>42.1</c:v>
                </c:pt>
                <c:pt idx="1367">
                  <c:v>43.9</c:v>
                </c:pt>
                <c:pt idx="1368">
                  <c:v>40.516932927502403</c:v>
                </c:pt>
                <c:pt idx="1369">
                  <c:v>39.4</c:v>
                </c:pt>
                <c:pt idx="1370">
                  <c:v>39.6</c:v>
                </c:pt>
                <c:pt idx="1371">
                  <c:v>29.807690220227499</c:v>
                </c:pt>
                <c:pt idx="1372">
                  <c:v>44.8</c:v>
                </c:pt>
                <c:pt idx="1373">
                  <c:v>41.9</c:v>
                </c:pt>
                <c:pt idx="1374">
                  <c:v>40.6</c:v>
                </c:pt>
                <c:pt idx="1375">
                  <c:v>41.4</c:v>
                </c:pt>
                <c:pt idx="1376">
                  <c:v>36.4</c:v>
                </c:pt>
                <c:pt idx="1377">
                  <c:v>43.7</c:v>
                </c:pt>
                <c:pt idx="1378">
                  <c:v>37.9</c:v>
                </c:pt>
                <c:pt idx="1379">
                  <c:v>39</c:v>
                </c:pt>
                <c:pt idx="1380">
                  <c:v>42.9</c:v>
                </c:pt>
                <c:pt idx="1381">
                  <c:v>51.3</c:v>
                </c:pt>
                <c:pt idx="1382">
                  <c:v>39</c:v>
                </c:pt>
                <c:pt idx="1383">
                  <c:v>33.582579111248101</c:v>
                </c:pt>
                <c:pt idx="1384">
                  <c:v>37.799999999999997</c:v>
                </c:pt>
                <c:pt idx="1385">
                  <c:v>43.8</c:v>
                </c:pt>
                <c:pt idx="1386">
                  <c:v>49.3</c:v>
                </c:pt>
                <c:pt idx="1387">
                  <c:v>42.3</c:v>
                </c:pt>
                <c:pt idx="1388">
                  <c:v>39.9</c:v>
                </c:pt>
                <c:pt idx="1389">
                  <c:v>38.1541096451692</c:v>
                </c:pt>
                <c:pt idx="1390">
                  <c:v>39.1</c:v>
                </c:pt>
                <c:pt idx="1391">
                  <c:v>39.9</c:v>
                </c:pt>
                <c:pt idx="1392">
                  <c:v>48.1</c:v>
                </c:pt>
                <c:pt idx="1393">
                  <c:v>49.3</c:v>
                </c:pt>
                <c:pt idx="1394">
                  <c:v>45.7</c:v>
                </c:pt>
                <c:pt idx="1395">
                  <c:v>45.7</c:v>
                </c:pt>
                <c:pt idx="1396">
                  <c:v>47.4</c:v>
                </c:pt>
                <c:pt idx="1397">
                  <c:v>45.5</c:v>
                </c:pt>
                <c:pt idx="1398">
                  <c:v>44.8</c:v>
                </c:pt>
                <c:pt idx="1399">
                  <c:v>41</c:v>
                </c:pt>
                <c:pt idx="1400">
                  <c:v>36.5</c:v>
                </c:pt>
                <c:pt idx="1401">
                  <c:v>38.299999999999997</c:v>
                </c:pt>
                <c:pt idx="1402">
                  <c:v>40.4</c:v>
                </c:pt>
                <c:pt idx="1403">
                  <c:v>45.6</c:v>
                </c:pt>
                <c:pt idx="1404">
                  <c:v>41</c:v>
                </c:pt>
                <c:pt idx="1405">
                  <c:v>35.299999999999997</c:v>
                </c:pt>
                <c:pt idx="1406">
                  <c:v>33.700000000000003</c:v>
                </c:pt>
                <c:pt idx="1407">
                  <c:v>42.7</c:v>
                </c:pt>
                <c:pt idx="1408">
                  <c:v>43.102068789808897</c:v>
                </c:pt>
                <c:pt idx="1409">
                  <c:v>38.9</c:v>
                </c:pt>
                <c:pt idx="1410">
                  <c:v>39.4</c:v>
                </c:pt>
                <c:pt idx="1411">
                  <c:v>37.700000000000003</c:v>
                </c:pt>
                <c:pt idx="1412">
                  <c:v>46.9</c:v>
                </c:pt>
                <c:pt idx="1413">
                  <c:v>36.299999999999997</c:v>
                </c:pt>
                <c:pt idx="1414">
                  <c:v>46.9</c:v>
                </c:pt>
                <c:pt idx="1415">
                  <c:v>37</c:v>
                </c:pt>
                <c:pt idx="1416">
                  <c:v>29.574555111943301</c:v>
                </c:pt>
                <c:pt idx="1417">
                  <c:v>44.399999999999899</c:v>
                </c:pt>
                <c:pt idx="1418">
                  <c:v>37</c:v>
                </c:pt>
                <c:pt idx="1419">
                  <c:v>45.6</c:v>
                </c:pt>
                <c:pt idx="1420">
                  <c:v>42.2</c:v>
                </c:pt>
                <c:pt idx="1421">
                  <c:v>37.700000000000003</c:v>
                </c:pt>
                <c:pt idx="1422">
                  <c:v>38.1</c:v>
                </c:pt>
                <c:pt idx="1423">
                  <c:v>45.6</c:v>
                </c:pt>
                <c:pt idx="1424">
                  <c:v>42.7</c:v>
                </c:pt>
                <c:pt idx="1425">
                  <c:v>41.9</c:v>
                </c:pt>
                <c:pt idx="1426">
                  <c:v>42.9</c:v>
                </c:pt>
                <c:pt idx="1427">
                  <c:v>39.799999999999997</c:v>
                </c:pt>
                <c:pt idx="1428">
                  <c:v>40.299999999999997</c:v>
                </c:pt>
                <c:pt idx="1429">
                  <c:v>36.799999999999997</c:v>
                </c:pt>
                <c:pt idx="1430">
                  <c:v>39.5</c:v>
                </c:pt>
                <c:pt idx="1431">
                  <c:v>31.7</c:v>
                </c:pt>
                <c:pt idx="1432">
                  <c:v>42.1</c:v>
                </c:pt>
                <c:pt idx="1433">
                  <c:v>38.4</c:v>
                </c:pt>
                <c:pt idx="1434">
                  <c:v>34.200000000000003</c:v>
                </c:pt>
                <c:pt idx="1435">
                  <c:v>45.6</c:v>
                </c:pt>
                <c:pt idx="1436">
                  <c:v>43.7</c:v>
                </c:pt>
                <c:pt idx="1437">
                  <c:v>38.5</c:v>
                </c:pt>
                <c:pt idx="1438">
                  <c:v>35.1</c:v>
                </c:pt>
                <c:pt idx="1439">
                  <c:v>34</c:v>
                </c:pt>
                <c:pt idx="1440">
                  <c:v>39.5</c:v>
                </c:pt>
                <c:pt idx="1441">
                  <c:v>43.5</c:v>
                </c:pt>
                <c:pt idx="1442">
                  <c:v>38.9</c:v>
                </c:pt>
                <c:pt idx="1443">
                  <c:v>40</c:v>
                </c:pt>
                <c:pt idx="1444">
                  <c:v>39.1</c:v>
                </c:pt>
                <c:pt idx="1445">
                  <c:v>40.700000000000003</c:v>
                </c:pt>
                <c:pt idx="1446">
                  <c:v>39.299999999999997</c:v>
                </c:pt>
                <c:pt idx="1447">
                  <c:v>40.1</c:v>
                </c:pt>
                <c:pt idx="1448">
                  <c:v>38.299999999999997</c:v>
                </c:pt>
                <c:pt idx="1449">
                  <c:v>35</c:v>
                </c:pt>
                <c:pt idx="1450">
                  <c:v>40.5</c:v>
                </c:pt>
                <c:pt idx="1451">
                  <c:v>47</c:v>
                </c:pt>
                <c:pt idx="1452">
                  <c:v>39.1</c:v>
                </c:pt>
                <c:pt idx="1453">
                  <c:v>45.7</c:v>
                </c:pt>
                <c:pt idx="1454">
                  <c:v>46.1</c:v>
                </c:pt>
                <c:pt idx="1455">
                  <c:v>42.3</c:v>
                </c:pt>
                <c:pt idx="1456">
                  <c:v>37.9</c:v>
                </c:pt>
                <c:pt idx="1457">
                  <c:v>41.3</c:v>
                </c:pt>
                <c:pt idx="1458">
                  <c:v>50.2</c:v>
                </c:pt>
                <c:pt idx="1459">
                  <c:v>43.2</c:v>
                </c:pt>
                <c:pt idx="1460">
                  <c:v>40.700000000000003</c:v>
                </c:pt>
                <c:pt idx="1461">
                  <c:v>37</c:v>
                </c:pt>
                <c:pt idx="1462">
                  <c:v>39.5</c:v>
                </c:pt>
                <c:pt idx="1463">
                  <c:v>40.799999999999997</c:v>
                </c:pt>
                <c:pt idx="1464">
                  <c:v>36.5</c:v>
                </c:pt>
                <c:pt idx="1465">
                  <c:v>44.3</c:v>
                </c:pt>
                <c:pt idx="1466">
                  <c:v>35.4</c:v>
                </c:pt>
                <c:pt idx="1467">
                  <c:v>44.9</c:v>
                </c:pt>
                <c:pt idx="1468">
                  <c:v>42.9</c:v>
                </c:pt>
                <c:pt idx="1469">
                  <c:v>41.4</c:v>
                </c:pt>
                <c:pt idx="1470">
                  <c:v>39.799999999999997</c:v>
                </c:pt>
                <c:pt idx="1471">
                  <c:v>43.3</c:v>
                </c:pt>
                <c:pt idx="1472">
                  <c:v>39.700000000000003</c:v>
                </c:pt>
                <c:pt idx="1473">
                  <c:v>41.6</c:v>
                </c:pt>
                <c:pt idx="1474">
                  <c:v>41.1</c:v>
                </c:pt>
                <c:pt idx="1475">
                  <c:v>46.3</c:v>
                </c:pt>
                <c:pt idx="1476">
                  <c:v>41</c:v>
                </c:pt>
                <c:pt idx="1477">
                  <c:v>35.279324838760402</c:v>
                </c:pt>
                <c:pt idx="1478">
                  <c:v>42.8</c:v>
                </c:pt>
                <c:pt idx="1479">
                  <c:v>38.997529180000001</c:v>
                </c:pt>
                <c:pt idx="1480">
                  <c:v>43</c:v>
                </c:pt>
                <c:pt idx="1481">
                  <c:v>37.6</c:v>
                </c:pt>
                <c:pt idx="1482">
                  <c:v>40.9</c:v>
                </c:pt>
                <c:pt idx="1483">
                  <c:v>43.3</c:v>
                </c:pt>
                <c:pt idx="1484">
                  <c:v>45.1</c:v>
                </c:pt>
                <c:pt idx="1485">
                  <c:v>38.700000000000003</c:v>
                </c:pt>
                <c:pt idx="1486">
                  <c:v>41.6</c:v>
                </c:pt>
                <c:pt idx="1487">
                  <c:v>39.9</c:v>
                </c:pt>
                <c:pt idx="1488">
                  <c:v>42.6</c:v>
                </c:pt>
                <c:pt idx="1489">
                  <c:v>42.9</c:v>
                </c:pt>
                <c:pt idx="1490">
                  <c:v>30.2</c:v>
                </c:pt>
                <c:pt idx="1491">
                  <c:v>35.299999999999997</c:v>
                </c:pt>
                <c:pt idx="1492">
                  <c:v>40.799999999999997</c:v>
                </c:pt>
                <c:pt idx="1493">
                  <c:v>41.1</c:v>
                </c:pt>
                <c:pt idx="1494">
                  <c:v>46</c:v>
                </c:pt>
                <c:pt idx="1495">
                  <c:v>38.700000000000003</c:v>
                </c:pt>
                <c:pt idx="1496">
                  <c:v>35</c:v>
                </c:pt>
                <c:pt idx="1497">
                  <c:v>33.5</c:v>
                </c:pt>
                <c:pt idx="1498">
                  <c:v>36.631221402809899</c:v>
                </c:pt>
                <c:pt idx="1499">
                  <c:v>39.299999999999997</c:v>
                </c:pt>
                <c:pt idx="1500">
                  <c:v>24.9</c:v>
                </c:pt>
                <c:pt idx="1501">
                  <c:v>44.3</c:v>
                </c:pt>
                <c:pt idx="1502">
                  <c:v>38.084184638668098</c:v>
                </c:pt>
                <c:pt idx="1503">
                  <c:v>42</c:v>
                </c:pt>
                <c:pt idx="1504">
                  <c:v>39.9</c:v>
                </c:pt>
                <c:pt idx="1505">
                  <c:v>41.735823298561002</c:v>
                </c:pt>
                <c:pt idx="1506">
                  <c:v>46.4</c:v>
                </c:pt>
                <c:pt idx="1507">
                  <c:v>39.799999999999997</c:v>
                </c:pt>
                <c:pt idx="1508">
                  <c:v>38.200000000000003</c:v>
                </c:pt>
                <c:pt idx="1509">
                  <c:v>40.799999999999997</c:v>
                </c:pt>
                <c:pt idx="1510">
                  <c:v>42.5</c:v>
                </c:pt>
                <c:pt idx="1511">
                  <c:v>45.8</c:v>
                </c:pt>
                <c:pt idx="1512">
                  <c:v>47.2</c:v>
                </c:pt>
                <c:pt idx="1513">
                  <c:v>45.9</c:v>
                </c:pt>
                <c:pt idx="1514">
                  <c:v>35.1</c:v>
                </c:pt>
                <c:pt idx="1515">
                  <c:v>33.5</c:v>
                </c:pt>
                <c:pt idx="1516">
                  <c:v>44.1</c:v>
                </c:pt>
                <c:pt idx="1517">
                  <c:v>40.700000000000003</c:v>
                </c:pt>
                <c:pt idx="1518">
                  <c:v>38</c:v>
                </c:pt>
                <c:pt idx="1519">
                  <c:v>41.1</c:v>
                </c:pt>
                <c:pt idx="1520">
                  <c:v>43.6</c:v>
                </c:pt>
                <c:pt idx="1521">
                  <c:v>40.6</c:v>
                </c:pt>
                <c:pt idx="1522">
                  <c:v>41.5</c:v>
                </c:pt>
                <c:pt idx="1523">
                  <c:v>39.9</c:v>
                </c:pt>
                <c:pt idx="1524">
                  <c:v>42.1</c:v>
                </c:pt>
                <c:pt idx="1525">
                  <c:v>39.299999999999997</c:v>
                </c:pt>
                <c:pt idx="1526">
                  <c:v>39.5</c:v>
                </c:pt>
                <c:pt idx="1527">
                  <c:v>55.2</c:v>
                </c:pt>
                <c:pt idx="1528">
                  <c:v>39.799999999999997</c:v>
                </c:pt>
                <c:pt idx="1529">
                  <c:v>42.4</c:v>
                </c:pt>
                <c:pt idx="1530">
                  <c:v>42.3</c:v>
                </c:pt>
                <c:pt idx="1531">
                  <c:v>38.200000000000003</c:v>
                </c:pt>
                <c:pt idx="1532">
                  <c:v>42.6</c:v>
                </c:pt>
                <c:pt idx="1533">
                  <c:v>41.8</c:v>
                </c:pt>
                <c:pt idx="1534">
                  <c:v>43.799999999999898</c:v>
                </c:pt>
                <c:pt idx="1535">
                  <c:v>42.4</c:v>
                </c:pt>
                <c:pt idx="1536">
                  <c:v>36</c:v>
                </c:pt>
                <c:pt idx="1537">
                  <c:v>34.299999999999997</c:v>
                </c:pt>
                <c:pt idx="1538">
                  <c:v>41.8</c:v>
                </c:pt>
                <c:pt idx="1539">
                  <c:v>40.9</c:v>
                </c:pt>
                <c:pt idx="1540">
                  <c:v>35.700000000000003</c:v>
                </c:pt>
                <c:pt idx="1541">
                  <c:v>34.4</c:v>
                </c:pt>
                <c:pt idx="1542">
                  <c:v>40.200000000000003</c:v>
                </c:pt>
                <c:pt idx="1543">
                  <c:v>41.5</c:v>
                </c:pt>
                <c:pt idx="1544">
                  <c:v>38.5</c:v>
                </c:pt>
                <c:pt idx="1545">
                  <c:v>38.163753591702203</c:v>
                </c:pt>
                <c:pt idx="1546">
                  <c:v>44.4</c:v>
                </c:pt>
                <c:pt idx="1547">
                  <c:v>44.8</c:v>
                </c:pt>
                <c:pt idx="1548">
                  <c:v>35.799999999999997</c:v>
                </c:pt>
                <c:pt idx="1549">
                  <c:v>39.1</c:v>
                </c:pt>
                <c:pt idx="1550">
                  <c:v>34.459873151184098</c:v>
                </c:pt>
                <c:pt idx="1551">
                  <c:v>38.200000000000003</c:v>
                </c:pt>
                <c:pt idx="1552">
                  <c:v>35.296464211405102</c:v>
                </c:pt>
                <c:pt idx="1553">
                  <c:v>41.2</c:v>
                </c:pt>
                <c:pt idx="1554">
                  <c:v>36.299999999999997</c:v>
                </c:pt>
                <c:pt idx="1555">
                  <c:v>34</c:v>
                </c:pt>
                <c:pt idx="1556">
                  <c:v>50.1</c:v>
                </c:pt>
                <c:pt idx="1557">
                  <c:v>36.200000000000003</c:v>
                </c:pt>
                <c:pt idx="1558">
                  <c:v>33.700000000000003</c:v>
                </c:pt>
                <c:pt idx="1559">
                  <c:v>45.2</c:v>
                </c:pt>
                <c:pt idx="1560">
                  <c:v>37.5</c:v>
                </c:pt>
                <c:pt idx="1561">
                  <c:v>40.794438391525098</c:v>
                </c:pt>
                <c:pt idx="1562">
                  <c:v>37.299999999999997</c:v>
                </c:pt>
                <c:pt idx="1563">
                  <c:v>40.5</c:v>
                </c:pt>
                <c:pt idx="1564">
                  <c:v>35.700000000000003</c:v>
                </c:pt>
                <c:pt idx="1565">
                  <c:v>30.7</c:v>
                </c:pt>
                <c:pt idx="1566">
                  <c:v>37.6</c:v>
                </c:pt>
                <c:pt idx="1567">
                  <c:v>39.700000000000003</c:v>
                </c:pt>
                <c:pt idx="1568">
                  <c:v>35.700000000000003</c:v>
                </c:pt>
                <c:pt idx="1569">
                  <c:v>38.299999999999997</c:v>
                </c:pt>
                <c:pt idx="1570">
                  <c:v>46.8</c:v>
                </c:pt>
                <c:pt idx="1571">
                  <c:v>38.9</c:v>
                </c:pt>
                <c:pt idx="1572">
                  <c:v>40.700000000000003</c:v>
                </c:pt>
                <c:pt idx="1573">
                  <c:v>44.5</c:v>
                </c:pt>
                <c:pt idx="1574">
                  <c:v>42.2</c:v>
                </c:pt>
                <c:pt idx="1575">
                  <c:v>37.6</c:v>
                </c:pt>
                <c:pt idx="1576">
                  <c:v>38.1</c:v>
                </c:pt>
                <c:pt idx="1577">
                  <c:v>56.8</c:v>
                </c:pt>
                <c:pt idx="1578">
                  <c:v>31.2</c:v>
                </c:pt>
                <c:pt idx="1579">
                  <c:v>41.1</c:v>
                </c:pt>
                <c:pt idx="1580">
                  <c:v>36.253303015797002</c:v>
                </c:pt>
                <c:pt idx="1581">
                  <c:v>31.923266130629301</c:v>
                </c:pt>
                <c:pt idx="1582">
                  <c:v>38.299999999999997</c:v>
                </c:pt>
                <c:pt idx="1583">
                  <c:v>35.9</c:v>
                </c:pt>
                <c:pt idx="1584">
                  <c:v>39.4</c:v>
                </c:pt>
                <c:pt idx="1585">
                  <c:v>36.034927878062298</c:v>
                </c:pt>
                <c:pt idx="1586">
                  <c:v>35.9</c:v>
                </c:pt>
                <c:pt idx="1587">
                  <c:v>39.799999999999997</c:v>
                </c:pt>
                <c:pt idx="1588">
                  <c:v>36.1</c:v>
                </c:pt>
                <c:pt idx="1589">
                  <c:v>39.6</c:v>
                </c:pt>
                <c:pt idx="1590">
                  <c:v>38.133366696595402</c:v>
                </c:pt>
                <c:pt idx="1591">
                  <c:v>36.5</c:v>
                </c:pt>
                <c:pt idx="1592">
                  <c:v>36.9</c:v>
                </c:pt>
                <c:pt idx="1593">
                  <c:v>36.106018521481403</c:v>
                </c:pt>
                <c:pt idx="1594">
                  <c:v>37.2058694379391</c:v>
                </c:pt>
                <c:pt idx="1595">
                  <c:v>37.200000000000003</c:v>
                </c:pt>
                <c:pt idx="1596">
                  <c:v>35.4</c:v>
                </c:pt>
                <c:pt idx="1597">
                  <c:v>48.5</c:v>
                </c:pt>
                <c:pt idx="1598">
                  <c:v>41.322058884254801</c:v>
                </c:pt>
                <c:pt idx="1599">
                  <c:v>40</c:v>
                </c:pt>
                <c:pt idx="1600">
                  <c:v>42.3</c:v>
                </c:pt>
                <c:pt idx="1601">
                  <c:v>44.8</c:v>
                </c:pt>
                <c:pt idx="1602">
                  <c:v>37.5</c:v>
                </c:pt>
                <c:pt idx="1603">
                  <c:v>40.9</c:v>
                </c:pt>
                <c:pt idx="1604">
                  <c:v>42.7</c:v>
                </c:pt>
                <c:pt idx="1605">
                  <c:v>38.4</c:v>
                </c:pt>
                <c:pt idx="1606">
                  <c:v>42.763237196997999</c:v>
                </c:pt>
                <c:pt idx="1607">
                  <c:v>40</c:v>
                </c:pt>
                <c:pt idx="1608">
                  <c:v>35.197602739726001</c:v>
                </c:pt>
                <c:pt idx="1609">
                  <c:v>41.4</c:v>
                </c:pt>
                <c:pt idx="1610">
                  <c:v>31.7</c:v>
                </c:pt>
                <c:pt idx="1611">
                  <c:v>35.9</c:v>
                </c:pt>
                <c:pt idx="1612">
                  <c:v>37.9466046134309</c:v>
                </c:pt>
                <c:pt idx="1613">
                  <c:v>41.4</c:v>
                </c:pt>
                <c:pt idx="1614">
                  <c:v>41.5</c:v>
                </c:pt>
                <c:pt idx="1615">
                  <c:v>42.8</c:v>
                </c:pt>
                <c:pt idx="1616">
                  <c:v>43.5</c:v>
                </c:pt>
                <c:pt idx="1617">
                  <c:v>41.7</c:v>
                </c:pt>
                <c:pt idx="1618">
                  <c:v>37.5</c:v>
                </c:pt>
                <c:pt idx="1619">
                  <c:v>40.799999999999997</c:v>
                </c:pt>
                <c:pt idx="1620">
                  <c:v>38.5</c:v>
                </c:pt>
                <c:pt idx="1621">
                  <c:v>40.9</c:v>
                </c:pt>
                <c:pt idx="1622">
                  <c:v>35.200000000000003</c:v>
                </c:pt>
                <c:pt idx="1623">
                  <c:v>34.700000000000003</c:v>
                </c:pt>
                <c:pt idx="1624">
                  <c:v>43</c:v>
                </c:pt>
                <c:pt idx="1625">
                  <c:v>35.9</c:v>
                </c:pt>
                <c:pt idx="1626">
                  <c:v>36.4</c:v>
                </c:pt>
                <c:pt idx="1627">
                  <c:v>39.799999999999997</c:v>
                </c:pt>
                <c:pt idx="1628">
                  <c:v>27.8</c:v>
                </c:pt>
                <c:pt idx="1629">
                  <c:v>38.299999999999997</c:v>
                </c:pt>
                <c:pt idx="1630">
                  <c:v>40.4</c:v>
                </c:pt>
                <c:pt idx="1631">
                  <c:v>36.200000000000003</c:v>
                </c:pt>
                <c:pt idx="1632">
                  <c:v>39.9</c:v>
                </c:pt>
                <c:pt idx="1633">
                  <c:v>36.223772226507599</c:v>
                </c:pt>
                <c:pt idx="1634">
                  <c:v>39.171154280000003</c:v>
                </c:pt>
                <c:pt idx="1635">
                  <c:v>39.4</c:v>
                </c:pt>
                <c:pt idx="1636">
                  <c:v>44.9</c:v>
                </c:pt>
                <c:pt idx="1637">
                  <c:v>36</c:v>
                </c:pt>
                <c:pt idx="1638">
                  <c:v>36.1</c:v>
                </c:pt>
                <c:pt idx="1639">
                  <c:v>36.200000000000003</c:v>
                </c:pt>
                <c:pt idx="1640">
                  <c:v>39.1</c:v>
                </c:pt>
                <c:pt idx="1641">
                  <c:v>38.9</c:v>
                </c:pt>
                <c:pt idx="1642">
                  <c:v>37.700000000000003</c:v>
                </c:pt>
                <c:pt idx="1643">
                  <c:v>35.799999999999997</c:v>
                </c:pt>
                <c:pt idx="1644">
                  <c:v>40.299999999999997</c:v>
                </c:pt>
                <c:pt idx="1645">
                  <c:v>36.6</c:v>
                </c:pt>
                <c:pt idx="1646">
                  <c:v>33.5</c:v>
                </c:pt>
                <c:pt idx="1647">
                  <c:v>36.9</c:v>
                </c:pt>
                <c:pt idx="1648">
                  <c:v>50.6</c:v>
                </c:pt>
                <c:pt idx="1649">
                  <c:v>47.3</c:v>
                </c:pt>
                <c:pt idx="1650">
                  <c:v>39.4</c:v>
                </c:pt>
                <c:pt idx="1651">
                  <c:v>44.2</c:v>
                </c:pt>
                <c:pt idx="1652">
                  <c:v>39.799999999999997</c:v>
                </c:pt>
                <c:pt idx="1653">
                  <c:v>43.3</c:v>
                </c:pt>
                <c:pt idx="1654">
                  <c:v>53.4</c:v>
                </c:pt>
                <c:pt idx="1655">
                  <c:v>48</c:v>
                </c:pt>
                <c:pt idx="1656">
                  <c:v>36.5</c:v>
                </c:pt>
                <c:pt idx="1657">
                  <c:v>43.9</c:v>
                </c:pt>
                <c:pt idx="1658">
                  <c:v>42.7</c:v>
                </c:pt>
                <c:pt idx="1659">
                  <c:v>39</c:v>
                </c:pt>
                <c:pt idx="1660">
                  <c:v>48.5</c:v>
                </c:pt>
                <c:pt idx="1661">
                  <c:v>42.8</c:v>
                </c:pt>
                <c:pt idx="1662">
                  <c:v>41.8</c:v>
                </c:pt>
                <c:pt idx="1663">
                  <c:v>44.7</c:v>
                </c:pt>
                <c:pt idx="1664">
                  <c:v>38.700000000000003</c:v>
                </c:pt>
                <c:pt idx="1665">
                  <c:v>41.7</c:v>
                </c:pt>
                <c:pt idx="1666">
                  <c:v>50.5</c:v>
                </c:pt>
                <c:pt idx="1667">
                  <c:v>48.6</c:v>
                </c:pt>
                <c:pt idx="1668">
                  <c:v>41.7</c:v>
                </c:pt>
                <c:pt idx="1669">
                  <c:v>41.4</c:v>
                </c:pt>
                <c:pt idx="1670">
                  <c:v>41.6</c:v>
                </c:pt>
                <c:pt idx="1671">
                  <c:v>52.8</c:v>
                </c:pt>
                <c:pt idx="1672">
                  <c:v>44.4</c:v>
                </c:pt>
                <c:pt idx="1673">
                  <c:v>45.7</c:v>
                </c:pt>
                <c:pt idx="1674">
                  <c:v>34.6</c:v>
                </c:pt>
                <c:pt idx="1675">
                  <c:v>44.6</c:v>
                </c:pt>
                <c:pt idx="1676">
                  <c:v>50.6</c:v>
                </c:pt>
                <c:pt idx="1677">
                  <c:v>47.2</c:v>
                </c:pt>
                <c:pt idx="1678">
                  <c:v>46.2</c:v>
                </c:pt>
                <c:pt idx="1679">
                  <c:v>41.6</c:v>
                </c:pt>
                <c:pt idx="1680">
                  <c:v>47.7</c:v>
                </c:pt>
                <c:pt idx="1681">
                  <c:v>42.7</c:v>
                </c:pt>
                <c:pt idx="1682">
                  <c:v>36.1</c:v>
                </c:pt>
                <c:pt idx="1683">
                  <c:v>43</c:v>
                </c:pt>
                <c:pt idx="1684">
                  <c:v>42.2</c:v>
                </c:pt>
                <c:pt idx="1685">
                  <c:v>46.7</c:v>
                </c:pt>
                <c:pt idx="1686">
                  <c:v>50.4</c:v>
                </c:pt>
                <c:pt idx="1687">
                  <c:v>42.9</c:v>
                </c:pt>
                <c:pt idx="1688">
                  <c:v>41</c:v>
                </c:pt>
                <c:pt idx="1689">
                  <c:v>54.1</c:v>
                </c:pt>
                <c:pt idx="1690">
                  <c:v>50.9</c:v>
                </c:pt>
                <c:pt idx="1691">
                  <c:v>49.7</c:v>
                </c:pt>
                <c:pt idx="1692">
                  <c:v>39.200000000000003</c:v>
                </c:pt>
                <c:pt idx="1693">
                  <c:v>40.5</c:v>
                </c:pt>
                <c:pt idx="1694">
                  <c:v>51.9</c:v>
                </c:pt>
                <c:pt idx="1695">
                  <c:v>37.700000000000003</c:v>
                </c:pt>
                <c:pt idx="1696">
                  <c:v>44.6</c:v>
                </c:pt>
                <c:pt idx="1697">
                  <c:v>44.3</c:v>
                </c:pt>
                <c:pt idx="1698">
                  <c:v>48.2</c:v>
                </c:pt>
                <c:pt idx="1699">
                  <c:v>50.3</c:v>
                </c:pt>
                <c:pt idx="1700">
                  <c:v>48.8</c:v>
                </c:pt>
                <c:pt idx="1701">
                  <c:v>41.1</c:v>
                </c:pt>
                <c:pt idx="1702">
                  <c:v>46.9</c:v>
                </c:pt>
                <c:pt idx="1703">
                  <c:v>54.8</c:v>
                </c:pt>
                <c:pt idx="1704">
                  <c:v>29.9</c:v>
                </c:pt>
                <c:pt idx="1705">
                  <c:v>44.7</c:v>
                </c:pt>
                <c:pt idx="1706">
                  <c:v>36.299999999999997</c:v>
                </c:pt>
                <c:pt idx="1707">
                  <c:v>39.6</c:v>
                </c:pt>
                <c:pt idx="1708">
                  <c:v>41.9</c:v>
                </c:pt>
                <c:pt idx="1709">
                  <c:v>36.682215190817999</c:v>
                </c:pt>
                <c:pt idx="1710">
                  <c:v>43</c:v>
                </c:pt>
                <c:pt idx="1711">
                  <c:v>48.2</c:v>
                </c:pt>
                <c:pt idx="1712">
                  <c:v>35.799999999999997</c:v>
                </c:pt>
                <c:pt idx="1713">
                  <c:v>45.4</c:v>
                </c:pt>
                <c:pt idx="1714">
                  <c:v>51.7</c:v>
                </c:pt>
                <c:pt idx="1715">
                  <c:v>46.799999999999898</c:v>
                </c:pt>
                <c:pt idx="1716">
                  <c:v>43.1</c:v>
                </c:pt>
                <c:pt idx="1717">
                  <c:v>39.4</c:v>
                </c:pt>
                <c:pt idx="1718">
                  <c:v>47.4</c:v>
                </c:pt>
                <c:pt idx="1719">
                  <c:v>47.5</c:v>
                </c:pt>
                <c:pt idx="1720">
                  <c:v>44.6</c:v>
                </c:pt>
                <c:pt idx="1721">
                  <c:v>40.1</c:v>
                </c:pt>
                <c:pt idx="1722">
                  <c:v>40.1</c:v>
                </c:pt>
                <c:pt idx="1723">
                  <c:v>44.8</c:v>
                </c:pt>
                <c:pt idx="1724">
                  <c:v>43.7</c:v>
                </c:pt>
                <c:pt idx="1725">
                  <c:v>44.6</c:v>
                </c:pt>
                <c:pt idx="1726">
                  <c:v>39.5</c:v>
                </c:pt>
                <c:pt idx="1727">
                  <c:v>55.1</c:v>
                </c:pt>
                <c:pt idx="1728">
                  <c:v>47.9</c:v>
                </c:pt>
                <c:pt idx="1729">
                  <c:v>30.2</c:v>
                </c:pt>
                <c:pt idx="1730">
                  <c:v>55.8</c:v>
                </c:pt>
                <c:pt idx="1731">
                  <c:v>39</c:v>
                </c:pt>
                <c:pt idx="1732">
                  <c:v>50.1</c:v>
                </c:pt>
                <c:pt idx="1733">
                  <c:v>37.700000000000003</c:v>
                </c:pt>
                <c:pt idx="1734">
                  <c:v>42.1</c:v>
                </c:pt>
                <c:pt idx="1735">
                  <c:v>40.9</c:v>
                </c:pt>
                <c:pt idx="1736">
                  <c:v>41.8</c:v>
                </c:pt>
                <c:pt idx="1737">
                  <c:v>47.7</c:v>
                </c:pt>
                <c:pt idx="1738">
                  <c:v>52.3</c:v>
                </c:pt>
                <c:pt idx="1739">
                  <c:v>44.8</c:v>
                </c:pt>
                <c:pt idx="1740">
                  <c:v>39.9</c:v>
                </c:pt>
                <c:pt idx="1741">
                  <c:v>43.8</c:v>
                </c:pt>
                <c:pt idx="1742">
                  <c:v>46.4</c:v>
                </c:pt>
                <c:pt idx="1743">
                  <c:v>47.5</c:v>
                </c:pt>
                <c:pt idx="1744">
                  <c:v>45.4</c:v>
                </c:pt>
                <c:pt idx="1745">
                  <c:v>27.4</c:v>
                </c:pt>
                <c:pt idx="1746">
                  <c:v>44.1</c:v>
                </c:pt>
                <c:pt idx="1747">
                  <c:v>25.3</c:v>
                </c:pt>
                <c:pt idx="1748">
                  <c:v>43.4</c:v>
                </c:pt>
                <c:pt idx="1749">
                  <c:v>40.160779672059903</c:v>
                </c:pt>
                <c:pt idx="1750">
                  <c:v>41.1</c:v>
                </c:pt>
                <c:pt idx="1751">
                  <c:v>42.6</c:v>
                </c:pt>
                <c:pt idx="1752">
                  <c:v>45</c:v>
                </c:pt>
                <c:pt idx="1753">
                  <c:v>39.700000000000003</c:v>
                </c:pt>
                <c:pt idx="1754">
                  <c:v>43.1</c:v>
                </c:pt>
                <c:pt idx="1755">
                  <c:v>34.799999999999997</c:v>
                </c:pt>
                <c:pt idx="1756">
                  <c:v>36.9</c:v>
                </c:pt>
                <c:pt idx="1757">
                  <c:v>39.799999999999997</c:v>
                </c:pt>
                <c:pt idx="1758">
                  <c:v>32.6</c:v>
                </c:pt>
                <c:pt idx="1759">
                  <c:v>43.2</c:v>
                </c:pt>
                <c:pt idx="1760">
                  <c:v>43.299999999999898</c:v>
                </c:pt>
                <c:pt idx="1761">
                  <c:v>42.8</c:v>
                </c:pt>
                <c:pt idx="1762">
                  <c:v>38.5</c:v>
                </c:pt>
                <c:pt idx="1763">
                  <c:v>41.5</c:v>
                </c:pt>
                <c:pt idx="1764">
                  <c:v>50</c:v>
                </c:pt>
                <c:pt idx="1765">
                  <c:v>49</c:v>
                </c:pt>
                <c:pt idx="1766">
                  <c:v>39.799999999999997</c:v>
                </c:pt>
                <c:pt idx="1767">
                  <c:v>42</c:v>
                </c:pt>
                <c:pt idx="1768">
                  <c:v>43.1</c:v>
                </c:pt>
                <c:pt idx="1769">
                  <c:v>52.5</c:v>
                </c:pt>
                <c:pt idx="1770">
                  <c:v>42.1</c:v>
                </c:pt>
                <c:pt idx="1771">
                  <c:v>30.6</c:v>
                </c:pt>
                <c:pt idx="1772">
                  <c:v>43.4</c:v>
                </c:pt>
                <c:pt idx="1773">
                  <c:v>45.5</c:v>
                </c:pt>
                <c:pt idx="1774">
                  <c:v>40.5</c:v>
                </c:pt>
                <c:pt idx="1775">
                  <c:v>56.1</c:v>
                </c:pt>
                <c:pt idx="1776">
                  <c:v>40.200000000000003</c:v>
                </c:pt>
                <c:pt idx="1777">
                  <c:v>30</c:v>
                </c:pt>
                <c:pt idx="1778">
                  <c:v>35.7260900437552</c:v>
                </c:pt>
                <c:pt idx="1779">
                  <c:v>34.684178106631101</c:v>
                </c:pt>
                <c:pt idx="1780">
                  <c:v>44</c:v>
                </c:pt>
                <c:pt idx="1781">
                  <c:v>54.9</c:v>
                </c:pt>
                <c:pt idx="1782">
                  <c:v>43.2</c:v>
                </c:pt>
                <c:pt idx="1783">
                  <c:v>45.8</c:v>
                </c:pt>
                <c:pt idx="1784">
                  <c:v>48.8</c:v>
                </c:pt>
                <c:pt idx="1785">
                  <c:v>35.6</c:v>
                </c:pt>
                <c:pt idx="1786">
                  <c:v>41.1</c:v>
                </c:pt>
                <c:pt idx="1787">
                  <c:v>64.5</c:v>
                </c:pt>
                <c:pt idx="1788">
                  <c:v>42.899999999999899</c:v>
                </c:pt>
                <c:pt idx="1789">
                  <c:v>33.6</c:v>
                </c:pt>
                <c:pt idx="1790">
                  <c:v>52</c:v>
                </c:pt>
                <c:pt idx="1791">
                  <c:v>26.5</c:v>
                </c:pt>
                <c:pt idx="1792">
                  <c:v>41.904143186115697</c:v>
                </c:pt>
                <c:pt idx="1793">
                  <c:v>36.4</c:v>
                </c:pt>
                <c:pt idx="1794">
                  <c:v>45.1</c:v>
                </c:pt>
                <c:pt idx="1795">
                  <c:v>46</c:v>
                </c:pt>
                <c:pt idx="1796">
                  <c:v>52.399999999999899</c:v>
                </c:pt>
                <c:pt idx="1797">
                  <c:v>44.399999999999899</c:v>
                </c:pt>
                <c:pt idx="1798">
                  <c:v>43.1</c:v>
                </c:pt>
                <c:pt idx="1799">
                  <c:v>50.6</c:v>
                </c:pt>
                <c:pt idx="1800">
                  <c:v>45.2</c:v>
                </c:pt>
                <c:pt idx="1801">
                  <c:v>34.259994898491499</c:v>
                </c:pt>
                <c:pt idx="1802">
                  <c:v>35.1</c:v>
                </c:pt>
                <c:pt idx="1803">
                  <c:v>42.1</c:v>
                </c:pt>
                <c:pt idx="1804">
                  <c:v>45.2</c:v>
                </c:pt>
                <c:pt idx="1805">
                  <c:v>41.4</c:v>
                </c:pt>
                <c:pt idx="1806">
                  <c:v>41.2</c:v>
                </c:pt>
                <c:pt idx="1807">
                  <c:v>42.5</c:v>
                </c:pt>
                <c:pt idx="1808">
                  <c:v>47.6</c:v>
                </c:pt>
                <c:pt idx="1809">
                  <c:v>33.799999999999997</c:v>
                </c:pt>
                <c:pt idx="1810">
                  <c:v>40</c:v>
                </c:pt>
                <c:pt idx="1811">
                  <c:v>53.7</c:v>
                </c:pt>
                <c:pt idx="1812">
                  <c:v>43.6</c:v>
                </c:pt>
                <c:pt idx="1813">
                  <c:v>43</c:v>
                </c:pt>
                <c:pt idx="1814">
                  <c:v>43.3</c:v>
                </c:pt>
                <c:pt idx="1815">
                  <c:v>39.200000000000003</c:v>
                </c:pt>
                <c:pt idx="1816">
                  <c:v>39.299999999999997</c:v>
                </c:pt>
                <c:pt idx="1817">
                  <c:v>42.2</c:v>
                </c:pt>
                <c:pt idx="1818">
                  <c:v>59</c:v>
                </c:pt>
                <c:pt idx="1819">
                  <c:v>43.6</c:v>
                </c:pt>
                <c:pt idx="1820">
                  <c:v>35.700000000000003</c:v>
                </c:pt>
                <c:pt idx="1821">
                  <c:v>47.8</c:v>
                </c:pt>
                <c:pt idx="1822">
                  <c:v>39.252366650519399</c:v>
                </c:pt>
                <c:pt idx="1823">
                  <c:v>59.399999999999899</c:v>
                </c:pt>
                <c:pt idx="1824">
                  <c:v>47.6</c:v>
                </c:pt>
                <c:pt idx="1825">
                  <c:v>37.1</c:v>
                </c:pt>
                <c:pt idx="1826">
                  <c:v>37.1</c:v>
                </c:pt>
                <c:pt idx="1827">
                  <c:v>41.7</c:v>
                </c:pt>
                <c:pt idx="1828">
                  <c:v>39.1170632336026</c:v>
                </c:pt>
                <c:pt idx="1829">
                  <c:v>41</c:v>
                </c:pt>
                <c:pt idx="1830">
                  <c:v>44.5</c:v>
                </c:pt>
                <c:pt idx="1831">
                  <c:v>42.5</c:v>
                </c:pt>
                <c:pt idx="1832">
                  <c:v>50.2</c:v>
                </c:pt>
                <c:pt idx="1833">
                  <c:v>41.2</c:v>
                </c:pt>
                <c:pt idx="1834">
                  <c:v>46.4</c:v>
                </c:pt>
                <c:pt idx="1835">
                  <c:v>46.7</c:v>
                </c:pt>
                <c:pt idx="1836">
                  <c:v>44.6</c:v>
                </c:pt>
                <c:pt idx="1837">
                  <c:v>41.6</c:v>
                </c:pt>
                <c:pt idx="1838">
                  <c:v>39.9</c:v>
                </c:pt>
                <c:pt idx="1839">
                  <c:v>49.7</c:v>
                </c:pt>
                <c:pt idx="1840">
                  <c:v>40.9</c:v>
                </c:pt>
                <c:pt idx="1841">
                  <c:v>56.5</c:v>
                </c:pt>
                <c:pt idx="1842">
                  <c:v>40.9</c:v>
                </c:pt>
                <c:pt idx="1843">
                  <c:v>42.7</c:v>
                </c:pt>
                <c:pt idx="1844">
                  <c:v>41.8</c:v>
                </c:pt>
                <c:pt idx="1845">
                  <c:v>56</c:v>
                </c:pt>
                <c:pt idx="1846">
                  <c:v>64.599999999999994</c:v>
                </c:pt>
                <c:pt idx="1847">
                  <c:v>38.393675942348601</c:v>
                </c:pt>
                <c:pt idx="1848">
                  <c:v>46.2</c:v>
                </c:pt>
                <c:pt idx="1849">
                  <c:v>44.1</c:v>
                </c:pt>
                <c:pt idx="1850">
                  <c:v>41.4</c:v>
                </c:pt>
                <c:pt idx="1851">
                  <c:v>44.6</c:v>
                </c:pt>
                <c:pt idx="1852">
                  <c:v>36.5</c:v>
                </c:pt>
                <c:pt idx="1853">
                  <c:v>44.4</c:v>
                </c:pt>
                <c:pt idx="1854">
                  <c:v>41.1</c:v>
                </c:pt>
                <c:pt idx="1855">
                  <c:v>43.8</c:v>
                </c:pt>
                <c:pt idx="1856">
                  <c:v>53.9</c:v>
                </c:pt>
                <c:pt idx="1857">
                  <c:v>39.299999999999997</c:v>
                </c:pt>
                <c:pt idx="1858">
                  <c:v>38.299999999999997</c:v>
                </c:pt>
                <c:pt idx="1859">
                  <c:v>48.5</c:v>
                </c:pt>
                <c:pt idx="1860">
                  <c:v>35.1</c:v>
                </c:pt>
                <c:pt idx="1861">
                  <c:v>44.4</c:v>
                </c:pt>
                <c:pt idx="1862">
                  <c:v>44.7</c:v>
                </c:pt>
                <c:pt idx="1863">
                  <c:v>42.6</c:v>
                </c:pt>
                <c:pt idx="1864">
                  <c:v>40.1</c:v>
                </c:pt>
                <c:pt idx="1865">
                  <c:v>31.817988738516199</c:v>
                </c:pt>
                <c:pt idx="1866">
                  <c:v>49.399999999999899</c:v>
                </c:pt>
                <c:pt idx="1867">
                  <c:v>42.3</c:v>
                </c:pt>
                <c:pt idx="1868">
                  <c:v>56.8</c:v>
                </c:pt>
                <c:pt idx="1869">
                  <c:v>41.6</c:v>
                </c:pt>
                <c:pt idx="1870">
                  <c:v>46.513281729224403</c:v>
                </c:pt>
                <c:pt idx="1871">
                  <c:v>41.7</c:v>
                </c:pt>
                <c:pt idx="1872">
                  <c:v>44.6</c:v>
                </c:pt>
                <c:pt idx="1873">
                  <c:v>34.431586878505897</c:v>
                </c:pt>
                <c:pt idx="1874">
                  <c:v>45.8</c:v>
                </c:pt>
                <c:pt idx="1875">
                  <c:v>42.8</c:v>
                </c:pt>
                <c:pt idx="1876">
                  <c:v>36.207847423956501</c:v>
                </c:pt>
                <c:pt idx="1877">
                  <c:v>40.5</c:v>
                </c:pt>
                <c:pt idx="1878">
                  <c:v>34.9</c:v>
                </c:pt>
                <c:pt idx="1879">
                  <c:v>48</c:v>
                </c:pt>
                <c:pt idx="1880">
                  <c:v>42.1</c:v>
                </c:pt>
                <c:pt idx="1881">
                  <c:v>48.1</c:v>
                </c:pt>
                <c:pt idx="1882">
                  <c:v>49</c:v>
                </c:pt>
                <c:pt idx="1883">
                  <c:v>39.200000000000003</c:v>
                </c:pt>
                <c:pt idx="1884">
                  <c:v>46.2</c:v>
                </c:pt>
                <c:pt idx="1885">
                  <c:v>51.8</c:v>
                </c:pt>
                <c:pt idx="1886">
                  <c:v>51.9</c:v>
                </c:pt>
                <c:pt idx="1887">
                  <c:v>36</c:v>
                </c:pt>
                <c:pt idx="1888">
                  <c:v>56.6</c:v>
                </c:pt>
                <c:pt idx="1889">
                  <c:v>40.5</c:v>
                </c:pt>
                <c:pt idx="1890">
                  <c:v>40.799999999999997</c:v>
                </c:pt>
                <c:pt idx="1891">
                  <c:v>34.700000000000003</c:v>
                </c:pt>
                <c:pt idx="1892">
                  <c:v>39.5</c:v>
                </c:pt>
                <c:pt idx="1893">
                  <c:v>42.1</c:v>
                </c:pt>
                <c:pt idx="1894">
                  <c:v>45.6</c:v>
                </c:pt>
                <c:pt idx="1895">
                  <c:v>48.2</c:v>
                </c:pt>
                <c:pt idx="1896">
                  <c:v>40.4</c:v>
                </c:pt>
                <c:pt idx="1897">
                  <c:v>43.399999999999899</c:v>
                </c:pt>
                <c:pt idx="1898">
                  <c:v>45.9</c:v>
                </c:pt>
                <c:pt idx="1899">
                  <c:v>40.6</c:v>
                </c:pt>
                <c:pt idx="1900">
                  <c:v>43.899999999999899</c:v>
                </c:pt>
                <c:pt idx="1901">
                  <c:v>44.3</c:v>
                </c:pt>
                <c:pt idx="1902">
                  <c:v>45.8</c:v>
                </c:pt>
                <c:pt idx="1903">
                  <c:v>50.3</c:v>
                </c:pt>
                <c:pt idx="1904">
                  <c:v>42.2</c:v>
                </c:pt>
                <c:pt idx="1905">
                  <c:v>43.4</c:v>
                </c:pt>
                <c:pt idx="1906">
                  <c:v>43.2</c:v>
                </c:pt>
                <c:pt idx="1907">
                  <c:v>36.531103301618302</c:v>
                </c:pt>
                <c:pt idx="1908">
                  <c:v>57.3</c:v>
                </c:pt>
                <c:pt idx="1909">
                  <c:v>46.4</c:v>
                </c:pt>
                <c:pt idx="1910">
                  <c:v>40.700000000000003</c:v>
                </c:pt>
                <c:pt idx="1911">
                  <c:v>43.5</c:v>
                </c:pt>
                <c:pt idx="1912">
                  <c:v>43.9</c:v>
                </c:pt>
                <c:pt idx="1913">
                  <c:v>50.4</c:v>
                </c:pt>
                <c:pt idx="1914">
                  <c:v>42.2</c:v>
                </c:pt>
                <c:pt idx="1915">
                  <c:v>43.4</c:v>
                </c:pt>
                <c:pt idx="1916">
                  <c:v>39.6</c:v>
                </c:pt>
                <c:pt idx="1917">
                  <c:v>44.6</c:v>
                </c:pt>
                <c:pt idx="1918">
                  <c:v>37.6</c:v>
                </c:pt>
                <c:pt idx="1919">
                  <c:v>41.5</c:v>
                </c:pt>
                <c:pt idx="1920">
                  <c:v>44.8</c:v>
                </c:pt>
                <c:pt idx="1921">
                  <c:v>41.5</c:v>
                </c:pt>
                <c:pt idx="1922">
                  <c:v>37</c:v>
                </c:pt>
                <c:pt idx="1923">
                  <c:v>44.2</c:v>
                </c:pt>
                <c:pt idx="1924">
                  <c:v>49.4</c:v>
                </c:pt>
                <c:pt idx="1925">
                  <c:v>41.9</c:v>
                </c:pt>
                <c:pt idx="1926">
                  <c:v>36.6</c:v>
                </c:pt>
                <c:pt idx="1927">
                  <c:v>42.2</c:v>
                </c:pt>
                <c:pt idx="1928">
                  <c:v>51</c:v>
                </c:pt>
                <c:pt idx="1929">
                  <c:v>41.2</c:v>
                </c:pt>
                <c:pt idx="1930">
                  <c:v>44.1</c:v>
                </c:pt>
                <c:pt idx="1931">
                  <c:v>44.4</c:v>
                </c:pt>
                <c:pt idx="1932">
                  <c:v>40.4</c:v>
                </c:pt>
                <c:pt idx="1933">
                  <c:v>39</c:v>
                </c:pt>
                <c:pt idx="1934">
                  <c:v>39</c:v>
                </c:pt>
                <c:pt idx="1935">
                  <c:v>42.9</c:v>
                </c:pt>
                <c:pt idx="1936">
                  <c:v>64.7</c:v>
                </c:pt>
                <c:pt idx="1937">
                  <c:v>56.9</c:v>
                </c:pt>
                <c:pt idx="1938">
                  <c:v>39.700000000000003</c:v>
                </c:pt>
                <c:pt idx="1939">
                  <c:v>49.1</c:v>
                </c:pt>
                <c:pt idx="1940">
                  <c:v>36.700000000000003</c:v>
                </c:pt>
                <c:pt idx="1941">
                  <c:v>46.5</c:v>
                </c:pt>
                <c:pt idx="1942">
                  <c:v>44.3</c:v>
                </c:pt>
                <c:pt idx="1943">
                  <c:v>42.8</c:v>
                </c:pt>
                <c:pt idx="1944">
                  <c:v>44.8</c:v>
                </c:pt>
                <c:pt idx="1945">
                  <c:v>44.3</c:v>
                </c:pt>
                <c:pt idx="1946">
                  <c:v>47.9</c:v>
                </c:pt>
                <c:pt idx="1947">
                  <c:v>38.434837629999997</c:v>
                </c:pt>
                <c:pt idx="1948">
                  <c:v>41.3</c:v>
                </c:pt>
                <c:pt idx="1949">
                  <c:v>40.5</c:v>
                </c:pt>
                <c:pt idx="1950">
                  <c:v>42.7</c:v>
                </c:pt>
                <c:pt idx="1951">
                  <c:v>46.4</c:v>
                </c:pt>
                <c:pt idx="1952">
                  <c:v>39.4</c:v>
                </c:pt>
                <c:pt idx="1953">
                  <c:v>39.5</c:v>
                </c:pt>
                <c:pt idx="1954">
                  <c:v>57.799999999999898</c:v>
                </c:pt>
                <c:pt idx="1955">
                  <c:v>38.5</c:v>
                </c:pt>
                <c:pt idx="1956">
                  <c:v>49</c:v>
                </c:pt>
                <c:pt idx="1957">
                  <c:v>34.700000000000003</c:v>
                </c:pt>
                <c:pt idx="1958">
                  <c:v>23.7</c:v>
                </c:pt>
                <c:pt idx="1959">
                  <c:v>42.4</c:v>
                </c:pt>
                <c:pt idx="1960">
                  <c:v>41.3</c:v>
                </c:pt>
                <c:pt idx="1961">
                  <c:v>37.6</c:v>
                </c:pt>
                <c:pt idx="1962">
                  <c:v>48.2</c:v>
                </c:pt>
                <c:pt idx="1963">
                  <c:v>55.1</c:v>
                </c:pt>
                <c:pt idx="1964">
                  <c:v>43.6</c:v>
                </c:pt>
                <c:pt idx="1965">
                  <c:v>49.5</c:v>
                </c:pt>
                <c:pt idx="1966">
                  <c:v>46</c:v>
                </c:pt>
                <c:pt idx="1967">
                  <c:v>42.6</c:v>
                </c:pt>
                <c:pt idx="1968">
                  <c:v>45.3</c:v>
                </c:pt>
                <c:pt idx="1969">
                  <c:v>46.6</c:v>
                </c:pt>
                <c:pt idx="1970">
                  <c:v>39.6</c:v>
                </c:pt>
                <c:pt idx="1971">
                  <c:v>45.7</c:v>
                </c:pt>
                <c:pt idx="1972">
                  <c:v>32.433072188742102</c:v>
                </c:pt>
                <c:pt idx="1973">
                  <c:v>32.299999999999997</c:v>
                </c:pt>
                <c:pt idx="1974">
                  <c:v>49.5</c:v>
                </c:pt>
                <c:pt idx="1975">
                  <c:v>52.3</c:v>
                </c:pt>
                <c:pt idx="1976">
                  <c:v>57.8</c:v>
                </c:pt>
                <c:pt idx="1977">
                  <c:v>44</c:v>
                </c:pt>
                <c:pt idx="1978">
                  <c:v>42.1</c:v>
                </c:pt>
                <c:pt idx="1979">
                  <c:v>41.5</c:v>
                </c:pt>
                <c:pt idx="1980">
                  <c:v>40.700000000000003</c:v>
                </c:pt>
                <c:pt idx="1981">
                  <c:v>43.6</c:v>
                </c:pt>
                <c:pt idx="1982">
                  <c:v>58.7</c:v>
                </c:pt>
                <c:pt idx="1983">
                  <c:v>47</c:v>
                </c:pt>
                <c:pt idx="1984">
                  <c:v>42.7</c:v>
                </c:pt>
                <c:pt idx="1985">
                  <c:v>40.6</c:v>
                </c:pt>
                <c:pt idx="1986">
                  <c:v>47.1</c:v>
                </c:pt>
                <c:pt idx="1987">
                  <c:v>47.9</c:v>
                </c:pt>
                <c:pt idx="1988">
                  <c:v>33.168549569071303</c:v>
                </c:pt>
                <c:pt idx="1989">
                  <c:v>49.9</c:v>
                </c:pt>
                <c:pt idx="1990">
                  <c:v>57.7</c:v>
                </c:pt>
                <c:pt idx="1991">
                  <c:v>42.8</c:v>
                </c:pt>
                <c:pt idx="1992">
                  <c:v>45.7</c:v>
                </c:pt>
                <c:pt idx="1993">
                  <c:v>40.9</c:v>
                </c:pt>
                <c:pt idx="1994">
                  <c:v>48.4</c:v>
                </c:pt>
                <c:pt idx="1995">
                  <c:v>42.7</c:v>
                </c:pt>
                <c:pt idx="1996">
                  <c:v>34.5</c:v>
                </c:pt>
                <c:pt idx="1997">
                  <c:v>42.2</c:v>
                </c:pt>
                <c:pt idx="1998">
                  <c:v>44.9</c:v>
                </c:pt>
                <c:pt idx="1999">
                  <c:v>45.2</c:v>
                </c:pt>
                <c:pt idx="2000">
                  <c:v>39.6</c:v>
                </c:pt>
                <c:pt idx="2001">
                  <c:v>46.6</c:v>
                </c:pt>
                <c:pt idx="2002">
                  <c:v>45.8</c:v>
                </c:pt>
                <c:pt idx="2003">
                  <c:v>42.4</c:v>
                </c:pt>
                <c:pt idx="2004">
                  <c:v>38.799999999999997</c:v>
                </c:pt>
                <c:pt idx="2005">
                  <c:v>41.4</c:v>
                </c:pt>
                <c:pt idx="2006">
                  <c:v>45.1</c:v>
                </c:pt>
                <c:pt idx="2007">
                  <c:v>43.9</c:v>
                </c:pt>
                <c:pt idx="2008">
                  <c:v>48.1</c:v>
                </c:pt>
                <c:pt idx="2009">
                  <c:v>43.7</c:v>
                </c:pt>
                <c:pt idx="2010">
                  <c:v>42.2</c:v>
                </c:pt>
                <c:pt idx="2011">
                  <c:v>34.063604699763097</c:v>
                </c:pt>
                <c:pt idx="2012">
                  <c:v>40.799999999999997</c:v>
                </c:pt>
                <c:pt idx="2013">
                  <c:v>54</c:v>
                </c:pt>
                <c:pt idx="2014">
                  <c:v>34.799999999999997</c:v>
                </c:pt>
                <c:pt idx="2015">
                  <c:v>39</c:v>
                </c:pt>
                <c:pt idx="2016">
                  <c:v>42</c:v>
                </c:pt>
                <c:pt idx="2017">
                  <c:v>46.2</c:v>
                </c:pt>
                <c:pt idx="2018">
                  <c:v>33.200000000000003</c:v>
                </c:pt>
                <c:pt idx="2019">
                  <c:v>54.1</c:v>
                </c:pt>
                <c:pt idx="2020">
                  <c:v>23.6</c:v>
                </c:pt>
                <c:pt idx="2021">
                  <c:v>40.9</c:v>
                </c:pt>
                <c:pt idx="2022">
                  <c:v>46</c:v>
                </c:pt>
                <c:pt idx="2023">
                  <c:v>39.799999999999997</c:v>
                </c:pt>
                <c:pt idx="2024">
                  <c:v>51.1</c:v>
                </c:pt>
                <c:pt idx="2025">
                  <c:v>41.7</c:v>
                </c:pt>
                <c:pt idx="2026">
                  <c:v>44.7</c:v>
                </c:pt>
                <c:pt idx="2027">
                  <c:v>38.6</c:v>
                </c:pt>
                <c:pt idx="2028">
                  <c:v>53</c:v>
                </c:pt>
                <c:pt idx="2029">
                  <c:v>36.5</c:v>
                </c:pt>
                <c:pt idx="2030">
                  <c:v>46.1</c:v>
                </c:pt>
                <c:pt idx="2031">
                  <c:v>38.9</c:v>
                </c:pt>
                <c:pt idx="2032">
                  <c:v>38.700000000000003</c:v>
                </c:pt>
                <c:pt idx="2033">
                  <c:v>42.2</c:v>
                </c:pt>
                <c:pt idx="2034">
                  <c:v>47.4</c:v>
                </c:pt>
                <c:pt idx="2035">
                  <c:v>45.6</c:v>
                </c:pt>
                <c:pt idx="2036">
                  <c:v>50.7</c:v>
                </c:pt>
                <c:pt idx="2037">
                  <c:v>44.4</c:v>
                </c:pt>
                <c:pt idx="2038">
                  <c:v>45.5</c:v>
                </c:pt>
                <c:pt idx="2039">
                  <c:v>38.1</c:v>
                </c:pt>
                <c:pt idx="2040">
                  <c:v>41</c:v>
                </c:pt>
                <c:pt idx="2041">
                  <c:v>45.4</c:v>
                </c:pt>
                <c:pt idx="2042">
                  <c:v>31.1</c:v>
                </c:pt>
                <c:pt idx="2043">
                  <c:v>41.2</c:v>
                </c:pt>
                <c:pt idx="2044">
                  <c:v>39.200000000000003</c:v>
                </c:pt>
                <c:pt idx="2045">
                  <c:v>42.4</c:v>
                </c:pt>
                <c:pt idx="2046">
                  <c:v>45.9</c:v>
                </c:pt>
                <c:pt idx="2047">
                  <c:v>39.700000000000003</c:v>
                </c:pt>
                <c:pt idx="2048">
                  <c:v>34.672579745050797</c:v>
                </c:pt>
                <c:pt idx="2049">
                  <c:v>46.7</c:v>
                </c:pt>
                <c:pt idx="2050">
                  <c:v>41</c:v>
                </c:pt>
                <c:pt idx="2051">
                  <c:v>39.200000000000003</c:v>
                </c:pt>
                <c:pt idx="2052">
                  <c:v>32.5</c:v>
                </c:pt>
                <c:pt idx="2053">
                  <c:v>37.799999999999997</c:v>
                </c:pt>
                <c:pt idx="2054">
                  <c:v>43.1</c:v>
                </c:pt>
                <c:pt idx="2055">
                  <c:v>21.5</c:v>
                </c:pt>
                <c:pt idx="2056">
                  <c:v>36.200000000000003</c:v>
                </c:pt>
                <c:pt idx="2057">
                  <c:v>42.7</c:v>
                </c:pt>
                <c:pt idx="2058">
                  <c:v>48</c:v>
                </c:pt>
                <c:pt idx="2059">
                  <c:v>43.8</c:v>
                </c:pt>
                <c:pt idx="2060">
                  <c:v>35.799999999999997</c:v>
                </c:pt>
                <c:pt idx="2061">
                  <c:v>45.8</c:v>
                </c:pt>
                <c:pt idx="2062">
                  <c:v>37.6</c:v>
                </c:pt>
                <c:pt idx="2063">
                  <c:v>40.022235620402697</c:v>
                </c:pt>
                <c:pt idx="2064">
                  <c:v>42.959749495320203</c:v>
                </c:pt>
                <c:pt idx="2065">
                  <c:v>38</c:v>
                </c:pt>
                <c:pt idx="2066">
                  <c:v>59.2</c:v>
                </c:pt>
                <c:pt idx="2067">
                  <c:v>40.1</c:v>
                </c:pt>
                <c:pt idx="2068">
                  <c:v>41.5</c:v>
                </c:pt>
                <c:pt idx="2069">
                  <c:v>37.299999999999997</c:v>
                </c:pt>
                <c:pt idx="2070">
                  <c:v>51.4</c:v>
                </c:pt>
                <c:pt idx="2071">
                  <c:v>37.6</c:v>
                </c:pt>
                <c:pt idx="2072">
                  <c:v>26.2</c:v>
                </c:pt>
                <c:pt idx="2073">
                  <c:v>43.3</c:v>
                </c:pt>
                <c:pt idx="2074">
                  <c:v>42.3</c:v>
                </c:pt>
                <c:pt idx="2075">
                  <c:v>40</c:v>
                </c:pt>
                <c:pt idx="2076">
                  <c:v>47.9734562659226</c:v>
                </c:pt>
                <c:pt idx="2077">
                  <c:v>49.2</c:v>
                </c:pt>
                <c:pt idx="2078">
                  <c:v>49.5</c:v>
                </c:pt>
                <c:pt idx="2079">
                  <c:v>44</c:v>
                </c:pt>
                <c:pt idx="2080">
                  <c:v>45.054248029794799</c:v>
                </c:pt>
                <c:pt idx="2081">
                  <c:v>41.4</c:v>
                </c:pt>
                <c:pt idx="2082">
                  <c:v>53.7</c:v>
                </c:pt>
                <c:pt idx="2083">
                  <c:v>45.1</c:v>
                </c:pt>
                <c:pt idx="2084">
                  <c:v>41.868853799999997</c:v>
                </c:pt>
                <c:pt idx="2085">
                  <c:v>40.200000000000003</c:v>
                </c:pt>
                <c:pt idx="2086">
                  <c:v>43</c:v>
                </c:pt>
                <c:pt idx="2087">
                  <c:v>39.700000000000003</c:v>
                </c:pt>
                <c:pt idx="2088">
                  <c:v>39.9</c:v>
                </c:pt>
                <c:pt idx="2089">
                  <c:v>42.4</c:v>
                </c:pt>
                <c:pt idx="2090">
                  <c:v>43</c:v>
                </c:pt>
                <c:pt idx="2091">
                  <c:v>40.200000000000003</c:v>
                </c:pt>
                <c:pt idx="2092">
                  <c:v>42.9</c:v>
                </c:pt>
                <c:pt idx="2093">
                  <c:v>48.5</c:v>
                </c:pt>
                <c:pt idx="2094">
                  <c:v>41.1</c:v>
                </c:pt>
                <c:pt idx="2095">
                  <c:v>38.5</c:v>
                </c:pt>
                <c:pt idx="2096">
                  <c:v>51.3</c:v>
                </c:pt>
                <c:pt idx="2097">
                  <c:v>41.6</c:v>
                </c:pt>
                <c:pt idx="2098">
                  <c:v>51.799999999999898</c:v>
                </c:pt>
                <c:pt idx="2099">
                  <c:v>48</c:v>
                </c:pt>
                <c:pt idx="2100">
                  <c:v>43</c:v>
                </c:pt>
                <c:pt idx="2101">
                  <c:v>38</c:v>
                </c:pt>
                <c:pt idx="2102">
                  <c:v>40.798964931892499</c:v>
                </c:pt>
                <c:pt idx="2103">
                  <c:v>43.3</c:v>
                </c:pt>
                <c:pt idx="2104">
                  <c:v>40.772863335160103</c:v>
                </c:pt>
                <c:pt idx="2105">
                  <c:v>44.2</c:v>
                </c:pt>
                <c:pt idx="2106">
                  <c:v>42.7</c:v>
                </c:pt>
                <c:pt idx="2107">
                  <c:v>45.1</c:v>
                </c:pt>
                <c:pt idx="2108">
                  <c:v>39</c:v>
                </c:pt>
                <c:pt idx="2109">
                  <c:v>46.8</c:v>
                </c:pt>
                <c:pt idx="2110">
                  <c:v>35.1</c:v>
                </c:pt>
                <c:pt idx="2111">
                  <c:v>45.6</c:v>
                </c:pt>
                <c:pt idx="2112">
                  <c:v>40.9</c:v>
                </c:pt>
                <c:pt idx="2113">
                  <c:v>32.003030722391301</c:v>
                </c:pt>
                <c:pt idx="2114">
                  <c:v>35.813883273975598</c:v>
                </c:pt>
                <c:pt idx="2115">
                  <c:v>48.8</c:v>
                </c:pt>
                <c:pt idx="2116">
                  <c:v>42.7</c:v>
                </c:pt>
                <c:pt idx="2117">
                  <c:v>42.5</c:v>
                </c:pt>
                <c:pt idx="2118">
                  <c:v>41.2</c:v>
                </c:pt>
                <c:pt idx="2119">
                  <c:v>39</c:v>
                </c:pt>
                <c:pt idx="2120">
                  <c:v>48</c:v>
                </c:pt>
                <c:pt idx="2121">
                  <c:v>42.9</c:v>
                </c:pt>
                <c:pt idx="2122">
                  <c:v>46</c:v>
                </c:pt>
                <c:pt idx="2123">
                  <c:v>24.3</c:v>
                </c:pt>
                <c:pt idx="2124">
                  <c:v>38.1</c:v>
                </c:pt>
                <c:pt idx="2125">
                  <c:v>41.5</c:v>
                </c:pt>
                <c:pt idx="2126">
                  <c:v>39</c:v>
                </c:pt>
                <c:pt idx="2127">
                  <c:v>43</c:v>
                </c:pt>
                <c:pt idx="2128">
                  <c:v>46.4</c:v>
                </c:pt>
                <c:pt idx="2129">
                  <c:v>51.799999999999898</c:v>
                </c:pt>
                <c:pt idx="2130">
                  <c:v>41.994144381859101</c:v>
                </c:pt>
                <c:pt idx="2131">
                  <c:v>42.4</c:v>
                </c:pt>
                <c:pt idx="2132">
                  <c:v>34.799999999999997</c:v>
                </c:pt>
                <c:pt idx="2133">
                  <c:v>40.299999999999997</c:v>
                </c:pt>
                <c:pt idx="2134">
                  <c:v>36.8969712447009</c:v>
                </c:pt>
                <c:pt idx="2135">
                  <c:v>42.7</c:v>
                </c:pt>
                <c:pt idx="2136">
                  <c:v>39.200000000000003</c:v>
                </c:pt>
                <c:pt idx="2137">
                  <c:v>47.6</c:v>
                </c:pt>
                <c:pt idx="2138">
                  <c:v>48.7</c:v>
                </c:pt>
                <c:pt idx="2139">
                  <c:v>39.1</c:v>
                </c:pt>
                <c:pt idx="2140">
                  <c:v>41</c:v>
                </c:pt>
                <c:pt idx="2141">
                  <c:v>39.200000000000003</c:v>
                </c:pt>
                <c:pt idx="2142">
                  <c:v>45.5</c:v>
                </c:pt>
                <c:pt idx="2143">
                  <c:v>40.700000000000003</c:v>
                </c:pt>
                <c:pt idx="2144">
                  <c:v>41.4</c:v>
                </c:pt>
                <c:pt idx="2145">
                  <c:v>44.2</c:v>
                </c:pt>
                <c:pt idx="2146">
                  <c:v>32.700000000000003</c:v>
                </c:pt>
                <c:pt idx="2147">
                  <c:v>44.9</c:v>
                </c:pt>
                <c:pt idx="2148">
                  <c:v>50.9</c:v>
                </c:pt>
                <c:pt idx="2149">
                  <c:v>42.5</c:v>
                </c:pt>
                <c:pt idx="2150">
                  <c:v>42.5</c:v>
                </c:pt>
                <c:pt idx="2151">
                  <c:v>34.226146229442101</c:v>
                </c:pt>
                <c:pt idx="2152">
                  <c:v>38.1</c:v>
                </c:pt>
                <c:pt idx="2153">
                  <c:v>39.6</c:v>
                </c:pt>
                <c:pt idx="2154">
                  <c:v>46.2</c:v>
                </c:pt>
                <c:pt idx="2155">
                  <c:v>50.9</c:v>
                </c:pt>
                <c:pt idx="2156">
                  <c:v>39</c:v>
                </c:pt>
                <c:pt idx="2157">
                  <c:v>52.2</c:v>
                </c:pt>
                <c:pt idx="2158">
                  <c:v>43.235771753929903</c:v>
                </c:pt>
                <c:pt idx="2159">
                  <c:v>35.4</c:v>
                </c:pt>
                <c:pt idx="2160">
                  <c:v>51.399999999999899</c:v>
                </c:pt>
                <c:pt idx="2161">
                  <c:v>46.5</c:v>
                </c:pt>
                <c:pt idx="2162">
                  <c:v>43.2</c:v>
                </c:pt>
                <c:pt idx="2163">
                  <c:v>33.799999999999997</c:v>
                </c:pt>
                <c:pt idx="2164">
                  <c:v>45.1</c:v>
                </c:pt>
                <c:pt idx="2165">
                  <c:v>43.4</c:v>
                </c:pt>
                <c:pt idx="2166">
                  <c:v>40.6</c:v>
                </c:pt>
                <c:pt idx="2167">
                  <c:v>37.1</c:v>
                </c:pt>
                <c:pt idx="2168">
                  <c:v>48.2</c:v>
                </c:pt>
                <c:pt idx="2169">
                  <c:v>45.504224426386202</c:v>
                </c:pt>
                <c:pt idx="2170">
                  <c:v>41.4</c:v>
                </c:pt>
                <c:pt idx="2171">
                  <c:v>38.700000000000003</c:v>
                </c:pt>
                <c:pt idx="2172">
                  <c:v>36.0177309919236</c:v>
                </c:pt>
                <c:pt idx="2173">
                  <c:v>43.4</c:v>
                </c:pt>
                <c:pt idx="2174">
                  <c:v>39.5</c:v>
                </c:pt>
                <c:pt idx="2175">
                  <c:v>22.6</c:v>
                </c:pt>
                <c:pt idx="2176">
                  <c:v>56.9</c:v>
                </c:pt>
                <c:pt idx="2177">
                  <c:v>40.799999999999997</c:v>
                </c:pt>
                <c:pt idx="2178">
                  <c:v>41.2</c:v>
                </c:pt>
                <c:pt idx="2179">
                  <c:v>33.799999999999997</c:v>
                </c:pt>
                <c:pt idx="2180">
                  <c:v>39.5</c:v>
                </c:pt>
                <c:pt idx="2181">
                  <c:v>57.2</c:v>
                </c:pt>
                <c:pt idx="2182">
                  <c:v>31.1</c:v>
                </c:pt>
                <c:pt idx="2183">
                  <c:v>39.700000000000003</c:v>
                </c:pt>
                <c:pt idx="2184">
                  <c:v>51.4</c:v>
                </c:pt>
                <c:pt idx="2185">
                  <c:v>49.4</c:v>
                </c:pt>
                <c:pt idx="2186">
                  <c:v>40.9</c:v>
                </c:pt>
                <c:pt idx="2187">
                  <c:v>39.4</c:v>
                </c:pt>
                <c:pt idx="2188">
                  <c:v>39.8806092537599</c:v>
                </c:pt>
                <c:pt idx="2189">
                  <c:v>38.200000000000003</c:v>
                </c:pt>
                <c:pt idx="2190">
                  <c:v>39.1</c:v>
                </c:pt>
                <c:pt idx="2191">
                  <c:v>32.539957040719202</c:v>
                </c:pt>
                <c:pt idx="2192">
                  <c:v>42.9</c:v>
                </c:pt>
                <c:pt idx="2193">
                  <c:v>51.9</c:v>
                </c:pt>
                <c:pt idx="2194">
                  <c:v>42.5</c:v>
                </c:pt>
                <c:pt idx="2195">
                  <c:v>41.3</c:v>
                </c:pt>
                <c:pt idx="2196">
                  <c:v>47</c:v>
                </c:pt>
                <c:pt idx="2197">
                  <c:v>38.200000000000003</c:v>
                </c:pt>
                <c:pt idx="2198">
                  <c:v>42.016779524385299</c:v>
                </c:pt>
                <c:pt idx="2199">
                  <c:v>41.3</c:v>
                </c:pt>
                <c:pt idx="2200">
                  <c:v>45.2</c:v>
                </c:pt>
                <c:pt idx="2201">
                  <c:v>35.645767550000002</c:v>
                </c:pt>
                <c:pt idx="2202">
                  <c:v>44.4</c:v>
                </c:pt>
                <c:pt idx="2203">
                  <c:v>41.1</c:v>
                </c:pt>
                <c:pt idx="2204">
                  <c:v>35.299999999999997</c:v>
                </c:pt>
                <c:pt idx="2205">
                  <c:v>42.8</c:v>
                </c:pt>
                <c:pt idx="2206">
                  <c:v>45.378146577958702</c:v>
                </c:pt>
                <c:pt idx="2207">
                  <c:v>38.6</c:v>
                </c:pt>
                <c:pt idx="2208">
                  <c:v>48.3</c:v>
                </c:pt>
                <c:pt idx="2209">
                  <c:v>43</c:v>
                </c:pt>
                <c:pt idx="2210">
                  <c:v>56.2</c:v>
                </c:pt>
                <c:pt idx="2211">
                  <c:v>39.663912440265101</c:v>
                </c:pt>
                <c:pt idx="2212">
                  <c:v>41</c:v>
                </c:pt>
                <c:pt idx="2213">
                  <c:v>44</c:v>
                </c:pt>
                <c:pt idx="2214">
                  <c:v>48.9</c:v>
                </c:pt>
                <c:pt idx="2215">
                  <c:v>47.8</c:v>
                </c:pt>
                <c:pt idx="2216">
                  <c:v>38.1</c:v>
                </c:pt>
                <c:pt idx="2217">
                  <c:v>35.4</c:v>
                </c:pt>
                <c:pt idx="2218">
                  <c:v>43.7</c:v>
                </c:pt>
                <c:pt idx="2219">
                  <c:v>44.6</c:v>
                </c:pt>
                <c:pt idx="2220">
                  <c:v>40.1</c:v>
                </c:pt>
                <c:pt idx="2221">
                  <c:v>35.5</c:v>
                </c:pt>
                <c:pt idx="2222">
                  <c:v>49.3</c:v>
                </c:pt>
                <c:pt idx="2223">
                  <c:v>41.1</c:v>
                </c:pt>
                <c:pt idx="2224">
                  <c:v>40.1</c:v>
                </c:pt>
                <c:pt idx="2225">
                  <c:v>44.382050191407899</c:v>
                </c:pt>
                <c:pt idx="2226">
                  <c:v>38.9</c:v>
                </c:pt>
                <c:pt idx="2227">
                  <c:v>42.695576799999998</c:v>
                </c:pt>
                <c:pt idx="2228">
                  <c:v>45.2</c:v>
                </c:pt>
                <c:pt idx="2229">
                  <c:v>40.799999999999997</c:v>
                </c:pt>
                <c:pt idx="2230">
                  <c:v>39.1</c:v>
                </c:pt>
                <c:pt idx="2231">
                  <c:v>26.3</c:v>
                </c:pt>
                <c:pt idx="2232">
                  <c:v>38.583243093155602</c:v>
                </c:pt>
                <c:pt idx="2233">
                  <c:v>39.5</c:v>
                </c:pt>
                <c:pt idx="2234">
                  <c:v>39.9129409309121</c:v>
                </c:pt>
                <c:pt idx="2235">
                  <c:v>57.2</c:v>
                </c:pt>
                <c:pt idx="2236">
                  <c:v>35.1</c:v>
                </c:pt>
                <c:pt idx="2237">
                  <c:v>35.6</c:v>
                </c:pt>
                <c:pt idx="2238">
                  <c:v>45.4</c:v>
                </c:pt>
                <c:pt idx="2239">
                  <c:v>41</c:v>
                </c:pt>
                <c:pt idx="2240">
                  <c:v>42.6</c:v>
                </c:pt>
                <c:pt idx="2241">
                  <c:v>45.652244999585001</c:v>
                </c:pt>
                <c:pt idx="2242">
                  <c:v>39.392571485371498</c:v>
                </c:pt>
                <c:pt idx="2243">
                  <c:v>38</c:v>
                </c:pt>
                <c:pt idx="2244">
                  <c:v>36.9</c:v>
                </c:pt>
                <c:pt idx="2245">
                  <c:v>45.3</c:v>
                </c:pt>
                <c:pt idx="2246">
                  <c:v>45.5</c:v>
                </c:pt>
                <c:pt idx="2247">
                  <c:v>41.2</c:v>
                </c:pt>
                <c:pt idx="2248">
                  <c:v>49.2</c:v>
                </c:pt>
                <c:pt idx="2249">
                  <c:v>43.2</c:v>
                </c:pt>
                <c:pt idx="2250">
                  <c:v>40.5</c:v>
                </c:pt>
                <c:pt idx="2251">
                  <c:v>38.1</c:v>
                </c:pt>
                <c:pt idx="2252">
                  <c:v>42.1</c:v>
                </c:pt>
                <c:pt idx="2253">
                  <c:v>45.2</c:v>
                </c:pt>
                <c:pt idx="2254">
                  <c:v>48</c:v>
                </c:pt>
                <c:pt idx="2255">
                  <c:v>46.4</c:v>
                </c:pt>
                <c:pt idx="2256">
                  <c:v>42.3</c:v>
                </c:pt>
                <c:pt idx="2257">
                  <c:v>47.2</c:v>
                </c:pt>
                <c:pt idx="2258">
                  <c:v>34.169453426053003</c:v>
                </c:pt>
                <c:pt idx="2259">
                  <c:v>39.6</c:v>
                </c:pt>
                <c:pt idx="2260">
                  <c:v>36.780772371487103</c:v>
                </c:pt>
                <c:pt idx="2261">
                  <c:v>32.9</c:v>
                </c:pt>
                <c:pt idx="2262">
                  <c:v>48</c:v>
                </c:pt>
                <c:pt idx="2263">
                  <c:v>40.799999999999997</c:v>
                </c:pt>
                <c:pt idx="2264">
                  <c:v>54</c:v>
                </c:pt>
                <c:pt idx="2265">
                  <c:v>36.9</c:v>
                </c:pt>
                <c:pt idx="2266">
                  <c:v>43.3</c:v>
                </c:pt>
                <c:pt idx="2267">
                  <c:v>39.5</c:v>
                </c:pt>
                <c:pt idx="2268">
                  <c:v>36.1</c:v>
                </c:pt>
                <c:pt idx="2269">
                  <c:v>40.1</c:v>
                </c:pt>
                <c:pt idx="2270">
                  <c:v>41.017398259783803</c:v>
                </c:pt>
                <c:pt idx="2271">
                  <c:v>39.299999999999997</c:v>
                </c:pt>
                <c:pt idx="2272">
                  <c:v>44.1</c:v>
                </c:pt>
                <c:pt idx="2273">
                  <c:v>54.7</c:v>
                </c:pt>
                <c:pt idx="2274">
                  <c:v>38.6</c:v>
                </c:pt>
                <c:pt idx="2275">
                  <c:v>55.4</c:v>
                </c:pt>
                <c:pt idx="2276">
                  <c:v>55.6</c:v>
                </c:pt>
                <c:pt idx="2277">
                  <c:v>40.799999999999997</c:v>
                </c:pt>
                <c:pt idx="2278">
                  <c:v>35.846108553138301</c:v>
                </c:pt>
                <c:pt idx="2279">
                  <c:v>39.678312011059298</c:v>
                </c:pt>
                <c:pt idx="2280">
                  <c:v>45.7</c:v>
                </c:pt>
                <c:pt idx="2281">
                  <c:v>43.1</c:v>
                </c:pt>
                <c:pt idx="2282">
                  <c:v>43.644026692285699</c:v>
                </c:pt>
                <c:pt idx="2283">
                  <c:v>40.9</c:v>
                </c:pt>
                <c:pt idx="2284">
                  <c:v>43.4</c:v>
                </c:pt>
                <c:pt idx="2285">
                  <c:v>39.6</c:v>
                </c:pt>
                <c:pt idx="2286">
                  <c:v>44.4</c:v>
                </c:pt>
                <c:pt idx="2287">
                  <c:v>44.7</c:v>
                </c:pt>
                <c:pt idx="2288">
                  <c:v>45.9</c:v>
                </c:pt>
                <c:pt idx="2289">
                  <c:v>37.6</c:v>
                </c:pt>
                <c:pt idx="2290">
                  <c:v>45.1</c:v>
                </c:pt>
                <c:pt idx="2291">
                  <c:v>42.6</c:v>
                </c:pt>
                <c:pt idx="2292">
                  <c:v>42.9</c:v>
                </c:pt>
                <c:pt idx="2293">
                  <c:v>43.9</c:v>
                </c:pt>
                <c:pt idx="2294">
                  <c:v>52.1</c:v>
                </c:pt>
                <c:pt idx="2295">
                  <c:v>42.7</c:v>
                </c:pt>
                <c:pt idx="2296">
                  <c:v>41.882165803366803</c:v>
                </c:pt>
                <c:pt idx="2297">
                  <c:v>42.1</c:v>
                </c:pt>
                <c:pt idx="2298">
                  <c:v>38.5</c:v>
                </c:pt>
                <c:pt idx="2299">
                  <c:v>29.6</c:v>
                </c:pt>
                <c:pt idx="2300">
                  <c:v>47.2</c:v>
                </c:pt>
                <c:pt idx="2301">
                  <c:v>45.8</c:v>
                </c:pt>
                <c:pt idx="2302">
                  <c:v>47.9</c:v>
                </c:pt>
                <c:pt idx="2303">
                  <c:v>41.250084289358597</c:v>
                </c:pt>
                <c:pt idx="2304">
                  <c:v>42.8</c:v>
                </c:pt>
                <c:pt idx="2305">
                  <c:v>49.2</c:v>
                </c:pt>
                <c:pt idx="2306">
                  <c:v>37.6</c:v>
                </c:pt>
                <c:pt idx="2307">
                  <c:v>45.6</c:v>
                </c:pt>
                <c:pt idx="2308">
                  <c:v>38.700000000000003</c:v>
                </c:pt>
                <c:pt idx="2309">
                  <c:v>40.5</c:v>
                </c:pt>
                <c:pt idx="2310">
                  <c:v>43.1</c:v>
                </c:pt>
                <c:pt idx="2311">
                  <c:v>39.5</c:v>
                </c:pt>
                <c:pt idx="2312">
                  <c:v>39.299999999999997</c:v>
                </c:pt>
                <c:pt idx="2313">
                  <c:v>46.5</c:v>
                </c:pt>
                <c:pt idx="2314">
                  <c:v>42.126588963549302</c:v>
                </c:pt>
                <c:pt idx="2315">
                  <c:v>42.5</c:v>
                </c:pt>
                <c:pt idx="2316">
                  <c:v>43.993984040000001</c:v>
                </c:pt>
                <c:pt idx="2317">
                  <c:v>41.8</c:v>
                </c:pt>
                <c:pt idx="2318">
                  <c:v>52.4</c:v>
                </c:pt>
                <c:pt idx="2319">
                  <c:v>43.9</c:v>
                </c:pt>
                <c:pt idx="2320">
                  <c:v>39.2818872485539</c:v>
                </c:pt>
                <c:pt idx="2321">
                  <c:v>43.854863358153601</c:v>
                </c:pt>
                <c:pt idx="2322">
                  <c:v>42.397943099999999</c:v>
                </c:pt>
                <c:pt idx="2323">
                  <c:v>39.4</c:v>
                </c:pt>
                <c:pt idx="2324">
                  <c:v>37.299999999999997</c:v>
                </c:pt>
                <c:pt idx="2325">
                  <c:v>39.4</c:v>
                </c:pt>
                <c:pt idx="2326">
                  <c:v>42.8</c:v>
                </c:pt>
                <c:pt idx="2327">
                  <c:v>46.483221611611</c:v>
                </c:pt>
                <c:pt idx="2328">
                  <c:v>48.8</c:v>
                </c:pt>
                <c:pt idx="2329">
                  <c:v>38.649421499276102</c:v>
                </c:pt>
                <c:pt idx="2330">
                  <c:v>43.860920276851999</c:v>
                </c:pt>
                <c:pt idx="2331">
                  <c:v>44.2</c:v>
                </c:pt>
                <c:pt idx="2332">
                  <c:v>44</c:v>
                </c:pt>
                <c:pt idx="2333">
                  <c:v>42.7</c:v>
                </c:pt>
                <c:pt idx="2334">
                  <c:v>45.3</c:v>
                </c:pt>
                <c:pt idx="2335">
                  <c:v>36.1</c:v>
                </c:pt>
                <c:pt idx="2336">
                  <c:v>39.700000000000003</c:v>
                </c:pt>
                <c:pt idx="2337">
                  <c:v>32.901054656755498</c:v>
                </c:pt>
                <c:pt idx="2338">
                  <c:v>32.587935871743397</c:v>
                </c:pt>
                <c:pt idx="2339">
                  <c:v>38.200000000000003</c:v>
                </c:pt>
                <c:pt idx="2340">
                  <c:v>56.9</c:v>
                </c:pt>
                <c:pt idx="2341">
                  <c:v>43.6</c:v>
                </c:pt>
                <c:pt idx="2342">
                  <c:v>32.5</c:v>
                </c:pt>
                <c:pt idx="2343">
                  <c:v>42.299999999999898</c:v>
                </c:pt>
                <c:pt idx="2344">
                  <c:v>41.4</c:v>
                </c:pt>
                <c:pt idx="2345">
                  <c:v>44.1</c:v>
                </c:pt>
                <c:pt idx="2346">
                  <c:v>37.700000000000003</c:v>
                </c:pt>
                <c:pt idx="2347">
                  <c:v>39.5</c:v>
                </c:pt>
                <c:pt idx="2348">
                  <c:v>52.899999999999899</c:v>
                </c:pt>
                <c:pt idx="2349">
                  <c:v>43</c:v>
                </c:pt>
                <c:pt idx="2350">
                  <c:v>35.799999999999997</c:v>
                </c:pt>
                <c:pt idx="2351">
                  <c:v>38.700000000000003</c:v>
                </c:pt>
                <c:pt idx="2352">
                  <c:v>35.299999999999997</c:v>
                </c:pt>
                <c:pt idx="2353">
                  <c:v>35.799999999999997</c:v>
                </c:pt>
                <c:pt idx="2354">
                  <c:v>45</c:v>
                </c:pt>
                <c:pt idx="2355">
                  <c:v>40.299999999999997</c:v>
                </c:pt>
                <c:pt idx="2356">
                  <c:v>39.6</c:v>
                </c:pt>
                <c:pt idx="2357">
                  <c:v>37.752945590000003</c:v>
                </c:pt>
                <c:pt idx="2358">
                  <c:v>38.4</c:v>
                </c:pt>
                <c:pt idx="2359">
                  <c:v>40.5</c:v>
                </c:pt>
                <c:pt idx="2360">
                  <c:v>43.6</c:v>
                </c:pt>
                <c:pt idx="2361">
                  <c:v>41</c:v>
                </c:pt>
                <c:pt idx="2362">
                  <c:v>39.299999999999997</c:v>
                </c:pt>
                <c:pt idx="2363">
                  <c:v>37.700000000000003</c:v>
                </c:pt>
                <c:pt idx="2364">
                  <c:v>42.5</c:v>
                </c:pt>
                <c:pt idx="2365">
                  <c:v>41.299999999999898</c:v>
                </c:pt>
                <c:pt idx="2366">
                  <c:v>37.6</c:v>
                </c:pt>
                <c:pt idx="2367">
                  <c:v>55.5</c:v>
                </c:pt>
                <c:pt idx="2368">
                  <c:v>36.299999999999997</c:v>
                </c:pt>
                <c:pt idx="2369">
                  <c:v>40.200000000000003</c:v>
                </c:pt>
                <c:pt idx="2370">
                  <c:v>37.5</c:v>
                </c:pt>
                <c:pt idx="2371">
                  <c:v>43.9</c:v>
                </c:pt>
                <c:pt idx="2372">
                  <c:v>35.245061957540003</c:v>
                </c:pt>
                <c:pt idx="2373">
                  <c:v>35.5</c:v>
                </c:pt>
                <c:pt idx="2374">
                  <c:v>35.5</c:v>
                </c:pt>
                <c:pt idx="2375">
                  <c:v>36.700000000000003</c:v>
                </c:pt>
                <c:pt idx="2376">
                  <c:v>48</c:v>
                </c:pt>
                <c:pt idx="2377">
                  <c:v>45.8</c:v>
                </c:pt>
                <c:pt idx="2378">
                  <c:v>40.200000000000003</c:v>
                </c:pt>
                <c:pt idx="2379">
                  <c:v>35.200000000000003</c:v>
                </c:pt>
                <c:pt idx="2380">
                  <c:v>44.7</c:v>
                </c:pt>
                <c:pt idx="2381">
                  <c:v>35.9</c:v>
                </c:pt>
                <c:pt idx="2382">
                  <c:v>38.9</c:v>
                </c:pt>
                <c:pt idx="2383">
                  <c:v>45.4</c:v>
                </c:pt>
                <c:pt idx="2384">
                  <c:v>37.799999999999997</c:v>
                </c:pt>
                <c:pt idx="2385">
                  <c:v>42.6</c:v>
                </c:pt>
                <c:pt idx="2386">
                  <c:v>44</c:v>
                </c:pt>
                <c:pt idx="2387">
                  <c:v>46.2</c:v>
                </c:pt>
                <c:pt idx="2388">
                  <c:v>37.8310907618513</c:v>
                </c:pt>
                <c:pt idx="2389">
                  <c:v>37.6</c:v>
                </c:pt>
                <c:pt idx="2390">
                  <c:v>41.6</c:v>
                </c:pt>
                <c:pt idx="2391">
                  <c:v>40.747443883277199</c:v>
                </c:pt>
                <c:pt idx="2392">
                  <c:v>36.9</c:v>
                </c:pt>
                <c:pt idx="2393">
                  <c:v>36</c:v>
                </c:pt>
                <c:pt idx="2394">
                  <c:v>40.4</c:v>
                </c:pt>
                <c:pt idx="2395">
                  <c:v>36.200000000000003</c:v>
                </c:pt>
                <c:pt idx="2396">
                  <c:v>42.9</c:v>
                </c:pt>
                <c:pt idx="2397">
                  <c:v>45.3</c:v>
                </c:pt>
                <c:pt idx="2398">
                  <c:v>42.4</c:v>
                </c:pt>
                <c:pt idx="2399">
                  <c:v>44.8</c:v>
                </c:pt>
                <c:pt idx="2400">
                  <c:v>39.1</c:v>
                </c:pt>
                <c:pt idx="2401">
                  <c:v>39.4</c:v>
                </c:pt>
                <c:pt idx="2402">
                  <c:v>28.5</c:v>
                </c:pt>
                <c:pt idx="2403">
                  <c:v>40.799999999999997</c:v>
                </c:pt>
                <c:pt idx="2404">
                  <c:v>33.799999999999997</c:v>
                </c:pt>
                <c:pt idx="2405">
                  <c:v>34.4</c:v>
                </c:pt>
                <c:pt idx="2406">
                  <c:v>44</c:v>
                </c:pt>
                <c:pt idx="2407">
                  <c:v>43.4</c:v>
                </c:pt>
                <c:pt idx="2408">
                  <c:v>34.9</c:v>
                </c:pt>
                <c:pt idx="2409">
                  <c:v>32.5</c:v>
                </c:pt>
                <c:pt idx="2410">
                  <c:v>44.5</c:v>
                </c:pt>
                <c:pt idx="2411">
                  <c:v>45.3</c:v>
                </c:pt>
                <c:pt idx="2412">
                  <c:v>31.8</c:v>
                </c:pt>
                <c:pt idx="2413">
                  <c:v>36.6</c:v>
                </c:pt>
                <c:pt idx="2414">
                  <c:v>40.299999999999997</c:v>
                </c:pt>
                <c:pt idx="2415">
                  <c:v>40.4</c:v>
                </c:pt>
                <c:pt idx="2416">
                  <c:v>32.299999999999997</c:v>
                </c:pt>
                <c:pt idx="2417">
                  <c:v>44.4</c:v>
                </c:pt>
                <c:pt idx="2418">
                  <c:v>39.5</c:v>
                </c:pt>
                <c:pt idx="2419">
                  <c:v>40.1</c:v>
                </c:pt>
                <c:pt idx="2420">
                  <c:v>48</c:v>
                </c:pt>
                <c:pt idx="2421">
                  <c:v>47.8</c:v>
                </c:pt>
                <c:pt idx="2422">
                  <c:v>44.2</c:v>
                </c:pt>
                <c:pt idx="2423">
                  <c:v>45.5</c:v>
                </c:pt>
                <c:pt idx="2424">
                  <c:v>41.2</c:v>
                </c:pt>
                <c:pt idx="2425">
                  <c:v>39.799999999999997</c:v>
                </c:pt>
                <c:pt idx="2426">
                  <c:v>40.1</c:v>
                </c:pt>
                <c:pt idx="2427">
                  <c:v>42.9</c:v>
                </c:pt>
                <c:pt idx="2428">
                  <c:v>39.4</c:v>
                </c:pt>
                <c:pt idx="2429">
                  <c:v>39.299999999999898</c:v>
                </c:pt>
                <c:pt idx="2430">
                  <c:v>36.224500285551102</c:v>
                </c:pt>
                <c:pt idx="2431">
                  <c:v>36.799999999999997</c:v>
                </c:pt>
                <c:pt idx="2432">
                  <c:v>38.1</c:v>
                </c:pt>
                <c:pt idx="2433">
                  <c:v>31.169060342538501</c:v>
                </c:pt>
                <c:pt idx="2434">
                  <c:v>34.1</c:v>
                </c:pt>
                <c:pt idx="2435">
                  <c:v>41.1</c:v>
                </c:pt>
                <c:pt idx="2436">
                  <c:v>31.9</c:v>
                </c:pt>
                <c:pt idx="2437">
                  <c:v>34.299999999999997</c:v>
                </c:pt>
                <c:pt idx="2438">
                  <c:v>37.220659453820801</c:v>
                </c:pt>
                <c:pt idx="2439">
                  <c:v>35.200000000000003</c:v>
                </c:pt>
                <c:pt idx="2440">
                  <c:v>38.200000000000003</c:v>
                </c:pt>
                <c:pt idx="2441">
                  <c:v>37</c:v>
                </c:pt>
                <c:pt idx="2442">
                  <c:v>35</c:v>
                </c:pt>
                <c:pt idx="2443">
                  <c:v>46.3</c:v>
                </c:pt>
                <c:pt idx="2444">
                  <c:v>43.9</c:v>
                </c:pt>
                <c:pt idx="2445">
                  <c:v>39.700000000000003</c:v>
                </c:pt>
                <c:pt idx="2446">
                  <c:v>37.4</c:v>
                </c:pt>
                <c:pt idx="2447">
                  <c:v>39</c:v>
                </c:pt>
                <c:pt idx="2448">
                  <c:v>35.700000000000003</c:v>
                </c:pt>
                <c:pt idx="2449">
                  <c:v>39.799999999999997</c:v>
                </c:pt>
                <c:pt idx="2450">
                  <c:v>50.5</c:v>
                </c:pt>
                <c:pt idx="2451">
                  <c:v>36</c:v>
                </c:pt>
                <c:pt idx="2452">
                  <c:v>39.799999999999997</c:v>
                </c:pt>
                <c:pt idx="2453">
                  <c:v>33.1</c:v>
                </c:pt>
                <c:pt idx="2454">
                  <c:v>33.9</c:v>
                </c:pt>
                <c:pt idx="2455">
                  <c:v>43.4</c:v>
                </c:pt>
                <c:pt idx="2456">
                  <c:v>40.799999999999997</c:v>
                </c:pt>
                <c:pt idx="2457">
                  <c:v>43.310812364453497</c:v>
                </c:pt>
                <c:pt idx="2458">
                  <c:v>43.6</c:v>
                </c:pt>
                <c:pt idx="2459">
                  <c:v>42.5</c:v>
                </c:pt>
                <c:pt idx="2460">
                  <c:v>34.799999999999997</c:v>
                </c:pt>
                <c:pt idx="2461">
                  <c:v>41.4</c:v>
                </c:pt>
                <c:pt idx="2462">
                  <c:v>37.5</c:v>
                </c:pt>
                <c:pt idx="2463">
                  <c:v>50.1</c:v>
                </c:pt>
                <c:pt idx="2464">
                  <c:v>39.9</c:v>
                </c:pt>
                <c:pt idx="2465">
                  <c:v>51.1</c:v>
                </c:pt>
                <c:pt idx="2466">
                  <c:v>45.7</c:v>
                </c:pt>
                <c:pt idx="2467">
                  <c:v>38.4</c:v>
                </c:pt>
                <c:pt idx="2468">
                  <c:v>41.1</c:v>
                </c:pt>
                <c:pt idx="2469">
                  <c:v>48.1</c:v>
                </c:pt>
                <c:pt idx="2470">
                  <c:v>36.9</c:v>
                </c:pt>
                <c:pt idx="2471">
                  <c:v>41.4</c:v>
                </c:pt>
                <c:pt idx="2472">
                  <c:v>40.299999999999997</c:v>
                </c:pt>
                <c:pt idx="2473">
                  <c:v>47.9</c:v>
                </c:pt>
                <c:pt idx="2474">
                  <c:v>54.7</c:v>
                </c:pt>
                <c:pt idx="2475">
                  <c:v>39.200000000000003</c:v>
                </c:pt>
                <c:pt idx="2476">
                  <c:v>46.3</c:v>
                </c:pt>
                <c:pt idx="2477">
                  <c:v>44.2</c:v>
                </c:pt>
                <c:pt idx="2478">
                  <c:v>41.8</c:v>
                </c:pt>
                <c:pt idx="2479">
                  <c:v>41.1</c:v>
                </c:pt>
                <c:pt idx="2480">
                  <c:v>41.1</c:v>
                </c:pt>
                <c:pt idx="2481">
                  <c:v>47.8</c:v>
                </c:pt>
                <c:pt idx="2482">
                  <c:v>37.200000000000003</c:v>
                </c:pt>
                <c:pt idx="2483">
                  <c:v>43.7</c:v>
                </c:pt>
                <c:pt idx="2484">
                  <c:v>43.2</c:v>
                </c:pt>
                <c:pt idx="2485">
                  <c:v>41.6</c:v>
                </c:pt>
                <c:pt idx="2486">
                  <c:v>35.5</c:v>
                </c:pt>
                <c:pt idx="2487">
                  <c:v>44.004040278639899</c:v>
                </c:pt>
                <c:pt idx="2488">
                  <c:v>33</c:v>
                </c:pt>
                <c:pt idx="2489">
                  <c:v>44.1</c:v>
                </c:pt>
                <c:pt idx="2490">
                  <c:v>42.3</c:v>
                </c:pt>
                <c:pt idx="2491">
                  <c:v>38.1</c:v>
                </c:pt>
                <c:pt idx="2492">
                  <c:v>59.3</c:v>
                </c:pt>
                <c:pt idx="2493">
                  <c:v>40.4</c:v>
                </c:pt>
                <c:pt idx="2494">
                  <c:v>41.9</c:v>
                </c:pt>
                <c:pt idx="2495">
                  <c:v>44.1</c:v>
                </c:pt>
                <c:pt idx="2496">
                  <c:v>50.9</c:v>
                </c:pt>
                <c:pt idx="2497">
                  <c:v>33.333933251385702</c:v>
                </c:pt>
                <c:pt idx="2498">
                  <c:v>49.3</c:v>
                </c:pt>
                <c:pt idx="2499">
                  <c:v>44.5</c:v>
                </c:pt>
                <c:pt idx="2500">
                  <c:v>40.6</c:v>
                </c:pt>
                <c:pt idx="2501">
                  <c:v>37.5</c:v>
                </c:pt>
                <c:pt idx="2502">
                  <c:v>45.6</c:v>
                </c:pt>
                <c:pt idx="2503">
                  <c:v>40.9</c:v>
                </c:pt>
                <c:pt idx="2504">
                  <c:v>43.215566514410398</c:v>
                </c:pt>
                <c:pt idx="2505">
                  <c:v>49.1</c:v>
                </c:pt>
                <c:pt idx="2506">
                  <c:v>42.5</c:v>
                </c:pt>
                <c:pt idx="2507">
                  <c:v>40.9</c:v>
                </c:pt>
                <c:pt idx="2508">
                  <c:v>37.4</c:v>
                </c:pt>
                <c:pt idx="2509">
                  <c:v>40.5</c:v>
                </c:pt>
                <c:pt idx="2510">
                  <c:v>40.526916229068497</c:v>
                </c:pt>
                <c:pt idx="2511">
                  <c:v>35.299999999999997</c:v>
                </c:pt>
                <c:pt idx="2512">
                  <c:v>41.9</c:v>
                </c:pt>
                <c:pt idx="2513">
                  <c:v>40.700000000000003</c:v>
                </c:pt>
                <c:pt idx="2514">
                  <c:v>42.9</c:v>
                </c:pt>
                <c:pt idx="2515">
                  <c:v>47.6</c:v>
                </c:pt>
                <c:pt idx="2516">
                  <c:v>49.5</c:v>
                </c:pt>
                <c:pt idx="2517">
                  <c:v>50.7</c:v>
                </c:pt>
                <c:pt idx="2518">
                  <c:v>44.1</c:v>
                </c:pt>
                <c:pt idx="2519">
                  <c:v>42.7</c:v>
                </c:pt>
                <c:pt idx="2520">
                  <c:v>43.7</c:v>
                </c:pt>
                <c:pt idx="2521">
                  <c:v>44.6</c:v>
                </c:pt>
                <c:pt idx="2522">
                  <c:v>45</c:v>
                </c:pt>
                <c:pt idx="2523">
                  <c:v>44.3</c:v>
                </c:pt>
                <c:pt idx="2524">
                  <c:v>38.9</c:v>
                </c:pt>
                <c:pt idx="2525">
                  <c:v>42.8</c:v>
                </c:pt>
                <c:pt idx="2526">
                  <c:v>40.5</c:v>
                </c:pt>
                <c:pt idx="2527">
                  <c:v>42.8</c:v>
                </c:pt>
                <c:pt idx="2528">
                  <c:v>44.1</c:v>
                </c:pt>
                <c:pt idx="2529">
                  <c:v>35.7380307477694</c:v>
                </c:pt>
                <c:pt idx="2530">
                  <c:v>37.6</c:v>
                </c:pt>
                <c:pt idx="2531">
                  <c:v>42.6</c:v>
                </c:pt>
                <c:pt idx="2532">
                  <c:v>36.5</c:v>
                </c:pt>
                <c:pt idx="2533">
                  <c:v>39.211906319999997</c:v>
                </c:pt>
                <c:pt idx="2534">
                  <c:v>45.3</c:v>
                </c:pt>
                <c:pt idx="2535">
                  <c:v>39.299999999999997</c:v>
                </c:pt>
                <c:pt idx="2536">
                  <c:v>35.999776279999999</c:v>
                </c:pt>
                <c:pt idx="2537">
                  <c:v>32.4</c:v>
                </c:pt>
                <c:pt idx="2538">
                  <c:v>39.200000000000003</c:v>
                </c:pt>
                <c:pt idx="2539">
                  <c:v>47.5</c:v>
                </c:pt>
                <c:pt idx="2540">
                  <c:v>42.4</c:v>
                </c:pt>
                <c:pt idx="2541">
                  <c:v>44.1</c:v>
                </c:pt>
                <c:pt idx="2542">
                  <c:v>40</c:v>
                </c:pt>
                <c:pt idx="2543">
                  <c:v>40.5</c:v>
                </c:pt>
                <c:pt idx="2544">
                  <c:v>48.5</c:v>
                </c:pt>
                <c:pt idx="2545">
                  <c:v>41.5</c:v>
                </c:pt>
                <c:pt idx="2546">
                  <c:v>42.5</c:v>
                </c:pt>
                <c:pt idx="2547">
                  <c:v>47.2</c:v>
                </c:pt>
                <c:pt idx="2548">
                  <c:v>47.2</c:v>
                </c:pt>
                <c:pt idx="2549">
                  <c:v>42</c:v>
                </c:pt>
                <c:pt idx="2550">
                  <c:v>42.9</c:v>
                </c:pt>
                <c:pt idx="2551">
                  <c:v>44.8</c:v>
                </c:pt>
                <c:pt idx="2552">
                  <c:v>39.200000000000003</c:v>
                </c:pt>
                <c:pt idx="2553">
                  <c:v>45.8</c:v>
                </c:pt>
                <c:pt idx="2554">
                  <c:v>46.2</c:v>
                </c:pt>
                <c:pt idx="2555">
                  <c:v>50.4</c:v>
                </c:pt>
                <c:pt idx="2556">
                  <c:v>48.1</c:v>
                </c:pt>
                <c:pt idx="2557">
                  <c:v>35.4</c:v>
                </c:pt>
                <c:pt idx="2558">
                  <c:v>41.4</c:v>
                </c:pt>
                <c:pt idx="2559">
                  <c:v>41.5</c:v>
                </c:pt>
                <c:pt idx="2560">
                  <c:v>38.299999999999997</c:v>
                </c:pt>
                <c:pt idx="2561">
                  <c:v>41.4</c:v>
                </c:pt>
                <c:pt idx="2562">
                  <c:v>41.5</c:v>
                </c:pt>
                <c:pt idx="2563">
                  <c:v>30.5</c:v>
                </c:pt>
                <c:pt idx="2564">
                  <c:v>41</c:v>
                </c:pt>
                <c:pt idx="2565">
                  <c:v>38.200000000000003</c:v>
                </c:pt>
                <c:pt idx="2566">
                  <c:v>39.700000000000003</c:v>
                </c:pt>
                <c:pt idx="2567">
                  <c:v>36</c:v>
                </c:pt>
                <c:pt idx="2568">
                  <c:v>39.700000000000003</c:v>
                </c:pt>
                <c:pt idx="2569">
                  <c:v>42.4</c:v>
                </c:pt>
                <c:pt idx="2570">
                  <c:v>40.700000000000003</c:v>
                </c:pt>
                <c:pt idx="2571">
                  <c:v>40.5</c:v>
                </c:pt>
                <c:pt idx="2572">
                  <c:v>40.799999999999997</c:v>
                </c:pt>
                <c:pt idx="2573">
                  <c:v>46.2</c:v>
                </c:pt>
                <c:pt idx="2574">
                  <c:v>46.1</c:v>
                </c:pt>
                <c:pt idx="2575">
                  <c:v>48.2</c:v>
                </c:pt>
                <c:pt idx="2576">
                  <c:v>34.200000000000003</c:v>
                </c:pt>
                <c:pt idx="2577">
                  <c:v>44.7</c:v>
                </c:pt>
                <c:pt idx="2578">
                  <c:v>41.4</c:v>
                </c:pt>
                <c:pt idx="2579">
                  <c:v>41.6</c:v>
                </c:pt>
                <c:pt idx="2580">
                  <c:v>45.9</c:v>
                </c:pt>
                <c:pt idx="2581">
                  <c:v>45.4</c:v>
                </c:pt>
                <c:pt idx="2582">
                  <c:v>35.799999999999997</c:v>
                </c:pt>
                <c:pt idx="2583">
                  <c:v>39.200000000000003</c:v>
                </c:pt>
                <c:pt idx="2584">
                  <c:v>42.1</c:v>
                </c:pt>
                <c:pt idx="2585">
                  <c:v>42.2</c:v>
                </c:pt>
                <c:pt idx="2586">
                  <c:v>36.9</c:v>
                </c:pt>
                <c:pt idx="2587">
                  <c:v>32</c:v>
                </c:pt>
                <c:pt idx="2588">
                  <c:v>41.1</c:v>
                </c:pt>
                <c:pt idx="2589">
                  <c:v>38.6</c:v>
                </c:pt>
                <c:pt idx="2590">
                  <c:v>35.4</c:v>
                </c:pt>
                <c:pt idx="2591">
                  <c:v>42.8</c:v>
                </c:pt>
                <c:pt idx="2592">
                  <c:v>41</c:v>
                </c:pt>
                <c:pt idx="2593">
                  <c:v>34.752695237561703</c:v>
                </c:pt>
                <c:pt idx="2594">
                  <c:v>42.2</c:v>
                </c:pt>
                <c:pt idx="2595">
                  <c:v>38.200000000000003</c:v>
                </c:pt>
                <c:pt idx="2596">
                  <c:v>46</c:v>
                </c:pt>
                <c:pt idx="2597">
                  <c:v>38.5</c:v>
                </c:pt>
                <c:pt idx="2598">
                  <c:v>44.7</c:v>
                </c:pt>
                <c:pt idx="2599">
                  <c:v>53.5</c:v>
                </c:pt>
                <c:pt idx="2600">
                  <c:v>39.1</c:v>
                </c:pt>
                <c:pt idx="2601">
                  <c:v>46.7</c:v>
                </c:pt>
                <c:pt idx="2602">
                  <c:v>18.399999999999999</c:v>
                </c:pt>
                <c:pt idx="2603">
                  <c:v>39.700000000000003</c:v>
                </c:pt>
                <c:pt idx="2604">
                  <c:v>44.3</c:v>
                </c:pt>
                <c:pt idx="2605">
                  <c:v>49.1</c:v>
                </c:pt>
                <c:pt idx="2606">
                  <c:v>39</c:v>
                </c:pt>
                <c:pt idx="2607">
                  <c:v>49.5</c:v>
                </c:pt>
                <c:pt idx="2608">
                  <c:v>48.4</c:v>
                </c:pt>
                <c:pt idx="2609">
                  <c:v>46.1</c:v>
                </c:pt>
                <c:pt idx="2610">
                  <c:v>47.6</c:v>
                </c:pt>
                <c:pt idx="2611">
                  <c:v>44.4</c:v>
                </c:pt>
                <c:pt idx="2612">
                  <c:v>40.6</c:v>
                </c:pt>
                <c:pt idx="2613">
                  <c:v>46.2</c:v>
                </c:pt>
                <c:pt idx="2614">
                  <c:v>44.5</c:v>
                </c:pt>
                <c:pt idx="2615">
                  <c:v>44.4</c:v>
                </c:pt>
                <c:pt idx="2616">
                  <c:v>38.299999999999997</c:v>
                </c:pt>
                <c:pt idx="2617">
                  <c:v>37.5</c:v>
                </c:pt>
                <c:pt idx="2618">
                  <c:v>43.3</c:v>
                </c:pt>
                <c:pt idx="2619">
                  <c:v>42.899999999999899</c:v>
                </c:pt>
                <c:pt idx="2620">
                  <c:v>36.1</c:v>
                </c:pt>
                <c:pt idx="2621">
                  <c:v>36.1</c:v>
                </c:pt>
                <c:pt idx="2622">
                  <c:v>44</c:v>
                </c:pt>
                <c:pt idx="2623">
                  <c:v>35</c:v>
                </c:pt>
                <c:pt idx="2624">
                  <c:v>46.1</c:v>
                </c:pt>
                <c:pt idx="2625">
                  <c:v>46.7</c:v>
                </c:pt>
                <c:pt idx="2626">
                  <c:v>68.599999999999994</c:v>
                </c:pt>
                <c:pt idx="2627">
                  <c:v>43.2</c:v>
                </c:pt>
                <c:pt idx="2628">
                  <c:v>36.9</c:v>
                </c:pt>
                <c:pt idx="2629">
                  <c:v>39.200000000000003</c:v>
                </c:pt>
                <c:pt idx="2630">
                  <c:v>58.1</c:v>
                </c:pt>
                <c:pt idx="2631">
                  <c:v>45.1</c:v>
                </c:pt>
                <c:pt idx="2632">
                  <c:v>42.4</c:v>
                </c:pt>
                <c:pt idx="2633">
                  <c:v>49.3</c:v>
                </c:pt>
                <c:pt idx="2634">
                  <c:v>38.5</c:v>
                </c:pt>
                <c:pt idx="2635">
                  <c:v>42.6</c:v>
                </c:pt>
                <c:pt idx="2636">
                  <c:v>40.9</c:v>
                </c:pt>
                <c:pt idx="2637">
                  <c:v>44.1</c:v>
                </c:pt>
                <c:pt idx="2638">
                  <c:v>46.8</c:v>
                </c:pt>
                <c:pt idx="2639">
                  <c:v>47.5</c:v>
                </c:pt>
                <c:pt idx="2640">
                  <c:v>40.700000000000003</c:v>
                </c:pt>
                <c:pt idx="2641">
                  <c:v>39.4</c:v>
                </c:pt>
                <c:pt idx="2642">
                  <c:v>42.299999999999898</c:v>
                </c:pt>
                <c:pt idx="2643">
                  <c:v>45</c:v>
                </c:pt>
                <c:pt idx="2644">
                  <c:v>42.3</c:v>
                </c:pt>
                <c:pt idx="2645">
                  <c:v>40.9</c:v>
                </c:pt>
                <c:pt idx="2646">
                  <c:v>46.455107733743702</c:v>
                </c:pt>
                <c:pt idx="2647">
                  <c:v>42.7</c:v>
                </c:pt>
                <c:pt idx="2648">
                  <c:v>42.8</c:v>
                </c:pt>
                <c:pt idx="2649">
                  <c:v>41.8</c:v>
                </c:pt>
                <c:pt idx="2650">
                  <c:v>39.299999999999997</c:v>
                </c:pt>
                <c:pt idx="2651">
                  <c:v>53.3</c:v>
                </c:pt>
                <c:pt idx="2652">
                  <c:v>39.752627737226199</c:v>
                </c:pt>
                <c:pt idx="2653">
                  <c:v>43.1</c:v>
                </c:pt>
                <c:pt idx="2654">
                  <c:v>45.8</c:v>
                </c:pt>
                <c:pt idx="2655">
                  <c:v>40.799999999999997</c:v>
                </c:pt>
                <c:pt idx="2656">
                  <c:v>45.7</c:v>
                </c:pt>
                <c:pt idx="2657">
                  <c:v>39.6</c:v>
                </c:pt>
                <c:pt idx="2658">
                  <c:v>37.200000000000003</c:v>
                </c:pt>
                <c:pt idx="2659">
                  <c:v>42.6</c:v>
                </c:pt>
                <c:pt idx="2660">
                  <c:v>41</c:v>
                </c:pt>
                <c:pt idx="2661">
                  <c:v>44.7</c:v>
                </c:pt>
                <c:pt idx="2662">
                  <c:v>45.8</c:v>
                </c:pt>
                <c:pt idx="2663">
                  <c:v>23.2</c:v>
                </c:pt>
                <c:pt idx="2664">
                  <c:v>40.299999999999997</c:v>
                </c:pt>
                <c:pt idx="2665">
                  <c:v>42.799999999999898</c:v>
                </c:pt>
                <c:pt idx="2666">
                  <c:v>34.860442709175899</c:v>
                </c:pt>
                <c:pt idx="2667">
                  <c:v>49.7</c:v>
                </c:pt>
                <c:pt idx="2668">
                  <c:v>47.9</c:v>
                </c:pt>
                <c:pt idx="2669">
                  <c:v>41</c:v>
                </c:pt>
                <c:pt idx="2670">
                  <c:v>40.9</c:v>
                </c:pt>
                <c:pt idx="2671">
                  <c:v>37.9</c:v>
                </c:pt>
                <c:pt idx="2672">
                  <c:v>44.7</c:v>
                </c:pt>
                <c:pt idx="2673">
                  <c:v>44.7</c:v>
                </c:pt>
                <c:pt idx="2674">
                  <c:v>45.8</c:v>
                </c:pt>
                <c:pt idx="2675">
                  <c:v>41.3</c:v>
                </c:pt>
                <c:pt idx="2676">
                  <c:v>45.9</c:v>
                </c:pt>
                <c:pt idx="2677">
                  <c:v>42.7</c:v>
                </c:pt>
                <c:pt idx="2678">
                  <c:v>38.5</c:v>
                </c:pt>
                <c:pt idx="2679">
                  <c:v>56.3</c:v>
                </c:pt>
                <c:pt idx="2680">
                  <c:v>60.3</c:v>
                </c:pt>
                <c:pt idx="2681">
                  <c:v>45.5</c:v>
                </c:pt>
                <c:pt idx="2682">
                  <c:v>42.2</c:v>
                </c:pt>
                <c:pt idx="2683">
                  <c:v>43.1</c:v>
                </c:pt>
                <c:pt idx="2684">
                  <c:v>35.299999999999997</c:v>
                </c:pt>
                <c:pt idx="2685">
                  <c:v>40.9</c:v>
                </c:pt>
                <c:pt idx="2686">
                  <c:v>40.9</c:v>
                </c:pt>
                <c:pt idx="2687">
                  <c:v>50</c:v>
                </c:pt>
                <c:pt idx="2688">
                  <c:v>47.7</c:v>
                </c:pt>
                <c:pt idx="2689">
                  <c:v>38.6</c:v>
                </c:pt>
                <c:pt idx="2690">
                  <c:v>39.799999999999997</c:v>
                </c:pt>
                <c:pt idx="2691">
                  <c:v>30</c:v>
                </c:pt>
                <c:pt idx="2692">
                  <c:v>32.7387973567375</c:v>
                </c:pt>
                <c:pt idx="2693">
                  <c:v>45.1</c:v>
                </c:pt>
                <c:pt idx="2694">
                  <c:v>43.3</c:v>
                </c:pt>
                <c:pt idx="2695">
                  <c:v>43.1</c:v>
                </c:pt>
                <c:pt idx="2696">
                  <c:v>38.9</c:v>
                </c:pt>
                <c:pt idx="2697">
                  <c:v>33.299999999999997</c:v>
                </c:pt>
                <c:pt idx="2698">
                  <c:v>44.6</c:v>
                </c:pt>
                <c:pt idx="2699">
                  <c:v>36.6</c:v>
                </c:pt>
                <c:pt idx="2700">
                  <c:v>42.3</c:v>
                </c:pt>
                <c:pt idx="2701">
                  <c:v>42.3</c:v>
                </c:pt>
                <c:pt idx="2702">
                  <c:v>33.700000000000003</c:v>
                </c:pt>
                <c:pt idx="2703">
                  <c:v>35.150752564970503</c:v>
                </c:pt>
                <c:pt idx="2704">
                  <c:v>36.299999999999997</c:v>
                </c:pt>
                <c:pt idx="2705">
                  <c:v>35.1</c:v>
                </c:pt>
                <c:pt idx="2706">
                  <c:v>46.7</c:v>
                </c:pt>
                <c:pt idx="2707">
                  <c:v>40</c:v>
                </c:pt>
                <c:pt idx="2708">
                  <c:v>53.5</c:v>
                </c:pt>
                <c:pt idx="2709">
                  <c:v>45.3</c:v>
                </c:pt>
                <c:pt idx="2710">
                  <c:v>40.799999999999997</c:v>
                </c:pt>
                <c:pt idx="2711">
                  <c:v>40.137863471371098</c:v>
                </c:pt>
                <c:pt idx="2712">
                  <c:v>39.5</c:v>
                </c:pt>
                <c:pt idx="2713">
                  <c:v>42.1</c:v>
                </c:pt>
                <c:pt idx="2714">
                  <c:v>40.200000000000003</c:v>
                </c:pt>
                <c:pt idx="2715">
                  <c:v>42.7</c:v>
                </c:pt>
                <c:pt idx="2716">
                  <c:v>41.8</c:v>
                </c:pt>
                <c:pt idx="2717">
                  <c:v>37.4</c:v>
                </c:pt>
                <c:pt idx="2718">
                  <c:v>41.5</c:v>
                </c:pt>
                <c:pt idx="2719">
                  <c:v>43.1</c:v>
                </c:pt>
                <c:pt idx="2720">
                  <c:v>51.2</c:v>
                </c:pt>
                <c:pt idx="2721">
                  <c:v>40.1</c:v>
                </c:pt>
                <c:pt idx="2722">
                  <c:v>46.1</c:v>
                </c:pt>
                <c:pt idx="2723">
                  <c:v>40.299999999999997</c:v>
                </c:pt>
                <c:pt idx="2724">
                  <c:v>43</c:v>
                </c:pt>
                <c:pt idx="2725">
                  <c:v>44.5</c:v>
                </c:pt>
                <c:pt idx="2726">
                  <c:v>46.4</c:v>
                </c:pt>
                <c:pt idx="2727">
                  <c:v>44.8</c:v>
                </c:pt>
                <c:pt idx="2728">
                  <c:v>37.9</c:v>
                </c:pt>
                <c:pt idx="2729">
                  <c:v>37.799999999999898</c:v>
                </c:pt>
                <c:pt idx="2730">
                  <c:v>44.6</c:v>
                </c:pt>
                <c:pt idx="2731">
                  <c:v>36.799999999999997</c:v>
                </c:pt>
                <c:pt idx="2732">
                  <c:v>39.799999999999997</c:v>
                </c:pt>
                <c:pt idx="2733">
                  <c:v>38.9</c:v>
                </c:pt>
                <c:pt idx="2734">
                  <c:v>44.4</c:v>
                </c:pt>
                <c:pt idx="2735">
                  <c:v>40.799999999999997</c:v>
                </c:pt>
                <c:pt idx="2736">
                  <c:v>42.4</c:v>
                </c:pt>
                <c:pt idx="2737">
                  <c:v>54.8</c:v>
                </c:pt>
                <c:pt idx="2738">
                  <c:v>54.6</c:v>
                </c:pt>
                <c:pt idx="2739">
                  <c:v>39.700000000000003</c:v>
                </c:pt>
                <c:pt idx="2740">
                  <c:v>43.799999999999898</c:v>
                </c:pt>
                <c:pt idx="2741">
                  <c:v>42.7</c:v>
                </c:pt>
                <c:pt idx="2742">
                  <c:v>42.3</c:v>
                </c:pt>
                <c:pt idx="2743">
                  <c:v>36.200000000000003</c:v>
                </c:pt>
                <c:pt idx="2744">
                  <c:v>42.7</c:v>
                </c:pt>
                <c:pt idx="2745">
                  <c:v>43.7</c:v>
                </c:pt>
                <c:pt idx="2746">
                  <c:v>40.9</c:v>
                </c:pt>
                <c:pt idx="2747">
                  <c:v>41.1</c:v>
                </c:pt>
                <c:pt idx="2748">
                  <c:v>42.4</c:v>
                </c:pt>
                <c:pt idx="2749">
                  <c:v>35.299999999999997</c:v>
                </c:pt>
                <c:pt idx="2750">
                  <c:v>35.299999999999997</c:v>
                </c:pt>
                <c:pt idx="2751">
                  <c:v>41.2</c:v>
                </c:pt>
                <c:pt idx="2752">
                  <c:v>37.1</c:v>
                </c:pt>
                <c:pt idx="2753">
                  <c:v>42.7</c:v>
                </c:pt>
                <c:pt idx="2754">
                  <c:v>44.8</c:v>
                </c:pt>
                <c:pt idx="2755">
                  <c:v>52.7</c:v>
                </c:pt>
                <c:pt idx="2756">
                  <c:v>43.8</c:v>
                </c:pt>
                <c:pt idx="2757">
                  <c:v>41.6</c:v>
                </c:pt>
                <c:pt idx="2758">
                  <c:v>42.6</c:v>
                </c:pt>
                <c:pt idx="2759">
                  <c:v>43.1</c:v>
                </c:pt>
                <c:pt idx="2760">
                  <c:v>40</c:v>
                </c:pt>
                <c:pt idx="2761">
                  <c:v>44.7</c:v>
                </c:pt>
                <c:pt idx="2762">
                  <c:v>37.799999999999997</c:v>
                </c:pt>
                <c:pt idx="2763">
                  <c:v>38</c:v>
                </c:pt>
                <c:pt idx="2764">
                  <c:v>43.3</c:v>
                </c:pt>
                <c:pt idx="2765">
                  <c:v>48.389029322946598</c:v>
                </c:pt>
                <c:pt idx="2766">
                  <c:v>43</c:v>
                </c:pt>
                <c:pt idx="2767">
                  <c:v>47.1</c:v>
                </c:pt>
                <c:pt idx="2768">
                  <c:v>38.486629230952097</c:v>
                </c:pt>
                <c:pt idx="2769">
                  <c:v>50.6</c:v>
                </c:pt>
                <c:pt idx="2770">
                  <c:v>42.4</c:v>
                </c:pt>
                <c:pt idx="2771">
                  <c:v>36.700000000000003</c:v>
                </c:pt>
                <c:pt idx="2772">
                  <c:v>42.6</c:v>
                </c:pt>
                <c:pt idx="2773">
                  <c:v>53.8</c:v>
                </c:pt>
                <c:pt idx="2774">
                  <c:v>45.299999999999898</c:v>
                </c:pt>
                <c:pt idx="2775">
                  <c:v>44.7</c:v>
                </c:pt>
                <c:pt idx="2776">
                  <c:v>51</c:v>
                </c:pt>
                <c:pt idx="2777">
                  <c:v>36.4</c:v>
                </c:pt>
                <c:pt idx="2778">
                  <c:v>42.5</c:v>
                </c:pt>
                <c:pt idx="2779">
                  <c:v>38.9</c:v>
                </c:pt>
                <c:pt idx="2780">
                  <c:v>40.4</c:v>
                </c:pt>
                <c:pt idx="2781">
                  <c:v>45.6</c:v>
                </c:pt>
                <c:pt idx="2782">
                  <c:v>43.7</c:v>
                </c:pt>
                <c:pt idx="2783">
                  <c:v>45.399999999999899</c:v>
                </c:pt>
                <c:pt idx="2784">
                  <c:v>42.3</c:v>
                </c:pt>
                <c:pt idx="2785">
                  <c:v>37</c:v>
                </c:pt>
                <c:pt idx="2786">
                  <c:v>41.7</c:v>
                </c:pt>
                <c:pt idx="2787">
                  <c:v>34.299999999999997</c:v>
                </c:pt>
                <c:pt idx="2788">
                  <c:v>47.8</c:v>
                </c:pt>
                <c:pt idx="2789">
                  <c:v>37</c:v>
                </c:pt>
                <c:pt idx="2790">
                  <c:v>43.9</c:v>
                </c:pt>
                <c:pt idx="2791">
                  <c:v>40.9</c:v>
                </c:pt>
                <c:pt idx="2792">
                  <c:v>39.4</c:v>
                </c:pt>
                <c:pt idx="2793">
                  <c:v>43.4</c:v>
                </c:pt>
                <c:pt idx="2794">
                  <c:v>41</c:v>
                </c:pt>
                <c:pt idx="2795">
                  <c:v>49.6</c:v>
                </c:pt>
                <c:pt idx="2796">
                  <c:v>52.7</c:v>
                </c:pt>
                <c:pt idx="2797">
                  <c:v>57.1</c:v>
                </c:pt>
                <c:pt idx="2798">
                  <c:v>39.5</c:v>
                </c:pt>
                <c:pt idx="2799">
                  <c:v>40.799999999999997</c:v>
                </c:pt>
                <c:pt idx="2800">
                  <c:v>41.7</c:v>
                </c:pt>
                <c:pt idx="2801">
                  <c:v>46.6</c:v>
                </c:pt>
                <c:pt idx="2802">
                  <c:v>46.7</c:v>
                </c:pt>
                <c:pt idx="2803">
                  <c:v>36.4</c:v>
                </c:pt>
                <c:pt idx="2804">
                  <c:v>45.1</c:v>
                </c:pt>
                <c:pt idx="2805">
                  <c:v>35.912554797094103</c:v>
                </c:pt>
                <c:pt idx="2806">
                  <c:v>47.8</c:v>
                </c:pt>
                <c:pt idx="2807">
                  <c:v>44.8</c:v>
                </c:pt>
                <c:pt idx="2808">
                  <c:v>41.9</c:v>
                </c:pt>
                <c:pt idx="2809">
                  <c:v>49</c:v>
                </c:pt>
                <c:pt idx="2810">
                  <c:v>44.1</c:v>
                </c:pt>
                <c:pt idx="2811">
                  <c:v>40.5</c:v>
                </c:pt>
                <c:pt idx="2812">
                  <c:v>47.3</c:v>
                </c:pt>
                <c:pt idx="2813">
                  <c:v>41.4</c:v>
                </c:pt>
                <c:pt idx="2814">
                  <c:v>45.1</c:v>
                </c:pt>
                <c:pt idx="2815">
                  <c:v>43.1</c:v>
                </c:pt>
                <c:pt idx="2816">
                  <c:v>36.9</c:v>
                </c:pt>
                <c:pt idx="2817">
                  <c:v>35.628321327619197</c:v>
                </c:pt>
                <c:pt idx="2818">
                  <c:v>43</c:v>
                </c:pt>
                <c:pt idx="2819">
                  <c:v>48.4</c:v>
                </c:pt>
                <c:pt idx="2820">
                  <c:v>50.2</c:v>
                </c:pt>
                <c:pt idx="2821">
                  <c:v>42.1</c:v>
                </c:pt>
                <c:pt idx="2822">
                  <c:v>41</c:v>
                </c:pt>
                <c:pt idx="2823">
                  <c:v>45.9</c:v>
                </c:pt>
                <c:pt idx="2824">
                  <c:v>43</c:v>
                </c:pt>
                <c:pt idx="2825">
                  <c:v>40.799999999999898</c:v>
                </c:pt>
                <c:pt idx="2826">
                  <c:v>42.5</c:v>
                </c:pt>
                <c:pt idx="2827">
                  <c:v>49.2</c:v>
                </c:pt>
                <c:pt idx="2828">
                  <c:v>37.299999999999997</c:v>
                </c:pt>
                <c:pt idx="2829">
                  <c:v>42.5</c:v>
                </c:pt>
                <c:pt idx="2830">
                  <c:v>46.845261770695998</c:v>
                </c:pt>
                <c:pt idx="2831">
                  <c:v>39.799999999999997</c:v>
                </c:pt>
                <c:pt idx="2832">
                  <c:v>38.799999999999997</c:v>
                </c:pt>
                <c:pt idx="2833">
                  <c:v>44.1</c:v>
                </c:pt>
                <c:pt idx="2834">
                  <c:v>42.3</c:v>
                </c:pt>
                <c:pt idx="2835">
                  <c:v>39.200000000000003</c:v>
                </c:pt>
                <c:pt idx="2836">
                  <c:v>43.7</c:v>
                </c:pt>
                <c:pt idx="2837">
                  <c:v>42.5</c:v>
                </c:pt>
                <c:pt idx="2838">
                  <c:v>44.7</c:v>
                </c:pt>
                <c:pt idx="2839">
                  <c:v>39.139341997947803</c:v>
                </c:pt>
                <c:pt idx="2840">
                  <c:v>49.8</c:v>
                </c:pt>
                <c:pt idx="2841">
                  <c:v>44.4</c:v>
                </c:pt>
                <c:pt idx="2842">
                  <c:v>41.6</c:v>
                </c:pt>
                <c:pt idx="2843">
                  <c:v>34.299999999999997</c:v>
                </c:pt>
                <c:pt idx="2844">
                  <c:v>48.3</c:v>
                </c:pt>
                <c:pt idx="2845">
                  <c:v>35.299999999999997</c:v>
                </c:pt>
                <c:pt idx="2846">
                  <c:v>42.6</c:v>
                </c:pt>
                <c:pt idx="2847">
                  <c:v>41.2</c:v>
                </c:pt>
                <c:pt idx="2848">
                  <c:v>47.8</c:v>
                </c:pt>
                <c:pt idx="2849">
                  <c:v>50.7</c:v>
                </c:pt>
                <c:pt idx="2850">
                  <c:v>45.5</c:v>
                </c:pt>
                <c:pt idx="2851">
                  <c:v>32.200000000000003</c:v>
                </c:pt>
                <c:pt idx="2852">
                  <c:v>35.214424852801699</c:v>
                </c:pt>
                <c:pt idx="2853">
                  <c:v>43.3</c:v>
                </c:pt>
                <c:pt idx="2854">
                  <c:v>36.300206583765203</c:v>
                </c:pt>
                <c:pt idx="2855">
                  <c:v>41.2</c:v>
                </c:pt>
                <c:pt idx="2856">
                  <c:v>39.443358313263801</c:v>
                </c:pt>
                <c:pt idx="2857">
                  <c:v>44.1</c:v>
                </c:pt>
                <c:pt idx="2858">
                  <c:v>43.8</c:v>
                </c:pt>
                <c:pt idx="2859">
                  <c:v>40.6</c:v>
                </c:pt>
                <c:pt idx="2860">
                  <c:v>32.700000000000003</c:v>
                </c:pt>
                <c:pt idx="2861">
                  <c:v>51.5</c:v>
                </c:pt>
                <c:pt idx="2862">
                  <c:v>46.3</c:v>
                </c:pt>
                <c:pt idx="2863">
                  <c:v>51</c:v>
                </c:pt>
                <c:pt idx="2864">
                  <c:v>45.9</c:v>
                </c:pt>
                <c:pt idx="2865">
                  <c:v>45.3</c:v>
                </c:pt>
                <c:pt idx="2866">
                  <c:v>45.8</c:v>
                </c:pt>
                <c:pt idx="2867">
                  <c:v>30</c:v>
                </c:pt>
                <c:pt idx="2868">
                  <c:v>40.799999999999997</c:v>
                </c:pt>
                <c:pt idx="2869">
                  <c:v>45.7</c:v>
                </c:pt>
                <c:pt idx="2870">
                  <c:v>35.700000000000003</c:v>
                </c:pt>
                <c:pt idx="2871">
                  <c:v>38.200000000000003</c:v>
                </c:pt>
                <c:pt idx="2872">
                  <c:v>46.6</c:v>
                </c:pt>
                <c:pt idx="2873">
                  <c:v>38.9</c:v>
                </c:pt>
                <c:pt idx="2874">
                  <c:v>46.7</c:v>
                </c:pt>
                <c:pt idx="2875">
                  <c:v>41.9</c:v>
                </c:pt>
                <c:pt idx="2876">
                  <c:v>35.799999999999997</c:v>
                </c:pt>
                <c:pt idx="2877">
                  <c:v>42.5</c:v>
                </c:pt>
                <c:pt idx="2878">
                  <c:v>37.700000000000003</c:v>
                </c:pt>
                <c:pt idx="2879">
                  <c:v>34.6</c:v>
                </c:pt>
                <c:pt idx="2880">
                  <c:v>41</c:v>
                </c:pt>
                <c:pt idx="2881">
                  <c:v>39.4</c:v>
                </c:pt>
                <c:pt idx="2882">
                  <c:v>35</c:v>
                </c:pt>
                <c:pt idx="2883">
                  <c:v>41.899999999999899</c:v>
                </c:pt>
                <c:pt idx="2884">
                  <c:v>46.9</c:v>
                </c:pt>
                <c:pt idx="2885">
                  <c:v>39.1</c:v>
                </c:pt>
                <c:pt idx="2886">
                  <c:v>42.1</c:v>
                </c:pt>
                <c:pt idx="2887">
                  <c:v>46.3</c:v>
                </c:pt>
                <c:pt idx="2888">
                  <c:v>42.8</c:v>
                </c:pt>
                <c:pt idx="2889">
                  <c:v>40.200000000000003</c:v>
                </c:pt>
                <c:pt idx="2890">
                  <c:v>40.299999999999997</c:v>
                </c:pt>
                <c:pt idx="2891">
                  <c:v>43.8</c:v>
                </c:pt>
                <c:pt idx="2892">
                  <c:v>43.1</c:v>
                </c:pt>
                <c:pt idx="2893">
                  <c:v>35.6</c:v>
                </c:pt>
                <c:pt idx="2894">
                  <c:v>39.9</c:v>
                </c:pt>
                <c:pt idx="2895">
                  <c:v>38.6</c:v>
                </c:pt>
                <c:pt idx="2896">
                  <c:v>44.7</c:v>
                </c:pt>
                <c:pt idx="2897">
                  <c:v>44.3</c:v>
                </c:pt>
                <c:pt idx="2898">
                  <c:v>40.1</c:v>
                </c:pt>
                <c:pt idx="2899">
                  <c:v>43.5</c:v>
                </c:pt>
                <c:pt idx="2900">
                  <c:v>49.3</c:v>
                </c:pt>
                <c:pt idx="2901">
                  <c:v>40</c:v>
                </c:pt>
                <c:pt idx="2902">
                  <c:v>44.9</c:v>
                </c:pt>
                <c:pt idx="2903">
                  <c:v>34.299999999999997</c:v>
                </c:pt>
                <c:pt idx="2904">
                  <c:v>31.9</c:v>
                </c:pt>
                <c:pt idx="2905">
                  <c:v>41.5</c:v>
                </c:pt>
                <c:pt idx="2906">
                  <c:v>38.6</c:v>
                </c:pt>
                <c:pt idx="2907">
                  <c:v>53.8</c:v>
                </c:pt>
                <c:pt idx="2908">
                  <c:v>47.1</c:v>
                </c:pt>
                <c:pt idx="2909">
                  <c:v>49.8</c:v>
                </c:pt>
                <c:pt idx="2910">
                  <c:v>44.9</c:v>
                </c:pt>
                <c:pt idx="2911">
                  <c:v>37.700000000000003</c:v>
                </c:pt>
                <c:pt idx="2912">
                  <c:v>46.1</c:v>
                </c:pt>
                <c:pt idx="2913">
                  <c:v>43.1</c:v>
                </c:pt>
                <c:pt idx="2914">
                  <c:v>44.4</c:v>
                </c:pt>
                <c:pt idx="2915">
                  <c:v>32.6</c:v>
                </c:pt>
                <c:pt idx="2916">
                  <c:v>42.899999999999899</c:v>
                </c:pt>
                <c:pt idx="2917">
                  <c:v>48.2</c:v>
                </c:pt>
                <c:pt idx="2918">
                  <c:v>38.799999999999997</c:v>
                </c:pt>
                <c:pt idx="2919">
                  <c:v>41.5</c:v>
                </c:pt>
                <c:pt idx="2920">
                  <c:v>37.1</c:v>
                </c:pt>
                <c:pt idx="2921">
                  <c:v>35.700000000000003</c:v>
                </c:pt>
                <c:pt idx="2922">
                  <c:v>44.7</c:v>
                </c:pt>
                <c:pt idx="2923">
                  <c:v>45.7</c:v>
                </c:pt>
                <c:pt idx="2924">
                  <c:v>51.4</c:v>
                </c:pt>
                <c:pt idx="2925">
                  <c:v>39.6317462905592</c:v>
                </c:pt>
                <c:pt idx="2926">
                  <c:v>40.200000000000003</c:v>
                </c:pt>
                <c:pt idx="2927">
                  <c:v>45.9</c:v>
                </c:pt>
                <c:pt idx="2928">
                  <c:v>43.5</c:v>
                </c:pt>
                <c:pt idx="2929">
                  <c:v>42.3</c:v>
                </c:pt>
                <c:pt idx="2930">
                  <c:v>46.2</c:v>
                </c:pt>
                <c:pt idx="2931">
                  <c:v>39.200000000000003</c:v>
                </c:pt>
                <c:pt idx="2932">
                  <c:v>45.4</c:v>
                </c:pt>
                <c:pt idx="2933">
                  <c:v>44.6</c:v>
                </c:pt>
                <c:pt idx="2934">
                  <c:v>43.7</c:v>
                </c:pt>
                <c:pt idx="2935">
                  <c:v>46.3</c:v>
                </c:pt>
                <c:pt idx="2936">
                  <c:v>40.299999999999997</c:v>
                </c:pt>
                <c:pt idx="2937">
                  <c:v>37.4</c:v>
                </c:pt>
                <c:pt idx="2938">
                  <c:v>38.129241261722001</c:v>
                </c:pt>
                <c:pt idx="2939">
                  <c:v>39.5</c:v>
                </c:pt>
                <c:pt idx="2940">
                  <c:v>34.4</c:v>
                </c:pt>
                <c:pt idx="2941">
                  <c:v>42.5</c:v>
                </c:pt>
                <c:pt idx="2942">
                  <c:v>27.8</c:v>
                </c:pt>
                <c:pt idx="2943">
                  <c:v>45.2</c:v>
                </c:pt>
                <c:pt idx="2944">
                  <c:v>33.415705641363701</c:v>
                </c:pt>
                <c:pt idx="2945">
                  <c:v>42.7</c:v>
                </c:pt>
                <c:pt idx="2946">
                  <c:v>35.4</c:v>
                </c:pt>
                <c:pt idx="2947">
                  <c:v>34.700000000000003</c:v>
                </c:pt>
                <c:pt idx="2948">
                  <c:v>46.1</c:v>
                </c:pt>
                <c:pt idx="2949">
                  <c:v>45.3</c:v>
                </c:pt>
                <c:pt idx="2950">
                  <c:v>43.9</c:v>
                </c:pt>
                <c:pt idx="2951">
                  <c:v>39.9</c:v>
                </c:pt>
                <c:pt idx="2952">
                  <c:v>43.411336480000003</c:v>
                </c:pt>
                <c:pt idx="2953">
                  <c:v>48.6</c:v>
                </c:pt>
                <c:pt idx="2954">
                  <c:v>44.1</c:v>
                </c:pt>
                <c:pt idx="2955">
                  <c:v>41.8</c:v>
                </c:pt>
                <c:pt idx="2956">
                  <c:v>47</c:v>
                </c:pt>
                <c:pt idx="2957">
                  <c:v>47.3</c:v>
                </c:pt>
                <c:pt idx="2958">
                  <c:v>36</c:v>
                </c:pt>
                <c:pt idx="2959">
                  <c:v>43.4</c:v>
                </c:pt>
                <c:pt idx="2960">
                  <c:v>41</c:v>
                </c:pt>
                <c:pt idx="2961">
                  <c:v>39.700000000000003</c:v>
                </c:pt>
                <c:pt idx="2962">
                  <c:v>39.799999999999997</c:v>
                </c:pt>
                <c:pt idx="2963">
                  <c:v>43.6</c:v>
                </c:pt>
                <c:pt idx="2964">
                  <c:v>41.935828237394901</c:v>
                </c:pt>
                <c:pt idx="2965">
                  <c:v>40.299999999999997</c:v>
                </c:pt>
                <c:pt idx="2966">
                  <c:v>40.700000000000003</c:v>
                </c:pt>
                <c:pt idx="2967">
                  <c:v>41.8</c:v>
                </c:pt>
                <c:pt idx="2968">
                  <c:v>38</c:v>
                </c:pt>
                <c:pt idx="2969">
                  <c:v>49</c:v>
                </c:pt>
                <c:pt idx="2970">
                  <c:v>21.8</c:v>
                </c:pt>
                <c:pt idx="2971">
                  <c:v>38.1</c:v>
                </c:pt>
                <c:pt idx="2972">
                  <c:v>49.7</c:v>
                </c:pt>
                <c:pt idx="2973">
                  <c:v>42</c:v>
                </c:pt>
                <c:pt idx="2974">
                  <c:v>48</c:v>
                </c:pt>
                <c:pt idx="2975">
                  <c:v>42.6</c:v>
                </c:pt>
                <c:pt idx="2976">
                  <c:v>42.5</c:v>
                </c:pt>
                <c:pt idx="2977">
                  <c:v>36.700000000000003</c:v>
                </c:pt>
                <c:pt idx="2978">
                  <c:v>43.3</c:v>
                </c:pt>
                <c:pt idx="2979">
                  <c:v>38.799999999999997</c:v>
                </c:pt>
                <c:pt idx="2980">
                  <c:v>42.2</c:v>
                </c:pt>
                <c:pt idx="2981">
                  <c:v>43.1</c:v>
                </c:pt>
                <c:pt idx="2982">
                  <c:v>38.9</c:v>
                </c:pt>
                <c:pt idx="2983">
                  <c:v>44.6</c:v>
                </c:pt>
                <c:pt idx="2984">
                  <c:v>49.7</c:v>
                </c:pt>
                <c:pt idx="2985">
                  <c:v>42.867024529455698</c:v>
                </c:pt>
                <c:pt idx="2986">
                  <c:v>42.8</c:v>
                </c:pt>
                <c:pt idx="2987">
                  <c:v>46.2</c:v>
                </c:pt>
                <c:pt idx="2988">
                  <c:v>41.7</c:v>
                </c:pt>
                <c:pt idx="2989">
                  <c:v>37.6</c:v>
                </c:pt>
                <c:pt idx="2990">
                  <c:v>34.700000000000003</c:v>
                </c:pt>
                <c:pt idx="2991">
                  <c:v>47.3</c:v>
                </c:pt>
                <c:pt idx="2992">
                  <c:v>28.3</c:v>
                </c:pt>
                <c:pt idx="2993">
                  <c:v>43.1</c:v>
                </c:pt>
                <c:pt idx="2994">
                  <c:v>56.2</c:v>
                </c:pt>
                <c:pt idx="2995">
                  <c:v>40.299999999999997</c:v>
                </c:pt>
                <c:pt idx="2996">
                  <c:v>50.1</c:v>
                </c:pt>
                <c:pt idx="2997">
                  <c:v>44</c:v>
                </c:pt>
                <c:pt idx="2998">
                  <c:v>35.6</c:v>
                </c:pt>
                <c:pt idx="2999">
                  <c:v>48.3</c:v>
                </c:pt>
                <c:pt idx="3000">
                  <c:v>41.4</c:v>
                </c:pt>
                <c:pt idx="3001">
                  <c:v>41.9</c:v>
                </c:pt>
                <c:pt idx="3002">
                  <c:v>45.1</c:v>
                </c:pt>
                <c:pt idx="3003">
                  <c:v>42.2</c:v>
                </c:pt>
                <c:pt idx="3004">
                  <c:v>39.9</c:v>
                </c:pt>
                <c:pt idx="3005">
                  <c:v>31.6</c:v>
                </c:pt>
                <c:pt idx="3006">
                  <c:v>40.1</c:v>
                </c:pt>
                <c:pt idx="3007">
                  <c:v>41.7</c:v>
                </c:pt>
                <c:pt idx="3008">
                  <c:v>39.700000000000003</c:v>
                </c:pt>
                <c:pt idx="3009">
                  <c:v>47.6</c:v>
                </c:pt>
                <c:pt idx="3010">
                  <c:v>42</c:v>
                </c:pt>
                <c:pt idx="3011">
                  <c:v>46.5</c:v>
                </c:pt>
                <c:pt idx="3012">
                  <c:v>41.9</c:v>
                </c:pt>
                <c:pt idx="3013">
                  <c:v>44.7</c:v>
                </c:pt>
                <c:pt idx="3014">
                  <c:v>45.3</c:v>
                </c:pt>
                <c:pt idx="3015">
                  <c:v>46.2</c:v>
                </c:pt>
                <c:pt idx="3016">
                  <c:v>45.2</c:v>
                </c:pt>
                <c:pt idx="3017">
                  <c:v>38.299999999999997</c:v>
                </c:pt>
                <c:pt idx="3018">
                  <c:v>47.1</c:v>
                </c:pt>
                <c:pt idx="3019">
                  <c:v>42.3</c:v>
                </c:pt>
                <c:pt idx="3020">
                  <c:v>40.4</c:v>
                </c:pt>
                <c:pt idx="3021">
                  <c:v>50.4</c:v>
                </c:pt>
                <c:pt idx="3022">
                  <c:v>41.6</c:v>
                </c:pt>
                <c:pt idx="3023">
                  <c:v>38.799999999999997</c:v>
                </c:pt>
                <c:pt idx="3024">
                  <c:v>45.1</c:v>
                </c:pt>
                <c:pt idx="3025">
                  <c:v>45.6</c:v>
                </c:pt>
                <c:pt idx="3026">
                  <c:v>40.700000000000003</c:v>
                </c:pt>
                <c:pt idx="3027">
                  <c:v>37.611623119999997</c:v>
                </c:pt>
                <c:pt idx="3028">
                  <c:v>39.6</c:v>
                </c:pt>
                <c:pt idx="3029">
                  <c:v>43.5</c:v>
                </c:pt>
                <c:pt idx="3030">
                  <c:v>43.7</c:v>
                </c:pt>
                <c:pt idx="3031">
                  <c:v>44.9</c:v>
                </c:pt>
                <c:pt idx="3032">
                  <c:v>41.4</c:v>
                </c:pt>
                <c:pt idx="3033">
                  <c:v>43.6</c:v>
                </c:pt>
                <c:pt idx="3034">
                  <c:v>40</c:v>
                </c:pt>
                <c:pt idx="3035">
                  <c:v>45.3</c:v>
                </c:pt>
                <c:pt idx="3036">
                  <c:v>47.9</c:v>
                </c:pt>
                <c:pt idx="3037">
                  <c:v>38.1</c:v>
                </c:pt>
                <c:pt idx="3038">
                  <c:v>40.799999999999997</c:v>
                </c:pt>
                <c:pt idx="3039">
                  <c:v>39.200000000000003</c:v>
                </c:pt>
                <c:pt idx="3040">
                  <c:v>45.8</c:v>
                </c:pt>
                <c:pt idx="3041">
                  <c:v>38.799999999999997</c:v>
                </c:pt>
                <c:pt idx="3042">
                  <c:v>41.4</c:v>
                </c:pt>
                <c:pt idx="3043">
                  <c:v>43.1</c:v>
                </c:pt>
                <c:pt idx="3044">
                  <c:v>42.3</c:v>
                </c:pt>
                <c:pt idx="3045">
                  <c:v>33.6</c:v>
                </c:pt>
                <c:pt idx="3046">
                  <c:v>41</c:v>
                </c:pt>
                <c:pt idx="3047">
                  <c:v>39.299999999999997</c:v>
                </c:pt>
                <c:pt idx="3048">
                  <c:v>50.2</c:v>
                </c:pt>
                <c:pt idx="3049">
                  <c:v>40.717494987249097</c:v>
                </c:pt>
                <c:pt idx="3050">
                  <c:v>45.2</c:v>
                </c:pt>
                <c:pt idx="3051">
                  <c:v>38.9</c:v>
                </c:pt>
                <c:pt idx="3052">
                  <c:v>42.6</c:v>
                </c:pt>
                <c:pt idx="3053">
                  <c:v>45.5</c:v>
                </c:pt>
                <c:pt idx="3054">
                  <c:v>34</c:v>
                </c:pt>
                <c:pt idx="3055">
                  <c:v>40.5</c:v>
                </c:pt>
                <c:pt idx="3056">
                  <c:v>44.4</c:v>
                </c:pt>
                <c:pt idx="3057">
                  <c:v>42</c:v>
                </c:pt>
                <c:pt idx="3058">
                  <c:v>41.6</c:v>
                </c:pt>
                <c:pt idx="3059">
                  <c:v>41.8</c:v>
                </c:pt>
                <c:pt idx="3060">
                  <c:v>39.200000000000003</c:v>
                </c:pt>
                <c:pt idx="3061">
                  <c:v>39.700000000000003</c:v>
                </c:pt>
                <c:pt idx="3062">
                  <c:v>39</c:v>
                </c:pt>
                <c:pt idx="3063">
                  <c:v>44.8</c:v>
                </c:pt>
                <c:pt idx="3064">
                  <c:v>45.1</c:v>
                </c:pt>
                <c:pt idx="3065">
                  <c:v>46.9</c:v>
                </c:pt>
                <c:pt idx="3066">
                  <c:v>35.9</c:v>
                </c:pt>
                <c:pt idx="3067">
                  <c:v>49.8</c:v>
                </c:pt>
                <c:pt idx="3068">
                  <c:v>46.8</c:v>
                </c:pt>
                <c:pt idx="3069">
                  <c:v>39.5</c:v>
                </c:pt>
                <c:pt idx="3070">
                  <c:v>45.7</c:v>
                </c:pt>
                <c:pt idx="3071">
                  <c:v>43.5</c:v>
                </c:pt>
                <c:pt idx="3072">
                  <c:v>42.4</c:v>
                </c:pt>
                <c:pt idx="3073">
                  <c:v>31.9</c:v>
                </c:pt>
                <c:pt idx="3074">
                  <c:v>36.299999999999997</c:v>
                </c:pt>
                <c:pt idx="3075">
                  <c:v>58.5</c:v>
                </c:pt>
                <c:pt idx="3076">
                  <c:v>35.4</c:v>
                </c:pt>
                <c:pt idx="3077">
                  <c:v>43.7</c:v>
                </c:pt>
                <c:pt idx="3078">
                  <c:v>41.5</c:v>
                </c:pt>
                <c:pt idx="3079">
                  <c:v>39.9</c:v>
                </c:pt>
                <c:pt idx="3080">
                  <c:v>50.6</c:v>
                </c:pt>
                <c:pt idx="3081">
                  <c:v>42.7</c:v>
                </c:pt>
                <c:pt idx="3082">
                  <c:v>42.7</c:v>
                </c:pt>
                <c:pt idx="3083">
                  <c:v>43.3</c:v>
                </c:pt>
                <c:pt idx="3084">
                  <c:v>43.3</c:v>
                </c:pt>
                <c:pt idx="3085">
                  <c:v>39.158816778122898</c:v>
                </c:pt>
                <c:pt idx="3086">
                  <c:v>51.1</c:v>
                </c:pt>
                <c:pt idx="3087">
                  <c:v>40.799999999999997</c:v>
                </c:pt>
                <c:pt idx="3088">
                  <c:v>42</c:v>
                </c:pt>
                <c:pt idx="3089">
                  <c:v>53</c:v>
                </c:pt>
                <c:pt idx="3090">
                  <c:v>38.1</c:v>
                </c:pt>
                <c:pt idx="3091">
                  <c:v>21.2</c:v>
                </c:pt>
                <c:pt idx="3092">
                  <c:v>19.5</c:v>
                </c:pt>
                <c:pt idx="3093">
                  <c:v>38.700000000000003</c:v>
                </c:pt>
                <c:pt idx="3094">
                  <c:v>41.4</c:v>
                </c:pt>
                <c:pt idx="3095">
                  <c:v>48.7</c:v>
                </c:pt>
                <c:pt idx="3096">
                  <c:v>45</c:v>
                </c:pt>
                <c:pt idx="3097">
                  <c:v>43.4</c:v>
                </c:pt>
                <c:pt idx="3098">
                  <c:v>44.8</c:v>
                </c:pt>
                <c:pt idx="3099">
                  <c:v>48.6</c:v>
                </c:pt>
                <c:pt idx="3100">
                  <c:v>40</c:v>
                </c:pt>
                <c:pt idx="3101">
                  <c:v>44.6</c:v>
                </c:pt>
                <c:pt idx="3102">
                  <c:v>44.7</c:v>
                </c:pt>
                <c:pt idx="3103">
                  <c:v>44.9</c:v>
                </c:pt>
                <c:pt idx="3104">
                  <c:v>43.1</c:v>
                </c:pt>
                <c:pt idx="3105">
                  <c:v>48.4</c:v>
                </c:pt>
                <c:pt idx="3106">
                  <c:v>43</c:v>
                </c:pt>
                <c:pt idx="3107">
                  <c:v>34</c:v>
                </c:pt>
                <c:pt idx="3108">
                  <c:v>40.737006392411502</c:v>
                </c:pt>
                <c:pt idx="3109">
                  <c:v>37.799999999999997</c:v>
                </c:pt>
                <c:pt idx="3110">
                  <c:v>47.8</c:v>
                </c:pt>
                <c:pt idx="3111">
                  <c:v>40.9</c:v>
                </c:pt>
                <c:pt idx="3112">
                  <c:v>37.799999999999997</c:v>
                </c:pt>
                <c:pt idx="3113">
                  <c:v>42.6605784738137</c:v>
                </c:pt>
                <c:pt idx="3114">
                  <c:v>39.700000000000003</c:v>
                </c:pt>
                <c:pt idx="3115">
                  <c:v>45.3</c:v>
                </c:pt>
                <c:pt idx="3116">
                  <c:v>50.2</c:v>
                </c:pt>
                <c:pt idx="3117">
                  <c:v>44.2</c:v>
                </c:pt>
                <c:pt idx="3118">
                  <c:v>39.700000000000003</c:v>
                </c:pt>
                <c:pt idx="3119">
                  <c:v>48.6</c:v>
                </c:pt>
                <c:pt idx="3120">
                  <c:v>45.6</c:v>
                </c:pt>
                <c:pt idx="3121">
                  <c:v>45.3</c:v>
                </c:pt>
                <c:pt idx="3122">
                  <c:v>41.4</c:v>
                </c:pt>
                <c:pt idx="3123">
                  <c:v>42.2</c:v>
                </c:pt>
                <c:pt idx="3124">
                  <c:v>42.3</c:v>
                </c:pt>
                <c:pt idx="3125">
                  <c:v>46.4</c:v>
                </c:pt>
                <c:pt idx="3126">
                  <c:v>31.8</c:v>
                </c:pt>
                <c:pt idx="3127">
                  <c:v>43.6</c:v>
                </c:pt>
                <c:pt idx="3128">
                  <c:v>44.5</c:v>
                </c:pt>
                <c:pt idx="3129">
                  <c:v>45.2</c:v>
                </c:pt>
                <c:pt idx="3130">
                  <c:v>35.799999999999997</c:v>
                </c:pt>
                <c:pt idx="3131">
                  <c:v>39.200000000000003</c:v>
                </c:pt>
                <c:pt idx="3132">
                  <c:v>48.5</c:v>
                </c:pt>
                <c:pt idx="3133">
                  <c:v>41.5</c:v>
                </c:pt>
                <c:pt idx="3134">
                  <c:v>35.869479895249697</c:v>
                </c:pt>
                <c:pt idx="3135">
                  <c:v>41.2</c:v>
                </c:pt>
                <c:pt idx="3136">
                  <c:v>53.8</c:v>
                </c:pt>
                <c:pt idx="3137">
                  <c:v>48</c:v>
                </c:pt>
                <c:pt idx="3138">
                  <c:v>43.7</c:v>
                </c:pt>
                <c:pt idx="3139">
                  <c:v>39.700000000000003</c:v>
                </c:pt>
                <c:pt idx="3140">
                  <c:v>41.3</c:v>
                </c:pt>
                <c:pt idx="3141">
                  <c:v>40.200000000000003</c:v>
                </c:pt>
                <c:pt idx="3142">
                  <c:v>40.799999999999997</c:v>
                </c:pt>
                <c:pt idx="3143">
                  <c:v>40.1</c:v>
                </c:pt>
                <c:pt idx="3144">
                  <c:v>45.1</c:v>
                </c:pt>
                <c:pt idx="3145">
                  <c:v>44.9</c:v>
                </c:pt>
                <c:pt idx="3146">
                  <c:v>41.9</c:v>
                </c:pt>
                <c:pt idx="3147">
                  <c:v>38.299999999999997</c:v>
                </c:pt>
                <c:pt idx="3148">
                  <c:v>48.3</c:v>
                </c:pt>
                <c:pt idx="3149">
                  <c:v>45.4</c:v>
                </c:pt>
                <c:pt idx="3150">
                  <c:v>37.124614583634603</c:v>
                </c:pt>
                <c:pt idx="3151">
                  <c:v>41.2</c:v>
                </c:pt>
                <c:pt idx="3152">
                  <c:v>41</c:v>
                </c:pt>
                <c:pt idx="3153">
                  <c:v>38.200000000000003</c:v>
                </c:pt>
                <c:pt idx="3154">
                  <c:v>46.4</c:v>
                </c:pt>
                <c:pt idx="3155">
                  <c:v>39.6</c:v>
                </c:pt>
                <c:pt idx="3156">
                  <c:v>31.1</c:v>
                </c:pt>
                <c:pt idx="3157">
                  <c:v>46.2</c:v>
                </c:pt>
                <c:pt idx="3158">
                  <c:v>40.700000000000003</c:v>
                </c:pt>
                <c:pt idx="3159">
                  <c:v>41.3</c:v>
                </c:pt>
                <c:pt idx="3160">
                  <c:v>43.2</c:v>
                </c:pt>
                <c:pt idx="3161">
                  <c:v>30.5</c:v>
                </c:pt>
                <c:pt idx="3162">
                  <c:v>39.986533012436702</c:v>
                </c:pt>
                <c:pt idx="3163">
                  <c:v>41.7</c:v>
                </c:pt>
                <c:pt idx="3164">
                  <c:v>43.8</c:v>
                </c:pt>
                <c:pt idx="3165">
                  <c:v>20.8</c:v>
                </c:pt>
                <c:pt idx="3166">
                  <c:v>42.960542546587902</c:v>
                </c:pt>
                <c:pt idx="3167">
                  <c:v>47.7</c:v>
                </c:pt>
                <c:pt idx="3168">
                  <c:v>65.8</c:v>
                </c:pt>
                <c:pt idx="3169">
                  <c:v>51.4</c:v>
                </c:pt>
                <c:pt idx="3170">
                  <c:v>40.799999999999997</c:v>
                </c:pt>
                <c:pt idx="3171">
                  <c:v>46</c:v>
                </c:pt>
                <c:pt idx="3172">
                  <c:v>41.2</c:v>
                </c:pt>
                <c:pt idx="3173">
                  <c:v>41</c:v>
                </c:pt>
                <c:pt idx="3174">
                  <c:v>55.6</c:v>
                </c:pt>
                <c:pt idx="3175">
                  <c:v>39.700000000000003</c:v>
                </c:pt>
                <c:pt idx="3176">
                  <c:v>39.200000000000003</c:v>
                </c:pt>
                <c:pt idx="3177">
                  <c:v>48.7</c:v>
                </c:pt>
                <c:pt idx="3178">
                  <c:v>36.200000000000003</c:v>
                </c:pt>
                <c:pt idx="3179">
                  <c:v>43.1</c:v>
                </c:pt>
                <c:pt idx="3180">
                  <c:v>37.583091141358103</c:v>
                </c:pt>
                <c:pt idx="3181">
                  <c:v>52.7</c:v>
                </c:pt>
                <c:pt idx="3182">
                  <c:v>46.2</c:v>
                </c:pt>
                <c:pt idx="3183">
                  <c:v>42.7</c:v>
                </c:pt>
                <c:pt idx="3184">
                  <c:v>40.1</c:v>
                </c:pt>
                <c:pt idx="3185">
                  <c:v>40.799999999999997</c:v>
                </c:pt>
                <c:pt idx="3186">
                  <c:v>38.1</c:v>
                </c:pt>
                <c:pt idx="3187">
                  <c:v>34.299999999999997</c:v>
                </c:pt>
                <c:pt idx="3188">
                  <c:v>40</c:v>
                </c:pt>
                <c:pt idx="3189">
                  <c:v>48.6</c:v>
                </c:pt>
                <c:pt idx="3190">
                  <c:v>43.9</c:v>
                </c:pt>
                <c:pt idx="3191">
                  <c:v>42.5</c:v>
                </c:pt>
                <c:pt idx="3192">
                  <c:v>40.200000000000003</c:v>
                </c:pt>
                <c:pt idx="3193">
                  <c:v>46.1</c:v>
                </c:pt>
                <c:pt idx="3194">
                  <c:v>39.5</c:v>
                </c:pt>
                <c:pt idx="3195">
                  <c:v>44.5</c:v>
                </c:pt>
                <c:pt idx="3196">
                  <c:v>44.9</c:v>
                </c:pt>
                <c:pt idx="3197">
                  <c:v>44.3</c:v>
                </c:pt>
                <c:pt idx="3198">
                  <c:v>48.1</c:v>
                </c:pt>
                <c:pt idx="3199">
                  <c:v>42.9</c:v>
                </c:pt>
                <c:pt idx="3200">
                  <c:v>42.4</c:v>
                </c:pt>
                <c:pt idx="3201">
                  <c:v>41.604937139390898</c:v>
                </c:pt>
                <c:pt idx="3202">
                  <c:v>45.5</c:v>
                </c:pt>
                <c:pt idx="3203">
                  <c:v>52.5</c:v>
                </c:pt>
                <c:pt idx="3204">
                  <c:v>42.1</c:v>
                </c:pt>
                <c:pt idx="3205">
                  <c:v>42.1</c:v>
                </c:pt>
                <c:pt idx="3206">
                  <c:v>39.5</c:v>
                </c:pt>
                <c:pt idx="3207">
                  <c:v>43.3</c:v>
                </c:pt>
                <c:pt idx="3208">
                  <c:v>40.200000000000003</c:v>
                </c:pt>
                <c:pt idx="3209">
                  <c:v>46.6</c:v>
                </c:pt>
                <c:pt idx="3210">
                  <c:v>46.8</c:v>
                </c:pt>
                <c:pt idx="3211">
                  <c:v>51.7</c:v>
                </c:pt>
                <c:pt idx="3212">
                  <c:v>46.3</c:v>
                </c:pt>
                <c:pt idx="3213">
                  <c:v>46.8</c:v>
                </c:pt>
                <c:pt idx="3214">
                  <c:v>62.1</c:v>
                </c:pt>
                <c:pt idx="3215">
                  <c:v>40.1</c:v>
                </c:pt>
                <c:pt idx="3216">
                  <c:v>39.9</c:v>
                </c:pt>
                <c:pt idx="3217">
                  <c:v>41</c:v>
                </c:pt>
                <c:pt idx="3218">
                  <c:v>50.9</c:v>
                </c:pt>
                <c:pt idx="3219">
                  <c:v>53.4</c:v>
                </c:pt>
                <c:pt idx="3220">
                  <c:v>45.2</c:v>
                </c:pt>
                <c:pt idx="3221">
                  <c:v>24.9</c:v>
                </c:pt>
                <c:pt idx="3222">
                  <c:v>40.1</c:v>
                </c:pt>
                <c:pt idx="3223">
                  <c:v>44.7</c:v>
                </c:pt>
                <c:pt idx="3224">
                  <c:v>40.406430329647101</c:v>
                </c:pt>
                <c:pt idx="3225">
                  <c:v>49.5</c:v>
                </c:pt>
                <c:pt idx="3226">
                  <c:v>22.7</c:v>
                </c:pt>
                <c:pt idx="3227">
                  <c:v>45</c:v>
                </c:pt>
                <c:pt idx="3228">
                  <c:v>42.7</c:v>
                </c:pt>
                <c:pt idx="3229">
                  <c:v>38.700000000000003</c:v>
                </c:pt>
                <c:pt idx="3230">
                  <c:v>43.3</c:v>
                </c:pt>
                <c:pt idx="3231">
                  <c:v>36.872081384131803</c:v>
                </c:pt>
                <c:pt idx="3232">
                  <c:v>42.7</c:v>
                </c:pt>
                <c:pt idx="3233">
                  <c:v>40.4</c:v>
                </c:pt>
                <c:pt idx="3234">
                  <c:v>48.5</c:v>
                </c:pt>
                <c:pt idx="3235">
                  <c:v>42.9</c:v>
                </c:pt>
                <c:pt idx="3236">
                  <c:v>35.699333060317002</c:v>
                </c:pt>
                <c:pt idx="3237">
                  <c:v>42.4</c:v>
                </c:pt>
                <c:pt idx="3238">
                  <c:v>43.1</c:v>
                </c:pt>
                <c:pt idx="3239">
                  <c:v>45.9</c:v>
                </c:pt>
                <c:pt idx="3240">
                  <c:v>35.700000000000003</c:v>
                </c:pt>
                <c:pt idx="3241">
                  <c:v>35.409614633949303</c:v>
                </c:pt>
                <c:pt idx="3242">
                  <c:v>48.2</c:v>
                </c:pt>
                <c:pt idx="3243">
                  <c:v>41.745185654199197</c:v>
                </c:pt>
                <c:pt idx="3244">
                  <c:v>45.5</c:v>
                </c:pt>
                <c:pt idx="3245">
                  <c:v>43.6</c:v>
                </c:pt>
                <c:pt idx="3246">
                  <c:v>45.2</c:v>
                </c:pt>
                <c:pt idx="3247">
                  <c:v>41.5</c:v>
                </c:pt>
                <c:pt idx="3248">
                  <c:v>38.1</c:v>
                </c:pt>
                <c:pt idx="3249">
                  <c:v>38.9</c:v>
                </c:pt>
                <c:pt idx="3250">
                  <c:v>45.7</c:v>
                </c:pt>
                <c:pt idx="3251">
                  <c:v>41.1</c:v>
                </c:pt>
                <c:pt idx="3252">
                  <c:v>45.1</c:v>
                </c:pt>
                <c:pt idx="3253">
                  <c:v>38.200000000000003</c:v>
                </c:pt>
                <c:pt idx="3254">
                  <c:v>46.4</c:v>
                </c:pt>
                <c:pt idx="3255">
                  <c:v>49.6</c:v>
                </c:pt>
                <c:pt idx="3256">
                  <c:v>47.7</c:v>
                </c:pt>
                <c:pt idx="3257">
                  <c:v>38.5</c:v>
                </c:pt>
                <c:pt idx="3258">
                  <c:v>49.3</c:v>
                </c:pt>
                <c:pt idx="3259">
                  <c:v>46.3</c:v>
                </c:pt>
                <c:pt idx="3260">
                  <c:v>34.9</c:v>
                </c:pt>
                <c:pt idx="3261">
                  <c:v>37.6</c:v>
                </c:pt>
                <c:pt idx="3262">
                  <c:v>47.1</c:v>
                </c:pt>
                <c:pt idx="3263">
                  <c:v>45.8</c:v>
                </c:pt>
                <c:pt idx="3264">
                  <c:v>45.8</c:v>
                </c:pt>
                <c:pt idx="3265">
                  <c:v>48.4</c:v>
                </c:pt>
                <c:pt idx="3266">
                  <c:v>43.4</c:v>
                </c:pt>
                <c:pt idx="3267">
                  <c:v>47.1</c:v>
                </c:pt>
                <c:pt idx="3268">
                  <c:v>39.1</c:v>
                </c:pt>
                <c:pt idx="3269">
                  <c:v>44.5</c:v>
                </c:pt>
                <c:pt idx="3270">
                  <c:v>37.299999999999997</c:v>
                </c:pt>
                <c:pt idx="3271">
                  <c:v>40.6</c:v>
                </c:pt>
                <c:pt idx="3272">
                  <c:v>49.5</c:v>
                </c:pt>
                <c:pt idx="3273">
                  <c:v>40.4</c:v>
                </c:pt>
                <c:pt idx="3274">
                  <c:v>50.5</c:v>
                </c:pt>
                <c:pt idx="3275">
                  <c:v>45.8</c:v>
                </c:pt>
                <c:pt idx="3276">
                  <c:v>40.4</c:v>
                </c:pt>
                <c:pt idx="3277">
                  <c:v>41.911792329767799</c:v>
                </c:pt>
                <c:pt idx="3278">
                  <c:v>44.6</c:v>
                </c:pt>
                <c:pt idx="3279">
                  <c:v>46.6</c:v>
                </c:pt>
                <c:pt idx="3280">
                  <c:v>41.4</c:v>
                </c:pt>
                <c:pt idx="3281">
                  <c:v>45.1</c:v>
                </c:pt>
                <c:pt idx="3282">
                  <c:v>42.5</c:v>
                </c:pt>
                <c:pt idx="3283">
                  <c:v>43.7</c:v>
                </c:pt>
                <c:pt idx="3284">
                  <c:v>46.8</c:v>
                </c:pt>
                <c:pt idx="3285">
                  <c:v>54.4</c:v>
                </c:pt>
                <c:pt idx="3286">
                  <c:v>39</c:v>
                </c:pt>
                <c:pt idx="3287">
                  <c:v>40.4</c:v>
                </c:pt>
                <c:pt idx="3288">
                  <c:v>46.6</c:v>
                </c:pt>
                <c:pt idx="3289">
                  <c:v>38.7283595961527</c:v>
                </c:pt>
                <c:pt idx="3290">
                  <c:v>46</c:v>
                </c:pt>
                <c:pt idx="3291">
                  <c:v>35.1</c:v>
                </c:pt>
                <c:pt idx="3292">
                  <c:v>25.3</c:v>
                </c:pt>
                <c:pt idx="3293">
                  <c:v>28.2</c:v>
                </c:pt>
                <c:pt idx="3294">
                  <c:v>39.389767769731598</c:v>
                </c:pt>
                <c:pt idx="3295">
                  <c:v>41.5</c:v>
                </c:pt>
                <c:pt idx="3296">
                  <c:v>34.700000000000003</c:v>
                </c:pt>
                <c:pt idx="3297">
                  <c:v>45.8</c:v>
                </c:pt>
                <c:pt idx="3298">
                  <c:v>31.5</c:v>
                </c:pt>
                <c:pt idx="3299">
                  <c:v>44</c:v>
                </c:pt>
                <c:pt idx="3300">
                  <c:v>37.9</c:v>
                </c:pt>
                <c:pt idx="3301">
                  <c:v>44.1</c:v>
                </c:pt>
                <c:pt idx="3302">
                  <c:v>36</c:v>
                </c:pt>
                <c:pt idx="3303">
                  <c:v>22.8</c:v>
                </c:pt>
                <c:pt idx="3304">
                  <c:v>44.4</c:v>
                </c:pt>
                <c:pt idx="3305">
                  <c:v>49.799999999999898</c:v>
                </c:pt>
                <c:pt idx="3306">
                  <c:v>41.4</c:v>
                </c:pt>
                <c:pt idx="3307">
                  <c:v>45</c:v>
                </c:pt>
                <c:pt idx="3308">
                  <c:v>43.5</c:v>
                </c:pt>
                <c:pt idx="3309">
                  <c:v>44.3</c:v>
                </c:pt>
                <c:pt idx="3310">
                  <c:v>37.799999999999997</c:v>
                </c:pt>
                <c:pt idx="3311">
                  <c:v>45.2</c:v>
                </c:pt>
                <c:pt idx="3312">
                  <c:v>45.2</c:v>
                </c:pt>
                <c:pt idx="3313">
                  <c:v>46.9</c:v>
                </c:pt>
                <c:pt idx="3314">
                  <c:v>41.6</c:v>
                </c:pt>
                <c:pt idx="3315">
                  <c:v>39.299999999999997</c:v>
                </c:pt>
                <c:pt idx="3316">
                  <c:v>40.200000000000003</c:v>
                </c:pt>
                <c:pt idx="3317">
                  <c:v>42.8</c:v>
                </c:pt>
                <c:pt idx="3318">
                  <c:v>46.8</c:v>
                </c:pt>
                <c:pt idx="3319">
                  <c:v>35.9</c:v>
                </c:pt>
                <c:pt idx="3320">
                  <c:v>42.1</c:v>
                </c:pt>
                <c:pt idx="3321">
                  <c:v>33.200000000000003</c:v>
                </c:pt>
                <c:pt idx="3322">
                  <c:v>40</c:v>
                </c:pt>
                <c:pt idx="3323">
                  <c:v>43.6</c:v>
                </c:pt>
                <c:pt idx="3324">
                  <c:v>46</c:v>
                </c:pt>
                <c:pt idx="3325">
                  <c:v>26.6</c:v>
                </c:pt>
                <c:pt idx="3326">
                  <c:v>49.5</c:v>
                </c:pt>
                <c:pt idx="3327">
                  <c:v>44.4</c:v>
                </c:pt>
                <c:pt idx="3328">
                  <c:v>42</c:v>
                </c:pt>
                <c:pt idx="3329">
                  <c:v>47.1</c:v>
                </c:pt>
                <c:pt idx="3330">
                  <c:v>39.799999999999997</c:v>
                </c:pt>
                <c:pt idx="3331">
                  <c:v>43.7</c:v>
                </c:pt>
                <c:pt idx="3332">
                  <c:v>49.8</c:v>
                </c:pt>
                <c:pt idx="3333">
                  <c:v>42.4</c:v>
                </c:pt>
                <c:pt idx="3334">
                  <c:v>40.9</c:v>
                </c:pt>
                <c:pt idx="3335">
                  <c:v>39.9</c:v>
                </c:pt>
                <c:pt idx="3336">
                  <c:v>49.3</c:v>
                </c:pt>
                <c:pt idx="3337">
                  <c:v>48.9</c:v>
                </c:pt>
                <c:pt idx="3338">
                  <c:v>39.700000000000003</c:v>
                </c:pt>
                <c:pt idx="3339">
                  <c:v>41.4</c:v>
                </c:pt>
                <c:pt idx="3340">
                  <c:v>47</c:v>
                </c:pt>
                <c:pt idx="3341">
                  <c:v>34.4</c:v>
                </c:pt>
                <c:pt idx="3342">
                  <c:v>47.1</c:v>
                </c:pt>
                <c:pt idx="3343">
                  <c:v>40.202623377575698</c:v>
                </c:pt>
                <c:pt idx="3344">
                  <c:v>45.6</c:v>
                </c:pt>
                <c:pt idx="3345">
                  <c:v>41</c:v>
                </c:pt>
                <c:pt idx="3346">
                  <c:v>45</c:v>
                </c:pt>
                <c:pt idx="3347">
                  <c:v>42.3</c:v>
                </c:pt>
                <c:pt idx="3348">
                  <c:v>48.6267843567868</c:v>
                </c:pt>
                <c:pt idx="3349">
                  <c:v>45.6</c:v>
                </c:pt>
                <c:pt idx="3350">
                  <c:v>52.5</c:v>
                </c:pt>
                <c:pt idx="3351">
                  <c:v>41.9</c:v>
                </c:pt>
                <c:pt idx="3352">
                  <c:v>38.072962412433</c:v>
                </c:pt>
                <c:pt idx="3353">
                  <c:v>40.9</c:v>
                </c:pt>
                <c:pt idx="3354">
                  <c:v>48.9</c:v>
                </c:pt>
                <c:pt idx="3355">
                  <c:v>38.553358269999997</c:v>
                </c:pt>
                <c:pt idx="3356">
                  <c:v>38.200000000000003</c:v>
                </c:pt>
                <c:pt idx="3357">
                  <c:v>46.8</c:v>
                </c:pt>
                <c:pt idx="3358">
                  <c:v>47.6</c:v>
                </c:pt>
                <c:pt idx="3359">
                  <c:v>32.700000000000003</c:v>
                </c:pt>
                <c:pt idx="3360">
                  <c:v>43.6</c:v>
                </c:pt>
                <c:pt idx="3361">
                  <c:v>34.4396697442088</c:v>
                </c:pt>
                <c:pt idx="3362">
                  <c:v>42.9</c:v>
                </c:pt>
                <c:pt idx="3363">
                  <c:v>48.9</c:v>
                </c:pt>
                <c:pt idx="3364">
                  <c:v>42.3</c:v>
                </c:pt>
                <c:pt idx="3365">
                  <c:v>46.9</c:v>
                </c:pt>
                <c:pt idx="3366">
                  <c:v>39.850966409999998</c:v>
                </c:pt>
                <c:pt idx="3367">
                  <c:v>40.141961355995399</c:v>
                </c:pt>
                <c:pt idx="3368">
                  <c:v>42.5</c:v>
                </c:pt>
                <c:pt idx="3369">
                  <c:v>38</c:v>
                </c:pt>
                <c:pt idx="3370">
                  <c:v>40.1</c:v>
                </c:pt>
                <c:pt idx="3371">
                  <c:v>39.9</c:v>
                </c:pt>
                <c:pt idx="3372">
                  <c:v>42.7</c:v>
                </c:pt>
                <c:pt idx="3373">
                  <c:v>38.134186337998699</c:v>
                </c:pt>
                <c:pt idx="3374">
                  <c:v>44.5</c:v>
                </c:pt>
                <c:pt idx="3375">
                  <c:v>40.9</c:v>
                </c:pt>
                <c:pt idx="3376">
                  <c:v>43.9</c:v>
                </c:pt>
                <c:pt idx="3377">
                  <c:v>44.5</c:v>
                </c:pt>
                <c:pt idx="3378">
                  <c:v>41.3</c:v>
                </c:pt>
                <c:pt idx="3379">
                  <c:v>44</c:v>
                </c:pt>
                <c:pt idx="3380">
                  <c:v>43.664842512757303</c:v>
                </c:pt>
                <c:pt idx="3381">
                  <c:v>34.299999999999997</c:v>
                </c:pt>
                <c:pt idx="3382">
                  <c:v>39.299999999999997</c:v>
                </c:pt>
                <c:pt idx="3383">
                  <c:v>38.299999999999997</c:v>
                </c:pt>
                <c:pt idx="3384">
                  <c:v>38.799999999999997</c:v>
                </c:pt>
                <c:pt idx="3385">
                  <c:v>40.6</c:v>
                </c:pt>
                <c:pt idx="3386">
                  <c:v>40.6</c:v>
                </c:pt>
                <c:pt idx="3387">
                  <c:v>40.200000000000003</c:v>
                </c:pt>
                <c:pt idx="3388">
                  <c:v>42.5</c:v>
                </c:pt>
                <c:pt idx="3389">
                  <c:v>45.6</c:v>
                </c:pt>
                <c:pt idx="3390">
                  <c:v>37.299999999999997</c:v>
                </c:pt>
                <c:pt idx="3391">
                  <c:v>34.5</c:v>
                </c:pt>
                <c:pt idx="3392">
                  <c:v>50.1</c:v>
                </c:pt>
                <c:pt idx="3393">
                  <c:v>48.5</c:v>
                </c:pt>
                <c:pt idx="3394">
                  <c:v>38.200000000000003</c:v>
                </c:pt>
                <c:pt idx="3395">
                  <c:v>41.4</c:v>
                </c:pt>
                <c:pt idx="3396">
                  <c:v>44.1</c:v>
                </c:pt>
                <c:pt idx="3397">
                  <c:v>38.6</c:v>
                </c:pt>
                <c:pt idx="3398">
                  <c:v>37.5</c:v>
                </c:pt>
                <c:pt idx="3399">
                  <c:v>45.6</c:v>
                </c:pt>
                <c:pt idx="3400">
                  <c:v>37.6</c:v>
                </c:pt>
                <c:pt idx="3401">
                  <c:v>44.4</c:v>
                </c:pt>
                <c:pt idx="3402">
                  <c:v>40.5</c:v>
                </c:pt>
                <c:pt idx="3403">
                  <c:v>42.4</c:v>
                </c:pt>
                <c:pt idx="3404">
                  <c:v>37.914828020134202</c:v>
                </c:pt>
                <c:pt idx="3405">
                  <c:v>40.799999999999997</c:v>
                </c:pt>
                <c:pt idx="3406">
                  <c:v>41</c:v>
                </c:pt>
                <c:pt idx="3407">
                  <c:v>42.9</c:v>
                </c:pt>
                <c:pt idx="3408">
                  <c:v>42.1</c:v>
                </c:pt>
                <c:pt idx="3409">
                  <c:v>35.4</c:v>
                </c:pt>
                <c:pt idx="3410">
                  <c:v>35.4</c:v>
                </c:pt>
                <c:pt idx="3411">
                  <c:v>42.3</c:v>
                </c:pt>
                <c:pt idx="3412">
                  <c:v>46.8</c:v>
                </c:pt>
                <c:pt idx="3413">
                  <c:v>43.4</c:v>
                </c:pt>
                <c:pt idx="3414">
                  <c:v>54.9</c:v>
                </c:pt>
                <c:pt idx="3415">
                  <c:v>49.5</c:v>
                </c:pt>
                <c:pt idx="3416">
                  <c:v>39.1</c:v>
                </c:pt>
                <c:pt idx="3417">
                  <c:v>41.3</c:v>
                </c:pt>
                <c:pt idx="3418">
                  <c:v>46.1</c:v>
                </c:pt>
                <c:pt idx="3419">
                  <c:v>44</c:v>
                </c:pt>
                <c:pt idx="3420">
                  <c:v>41.3</c:v>
                </c:pt>
                <c:pt idx="3421">
                  <c:v>40.200000000000003</c:v>
                </c:pt>
                <c:pt idx="3422">
                  <c:v>33</c:v>
                </c:pt>
                <c:pt idx="3423">
                  <c:v>41.2</c:v>
                </c:pt>
                <c:pt idx="3424">
                  <c:v>43.9</c:v>
                </c:pt>
                <c:pt idx="3425">
                  <c:v>34.6</c:v>
                </c:pt>
                <c:pt idx="3426">
                  <c:v>40.4</c:v>
                </c:pt>
                <c:pt idx="3427">
                  <c:v>37.5</c:v>
                </c:pt>
                <c:pt idx="3428">
                  <c:v>35.5</c:v>
                </c:pt>
                <c:pt idx="3429">
                  <c:v>39.5</c:v>
                </c:pt>
                <c:pt idx="3430">
                  <c:v>39.030377715503803</c:v>
                </c:pt>
                <c:pt idx="3431">
                  <c:v>43.5</c:v>
                </c:pt>
                <c:pt idx="3432">
                  <c:v>38.9</c:v>
                </c:pt>
                <c:pt idx="3433">
                  <c:v>41.8</c:v>
                </c:pt>
                <c:pt idx="3434">
                  <c:v>37.699639887515403</c:v>
                </c:pt>
                <c:pt idx="3435">
                  <c:v>46.5</c:v>
                </c:pt>
                <c:pt idx="3436">
                  <c:v>44.3</c:v>
                </c:pt>
                <c:pt idx="3437">
                  <c:v>40.4</c:v>
                </c:pt>
                <c:pt idx="3438">
                  <c:v>44</c:v>
                </c:pt>
                <c:pt idx="3439">
                  <c:v>44.3</c:v>
                </c:pt>
                <c:pt idx="3440">
                  <c:v>44.1</c:v>
                </c:pt>
                <c:pt idx="3441">
                  <c:v>39.5</c:v>
                </c:pt>
                <c:pt idx="3442">
                  <c:v>41.8</c:v>
                </c:pt>
                <c:pt idx="3443">
                  <c:v>42.235182034705602</c:v>
                </c:pt>
                <c:pt idx="3444">
                  <c:v>45</c:v>
                </c:pt>
                <c:pt idx="3445">
                  <c:v>40.1</c:v>
                </c:pt>
                <c:pt idx="3446">
                  <c:v>44.5</c:v>
                </c:pt>
                <c:pt idx="3447">
                  <c:v>40</c:v>
                </c:pt>
                <c:pt idx="3448">
                  <c:v>38.4</c:v>
                </c:pt>
                <c:pt idx="3449">
                  <c:v>39.9</c:v>
                </c:pt>
                <c:pt idx="3450">
                  <c:v>42.592238608716499</c:v>
                </c:pt>
                <c:pt idx="3451">
                  <c:v>40.9</c:v>
                </c:pt>
                <c:pt idx="3452">
                  <c:v>36.6</c:v>
                </c:pt>
                <c:pt idx="3453">
                  <c:v>44</c:v>
                </c:pt>
                <c:pt idx="3454">
                  <c:v>47.1</c:v>
                </c:pt>
                <c:pt idx="3455">
                  <c:v>43.7</c:v>
                </c:pt>
                <c:pt idx="3456">
                  <c:v>46.6</c:v>
                </c:pt>
                <c:pt idx="3457">
                  <c:v>38.200000000000003</c:v>
                </c:pt>
                <c:pt idx="3458">
                  <c:v>27</c:v>
                </c:pt>
                <c:pt idx="3459">
                  <c:v>38.454460662588502</c:v>
                </c:pt>
                <c:pt idx="3460">
                  <c:v>46.7</c:v>
                </c:pt>
                <c:pt idx="3461">
                  <c:v>43.6</c:v>
                </c:pt>
                <c:pt idx="3462">
                  <c:v>31.2</c:v>
                </c:pt>
                <c:pt idx="3463">
                  <c:v>47.9</c:v>
                </c:pt>
                <c:pt idx="3464">
                  <c:v>46.7</c:v>
                </c:pt>
                <c:pt idx="3465">
                  <c:v>40.1</c:v>
                </c:pt>
                <c:pt idx="3466">
                  <c:v>43.8</c:v>
                </c:pt>
                <c:pt idx="3467">
                  <c:v>35.4</c:v>
                </c:pt>
                <c:pt idx="3468">
                  <c:v>43.8</c:v>
                </c:pt>
                <c:pt idx="3469">
                  <c:v>42.9</c:v>
                </c:pt>
                <c:pt idx="3470">
                  <c:v>36.1</c:v>
                </c:pt>
                <c:pt idx="3471">
                  <c:v>41.9</c:v>
                </c:pt>
                <c:pt idx="3472">
                  <c:v>48.4</c:v>
                </c:pt>
                <c:pt idx="3473">
                  <c:v>41.7</c:v>
                </c:pt>
                <c:pt idx="3474">
                  <c:v>41.8</c:v>
                </c:pt>
                <c:pt idx="3475">
                  <c:v>36.5</c:v>
                </c:pt>
                <c:pt idx="3476">
                  <c:v>36.200000000000003</c:v>
                </c:pt>
                <c:pt idx="3477">
                  <c:v>40.6</c:v>
                </c:pt>
                <c:pt idx="3478">
                  <c:v>40.200000000000003</c:v>
                </c:pt>
                <c:pt idx="3479">
                  <c:v>42.4</c:v>
                </c:pt>
                <c:pt idx="3480">
                  <c:v>44.9</c:v>
                </c:pt>
                <c:pt idx="3481">
                  <c:v>44</c:v>
                </c:pt>
                <c:pt idx="3482">
                  <c:v>38.9</c:v>
                </c:pt>
                <c:pt idx="3483">
                  <c:v>44.6</c:v>
                </c:pt>
                <c:pt idx="3484">
                  <c:v>48.6</c:v>
                </c:pt>
                <c:pt idx="3485">
                  <c:v>45.8</c:v>
                </c:pt>
                <c:pt idx="3486">
                  <c:v>40.9</c:v>
                </c:pt>
                <c:pt idx="3487">
                  <c:v>42.7</c:v>
                </c:pt>
                <c:pt idx="3488">
                  <c:v>46.6</c:v>
                </c:pt>
                <c:pt idx="3489">
                  <c:v>59.2</c:v>
                </c:pt>
                <c:pt idx="3490">
                  <c:v>44.5</c:v>
                </c:pt>
                <c:pt idx="3491">
                  <c:v>40.4</c:v>
                </c:pt>
                <c:pt idx="3492">
                  <c:v>43.8</c:v>
                </c:pt>
                <c:pt idx="3493">
                  <c:v>46.3</c:v>
                </c:pt>
                <c:pt idx="3494">
                  <c:v>41.9</c:v>
                </c:pt>
                <c:pt idx="3495">
                  <c:v>40.700000000000003</c:v>
                </c:pt>
                <c:pt idx="3496">
                  <c:v>44.5</c:v>
                </c:pt>
                <c:pt idx="3497">
                  <c:v>40.9</c:v>
                </c:pt>
                <c:pt idx="3498">
                  <c:v>32.700000000000003</c:v>
                </c:pt>
                <c:pt idx="3499">
                  <c:v>45.2</c:v>
                </c:pt>
                <c:pt idx="3500">
                  <c:v>36.200000000000003</c:v>
                </c:pt>
                <c:pt idx="3501">
                  <c:v>37.9</c:v>
                </c:pt>
                <c:pt idx="3502">
                  <c:v>51.5</c:v>
                </c:pt>
                <c:pt idx="3503">
                  <c:v>21.6</c:v>
                </c:pt>
                <c:pt idx="3504">
                  <c:v>41.8</c:v>
                </c:pt>
                <c:pt idx="3505">
                  <c:v>38.200000000000003</c:v>
                </c:pt>
                <c:pt idx="3506">
                  <c:v>43</c:v>
                </c:pt>
                <c:pt idx="3507">
                  <c:v>40.4</c:v>
                </c:pt>
                <c:pt idx="3508">
                  <c:v>40.1</c:v>
                </c:pt>
                <c:pt idx="3509">
                  <c:v>37.200000000000003</c:v>
                </c:pt>
                <c:pt idx="3510">
                  <c:v>42.1</c:v>
                </c:pt>
                <c:pt idx="3511">
                  <c:v>37.4</c:v>
                </c:pt>
                <c:pt idx="3512">
                  <c:v>53</c:v>
                </c:pt>
                <c:pt idx="3513">
                  <c:v>38.200000000000003</c:v>
                </c:pt>
                <c:pt idx="3514">
                  <c:v>41.1</c:v>
                </c:pt>
                <c:pt idx="3515">
                  <c:v>43.3</c:v>
                </c:pt>
                <c:pt idx="3516">
                  <c:v>34.9</c:v>
                </c:pt>
                <c:pt idx="3517">
                  <c:v>55</c:v>
                </c:pt>
                <c:pt idx="3518">
                  <c:v>42.9</c:v>
                </c:pt>
                <c:pt idx="3519">
                  <c:v>44</c:v>
                </c:pt>
                <c:pt idx="3520">
                  <c:v>45.4</c:v>
                </c:pt>
                <c:pt idx="3521">
                  <c:v>44.7</c:v>
                </c:pt>
                <c:pt idx="3522">
                  <c:v>39.9</c:v>
                </c:pt>
                <c:pt idx="3523">
                  <c:v>45.2</c:v>
                </c:pt>
                <c:pt idx="3524">
                  <c:v>40.299999999999997</c:v>
                </c:pt>
                <c:pt idx="3525">
                  <c:v>40.700000000000003</c:v>
                </c:pt>
                <c:pt idx="3526">
                  <c:v>44.8</c:v>
                </c:pt>
                <c:pt idx="3527">
                  <c:v>46.6</c:v>
                </c:pt>
                <c:pt idx="3528">
                  <c:v>43.5</c:v>
                </c:pt>
                <c:pt idx="3529">
                  <c:v>41.1</c:v>
                </c:pt>
                <c:pt idx="3530">
                  <c:v>43.8</c:v>
                </c:pt>
                <c:pt idx="3531">
                  <c:v>38.6</c:v>
                </c:pt>
                <c:pt idx="3532">
                  <c:v>41.6</c:v>
                </c:pt>
                <c:pt idx="3533">
                  <c:v>37.9</c:v>
                </c:pt>
                <c:pt idx="3534">
                  <c:v>40.6548236053927</c:v>
                </c:pt>
                <c:pt idx="3535">
                  <c:v>40.947649543534503</c:v>
                </c:pt>
                <c:pt idx="3536">
                  <c:v>39.700000000000003</c:v>
                </c:pt>
                <c:pt idx="3537">
                  <c:v>43.5</c:v>
                </c:pt>
                <c:pt idx="3538">
                  <c:v>41.4</c:v>
                </c:pt>
                <c:pt idx="3539">
                  <c:v>46.400824229313102</c:v>
                </c:pt>
                <c:pt idx="3540">
                  <c:v>30.6</c:v>
                </c:pt>
                <c:pt idx="3541">
                  <c:v>39.9</c:v>
                </c:pt>
                <c:pt idx="3542">
                  <c:v>44.6</c:v>
                </c:pt>
                <c:pt idx="3543">
                  <c:v>42.8</c:v>
                </c:pt>
                <c:pt idx="3544">
                  <c:v>46.6</c:v>
                </c:pt>
                <c:pt idx="3545">
                  <c:v>54.1</c:v>
                </c:pt>
                <c:pt idx="3546">
                  <c:v>41.2</c:v>
                </c:pt>
                <c:pt idx="3547">
                  <c:v>40.6</c:v>
                </c:pt>
                <c:pt idx="3548">
                  <c:v>36.061478257741904</c:v>
                </c:pt>
                <c:pt idx="3549">
                  <c:v>45.3</c:v>
                </c:pt>
                <c:pt idx="3550">
                  <c:v>39.200000000000003</c:v>
                </c:pt>
                <c:pt idx="3551">
                  <c:v>42.1</c:v>
                </c:pt>
                <c:pt idx="3552">
                  <c:v>37.4</c:v>
                </c:pt>
                <c:pt idx="3553">
                  <c:v>43.4</c:v>
                </c:pt>
                <c:pt idx="3554">
                  <c:v>40.9</c:v>
                </c:pt>
                <c:pt idx="3555">
                  <c:v>40.6</c:v>
                </c:pt>
                <c:pt idx="3556">
                  <c:v>36.9</c:v>
                </c:pt>
                <c:pt idx="3557">
                  <c:v>36.9</c:v>
                </c:pt>
                <c:pt idx="3558">
                  <c:v>41.5</c:v>
                </c:pt>
                <c:pt idx="3559">
                  <c:v>39.4</c:v>
                </c:pt>
                <c:pt idx="3560">
                  <c:v>48.6</c:v>
                </c:pt>
                <c:pt idx="3561">
                  <c:v>38.799999999999997</c:v>
                </c:pt>
                <c:pt idx="3562">
                  <c:v>40.1</c:v>
                </c:pt>
                <c:pt idx="3563">
                  <c:v>41.6</c:v>
                </c:pt>
                <c:pt idx="3564">
                  <c:v>43.101633642787803</c:v>
                </c:pt>
                <c:pt idx="3565">
                  <c:v>42</c:v>
                </c:pt>
                <c:pt idx="3566">
                  <c:v>49</c:v>
                </c:pt>
                <c:pt idx="3567">
                  <c:v>49</c:v>
                </c:pt>
                <c:pt idx="3568">
                  <c:v>39.4</c:v>
                </c:pt>
                <c:pt idx="3569">
                  <c:v>41.2</c:v>
                </c:pt>
                <c:pt idx="3570">
                  <c:v>49.5</c:v>
                </c:pt>
                <c:pt idx="3571">
                  <c:v>46.2</c:v>
                </c:pt>
                <c:pt idx="3572">
                  <c:v>41.7</c:v>
                </c:pt>
                <c:pt idx="3573">
                  <c:v>35.299999999999997</c:v>
                </c:pt>
                <c:pt idx="3574">
                  <c:v>46</c:v>
                </c:pt>
                <c:pt idx="3575">
                  <c:v>39.299999999999997</c:v>
                </c:pt>
                <c:pt idx="3576">
                  <c:v>45.6</c:v>
                </c:pt>
                <c:pt idx="3577">
                  <c:v>44.3</c:v>
                </c:pt>
                <c:pt idx="3578">
                  <c:v>42.6</c:v>
                </c:pt>
                <c:pt idx="3579">
                  <c:v>37</c:v>
                </c:pt>
                <c:pt idx="3580">
                  <c:v>38.338129422623297</c:v>
                </c:pt>
                <c:pt idx="3581">
                  <c:v>46.3</c:v>
                </c:pt>
                <c:pt idx="3582">
                  <c:v>41.9</c:v>
                </c:pt>
                <c:pt idx="3583">
                  <c:v>40.700000000000003</c:v>
                </c:pt>
                <c:pt idx="3584">
                  <c:v>38.4</c:v>
                </c:pt>
                <c:pt idx="3585">
                  <c:v>44.9</c:v>
                </c:pt>
                <c:pt idx="3586">
                  <c:v>41.1</c:v>
                </c:pt>
                <c:pt idx="3587">
                  <c:v>40.200000000000003</c:v>
                </c:pt>
                <c:pt idx="3588">
                  <c:v>48.4</c:v>
                </c:pt>
                <c:pt idx="3589">
                  <c:v>48</c:v>
                </c:pt>
                <c:pt idx="3590">
                  <c:v>40.700000000000003</c:v>
                </c:pt>
                <c:pt idx="3591">
                  <c:v>42</c:v>
                </c:pt>
                <c:pt idx="3592">
                  <c:v>42.923865139756103</c:v>
                </c:pt>
                <c:pt idx="3593">
                  <c:v>40.299999999999997</c:v>
                </c:pt>
                <c:pt idx="3594">
                  <c:v>37.721550194037398</c:v>
                </c:pt>
                <c:pt idx="3595">
                  <c:v>49.2</c:v>
                </c:pt>
                <c:pt idx="3596">
                  <c:v>42.5</c:v>
                </c:pt>
                <c:pt idx="3597">
                  <c:v>38.700000000000003</c:v>
                </c:pt>
                <c:pt idx="3598">
                  <c:v>44.5</c:v>
                </c:pt>
                <c:pt idx="3599">
                  <c:v>36.861263732219797</c:v>
                </c:pt>
                <c:pt idx="3600">
                  <c:v>42.582762827663103</c:v>
                </c:pt>
                <c:pt idx="3601">
                  <c:v>47.2</c:v>
                </c:pt>
                <c:pt idx="3602">
                  <c:v>57.3</c:v>
                </c:pt>
                <c:pt idx="3603">
                  <c:v>45.7</c:v>
                </c:pt>
                <c:pt idx="3604">
                  <c:v>41.6</c:v>
                </c:pt>
                <c:pt idx="3605">
                  <c:v>42.9</c:v>
                </c:pt>
                <c:pt idx="3606">
                  <c:v>38.1</c:v>
                </c:pt>
                <c:pt idx="3607">
                  <c:v>44.1</c:v>
                </c:pt>
                <c:pt idx="3608">
                  <c:v>39.4</c:v>
                </c:pt>
                <c:pt idx="3609">
                  <c:v>32.059822324759097</c:v>
                </c:pt>
                <c:pt idx="3610">
                  <c:v>43.3</c:v>
                </c:pt>
                <c:pt idx="3611">
                  <c:v>42.8</c:v>
                </c:pt>
                <c:pt idx="3612">
                  <c:v>41.7</c:v>
                </c:pt>
                <c:pt idx="3613">
                  <c:v>42.9</c:v>
                </c:pt>
                <c:pt idx="3614">
                  <c:v>31.3</c:v>
                </c:pt>
                <c:pt idx="3615">
                  <c:v>36.820601130094097</c:v>
                </c:pt>
                <c:pt idx="3616">
                  <c:v>39.200000000000003</c:v>
                </c:pt>
                <c:pt idx="3617">
                  <c:v>60.1</c:v>
                </c:pt>
                <c:pt idx="3618">
                  <c:v>39.9</c:v>
                </c:pt>
                <c:pt idx="3619">
                  <c:v>46.255815578543498</c:v>
                </c:pt>
                <c:pt idx="3620">
                  <c:v>37.592691191830099</c:v>
                </c:pt>
                <c:pt idx="3621">
                  <c:v>40.1</c:v>
                </c:pt>
                <c:pt idx="3622">
                  <c:v>34.1</c:v>
                </c:pt>
                <c:pt idx="3623">
                  <c:v>33.9</c:v>
                </c:pt>
                <c:pt idx="3624">
                  <c:v>30.9</c:v>
                </c:pt>
                <c:pt idx="3625">
                  <c:v>44.299999999999898</c:v>
                </c:pt>
                <c:pt idx="3626">
                  <c:v>39.799999999999997</c:v>
                </c:pt>
                <c:pt idx="3627">
                  <c:v>36.9</c:v>
                </c:pt>
                <c:pt idx="3628">
                  <c:v>55.5</c:v>
                </c:pt>
                <c:pt idx="3629">
                  <c:v>42</c:v>
                </c:pt>
                <c:pt idx="3630">
                  <c:v>38.5</c:v>
                </c:pt>
                <c:pt idx="3631">
                  <c:v>39.6</c:v>
                </c:pt>
                <c:pt idx="3632">
                  <c:v>39.239894822927702</c:v>
                </c:pt>
                <c:pt idx="3633">
                  <c:v>39.700000000000003</c:v>
                </c:pt>
                <c:pt idx="3634">
                  <c:v>37.9</c:v>
                </c:pt>
                <c:pt idx="3635">
                  <c:v>36.1</c:v>
                </c:pt>
                <c:pt idx="3636">
                  <c:v>48.5</c:v>
                </c:pt>
                <c:pt idx="3637">
                  <c:v>47</c:v>
                </c:pt>
                <c:pt idx="3638">
                  <c:v>54.2</c:v>
                </c:pt>
                <c:pt idx="3639">
                  <c:v>37.200000000000003</c:v>
                </c:pt>
                <c:pt idx="3640">
                  <c:v>40.4</c:v>
                </c:pt>
                <c:pt idx="3641">
                  <c:v>38.4</c:v>
                </c:pt>
                <c:pt idx="3642">
                  <c:v>42.8</c:v>
                </c:pt>
                <c:pt idx="3643">
                  <c:v>50.5</c:v>
                </c:pt>
                <c:pt idx="3644">
                  <c:v>44.5</c:v>
                </c:pt>
                <c:pt idx="3645">
                  <c:v>39.700000000000003</c:v>
                </c:pt>
                <c:pt idx="3646">
                  <c:v>44.5428540587219</c:v>
                </c:pt>
                <c:pt idx="3647">
                  <c:v>35.842369400061003</c:v>
                </c:pt>
                <c:pt idx="3648">
                  <c:v>42.2</c:v>
                </c:pt>
                <c:pt idx="3649">
                  <c:v>37.200000000000003</c:v>
                </c:pt>
                <c:pt idx="3650">
                  <c:v>40.200000000000003</c:v>
                </c:pt>
                <c:pt idx="3651">
                  <c:v>39.341695355050803</c:v>
                </c:pt>
                <c:pt idx="3652">
                  <c:v>40.1</c:v>
                </c:pt>
                <c:pt idx="3653">
                  <c:v>46.5</c:v>
                </c:pt>
                <c:pt idx="3654">
                  <c:v>39.1</c:v>
                </c:pt>
                <c:pt idx="3655">
                  <c:v>42.7</c:v>
                </c:pt>
                <c:pt idx="3656">
                  <c:v>33.700000000000003</c:v>
                </c:pt>
                <c:pt idx="3657">
                  <c:v>38.700000000000003</c:v>
                </c:pt>
                <c:pt idx="3658">
                  <c:v>45.2</c:v>
                </c:pt>
                <c:pt idx="3659">
                  <c:v>37.5</c:v>
                </c:pt>
                <c:pt idx="3660">
                  <c:v>38.299999999999997</c:v>
                </c:pt>
                <c:pt idx="3661">
                  <c:v>38.700000000000003</c:v>
                </c:pt>
                <c:pt idx="3662">
                  <c:v>51.7</c:v>
                </c:pt>
                <c:pt idx="3663">
                  <c:v>47</c:v>
                </c:pt>
                <c:pt idx="3664">
                  <c:v>48.8</c:v>
                </c:pt>
                <c:pt idx="3665">
                  <c:v>48</c:v>
                </c:pt>
                <c:pt idx="3666">
                  <c:v>35.732869170000001</c:v>
                </c:pt>
                <c:pt idx="3667">
                  <c:v>44.8</c:v>
                </c:pt>
                <c:pt idx="3668">
                  <c:v>41.839220950341698</c:v>
                </c:pt>
                <c:pt idx="3669">
                  <c:v>44.9</c:v>
                </c:pt>
                <c:pt idx="3670">
                  <c:v>38.4</c:v>
                </c:pt>
                <c:pt idx="3671">
                  <c:v>50.2</c:v>
                </c:pt>
                <c:pt idx="3672">
                  <c:v>45.3</c:v>
                </c:pt>
                <c:pt idx="3673">
                  <c:v>37.4</c:v>
                </c:pt>
                <c:pt idx="3674">
                  <c:v>40.1</c:v>
                </c:pt>
                <c:pt idx="3675">
                  <c:v>47.8</c:v>
                </c:pt>
                <c:pt idx="3676">
                  <c:v>34.6</c:v>
                </c:pt>
                <c:pt idx="3677">
                  <c:v>42.2</c:v>
                </c:pt>
                <c:pt idx="3678">
                  <c:v>41.3</c:v>
                </c:pt>
                <c:pt idx="3679">
                  <c:v>44.1</c:v>
                </c:pt>
                <c:pt idx="3680">
                  <c:v>45.3</c:v>
                </c:pt>
                <c:pt idx="3681">
                  <c:v>40.700000000000003</c:v>
                </c:pt>
                <c:pt idx="3682">
                  <c:v>55.7</c:v>
                </c:pt>
                <c:pt idx="3683">
                  <c:v>52.1</c:v>
                </c:pt>
                <c:pt idx="3684">
                  <c:v>47.8</c:v>
                </c:pt>
                <c:pt idx="3685">
                  <c:v>44.5</c:v>
                </c:pt>
                <c:pt idx="3686">
                  <c:v>40.5</c:v>
                </c:pt>
                <c:pt idx="3687">
                  <c:v>38.799999999999997</c:v>
                </c:pt>
                <c:pt idx="3688">
                  <c:v>45.7</c:v>
                </c:pt>
                <c:pt idx="3689">
                  <c:v>47.6</c:v>
                </c:pt>
                <c:pt idx="3690">
                  <c:v>45.9</c:v>
                </c:pt>
                <c:pt idx="3691">
                  <c:v>47.1</c:v>
                </c:pt>
                <c:pt idx="3692">
                  <c:v>39.957791081401197</c:v>
                </c:pt>
                <c:pt idx="3693">
                  <c:v>41.8</c:v>
                </c:pt>
                <c:pt idx="3694">
                  <c:v>50.2</c:v>
                </c:pt>
                <c:pt idx="3695">
                  <c:v>42.5</c:v>
                </c:pt>
                <c:pt idx="3696">
                  <c:v>34</c:v>
                </c:pt>
                <c:pt idx="3697">
                  <c:v>44.4</c:v>
                </c:pt>
                <c:pt idx="3698">
                  <c:v>46.8</c:v>
                </c:pt>
                <c:pt idx="3699">
                  <c:v>42</c:v>
                </c:pt>
                <c:pt idx="3700">
                  <c:v>35.200000000000003</c:v>
                </c:pt>
                <c:pt idx="3701">
                  <c:v>43.3</c:v>
                </c:pt>
                <c:pt idx="3702">
                  <c:v>38.299999999999997</c:v>
                </c:pt>
                <c:pt idx="3703">
                  <c:v>45.8</c:v>
                </c:pt>
                <c:pt idx="3704">
                  <c:v>47.6</c:v>
                </c:pt>
                <c:pt idx="3705">
                  <c:v>39.1</c:v>
                </c:pt>
                <c:pt idx="3706">
                  <c:v>42.6</c:v>
                </c:pt>
                <c:pt idx="3707">
                  <c:v>44.2</c:v>
                </c:pt>
                <c:pt idx="3708">
                  <c:v>39.4</c:v>
                </c:pt>
                <c:pt idx="3709">
                  <c:v>48.6</c:v>
                </c:pt>
                <c:pt idx="3710">
                  <c:v>47.036658103228298</c:v>
                </c:pt>
                <c:pt idx="3711">
                  <c:v>40</c:v>
                </c:pt>
                <c:pt idx="3712">
                  <c:v>41.4</c:v>
                </c:pt>
                <c:pt idx="3713">
                  <c:v>42.8</c:v>
                </c:pt>
                <c:pt idx="3714">
                  <c:v>41.268123109999998</c:v>
                </c:pt>
                <c:pt idx="3715">
                  <c:v>45.3</c:v>
                </c:pt>
                <c:pt idx="3716">
                  <c:v>40.799999999999997</c:v>
                </c:pt>
                <c:pt idx="3717">
                  <c:v>44.1</c:v>
                </c:pt>
                <c:pt idx="3718">
                  <c:v>41.895903338332602</c:v>
                </c:pt>
                <c:pt idx="3719">
                  <c:v>45.6</c:v>
                </c:pt>
                <c:pt idx="3720">
                  <c:v>40.200000000000003</c:v>
                </c:pt>
                <c:pt idx="3721">
                  <c:v>45.9</c:v>
                </c:pt>
                <c:pt idx="3722">
                  <c:v>28.5</c:v>
                </c:pt>
                <c:pt idx="3723">
                  <c:v>42.9</c:v>
                </c:pt>
                <c:pt idx="3724">
                  <c:v>41.3</c:v>
                </c:pt>
                <c:pt idx="3725">
                  <c:v>38.4</c:v>
                </c:pt>
                <c:pt idx="3726">
                  <c:v>42</c:v>
                </c:pt>
                <c:pt idx="3727">
                  <c:v>40.5</c:v>
                </c:pt>
                <c:pt idx="3728">
                  <c:v>40.9</c:v>
                </c:pt>
                <c:pt idx="3729">
                  <c:v>42.8</c:v>
                </c:pt>
                <c:pt idx="3730">
                  <c:v>44.7</c:v>
                </c:pt>
                <c:pt idx="3731">
                  <c:v>33.299999999999997</c:v>
                </c:pt>
                <c:pt idx="3732">
                  <c:v>47.8</c:v>
                </c:pt>
                <c:pt idx="3733">
                  <c:v>40.700000000000003</c:v>
                </c:pt>
                <c:pt idx="3734">
                  <c:v>42.8</c:v>
                </c:pt>
                <c:pt idx="3735">
                  <c:v>48.1</c:v>
                </c:pt>
                <c:pt idx="3736">
                  <c:v>50.9</c:v>
                </c:pt>
                <c:pt idx="3737">
                  <c:v>40.4</c:v>
                </c:pt>
                <c:pt idx="3738">
                  <c:v>44.2</c:v>
                </c:pt>
                <c:pt idx="3739">
                  <c:v>38.200000000000003</c:v>
                </c:pt>
                <c:pt idx="3740">
                  <c:v>33.200000000000003</c:v>
                </c:pt>
                <c:pt idx="3741">
                  <c:v>43.5</c:v>
                </c:pt>
                <c:pt idx="3742">
                  <c:v>42.7</c:v>
                </c:pt>
                <c:pt idx="3743">
                  <c:v>33.299999999999997</c:v>
                </c:pt>
                <c:pt idx="3744">
                  <c:v>46.5</c:v>
                </c:pt>
                <c:pt idx="3745">
                  <c:v>52.2</c:v>
                </c:pt>
                <c:pt idx="3746">
                  <c:v>38.6</c:v>
                </c:pt>
                <c:pt idx="3747">
                  <c:v>40.9</c:v>
                </c:pt>
                <c:pt idx="3748">
                  <c:v>43.8</c:v>
                </c:pt>
                <c:pt idx="3749">
                  <c:v>44.4</c:v>
                </c:pt>
                <c:pt idx="3750">
                  <c:v>41.4</c:v>
                </c:pt>
                <c:pt idx="3751">
                  <c:v>47</c:v>
                </c:pt>
                <c:pt idx="3752">
                  <c:v>41.299999999999898</c:v>
                </c:pt>
                <c:pt idx="3753">
                  <c:v>44.865925498697301</c:v>
                </c:pt>
                <c:pt idx="3754">
                  <c:v>45</c:v>
                </c:pt>
                <c:pt idx="3755">
                  <c:v>36.9</c:v>
                </c:pt>
                <c:pt idx="3756">
                  <c:v>45.7</c:v>
                </c:pt>
                <c:pt idx="3757">
                  <c:v>45.3</c:v>
                </c:pt>
                <c:pt idx="3758">
                  <c:v>45.1</c:v>
                </c:pt>
                <c:pt idx="3759">
                  <c:v>42</c:v>
                </c:pt>
                <c:pt idx="3760">
                  <c:v>42.1</c:v>
                </c:pt>
                <c:pt idx="3761">
                  <c:v>40.981296742299399</c:v>
                </c:pt>
                <c:pt idx="3762">
                  <c:v>41.6085748550869</c:v>
                </c:pt>
                <c:pt idx="3763">
                  <c:v>46</c:v>
                </c:pt>
                <c:pt idx="3764">
                  <c:v>39.1</c:v>
                </c:pt>
                <c:pt idx="3765">
                  <c:v>42.4</c:v>
                </c:pt>
                <c:pt idx="3766">
                  <c:v>40.5</c:v>
                </c:pt>
                <c:pt idx="3767">
                  <c:v>42.299999999999898</c:v>
                </c:pt>
                <c:pt idx="3768">
                  <c:v>48.3</c:v>
                </c:pt>
                <c:pt idx="3769">
                  <c:v>51.1</c:v>
                </c:pt>
                <c:pt idx="3770">
                  <c:v>53.3</c:v>
                </c:pt>
                <c:pt idx="3771">
                  <c:v>39.1</c:v>
                </c:pt>
                <c:pt idx="3772">
                  <c:v>43.2</c:v>
                </c:pt>
                <c:pt idx="3773">
                  <c:v>42</c:v>
                </c:pt>
                <c:pt idx="3774">
                  <c:v>37.1</c:v>
                </c:pt>
                <c:pt idx="3775">
                  <c:v>41.531895523385003</c:v>
                </c:pt>
                <c:pt idx="3776">
                  <c:v>38.9</c:v>
                </c:pt>
                <c:pt idx="3777">
                  <c:v>48.5</c:v>
                </c:pt>
                <c:pt idx="3778">
                  <c:v>49.1</c:v>
                </c:pt>
                <c:pt idx="3779">
                  <c:v>38.200000000000003</c:v>
                </c:pt>
                <c:pt idx="3780">
                  <c:v>42.5</c:v>
                </c:pt>
                <c:pt idx="3781">
                  <c:v>44.3</c:v>
                </c:pt>
                <c:pt idx="3782">
                  <c:v>46.9</c:v>
                </c:pt>
                <c:pt idx="3783">
                  <c:v>46.7</c:v>
                </c:pt>
                <c:pt idx="3784">
                  <c:v>33.6</c:v>
                </c:pt>
                <c:pt idx="3785">
                  <c:v>41.9</c:v>
                </c:pt>
                <c:pt idx="3786">
                  <c:v>39.6</c:v>
                </c:pt>
                <c:pt idx="3787">
                  <c:v>47.7</c:v>
                </c:pt>
                <c:pt idx="3788">
                  <c:v>34.6</c:v>
                </c:pt>
                <c:pt idx="3789">
                  <c:v>48.1</c:v>
                </c:pt>
                <c:pt idx="3790">
                  <c:v>45.1</c:v>
                </c:pt>
                <c:pt idx="3791">
                  <c:v>46.4</c:v>
                </c:pt>
                <c:pt idx="3792">
                  <c:v>39.5</c:v>
                </c:pt>
                <c:pt idx="3793">
                  <c:v>45</c:v>
                </c:pt>
                <c:pt idx="3794">
                  <c:v>45.2</c:v>
                </c:pt>
                <c:pt idx="3795">
                  <c:v>45</c:v>
                </c:pt>
                <c:pt idx="3796">
                  <c:v>38.6</c:v>
                </c:pt>
                <c:pt idx="3797">
                  <c:v>40.5</c:v>
                </c:pt>
                <c:pt idx="3798">
                  <c:v>50.2</c:v>
                </c:pt>
                <c:pt idx="3799">
                  <c:v>39.5</c:v>
                </c:pt>
                <c:pt idx="3800">
                  <c:v>46.6</c:v>
                </c:pt>
                <c:pt idx="3801">
                  <c:v>44.6</c:v>
                </c:pt>
                <c:pt idx="3802">
                  <c:v>45.6</c:v>
                </c:pt>
                <c:pt idx="3803">
                  <c:v>35.9</c:v>
                </c:pt>
                <c:pt idx="3804">
                  <c:v>47.2</c:v>
                </c:pt>
                <c:pt idx="3805">
                  <c:v>48.2</c:v>
                </c:pt>
                <c:pt idx="3806">
                  <c:v>44.4</c:v>
                </c:pt>
                <c:pt idx="3807">
                  <c:v>41.7</c:v>
                </c:pt>
                <c:pt idx="3808">
                  <c:v>44.6</c:v>
                </c:pt>
                <c:pt idx="3809">
                  <c:v>40.4921005579371</c:v>
                </c:pt>
                <c:pt idx="3810">
                  <c:v>40.1</c:v>
                </c:pt>
                <c:pt idx="3811">
                  <c:v>39.700000000000003</c:v>
                </c:pt>
                <c:pt idx="3812">
                  <c:v>51</c:v>
                </c:pt>
                <c:pt idx="3813">
                  <c:v>39.9</c:v>
                </c:pt>
                <c:pt idx="3814">
                  <c:v>51.7</c:v>
                </c:pt>
                <c:pt idx="3815">
                  <c:v>38.935985740230002</c:v>
                </c:pt>
                <c:pt idx="3816">
                  <c:v>45.3</c:v>
                </c:pt>
                <c:pt idx="3817">
                  <c:v>49.6</c:v>
                </c:pt>
                <c:pt idx="3818">
                  <c:v>44.2</c:v>
                </c:pt>
                <c:pt idx="3819">
                  <c:v>51.3</c:v>
                </c:pt>
                <c:pt idx="3820">
                  <c:v>52</c:v>
                </c:pt>
                <c:pt idx="3821">
                  <c:v>43.3</c:v>
                </c:pt>
                <c:pt idx="3822">
                  <c:v>46.799999999999898</c:v>
                </c:pt>
                <c:pt idx="3823">
                  <c:v>34.200000000000003</c:v>
                </c:pt>
                <c:pt idx="3824">
                  <c:v>42.1</c:v>
                </c:pt>
                <c:pt idx="3825">
                  <c:v>45.7</c:v>
                </c:pt>
                <c:pt idx="3826">
                  <c:v>42.8</c:v>
                </c:pt>
                <c:pt idx="3827">
                  <c:v>44.8</c:v>
                </c:pt>
                <c:pt idx="3828">
                  <c:v>37.700000000000003</c:v>
                </c:pt>
                <c:pt idx="3829">
                  <c:v>45.3</c:v>
                </c:pt>
                <c:pt idx="3830">
                  <c:v>38.4</c:v>
                </c:pt>
                <c:pt idx="3831">
                  <c:v>47.6</c:v>
                </c:pt>
                <c:pt idx="3832">
                  <c:v>47.2</c:v>
                </c:pt>
                <c:pt idx="3833">
                  <c:v>44.1</c:v>
                </c:pt>
                <c:pt idx="3834">
                  <c:v>49</c:v>
                </c:pt>
                <c:pt idx="3835">
                  <c:v>46.342014313143601</c:v>
                </c:pt>
                <c:pt idx="3836">
                  <c:v>38.5</c:v>
                </c:pt>
                <c:pt idx="3837">
                  <c:v>45.4</c:v>
                </c:pt>
                <c:pt idx="3838">
                  <c:v>36.4</c:v>
                </c:pt>
                <c:pt idx="3839">
                  <c:v>41.4</c:v>
                </c:pt>
                <c:pt idx="3840">
                  <c:v>24.7</c:v>
                </c:pt>
                <c:pt idx="3841">
                  <c:v>46.3</c:v>
                </c:pt>
                <c:pt idx="3842">
                  <c:v>43.6</c:v>
                </c:pt>
                <c:pt idx="3843">
                  <c:v>27.6</c:v>
                </c:pt>
                <c:pt idx="3844">
                  <c:v>49.6</c:v>
                </c:pt>
                <c:pt idx="3845">
                  <c:v>38.343400458978699</c:v>
                </c:pt>
                <c:pt idx="3846">
                  <c:v>44</c:v>
                </c:pt>
                <c:pt idx="3847">
                  <c:v>43.6</c:v>
                </c:pt>
                <c:pt idx="3848">
                  <c:v>41.5</c:v>
                </c:pt>
                <c:pt idx="3849">
                  <c:v>45</c:v>
                </c:pt>
                <c:pt idx="3850">
                  <c:v>41.294468163572098</c:v>
                </c:pt>
                <c:pt idx="3851">
                  <c:v>45.9</c:v>
                </c:pt>
                <c:pt idx="3852">
                  <c:v>46</c:v>
                </c:pt>
                <c:pt idx="3853">
                  <c:v>47.4</c:v>
                </c:pt>
                <c:pt idx="3854">
                  <c:v>39.799999999999997</c:v>
                </c:pt>
                <c:pt idx="3855">
                  <c:v>31.1</c:v>
                </c:pt>
                <c:pt idx="3856">
                  <c:v>38.400491784955797</c:v>
                </c:pt>
                <c:pt idx="3857">
                  <c:v>38.799999999999997</c:v>
                </c:pt>
                <c:pt idx="3858">
                  <c:v>43.4</c:v>
                </c:pt>
                <c:pt idx="3859">
                  <c:v>47.2</c:v>
                </c:pt>
                <c:pt idx="3860">
                  <c:v>49.9</c:v>
                </c:pt>
                <c:pt idx="3861">
                  <c:v>42.3</c:v>
                </c:pt>
                <c:pt idx="3862">
                  <c:v>40.5</c:v>
                </c:pt>
                <c:pt idx="3863">
                  <c:v>42.9</c:v>
                </c:pt>
                <c:pt idx="3864">
                  <c:v>47.9</c:v>
                </c:pt>
                <c:pt idx="3865">
                  <c:v>43.8</c:v>
                </c:pt>
                <c:pt idx="3866">
                  <c:v>40.5</c:v>
                </c:pt>
                <c:pt idx="3867">
                  <c:v>44.1</c:v>
                </c:pt>
                <c:pt idx="3868">
                  <c:v>39.4</c:v>
                </c:pt>
                <c:pt idx="3869">
                  <c:v>38.200000000000003</c:v>
                </c:pt>
                <c:pt idx="3870">
                  <c:v>39.799999999999997</c:v>
                </c:pt>
                <c:pt idx="3871">
                  <c:v>47.8</c:v>
                </c:pt>
                <c:pt idx="3872">
                  <c:v>46.9</c:v>
                </c:pt>
                <c:pt idx="3873">
                  <c:v>59.9</c:v>
                </c:pt>
                <c:pt idx="3874">
                  <c:v>41.8</c:v>
                </c:pt>
                <c:pt idx="3875">
                  <c:v>42.9</c:v>
                </c:pt>
                <c:pt idx="3876">
                  <c:v>43.3</c:v>
                </c:pt>
                <c:pt idx="3877">
                  <c:v>41.820368326409103</c:v>
                </c:pt>
                <c:pt idx="3878">
                  <c:v>45.7</c:v>
                </c:pt>
                <c:pt idx="3879">
                  <c:v>45.2</c:v>
                </c:pt>
                <c:pt idx="3880">
                  <c:v>44.4</c:v>
                </c:pt>
                <c:pt idx="3881">
                  <c:v>43.8</c:v>
                </c:pt>
                <c:pt idx="3882">
                  <c:v>42.4</c:v>
                </c:pt>
                <c:pt idx="3883">
                  <c:v>39.299999999999997</c:v>
                </c:pt>
                <c:pt idx="3884">
                  <c:v>36</c:v>
                </c:pt>
                <c:pt idx="3885">
                  <c:v>44.7</c:v>
                </c:pt>
                <c:pt idx="3886">
                  <c:v>45</c:v>
                </c:pt>
                <c:pt idx="3887">
                  <c:v>41.8</c:v>
                </c:pt>
                <c:pt idx="3888">
                  <c:v>41.6</c:v>
                </c:pt>
                <c:pt idx="3889">
                  <c:v>43.2</c:v>
                </c:pt>
                <c:pt idx="3890">
                  <c:v>44</c:v>
                </c:pt>
                <c:pt idx="3891">
                  <c:v>39.799999999999997</c:v>
                </c:pt>
                <c:pt idx="3892">
                  <c:v>47.6</c:v>
                </c:pt>
                <c:pt idx="3893">
                  <c:v>45.4</c:v>
                </c:pt>
                <c:pt idx="3894">
                  <c:v>29.8</c:v>
                </c:pt>
                <c:pt idx="3895">
                  <c:v>48.9</c:v>
                </c:pt>
                <c:pt idx="3896">
                  <c:v>40.5</c:v>
                </c:pt>
                <c:pt idx="3897">
                  <c:v>40.5</c:v>
                </c:pt>
                <c:pt idx="3898">
                  <c:v>43.6</c:v>
                </c:pt>
                <c:pt idx="3899">
                  <c:v>45.7</c:v>
                </c:pt>
                <c:pt idx="3900">
                  <c:v>52.6</c:v>
                </c:pt>
                <c:pt idx="3901">
                  <c:v>43.7</c:v>
                </c:pt>
                <c:pt idx="3902">
                  <c:v>49.8</c:v>
                </c:pt>
                <c:pt idx="3903">
                  <c:v>42.2</c:v>
                </c:pt>
                <c:pt idx="3904">
                  <c:v>38.299999999999997</c:v>
                </c:pt>
                <c:pt idx="3905">
                  <c:v>44.4</c:v>
                </c:pt>
                <c:pt idx="3906">
                  <c:v>40.6</c:v>
                </c:pt>
                <c:pt idx="3907">
                  <c:v>49</c:v>
                </c:pt>
                <c:pt idx="3908">
                  <c:v>48.1</c:v>
                </c:pt>
                <c:pt idx="3909">
                  <c:v>44.5</c:v>
                </c:pt>
                <c:pt idx="3910">
                  <c:v>45.7</c:v>
                </c:pt>
                <c:pt idx="3911">
                  <c:v>41.3</c:v>
                </c:pt>
                <c:pt idx="3912">
                  <c:v>45.5675490342228</c:v>
                </c:pt>
                <c:pt idx="3913">
                  <c:v>43.9</c:v>
                </c:pt>
                <c:pt idx="3914">
                  <c:v>47.5</c:v>
                </c:pt>
                <c:pt idx="3915">
                  <c:v>42.3</c:v>
                </c:pt>
                <c:pt idx="3916">
                  <c:v>57</c:v>
                </c:pt>
                <c:pt idx="3917">
                  <c:v>47.3</c:v>
                </c:pt>
                <c:pt idx="3918">
                  <c:v>46.6</c:v>
                </c:pt>
                <c:pt idx="3919">
                  <c:v>43.6</c:v>
                </c:pt>
                <c:pt idx="3920">
                  <c:v>36.6</c:v>
                </c:pt>
                <c:pt idx="3921">
                  <c:v>36.5</c:v>
                </c:pt>
                <c:pt idx="3922">
                  <c:v>38.700000000000003</c:v>
                </c:pt>
                <c:pt idx="3923">
                  <c:v>42.6</c:v>
                </c:pt>
                <c:pt idx="3924">
                  <c:v>46.1</c:v>
                </c:pt>
                <c:pt idx="3925">
                  <c:v>44.9</c:v>
                </c:pt>
                <c:pt idx="3926">
                  <c:v>40.625854888714002</c:v>
                </c:pt>
                <c:pt idx="3927">
                  <c:v>40.9</c:v>
                </c:pt>
                <c:pt idx="3928">
                  <c:v>45.2</c:v>
                </c:pt>
                <c:pt idx="3929">
                  <c:v>45.1</c:v>
                </c:pt>
                <c:pt idx="3930">
                  <c:v>43.9</c:v>
                </c:pt>
                <c:pt idx="3931">
                  <c:v>41</c:v>
                </c:pt>
                <c:pt idx="3932">
                  <c:v>41.4</c:v>
                </c:pt>
                <c:pt idx="3933">
                  <c:v>44.8</c:v>
                </c:pt>
                <c:pt idx="3934">
                  <c:v>44.7</c:v>
                </c:pt>
                <c:pt idx="3935">
                  <c:v>41</c:v>
                </c:pt>
                <c:pt idx="3936">
                  <c:v>45.4</c:v>
                </c:pt>
                <c:pt idx="3937">
                  <c:v>47.2</c:v>
                </c:pt>
                <c:pt idx="3938">
                  <c:v>37.299999999999997</c:v>
                </c:pt>
                <c:pt idx="3939">
                  <c:v>47.2</c:v>
                </c:pt>
                <c:pt idx="3940">
                  <c:v>40.9</c:v>
                </c:pt>
                <c:pt idx="3941">
                  <c:v>47.1</c:v>
                </c:pt>
                <c:pt idx="3942">
                  <c:v>37</c:v>
                </c:pt>
                <c:pt idx="3943">
                  <c:v>44.2</c:v>
                </c:pt>
                <c:pt idx="3944">
                  <c:v>42.6</c:v>
                </c:pt>
                <c:pt idx="3945">
                  <c:v>42.1</c:v>
                </c:pt>
                <c:pt idx="3946">
                  <c:v>51.1</c:v>
                </c:pt>
                <c:pt idx="3947">
                  <c:v>45.7</c:v>
                </c:pt>
                <c:pt idx="3948">
                  <c:v>37.700000000000003</c:v>
                </c:pt>
                <c:pt idx="3949">
                  <c:v>49</c:v>
                </c:pt>
                <c:pt idx="3950">
                  <c:v>38.169018715323901</c:v>
                </c:pt>
                <c:pt idx="3951">
                  <c:v>41.470460258299298</c:v>
                </c:pt>
                <c:pt idx="3952">
                  <c:v>46.5</c:v>
                </c:pt>
                <c:pt idx="3953">
                  <c:v>41.9</c:v>
                </c:pt>
                <c:pt idx="3954">
                  <c:v>66.599999999999994</c:v>
                </c:pt>
                <c:pt idx="3955">
                  <c:v>48.2</c:v>
                </c:pt>
                <c:pt idx="3956">
                  <c:v>42.5</c:v>
                </c:pt>
                <c:pt idx="3957">
                  <c:v>40.4</c:v>
                </c:pt>
                <c:pt idx="3958">
                  <c:v>39.717887286005002</c:v>
                </c:pt>
                <c:pt idx="3959">
                  <c:v>44.1</c:v>
                </c:pt>
                <c:pt idx="3960">
                  <c:v>37.6</c:v>
                </c:pt>
                <c:pt idx="3961">
                  <c:v>43.5</c:v>
                </c:pt>
                <c:pt idx="3962">
                  <c:v>35</c:v>
                </c:pt>
                <c:pt idx="3963">
                  <c:v>37.5168585091889</c:v>
                </c:pt>
                <c:pt idx="3964">
                  <c:v>40.799999999999997</c:v>
                </c:pt>
                <c:pt idx="3965">
                  <c:v>49.6</c:v>
                </c:pt>
                <c:pt idx="3966">
                  <c:v>43.7</c:v>
                </c:pt>
                <c:pt idx="3967">
                  <c:v>46.5</c:v>
                </c:pt>
                <c:pt idx="3968">
                  <c:v>39.9</c:v>
                </c:pt>
                <c:pt idx="3969">
                  <c:v>47.5</c:v>
                </c:pt>
                <c:pt idx="3970">
                  <c:v>49.3</c:v>
                </c:pt>
                <c:pt idx="3971">
                  <c:v>52.4</c:v>
                </c:pt>
                <c:pt idx="3972">
                  <c:v>36.5</c:v>
                </c:pt>
                <c:pt idx="3973">
                  <c:v>42.2</c:v>
                </c:pt>
                <c:pt idx="3974">
                  <c:v>45.3</c:v>
                </c:pt>
                <c:pt idx="3975">
                  <c:v>42.1</c:v>
                </c:pt>
                <c:pt idx="3976">
                  <c:v>36.998410356843003</c:v>
                </c:pt>
                <c:pt idx="3977">
                  <c:v>39.6</c:v>
                </c:pt>
                <c:pt idx="3978">
                  <c:v>46.9</c:v>
                </c:pt>
                <c:pt idx="3979">
                  <c:v>45.9</c:v>
                </c:pt>
                <c:pt idx="3980">
                  <c:v>39.9</c:v>
                </c:pt>
                <c:pt idx="3981">
                  <c:v>42.8</c:v>
                </c:pt>
                <c:pt idx="3982">
                  <c:v>33.6</c:v>
                </c:pt>
                <c:pt idx="3983">
                  <c:v>48.3</c:v>
                </c:pt>
                <c:pt idx="3984">
                  <c:v>34.799999999999997</c:v>
                </c:pt>
                <c:pt idx="3985">
                  <c:v>51.8</c:v>
                </c:pt>
                <c:pt idx="3986">
                  <c:v>40.9</c:v>
                </c:pt>
                <c:pt idx="3987">
                  <c:v>24.5</c:v>
                </c:pt>
                <c:pt idx="3988">
                  <c:v>44.4</c:v>
                </c:pt>
                <c:pt idx="3989">
                  <c:v>40.5</c:v>
                </c:pt>
                <c:pt idx="3990">
                  <c:v>48.2</c:v>
                </c:pt>
                <c:pt idx="3991">
                  <c:v>43</c:v>
                </c:pt>
                <c:pt idx="3992">
                  <c:v>27.2030750798722</c:v>
                </c:pt>
                <c:pt idx="3993">
                  <c:v>45</c:v>
                </c:pt>
                <c:pt idx="3994">
                  <c:v>43.7</c:v>
                </c:pt>
                <c:pt idx="3995">
                  <c:v>38</c:v>
                </c:pt>
                <c:pt idx="3996">
                  <c:v>33.4</c:v>
                </c:pt>
                <c:pt idx="3997">
                  <c:v>45.1</c:v>
                </c:pt>
                <c:pt idx="3998">
                  <c:v>42.7</c:v>
                </c:pt>
                <c:pt idx="3999">
                  <c:v>45</c:v>
                </c:pt>
                <c:pt idx="4000">
                  <c:v>43.9</c:v>
                </c:pt>
                <c:pt idx="4001">
                  <c:v>43.4</c:v>
                </c:pt>
                <c:pt idx="4002">
                  <c:v>44.1</c:v>
                </c:pt>
                <c:pt idx="4003">
                  <c:v>38.9</c:v>
                </c:pt>
                <c:pt idx="4004">
                  <c:v>48.2</c:v>
                </c:pt>
                <c:pt idx="4005">
                  <c:v>46.6</c:v>
                </c:pt>
                <c:pt idx="4006">
                  <c:v>40.1</c:v>
                </c:pt>
                <c:pt idx="4007">
                  <c:v>45.7</c:v>
                </c:pt>
                <c:pt idx="4008">
                  <c:v>44.2</c:v>
                </c:pt>
                <c:pt idx="4009">
                  <c:v>47.2</c:v>
                </c:pt>
                <c:pt idx="4010">
                  <c:v>45.3</c:v>
                </c:pt>
                <c:pt idx="4011">
                  <c:v>33.5</c:v>
                </c:pt>
                <c:pt idx="4012">
                  <c:v>50.6</c:v>
                </c:pt>
                <c:pt idx="4013">
                  <c:v>20.6</c:v>
                </c:pt>
                <c:pt idx="4014">
                  <c:v>45.5</c:v>
                </c:pt>
                <c:pt idx="4015">
                  <c:v>46.6</c:v>
                </c:pt>
                <c:pt idx="4016">
                  <c:v>47.2</c:v>
                </c:pt>
                <c:pt idx="4017">
                  <c:v>51.4</c:v>
                </c:pt>
                <c:pt idx="4018">
                  <c:v>46.1</c:v>
                </c:pt>
                <c:pt idx="4019">
                  <c:v>45.5</c:v>
                </c:pt>
                <c:pt idx="4020">
                  <c:v>54.2</c:v>
                </c:pt>
                <c:pt idx="4021">
                  <c:v>40.299999999999997</c:v>
                </c:pt>
                <c:pt idx="4022">
                  <c:v>41</c:v>
                </c:pt>
                <c:pt idx="4023">
                  <c:v>42.9</c:v>
                </c:pt>
                <c:pt idx="4024">
                  <c:v>47.8</c:v>
                </c:pt>
                <c:pt idx="4025">
                  <c:v>43.8</c:v>
                </c:pt>
                <c:pt idx="4026">
                  <c:v>41.266135376904899</c:v>
                </c:pt>
                <c:pt idx="4027">
                  <c:v>42.4</c:v>
                </c:pt>
                <c:pt idx="4028">
                  <c:v>39.9</c:v>
                </c:pt>
                <c:pt idx="4029">
                  <c:v>47.2</c:v>
                </c:pt>
                <c:pt idx="4030">
                  <c:v>40.6</c:v>
                </c:pt>
                <c:pt idx="4031">
                  <c:v>38.135418567884699</c:v>
                </c:pt>
                <c:pt idx="4032">
                  <c:v>42.2</c:v>
                </c:pt>
                <c:pt idx="4033">
                  <c:v>37.4</c:v>
                </c:pt>
                <c:pt idx="4034">
                  <c:v>43.2</c:v>
                </c:pt>
                <c:pt idx="4035">
                  <c:v>47</c:v>
                </c:pt>
                <c:pt idx="4036">
                  <c:v>36.299999999999997</c:v>
                </c:pt>
                <c:pt idx="4037">
                  <c:v>36.9</c:v>
                </c:pt>
                <c:pt idx="4038">
                  <c:v>47.6</c:v>
                </c:pt>
                <c:pt idx="4039">
                  <c:v>45.5</c:v>
                </c:pt>
                <c:pt idx="4040">
                  <c:v>44</c:v>
                </c:pt>
                <c:pt idx="4041">
                  <c:v>38.171565248559297</c:v>
                </c:pt>
                <c:pt idx="4042">
                  <c:v>37.200000000000003</c:v>
                </c:pt>
                <c:pt idx="4043">
                  <c:v>31.8</c:v>
                </c:pt>
                <c:pt idx="4044">
                  <c:v>28.7</c:v>
                </c:pt>
                <c:pt idx="4045">
                  <c:v>38.200000000000003</c:v>
                </c:pt>
                <c:pt idx="4046">
                  <c:v>30.7</c:v>
                </c:pt>
                <c:pt idx="4047">
                  <c:v>35.299999999999997</c:v>
                </c:pt>
                <c:pt idx="4048">
                  <c:v>33.1</c:v>
                </c:pt>
                <c:pt idx="4049">
                  <c:v>20.8</c:v>
                </c:pt>
                <c:pt idx="4050">
                  <c:v>22.1</c:v>
                </c:pt>
                <c:pt idx="4051">
                  <c:v>30.7</c:v>
                </c:pt>
                <c:pt idx="4052">
                  <c:v>29</c:v>
                </c:pt>
                <c:pt idx="4053">
                  <c:v>38.700000000000003</c:v>
                </c:pt>
                <c:pt idx="4054">
                  <c:v>46.2</c:v>
                </c:pt>
                <c:pt idx="4055">
                  <c:v>32.299999999999997</c:v>
                </c:pt>
                <c:pt idx="4056">
                  <c:v>29.8</c:v>
                </c:pt>
                <c:pt idx="4057">
                  <c:v>26.2</c:v>
                </c:pt>
                <c:pt idx="4058">
                  <c:v>29.5</c:v>
                </c:pt>
                <c:pt idx="4059">
                  <c:v>24.536451537903901</c:v>
                </c:pt>
                <c:pt idx="4060">
                  <c:v>33.200000000000003</c:v>
                </c:pt>
                <c:pt idx="4061">
                  <c:v>32.6</c:v>
                </c:pt>
                <c:pt idx="4062">
                  <c:v>41.5</c:v>
                </c:pt>
                <c:pt idx="4063">
                  <c:v>32.583757164425599</c:v>
                </c:pt>
                <c:pt idx="4064">
                  <c:v>26.8293641802107</c:v>
                </c:pt>
                <c:pt idx="4065">
                  <c:v>42.887807227196497</c:v>
                </c:pt>
                <c:pt idx="4066">
                  <c:v>27.9</c:v>
                </c:pt>
                <c:pt idx="4067">
                  <c:v>34.700000000000003</c:v>
                </c:pt>
                <c:pt idx="4068">
                  <c:v>24.254594680681599</c:v>
                </c:pt>
                <c:pt idx="4069">
                  <c:v>33.799999999999997</c:v>
                </c:pt>
                <c:pt idx="4070">
                  <c:v>31.3</c:v>
                </c:pt>
                <c:pt idx="4071">
                  <c:v>32.5</c:v>
                </c:pt>
                <c:pt idx="4072">
                  <c:v>37.629320518598398</c:v>
                </c:pt>
                <c:pt idx="4073">
                  <c:v>33.646510500891402</c:v>
                </c:pt>
                <c:pt idx="4074">
                  <c:v>35.020852596817697</c:v>
                </c:pt>
                <c:pt idx="4075">
                  <c:v>25.7</c:v>
                </c:pt>
                <c:pt idx="4076">
                  <c:v>36.9</c:v>
                </c:pt>
                <c:pt idx="4077">
                  <c:v>29.1</c:v>
                </c:pt>
                <c:pt idx="4078">
                  <c:v>32.1</c:v>
                </c:pt>
                <c:pt idx="4079">
                  <c:v>32.5</c:v>
                </c:pt>
                <c:pt idx="4080">
                  <c:v>31.4</c:v>
                </c:pt>
                <c:pt idx="4081">
                  <c:v>24.6</c:v>
                </c:pt>
                <c:pt idx="4082">
                  <c:v>36.299999999999997</c:v>
                </c:pt>
                <c:pt idx="4083">
                  <c:v>32.018656356517504</c:v>
                </c:pt>
                <c:pt idx="4084">
                  <c:v>30.142988387476102</c:v>
                </c:pt>
                <c:pt idx="4085">
                  <c:v>34.4</c:v>
                </c:pt>
                <c:pt idx="4086">
                  <c:v>47.192658509454901</c:v>
                </c:pt>
                <c:pt idx="4087">
                  <c:v>37.520808839635002</c:v>
                </c:pt>
                <c:pt idx="4088">
                  <c:v>44.4</c:v>
                </c:pt>
                <c:pt idx="4089">
                  <c:v>48.6</c:v>
                </c:pt>
                <c:pt idx="4090">
                  <c:v>38.9</c:v>
                </c:pt>
                <c:pt idx="4091">
                  <c:v>42.3</c:v>
                </c:pt>
                <c:pt idx="4092">
                  <c:v>35.890171740230898</c:v>
                </c:pt>
                <c:pt idx="4093">
                  <c:v>37.038699212848798</c:v>
                </c:pt>
                <c:pt idx="4094">
                  <c:v>37.1</c:v>
                </c:pt>
                <c:pt idx="4095">
                  <c:v>35.700000000000003</c:v>
                </c:pt>
                <c:pt idx="4096">
                  <c:v>50.2</c:v>
                </c:pt>
                <c:pt idx="4097">
                  <c:v>57.3</c:v>
                </c:pt>
                <c:pt idx="4098">
                  <c:v>35.700000000000003</c:v>
                </c:pt>
                <c:pt idx="4099">
                  <c:v>45.7</c:v>
                </c:pt>
                <c:pt idx="4100">
                  <c:v>46.5</c:v>
                </c:pt>
                <c:pt idx="4101">
                  <c:v>42</c:v>
                </c:pt>
                <c:pt idx="4102">
                  <c:v>26.7</c:v>
                </c:pt>
                <c:pt idx="4103">
                  <c:v>41.9</c:v>
                </c:pt>
                <c:pt idx="4104">
                  <c:v>26.6</c:v>
                </c:pt>
                <c:pt idx="4105">
                  <c:v>48</c:v>
                </c:pt>
                <c:pt idx="4106">
                  <c:v>60.7</c:v>
                </c:pt>
                <c:pt idx="4107">
                  <c:v>34.5</c:v>
                </c:pt>
                <c:pt idx="4108">
                  <c:v>46.361936400781602</c:v>
                </c:pt>
                <c:pt idx="4109">
                  <c:v>37.1</c:v>
                </c:pt>
                <c:pt idx="4110">
                  <c:v>39.4</c:v>
                </c:pt>
                <c:pt idx="4111">
                  <c:v>52.3</c:v>
                </c:pt>
                <c:pt idx="4112">
                  <c:v>38.9</c:v>
                </c:pt>
                <c:pt idx="4113">
                  <c:v>41.6</c:v>
                </c:pt>
                <c:pt idx="4114">
                  <c:v>44.3</c:v>
                </c:pt>
                <c:pt idx="4115">
                  <c:v>44.9</c:v>
                </c:pt>
                <c:pt idx="4116">
                  <c:v>36.189555577439798</c:v>
                </c:pt>
                <c:pt idx="4117">
                  <c:v>38.156325626898699</c:v>
                </c:pt>
                <c:pt idx="4118">
                  <c:v>40.368934505616103</c:v>
                </c:pt>
                <c:pt idx="4119">
                  <c:v>46.2</c:v>
                </c:pt>
                <c:pt idx="4120">
                  <c:v>37.072720259999997</c:v>
                </c:pt>
                <c:pt idx="4121">
                  <c:v>40.605356820777899</c:v>
                </c:pt>
                <c:pt idx="4122">
                  <c:v>38.1</c:v>
                </c:pt>
                <c:pt idx="4123">
                  <c:v>47.9</c:v>
                </c:pt>
                <c:pt idx="4124">
                  <c:v>58.4</c:v>
                </c:pt>
                <c:pt idx="4125">
                  <c:v>40.5</c:v>
                </c:pt>
                <c:pt idx="4126">
                  <c:v>58.2</c:v>
                </c:pt>
                <c:pt idx="4127">
                  <c:v>33.1</c:v>
                </c:pt>
                <c:pt idx="4128">
                  <c:v>47</c:v>
                </c:pt>
                <c:pt idx="4129">
                  <c:v>39</c:v>
                </c:pt>
                <c:pt idx="4130">
                  <c:v>38.799999999999997</c:v>
                </c:pt>
                <c:pt idx="4131">
                  <c:v>45.3</c:v>
                </c:pt>
                <c:pt idx="4132">
                  <c:v>38.5</c:v>
                </c:pt>
                <c:pt idx="4133">
                  <c:v>46.6</c:v>
                </c:pt>
                <c:pt idx="4134">
                  <c:v>44</c:v>
                </c:pt>
                <c:pt idx="4135">
                  <c:v>45.3</c:v>
                </c:pt>
                <c:pt idx="4136">
                  <c:v>47.9</c:v>
                </c:pt>
                <c:pt idx="4137">
                  <c:v>55.5</c:v>
                </c:pt>
                <c:pt idx="4138">
                  <c:v>49.899999999999899</c:v>
                </c:pt>
                <c:pt idx="4139">
                  <c:v>40.5</c:v>
                </c:pt>
                <c:pt idx="4140">
                  <c:v>34.614618147743201</c:v>
                </c:pt>
                <c:pt idx="4141">
                  <c:v>45.1</c:v>
                </c:pt>
                <c:pt idx="4142">
                  <c:v>40.4</c:v>
                </c:pt>
                <c:pt idx="4143">
                  <c:v>47.8</c:v>
                </c:pt>
                <c:pt idx="4144">
                  <c:v>36.526850429882501</c:v>
                </c:pt>
                <c:pt idx="4145">
                  <c:v>47.5</c:v>
                </c:pt>
                <c:pt idx="4146">
                  <c:v>59.8</c:v>
                </c:pt>
                <c:pt idx="4147">
                  <c:v>37.4141760169463</c:v>
                </c:pt>
                <c:pt idx="4148">
                  <c:v>34.1</c:v>
                </c:pt>
                <c:pt idx="4149">
                  <c:v>40.799999999999997</c:v>
                </c:pt>
                <c:pt idx="4150">
                  <c:v>42.9</c:v>
                </c:pt>
                <c:pt idx="4151">
                  <c:v>23</c:v>
                </c:pt>
                <c:pt idx="4152">
                  <c:v>41.8</c:v>
                </c:pt>
                <c:pt idx="4153">
                  <c:v>37.025062045785802</c:v>
                </c:pt>
                <c:pt idx="4154">
                  <c:v>42.2</c:v>
                </c:pt>
                <c:pt idx="4155">
                  <c:v>37.799999999999997</c:v>
                </c:pt>
                <c:pt idx="4156">
                  <c:v>45.2</c:v>
                </c:pt>
                <c:pt idx="4157">
                  <c:v>47.6</c:v>
                </c:pt>
                <c:pt idx="4158">
                  <c:v>39.6931533595397</c:v>
                </c:pt>
                <c:pt idx="4159">
                  <c:v>44.5</c:v>
                </c:pt>
                <c:pt idx="4160">
                  <c:v>49.2</c:v>
                </c:pt>
                <c:pt idx="4161">
                  <c:v>48.2</c:v>
                </c:pt>
                <c:pt idx="4162">
                  <c:v>38.1</c:v>
                </c:pt>
                <c:pt idx="4163">
                  <c:v>51.9</c:v>
                </c:pt>
                <c:pt idx="4164">
                  <c:v>48.6</c:v>
                </c:pt>
                <c:pt idx="4165">
                  <c:v>50.2</c:v>
                </c:pt>
                <c:pt idx="4166">
                  <c:v>40.6</c:v>
                </c:pt>
                <c:pt idx="4167">
                  <c:v>36.620280468387101</c:v>
                </c:pt>
                <c:pt idx="4168">
                  <c:v>31.901765434647899</c:v>
                </c:pt>
                <c:pt idx="4169">
                  <c:v>42</c:v>
                </c:pt>
                <c:pt idx="4170">
                  <c:v>40</c:v>
                </c:pt>
                <c:pt idx="4171">
                  <c:v>38.484969006872298</c:v>
                </c:pt>
                <c:pt idx="4172">
                  <c:v>35.892500510571502</c:v>
                </c:pt>
                <c:pt idx="4173">
                  <c:v>51.2</c:v>
                </c:pt>
                <c:pt idx="4174">
                  <c:v>51.1</c:v>
                </c:pt>
                <c:pt idx="4175">
                  <c:v>60.799999999999898</c:v>
                </c:pt>
                <c:pt idx="4176">
                  <c:v>38.799999999999997</c:v>
                </c:pt>
                <c:pt idx="4177">
                  <c:v>45.1</c:v>
                </c:pt>
                <c:pt idx="4178">
                  <c:v>47.5</c:v>
                </c:pt>
                <c:pt idx="4179">
                  <c:v>38.1</c:v>
                </c:pt>
                <c:pt idx="4180">
                  <c:v>35.299999999999997</c:v>
                </c:pt>
                <c:pt idx="4181">
                  <c:v>42.6</c:v>
                </c:pt>
                <c:pt idx="4182">
                  <c:v>37.9</c:v>
                </c:pt>
                <c:pt idx="4183">
                  <c:v>41.5</c:v>
                </c:pt>
                <c:pt idx="4184">
                  <c:v>54.8</c:v>
                </c:pt>
                <c:pt idx="4185">
                  <c:v>48</c:v>
                </c:pt>
                <c:pt idx="4186">
                  <c:v>33.185331989185698</c:v>
                </c:pt>
                <c:pt idx="4187">
                  <c:v>48</c:v>
                </c:pt>
                <c:pt idx="4188">
                  <c:v>45</c:v>
                </c:pt>
                <c:pt idx="4189">
                  <c:v>53.7</c:v>
                </c:pt>
                <c:pt idx="4190">
                  <c:v>34.345280350973702</c:v>
                </c:pt>
                <c:pt idx="4191">
                  <c:v>46.2</c:v>
                </c:pt>
                <c:pt idx="4192">
                  <c:v>41.1</c:v>
                </c:pt>
                <c:pt idx="4193">
                  <c:v>47</c:v>
                </c:pt>
                <c:pt idx="4194">
                  <c:v>49.1</c:v>
                </c:pt>
                <c:pt idx="4195">
                  <c:v>44.3</c:v>
                </c:pt>
                <c:pt idx="4196">
                  <c:v>43.1</c:v>
                </c:pt>
                <c:pt idx="4197">
                  <c:v>41.7</c:v>
                </c:pt>
                <c:pt idx="4198">
                  <c:v>45.5</c:v>
                </c:pt>
                <c:pt idx="4199">
                  <c:v>40.664491769061101</c:v>
                </c:pt>
                <c:pt idx="4200">
                  <c:v>39.6</c:v>
                </c:pt>
                <c:pt idx="4201">
                  <c:v>47.1</c:v>
                </c:pt>
                <c:pt idx="4202">
                  <c:v>53.3</c:v>
                </c:pt>
                <c:pt idx="4203">
                  <c:v>34.470270300570597</c:v>
                </c:pt>
                <c:pt idx="4204">
                  <c:v>39.6</c:v>
                </c:pt>
                <c:pt idx="4205">
                  <c:v>32.502819927551798</c:v>
                </c:pt>
                <c:pt idx="4206">
                  <c:v>41.7</c:v>
                </c:pt>
                <c:pt idx="4207">
                  <c:v>43.5</c:v>
                </c:pt>
                <c:pt idx="4208">
                  <c:v>41.2</c:v>
                </c:pt>
                <c:pt idx="4209">
                  <c:v>57.8</c:v>
                </c:pt>
                <c:pt idx="4210">
                  <c:v>38.700000000000003</c:v>
                </c:pt>
                <c:pt idx="4211">
                  <c:v>43</c:v>
                </c:pt>
                <c:pt idx="4212">
                  <c:v>39.5</c:v>
                </c:pt>
                <c:pt idx="4213">
                  <c:v>38.142429983918902</c:v>
                </c:pt>
                <c:pt idx="4214">
                  <c:v>43</c:v>
                </c:pt>
                <c:pt idx="4215">
                  <c:v>36.022970209999997</c:v>
                </c:pt>
                <c:pt idx="4216">
                  <c:v>37.799999999999997</c:v>
                </c:pt>
                <c:pt idx="4217">
                  <c:v>45.399999999999899</c:v>
                </c:pt>
                <c:pt idx="4218">
                  <c:v>42.3</c:v>
                </c:pt>
                <c:pt idx="4219">
                  <c:v>38.1</c:v>
                </c:pt>
                <c:pt idx="4220">
                  <c:v>22.7</c:v>
                </c:pt>
                <c:pt idx="4221">
                  <c:v>43.5</c:v>
                </c:pt>
                <c:pt idx="4222">
                  <c:v>36.299999999999997</c:v>
                </c:pt>
                <c:pt idx="4223">
                  <c:v>56.2</c:v>
                </c:pt>
                <c:pt idx="4224">
                  <c:v>47.2</c:v>
                </c:pt>
                <c:pt idx="4225">
                  <c:v>36.3306278137186</c:v>
                </c:pt>
                <c:pt idx="4226">
                  <c:v>43.7</c:v>
                </c:pt>
                <c:pt idx="4227">
                  <c:v>48.1</c:v>
                </c:pt>
                <c:pt idx="4228">
                  <c:v>42.369544819014997</c:v>
                </c:pt>
                <c:pt idx="4229">
                  <c:v>46</c:v>
                </c:pt>
                <c:pt idx="4230">
                  <c:v>41.1</c:v>
                </c:pt>
                <c:pt idx="4231">
                  <c:v>40.9</c:v>
                </c:pt>
                <c:pt idx="4232">
                  <c:v>41.9</c:v>
                </c:pt>
                <c:pt idx="4233">
                  <c:v>37.9</c:v>
                </c:pt>
                <c:pt idx="4234">
                  <c:v>42.3</c:v>
                </c:pt>
                <c:pt idx="4235">
                  <c:v>34.299999999999997</c:v>
                </c:pt>
                <c:pt idx="4236">
                  <c:v>34.5</c:v>
                </c:pt>
                <c:pt idx="4237">
                  <c:v>48.8</c:v>
                </c:pt>
                <c:pt idx="4238">
                  <c:v>44</c:v>
                </c:pt>
                <c:pt idx="4239">
                  <c:v>41.7</c:v>
                </c:pt>
                <c:pt idx="4240">
                  <c:v>39.4040020285764</c:v>
                </c:pt>
                <c:pt idx="4241">
                  <c:v>35.023271886900901</c:v>
                </c:pt>
                <c:pt idx="4242">
                  <c:v>46</c:v>
                </c:pt>
                <c:pt idx="4243">
                  <c:v>37.4</c:v>
                </c:pt>
                <c:pt idx="4244">
                  <c:v>35.3684418454121</c:v>
                </c:pt>
                <c:pt idx="4245">
                  <c:v>48.6</c:v>
                </c:pt>
                <c:pt idx="4246">
                  <c:v>37.799999999999997</c:v>
                </c:pt>
                <c:pt idx="4247">
                  <c:v>37.523497011460996</c:v>
                </c:pt>
                <c:pt idx="4248">
                  <c:v>44.7</c:v>
                </c:pt>
                <c:pt idx="4249">
                  <c:v>44.6</c:v>
                </c:pt>
                <c:pt idx="4250">
                  <c:v>40.799999999999997</c:v>
                </c:pt>
                <c:pt idx="4251">
                  <c:v>51.3</c:v>
                </c:pt>
                <c:pt idx="4252">
                  <c:v>43.7</c:v>
                </c:pt>
                <c:pt idx="4253">
                  <c:v>44.9</c:v>
                </c:pt>
                <c:pt idx="4254">
                  <c:v>40.4</c:v>
                </c:pt>
                <c:pt idx="4255">
                  <c:v>40.570667271387201</c:v>
                </c:pt>
                <c:pt idx="4256">
                  <c:v>37.111530699717797</c:v>
                </c:pt>
                <c:pt idx="4257">
                  <c:v>56.5</c:v>
                </c:pt>
                <c:pt idx="4258">
                  <c:v>40.570839853938402</c:v>
                </c:pt>
                <c:pt idx="4259">
                  <c:v>42.2</c:v>
                </c:pt>
                <c:pt idx="4260">
                  <c:v>37.200000000000003</c:v>
                </c:pt>
                <c:pt idx="4261">
                  <c:v>41.7</c:v>
                </c:pt>
                <c:pt idx="4262">
                  <c:v>44.309465474209603</c:v>
                </c:pt>
                <c:pt idx="4263">
                  <c:v>39.469893769999999</c:v>
                </c:pt>
                <c:pt idx="4264">
                  <c:v>41.1</c:v>
                </c:pt>
                <c:pt idx="4265">
                  <c:v>35.599391489184299</c:v>
                </c:pt>
                <c:pt idx="4266">
                  <c:v>46.2</c:v>
                </c:pt>
                <c:pt idx="4267">
                  <c:v>39.9</c:v>
                </c:pt>
                <c:pt idx="4268">
                  <c:v>39.6</c:v>
                </c:pt>
                <c:pt idx="4269">
                  <c:v>47.3</c:v>
                </c:pt>
                <c:pt idx="4270">
                  <c:v>42.855284841596799</c:v>
                </c:pt>
                <c:pt idx="4271">
                  <c:v>38.5</c:v>
                </c:pt>
                <c:pt idx="4272">
                  <c:v>33.9</c:v>
                </c:pt>
                <c:pt idx="4273">
                  <c:v>50.4</c:v>
                </c:pt>
                <c:pt idx="4274">
                  <c:v>42.2</c:v>
                </c:pt>
                <c:pt idx="4275">
                  <c:v>37.878304218390099</c:v>
                </c:pt>
                <c:pt idx="4276">
                  <c:v>49.2</c:v>
                </c:pt>
                <c:pt idx="4277">
                  <c:v>38.5</c:v>
                </c:pt>
                <c:pt idx="4278">
                  <c:v>40.899999999999899</c:v>
                </c:pt>
                <c:pt idx="4279">
                  <c:v>36.093206070940802</c:v>
                </c:pt>
                <c:pt idx="4280">
                  <c:v>45.8</c:v>
                </c:pt>
                <c:pt idx="4281">
                  <c:v>37.299999999999997</c:v>
                </c:pt>
                <c:pt idx="4282">
                  <c:v>36.518252192982402</c:v>
                </c:pt>
                <c:pt idx="4283">
                  <c:v>35.929060337188297</c:v>
                </c:pt>
                <c:pt idx="4284">
                  <c:v>28.3</c:v>
                </c:pt>
                <c:pt idx="4285">
                  <c:v>39.299999999999997</c:v>
                </c:pt>
                <c:pt idx="4286">
                  <c:v>46</c:v>
                </c:pt>
                <c:pt idx="4287">
                  <c:v>42.1</c:v>
                </c:pt>
                <c:pt idx="4288">
                  <c:v>38.4</c:v>
                </c:pt>
                <c:pt idx="4289">
                  <c:v>41.3</c:v>
                </c:pt>
                <c:pt idx="4290">
                  <c:v>28.5</c:v>
                </c:pt>
                <c:pt idx="4291">
                  <c:v>50.8</c:v>
                </c:pt>
                <c:pt idx="4292">
                  <c:v>42.9</c:v>
                </c:pt>
                <c:pt idx="4293">
                  <c:v>42.3</c:v>
                </c:pt>
                <c:pt idx="4294">
                  <c:v>34.1</c:v>
                </c:pt>
                <c:pt idx="4295">
                  <c:v>37.5</c:v>
                </c:pt>
                <c:pt idx="4296">
                  <c:v>45.084848275623898</c:v>
                </c:pt>
                <c:pt idx="4297">
                  <c:v>29.3</c:v>
                </c:pt>
                <c:pt idx="4298">
                  <c:v>45.5</c:v>
                </c:pt>
                <c:pt idx="4299">
                  <c:v>43</c:v>
                </c:pt>
                <c:pt idx="4300">
                  <c:v>34.4</c:v>
                </c:pt>
                <c:pt idx="4301">
                  <c:v>36.811523574947202</c:v>
                </c:pt>
                <c:pt idx="4302">
                  <c:v>36.799999999999997</c:v>
                </c:pt>
                <c:pt idx="4303">
                  <c:v>31.7</c:v>
                </c:pt>
                <c:pt idx="4304">
                  <c:v>45.1891912225705</c:v>
                </c:pt>
                <c:pt idx="4305">
                  <c:v>52.5</c:v>
                </c:pt>
                <c:pt idx="4306">
                  <c:v>38.5</c:v>
                </c:pt>
                <c:pt idx="4307">
                  <c:v>29.3</c:v>
                </c:pt>
                <c:pt idx="4308">
                  <c:v>38.438969099986501</c:v>
                </c:pt>
                <c:pt idx="4309">
                  <c:v>40.200000000000003</c:v>
                </c:pt>
                <c:pt idx="4310">
                  <c:v>39.6</c:v>
                </c:pt>
                <c:pt idx="4311">
                  <c:v>34</c:v>
                </c:pt>
                <c:pt idx="4312">
                  <c:v>36.217888787407901</c:v>
                </c:pt>
                <c:pt idx="4313">
                  <c:v>52.2</c:v>
                </c:pt>
                <c:pt idx="4314">
                  <c:v>37.843739130000003</c:v>
                </c:pt>
                <c:pt idx="4315">
                  <c:v>38.4</c:v>
                </c:pt>
                <c:pt idx="4316">
                  <c:v>35.6</c:v>
                </c:pt>
                <c:pt idx="4317">
                  <c:v>36.541033662670898</c:v>
                </c:pt>
                <c:pt idx="4318">
                  <c:v>55.6</c:v>
                </c:pt>
                <c:pt idx="4319">
                  <c:v>36.6</c:v>
                </c:pt>
                <c:pt idx="4320">
                  <c:v>39.6</c:v>
                </c:pt>
                <c:pt idx="4321">
                  <c:v>35.9</c:v>
                </c:pt>
                <c:pt idx="4322">
                  <c:v>36.900974756310902</c:v>
                </c:pt>
                <c:pt idx="4323">
                  <c:v>38.299999999999997</c:v>
                </c:pt>
                <c:pt idx="4324">
                  <c:v>38.404621622942003</c:v>
                </c:pt>
                <c:pt idx="4325">
                  <c:v>39.799999999999997</c:v>
                </c:pt>
                <c:pt idx="4326">
                  <c:v>45.5</c:v>
                </c:pt>
                <c:pt idx="4327">
                  <c:v>35.799999999999997</c:v>
                </c:pt>
                <c:pt idx="4328">
                  <c:v>35.200000000000003</c:v>
                </c:pt>
                <c:pt idx="4329">
                  <c:v>35.4</c:v>
                </c:pt>
                <c:pt idx="4330">
                  <c:v>37.700000000000003</c:v>
                </c:pt>
                <c:pt idx="4331">
                  <c:v>44.6</c:v>
                </c:pt>
                <c:pt idx="4332">
                  <c:v>49.7</c:v>
                </c:pt>
                <c:pt idx="4333">
                  <c:v>39.4</c:v>
                </c:pt>
                <c:pt idx="4334">
                  <c:v>34.200000000000003</c:v>
                </c:pt>
                <c:pt idx="4335">
                  <c:v>62.899999999999899</c:v>
                </c:pt>
                <c:pt idx="4336">
                  <c:v>42</c:v>
                </c:pt>
                <c:pt idx="4337">
                  <c:v>25.8</c:v>
                </c:pt>
                <c:pt idx="4338">
                  <c:v>49.7</c:v>
                </c:pt>
                <c:pt idx="4339">
                  <c:v>40.1139462349621</c:v>
                </c:pt>
                <c:pt idx="4340">
                  <c:v>59.3</c:v>
                </c:pt>
                <c:pt idx="4341">
                  <c:v>43.5</c:v>
                </c:pt>
                <c:pt idx="4342">
                  <c:v>33.9</c:v>
                </c:pt>
                <c:pt idx="4343">
                  <c:v>22.6</c:v>
                </c:pt>
                <c:pt idx="4344">
                  <c:v>36.096012926838704</c:v>
                </c:pt>
                <c:pt idx="4345">
                  <c:v>27.3</c:v>
                </c:pt>
                <c:pt idx="4346">
                  <c:v>45.3</c:v>
                </c:pt>
                <c:pt idx="4347">
                  <c:v>36.939520593782298</c:v>
                </c:pt>
                <c:pt idx="4348">
                  <c:v>37.534641797587199</c:v>
                </c:pt>
                <c:pt idx="4349">
                  <c:v>36.476580018270901</c:v>
                </c:pt>
                <c:pt idx="4350">
                  <c:v>40.4</c:v>
                </c:pt>
                <c:pt idx="4351">
                  <c:v>42.8</c:v>
                </c:pt>
                <c:pt idx="4352">
                  <c:v>41.5</c:v>
                </c:pt>
                <c:pt idx="4353">
                  <c:v>43.5</c:v>
                </c:pt>
                <c:pt idx="4354">
                  <c:v>39.639175514857797</c:v>
                </c:pt>
                <c:pt idx="4355">
                  <c:v>38.6</c:v>
                </c:pt>
                <c:pt idx="4356">
                  <c:v>60.4</c:v>
                </c:pt>
                <c:pt idx="4357">
                  <c:v>41.3</c:v>
                </c:pt>
                <c:pt idx="4358">
                  <c:v>37.1</c:v>
                </c:pt>
                <c:pt idx="4359">
                  <c:v>42.140159882833899</c:v>
                </c:pt>
                <c:pt idx="4360">
                  <c:v>32.200000000000003</c:v>
                </c:pt>
                <c:pt idx="4361">
                  <c:v>37.852236959999999</c:v>
                </c:pt>
                <c:pt idx="4362">
                  <c:v>41.9</c:v>
                </c:pt>
                <c:pt idx="4363">
                  <c:v>36.299999999999997</c:v>
                </c:pt>
                <c:pt idx="4364">
                  <c:v>36.5</c:v>
                </c:pt>
                <c:pt idx="4365">
                  <c:v>28.8</c:v>
                </c:pt>
                <c:pt idx="4366">
                  <c:v>39.5</c:v>
                </c:pt>
                <c:pt idx="4367">
                  <c:v>38.212499403540498</c:v>
                </c:pt>
                <c:pt idx="4368">
                  <c:v>39</c:v>
                </c:pt>
                <c:pt idx="4369">
                  <c:v>39.200000000000003</c:v>
                </c:pt>
                <c:pt idx="4370">
                  <c:v>40.799999999999997</c:v>
                </c:pt>
                <c:pt idx="4371">
                  <c:v>35.6</c:v>
                </c:pt>
                <c:pt idx="4372">
                  <c:v>43.600265511819103</c:v>
                </c:pt>
                <c:pt idx="4373">
                  <c:v>35.9</c:v>
                </c:pt>
                <c:pt idx="4374">
                  <c:v>36.5697604</c:v>
                </c:pt>
                <c:pt idx="4375">
                  <c:v>34.6</c:v>
                </c:pt>
                <c:pt idx="4376">
                  <c:v>35.799999999999997</c:v>
                </c:pt>
                <c:pt idx="4377">
                  <c:v>42.1</c:v>
                </c:pt>
                <c:pt idx="4378">
                  <c:v>46.8</c:v>
                </c:pt>
                <c:pt idx="4379">
                  <c:v>45.1</c:v>
                </c:pt>
                <c:pt idx="4380">
                  <c:v>37.788898696250698</c:v>
                </c:pt>
                <c:pt idx="4381">
                  <c:v>35.200000000000003</c:v>
                </c:pt>
                <c:pt idx="4382">
                  <c:v>40.200000000000003</c:v>
                </c:pt>
                <c:pt idx="4383">
                  <c:v>35.700000000000003</c:v>
                </c:pt>
                <c:pt idx="4384">
                  <c:v>40.9</c:v>
                </c:pt>
                <c:pt idx="4385">
                  <c:v>37</c:v>
                </c:pt>
                <c:pt idx="4386">
                  <c:v>42.6</c:v>
                </c:pt>
                <c:pt idx="4387">
                  <c:v>47.6</c:v>
                </c:pt>
                <c:pt idx="4388">
                  <c:v>36.9</c:v>
                </c:pt>
                <c:pt idx="4389">
                  <c:v>42.3</c:v>
                </c:pt>
                <c:pt idx="4390">
                  <c:v>43.4</c:v>
                </c:pt>
                <c:pt idx="4391">
                  <c:v>37.299999999999997</c:v>
                </c:pt>
                <c:pt idx="4392">
                  <c:v>36.200000000000003</c:v>
                </c:pt>
                <c:pt idx="4393">
                  <c:v>39.200000000000003</c:v>
                </c:pt>
                <c:pt idx="4394">
                  <c:v>46</c:v>
                </c:pt>
                <c:pt idx="4395">
                  <c:v>44.549956157114899</c:v>
                </c:pt>
                <c:pt idx="4396">
                  <c:v>43.7</c:v>
                </c:pt>
                <c:pt idx="4397">
                  <c:v>55.3</c:v>
                </c:pt>
                <c:pt idx="4398">
                  <c:v>45.8</c:v>
                </c:pt>
                <c:pt idx="4399">
                  <c:v>43.9</c:v>
                </c:pt>
                <c:pt idx="4400">
                  <c:v>42.3</c:v>
                </c:pt>
                <c:pt idx="4401">
                  <c:v>45.1</c:v>
                </c:pt>
                <c:pt idx="4402">
                  <c:v>36.200000000000003</c:v>
                </c:pt>
                <c:pt idx="4403">
                  <c:v>40</c:v>
                </c:pt>
                <c:pt idx="4404">
                  <c:v>40.5</c:v>
                </c:pt>
                <c:pt idx="4405">
                  <c:v>54.1</c:v>
                </c:pt>
                <c:pt idx="4406">
                  <c:v>44.4</c:v>
                </c:pt>
                <c:pt idx="4407">
                  <c:v>40.299999999999997</c:v>
                </c:pt>
                <c:pt idx="4408">
                  <c:v>37.4</c:v>
                </c:pt>
                <c:pt idx="4409">
                  <c:v>37.700000000000003</c:v>
                </c:pt>
                <c:pt idx="4410">
                  <c:v>45.6</c:v>
                </c:pt>
                <c:pt idx="4411">
                  <c:v>41.2</c:v>
                </c:pt>
                <c:pt idx="4412">
                  <c:v>41.4</c:v>
                </c:pt>
                <c:pt idx="4413">
                  <c:v>42.8</c:v>
                </c:pt>
                <c:pt idx="4414">
                  <c:v>44.9</c:v>
                </c:pt>
                <c:pt idx="4415">
                  <c:v>54.2</c:v>
                </c:pt>
                <c:pt idx="4416">
                  <c:v>44.6</c:v>
                </c:pt>
                <c:pt idx="4417">
                  <c:v>34.257269028130501</c:v>
                </c:pt>
                <c:pt idx="4418">
                  <c:v>41.8</c:v>
                </c:pt>
                <c:pt idx="4419">
                  <c:v>36.700000000000003</c:v>
                </c:pt>
                <c:pt idx="4420">
                  <c:v>49.6</c:v>
                </c:pt>
                <c:pt idx="4421">
                  <c:v>42.7</c:v>
                </c:pt>
                <c:pt idx="4422">
                  <c:v>41.5</c:v>
                </c:pt>
                <c:pt idx="4423">
                  <c:v>40.9</c:v>
                </c:pt>
                <c:pt idx="4424">
                  <c:v>39.9975803664016</c:v>
                </c:pt>
                <c:pt idx="4425">
                  <c:v>43.1</c:v>
                </c:pt>
                <c:pt idx="4426">
                  <c:v>43.1</c:v>
                </c:pt>
                <c:pt idx="4427">
                  <c:v>56.6</c:v>
                </c:pt>
                <c:pt idx="4428">
                  <c:v>40.6</c:v>
                </c:pt>
                <c:pt idx="4429">
                  <c:v>40</c:v>
                </c:pt>
                <c:pt idx="4430">
                  <c:v>37.624058220560102</c:v>
                </c:pt>
                <c:pt idx="4431">
                  <c:v>40.799999999999997</c:v>
                </c:pt>
                <c:pt idx="4432">
                  <c:v>38.6</c:v>
                </c:pt>
                <c:pt idx="4433">
                  <c:v>39.200000000000003</c:v>
                </c:pt>
                <c:pt idx="4434">
                  <c:v>41.3</c:v>
                </c:pt>
                <c:pt idx="4435">
                  <c:v>48.8</c:v>
                </c:pt>
                <c:pt idx="4436">
                  <c:v>42.5</c:v>
                </c:pt>
                <c:pt idx="4437">
                  <c:v>46</c:v>
                </c:pt>
                <c:pt idx="4438">
                  <c:v>41.084582368169997</c:v>
                </c:pt>
                <c:pt idx="4439">
                  <c:v>47.2</c:v>
                </c:pt>
                <c:pt idx="4440">
                  <c:v>38.4</c:v>
                </c:pt>
                <c:pt idx="4441">
                  <c:v>39.299999999999997</c:v>
                </c:pt>
                <c:pt idx="4442">
                  <c:v>36.587718721980004</c:v>
                </c:pt>
                <c:pt idx="4443">
                  <c:v>42.8</c:v>
                </c:pt>
                <c:pt idx="4444">
                  <c:v>42.1</c:v>
                </c:pt>
                <c:pt idx="4445">
                  <c:v>40</c:v>
                </c:pt>
                <c:pt idx="4446">
                  <c:v>32.345115945785203</c:v>
                </c:pt>
                <c:pt idx="4447">
                  <c:v>46.399999999999899</c:v>
                </c:pt>
                <c:pt idx="4448">
                  <c:v>46.6</c:v>
                </c:pt>
                <c:pt idx="4449">
                  <c:v>39.299999999999997</c:v>
                </c:pt>
                <c:pt idx="4450">
                  <c:v>36.700000000000003</c:v>
                </c:pt>
                <c:pt idx="4451">
                  <c:v>35.299999999999997</c:v>
                </c:pt>
                <c:pt idx="4452">
                  <c:v>40.299999999999997</c:v>
                </c:pt>
                <c:pt idx="4453">
                  <c:v>40</c:v>
                </c:pt>
                <c:pt idx="4454">
                  <c:v>34.036113742792899</c:v>
                </c:pt>
                <c:pt idx="4455">
                  <c:v>44.3</c:v>
                </c:pt>
                <c:pt idx="4456">
                  <c:v>45.7</c:v>
                </c:pt>
                <c:pt idx="4457">
                  <c:v>44.8</c:v>
                </c:pt>
                <c:pt idx="4458">
                  <c:v>44.2</c:v>
                </c:pt>
                <c:pt idx="4459">
                  <c:v>46</c:v>
                </c:pt>
                <c:pt idx="4460">
                  <c:v>43.5</c:v>
                </c:pt>
                <c:pt idx="4461">
                  <c:v>39.1</c:v>
                </c:pt>
                <c:pt idx="4462">
                  <c:v>44.6</c:v>
                </c:pt>
                <c:pt idx="4463">
                  <c:v>41.6</c:v>
                </c:pt>
                <c:pt idx="4464">
                  <c:v>30.4</c:v>
                </c:pt>
                <c:pt idx="4465">
                  <c:v>45.598718770019197</c:v>
                </c:pt>
                <c:pt idx="4466">
                  <c:v>46.6</c:v>
                </c:pt>
                <c:pt idx="4467">
                  <c:v>39.299999999999997</c:v>
                </c:pt>
                <c:pt idx="4468">
                  <c:v>43</c:v>
                </c:pt>
                <c:pt idx="4469">
                  <c:v>40.200000000000003</c:v>
                </c:pt>
                <c:pt idx="4470">
                  <c:v>37.9</c:v>
                </c:pt>
                <c:pt idx="4471">
                  <c:v>43.8</c:v>
                </c:pt>
                <c:pt idx="4472">
                  <c:v>43.6</c:v>
                </c:pt>
                <c:pt idx="4473">
                  <c:v>37.9</c:v>
                </c:pt>
                <c:pt idx="4474">
                  <c:v>54.5</c:v>
                </c:pt>
                <c:pt idx="4475">
                  <c:v>46.267658325456402</c:v>
                </c:pt>
                <c:pt idx="4476">
                  <c:v>47.3</c:v>
                </c:pt>
                <c:pt idx="4477">
                  <c:v>39.9</c:v>
                </c:pt>
                <c:pt idx="4478">
                  <c:v>37.700000000000003</c:v>
                </c:pt>
                <c:pt idx="4479">
                  <c:v>39.200000000000003</c:v>
                </c:pt>
                <c:pt idx="4480">
                  <c:v>45.1</c:v>
                </c:pt>
                <c:pt idx="4481">
                  <c:v>48.3</c:v>
                </c:pt>
                <c:pt idx="4482">
                  <c:v>40.799999999999997</c:v>
                </c:pt>
                <c:pt idx="4483">
                  <c:v>40.700000000000003</c:v>
                </c:pt>
                <c:pt idx="4484">
                  <c:v>41.8</c:v>
                </c:pt>
                <c:pt idx="4485">
                  <c:v>36.103668049792503</c:v>
                </c:pt>
                <c:pt idx="4486">
                  <c:v>44</c:v>
                </c:pt>
                <c:pt idx="4487">
                  <c:v>52.5</c:v>
                </c:pt>
                <c:pt idx="4488">
                  <c:v>45</c:v>
                </c:pt>
                <c:pt idx="4489">
                  <c:v>24.1</c:v>
                </c:pt>
                <c:pt idx="4490">
                  <c:v>43.2</c:v>
                </c:pt>
                <c:pt idx="4491">
                  <c:v>36.799999999999997</c:v>
                </c:pt>
                <c:pt idx="4492">
                  <c:v>43.7</c:v>
                </c:pt>
                <c:pt idx="4493">
                  <c:v>40</c:v>
                </c:pt>
                <c:pt idx="4494">
                  <c:v>40.799999999999997</c:v>
                </c:pt>
                <c:pt idx="4495">
                  <c:v>44.7</c:v>
                </c:pt>
                <c:pt idx="4496">
                  <c:v>47.4</c:v>
                </c:pt>
                <c:pt idx="4497">
                  <c:v>40.4</c:v>
                </c:pt>
                <c:pt idx="4498">
                  <c:v>36.299999999999997</c:v>
                </c:pt>
                <c:pt idx="4499">
                  <c:v>38.653421731640201</c:v>
                </c:pt>
                <c:pt idx="4500">
                  <c:v>38.5</c:v>
                </c:pt>
                <c:pt idx="4501">
                  <c:v>46.9</c:v>
                </c:pt>
                <c:pt idx="4502">
                  <c:v>41.9</c:v>
                </c:pt>
                <c:pt idx="4503">
                  <c:v>37.799999999999997</c:v>
                </c:pt>
                <c:pt idx="4504">
                  <c:v>46</c:v>
                </c:pt>
                <c:pt idx="4505">
                  <c:v>44</c:v>
                </c:pt>
                <c:pt idx="4506">
                  <c:v>31.9</c:v>
                </c:pt>
                <c:pt idx="4507">
                  <c:v>35.299999999999997</c:v>
                </c:pt>
                <c:pt idx="4508">
                  <c:v>40.700000000000003</c:v>
                </c:pt>
                <c:pt idx="4509">
                  <c:v>44.4</c:v>
                </c:pt>
                <c:pt idx="4510">
                  <c:v>37.700000000000003</c:v>
                </c:pt>
                <c:pt idx="4511">
                  <c:v>39.799999999999997</c:v>
                </c:pt>
                <c:pt idx="4512">
                  <c:v>43</c:v>
                </c:pt>
                <c:pt idx="4513">
                  <c:v>38.4</c:v>
                </c:pt>
                <c:pt idx="4514">
                  <c:v>44.7</c:v>
                </c:pt>
                <c:pt idx="4515">
                  <c:v>41.1</c:v>
                </c:pt>
                <c:pt idx="4516">
                  <c:v>39.6</c:v>
                </c:pt>
                <c:pt idx="4517">
                  <c:v>53.7</c:v>
                </c:pt>
                <c:pt idx="4518">
                  <c:v>38.299999999999997</c:v>
                </c:pt>
                <c:pt idx="4519">
                  <c:v>33.291868484362404</c:v>
                </c:pt>
                <c:pt idx="4520">
                  <c:v>43.3</c:v>
                </c:pt>
                <c:pt idx="4521">
                  <c:v>50.5</c:v>
                </c:pt>
                <c:pt idx="4522">
                  <c:v>37.799999999999997</c:v>
                </c:pt>
                <c:pt idx="4523">
                  <c:v>38.1</c:v>
                </c:pt>
                <c:pt idx="4524">
                  <c:v>40.200000000000003</c:v>
                </c:pt>
                <c:pt idx="4525">
                  <c:v>35.200000000000003</c:v>
                </c:pt>
                <c:pt idx="4526">
                  <c:v>42.2</c:v>
                </c:pt>
                <c:pt idx="4527">
                  <c:v>50.9</c:v>
                </c:pt>
                <c:pt idx="4528">
                  <c:v>48.7</c:v>
                </c:pt>
                <c:pt idx="4529">
                  <c:v>42</c:v>
                </c:pt>
                <c:pt idx="4530">
                  <c:v>38.4</c:v>
                </c:pt>
                <c:pt idx="4531">
                  <c:v>43.3</c:v>
                </c:pt>
                <c:pt idx="4532">
                  <c:v>46.5</c:v>
                </c:pt>
                <c:pt idx="4533">
                  <c:v>41.098346115371697</c:v>
                </c:pt>
                <c:pt idx="4534">
                  <c:v>38.686426341545697</c:v>
                </c:pt>
                <c:pt idx="4535">
                  <c:v>40.9</c:v>
                </c:pt>
                <c:pt idx="4536">
                  <c:v>46.9</c:v>
                </c:pt>
                <c:pt idx="4537">
                  <c:v>38.6</c:v>
                </c:pt>
                <c:pt idx="4538">
                  <c:v>39.700000000000003</c:v>
                </c:pt>
                <c:pt idx="4539">
                  <c:v>50.3</c:v>
                </c:pt>
                <c:pt idx="4540">
                  <c:v>42.9912275038334</c:v>
                </c:pt>
                <c:pt idx="4541">
                  <c:v>41.299999999999898</c:v>
                </c:pt>
                <c:pt idx="4542">
                  <c:v>22.4</c:v>
                </c:pt>
                <c:pt idx="4543">
                  <c:v>43.4</c:v>
                </c:pt>
                <c:pt idx="4544">
                  <c:v>47</c:v>
                </c:pt>
                <c:pt idx="4545">
                  <c:v>45.2</c:v>
                </c:pt>
                <c:pt idx="4546">
                  <c:v>49.9</c:v>
                </c:pt>
                <c:pt idx="4547">
                  <c:v>49.6</c:v>
                </c:pt>
              </c:numCache>
            </c:numRef>
          </c:xVal>
          <c:yVal>
            <c:numRef>
              <c:f>city_regression_data!$I$2:$I$4549</c:f>
              <c:numCache>
                <c:formatCode>General</c:formatCode>
                <c:ptCount val="4548"/>
                <c:pt idx="0">
                  <c:v>11</c:v>
                </c:pt>
                <c:pt idx="1">
                  <c:v>5</c:v>
                </c:pt>
                <c:pt idx="2">
                  <c:v>4</c:v>
                </c:pt>
                <c:pt idx="3">
                  <c:v>15</c:v>
                </c:pt>
                <c:pt idx="4">
                  <c:v>16</c:v>
                </c:pt>
                <c:pt idx="5">
                  <c:v>103</c:v>
                </c:pt>
                <c:pt idx="6">
                  <c:v>90</c:v>
                </c:pt>
                <c:pt idx="7">
                  <c:v>86</c:v>
                </c:pt>
                <c:pt idx="8">
                  <c:v>17</c:v>
                </c:pt>
                <c:pt idx="9">
                  <c:v>8</c:v>
                </c:pt>
                <c:pt idx="10">
                  <c:v>7</c:v>
                </c:pt>
                <c:pt idx="11">
                  <c:v>17</c:v>
                </c:pt>
                <c:pt idx="12">
                  <c:v>127</c:v>
                </c:pt>
                <c:pt idx="13">
                  <c:v>9</c:v>
                </c:pt>
                <c:pt idx="14">
                  <c:v>80</c:v>
                </c:pt>
                <c:pt idx="15">
                  <c:v>21</c:v>
                </c:pt>
                <c:pt idx="16">
                  <c:v>14</c:v>
                </c:pt>
                <c:pt idx="17">
                  <c:v>4</c:v>
                </c:pt>
                <c:pt idx="18">
                  <c:v>113</c:v>
                </c:pt>
                <c:pt idx="19">
                  <c:v>62</c:v>
                </c:pt>
                <c:pt idx="20">
                  <c:v>246</c:v>
                </c:pt>
                <c:pt idx="21">
                  <c:v>12</c:v>
                </c:pt>
                <c:pt idx="22">
                  <c:v>9</c:v>
                </c:pt>
                <c:pt idx="23">
                  <c:v>56</c:v>
                </c:pt>
                <c:pt idx="24">
                  <c:v>50</c:v>
                </c:pt>
                <c:pt idx="25">
                  <c:v>14</c:v>
                </c:pt>
                <c:pt idx="26">
                  <c:v>14</c:v>
                </c:pt>
                <c:pt idx="27">
                  <c:v>14</c:v>
                </c:pt>
                <c:pt idx="28">
                  <c:v>81</c:v>
                </c:pt>
                <c:pt idx="29">
                  <c:v>4</c:v>
                </c:pt>
                <c:pt idx="30">
                  <c:v>3</c:v>
                </c:pt>
                <c:pt idx="31">
                  <c:v>279</c:v>
                </c:pt>
                <c:pt idx="32">
                  <c:v>9</c:v>
                </c:pt>
                <c:pt idx="33">
                  <c:v>121</c:v>
                </c:pt>
                <c:pt idx="34">
                  <c:v>82</c:v>
                </c:pt>
                <c:pt idx="35">
                  <c:v>8</c:v>
                </c:pt>
                <c:pt idx="36">
                  <c:v>10</c:v>
                </c:pt>
                <c:pt idx="37">
                  <c:v>55</c:v>
                </c:pt>
                <c:pt idx="38">
                  <c:v>19</c:v>
                </c:pt>
                <c:pt idx="39">
                  <c:v>11</c:v>
                </c:pt>
                <c:pt idx="40">
                  <c:v>170</c:v>
                </c:pt>
                <c:pt idx="41">
                  <c:v>42</c:v>
                </c:pt>
                <c:pt idx="42">
                  <c:v>42</c:v>
                </c:pt>
                <c:pt idx="43">
                  <c:v>0</c:v>
                </c:pt>
                <c:pt idx="44">
                  <c:v>3</c:v>
                </c:pt>
                <c:pt idx="45">
                  <c:v>6</c:v>
                </c:pt>
                <c:pt idx="46">
                  <c:v>2</c:v>
                </c:pt>
                <c:pt idx="47">
                  <c:v>1</c:v>
                </c:pt>
                <c:pt idx="48">
                  <c:v>7</c:v>
                </c:pt>
                <c:pt idx="49">
                  <c:v>7</c:v>
                </c:pt>
                <c:pt idx="50">
                  <c:v>3</c:v>
                </c:pt>
                <c:pt idx="51">
                  <c:v>0</c:v>
                </c:pt>
                <c:pt idx="52">
                  <c:v>2</c:v>
                </c:pt>
                <c:pt idx="53">
                  <c:v>40</c:v>
                </c:pt>
                <c:pt idx="54">
                  <c:v>3</c:v>
                </c:pt>
                <c:pt idx="55">
                  <c:v>1</c:v>
                </c:pt>
                <c:pt idx="56">
                  <c:v>1</c:v>
                </c:pt>
                <c:pt idx="57">
                  <c:v>7</c:v>
                </c:pt>
                <c:pt idx="58">
                  <c:v>2</c:v>
                </c:pt>
                <c:pt idx="59">
                  <c:v>2</c:v>
                </c:pt>
                <c:pt idx="60">
                  <c:v>7</c:v>
                </c:pt>
                <c:pt idx="61">
                  <c:v>0</c:v>
                </c:pt>
                <c:pt idx="62">
                  <c:v>1</c:v>
                </c:pt>
                <c:pt idx="63">
                  <c:v>2</c:v>
                </c:pt>
                <c:pt idx="64">
                  <c:v>0</c:v>
                </c:pt>
                <c:pt idx="65">
                  <c:v>5</c:v>
                </c:pt>
                <c:pt idx="66">
                  <c:v>3</c:v>
                </c:pt>
                <c:pt idx="67">
                  <c:v>12</c:v>
                </c:pt>
                <c:pt idx="68">
                  <c:v>0</c:v>
                </c:pt>
                <c:pt idx="69">
                  <c:v>29</c:v>
                </c:pt>
                <c:pt idx="70">
                  <c:v>5</c:v>
                </c:pt>
                <c:pt idx="71">
                  <c:v>7</c:v>
                </c:pt>
                <c:pt idx="72">
                  <c:v>3</c:v>
                </c:pt>
                <c:pt idx="73">
                  <c:v>4</c:v>
                </c:pt>
                <c:pt idx="74">
                  <c:v>5</c:v>
                </c:pt>
                <c:pt idx="75">
                  <c:v>3</c:v>
                </c:pt>
                <c:pt idx="76">
                  <c:v>4</c:v>
                </c:pt>
                <c:pt idx="77">
                  <c:v>1</c:v>
                </c:pt>
                <c:pt idx="78">
                  <c:v>7</c:v>
                </c:pt>
                <c:pt idx="79">
                  <c:v>2</c:v>
                </c:pt>
                <c:pt idx="80">
                  <c:v>1</c:v>
                </c:pt>
                <c:pt idx="81">
                  <c:v>1</c:v>
                </c:pt>
                <c:pt idx="82">
                  <c:v>2</c:v>
                </c:pt>
                <c:pt idx="83">
                  <c:v>1</c:v>
                </c:pt>
                <c:pt idx="84">
                  <c:v>0</c:v>
                </c:pt>
                <c:pt idx="85">
                  <c:v>2</c:v>
                </c:pt>
                <c:pt idx="86">
                  <c:v>12</c:v>
                </c:pt>
                <c:pt idx="87">
                  <c:v>7</c:v>
                </c:pt>
                <c:pt idx="88">
                  <c:v>2</c:v>
                </c:pt>
                <c:pt idx="89">
                  <c:v>10</c:v>
                </c:pt>
                <c:pt idx="90">
                  <c:v>9</c:v>
                </c:pt>
                <c:pt idx="91">
                  <c:v>0</c:v>
                </c:pt>
                <c:pt idx="92">
                  <c:v>1</c:v>
                </c:pt>
                <c:pt idx="93">
                  <c:v>3</c:v>
                </c:pt>
                <c:pt idx="94">
                  <c:v>1</c:v>
                </c:pt>
                <c:pt idx="95">
                  <c:v>0</c:v>
                </c:pt>
                <c:pt idx="96">
                  <c:v>2</c:v>
                </c:pt>
                <c:pt idx="97">
                  <c:v>14</c:v>
                </c:pt>
                <c:pt idx="98">
                  <c:v>6</c:v>
                </c:pt>
                <c:pt idx="99">
                  <c:v>5</c:v>
                </c:pt>
                <c:pt idx="100">
                  <c:v>4</c:v>
                </c:pt>
                <c:pt idx="101">
                  <c:v>3</c:v>
                </c:pt>
                <c:pt idx="102">
                  <c:v>1</c:v>
                </c:pt>
                <c:pt idx="103">
                  <c:v>9</c:v>
                </c:pt>
                <c:pt idx="104">
                  <c:v>5</c:v>
                </c:pt>
                <c:pt idx="105">
                  <c:v>1</c:v>
                </c:pt>
                <c:pt idx="106">
                  <c:v>11</c:v>
                </c:pt>
                <c:pt idx="107">
                  <c:v>3</c:v>
                </c:pt>
                <c:pt idx="108">
                  <c:v>3</c:v>
                </c:pt>
                <c:pt idx="109">
                  <c:v>2</c:v>
                </c:pt>
                <c:pt idx="110">
                  <c:v>0</c:v>
                </c:pt>
                <c:pt idx="111">
                  <c:v>9</c:v>
                </c:pt>
                <c:pt idx="112">
                  <c:v>6</c:v>
                </c:pt>
                <c:pt idx="113">
                  <c:v>15</c:v>
                </c:pt>
                <c:pt idx="114">
                  <c:v>10</c:v>
                </c:pt>
                <c:pt idx="115">
                  <c:v>7</c:v>
                </c:pt>
                <c:pt idx="116">
                  <c:v>1</c:v>
                </c:pt>
                <c:pt idx="117">
                  <c:v>34</c:v>
                </c:pt>
                <c:pt idx="118">
                  <c:v>7</c:v>
                </c:pt>
                <c:pt idx="119">
                  <c:v>4</c:v>
                </c:pt>
                <c:pt idx="120">
                  <c:v>1</c:v>
                </c:pt>
                <c:pt idx="121">
                  <c:v>15</c:v>
                </c:pt>
                <c:pt idx="122">
                  <c:v>4</c:v>
                </c:pt>
                <c:pt idx="123">
                  <c:v>1</c:v>
                </c:pt>
                <c:pt idx="124">
                  <c:v>6</c:v>
                </c:pt>
                <c:pt idx="125">
                  <c:v>0</c:v>
                </c:pt>
                <c:pt idx="126">
                  <c:v>5</c:v>
                </c:pt>
                <c:pt idx="127">
                  <c:v>13</c:v>
                </c:pt>
                <c:pt idx="128">
                  <c:v>0</c:v>
                </c:pt>
                <c:pt idx="129">
                  <c:v>1</c:v>
                </c:pt>
                <c:pt idx="130">
                  <c:v>15</c:v>
                </c:pt>
                <c:pt idx="131">
                  <c:v>1</c:v>
                </c:pt>
                <c:pt idx="132">
                  <c:v>4</c:v>
                </c:pt>
                <c:pt idx="133">
                  <c:v>18</c:v>
                </c:pt>
                <c:pt idx="134">
                  <c:v>1</c:v>
                </c:pt>
                <c:pt idx="135">
                  <c:v>6</c:v>
                </c:pt>
                <c:pt idx="136">
                  <c:v>0</c:v>
                </c:pt>
                <c:pt idx="137">
                  <c:v>12</c:v>
                </c:pt>
                <c:pt idx="138">
                  <c:v>5</c:v>
                </c:pt>
                <c:pt idx="139">
                  <c:v>6</c:v>
                </c:pt>
                <c:pt idx="140">
                  <c:v>5</c:v>
                </c:pt>
                <c:pt idx="141">
                  <c:v>6</c:v>
                </c:pt>
                <c:pt idx="142">
                  <c:v>9</c:v>
                </c:pt>
                <c:pt idx="143">
                  <c:v>5</c:v>
                </c:pt>
                <c:pt idx="144">
                  <c:v>2</c:v>
                </c:pt>
                <c:pt idx="145">
                  <c:v>3</c:v>
                </c:pt>
                <c:pt idx="146">
                  <c:v>3</c:v>
                </c:pt>
                <c:pt idx="147">
                  <c:v>1</c:v>
                </c:pt>
                <c:pt idx="148">
                  <c:v>3</c:v>
                </c:pt>
                <c:pt idx="149">
                  <c:v>11</c:v>
                </c:pt>
                <c:pt idx="150">
                  <c:v>3</c:v>
                </c:pt>
                <c:pt idx="151">
                  <c:v>14</c:v>
                </c:pt>
                <c:pt idx="152">
                  <c:v>0</c:v>
                </c:pt>
                <c:pt idx="153">
                  <c:v>10</c:v>
                </c:pt>
                <c:pt idx="154">
                  <c:v>6</c:v>
                </c:pt>
                <c:pt idx="155">
                  <c:v>1</c:v>
                </c:pt>
                <c:pt idx="156">
                  <c:v>7</c:v>
                </c:pt>
                <c:pt idx="157">
                  <c:v>5</c:v>
                </c:pt>
                <c:pt idx="158">
                  <c:v>5</c:v>
                </c:pt>
                <c:pt idx="159">
                  <c:v>1</c:v>
                </c:pt>
                <c:pt idx="160">
                  <c:v>9</c:v>
                </c:pt>
                <c:pt idx="161">
                  <c:v>5</c:v>
                </c:pt>
                <c:pt idx="162">
                  <c:v>6</c:v>
                </c:pt>
                <c:pt idx="163">
                  <c:v>1</c:v>
                </c:pt>
                <c:pt idx="164">
                  <c:v>9</c:v>
                </c:pt>
                <c:pt idx="165">
                  <c:v>4</c:v>
                </c:pt>
                <c:pt idx="166">
                  <c:v>8</c:v>
                </c:pt>
                <c:pt idx="167">
                  <c:v>14</c:v>
                </c:pt>
                <c:pt idx="168">
                  <c:v>2</c:v>
                </c:pt>
                <c:pt idx="169">
                  <c:v>1</c:v>
                </c:pt>
                <c:pt idx="170">
                  <c:v>0</c:v>
                </c:pt>
                <c:pt idx="171">
                  <c:v>10</c:v>
                </c:pt>
                <c:pt idx="172">
                  <c:v>8</c:v>
                </c:pt>
                <c:pt idx="173">
                  <c:v>2</c:v>
                </c:pt>
                <c:pt idx="174">
                  <c:v>1</c:v>
                </c:pt>
                <c:pt idx="175">
                  <c:v>1</c:v>
                </c:pt>
                <c:pt idx="176">
                  <c:v>5</c:v>
                </c:pt>
                <c:pt idx="177">
                  <c:v>1</c:v>
                </c:pt>
                <c:pt idx="178">
                  <c:v>0</c:v>
                </c:pt>
                <c:pt idx="179">
                  <c:v>2</c:v>
                </c:pt>
                <c:pt idx="180">
                  <c:v>20</c:v>
                </c:pt>
                <c:pt idx="181">
                  <c:v>48</c:v>
                </c:pt>
                <c:pt idx="182">
                  <c:v>18</c:v>
                </c:pt>
                <c:pt idx="183">
                  <c:v>2</c:v>
                </c:pt>
                <c:pt idx="184">
                  <c:v>17</c:v>
                </c:pt>
                <c:pt idx="185">
                  <c:v>4</c:v>
                </c:pt>
                <c:pt idx="186">
                  <c:v>1</c:v>
                </c:pt>
                <c:pt idx="187">
                  <c:v>7</c:v>
                </c:pt>
                <c:pt idx="188">
                  <c:v>17</c:v>
                </c:pt>
                <c:pt idx="189">
                  <c:v>4</c:v>
                </c:pt>
                <c:pt idx="190">
                  <c:v>1</c:v>
                </c:pt>
                <c:pt idx="191">
                  <c:v>4</c:v>
                </c:pt>
                <c:pt idx="192">
                  <c:v>0</c:v>
                </c:pt>
                <c:pt idx="193">
                  <c:v>3</c:v>
                </c:pt>
                <c:pt idx="194">
                  <c:v>1</c:v>
                </c:pt>
                <c:pt idx="195">
                  <c:v>1</c:v>
                </c:pt>
                <c:pt idx="196">
                  <c:v>1</c:v>
                </c:pt>
                <c:pt idx="197">
                  <c:v>1</c:v>
                </c:pt>
                <c:pt idx="198">
                  <c:v>3</c:v>
                </c:pt>
                <c:pt idx="199">
                  <c:v>1</c:v>
                </c:pt>
                <c:pt idx="200">
                  <c:v>8</c:v>
                </c:pt>
                <c:pt idx="201">
                  <c:v>2</c:v>
                </c:pt>
                <c:pt idx="202">
                  <c:v>1</c:v>
                </c:pt>
                <c:pt idx="203">
                  <c:v>6</c:v>
                </c:pt>
                <c:pt idx="204">
                  <c:v>12</c:v>
                </c:pt>
                <c:pt idx="205">
                  <c:v>5</c:v>
                </c:pt>
                <c:pt idx="206">
                  <c:v>5</c:v>
                </c:pt>
                <c:pt idx="207">
                  <c:v>3</c:v>
                </c:pt>
                <c:pt idx="208">
                  <c:v>3</c:v>
                </c:pt>
                <c:pt idx="209">
                  <c:v>7</c:v>
                </c:pt>
                <c:pt idx="210">
                  <c:v>2</c:v>
                </c:pt>
                <c:pt idx="211">
                  <c:v>0</c:v>
                </c:pt>
                <c:pt idx="212">
                  <c:v>3</c:v>
                </c:pt>
                <c:pt idx="213">
                  <c:v>26</c:v>
                </c:pt>
                <c:pt idx="214">
                  <c:v>2</c:v>
                </c:pt>
                <c:pt idx="215">
                  <c:v>1</c:v>
                </c:pt>
                <c:pt idx="216">
                  <c:v>1</c:v>
                </c:pt>
                <c:pt idx="217">
                  <c:v>6</c:v>
                </c:pt>
                <c:pt idx="218">
                  <c:v>10</c:v>
                </c:pt>
                <c:pt idx="219">
                  <c:v>48</c:v>
                </c:pt>
                <c:pt idx="220">
                  <c:v>2</c:v>
                </c:pt>
                <c:pt idx="221">
                  <c:v>1</c:v>
                </c:pt>
                <c:pt idx="222">
                  <c:v>1</c:v>
                </c:pt>
                <c:pt idx="223">
                  <c:v>1</c:v>
                </c:pt>
                <c:pt idx="224">
                  <c:v>1</c:v>
                </c:pt>
                <c:pt idx="225">
                  <c:v>1</c:v>
                </c:pt>
                <c:pt idx="226">
                  <c:v>7</c:v>
                </c:pt>
                <c:pt idx="227">
                  <c:v>4</c:v>
                </c:pt>
                <c:pt idx="228">
                  <c:v>5</c:v>
                </c:pt>
                <c:pt idx="229">
                  <c:v>7</c:v>
                </c:pt>
                <c:pt idx="230">
                  <c:v>13</c:v>
                </c:pt>
                <c:pt idx="231">
                  <c:v>4</c:v>
                </c:pt>
                <c:pt idx="232">
                  <c:v>2</c:v>
                </c:pt>
                <c:pt idx="233">
                  <c:v>6</c:v>
                </c:pt>
                <c:pt idx="234">
                  <c:v>3</c:v>
                </c:pt>
                <c:pt idx="235">
                  <c:v>2</c:v>
                </c:pt>
                <c:pt idx="236">
                  <c:v>1</c:v>
                </c:pt>
                <c:pt idx="237">
                  <c:v>4</c:v>
                </c:pt>
                <c:pt idx="238">
                  <c:v>4</c:v>
                </c:pt>
                <c:pt idx="239">
                  <c:v>3</c:v>
                </c:pt>
                <c:pt idx="240">
                  <c:v>0</c:v>
                </c:pt>
                <c:pt idx="241">
                  <c:v>7</c:v>
                </c:pt>
                <c:pt idx="242">
                  <c:v>6</c:v>
                </c:pt>
                <c:pt idx="243">
                  <c:v>1</c:v>
                </c:pt>
                <c:pt idx="244">
                  <c:v>1</c:v>
                </c:pt>
                <c:pt idx="245">
                  <c:v>2</c:v>
                </c:pt>
                <c:pt idx="246">
                  <c:v>12</c:v>
                </c:pt>
                <c:pt idx="247">
                  <c:v>0</c:v>
                </c:pt>
                <c:pt idx="248">
                  <c:v>3</c:v>
                </c:pt>
                <c:pt idx="249">
                  <c:v>1</c:v>
                </c:pt>
                <c:pt idx="250">
                  <c:v>3</c:v>
                </c:pt>
                <c:pt idx="251">
                  <c:v>2</c:v>
                </c:pt>
                <c:pt idx="252">
                  <c:v>0</c:v>
                </c:pt>
                <c:pt idx="253">
                  <c:v>2</c:v>
                </c:pt>
                <c:pt idx="254">
                  <c:v>4</c:v>
                </c:pt>
                <c:pt idx="255">
                  <c:v>4</c:v>
                </c:pt>
                <c:pt idx="256">
                  <c:v>2</c:v>
                </c:pt>
                <c:pt idx="257">
                  <c:v>0</c:v>
                </c:pt>
                <c:pt idx="258">
                  <c:v>7</c:v>
                </c:pt>
                <c:pt idx="259">
                  <c:v>1</c:v>
                </c:pt>
                <c:pt idx="260">
                  <c:v>4</c:v>
                </c:pt>
                <c:pt idx="261">
                  <c:v>1</c:v>
                </c:pt>
                <c:pt idx="262">
                  <c:v>3</c:v>
                </c:pt>
                <c:pt idx="263">
                  <c:v>3</c:v>
                </c:pt>
                <c:pt idx="264">
                  <c:v>0</c:v>
                </c:pt>
                <c:pt idx="265">
                  <c:v>42</c:v>
                </c:pt>
                <c:pt idx="266">
                  <c:v>4</c:v>
                </c:pt>
                <c:pt idx="267">
                  <c:v>6</c:v>
                </c:pt>
                <c:pt idx="268">
                  <c:v>194</c:v>
                </c:pt>
                <c:pt idx="269">
                  <c:v>5</c:v>
                </c:pt>
                <c:pt idx="270">
                  <c:v>4</c:v>
                </c:pt>
                <c:pt idx="271">
                  <c:v>1</c:v>
                </c:pt>
                <c:pt idx="272">
                  <c:v>0</c:v>
                </c:pt>
                <c:pt idx="273">
                  <c:v>2</c:v>
                </c:pt>
                <c:pt idx="274">
                  <c:v>8</c:v>
                </c:pt>
                <c:pt idx="275">
                  <c:v>3</c:v>
                </c:pt>
                <c:pt idx="276">
                  <c:v>7</c:v>
                </c:pt>
                <c:pt idx="277">
                  <c:v>5</c:v>
                </c:pt>
                <c:pt idx="278">
                  <c:v>5</c:v>
                </c:pt>
                <c:pt idx="279">
                  <c:v>5</c:v>
                </c:pt>
                <c:pt idx="280">
                  <c:v>1</c:v>
                </c:pt>
                <c:pt idx="281">
                  <c:v>1</c:v>
                </c:pt>
                <c:pt idx="282">
                  <c:v>0</c:v>
                </c:pt>
                <c:pt idx="283">
                  <c:v>1</c:v>
                </c:pt>
                <c:pt idx="284">
                  <c:v>0</c:v>
                </c:pt>
                <c:pt idx="285">
                  <c:v>6</c:v>
                </c:pt>
                <c:pt idx="286">
                  <c:v>6</c:v>
                </c:pt>
                <c:pt idx="287">
                  <c:v>3</c:v>
                </c:pt>
                <c:pt idx="288">
                  <c:v>10</c:v>
                </c:pt>
                <c:pt idx="289">
                  <c:v>6</c:v>
                </c:pt>
                <c:pt idx="290">
                  <c:v>3</c:v>
                </c:pt>
                <c:pt idx="291">
                  <c:v>6</c:v>
                </c:pt>
                <c:pt idx="292">
                  <c:v>26</c:v>
                </c:pt>
                <c:pt idx="293">
                  <c:v>0</c:v>
                </c:pt>
                <c:pt idx="294">
                  <c:v>10</c:v>
                </c:pt>
                <c:pt idx="295">
                  <c:v>4</c:v>
                </c:pt>
                <c:pt idx="296">
                  <c:v>3</c:v>
                </c:pt>
                <c:pt idx="297">
                  <c:v>2</c:v>
                </c:pt>
                <c:pt idx="298">
                  <c:v>6</c:v>
                </c:pt>
                <c:pt idx="299">
                  <c:v>2</c:v>
                </c:pt>
                <c:pt idx="300">
                  <c:v>10</c:v>
                </c:pt>
                <c:pt idx="301">
                  <c:v>7</c:v>
                </c:pt>
                <c:pt idx="302">
                  <c:v>1</c:v>
                </c:pt>
                <c:pt idx="303">
                  <c:v>4</c:v>
                </c:pt>
                <c:pt idx="304">
                  <c:v>10</c:v>
                </c:pt>
                <c:pt idx="305">
                  <c:v>3</c:v>
                </c:pt>
                <c:pt idx="306">
                  <c:v>5</c:v>
                </c:pt>
                <c:pt idx="307">
                  <c:v>0</c:v>
                </c:pt>
                <c:pt idx="308">
                  <c:v>5</c:v>
                </c:pt>
                <c:pt idx="309">
                  <c:v>5</c:v>
                </c:pt>
                <c:pt idx="310">
                  <c:v>3</c:v>
                </c:pt>
                <c:pt idx="311">
                  <c:v>10</c:v>
                </c:pt>
                <c:pt idx="312">
                  <c:v>2</c:v>
                </c:pt>
                <c:pt idx="313">
                  <c:v>3</c:v>
                </c:pt>
                <c:pt idx="314">
                  <c:v>2</c:v>
                </c:pt>
                <c:pt idx="315">
                  <c:v>5</c:v>
                </c:pt>
                <c:pt idx="316">
                  <c:v>10</c:v>
                </c:pt>
                <c:pt idx="317">
                  <c:v>15</c:v>
                </c:pt>
                <c:pt idx="318">
                  <c:v>7</c:v>
                </c:pt>
                <c:pt idx="319">
                  <c:v>8</c:v>
                </c:pt>
                <c:pt idx="320">
                  <c:v>1</c:v>
                </c:pt>
                <c:pt idx="321">
                  <c:v>2</c:v>
                </c:pt>
                <c:pt idx="322">
                  <c:v>1</c:v>
                </c:pt>
                <c:pt idx="323">
                  <c:v>13</c:v>
                </c:pt>
                <c:pt idx="324">
                  <c:v>2</c:v>
                </c:pt>
                <c:pt idx="325">
                  <c:v>6</c:v>
                </c:pt>
                <c:pt idx="326">
                  <c:v>15</c:v>
                </c:pt>
                <c:pt idx="327">
                  <c:v>17</c:v>
                </c:pt>
                <c:pt idx="328">
                  <c:v>4</c:v>
                </c:pt>
                <c:pt idx="329">
                  <c:v>3</c:v>
                </c:pt>
                <c:pt idx="330">
                  <c:v>1</c:v>
                </c:pt>
                <c:pt idx="331">
                  <c:v>3</c:v>
                </c:pt>
                <c:pt idx="332">
                  <c:v>17</c:v>
                </c:pt>
                <c:pt idx="333">
                  <c:v>1</c:v>
                </c:pt>
                <c:pt idx="334">
                  <c:v>3</c:v>
                </c:pt>
                <c:pt idx="335">
                  <c:v>1</c:v>
                </c:pt>
                <c:pt idx="336">
                  <c:v>12</c:v>
                </c:pt>
                <c:pt idx="337">
                  <c:v>4</c:v>
                </c:pt>
                <c:pt idx="338">
                  <c:v>11</c:v>
                </c:pt>
                <c:pt idx="339">
                  <c:v>4</c:v>
                </c:pt>
                <c:pt idx="340">
                  <c:v>5</c:v>
                </c:pt>
                <c:pt idx="341">
                  <c:v>2</c:v>
                </c:pt>
                <c:pt idx="342">
                  <c:v>1</c:v>
                </c:pt>
                <c:pt idx="343">
                  <c:v>4</c:v>
                </c:pt>
                <c:pt idx="344">
                  <c:v>1</c:v>
                </c:pt>
                <c:pt idx="345">
                  <c:v>26</c:v>
                </c:pt>
                <c:pt idx="346">
                  <c:v>7</c:v>
                </c:pt>
                <c:pt idx="347">
                  <c:v>2</c:v>
                </c:pt>
                <c:pt idx="348">
                  <c:v>2</c:v>
                </c:pt>
                <c:pt idx="349">
                  <c:v>1</c:v>
                </c:pt>
                <c:pt idx="350">
                  <c:v>6</c:v>
                </c:pt>
                <c:pt idx="351">
                  <c:v>15</c:v>
                </c:pt>
                <c:pt idx="352">
                  <c:v>0</c:v>
                </c:pt>
                <c:pt idx="353">
                  <c:v>4</c:v>
                </c:pt>
                <c:pt idx="354">
                  <c:v>1</c:v>
                </c:pt>
                <c:pt idx="355">
                  <c:v>4</c:v>
                </c:pt>
                <c:pt idx="356">
                  <c:v>5</c:v>
                </c:pt>
                <c:pt idx="357">
                  <c:v>4</c:v>
                </c:pt>
                <c:pt idx="358">
                  <c:v>3</c:v>
                </c:pt>
                <c:pt idx="359">
                  <c:v>8</c:v>
                </c:pt>
                <c:pt idx="360">
                  <c:v>8</c:v>
                </c:pt>
                <c:pt idx="361">
                  <c:v>3</c:v>
                </c:pt>
                <c:pt idx="362">
                  <c:v>5</c:v>
                </c:pt>
                <c:pt idx="363">
                  <c:v>8</c:v>
                </c:pt>
                <c:pt idx="364">
                  <c:v>2</c:v>
                </c:pt>
                <c:pt idx="365">
                  <c:v>12</c:v>
                </c:pt>
                <c:pt idx="366">
                  <c:v>13</c:v>
                </c:pt>
                <c:pt idx="367">
                  <c:v>4</c:v>
                </c:pt>
                <c:pt idx="368">
                  <c:v>5</c:v>
                </c:pt>
                <c:pt idx="369">
                  <c:v>5</c:v>
                </c:pt>
                <c:pt idx="370">
                  <c:v>3</c:v>
                </c:pt>
                <c:pt idx="371">
                  <c:v>10</c:v>
                </c:pt>
                <c:pt idx="372">
                  <c:v>13</c:v>
                </c:pt>
                <c:pt idx="373">
                  <c:v>6</c:v>
                </c:pt>
                <c:pt idx="374">
                  <c:v>8</c:v>
                </c:pt>
                <c:pt idx="375">
                  <c:v>1</c:v>
                </c:pt>
                <c:pt idx="376">
                  <c:v>1</c:v>
                </c:pt>
                <c:pt idx="377">
                  <c:v>3</c:v>
                </c:pt>
                <c:pt idx="378">
                  <c:v>4</c:v>
                </c:pt>
                <c:pt idx="379">
                  <c:v>6</c:v>
                </c:pt>
                <c:pt idx="380">
                  <c:v>2</c:v>
                </c:pt>
                <c:pt idx="381">
                  <c:v>1</c:v>
                </c:pt>
                <c:pt idx="382">
                  <c:v>0</c:v>
                </c:pt>
                <c:pt idx="383">
                  <c:v>2</c:v>
                </c:pt>
                <c:pt idx="384">
                  <c:v>3</c:v>
                </c:pt>
                <c:pt idx="385">
                  <c:v>21</c:v>
                </c:pt>
                <c:pt idx="386">
                  <c:v>9</c:v>
                </c:pt>
                <c:pt idx="387">
                  <c:v>1</c:v>
                </c:pt>
                <c:pt idx="388">
                  <c:v>7</c:v>
                </c:pt>
                <c:pt idx="389">
                  <c:v>5</c:v>
                </c:pt>
                <c:pt idx="390">
                  <c:v>29</c:v>
                </c:pt>
                <c:pt idx="391">
                  <c:v>3</c:v>
                </c:pt>
                <c:pt idx="392">
                  <c:v>36</c:v>
                </c:pt>
                <c:pt idx="393">
                  <c:v>1</c:v>
                </c:pt>
                <c:pt idx="394">
                  <c:v>9</c:v>
                </c:pt>
                <c:pt idx="395">
                  <c:v>5</c:v>
                </c:pt>
                <c:pt idx="396">
                  <c:v>3</c:v>
                </c:pt>
                <c:pt idx="397">
                  <c:v>3</c:v>
                </c:pt>
                <c:pt idx="398">
                  <c:v>150</c:v>
                </c:pt>
                <c:pt idx="399">
                  <c:v>9</c:v>
                </c:pt>
                <c:pt idx="400">
                  <c:v>1</c:v>
                </c:pt>
                <c:pt idx="401">
                  <c:v>2</c:v>
                </c:pt>
                <c:pt idx="402">
                  <c:v>3</c:v>
                </c:pt>
                <c:pt idx="403">
                  <c:v>4</c:v>
                </c:pt>
                <c:pt idx="404">
                  <c:v>5</c:v>
                </c:pt>
                <c:pt idx="405">
                  <c:v>2</c:v>
                </c:pt>
                <c:pt idx="406">
                  <c:v>16</c:v>
                </c:pt>
                <c:pt idx="407">
                  <c:v>13</c:v>
                </c:pt>
                <c:pt idx="408">
                  <c:v>17</c:v>
                </c:pt>
                <c:pt idx="409">
                  <c:v>3</c:v>
                </c:pt>
                <c:pt idx="410">
                  <c:v>4</c:v>
                </c:pt>
                <c:pt idx="411">
                  <c:v>8</c:v>
                </c:pt>
                <c:pt idx="412">
                  <c:v>12</c:v>
                </c:pt>
                <c:pt idx="413">
                  <c:v>3</c:v>
                </c:pt>
                <c:pt idx="414">
                  <c:v>21</c:v>
                </c:pt>
                <c:pt idx="415">
                  <c:v>14</c:v>
                </c:pt>
                <c:pt idx="416">
                  <c:v>20</c:v>
                </c:pt>
                <c:pt idx="417">
                  <c:v>10</c:v>
                </c:pt>
                <c:pt idx="418">
                  <c:v>1</c:v>
                </c:pt>
                <c:pt idx="419">
                  <c:v>4</c:v>
                </c:pt>
                <c:pt idx="420">
                  <c:v>12</c:v>
                </c:pt>
                <c:pt idx="421">
                  <c:v>2</c:v>
                </c:pt>
                <c:pt idx="422">
                  <c:v>32</c:v>
                </c:pt>
                <c:pt idx="423">
                  <c:v>6</c:v>
                </c:pt>
                <c:pt idx="424">
                  <c:v>3</c:v>
                </c:pt>
                <c:pt idx="425">
                  <c:v>4</c:v>
                </c:pt>
                <c:pt idx="426">
                  <c:v>4</c:v>
                </c:pt>
                <c:pt idx="427">
                  <c:v>6</c:v>
                </c:pt>
                <c:pt idx="428">
                  <c:v>2</c:v>
                </c:pt>
                <c:pt idx="429">
                  <c:v>2</c:v>
                </c:pt>
                <c:pt idx="430">
                  <c:v>0</c:v>
                </c:pt>
                <c:pt idx="431">
                  <c:v>13</c:v>
                </c:pt>
                <c:pt idx="432">
                  <c:v>4</c:v>
                </c:pt>
                <c:pt idx="433">
                  <c:v>1</c:v>
                </c:pt>
                <c:pt idx="434">
                  <c:v>1</c:v>
                </c:pt>
                <c:pt idx="435">
                  <c:v>11</c:v>
                </c:pt>
                <c:pt idx="436">
                  <c:v>1</c:v>
                </c:pt>
                <c:pt idx="437">
                  <c:v>2</c:v>
                </c:pt>
                <c:pt idx="438">
                  <c:v>2</c:v>
                </c:pt>
                <c:pt idx="439">
                  <c:v>2</c:v>
                </c:pt>
                <c:pt idx="440">
                  <c:v>2</c:v>
                </c:pt>
                <c:pt idx="441">
                  <c:v>2</c:v>
                </c:pt>
                <c:pt idx="442">
                  <c:v>3</c:v>
                </c:pt>
                <c:pt idx="443">
                  <c:v>3</c:v>
                </c:pt>
                <c:pt idx="444">
                  <c:v>4</c:v>
                </c:pt>
                <c:pt idx="445">
                  <c:v>4</c:v>
                </c:pt>
                <c:pt idx="446">
                  <c:v>6</c:v>
                </c:pt>
                <c:pt idx="447">
                  <c:v>8</c:v>
                </c:pt>
                <c:pt idx="448">
                  <c:v>6</c:v>
                </c:pt>
                <c:pt idx="449">
                  <c:v>1</c:v>
                </c:pt>
                <c:pt idx="450">
                  <c:v>3</c:v>
                </c:pt>
                <c:pt idx="451">
                  <c:v>19</c:v>
                </c:pt>
                <c:pt idx="452">
                  <c:v>1</c:v>
                </c:pt>
                <c:pt idx="453">
                  <c:v>3</c:v>
                </c:pt>
                <c:pt idx="454">
                  <c:v>2</c:v>
                </c:pt>
                <c:pt idx="455">
                  <c:v>1</c:v>
                </c:pt>
                <c:pt idx="456">
                  <c:v>1</c:v>
                </c:pt>
                <c:pt idx="457">
                  <c:v>14</c:v>
                </c:pt>
                <c:pt idx="458">
                  <c:v>2</c:v>
                </c:pt>
                <c:pt idx="459">
                  <c:v>3</c:v>
                </c:pt>
                <c:pt idx="460">
                  <c:v>2</c:v>
                </c:pt>
                <c:pt idx="461">
                  <c:v>3</c:v>
                </c:pt>
                <c:pt idx="462">
                  <c:v>2</c:v>
                </c:pt>
                <c:pt idx="463">
                  <c:v>13</c:v>
                </c:pt>
                <c:pt idx="464">
                  <c:v>2</c:v>
                </c:pt>
                <c:pt idx="465">
                  <c:v>3</c:v>
                </c:pt>
                <c:pt idx="466">
                  <c:v>1</c:v>
                </c:pt>
                <c:pt idx="467">
                  <c:v>13</c:v>
                </c:pt>
                <c:pt idx="468">
                  <c:v>2</c:v>
                </c:pt>
                <c:pt idx="469">
                  <c:v>31</c:v>
                </c:pt>
                <c:pt idx="470">
                  <c:v>6</c:v>
                </c:pt>
                <c:pt idx="471">
                  <c:v>9</c:v>
                </c:pt>
                <c:pt idx="472">
                  <c:v>6</c:v>
                </c:pt>
                <c:pt idx="473">
                  <c:v>4</c:v>
                </c:pt>
                <c:pt idx="474">
                  <c:v>13</c:v>
                </c:pt>
                <c:pt idx="475">
                  <c:v>11</c:v>
                </c:pt>
                <c:pt idx="476">
                  <c:v>2</c:v>
                </c:pt>
                <c:pt idx="477">
                  <c:v>3</c:v>
                </c:pt>
                <c:pt idx="478">
                  <c:v>6</c:v>
                </c:pt>
                <c:pt idx="479">
                  <c:v>6</c:v>
                </c:pt>
                <c:pt idx="480">
                  <c:v>0</c:v>
                </c:pt>
                <c:pt idx="481">
                  <c:v>14</c:v>
                </c:pt>
                <c:pt idx="482">
                  <c:v>14</c:v>
                </c:pt>
                <c:pt idx="483">
                  <c:v>7</c:v>
                </c:pt>
                <c:pt idx="484">
                  <c:v>2</c:v>
                </c:pt>
                <c:pt idx="485">
                  <c:v>1</c:v>
                </c:pt>
                <c:pt idx="486">
                  <c:v>2</c:v>
                </c:pt>
                <c:pt idx="487">
                  <c:v>11</c:v>
                </c:pt>
                <c:pt idx="488">
                  <c:v>3</c:v>
                </c:pt>
                <c:pt idx="489">
                  <c:v>18</c:v>
                </c:pt>
                <c:pt idx="490">
                  <c:v>0</c:v>
                </c:pt>
                <c:pt idx="491">
                  <c:v>14</c:v>
                </c:pt>
                <c:pt idx="492">
                  <c:v>12</c:v>
                </c:pt>
                <c:pt idx="493">
                  <c:v>5</c:v>
                </c:pt>
                <c:pt idx="494">
                  <c:v>11</c:v>
                </c:pt>
                <c:pt idx="495">
                  <c:v>1</c:v>
                </c:pt>
                <c:pt idx="496">
                  <c:v>5</c:v>
                </c:pt>
                <c:pt idx="497">
                  <c:v>1</c:v>
                </c:pt>
                <c:pt idx="498">
                  <c:v>1</c:v>
                </c:pt>
                <c:pt idx="499">
                  <c:v>7</c:v>
                </c:pt>
                <c:pt idx="500">
                  <c:v>2</c:v>
                </c:pt>
                <c:pt idx="501">
                  <c:v>3</c:v>
                </c:pt>
                <c:pt idx="502">
                  <c:v>4</c:v>
                </c:pt>
                <c:pt idx="503">
                  <c:v>0</c:v>
                </c:pt>
                <c:pt idx="504">
                  <c:v>8</c:v>
                </c:pt>
                <c:pt idx="505">
                  <c:v>11</c:v>
                </c:pt>
                <c:pt idx="506">
                  <c:v>3</c:v>
                </c:pt>
                <c:pt idx="507">
                  <c:v>1</c:v>
                </c:pt>
                <c:pt idx="508">
                  <c:v>1</c:v>
                </c:pt>
                <c:pt idx="509">
                  <c:v>1</c:v>
                </c:pt>
                <c:pt idx="510">
                  <c:v>0</c:v>
                </c:pt>
                <c:pt idx="511">
                  <c:v>5</c:v>
                </c:pt>
                <c:pt idx="512">
                  <c:v>2</c:v>
                </c:pt>
                <c:pt idx="513">
                  <c:v>1</c:v>
                </c:pt>
                <c:pt idx="514">
                  <c:v>6</c:v>
                </c:pt>
                <c:pt idx="515">
                  <c:v>17</c:v>
                </c:pt>
                <c:pt idx="516">
                  <c:v>7</c:v>
                </c:pt>
                <c:pt idx="517">
                  <c:v>2</c:v>
                </c:pt>
                <c:pt idx="518">
                  <c:v>1</c:v>
                </c:pt>
                <c:pt idx="519">
                  <c:v>4</c:v>
                </c:pt>
                <c:pt idx="520">
                  <c:v>2</c:v>
                </c:pt>
                <c:pt idx="521">
                  <c:v>1</c:v>
                </c:pt>
                <c:pt idx="522">
                  <c:v>2</c:v>
                </c:pt>
                <c:pt idx="523">
                  <c:v>15</c:v>
                </c:pt>
                <c:pt idx="524">
                  <c:v>1</c:v>
                </c:pt>
                <c:pt idx="525">
                  <c:v>35</c:v>
                </c:pt>
                <c:pt idx="526">
                  <c:v>4</c:v>
                </c:pt>
                <c:pt idx="527">
                  <c:v>2</c:v>
                </c:pt>
                <c:pt idx="528">
                  <c:v>4</c:v>
                </c:pt>
                <c:pt idx="529">
                  <c:v>1</c:v>
                </c:pt>
                <c:pt idx="530">
                  <c:v>13</c:v>
                </c:pt>
                <c:pt idx="531">
                  <c:v>19</c:v>
                </c:pt>
                <c:pt idx="532">
                  <c:v>0</c:v>
                </c:pt>
                <c:pt idx="533">
                  <c:v>0</c:v>
                </c:pt>
                <c:pt idx="534">
                  <c:v>2</c:v>
                </c:pt>
                <c:pt idx="535">
                  <c:v>1</c:v>
                </c:pt>
                <c:pt idx="536">
                  <c:v>10</c:v>
                </c:pt>
                <c:pt idx="537">
                  <c:v>1</c:v>
                </c:pt>
                <c:pt idx="538">
                  <c:v>2</c:v>
                </c:pt>
                <c:pt idx="539">
                  <c:v>0</c:v>
                </c:pt>
                <c:pt idx="540">
                  <c:v>58</c:v>
                </c:pt>
                <c:pt idx="541">
                  <c:v>7</c:v>
                </c:pt>
                <c:pt idx="542">
                  <c:v>3</c:v>
                </c:pt>
                <c:pt idx="543">
                  <c:v>1</c:v>
                </c:pt>
                <c:pt idx="544">
                  <c:v>1</c:v>
                </c:pt>
                <c:pt idx="545">
                  <c:v>0</c:v>
                </c:pt>
                <c:pt idx="546">
                  <c:v>3</c:v>
                </c:pt>
                <c:pt idx="547">
                  <c:v>3</c:v>
                </c:pt>
                <c:pt idx="548">
                  <c:v>2</c:v>
                </c:pt>
                <c:pt idx="549">
                  <c:v>1</c:v>
                </c:pt>
                <c:pt idx="550">
                  <c:v>0</c:v>
                </c:pt>
                <c:pt idx="551">
                  <c:v>5</c:v>
                </c:pt>
                <c:pt idx="552">
                  <c:v>1</c:v>
                </c:pt>
                <c:pt idx="553">
                  <c:v>27</c:v>
                </c:pt>
                <c:pt idx="554">
                  <c:v>2</c:v>
                </c:pt>
                <c:pt idx="555">
                  <c:v>2</c:v>
                </c:pt>
                <c:pt idx="556">
                  <c:v>0</c:v>
                </c:pt>
                <c:pt idx="557">
                  <c:v>4</c:v>
                </c:pt>
                <c:pt idx="558">
                  <c:v>18</c:v>
                </c:pt>
                <c:pt idx="559">
                  <c:v>1</c:v>
                </c:pt>
                <c:pt idx="560">
                  <c:v>1</c:v>
                </c:pt>
                <c:pt idx="561">
                  <c:v>2</c:v>
                </c:pt>
                <c:pt idx="562">
                  <c:v>1</c:v>
                </c:pt>
                <c:pt idx="563">
                  <c:v>4</c:v>
                </c:pt>
                <c:pt idx="564">
                  <c:v>8</c:v>
                </c:pt>
                <c:pt idx="565">
                  <c:v>1</c:v>
                </c:pt>
                <c:pt idx="566">
                  <c:v>12</c:v>
                </c:pt>
                <c:pt idx="567">
                  <c:v>14</c:v>
                </c:pt>
                <c:pt idx="568">
                  <c:v>1</c:v>
                </c:pt>
                <c:pt idx="569">
                  <c:v>0</c:v>
                </c:pt>
                <c:pt idx="570">
                  <c:v>2</c:v>
                </c:pt>
                <c:pt idx="571">
                  <c:v>4</c:v>
                </c:pt>
                <c:pt idx="572">
                  <c:v>0</c:v>
                </c:pt>
                <c:pt idx="573">
                  <c:v>0</c:v>
                </c:pt>
                <c:pt idx="574">
                  <c:v>6</c:v>
                </c:pt>
                <c:pt idx="575">
                  <c:v>0</c:v>
                </c:pt>
                <c:pt idx="576">
                  <c:v>0</c:v>
                </c:pt>
                <c:pt idx="577">
                  <c:v>40</c:v>
                </c:pt>
                <c:pt idx="578">
                  <c:v>7</c:v>
                </c:pt>
                <c:pt idx="579">
                  <c:v>22</c:v>
                </c:pt>
                <c:pt idx="580">
                  <c:v>7</c:v>
                </c:pt>
                <c:pt idx="581">
                  <c:v>4</c:v>
                </c:pt>
                <c:pt idx="582">
                  <c:v>0</c:v>
                </c:pt>
                <c:pt idx="583">
                  <c:v>6</c:v>
                </c:pt>
                <c:pt idx="584">
                  <c:v>5</c:v>
                </c:pt>
                <c:pt idx="585">
                  <c:v>0</c:v>
                </c:pt>
                <c:pt idx="586">
                  <c:v>0</c:v>
                </c:pt>
                <c:pt idx="587">
                  <c:v>1</c:v>
                </c:pt>
                <c:pt idx="588">
                  <c:v>1</c:v>
                </c:pt>
                <c:pt idx="589">
                  <c:v>2</c:v>
                </c:pt>
                <c:pt idx="590">
                  <c:v>0</c:v>
                </c:pt>
                <c:pt idx="591">
                  <c:v>1</c:v>
                </c:pt>
                <c:pt idx="592">
                  <c:v>2</c:v>
                </c:pt>
                <c:pt idx="593">
                  <c:v>3</c:v>
                </c:pt>
                <c:pt idx="594">
                  <c:v>0</c:v>
                </c:pt>
                <c:pt idx="595">
                  <c:v>2</c:v>
                </c:pt>
                <c:pt idx="596">
                  <c:v>6</c:v>
                </c:pt>
                <c:pt idx="597">
                  <c:v>1</c:v>
                </c:pt>
                <c:pt idx="598">
                  <c:v>7</c:v>
                </c:pt>
                <c:pt idx="599">
                  <c:v>7</c:v>
                </c:pt>
                <c:pt idx="600">
                  <c:v>4</c:v>
                </c:pt>
                <c:pt idx="601">
                  <c:v>3</c:v>
                </c:pt>
                <c:pt idx="602">
                  <c:v>3</c:v>
                </c:pt>
                <c:pt idx="603">
                  <c:v>2</c:v>
                </c:pt>
                <c:pt idx="604">
                  <c:v>0</c:v>
                </c:pt>
                <c:pt idx="605">
                  <c:v>3</c:v>
                </c:pt>
                <c:pt idx="606">
                  <c:v>0</c:v>
                </c:pt>
                <c:pt idx="607">
                  <c:v>0</c:v>
                </c:pt>
                <c:pt idx="608">
                  <c:v>0</c:v>
                </c:pt>
                <c:pt idx="609">
                  <c:v>0</c:v>
                </c:pt>
                <c:pt idx="610">
                  <c:v>0</c:v>
                </c:pt>
                <c:pt idx="611">
                  <c:v>0</c:v>
                </c:pt>
                <c:pt idx="612">
                  <c:v>0</c:v>
                </c:pt>
                <c:pt idx="613">
                  <c:v>1</c:v>
                </c:pt>
                <c:pt idx="614">
                  <c:v>0</c:v>
                </c:pt>
                <c:pt idx="615">
                  <c:v>0</c:v>
                </c:pt>
                <c:pt idx="616">
                  <c:v>0</c:v>
                </c:pt>
                <c:pt idx="617">
                  <c:v>0</c:v>
                </c:pt>
                <c:pt idx="618">
                  <c:v>11</c:v>
                </c:pt>
                <c:pt idx="619">
                  <c:v>0</c:v>
                </c:pt>
                <c:pt idx="620">
                  <c:v>1</c:v>
                </c:pt>
                <c:pt idx="621">
                  <c:v>9</c:v>
                </c:pt>
                <c:pt idx="622">
                  <c:v>6</c:v>
                </c:pt>
                <c:pt idx="623">
                  <c:v>0</c:v>
                </c:pt>
                <c:pt idx="624">
                  <c:v>2</c:v>
                </c:pt>
                <c:pt idx="625">
                  <c:v>0</c:v>
                </c:pt>
                <c:pt idx="626">
                  <c:v>2</c:v>
                </c:pt>
                <c:pt idx="627">
                  <c:v>2</c:v>
                </c:pt>
                <c:pt idx="628">
                  <c:v>0</c:v>
                </c:pt>
                <c:pt idx="629">
                  <c:v>0</c:v>
                </c:pt>
                <c:pt idx="630">
                  <c:v>0</c:v>
                </c:pt>
                <c:pt idx="631">
                  <c:v>4</c:v>
                </c:pt>
                <c:pt idx="632">
                  <c:v>3</c:v>
                </c:pt>
                <c:pt idx="633">
                  <c:v>0</c:v>
                </c:pt>
                <c:pt idx="634">
                  <c:v>9</c:v>
                </c:pt>
                <c:pt idx="635">
                  <c:v>3</c:v>
                </c:pt>
                <c:pt idx="636">
                  <c:v>3</c:v>
                </c:pt>
                <c:pt idx="637">
                  <c:v>0</c:v>
                </c:pt>
                <c:pt idx="638">
                  <c:v>0</c:v>
                </c:pt>
                <c:pt idx="639">
                  <c:v>3</c:v>
                </c:pt>
                <c:pt idx="640">
                  <c:v>0</c:v>
                </c:pt>
                <c:pt idx="641">
                  <c:v>0</c:v>
                </c:pt>
                <c:pt idx="642">
                  <c:v>1</c:v>
                </c:pt>
                <c:pt idx="643">
                  <c:v>0</c:v>
                </c:pt>
                <c:pt idx="644">
                  <c:v>1</c:v>
                </c:pt>
                <c:pt idx="645">
                  <c:v>15</c:v>
                </c:pt>
                <c:pt idx="646">
                  <c:v>1</c:v>
                </c:pt>
                <c:pt idx="647">
                  <c:v>5</c:v>
                </c:pt>
                <c:pt idx="648">
                  <c:v>0</c:v>
                </c:pt>
                <c:pt idx="649">
                  <c:v>0</c:v>
                </c:pt>
                <c:pt idx="650">
                  <c:v>4</c:v>
                </c:pt>
                <c:pt idx="651">
                  <c:v>0</c:v>
                </c:pt>
                <c:pt idx="652">
                  <c:v>0</c:v>
                </c:pt>
                <c:pt idx="653">
                  <c:v>6</c:v>
                </c:pt>
                <c:pt idx="654">
                  <c:v>0</c:v>
                </c:pt>
                <c:pt idx="655">
                  <c:v>1</c:v>
                </c:pt>
                <c:pt idx="656">
                  <c:v>0</c:v>
                </c:pt>
                <c:pt idx="657">
                  <c:v>0</c:v>
                </c:pt>
                <c:pt idx="658">
                  <c:v>0</c:v>
                </c:pt>
                <c:pt idx="659">
                  <c:v>0</c:v>
                </c:pt>
                <c:pt idx="660">
                  <c:v>0</c:v>
                </c:pt>
                <c:pt idx="661">
                  <c:v>0</c:v>
                </c:pt>
                <c:pt idx="662">
                  <c:v>2</c:v>
                </c:pt>
                <c:pt idx="663">
                  <c:v>0</c:v>
                </c:pt>
                <c:pt idx="664">
                  <c:v>0</c:v>
                </c:pt>
                <c:pt idx="665">
                  <c:v>0</c:v>
                </c:pt>
                <c:pt idx="666">
                  <c:v>4</c:v>
                </c:pt>
                <c:pt idx="667">
                  <c:v>5</c:v>
                </c:pt>
                <c:pt idx="668">
                  <c:v>57</c:v>
                </c:pt>
                <c:pt idx="669">
                  <c:v>0</c:v>
                </c:pt>
                <c:pt idx="670">
                  <c:v>14</c:v>
                </c:pt>
                <c:pt idx="671">
                  <c:v>2</c:v>
                </c:pt>
                <c:pt idx="672">
                  <c:v>4</c:v>
                </c:pt>
                <c:pt idx="673">
                  <c:v>0</c:v>
                </c:pt>
                <c:pt idx="674">
                  <c:v>0</c:v>
                </c:pt>
                <c:pt idx="675">
                  <c:v>16</c:v>
                </c:pt>
                <c:pt idx="676">
                  <c:v>0</c:v>
                </c:pt>
                <c:pt idx="677">
                  <c:v>0</c:v>
                </c:pt>
                <c:pt idx="678">
                  <c:v>0</c:v>
                </c:pt>
                <c:pt idx="679">
                  <c:v>1</c:v>
                </c:pt>
                <c:pt idx="680">
                  <c:v>0</c:v>
                </c:pt>
                <c:pt idx="681">
                  <c:v>2</c:v>
                </c:pt>
                <c:pt idx="682">
                  <c:v>0</c:v>
                </c:pt>
                <c:pt idx="683">
                  <c:v>5</c:v>
                </c:pt>
                <c:pt idx="684">
                  <c:v>0</c:v>
                </c:pt>
                <c:pt idx="685">
                  <c:v>0</c:v>
                </c:pt>
                <c:pt idx="686">
                  <c:v>1</c:v>
                </c:pt>
                <c:pt idx="687">
                  <c:v>0</c:v>
                </c:pt>
                <c:pt idx="688">
                  <c:v>0</c:v>
                </c:pt>
                <c:pt idx="689">
                  <c:v>0</c:v>
                </c:pt>
                <c:pt idx="690">
                  <c:v>0</c:v>
                </c:pt>
                <c:pt idx="691">
                  <c:v>0</c:v>
                </c:pt>
                <c:pt idx="692">
                  <c:v>0</c:v>
                </c:pt>
                <c:pt idx="693">
                  <c:v>1</c:v>
                </c:pt>
                <c:pt idx="694">
                  <c:v>0</c:v>
                </c:pt>
                <c:pt idx="695">
                  <c:v>0</c:v>
                </c:pt>
                <c:pt idx="696">
                  <c:v>42</c:v>
                </c:pt>
                <c:pt idx="697">
                  <c:v>1</c:v>
                </c:pt>
                <c:pt idx="698">
                  <c:v>4</c:v>
                </c:pt>
                <c:pt idx="699">
                  <c:v>2</c:v>
                </c:pt>
                <c:pt idx="700">
                  <c:v>4</c:v>
                </c:pt>
                <c:pt idx="701">
                  <c:v>0</c:v>
                </c:pt>
                <c:pt idx="702">
                  <c:v>2</c:v>
                </c:pt>
                <c:pt idx="703">
                  <c:v>0</c:v>
                </c:pt>
                <c:pt idx="704">
                  <c:v>0</c:v>
                </c:pt>
                <c:pt idx="705">
                  <c:v>1</c:v>
                </c:pt>
                <c:pt idx="706">
                  <c:v>4</c:v>
                </c:pt>
                <c:pt idx="707">
                  <c:v>0</c:v>
                </c:pt>
                <c:pt idx="708">
                  <c:v>0</c:v>
                </c:pt>
                <c:pt idx="709">
                  <c:v>5</c:v>
                </c:pt>
                <c:pt idx="710">
                  <c:v>1</c:v>
                </c:pt>
                <c:pt idx="711">
                  <c:v>3</c:v>
                </c:pt>
                <c:pt idx="712">
                  <c:v>0</c:v>
                </c:pt>
                <c:pt idx="713">
                  <c:v>5</c:v>
                </c:pt>
                <c:pt idx="714">
                  <c:v>0</c:v>
                </c:pt>
                <c:pt idx="715">
                  <c:v>0</c:v>
                </c:pt>
                <c:pt idx="716">
                  <c:v>0</c:v>
                </c:pt>
                <c:pt idx="717">
                  <c:v>0</c:v>
                </c:pt>
                <c:pt idx="718">
                  <c:v>5</c:v>
                </c:pt>
                <c:pt idx="719">
                  <c:v>0</c:v>
                </c:pt>
                <c:pt idx="720">
                  <c:v>0</c:v>
                </c:pt>
                <c:pt idx="721">
                  <c:v>1</c:v>
                </c:pt>
                <c:pt idx="722">
                  <c:v>1</c:v>
                </c:pt>
                <c:pt idx="723">
                  <c:v>0</c:v>
                </c:pt>
                <c:pt idx="724">
                  <c:v>1</c:v>
                </c:pt>
                <c:pt idx="725">
                  <c:v>0</c:v>
                </c:pt>
                <c:pt idx="726">
                  <c:v>0</c:v>
                </c:pt>
                <c:pt idx="727">
                  <c:v>9</c:v>
                </c:pt>
                <c:pt idx="728">
                  <c:v>105</c:v>
                </c:pt>
                <c:pt idx="729">
                  <c:v>7</c:v>
                </c:pt>
                <c:pt idx="730">
                  <c:v>1</c:v>
                </c:pt>
                <c:pt idx="731">
                  <c:v>0</c:v>
                </c:pt>
                <c:pt idx="732">
                  <c:v>0</c:v>
                </c:pt>
                <c:pt idx="733">
                  <c:v>0</c:v>
                </c:pt>
                <c:pt idx="734">
                  <c:v>1</c:v>
                </c:pt>
                <c:pt idx="735">
                  <c:v>0</c:v>
                </c:pt>
                <c:pt idx="736">
                  <c:v>2</c:v>
                </c:pt>
                <c:pt idx="737">
                  <c:v>0</c:v>
                </c:pt>
                <c:pt idx="738">
                  <c:v>0</c:v>
                </c:pt>
                <c:pt idx="739">
                  <c:v>7</c:v>
                </c:pt>
                <c:pt idx="740">
                  <c:v>0</c:v>
                </c:pt>
                <c:pt idx="741">
                  <c:v>1</c:v>
                </c:pt>
                <c:pt idx="742">
                  <c:v>1</c:v>
                </c:pt>
                <c:pt idx="743">
                  <c:v>0</c:v>
                </c:pt>
                <c:pt idx="744">
                  <c:v>3</c:v>
                </c:pt>
                <c:pt idx="745">
                  <c:v>1</c:v>
                </c:pt>
                <c:pt idx="746">
                  <c:v>0</c:v>
                </c:pt>
                <c:pt idx="747">
                  <c:v>8</c:v>
                </c:pt>
                <c:pt idx="748">
                  <c:v>1</c:v>
                </c:pt>
                <c:pt idx="749">
                  <c:v>2</c:v>
                </c:pt>
                <c:pt idx="750">
                  <c:v>0</c:v>
                </c:pt>
                <c:pt idx="751">
                  <c:v>0</c:v>
                </c:pt>
                <c:pt idx="752">
                  <c:v>2</c:v>
                </c:pt>
                <c:pt idx="753">
                  <c:v>1</c:v>
                </c:pt>
                <c:pt idx="754">
                  <c:v>2</c:v>
                </c:pt>
                <c:pt idx="755">
                  <c:v>2</c:v>
                </c:pt>
                <c:pt idx="756">
                  <c:v>81</c:v>
                </c:pt>
                <c:pt idx="757">
                  <c:v>1</c:v>
                </c:pt>
                <c:pt idx="758">
                  <c:v>0</c:v>
                </c:pt>
                <c:pt idx="759">
                  <c:v>2</c:v>
                </c:pt>
                <c:pt idx="760">
                  <c:v>0</c:v>
                </c:pt>
                <c:pt idx="761">
                  <c:v>1</c:v>
                </c:pt>
                <c:pt idx="762">
                  <c:v>2</c:v>
                </c:pt>
                <c:pt idx="763">
                  <c:v>6</c:v>
                </c:pt>
                <c:pt idx="764">
                  <c:v>1</c:v>
                </c:pt>
                <c:pt idx="765">
                  <c:v>3</c:v>
                </c:pt>
                <c:pt idx="766">
                  <c:v>3</c:v>
                </c:pt>
                <c:pt idx="767">
                  <c:v>1</c:v>
                </c:pt>
                <c:pt idx="768">
                  <c:v>3</c:v>
                </c:pt>
                <c:pt idx="769">
                  <c:v>1</c:v>
                </c:pt>
                <c:pt idx="770">
                  <c:v>16</c:v>
                </c:pt>
                <c:pt idx="771">
                  <c:v>0</c:v>
                </c:pt>
                <c:pt idx="772">
                  <c:v>0</c:v>
                </c:pt>
                <c:pt idx="773">
                  <c:v>4</c:v>
                </c:pt>
                <c:pt idx="774">
                  <c:v>0</c:v>
                </c:pt>
                <c:pt idx="775">
                  <c:v>10</c:v>
                </c:pt>
                <c:pt idx="776">
                  <c:v>1</c:v>
                </c:pt>
                <c:pt idx="777">
                  <c:v>1</c:v>
                </c:pt>
                <c:pt idx="778">
                  <c:v>2</c:v>
                </c:pt>
                <c:pt idx="779">
                  <c:v>2</c:v>
                </c:pt>
                <c:pt idx="780">
                  <c:v>1</c:v>
                </c:pt>
                <c:pt idx="781">
                  <c:v>0</c:v>
                </c:pt>
                <c:pt idx="782">
                  <c:v>6</c:v>
                </c:pt>
                <c:pt idx="783">
                  <c:v>1</c:v>
                </c:pt>
                <c:pt idx="784">
                  <c:v>0</c:v>
                </c:pt>
                <c:pt idx="785">
                  <c:v>1</c:v>
                </c:pt>
                <c:pt idx="786">
                  <c:v>2</c:v>
                </c:pt>
                <c:pt idx="787">
                  <c:v>0</c:v>
                </c:pt>
                <c:pt idx="788">
                  <c:v>1</c:v>
                </c:pt>
                <c:pt idx="789">
                  <c:v>6</c:v>
                </c:pt>
                <c:pt idx="790">
                  <c:v>1</c:v>
                </c:pt>
                <c:pt idx="791">
                  <c:v>2</c:v>
                </c:pt>
                <c:pt idx="792">
                  <c:v>13</c:v>
                </c:pt>
                <c:pt idx="793">
                  <c:v>8</c:v>
                </c:pt>
                <c:pt idx="794">
                  <c:v>0</c:v>
                </c:pt>
                <c:pt idx="795">
                  <c:v>15</c:v>
                </c:pt>
                <c:pt idx="796">
                  <c:v>0</c:v>
                </c:pt>
                <c:pt idx="797">
                  <c:v>0</c:v>
                </c:pt>
                <c:pt idx="798">
                  <c:v>0</c:v>
                </c:pt>
                <c:pt idx="799">
                  <c:v>0</c:v>
                </c:pt>
                <c:pt idx="800">
                  <c:v>2</c:v>
                </c:pt>
                <c:pt idx="801">
                  <c:v>0</c:v>
                </c:pt>
                <c:pt idx="802">
                  <c:v>3</c:v>
                </c:pt>
                <c:pt idx="803">
                  <c:v>0</c:v>
                </c:pt>
                <c:pt idx="804">
                  <c:v>0</c:v>
                </c:pt>
                <c:pt idx="805">
                  <c:v>0</c:v>
                </c:pt>
                <c:pt idx="806">
                  <c:v>9</c:v>
                </c:pt>
                <c:pt idx="807">
                  <c:v>59</c:v>
                </c:pt>
                <c:pt idx="808">
                  <c:v>2</c:v>
                </c:pt>
                <c:pt idx="809">
                  <c:v>0</c:v>
                </c:pt>
                <c:pt idx="810">
                  <c:v>0</c:v>
                </c:pt>
                <c:pt idx="811">
                  <c:v>3</c:v>
                </c:pt>
                <c:pt idx="812">
                  <c:v>0</c:v>
                </c:pt>
                <c:pt idx="813">
                  <c:v>3</c:v>
                </c:pt>
                <c:pt idx="814">
                  <c:v>0</c:v>
                </c:pt>
                <c:pt idx="815">
                  <c:v>0</c:v>
                </c:pt>
                <c:pt idx="816">
                  <c:v>2</c:v>
                </c:pt>
                <c:pt idx="817">
                  <c:v>2</c:v>
                </c:pt>
                <c:pt idx="818">
                  <c:v>1</c:v>
                </c:pt>
                <c:pt idx="819">
                  <c:v>0</c:v>
                </c:pt>
                <c:pt idx="820">
                  <c:v>0</c:v>
                </c:pt>
                <c:pt idx="821">
                  <c:v>5</c:v>
                </c:pt>
                <c:pt idx="822">
                  <c:v>1</c:v>
                </c:pt>
                <c:pt idx="823">
                  <c:v>20</c:v>
                </c:pt>
                <c:pt idx="824">
                  <c:v>0</c:v>
                </c:pt>
                <c:pt idx="825">
                  <c:v>0</c:v>
                </c:pt>
                <c:pt idx="826">
                  <c:v>0</c:v>
                </c:pt>
                <c:pt idx="827">
                  <c:v>1</c:v>
                </c:pt>
                <c:pt idx="828">
                  <c:v>3</c:v>
                </c:pt>
                <c:pt idx="829">
                  <c:v>2</c:v>
                </c:pt>
                <c:pt idx="830">
                  <c:v>7</c:v>
                </c:pt>
                <c:pt idx="831">
                  <c:v>1</c:v>
                </c:pt>
                <c:pt idx="832">
                  <c:v>2</c:v>
                </c:pt>
                <c:pt idx="833">
                  <c:v>0</c:v>
                </c:pt>
                <c:pt idx="834">
                  <c:v>6</c:v>
                </c:pt>
                <c:pt idx="835">
                  <c:v>0</c:v>
                </c:pt>
                <c:pt idx="836">
                  <c:v>0</c:v>
                </c:pt>
                <c:pt idx="837">
                  <c:v>3</c:v>
                </c:pt>
                <c:pt idx="838">
                  <c:v>0</c:v>
                </c:pt>
                <c:pt idx="839">
                  <c:v>16</c:v>
                </c:pt>
                <c:pt idx="840">
                  <c:v>0</c:v>
                </c:pt>
                <c:pt idx="841">
                  <c:v>0</c:v>
                </c:pt>
                <c:pt idx="842">
                  <c:v>8</c:v>
                </c:pt>
                <c:pt idx="843">
                  <c:v>0</c:v>
                </c:pt>
                <c:pt idx="844">
                  <c:v>12</c:v>
                </c:pt>
                <c:pt idx="845">
                  <c:v>0</c:v>
                </c:pt>
                <c:pt idx="846">
                  <c:v>0</c:v>
                </c:pt>
                <c:pt idx="847">
                  <c:v>0</c:v>
                </c:pt>
                <c:pt idx="848">
                  <c:v>2</c:v>
                </c:pt>
                <c:pt idx="849">
                  <c:v>1</c:v>
                </c:pt>
                <c:pt idx="850">
                  <c:v>0</c:v>
                </c:pt>
                <c:pt idx="851">
                  <c:v>1</c:v>
                </c:pt>
                <c:pt idx="852">
                  <c:v>0</c:v>
                </c:pt>
                <c:pt idx="853">
                  <c:v>1</c:v>
                </c:pt>
                <c:pt idx="854">
                  <c:v>0</c:v>
                </c:pt>
                <c:pt idx="855">
                  <c:v>2</c:v>
                </c:pt>
                <c:pt idx="856">
                  <c:v>1</c:v>
                </c:pt>
                <c:pt idx="857">
                  <c:v>1</c:v>
                </c:pt>
                <c:pt idx="858">
                  <c:v>4</c:v>
                </c:pt>
                <c:pt idx="859">
                  <c:v>8</c:v>
                </c:pt>
                <c:pt idx="860">
                  <c:v>0</c:v>
                </c:pt>
                <c:pt idx="861">
                  <c:v>0</c:v>
                </c:pt>
                <c:pt idx="862">
                  <c:v>3</c:v>
                </c:pt>
                <c:pt idx="863">
                  <c:v>0</c:v>
                </c:pt>
                <c:pt idx="864">
                  <c:v>9</c:v>
                </c:pt>
                <c:pt idx="865">
                  <c:v>0</c:v>
                </c:pt>
                <c:pt idx="866">
                  <c:v>8</c:v>
                </c:pt>
                <c:pt idx="867">
                  <c:v>9</c:v>
                </c:pt>
                <c:pt idx="868">
                  <c:v>0</c:v>
                </c:pt>
                <c:pt idx="869">
                  <c:v>1</c:v>
                </c:pt>
                <c:pt idx="870">
                  <c:v>0</c:v>
                </c:pt>
                <c:pt idx="871">
                  <c:v>0</c:v>
                </c:pt>
                <c:pt idx="872">
                  <c:v>1</c:v>
                </c:pt>
                <c:pt idx="873">
                  <c:v>1</c:v>
                </c:pt>
                <c:pt idx="874">
                  <c:v>0</c:v>
                </c:pt>
                <c:pt idx="875">
                  <c:v>5</c:v>
                </c:pt>
                <c:pt idx="876">
                  <c:v>4</c:v>
                </c:pt>
                <c:pt idx="877">
                  <c:v>4</c:v>
                </c:pt>
                <c:pt idx="878">
                  <c:v>0</c:v>
                </c:pt>
                <c:pt idx="879">
                  <c:v>1</c:v>
                </c:pt>
                <c:pt idx="880">
                  <c:v>0</c:v>
                </c:pt>
                <c:pt idx="881">
                  <c:v>9</c:v>
                </c:pt>
                <c:pt idx="882">
                  <c:v>2</c:v>
                </c:pt>
                <c:pt idx="883">
                  <c:v>1</c:v>
                </c:pt>
                <c:pt idx="884">
                  <c:v>1</c:v>
                </c:pt>
                <c:pt idx="885">
                  <c:v>3</c:v>
                </c:pt>
                <c:pt idx="886">
                  <c:v>0</c:v>
                </c:pt>
                <c:pt idx="887">
                  <c:v>0</c:v>
                </c:pt>
                <c:pt idx="888">
                  <c:v>2</c:v>
                </c:pt>
                <c:pt idx="889">
                  <c:v>5</c:v>
                </c:pt>
                <c:pt idx="890">
                  <c:v>0</c:v>
                </c:pt>
                <c:pt idx="891">
                  <c:v>3</c:v>
                </c:pt>
                <c:pt idx="892">
                  <c:v>0</c:v>
                </c:pt>
                <c:pt idx="893">
                  <c:v>2</c:v>
                </c:pt>
                <c:pt idx="894">
                  <c:v>7</c:v>
                </c:pt>
                <c:pt idx="895">
                  <c:v>0</c:v>
                </c:pt>
                <c:pt idx="896">
                  <c:v>0</c:v>
                </c:pt>
                <c:pt idx="897">
                  <c:v>1</c:v>
                </c:pt>
                <c:pt idx="898">
                  <c:v>0</c:v>
                </c:pt>
                <c:pt idx="899">
                  <c:v>2</c:v>
                </c:pt>
                <c:pt idx="900">
                  <c:v>3</c:v>
                </c:pt>
                <c:pt idx="901">
                  <c:v>0</c:v>
                </c:pt>
                <c:pt idx="902">
                  <c:v>4</c:v>
                </c:pt>
                <c:pt idx="903">
                  <c:v>0</c:v>
                </c:pt>
                <c:pt idx="904">
                  <c:v>4</c:v>
                </c:pt>
                <c:pt idx="905">
                  <c:v>0</c:v>
                </c:pt>
                <c:pt idx="906">
                  <c:v>0</c:v>
                </c:pt>
                <c:pt idx="907">
                  <c:v>0</c:v>
                </c:pt>
                <c:pt idx="908">
                  <c:v>0</c:v>
                </c:pt>
                <c:pt idx="909">
                  <c:v>0</c:v>
                </c:pt>
                <c:pt idx="910">
                  <c:v>8</c:v>
                </c:pt>
                <c:pt idx="911">
                  <c:v>0</c:v>
                </c:pt>
                <c:pt idx="912">
                  <c:v>1</c:v>
                </c:pt>
                <c:pt idx="913">
                  <c:v>0</c:v>
                </c:pt>
                <c:pt idx="914">
                  <c:v>0</c:v>
                </c:pt>
                <c:pt idx="915">
                  <c:v>5</c:v>
                </c:pt>
                <c:pt idx="916">
                  <c:v>2</c:v>
                </c:pt>
                <c:pt idx="917">
                  <c:v>1</c:v>
                </c:pt>
                <c:pt idx="918">
                  <c:v>1</c:v>
                </c:pt>
                <c:pt idx="919">
                  <c:v>0</c:v>
                </c:pt>
                <c:pt idx="920">
                  <c:v>0</c:v>
                </c:pt>
                <c:pt idx="921">
                  <c:v>0</c:v>
                </c:pt>
                <c:pt idx="922">
                  <c:v>1</c:v>
                </c:pt>
                <c:pt idx="923">
                  <c:v>2</c:v>
                </c:pt>
                <c:pt idx="924">
                  <c:v>2</c:v>
                </c:pt>
                <c:pt idx="925">
                  <c:v>0</c:v>
                </c:pt>
                <c:pt idx="926">
                  <c:v>0</c:v>
                </c:pt>
                <c:pt idx="927">
                  <c:v>0</c:v>
                </c:pt>
                <c:pt idx="928">
                  <c:v>2</c:v>
                </c:pt>
                <c:pt idx="929">
                  <c:v>1</c:v>
                </c:pt>
                <c:pt idx="930">
                  <c:v>0</c:v>
                </c:pt>
                <c:pt idx="931">
                  <c:v>0</c:v>
                </c:pt>
                <c:pt idx="932">
                  <c:v>15</c:v>
                </c:pt>
                <c:pt idx="933">
                  <c:v>1</c:v>
                </c:pt>
                <c:pt idx="934">
                  <c:v>0</c:v>
                </c:pt>
                <c:pt idx="935">
                  <c:v>1</c:v>
                </c:pt>
                <c:pt idx="936">
                  <c:v>0</c:v>
                </c:pt>
                <c:pt idx="937">
                  <c:v>0</c:v>
                </c:pt>
                <c:pt idx="938">
                  <c:v>14</c:v>
                </c:pt>
                <c:pt idx="939">
                  <c:v>0</c:v>
                </c:pt>
                <c:pt idx="940">
                  <c:v>1</c:v>
                </c:pt>
                <c:pt idx="941">
                  <c:v>0</c:v>
                </c:pt>
                <c:pt idx="942">
                  <c:v>0</c:v>
                </c:pt>
                <c:pt idx="943">
                  <c:v>2</c:v>
                </c:pt>
                <c:pt idx="944">
                  <c:v>2</c:v>
                </c:pt>
                <c:pt idx="945">
                  <c:v>0</c:v>
                </c:pt>
                <c:pt idx="946">
                  <c:v>1</c:v>
                </c:pt>
                <c:pt idx="947">
                  <c:v>0</c:v>
                </c:pt>
                <c:pt idx="948">
                  <c:v>3</c:v>
                </c:pt>
                <c:pt idx="949">
                  <c:v>1</c:v>
                </c:pt>
                <c:pt idx="950">
                  <c:v>0</c:v>
                </c:pt>
                <c:pt idx="951">
                  <c:v>18</c:v>
                </c:pt>
                <c:pt idx="952">
                  <c:v>0</c:v>
                </c:pt>
                <c:pt idx="953">
                  <c:v>0</c:v>
                </c:pt>
                <c:pt idx="954">
                  <c:v>3</c:v>
                </c:pt>
                <c:pt idx="955">
                  <c:v>0</c:v>
                </c:pt>
                <c:pt idx="956">
                  <c:v>2</c:v>
                </c:pt>
                <c:pt idx="957">
                  <c:v>0</c:v>
                </c:pt>
                <c:pt idx="958">
                  <c:v>2</c:v>
                </c:pt>
                <c:pt idx="959">
                  <c:v>0</c:v>
                </c:pt>
                <c:pt idx="960">
                  <c:v>0</c:v>
                </c:pt>
                <c:pt idx="961">
                  <c:v>0</c:v>
                </c:pt>
                <c:pt idx="962">
                  <c:v>0</c:v>
                </c:pt>
                <c:pt idx="963">
                  <c:v>0</c:v>
                </c:pt>
                <c:pt idx="964">
                  <c:v>1</c:v>
                </c:pt>
                <c:pt idx="965">
                  <c:v>0</c:v>
                </c:pt>
                <c:pt idx="966">
                  <c:v>10</c:v>
                </c:pt>
                <c:pt idx="967">
                  <c:v>5</c:v>
                </c:pt>
                <c:pt idx="968">
                  <c:v>1</c:v>
                </c:pt>
                <c:pt idx="969">
                  <c:v>0</c:v>
                </c:pt>
                <c:pt idx="970">
                  <c:v>4</c:v>
                </c:pt>
                <c:pt idx="971">
                  <c:v>3</c:v>
                </c:pt>
                <c:pt idx="972">
                  <c:v>0</c:v>
                </c:pt>
                <c:pt idx="973">
                  <c:v>1</c:v>
                </c:pt>
                <c:pt idx="974">
                  <c:v>1</c:v>
                </c:pt>
                <c:pt idx="975">
                  <c:v>3</c:v>
                </c:pt>
                <c:pt idx="976">
                  <c:v>0</c:v>
                </c:pt>
                <c:pt idx="977">
                  <c:v>2</c:v>
                </c:pt>
                <c:pt idx="978">
                  <c:v>0</c:v>
                </c:pt>
                <c:pt idx="979">
                  <c:v>0</c:v>
                </c:pt>
                <c:pt idx="980">
                  <c:v>0</c:v>
                </c:pt>
                <c:pt idx="981">
                  <c:v>0</c:v>
                </c:pt>
                <c:pt idx="982">
                  <c:v>0</c:v>
                </c:pt>
                <c:pt idx="983">
                  <c:v>0</c:v>
                </c:pt>
                <c:pt idx="984">
                  <c:v>2</c:v>
                </c:pt>
                <c:pt idx="985">
                  <c:v>0</c:v>
                </c:pt>
                <c:pt idx="986">
                  <c:v>0</c:v>
                </c:pt>
                <c:pt idx="987">
                  <c:v>0</c:v>
                </c:pt>
                <c:pt idx="988">
                  <c:v>4</c:v>
                </c:pt>
                <c:pt idx="989">
                  <c:v>0</c:v>
                </c:pt>
                <c:pt idx="990">
                  <c:v>15</c:v>
                </c:pt>
                <c:pt idx="991">
                  <c:v>0</c:v>
                </c:pt>
                <c:pt idx="992">
                  <c:v>0</c:v>
                </c:pt>
                <c:pt idx="993">
                  <c:v>1</c:v>
                </c:pt>
                <c:pt idx="994">
                  <c:v>0</c:v>
                </c:pt>
                <c:pt idx="995">
                  <c:v>17</c:v>
                </c:pt>
                <c:pt idx="996">
                  <c:v>0</c:v>
                </c:pt>
                <c:pt idx="997">
                  <c:v>4</c:v>
                </c:pt>
                <c:pt idx="998">
                  <c:v>8</c:v>
                </c:pt>
                <c:pt idx="999">
                  <c:v>3</c:v>
                </c:pt>
                <c:pt idx="1000">
                  <c:v>0</c:v>
                </c:pt>
                <c:pt idx="1001">
                  <c:v>6</c:v>
                </c:pt>
                <c:pt idx="1002">
                  <c:v>1</c:v>
                </c:pt>
                <c:pt idx="1003">
                  <c:v>1</c:v>
                </c:pt>
                <c:pt idx="1004">
                  <c:v>0</c:v>
                </c:pt>
                <c:pt idx="1005">
                  <c:v>3</c:v>
                </c:pt>
                <c:pt idx="1006">
                  <c:v>0</c:v>
                </c:pt>
                <c:pt idx="1007">
                  <c:v>0</c:v>
                </c:pt>
                <c:pt idx="1008">
                  <c:v>0</c:v>
                </c:pt>
                <c:pt idx="1009">
                  <c:v>1</c:v>
                </c:pt>
                <c:pt idx="1010">
                  <c:v>1</c:v>
                </c:pt>
                <c:pt idx="1011">
                  <c:v>2</c:v>
                </c:pt>
                <c:pt idx="1012">
                  <c:v>0</c:v>
                </c:pt>
                <c:pt idx="1013">
                  <c:v>2</c:v>
                </c:pt>
                <c:pt idx="1014">
                  <c:v>1</c:v>
                </c:pt>
                <c:pt idx="1015">
                  <c:v>0</c:v>
                </c:pt>
                <c:pt idx="1016">
                  <c:v>0</c:v>
                </c:pt>
                <c:pt idx="1017">
                  <c:v>3</c:v>
                </c:pt>
                <c:pt idx="1018">
                  <c:v>0</c:v>
                </c:pt>
                <c:pt idx="1019">
                  <c:v>5</c:v>
                </c:pt>
                <c:pt idx="1020">
                  <c:v>1</c:v>
                </c:pt>
                <c:pt idx="1021">
                  <c:v>0</c:v>
                </c:pt>
                <c:pt idx="1022">
                  <c:v>1</c:v>
                </c:pt>
                <c:pt idx="1023">
                  <c:v>3</c:v>
                </c:pt>
                <c:pt idx="1024">
                  <c:v>0</c:v>
                </c:pt>
                <c:pt idx="1025">
                  <c:v>4</c:v>
                </c:pt>
                <c:pt idx="1026">
                  <c:v>0</c:v>
                </c:pt>
                <c:pt idx="1027">
                  <c:v>0</c:v>
                </c:pt>
                <c:pt idx="1028">
                  <c:v>2</c:v>
                </c:pt>
                <c:pt idx="1029">
                  <c:v>4</c:v>
                </c:pt>
                <c:pt idx="1030">
                  <c:v>0</c:v>
                </c:pt>
                <c:pt idx="1031">
                  <c:v>1</c:v>
                </c:pt>
                <c:pt idx="1032">
                  <c:v>2</c:v>
                </c:pt>
                <c:pt idx="1033">
                  <c:v>1</c:v>
                </c:pt>
                <c:pt idx="1034">
                  <c:v>1</c:v>
                </c:pt>
                <c:pt idx="1035">
                  <c:v>11</c:v>
                </c:pt>
                <c:pt idx="1036">
                  <c:v>4</c:v>
                </c:pt>
                <c:pt idx="1037">
                  <c:v>1</c:v>
                </c:pt>
                <c:pt idx="1038">
                  <c:v>2</c:v>
                </c:pt>
                <c:pt idx="1039">
                  <c:v>1</c:v>
                </c:pt>
                <c:pt idx="1040">
                  <c:v>9</c:v>
                </c:pt>
                <c:pt idx="1041">
                  <c:v>0</c:v>
                </c:pt>
                <c:pt idx="1042">
                  <c:v>0</c:v>
                </c:pt>
                <c:pt idx="1043">
                  <c:v>6</c:v>
                </c:pt>
                <c:pt idx="1044">
                  <c:v>1</c:v>
                </c:pt>
                <c:pt idx="1045">
                  <c:v>7</c:v>
                </c:pt>
                <c:pt idx="1046">
                  <c:v>0</c:v>
                </c:pt>
                <c:pt idx="1047">
                  <c:v>3</c:v>
                </c:pt>
                <c:pt idx="1048">
                  <c:v>1</c:v>
                </c:pt>
                <c:pt idx="1049">
                  <c:v>2</c:v>
                </c:pt>
                <c:pt idx="1050">
                  <c:v>1</c:v>
                </c:pt>
                <c:pt idx="1051">
                  <c:v>2</c:v>
                </c:pt>
                <c:pt idx="1052">
                  <c:v>1</c:v>
                </c:pt>
                <c:pt idx="1053">
                  <c:v>4</c:v>
                </c:pt>
                <c:pt idx="1054">
                  <c:v>0</c:v>
                </c:pt>
                <c:pt idx="1055">
                  <c:v>5</c:v>
                </c:pt>
                <c:pt idx="1056">
                  <c:v>2</c:v>
                </c:pt>
                <c:pt idx="1057">
                  <c:v>0</c:v>
                </c:pt>
                <c:pt idx="1058">
                  <c:v>0</c:v>
                </c:pt>
                <c:pt idx="1059">
                  <c:v>4</c:v>
                </c:pt>
                <c:pt idx="1060">
                  <c:v>2</c:v>
                </c:pt>
                <c:pt idx="1061">
                  <c:v>0</c:v>
                </c:pt>
                <c:pt idx="1062">
                  <c:v>0</c:v>
                </c:pt>
                <c:pt idx="1063">
                  <c:v>0</c:v>
                </c:pt>
                <c:pt idx="1064">
                  <c:v>2</c:v>
                </c:pt>
                <c:pt idx="1065">
                  <c:v>0</c:v>
                </c:pt>
                <c:pt idx="1066">
                  <c:v>7</c:v>
                </c:pt>
                <c:pt idx="1067">
                  <c:v>7</c:v>
                </c:pt>
                <c:pt idx="1068">
                  <c:v>9</c:v>
                </c:pt>
                <c:pt idx="1069">
                  <c:v>1</c:v>
                </c:pt>
                <c:pt idx="1070">
                  <c:v>3</c:v>
                </c:pt>
                <c:pt idx="1071">
                  <c:v>0</c:v>
                </c:pt>
                <c:pt idx="1072">
                  <c:v>0</c:v>
                </c:pt>
                <c:pt idx="1073">
                  <c:v>5</c:v>
                </c:pt>
                <c:pt idx="1074">
                  <c:v>0</c:v>
                </c:pt>
                <c:pt idx="1075">
                  <c:v>3</c:v>
                </c:pt>
                <c:pt idx="1076">
                  <c:v>1</c:v>
                </c:pt>
                <c:pt idx="1077">
                  <c:v>0</c:v>
                </c:pt>
                <c:pt idx="1078">
                  <c:v>0</c:v>
                </c:pt>
                <c:pt idx="1079">
                  <c:v>1</c:v>
                </c:pt>
                <c:pt idx="1080">
                  <c:v>0</c:v>
                </c:pt>
                <c:pt idx="1081">
                  <c:v>4</c:v>
                </c:pt>
                <c:pt idx="1082">
                  <c:v>26</c:v>
                </c:pt>
                <c:pt idx="1083">
                  <c:v>0</c:v>
                </c:pt>
                <c:pt idx="1084">
                  <c:v>2</c:v>
                </c:pt>
                <c:pt idx="1085">
                  <c:v>0</c:v>
                </c:pt>
                <c:pt idx="1086">
                  <c:v>6</c:v>
                </c:pt>
                <c:pt idx="1087">
                  <c:v>3</c:v>
                </c:pt>
                <c:pt idx="1088">
                  <c:v>0</c:v>
                </c:pt>
                <c:pt idx="1089">
                  <c:v>0</c:v>
                </c:pt>
                <c:pt idx="1090">
                  <c:v>1</c:v>
                </c:pt>
                <c:pt idx="1091">
                  <c:v>0</c:v>
                </c:pt>
                <c:pt idx="1092">
                  <c:v>2</c:v>
                </c:pt>
                <c:pt idx="1093">
                  <c:v>1</c:v>
                </c:pt>
                <c:pt idx="1094">
                  <c:v>4</c:v>
                </c:pt>
                <c:pt idx="1095">
                  <c:v>0</c:v>
                </c:pt>
                <c:pt idx="1096">
                  <c:v>0</c:v>
                </c:pt>
                <c:pt idx="1097">
                  <c:v>1</c:v>
                </c:pt>
                <c:pt idx="1098">
                  <c:v>1</c:v>
                </c:pt>
                <c:pt idx="1099">
                  <c:v>4</c:v>
                </c:pt>
                <c:pt idx="1100">
                  <c:v>0</c:v>
                </c:pt>
                <c:pt idx="1101">
                  <c:v>0</c:v>
                </c:pt>
                <c:pt idx="1102">
                  <c:v>0</c:v>
                </c:pt>
                <c:pt idx="1103">
                  <c:v>2</c:v>
                </c:pt>
                <c:pt idx="1104">
                  <c:v>2</c:v>
                </c:pt>
                <c:pt idx="1105">
                  <c:v>0</c:v>
                </c:pt>
                <c:pt idx="1106">
                  <c:v>1</c:v>
                </c:pt>
                <c:pt idx="1107">
                  <c:v>0</c:v>
                </c:pt>
                <c:pt idx="1108">
                  <c:v>0</c:v>
                </c:pt>
                <c:pt idx="1109">
                  <c:v>22</c:v>
                </c:pt>
                <c:pt idx="1110">
                  <c:v>0</c:v>
                </c:pt>
                <c:pt idx="1111">
                  <c:v>1</c:v>
                </c:pt>
                <c:pt idx="1112">
                  <c:v>0</c:v>
                </c:pt>
                <c:pt idx="1113">
                  <c:v>0</c:v>
                </c:pt>
                <c:pt idx="1114">
                  <c:v>0</c:v>
                </c:pt>
                <c:pt idx="1115">
                  <c:v>0</c:v>
                </c:pt>
                <c:pt idx="1116">
                  <c:v>0</c:v>
                </c:pt>
                <c:pt idx="1117">
                  <c:v>2</c:v>
                </c:pt>
                <c:pt idx="1118">
                  <c:v>2</c:v>
                </c:pt>
                <c:pt idx="1119">
                  <c:v>0</c:v>
                </c:pt>
                <c:pt idx="1120">
                  <c:v>0</c:v>
                </c:pt>
                <c:pt idx="1121">
                  <c:v>1</c:v>
                </c:pt>
                <c:pt idx="1122">
                  <c:v>0</c:v>
                </c:pt>
                <c:pt idx="1123">
                  <c:v>0</c:v>
                </c:pt>
                <c:pt idx="1124">
                  <c:v>0</c:v>
                </c:pt>
                <c:pt idx="1125">
                  <c:v>1</c:v>
                </c:pt>
                <c:pt idx="1126">
                  <c:v>0</c:v>
                </c:pt>
                <c:pt idx="1127">
                  <c:v>7</c:v>
                </c:pt>
                <c:pt idx="1128">
                  <c:v>1</c:v>
                </c:pt>
                <c:pt idx="1129">
                  <c:v>1</c:v>
                </c:pt>
                <c:pt idx="1130">
                  <c:v>3</c:v>
                </c:pt>
                <c:pt idx="1131">
                  <c:v>1</c:v>
                </c:pt>
                <c:pt idx="1132">
                  <c:v>7</c:v>
                </c:pt>
                <c:pt idx="1133">
                  <c:v>46</c:v>
                </c:pt>
                <c:pt idx="1134">
                  <c:v>0</c:v>
                </c:pt>
                <c:pt idx="1135">
                  <c:v>0</c:v>
                </c:pt>
                <c:pt idx="1136">
                  <c:v>8</c:v>
                </c:pt>
                <c:pt idx="1137">
                  <c:v>0</c:v>
                </c:pt>
                <c:pt idx="1138">
                  <c:v>3</c:v>
                </c:pt>
                <c:pt idx="1139">
                  <c:v>0</c:v>
                </c:pt>
                <c:pt idx="1140">
                  <c:v>1</c:v>
                </c:pt>
                <c:pt idx="1141">
                  <c:v>2</c:v>
                </c:pt>
                <c:pt idx="1142">
                  <c:v>0</c:v>
                </c:pt>
                <c:pt idx="1143">
                  <c:v>1</c:v>
                </c:pt>
                <c:pt idx="1144">
                  <c:v>5</c:v>
                </c:pt>
                <c:pt idx="1145">
                  <c:v>1</c:v>
                </c:pt>
                <c:pt idx="1146">
                  <c:v>0</c:v>
                </c:pt>
                <c:pt idx="1147">
                  <c:v>1</c:v>
                </c:pt>
                <c:pt idx="1148">
                  <c:v>0</c:v>
                </c:pt>
                <c:pt idx="1149">
                  <c:v>6</c:v>
                </c:pt>
                <c:pt idx="1150">
                  <c:v>4</c:v>
                </c:pt>
                <c:pt idx="1151">
                  <c:v>4</c:v>
                </c:pt>
                <c:pt idx="1152">
                  <c:v>1</c:v>
                </c:pt>
                <c:pt idx="1153">
                  <c:v>0</c:v>
                </c:pt>
                <c:pt idx="1154">
                  <c:v>7</c:v>
                </c:pt>
                <c:pt idx="1155">
                  <c:v>3</c:v>
                </c:pt>
                <c:pt idx="1156">
                  <c:v>0</c:v>
                </c:pt>
                <c:pt idx="1157">
                  <c:v>3</c:v>
                </c:pt>
                <c:pt idx="1158">
                  <c:v>0</c:v>
                </c:pt>
                <c:pt idx="1159">
                  <c:v>0</c:v>
                </c:pt>
                <c:pt idx="1160">
                  <c:v>0</c:v>
                </c:pt>
                <c:pt idx="1161">
                  <c:v>0</c:v>
                </c:pt>
                <c:pt idx="1162">
                  <c:v>0</c:v>
                </c:pt>
                <c:pt idx="1163">
                  <c:v>0</c:v>
                </c:pt>
                <c:pt idx="1164">
                  <c:v>1</c:v>
                </c:pt>
                <c:pt idx="1165">
                  <c:v>2</c:v>
                </c:pt>
                <c:pt idx="1166">
                  <c:v>1</c:v>
                </c:pt>
                <c:pt idx="1167">
                  <c:v>0</c:v>
                </c:pt>
                <c:pt idx="1168">
                  <c:v>1</c:v>
                </c:pt>
                <c:pt idx="1169">
                  <c:v>0</c:v>
                </c:pt>
                <c:pt idx="1170">
                  <c:v>3</c:v>
                </c:pt>
                <c:pt idx="1171">
                  <c:v>0</c:v>
                </c:pt>
                <c:pt idx="1172">
                  <c:v>6</c:v>
                </c:pt>
                <c:pt idx="1173">
                  <c:v>0</c:v>
                </c:pt>
                <c:pt idx="1174">
                  <c:v>0</c:v>
                </c:pt>
                <c:pt idx="1175">
                  <c:v>0</c:v>
                </c:pt>
                <c:pt idx="1176">
                  <c:v>0</c:v>
                </c:pt>
                <c:pt idx="1177">
                  <c:v>0</c:v>
                </c:pt>
                <c:pt idx="1178">
                  <c:v>4</c:v>
                </c:pt>
                <c:pt idx="1179">
                  <c:v>1</c:v>
                </c:pt>
                <c:pt idx="1180">
                  <c:v>1</c:v>
                </c:pt>
                <c:pt idx="1181">
                  <c:v>9</c:v>
                </c:pt>
                <c:pt idx="1182">
                  <c:v>0</c:v>
                </c:pt>
                <c:pt idx="1183">
                  <c:v>0</c:v>
                </c:pt>
                <c:pt idx="1184">
                  <c:v>2</c:v>
                </c:pt>
                <c:pt idx="1185">
                  <c:v>0</c:v>
                </c:pt>
                <c:pt idx="1186">
                  <c:v>8</c:v>
                </c:pt>
                <c:pt idx="1187">
                  <c:v>0</c:v>
                </c:pt>
                <c:pt idx="1188">
                  <c:v>0</c:v>
                </c:pt>
                <c:pt idx="1189">
                  <c:v>1</c:v>
                </c:pt>
                <c:pt idx="1190">
                  <c:v>0</c:v>
                </c:pt>
                <c:pt idx="1191">
                  <c:v>0</c:v>
                </c:pt>
                <c:pt idx="1192">
                  <c:v>0</c:v>
                </c:pt>
                <c:pt idx="1193">
                  <c:v>3</c:v>
                </c:pt>
                <c:pt idx="1194">
                  <c:v>0</c:v>
                </c:pt>
                <c:pt idx="1195">
                  <c:v>0</c:v>
                </c:pt>
                <c:pt idx="1196">
                  <c:v>0</c:v>
                </c:pt>
                <c:pt idx="1197">
                  <c:v>0</c:v>
                </c:pt>
                <c:pt idx="1198">
                  <c:v>0</c:v>
                </c:pt>
                <c:pt idx="1199">
                  <c:v>4</c:v>
                </c:pt>
                <c:pt idx="1200">
                  <c:v>0</c:v>
                </c:pt>
                <c:pt idx="1201">
                  <c:v>1</c:v>
                </c:pt>
                <c:pt idx="1202">
                  <c:v>2</c:v>
                </c:pt>
                <c:pt idx="1203">
                  <c:v>8</c:v>
                </c:pt>
                <c:pt idx="1204">
                  <c:v>3</c:v>
                </c:pt>
                <c:pt idx="1205">
                  <c:v>3</c:v>
                </c:pt>
                <c:pt idx="1206">
                  <c:v>0</c:v>
                </c:pt>
                <c:pt idx="1207">
                  <c:v>3</c:v>
                </c:pt>
                <c:pt idx="1208">
                  <c:v>1</c:v>
                </c:pt>
                <c:pt idx="1209">
                  <c:v>0</c:v>
                </c:pt>
                <c:pt idx="1210">
                  <c:v>2</c:v>
                </c:pt>
                <c:pt idx="1211">
                  <c:v>0</c:v>
                </c:pt>
                <c:pt idx="1212">
                  <c:v>0</c:v>
                </c:pt>
                <c:pt idx="1213">
                  <c:v>0</c:v>
                </c:pt>
                <c:pt idx="1214">
                  <c:v>4</c:v>
                </c:pt>
                <c:pt idx="1215">
                  <c:v>0</c:v>
                </c:pt>
                <c:pt idx="1216">
                  <c:v>6</c:v>
                </c:pt>
                <c:pt idx="1217">
                  <c:v>0</c:v>
                </c:pt>
                <c:pt idx="1218">
                  <c:v>0</c:v>
                </c:pt>
                <c:pt idx="1219">
                  <c:v>6</c:v>
                </c:pt>
                <c:pt idx="1220">
                  <c:v>0</c:v>
                </c:pt>
                <c:pt idx="1221">
                  <c:v>2</c:v>
                </c:pt>
                <c:pt idx="1222">
                  <c:v>2</c:v>
                </c:pt>
                <c:pt idx="1223">
                  <c:v>5</c:v>
                </c:pt>
                <c:pt idx="1224">
                  <c:v>1</c:v>
                </c:pt>
                <c:pt idx="1225">
                  <c:v>2</c:v>
                </c:pt>
                <c:pt idx="1226">
                  <c:v>5</c:v>
                </c:pt>
                <c:pt idx="1227">
                  <c:v>0</c:v>
                </c:pt>
                <c:pt idx="1228">
                  <c:v>0</c:v>
                </c:pt>
                <c:pt idx="1229">
                  <c:v>0</c:v>
                </c:pt>
                <c:pt idx="1230">
                  <c:v>0</c:v>
                </c:pt>
                <c:pt idx="1231">
                  <c:v>2</c:v>
                </c:pt>
                <c:pt idx="1232">
                  <c:v>0</c:v>
                </c:pt>
                <c:pt idx="1233">
                  <c:v>4</c:v>
                </c:pt>
                <c:pt idx="1234">
                  <c:v>0</c:v>
                </c:pt>
                <c:pt idx="1235">
                  <c:v>2</c:v>
                </c:pt>
                <c:pt idx="1236">
                  <c:v>3</c:v>
                </c:pt>
                <c:pt idx="1237">
                  <c:v>1</c:v>
                </c:pt>
                <c:pt idx="1238">
                  <c:v>0</c:v>
                </c:pt>
                <c:pt idx="1239">
                  <c:v>1</c:v>
                </c:pt>
                <c:pt idx="1240">
                  <c:v>2</c:v>
                </c:pt>
                <c:pt idx="1241">
                  <c:v>1</c:v>
                </c:pt>
                <c:pt idx="1242">
                  <c:v>1</c:v>
                </c:pt>
                <c:pt idx="1243">
                  <c:v>2</c:v>
                </c:pt>
                <c:pt idx="1244">
                  <c:v>2</c:v>
                </c:pt>
                <c:pt idx="1245">
                  <c:v>0</c:v>
                </c:pt>
                <c:pt idx="1246">
                  <c:v>0</c:v>
                </c:pt>
                <c:pt idx="1247">
                  <c:v>1</c:v>
                </c:pt>
                <c:pt idx="1248">
                  <c:v>0</c:v>
                </c:pt>
                <c:pt idx="1249">
                  <c:v>3</c:v>
                </c:pt>
                <c:pt idx="1250">
                  <c:v>0</c:v>
                </c:pt>
                <c:pt idx="1251">
                  <c:v>0</c:v>
                </c:pt>
                <c:pt idx="1252">
                  <c:v>0</c:v>
                </c:pt>
                <c:pt idx="1253">
                  <c:v>1</c:v>
                </c:pt>
                <c:pt idx="1254">
                  <c:v>1</c:v>
                </c:pt>
                <c:pt idx="1255">
                  <c:v>0</c:v>
                </c:pt>
                <c:pt idx="1256">
                  <c:v>0</c:v>
                </c:pt>
                <c:pt idx="1257">
                  <c:v>0</c:v>
                </c:pt>
                <c:pt idx="1258">
                  <c:v>7</c:v>
                </c:pt>
                <c:pt idx="1259">
                  <c:v>3</c:v>
                </c:pt>
                <c:pt idx="1260">
                  <c:v>0</c:v>
                </c:pt>
                <c:pt idx="1261">
                  <c:v>0</c:v>
                </c:pt>
                <c:pt idx="1262">
                  <c:v>0</c:v>
                </c:pt>
                <c:pt idx="1263">
                  <c:v>0</c:v>
                </c:pt>
                <c:pt idx="1264">
                  <c:v>1</c:v>
                </c:pt>
                <c:pt idx="1265">
                  <c:v>0</c:v>
                </c:pt>
                <c:pt idx="1266">
                  <c:v>2</c:v>
                </c:pt>
                <c:pt idx="1267">
                  <c:v>5</c:v>
                </c:pt>
                <c:pt idx="1268">
                  <c:v>0</c:v>
                </c:pt>
                <c:pt idx="1269">
                  <c:v>0</c:v>
                </c:pt>
                <c:pt idx="1270">
                  <c:v>1</c:v>
                </c:pt>
                <c:pt idx="1271">
                  <c:v>0</c:v>
                </c:pt>
                <c:pt idx="1272">
                  <c:v>2</c:v>
                </c:pt>
                <c:pt idx="1273">
                  <c:v>0</c:v>
                </c:pt>
                <c:pt idx="1274">
                  <c:v>1</c:v>
                </c:pt>
                <c:pt idx="1275">
                  <c:v>2</c:v>
                </c:pt>
                <c:pt idx="1276">
                  <c:v>0</c:v>
                </c:pt>
                <c:pt idx="1277">
                  <c:v>2</c:v>
                </c:pt>
                <c:pt idx="1278">
                  <c:v>0</c:v>
                </c:pt>
                <c:pt idx="1279">
                  <c:v>2</c:v>
                </c:pt>
                <c:pt idx="1280">
                  <c:v>3</c:v>
                </c:pt>
                <c:pt idx="1281">
                  <c:v>0</c:v>
                </c:pt>
                <c:pt idx="1282">
                  <c:v>15</c:v>
                </c:pt>
                <c:pt idx="1283">
                  <c:v>0</c:v>
                </c:pt>
                <c:pt idx="1284">
                  <c:v>0</c:v>
                </c:pt>
                <c:pt idx="1285">
                  <c:v>5</c:v>
                </c:pt>
                <c:pt idx="1286">
                  <c:v>3</c:v>
                </c:pt>
                <c:pt idx="1287">
                  <c:v>15</c:v>
                </c:pt>
                <c:pt idx="1288">
                  <c:v>1</c:v>
                </c:pt>
                <c:pt idx="1289">
                  <c:v>0</c:v>
                </c:pt>
                <c:pt idx="1290">
                  <c:v>3</c:v>
                </c:pt>
                <c:pt idx="1291">
                  <c:v>6</c:v>
                </c:pt>
                <c:pt idx="1292">
                  <c:v>1</c:v>
                </c:pt>
                <c:pt idx="1293">
                  <c:v>3</c:v>
                </c:pt>
                <c:pt idx="1294">
                  <c:v>4</c:v>
                </c:pt>
                <c:pt idx="1295">
                  <c:v>0</c:v>
                </c:pt>
                <c:pt idx="1296">
                  <c:v>0</c:v>
                </c:pt>
                <c:pt idx="1297">
                  <c:v>0</c:v>
                </c:pt>
                <c:pt idx="1298">
                  <c:v>0</c:v>
                </c:pt>
                <c:pt idx="1299">
                  <c:v>0</c:v>
                </c:pt>
                <c:pt idx="1300">
                  <c:v>0</c:v>
                </c:pt>
                <c:pt idx="1301">
                  <c:v>9</c:v>
                </c:pt>
                <c:pt idx="1302">
                  <c:v>3</c:v>
                </c:pt>
                <c:pt idx="1303">
                  <c:v>1</c:v>
                </c:pt>
                <c:pt idx="1304">
                  <c:v>8</c:v>
                </c:pt>
                <c:pt idx="1305">
                  <c:v>1</c:v>
                </c:pt>
                <c:pt idx="1306">
                  <c:v>0</c:v>
                </c:pt>
                <c:pt idx="1307">
                  <c:v>0</c:v>
                </c:pt>
                <c:pt idx="1308">
                  <c:v>0</c:v>
                </c:pt>
                <c:pt idx="1309">
                  <c:v>0</c:v>
                </c:pt>
                <c:pt idx="1310">
                  <c:v>2</c:v>
                </c:pt>
                <c:pt idx="1311">
                  <c:v>1</c:v>
                </c:pt>
                <c:pt idx="1312">
                  <c:v>11</c:v>
                </c:pt>
                <c:pt idx="1313">
                  <c:v>0</c:v>
                </c:pt>
                <c:pt idx="1314">
                  <c:v>3</c:v>
                </c:pt>
                <c:pt idx="1315">
                  <c:v>0</c:v>
                </c:pt>
                <c:pt idx="1316">
                  <c:v>0</c:v>
                </c:pt>
                <c:pt idx="1317">
                  <c:v>8</c:v>
                </c:pt>
                <c:pt idx="1318">
                  <c:v>0</c:v>
                </c:pt>
                <c:pt idx="1319">
                  <c:v>0</c:v>
                </c:pt>
                <c:pt idx="1320">
                  <c:v>0</c:v>
                </c:pt>
                <c:pt idx="1321">
                  <c:v>0</c:v>
                </c:pt>
                <c:pt idx="1322">
                  <c:v>6</c:v>
                </c:pt>
                <c:pt idx="1323">
                  <c:v>0</c:v>
                </c:pt>
                <c:pt idx="1324">
                  <c:v>0</c:v>
                </c:pt>
                <c:pt idx="1325">
                  <c:v>0</c:v>
                </c:pt>
                <c:pt idx="1326">
                  <c:v>0</c:v>
                </c:pt>
                <c:pt idx="1327">
                  <c:v>1</c:v>
                </c:pt>
                <c:pt idx="1328">
                  <c:v>2</c:v>
                </c:pt>
                <c:pt idx="1329">
                  <c:v>0</c:v>
                </c:pt>
                <c:pt idx="1330">
                  <c:v>1</c:v>
                </c:pt>
                <c:pt idx="1331">
                  <c:v>0</c:v>
                </c:pt>
                <c:pt idx="1332">
                  <c:v>0</c:v>
                </c:pt>
                <c:pt idx="1333">
                  <c:v>0</c:v>
                </c:pt>
                <c:pt idx="1334">
                  <c:v>1</c:v>
                </c:pt>
                <c:pt idx="1335">
                  <c:v>9</c:v>
                </c:pt>
                <c:pt idx="1336">
                  <c:v>2</c:v>
                </c:pt>
                <c:pt idx="1337">
                  <c:v>1</c:v>
                </c:pt>
                <c:pt idx="1338">
                  <c:v>0</c:v>
                </c:pt>
                <c:pt idx="1339">
                  <c:v>1</c:v>
                </c:pt>
                <c:pt idx="1340">
                  <c:v>1</c:v>
                </c:pt>
                <c:pt idx="1341">
                  <c:v>5</c:v>
                </c:pt>
                <c:pt idx="1342">
                  <c:v>0</c:v>
                </c:pt>
                <c:pt idx="1343">
                  <c:v>0</c:v>
                </c:pt>
                <c:pt idx="1344">
                  <c:v>0</c:v>
                </c:pt>
                <c:pt idx="1345">
                  <c:v>1</c:v>
                </c:pt>
                <c:pt idx="1346">
                  <c:v>0</c:v>
                </c:pt>
                <c:pt idx="1347">
                  <c:v>1</c:v>
                </c:pt>
                <c:pt idx="1348">
                  <c:v>1</c:v>
                </c:pt>
                <c:pt idx="1349">
                  <c:v>3</c:v>
                </c:pt>
                <c:pt idx="1350">
                  <c:v>0</c:v>
                </c:pt>
                <c:pt idx="1351">
                  <c:v>1</c:v>
                </c:pt>
                <c:pt idx="1352">
                  <c:v>3</c:v>
                </c:pt>
                <c:pt idx="1353">
                  <c:v>0</c:v>
                </c:pt>
                <c:pt idx="1354">
                  <c:v>1</c:v>
                </c:pt>
                <c:pt idx="1355">
                  <c:v>0</c:v>
                </c:pt>
                <c:pt idx="1356">
                  <c:v>10</c:v>
                </c:pt>
                <c:pt idx="1357">
                  <c:v>0</c:v>
                </c:pt>
                <c:pt idx="1358">
                  <c:v>1</c:v>
                </c:pt>
                <c:pt idx="1359">
                  <c:v>0</c:v>
                </c:pt>
                <c:pt idx="1360">
                  <c:v>2</c:v>
                </c:pt>
                <c:pt idx="1361">
                  <c:v>1</c:v>
                </c:pt>
                <c:pt idx="1362">
                  <c:v>1</c:v>
                </c:pt>
                <c:pt idx="1363">
                  <c:v>0</c:v>
                </c:pt>
                <c:pt idx="1364">
                  <c:v>0</c:v>
                </c:pt>
                <c:pt idx="1365">
                  <c:v>4</c:v>
                </c:pt>
                <c:pt idx="1366">
                  <c:v>1</c:v>
                </c:pt>
                <c:pt idx="1367">
                  <c:v>2</c:v>
                </c:pt>
                <c:pt idx="1368">
                  <c:v>3</c:v>
                </c:pt>
                <c:pt idx="1369">
                  <c:v>0</c:v>
                </c:pt>
                <c:pt idx="1370">
                  <c:v>0</c:v>
                </c:pt>
                <c:pt idx="1371">
                  <c:v>16</c:v>
                </c:pt>
                <c:pt idx="1372">
                  <c:v>0</c:v>
                </c:pt>
                <c:pt idx="1373">
                  <c:v>0</c:v>
                </c:pt>
                <c:pt idx="1374">
                  <c:v>2</c:v>
                </c:pt>
                <c:pt idx="1375">
                  <c:v>0</c:v>
                </c:pt>
                <c:pt idx="1376">
                  <c:v>2</c:v>
                </c:pt>
                <c:pt idx="1377">
                  <c:v>0</c:v>
                </c:pt>
                <c:pt idx="1378">
                  <c:v>1</c:v>
                </c:pt>
                <c:pt idx="1379">
                  <c:v>0</c:v>
                </c:pt>
                <c:pt idx="1380">
                  <c:v>0</c:v>
                </c:pt>
                <c:pt idx="1381">
                  <c:v>0</c:v>
                </c:pt>
                <c:pt idx="1382">
                  <c:v>0</c:v>
                </c:pt>
                <c:pt idx="1383">
                  <c:v>3</c:v>
                </c:pt>
                <c:pt idx="1384">
                  <c:v>2</c:v>
                </c:pt>
                <c:pt idx="1385">
                  <c:v>0</c:v>
                </c:pt>
                <c:pt idx="1386">
                  <c:v>2</c:v>
                </c:pt>
                <c:pt idx="1387">
                  <c:v>4</c:v>
                </c:pt>
                <c:pt idx="1388">
                  <c:v>3</c:v>
                </c:pt>
                <c:pt idx="1389">
                  <c:v>7</c:v>
                </c:pt>
                <c:pt idx="1390">
                  <c:v>2</c:v>
                </c:pt>
                <c:pt idx="1391">
                  <c:v>0</c:v>
                </c:pt>
                <c:pt idx="1392">
                  <c:v>0</c:v>
                </c:pt>
                <c:pt idx="1393">
                  <c:v>4</c:v>
                </c:pt>
                <c:pt idx="1394">
                  <c:v>2</c:v>
                </c:pt>
                <c:pt idx="1395">
                  <c:v>0</c:v>
                </c:pt>
                <c:pt idx="1396">
                  <c:v>0</c:v>
                </c:pt>
                <c:pt idx="1397">
                  <c:v>0</c:v>
                </c:pt>
                <c:pt idx="1398">
                  <c:v>3</c:v>
                </c:pt>
                <c:pt idx="1399">
                  <c:v>1</c:v>
                </c:pt>
                <c:pt idx="1400">
                  <c:v>0</c:v>
                </c:pt>
                <c:pt idx="1401">
                  <c:v>4</c:v>
                </c:pt>
                <c:pt idx="1402">
                  <c:v>2</c:v>
                </c:pt>
                <c:pt idx="1403">
                  <c:v>0</c:v>
                </c:pt>
                <c:pt idx="1404">
                  <c:v>0</c:v>
                </c:pt>
                <c:pt idx="1405">
                  <c:v>2</c:v>
                </c:pt>
                <c:pt idx="1406">
                  <c:v>0</c:v>
                </c:pt>
                <c:pt idx="1407">
                  <c:v>0</c:v>
                </c:pt>
                <c:pt idx="1408">
                  <c:v>1</c:v>
                </c:pt>
                <c:pt idx="1409">
                  <c:v>0</c:v>
                </c:pt>
                <c:pt idx="1410">
                  <c:v>1</c:v>
                </c:pt>
                <c:pt idx="1411">
                  <c:v>0</c:v>
                </c:pt>
                <c:pt idx="1412">
                  <c:v>0</c:v>
                </c:pt>
                <c:pt idx="1413">
                  <c:v>0</c:v>
                </c:pt>
                <c:pt idx="1414">
                  <c:v>0</c:v>
                </c:pt>
                <c:pt idx="1415">
                  <c:v>0</c:v>
                </c:pt>
                <c:pt idx="1416">
                  <c:v>13</c:v>
                </c:pt>
                <c:pt idx="1417">
                  <c:v>0</c:v>
                </c:pt>
                <c:pt idx="1418">
                  <c:v>1</c:v>
                </c:pt>
                <c:pt idx="1419">
                  <c:v>0</c:v>
                </c:pt>
                <c:pt idx="1420">
                  <c:v>0</c:v>
                </c:pt>
                <c:pt idx="1421">
                  <c:v>0</c:v>
                </c:pt>
                <c:pt idx="1422">
                  <c:v>0</c:v>
                </c:pt>
                <c:pt idx="1423">
                  <c:v>0</c:v>
                </c:pt>
                <c:pt idx="1424">
                  <c:v>0</c:v>
                </c:pt>
                <c:pt idx="1425">
                  <c:v>0</c:v>
                </c:pt>
                <c:pt idx="1426">
                  <c:v>0</c:v>
                </c:pt>
                <c:pt idx="1427">
                  <c:v>0</c:v>
                </c:pt>
                <c:pt idx="1428">
                  <c:v>0</c:v>
                </c:pt>
                <c:pt idx="1429">
                  <c:v>0</c:v>
                </c:pt>
                <c:pt idx="1430">
                  <c:v>1</c:v>
                </c:pt>
                <c:pt idx="1431">
                  <c:v>0</c:v>
                </c:pt>
                <c:pt idx="1432">
                  <c:v>0</c:v>
                </c:pt>
                <c:pt idx="1433">
                  <c:v>1</c:v>
                </c:pt>
                <c:pt idx="1434">
                  <c:v>1</c:v>
                </c:pt>
                <c:pt idx="1435">
                  <c:v>0</c:v>
                </c:pt>
                <c:pt idx="1436">
                  <c:v>0</c:v>
                </c:pt>
                <c:pt idx="1437">
                  <c:v>4</c:v>
                </c:pt>
                <c:pt idx="1438">
                  <c:v>0</c:v>
                </c:pt>
                <c:pt idx="1439">
                  <c:v>2</c:v>
                </c:pt>
                <c:pt idx="1440">
                  <c:v>0</c:v>
                </c:pt>
                <c:pt idx="1441">
                  <c:v>0</c:v>
                </c:pt>
                <c:pt idx="1442">
                  <c:v>0</c:v>
                </c:pt>
                <c:pt idx="1443">
                  <c:v>6</c:v>
                </c:pt>
                <c:pt idx="1444">
                  <c:v>1</c:v>
                </c:pt>
                <c:pt idx="1445">
                  <c:v>3</c:v>
                </c:pt>
                <c:pt idx="1446">
                  <c:v>0</c:v>
                </c:pt>
                <c:pt idx="1447">
                  <c:v>2</c:v>
                </c:pt>
                <c:pt idx="1448">
                  <c:v>0</c:v>
                </c:pt>
                <c:pt idx="1449">
                  <c:v>4</c:v>
                </c:pt>
                <c:pt idx="1450">
                  <c:v>0</c:v>
                </c:pt>
                <c:pt idx="1451">
                  <c:v>1</c:v>
                </c:pt>
                <c:pt idx="1452">
                  <c:v>0</c:v>
                </c:pt>
                <c:pt idx="1453">
                  <c:v>0</c:v>
                </c:pt>
                <c:pt idx="1454">
                  <c:v>0</c:v>
                </c:pt>
                <c:pt idx="1455">
                  <c:v>0</c:v>
                </c:pt>
                <c:pt idx="1456">
                  <c:v>0</c:v>
                </c:pt>
                <c:pt idx="1457">
                  <c:v>0</c:v>
                </c:pt>
                <c:pt idx="1458">
                  <c:v>0</c:v>
                </c:pt>
                <c:pt idx="1459">
                  <c:v>0</c:v>
                </c:pt>
                <c:pt idx="1460">
                  <c:v>2</c:v>
                </c:pt>
                <c:pt idx="1461">
                  <c:v>1</c:v>
                </c:pt>
                <c:pt idx="1462">
                  <c:v>1</c:v>
                </c:pt>
                <c:pt idx="1463">
                  <c:v>0</c:v>
                </c:pt>
                <c:pt idx="1464">
                  <c:v>1</c:v>
                </c:pt>
                <c:pt idx="1465">
                  <c:v>0</c:v>
                </c:pt>
                <c:pt idx="1466">
                  <c:v>1</c:v>
                </c:pt>
                <c:pt idx="1467">
                  <c:v>0</c:v>
                </c:pt>
                <c:pt idx="1468">
                  <c:v>0</c:v>
                </c:pt>
                <c:pt idx="1469">
                  <c:v>0</c:v>
                </c:pt>
                <c:pt idx="1470">
                  <c:v>1</c:v>
                </c:pt>
                <c:pt idx="1471">
                  <c:v>0</c:v>
                </c:pt>
                <c:pt idx="1472">
                  <c:v>0</c:v>
                </c:pt>
                <c:pt idx="1473">
                  <c:v>0</c:v>
                </c:pt>
                <c:pt idx="1474">
                  <c:v>0</c:v>
                </c:pt>
                <c:pt idx="1475">
                  <c:v>0</c:v>
                </c:pt>
                <c:pt idx="1476">
                  <c:v>0</c:v>
                </c:pt>
                <c:pt idx="1477">
                  <c:v>23</c:v>
                </c:pt>
                <c:pt idx="1478">
                  <c:v>0</c:v>
                </c:pt>
                <c:pt idx="1479">
                  <c:v>2</c:v>
                </c:pt>
                <c:pt idx="1480">
                  <c:v>0</c:v>
                </c:pt>
                <c:pt idx="1481">
                  <c:v>0</c:v>
                </c:pt>
                <c:pt idx="1482">
                  <c:v>0</c:v>
                </c:pt>
                <c:pt idx="1483">
                  <c:v>0</c:v>
                </c:pt>
                <c:pt idx="1484">
                  <c:v>0</c:v>
                </c:pt>
                <c:pt idx="1485">
                  <c:v>0</c:v>
                </c:pt>
                <c:pt idx="1486">
                  <c:v>0</c:v>
                </c:pt>
                <c:pt idx="1487">
                  <c:v>1</c:v>
                </c:pt>
                <c:pt idx="1488">
                  <c:v>0</c:v>
                </c:pt>
                <c:pt idx="1489">
                  <c:v>0</c:v>
                </c:pt>
                <c:pt idx="1490">
                  <c:v>3</c:v>
                </c:pt>
                <c:pt idx="1491">
                  <c:v>0</c:v>
                </c:pt>
                <c:pt idx="1492">
                  <c:v>0</c:v>
                </c:pt>
                <c:pt idx="1493">
                  <c:v>0</c:v>
                </c:pt>
                <c:pt idx="1494">
                  <c:v>0</c:v>
                </c:pt>
                <c:pt idx="1495">
                  <c:v>0</c:v>
                </c:pt>
                <c:pt idx="1496">
                  <c:v>0</c:v>
                </c:pt>
                <c:pt idx="1497">
                  <c:v>2</c:v>
                </c:pt>
                <c:pt idx="1498">
                  <c:v>6</c:v>
                </c:pt>
                <c:pt idx="1499">
                  <c:v>1</c:v>
                </c:pt>
                <c:pt idx="1500">
                  <c:v>1</c:v>
                </c:pt>
                <c:pt idx="1501">
                  <c:v>0</c:v>
                </c:pt>
                <c:pt idx="1502">
                  <c:v>5</c:v>
                </c:pt>
                <c:pt idx="1503">
                  <c:v>0</c:v>
                </c:pt>
                <c:pt idx="1504">
                  <c:v>0</c:v>
                </c:pt>
                <c:pt idx="1505">
                  <c:v>2</c:v>
                </c:pt>
                <c:pt idx="1506">
                  <c:v>0</c:v>
                </c:pt>
                <c:pt idx="1507">
                  <c:v>0</c:v>
                </c:pt>
                <c:pt idx="1508">
                  <c:v>2</c:v>
                </c:pt>
                <c:pt idx="1509">
                  <c:v>0</c:v>
                </c:pt>
                <c:pt idx="1510">
                  <c:v>1</c:v>
                </c:pt>
                <c:pt idx="1511">
                  <c:v>0</c:v>
                </c:pt>
                <c:pt idx="1512">
                  <c:v>1</c:v>
                </c:pt>
                <c:pt idx="1513">
                  <c:v>0</c:v>
                </c:pt>
                <c:pt idx="1514">
                  <c:v>0</c:v>
                </c:pt>
                <c:pt idx="1515">
                  <c:v>4</c:v>
                </c:pt>
                <c:pt idx="1516">
                  <c:v>0</c:v>
                </c:pt>
                <c:pt idx="1517">
                  <c:v>0</c:v>
                </c:pt>
                <c:pt idx="1518">
                  <c:v>0</c:v>
                </c:pt>
                <c:pt idx="1519">
                  <c:v>0</c:v>
                </c:pt>
                <c:pt idx="1520">
                  <c:v>0</c:v>
                </c:pt>
                <c:pt idx="1521">
                  <c:v>0</c:v>
                </c:pt>
                <c:pt idx="1522">
                  <c:v>0</c:v>
                </c:pt>
                <c:pt idx="1523">
                  <c:v>1</c:v>
                </c:pt>
                <c:pt idx="1524">
                  <c:v>1</c:v>
                </c:pt>
                <c:pt idx="1525">
                  <c:v>0</c:v>
                </c:pt>
                <c:pt idx="1526">
                  <c:v>0</c:v>
                </c:pt>
                <c:pt idx="1527">
                  <c:v>0</c:v>
                </c:pt>
                <c:pt idx="1528">
                  <c:v>0</c:v>
                </c:pt>
                <c:pt idx="1529">
                  <c:v>0</c:v>
                </c:pt>
                <c:pt idx="1530">
                  <c:v>0</c:v>
                </c:pt>
                <c:pt idx="1531">
                  <c:v>0</c:v>
                </c:pt>
                <c:pt idx="1532">
                  <c:v>0</c:v>
                </c:pt>
                <c:pt idx="1533">
                  <c:v>0</c:v>
                </c:pt>
                <c:pt idx="1534">
                  <c:v>0</c:v>
                </c:pt>
                <c:pt idx="1535">
                  <c:v>2</c:v>
                </c:pt>
                <c:pt idx="1536">
                  <c:v>0</c:v>
                </c:pt>
                <c:pt idx="1537">
                  <c:v>1</c:v>
                </c:pt>
                <c:pt idx="1538">
                  <c:v>0</c:v>
                </c:pt>
                <c:pt idx="1539">
                  <c:v>0</c:v>
                </c:pt>
                <c:pt idx="1540">
                  <c:v>0</c:v>
                </c:pt>
                <c:pt idx="1541">
                  <c:v>0</c:v>
                </c:pt>
                <c:pt idx="1542">
                  <c:v>1</c:v>
                </c:pt>
                <c:pt idx="1543">
                  <c:v>2</c:v>
                </c:pt>
                <c:pt idx="1544">
                  <c:v>0</c:v>
                </c:pt>
                <c:pt idx="1545">
                  <c:v>6</c:v>
                </c:pt>
                <c:pt idx="1546">
                  <c:v>0</c:v>
                </c:pt>
                <c:pt idx="1547">
                  <c:v>0</c:v>
                </c:pt>
                <c:pt idx="1548">
                  <c:v>0</c:v>
                </c:pt>
                <c:pt idx="1549">
                  <c:v>0</c:v>
                </c:pt>
                <c:pt idx="1550">
                  <c:v>18</c:v>
                </c:pt>
                <c:pt idx="1551">
                  <c:v>0</c:v>
                </c:pt>
                <c:pt idx="1552">
                  <c:v>4</c:v>
                </c:pt>
                <c:pt idx="1553">
                  <c:v>0</c:v>
                </c:pt>
                <c:pt idx="1554">
                  <c:v>0</c:v>
                </c:pt>
                <c:pt idx="1555">
                  <c:v>1</c:v>
                </c:pt>
                <c:pt idx="1556">
                  <c:v>0</c:v>
                </c:pt>
                <c:pt idx="1557">
                  <c:v>0</c:v>
                </c:pt>
                <c:pt idx="1558">
                  <c:v>0</c:v>
                </c:pt>
                <c:pt idx="1559">
                  <c:v>0</c:v>
                </c:pt>
                <c:pt idx="1560">
                  <c:v>0</c:v>
                </c:pt>
                <c:pt idx="1561">
                  <c:v>3</c:v>
                </c:pt>
                <c:pt idx="1562">
                  <c:v>0</c:v>
                </c:pt>
                <c:pt idx="1563">
                  <c:v>0</c:v>
                </c:pt>
                <c:pt idx="1564">
                  <c:v>3</c:v>
                </c:pt>
                <c:pt idx="1565">
                  <c:v>0</c:v>
                </c:pt>
                <c:pt idx="1566">
                  <c:v>0</c:v>
                </c:pt>
                <c:pt idx="1567">
                  <c:v>0</c:v>
                </c:pt>
                <c:pt idx="1568">
                  <c:v>0</c:v>
                </c:pt>
                <c:pt idx="1569">
                  <c:v>0</c:v>
                </c:pt>
                <c:pt idx="1570">
                  <c:v>0</c:v>
                </c:pt>
                <c:pt idx="1571">
                  <c:v>0</c:v>
                </c:pt>
                <c:pt idx="1572">
                  <c:v>0</c:v>
                </c:pt>
                <c:pt idx="1573">
                  <c:v>0</c:v>
                </c:pt>
                <c:pt idx="1574">
                  <c:v>0</c:v>
                </c:pt>
                <c:pt idx="1575">
                  <c:v>1</c:v>
                </c:pt>
                <c:pt idx="1576">
                  <c:v>0</c:v>
                </c:pt>
                <c:pt idx="1577">
                  <c:v>0</c:v>
                </c:pt>
                <c:pt idx="1578">
                  <c:v>0</c:v>
                </c:pt>
                <c:pt idx="1579">
                  <c:v>0</c:v>
                </c:pt>
                <c:pt idx="1580">
                  <c:v>2</c:v>
                </c:pt>
                <c:pt idx="1581">
                  <c:v>8</c:v>
                </c:pt>
                <c:pt idx="1582">
                  <c:v>4</c:v>
                </c:pt>
                <c:pt idx="1583">
                  <c:v>0</c:v>
                </c:pt>
                <c:pt idx="1584">
                  <c:v>0</c:v>
                </c:pt>
                <c:pt idx="1585">
                  <c:v>2</c:v>
                </c:pt>
                <c:pt idx="1586">
                  <c:v>0</c:v>
                </c:pt>
                <c:pt idx="1587">
                  <c:v>0</c:v>
                </c:pt>
                <c:pt idx="1588">
                  <c:v>0</c:v>
                </c:pt>
                <c:pt idx="1589">
                  <c:v>0</c:v>
                </c:pt>
                <c:pt idx="1590">
                  <c:v>10</c:v>
                </c:pt>
                <c:pt idx="1591">
                  <c:v>2</c:v>
                </c:pt>
                <c:pt idx="1592">
                  <c:v>0</c:v>
                </c:pt>
                <c:pt idx="1593">
                  <c:v>11</c:v>
                </c:pt>
                <c:pt idx="1594">
                  <c:v>4</c:v>
                </c:pt>
                <c:pt idx="1595">
                  <c:v>1</c:v>
                </c:pt>
                <c:pt idx="1596">
                  <c:v>0</c:v>
                </c:pt>
                <c:pt idx="1597">
                  <c:v>0</c:v>
                </c:pt>
                <c:pt idx="1598">
                  <c:v>3</c:v>
                </c:pt>
                <c:pt idx="1599">
                  <c:v>0</c:v>
                </c:pt>
                <c:pt idx="1600">
                  <c:v>0</c:v>
                </c:pt>
                <c:pt idx="1601">
                  <c:v>0</c:v>
                </c:pt>
                <c:pt idx="1602">
                  <c:v>0</c:v>
                </c:pt>
                <c:pt idx="1603">
                  <c:v>1</c:v>
                </c:pt>
                <c:pt idx="1604">
                  <c:v>0</c:v>
                </c:pt>
                <c:pt idx="1605">
                  <c:v>0</c:v>
                </c:pt>
                <c:pt idx="1606">
                  <c:v>10</c:v>
                </c:pt>
                <c:pt idx="1607">
                  <c:v>0</c:v>
                </c:pt>
                <c:pt idx="1608">
                  <c:v>5</c:v>
                </c:pt>
                <c:pt idx="1609">
                  <c:v>0</c:v>
                </c:pt>
                <c:pt idx="1610">
                  <c:v>0</c:v>
                </c:pt>
                <c:pt idx="1611">
                  <c:v>1</c:v>
                </c:pt>
                <c:pt idx="1612">
                  <c:v>20</c:v>
                </c:pt>
                <c:pt idx="1613">
                  <c:v>0</c:v>
                </c:pt>
                <c:pt idx="1614">
                  <c:v>0</c:v>
                </c:pt>
                <c:pt idx="1615">
                  <c:v>0</c:v>
                </c:pt>
                <c:pt idx="1616">
                  <c:v>0</c:v>
                </c:pt>
                <c:pt idx="1617">
                  <c:v>0</c:v>
                </c:pt>
                <c:pt idx="1618">
                  <c:v>2</c:v>
                </c:pt>
                <c:pt idx="1619">
                  <c:v>0</c:v>
                </c:pt>
                <c:pt idx="1620">
                  <c:v>0</c:v>
                </c:pt>
                <c:pt idx="1621">
                  <c:v>0</c:v>
                </c:pt>
                <c:pt idx="1622">
                  <c:v>0</c:v>
                </c:pt>
                <c:pt idx="1623">
                  <c:v>1</c:v>
                </c:pt>
                <c:pt idx="1624">
                  <c:v>0</c:v>
                </c:pt>
                <c:pt idx="1625">
                  <c:v>0</c:v>
                </c:pt>
                <c:pt idx="1626">
                  <c:v>0</c:v>
                </c:pt>
                <c:pt idx="1627">
                  <c:v>0</c:v>
                </c:pt>
                <c:pt idx="1628">
                  <c:v>1</c:v>
                </c:pt>
                <c:pt idx="1629">
                  <c:v>0</c:v>
                </c:pt>
                <c:pt idx="1630">
                  <c:v>0</c:v>
                </c:pt>
                <c:pt idx="1631">
                  <c:v>0</c:v>
                </c:pt>
                <c:pt idx="1632">
                  <c:v>0</c:v>
                </c:pt>
                <c:pt idx="1633">
                  <c:v>5</c:v>
                </c:pt>
                <c:pt idx="1634">
                  <c:v>5</c:v>
                </c:pt>
                <c:pt idx="1635">
                  <c:v>0</c:v>
                </c:pt>
                <c:pt idx="1636">
                  <c:v>0</c:v>
                </c:pt>
                <c:pt idx="1637">
                  <c:v>1</c:v>
                </c:pt>
                <c:pt idx="1638">
                  <c:v>0</c:v>
                </c:pt>
                <c:pt idx="1639">
                  <c:v>1</c:v>
                </c:pt>
                <c:pt idx="1640">
                  <c:v>0</c:v>
                </c:pt>
                <c:pt idx="1641">
                  <c:v>0</c:v>
                </c:pt>
                <c:pt idx="1642">
                  <c:v>1</c:v>
                </c:pt>
                <c:pt idx="1643">
                  <c:v>1</c:v>
                </c:pt>
                <c:pt idx="1644">
                  <c:v>0</c:v>
                </c:pt>
                <c:pt idx="1645">
                  <c:v>0</c:v>
                </c:pt>
                <c:pt idx="1646">
                  <c:v>0</c:v>
                </c:pt>
                <c:pt idx="1647">
                  <c:v>0</c:v>
                </c:pt>
                <c:pt idx="1648">
                  <c:v>0</c:v>
                </c:pt>
                <c:pt idx="1649">
                  <c:v>0</c:v>
                </c:pt>
                <c:pt idx="1650">
                  <c:v>2</c:v>
                </c:pt>
                <c:pt idx="1651">
                  <c:v>2</c:v>
                </c:pt>
                <c:pt idx="1652">
                  <c:v>2</c:v>
                </c:pt>
                <c:pt idx="1653">
                  <c:v>0</c:v>
                </c:pt>
                <c:pt idx="1654">
                  <c:v>0</c:v>
                </c:pt>
                <c:pt idx="1655">
                  <c:v>0</c:v>
                </c:pt>
                <c:pt idx="1656">
                  <c:v>3</c:v>
                </c:pt>
                <c:pt idx="1657">
                  <c:v>0</c:v>
                </c:pt>
                <c:pt idx="1658">
                  <c:v>0</c:v>
                </c:pt>
                <c:pt idx="1659">
                  <c:v>0</c:v>
                </c:pt>
                <c:pt idx="1660">
                  <c:v>0</c:v>
                </c:pt>
                <c:pt idx="1661">
                  <c:v>3</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1</c:v>
                </c:pt>
                <c:pt idx="1679">
                  <c:v>0</c:v>
                </c:pt>
                <c:pt idx="1680">
                  <c:v>1</c:v>
                </c:pt>
                <c:pt idx="1681">
                  <c:v>2</c:v>
                </c:pt>
                <c:pt idx="1682">
                  <c:v>0</c:v>
                </c:pt>
                <c:pt idx="1683">
                  <c:v>0</c:v>
                </c:pt>
                <c:pt idx="1684">
                  <c:v>0</c:v>
                </c:pt>
                <c:pt idx="1685">
                  <c:v>0</c:v>
                </c:pt>
                <c:pt idx="1686">
                  <c:v>0</c:v>
                </c:pt>
                <c:pt idx="1687">
                  <c:v>0</c:v>
                </c:pt>
                <c:pt idx="1688">
                  <c:v>0</c:v>
                </c:pt>
                <c:pt idx="1689">
                  <c:v>4</c:v>
                </c:pt>
                <c:pt idx="1690">
                  <c:v>4</c:v>
                </c:pt>
                <c:pt idx="1691">
                  <c:v>1</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7</c:v>
                </c:pt>
                <c:pt idx="1710">
                  <c:v>0</c:v>
                </c:pt>
                <c:pt idx="1711">
                  <c:v>0</c:v>
                </c:pt>
                <c:pt idx="1712">
                  <c:v>0</c:v>
                </c:pt>
                <c:pt idx="1713">
                  <c:v>0</c:v>
                </c:pt>
                <c:pt idx="1714">
                  <c:v>0</c:v>
                </c:pt>
                <c:pt idx="1715">
                  <c:v>0</c:v>
                </c:pt>
                <c:pt idx="1716">
                  <c:v>1</c:v>
                </c:pt>
                <c:pt idx="1717">
                  <c:v>0</c:v>
                </c:pt>
                <c:pt idx="1718">
                  <c:v>7</c:v>
                </c:pt>
                <c:pt idx="1719">
                  <c:v>0</c:v>
                </c:pt>
                <c:pt idx="1720">
                  <c:v>0</c:v>
                </c:pt>
                <c:pt idx="1721">
                  <c:v>0</c:v>
                </c:pt>
                <c:pt idx="1722">
                  <c:v>0</c:v>
                </c:pt>
                <c:pt idx="1723">
                  <c:v>0</c:v>
                </c:pt>
                <c:pt idx="1724">
                  <c:v>3</c:v>
                </c:pt>
                <c:pt idx="1725">
                  <c:v>0</c:v>
                </c:pt>
                <c:pt idx="1726">
                  <c:v>0</c:v>
                </c:pt>
                <c:pt idx="1727">
                  <c:v>0</c:v>
                </c:pt>
                <c:pt idx="1728">
                  <c:v>2</c:v>
                </c:pt>
                <c:pt idx="1729">
                  <c:v>0</c:v>
                </c:pt>
                <c:pt idx="1730">
                  <c:v>0</c:v>
                </c:pt>
                <c:pt idx="1731">
                  <c:v>1</c:v>
                </c:pt>
                <c:pt idx="1732">
                  <c:v>0</c:v>
                </c:pt>
                <c:pt idx="1733">
                  <c:v>0</c:v>
                </c:pt>
                <c:pt idx="1734">
                  <c:v>0</c:v>
                </c:pt>
                <c:pt idx="1735">
                  <c:v>0</c:v>
                </c:pt>
                <c:pt idx="1736">
                  <c:v>0</c:v>
                </c:pt>
                <c:pt idx="1737">
                  <c:v>0</c:v>
                </c:pt>
                <c:pt idx="1738">
                  <c:v>0</c:v>
                </c:pt>
                <c:pt idx="1739">
                  <c:v>0</c:v>
                </c:pt>
                <c:pt idx="1740">
                  <c:v>1</c:v>
                </c:pt>
                <c:pt idx="1741">
                  <c:v>1</c:v>
                </c:pt>
                <c:pt idx="1742">
                  <c:v>0</c:v>
                </c:pt>
                <c:pt idx="1743">
                  <c:v>0</c:v>
                </c:pt>
                <c:pt idx="1744">
                  <c:v>0</c:v>
                </c:pt>
                <c:pt idx="1745">
                  <c:v>3</c:v>
                </c:pt>
                <c:pt idx="1746">
                  <c:v>0</c:v>
                </c:pt>
                <c:pt idx="1747">
                  <c:v>1</c:v>
                </c:pt>
                <c:pt idx="1748">
                  <c:v>3</c:v>
                </c:pt>
                <c:pt idx="1749">
                  <c:v>1</c:v>
                </c:pt>
                <c:pt idx="1750">
                  <c:v>0</c:v>
                </c:pt>
                <c:pt idx="1751">
                  <c:v>0</c:v>
                </c:pt>
                <c:pt idx="1752">
                  <c:v>1</c:v>
                </c:pt>
                <c:pt idx="1753">
                  <c:v>0</c:v>
                </c:pt>
                <c:pt idx="1754">
                  <c:v>1</c:v>
                </c:pt>
                <c:pt idx="1755">
                  <c:v>1</c:v>
                </c:pt>
                <c:pt idx="1756">
                  <c:v>0</c:v>
                </c:pt>
                <c:pt idx="1757">
                  <c:v>0</c:v>
                </c:pt>
                <c:pt idx="1758">
                  <c:v>0</c:v>
                </c:pt>
                <c:pt idx="1759">
                  <c:v>0</c:v>
                </c:pt>
                <c:pt idx="1760">
                  <c:v>1</c:v>
                </c:pt>
                <c:pt idx="1761">
                  <c:v>0</c:v>
                </c:pt>
                <c:pt idx="1762">
                  <c:v>0</c:v>
                </c:pt>
                <c:pt idx="1763">
                  <c:v>3</c:v>
                </c:pt>
                <c:pt idx="1764">
                  <c:v>0</c:v>
                </c:pt>
                <c:pt idx="1765">
                  <c:v>0</c:v>
                </c:pt>
                <c:pt idx="1766">
                  <c:v>5</c:v>
                </c:pt>
                <c:pt idx="1767">
                  <c:v>0</c:v>
                </c:pt>
                <c:pt idx="1768">
                  <c:v>0</c:v>
                </c:pt>
                <c:pt idx="1769">
                  <c:v>0</c:v>
                </c:pt>
                <c:pt idx="1770">
                  <c:v>0</c:v>
                </c:pt>
                <c:pt idx="1771">
                  <c:v>0</c:v>
                </c:pt>
                <c:pt idx="1772">
                  <c:v>0</c:v>
                </c:pt>
                <c:pt idx="1773">
                  <c:v>0</c:v>
                </c:pt>
                <c:pt idx="1774">
                  <c:v>4</c:v>
                </c:pt>
                <c:pt idx="1775">
                  <c:v>0</c:v>
                </c:pt>
                <c:pt idx="1776">
                  <c:v>0</c:v>
                </c:pt>
                <c:pt idx="1777">
                  <c:v>2</c:v>
                </c:pt>
                <c:pt idx="1778">
                  <c:v>2</c:v>
                </c:pt>
                <c:pt idx="1779">
                  <c:v>4</c:v>
                </c:pt>
                <c:pt idx="1780">
                  <c:v>5</c:v>
                </c:pt>
                <c:pt idx="1781">
                  <c:v>1</c:v>
                </c:pt>
                <c:pt idx="1782">
                  <c:v>0</c:v>
                </c:pt>
                <c:pt idx="1783">
                  <c:v>0</c:v>
                </c:pt>
                <c:pt idx="1784">
                  <c:v>0</c:v>
                </c:pt>
                <c:pt idx="1785">
                  <c:v>1</c:v>
                </c:pt>
                <c:pt idx="1786">
                  <c:v>0</c:v>
                </c:pt>
                <c:pt idx="1787">
                  <c:v>0</c:v>
                </c:pt>
                <c:pt idx="1788">
                  <c:v>1</c:v>
                </c:pt>
                <c:pt idx="1789">
                  <c:v>2</c:v>
                </c:pt>
                <c:pt idx="1790">
                  <c:v>0</c:v>
                </c:pt>
                <c:pt idx="1791">
                  <c:v>4</c:v>
                </c:pt>
                <c:pt idx="1792">
                  <c:v>2</c:v>
                </c:pt>
                <c:pt idx="1793">
                  <c:v>0</c:v>
                </c:pt>
                <c:pt idx="1794">
                  <c:v>1</c:v>
                </c:pt>
                <c:pt idx="1795">
                  <c:v>1</c:v>
                </c:pt>
                <c:pt idx="1796">
                  <c:v>2</c:v>
                </c:pt>
                <c:pt idx="1797">
                  <c:v>2</c:v>
                </c:pt>
                <c:pt idx="1798">
                  <c:v>2</c:v>
                </c:pt>
                <c:pt idx="1799">
                  <c:v>0</c:v>
                </c:pt>
                <c:pt idx="1800">
                  <c:v>0</c:v>
                </c:pt>
                <c:pt idx="1801">
                  <c:v>2</c:v>
                </c:pt>
                <c:pt idx="1802">
                  <c:v>0</c:v>
                </c:pt>
                <c:pt idx="1803">
                  <c:v>0</c:v>
                </c:pt>
                <c:pt idx="1804">
                  <c:v>0</c:v>
                </c:pt>
                <c:pt idx="1805">
                  <c:v>1</c:v>
                </c:pt>
                <c:pt idx="1806">
                  <c:v>0</c:v>
                </c:pt>
                <c:pt idx="1807">
                  <c:v>0</c:v>
                </c:pt>
                <c:pt idx="1808">
                  <c:v>1</c:v>
                </c:pt>
                <c:pt idx="1809">
                  <c:v>25</c:v>
                </c:pt>
                <c:pt idx="1810">
                  <c:v>0</c:v>
                </c:pt>
                <c:pt idx="1811">
                  <c:v>0</c:v>
                </c:pt>
                <c:pt idx="1812">
                  <c:v>0</c:v>
                </c:pt>
                <c:pt idx="1813">
                  <c:v>1</c:v>
                </c:pt>
                <c:pt idx="1814">
                  <c:v>0</c:v>
                </c:pt>
                <c:pt idx="1815">
                  <c:v>0</c:v>
                </c:pt>
                <c:pt idx="1816">
                  <c:v>0</c:v>
                </c:pt>
                <c:pt idx="1817">
                  <c:v>0</c:v>
                </c:pt>
                <c:pt idx="1818">
                  <c:v>0</c:v>
                </c:pt>
                <c:pt idx="1819">
                  <c:v>0</c:v>
                </c:pt>
                <c:pt idx="1820">
                  <c:v>2</c:v>
                </c:pt>
                <c:pt idx="1821">
                  <c:v>0</c:v>
                </c:pt>
                <c:pt idx="1822">
                  <c:v>1</c:v>
                </c:pt>
                <c:pt idx="1823">
                  <c:v>1</c:v>
                </c:pt>
                <c:pt idx="1824">
                  <c:v>0</c:v>
                </c:pt>
                <c:pt idx="1825">
                  <c:v>0</c:v>
                </c:pt>
                <c:pt idx="1826">
                  <c:v>0</c:v>
                </c:pt>
                <c:pt idx="1827">
                  <c:v>2</c:v>
                </c:pt>
                <c:pt idx="1828">
                  <c:v>6</c:v>
                </c:pt>
                <c:pt idx="1829">
                  <c:v>3</c:v>
                </c:pt>
                <c:pt idx="1830">
                  <c:v>0</c:v>
                </c:pt>
                <c:pt idx="1831">
                  <c:v>0</c:v>
                </c:pt>
                <c:pt idx="1832">
                  <c:v>2</c:v>
                </c:pt>
                <c:pt idx="1833">
                  <c:v>0</c:v>
                </c:pt>
                <c:pt idx="1834">
                  <c:v>0</c:v>
                </c:pt>
                <c:pt idx="1835">
                  <c:v>0</c:v>
                </c:pt>
                <c:pt idx="1836">
                  <c:v>0</c:v>
                </c:pt>
                <c:pt idx="1837">
                  <c:v>0</c:v>
                </c:pt>
                <c:pt idx="1838">
                  <c:v>0</c:v>
                </c:pt>
                <c:pt idx="1839">
                  <c:v>2</c:v>
                </c:pt>
                <c:pt idx="1840">
                  <c:v>0</c:v>
                </c:pt>
                <c:pt idx="1841">
                  <c:v>0</c:v>
                </c:pt>
                <c:pt idx="1842">
                  <c:v>3</c:v>
                </c:pt>
                <c:pt idx="1843">
                  <c:v>0</c:v>
                </c:pt>
                <c:pt idx="1844">
                  <c:v>0</c:v>
                </c:pt>
                <c:pt idx="1845">
                  <c:v>1</c:v>
                </c:pt>
                <c:pt idx="1846">
                  <c:v>0</c:v>
                </c:pt>
                <c:pt idx="1847">
                  <c:v>3</c:v>
                </c:pt>
                <c:pt idx="1848">
                  <c:v>2</c:v>
                </c:pt>
                <c:pt idx="1849">
                  <c:v>0</c:v>
                </c:pt>
                <c:pt idx="1850">
                  <c:v>0</c:v>
                </c:pt>
                <c:pt idx="1851">
                  <c:v>0</c:v>
                </c:pt>
                <c:pt idx="1852">
                  <c:v>0</c:v>
                </c:pt>
                <c:pt idx="1853">
                  <c:v>0</c:v>
                </c:pt>
                <c:pt idx="1854">
                  <c:v>2</c:v>
                </c:pt>
                <c:pt idx="1855">
                  <c:v>0</c:v>
                </c:pt>
                <c:pt idx="1856">
                  <c:v>0</c:v>
                </c:pt>
                <c:pt idx="1857">
                  <c:v>3</c:v>
                </c:pt>
                <c:pt idx="1858">
                  <c:v>0</c:v>
                </c:pt>
                <c:pt idx="1859">
                  <c:v>0</c:v>
                </c:pt>
                <c:pt idx="1860">
                  <c:v>0</c:v>
                </c:pt>
                <c:pt idx="1861">
                  <c:v>0</c:v>
                </c:pt>
                <c:pt idx="1862">
                  <c:v>2</c:v>
                </c:pt>
                <c:pt idx="1863">
                  <c:v>0</c:v>
                </c:pt>
                <c:pt idx="1864">
                  <c:v>0</c:v>
                </c:pt>
                <c:pt idx="1865">
                  <c:v>1</c:v>
                </c:pt>
                <c:pt idx="1866">
                  <c:v>0</c:v>
                </c:pt>
                <c:pt idx="1867">
                  <c:v>0</c:v>
                </c:pt>
                <c:pt idx="1868">
                  <c:v>0</c:v>
                </c:pt>
                <c:pt idx="1869">
                  <c:v>2</c:v>
                </c:pt>
                <c:pt idx="1870">
                  <c:v>6</c:v>
                </c:pt>
                <c:pt idx="1871">
                  <c:v>1</c:v>
                </c:pt>
                <c:pt idx="1872">
                  <c:v>1</c:v>
                </c:pt>
                <c:pt idx="1873">
                  <c:v>4</c:v>
                </c:pt>
                <c:pt idx="1874">
                  <c:v>5</c:v>
                </c:pt>
                <c:pt idx="1875">
                  <c:v>0</c:v>
                </c:pt>
                <c:pt idx="1876">
                  <c:v>0</c:v>
                </c:pt>
                <c:pt idx="1877">
                  <c:v>1</c:v>
                </c:pt>
                <c:pt idx="1878">
                  <c:v>0</c:v>
                </c:pt>
                <c:pt idx="1879">
                  <c:v>0</c:v>
                </c:pt>
                <c:pt idx="1880">
                  <c:v>1</c:v>
                </c:pt>
                <c:pt idx="1881">
                  <c:v>1</c:v>
                </c:pt>
                <c:pt idx="1882">
                  <c:v>0</c:v>
                </c:pt>
                <c:pt idx="1883">
                  <c:v>4</c:v>
                </c:pt>
                <c:pt idx="1884">
                  <c:v>4</c:v>
                </c:pt>
                <c:pt idx="1885">
                  <c:v>0</c:v>
                </c:pt>
                <c:pt idx="1886">
                  <c:v>1</c:v>
                </c:pt>
                <c:pt idx="1887">
                  <c:v>0</c:v>
                </c:pt>
                <c:pt idx="1888">
                  <c:v>0</c:v>
                </c:pt>
                <c:pt idx="1889">
                  <c:v>0</c:v>
                </c:pt>
                <c:pt idx="1890">
                  <c:v>1</c:v>
                </c:pt>
                <c:pt idx="1891">
                  <c:v>2</c:v>
                </c:pt>
                <c:pt idx="1892">
                  <c:v>1</c:v>
                </c:pt>
                <c:pt idx="1893">
                  <c:v>1</c:v>
                </c:pt>
                <c:pt idx="1894">
                  <c:v>0</c:v>
                </c:pt>
                <c:pt idx="1895">
                  <c:v>0</c:v>
                </c:pt>
                <c:pt idx="1896">
                  <c:v>2</c:v>
                </c:pt>
                <c:pt idx="1897">
                  <c:v>0</c:v>
                </c:pt>
                <c:pt idx="1898">
                  <c:v>1</c:v>
                </c:pt>
                <c:pt idx="1899">
                  <c:v>3</c:v>
                </c:pt>
                <c:pt idx="1900">
                  <c:v>0</c:v>
                </c:pt>
                <c:pt idx="1901">
                  <c:v>0</c:v>
                </c:pt>
                <c:pt idx="1902">
                  <c:v>0</c:v>
                </c:pt>
                <c:pt idx="1903">
                  <c:v>0</c:v>
                </c:pt>
                <c:pt idx="1904">
                  <c:v>4</c:v>
                </c:pt>
                <c:pt idx="1905">
                  <c:v>1</c:v>
                </c:pt>
                <c:pt idx="1906">
                  <c:v>1</c:v>
                </c:pt>
                <c:pt idx="1907">
                  <c:v>0</c:v>
                </c:pt>
                <c:pt idx="1908">
                  <c:v>0</c:v>
                </c:pt>
                <c:pt idx="1909">
                  <c:v>1</c:v>
                </c:pt>
                <c:pt idx="1910">
                  <c:v>1</c:v>
                </c:pt>
                <c:pt idx="1911">
                  <c:v>4</c:v>
                </c:pt>
                <c:pt idx="1912">
                  <c:v>1</c:v>
                </c:pt>
                <c:pt idx="1913">
                  <c:v>1</c:v>
                </c:pt>
                <c:pt idx="1914">
                  <c:v>1</c:v>
                </c:pt>
                <c:pt idx="1915">
                  <c:v>1</c:v>
                </c:pt>
                <c:pt idx="1916">
                  <c:v>0</c:v>
                </c:pt>
                <c:pt idx="1917">
                  <c:v>0</c:v>
                </c:pt>
                <c:pt idx="1918">
                  <c:v>1</c:v>
                </c:pt>
                <c:pt idx="1919">
                  <c:v>1</c:v>
                </c:pt>
                <c:pt idx="1920">
                  <c:v>1</c:v>
                </c:pt>
                <c:pt idx="1921">
                  <c:v>0</c:v>
                </c:pt>
                <c:pt idx="1922">
                  <c:v>2</c:v>
                </c:pt>
                <c:pt idx="1923">
                  <c:v>0</c:v>
                </c:pt>
                <c:pt idx="1924">
                  <c:v>0</c:v>
                </c:pt>
                <c:pt idx="1925">
                  <c:v>0</c:v>
                </c:pt>
                <c:pt idx="1926">
                  <c:v>0</c:v>
                </c:pt>
                <c:pt idx="1927">
                  <c:v>1</c:v>
                </c:pt>
                <c:pt idx="1928">
                  <c:v>0</c:v>
                </c:pt>
                <c:pt idx="1929">
                  <c:v>5</c:v>
                </c:pt>
                <c:pt idx="1930">
                  <c:v>0</c:v>
                </c:pt>
                <c:pt idx="1931">
                  <c:v>0</c:v>
                </c:pt>
                <c:pt idx="1932">
                  <c:v>0</c:v>
                </c:pt>
                <c:pt idx="1933">
                  <c:v>2</c:v>
                </c:pt>
                <c:pt idx="1934">
                  <c:v>1</c:v>
                </c:pt>
                <c:pt idx="1935">
                  <c:v>0</c:v>
                </c:pt>
                <c:pt idx="1936">
                  <c:v>0</c:v>
                </c:pt>
                <c:pt idx="1937">
                  <c:v>0</c:v>
                </c:pt>
                <c:pt idx="1938">
                  <c:v>0</c:v>
                </c:pt>
                <c:pt idx="1939">
                  <c:v>0</c:v>
                </c:pt>
                <c:pt idx="1940">
                  <c:v>0</c:v>
                </c:pt>
                <c:pt idx="1941">
                  <c:v>6</c:v>
                </c:pt>
                <c:pt idx="1942">
                  <c:v>0</c:v>
                </c:pt>
                <c:pt idx="1943">
                  <c:v>0</c:v>
                </c:pt>
                <c:pt idx="1944">
                  <c:v>1</c:v>
                </c:pt>
                <c:pt idx="1945">
                  <c:v>2</c:v>
                </c:pt>
                <c:pt idx="1946">
                  <c:v>0</c:v>
                </c:pt>
                <c:pt idx="1947">
                  <c:v>8</c:v>
                </c:pt>
                <c:pt idx="1948">
                  <c:v>0</c:v>
                </c:pt>
                <c:pt idx="1949">
                  <c:v>0</c:v>
                </c:pt>
                <c:pt idx="1950">
                  <c:v>2</c:v>
                </c:pt>
                <c:pt idx="1951">
                  <c:v>0</c:v>
                </c:pt>
                <c:pt idx="1952">
                  <c:v>1</c:v>
                </c:pt>
                <c:pt idx="1953">
                  <c:v>1</c:v>
                </c:pt>
                <c:pt idx="1954">
                  <c:v>0</c:v>
                </c:pt>
                <c:pt idx="1955">
                  <c:v>0</c:v>
                </c:pt>
                <c:pt idx="1956">
                  <c:v>0</c:v>
                </c:pt>
                <c:pt idx="1957">
                  <c:v>0</c:v>
                </c:pt>
                <c:pt idx="1958">
                  <c:v>0</c:v>
                </c:pt>
                <c:pt idx="1959">
                  <c:v>0</c:v>
                </c:pt>
                <c:pt idx="1960">
                  <c:v>0</c:v>
                </c:pt>
                <c:pt idx="1961">
                  <c:v>3</c:v>
                </c:pt>
                <c:pt idx="1962">
                  <c:v>0</c:v>
                </c:pt>
                <c:pt idx="1963">
                  <c:v>0</c:v>
                </c:pt>
                <c:pt idx="1964">
                  <c:v>4</c:v>
                </c:pt>
                <c:pt idx="1965">
                  <c:v>0</c:v>
                </c:pt>
                <c:pt idx="1966">
                  <c:v>0</c:v>
                </c:pt>
                <c:pt idx="1967">
                  <c:v>1</c:v>
                </c:pt>
                <c:pt idx="1968">
                  <c:v>0</c:v>
                </c:pt>
                <c:pt idx="1969">
                  <c:v>0</c:v>
                </c:pt>
                <c:pt idx="1970">
                  <c:v>3</c:v>
                </c:pt>
                <c:pt idx="1971">
                  <c:v>0</c:v>
                </c:pt>
                <c:pt idx="1972">
                  <c:v>3</c:v>
                </c:pt>
                <c:pt idx="1973">
                  <c:v>1</c:v>
                </c:pt>
                <c:pt idx="1974">
                  <c:v>0</c:v>
                </c:pt>
                <c:pt idx="1975">
                  <c:v>0</c:v>
                </c:pt>
                <c:pt idx="1976">
                  <c:v>1</c:v>
                </c:pt>
                <c:pt idx="1977">
                  <c:v>2</c:v>
                </c:pt>
                <c:pt idx="1978">
                  <c:v>0</c:v>
                </c:pt>
                <c:pt idx="1979">
                  <c:v>0</c:v>
                </c:pt>
                <c:pt idx="1980">
                  <c:v>0</c:v>
                </c:pt>
                <c:pt idx="1981">
                  <c:v>1</c:v>
                </c:pt>
                <c:pt idx="1982">
                  <c:v>0</c:v>
                </c:pt>
                <c:pt idx="1983">
                  <c:v>0</c:v>
                </c:pt>
                <c:pt idx="1984">
                  <c:v>1</c:v>
                </c:pt>
                <c:pt idx="1985">
                  <c:v>0</c:v>
                </c:pt>
                <c:pt idx="1986">
                  <c:v>0</c:v>
                </c:pt>
                <c:pt idx="1987">
                  <c:v>0</c:v>
                </c:pt>
                <c:pt idx="1988">
                  <c:v>4</c:v>
                </c:pt>
                <c:pt idx="1989">
                  <c:v>0</c:v>
                </c:pt>
                <c:pt idx="1990">
                  <c:v>0</c:v>
                </c:pt>
                <c:pt idx="1991">
                  <c:v>0</c:v>
                </c:pt>
                <c:pt idx="1992">
                  <c:v>0</c:v>
                </c:pt>
                <c:pt idx="1993">
                  <c:v>0</c:v>
                </c:pt>
                <c:pt idx="1994">
                  <c:v>0</c:v>
                </c:pt>
                <c:pt idx="1995">
                  <c:v>1</c:v>
                </c:pt>
                <c:pt idx="1996">
                  <c:v>0</c:v>
                </c:pt>
                <c:pt idx="1997">
                  <c:v>2</c:v>
                </c:pt>
                <c:pt idx="1998">
                  <c:v>2</c:v>
                </c:pt>
                <c:pt idx="1999">
                  <c:v>1</c:v>
                </c:pt>
                <c:pt idx="2000">
                  <c:v>0</c:v>
                </c:pt>
                <c:pt idx="2001">
                  <c:v>0</c:v>
                </c:pt>
                <c:pt idx="2002">
                  <c:v>0</c:v>
                </c:pt>
                <c:pt idx="2003">
                  <c:v>0</c:v>
                </c:pt>
                <c:pt idx="2004">
                  <c:v>0</c:v>
                </c:pt>
                <c:pt idx="2005">
                  <c:v>0</c:v>
                </c:pt>
                <c:pt idx="2006">
                  <c:v>0</c:v>
                </c:pt>
                <c:pt idx="2007">
                  <c:v>0</c:v>
                </c:pt>
                <c:pt idx="2008">
                  <c:v>1</c:v>
                </c:pt>
                <c:pt idx="2009">
                  <c:v>0</c:v>
                </c:pt>
                <c:pt idx="2010">
                  <c:v>1</c:v>
                </c:pt>
                <c:pt idx="2011">
                  <c:v>0</c:v>
                </c:pt>
                <c:pt idx="2012">
                  <c:v>0</c:v>
                </c:pt>
                <c:pt idx="2013">
                  <c:v>0</c:v>
                </c:pt>
                <c:pt idx="2014">
                  <c:v>0</c:v>
                </c:pt>
                <c:pt idx="2015">
                  <c:v>4</c:v>
                </c:pt>
                <c:pt idx="2016">
                  <c:v>1</c:v>
                </c:pt>
                <c:pt idx="2017">
                  <c:v>2</c:v>
                </c:pt>
                <c:pt idx="2018">
                  <c:v>2</c:v>
                </c:pt>
                <c:pt idx="2019">
                  <c:v>0</c:v>
                </c:pt>
                <c:pt idx="2020">
                  <c:v>2</c:v>
                </c:pt>
                <c:pt idx="2021">
                  <c:v>0</c:v>
                </c:pt>
                <c:pt idx="2022">
                  <c:v>0</c:v>
                </c:pt>
                <c:pt idx="2023">
                  <c:v>0</c:v>
                </c:pt>
                <c:pt idx="2024">
                  <c:v>0</c:v>
                </c:pt>
                <c:pt idx="2025">
                  <c:v>0</c:v>
                </c:pt>
                <c:pt idx="2026">
                  <c:v>2</c:v>
                </c:pt>
                <c:pt idx="2027">
                  <c:v>1</c:v>
                </c:pt>
                <c:pt idx="2028">
                  <c:v>2</c:v>
                </c:pt>
                <c:pt idx="2029">
                  <c:v>0</c:v>
                </c:pt>
                <c:pt idx="2030">
                  <c:v>0</c:v>
                </c:pt>
                <c:pt idx="2031">
                  <c:v>3</c:v>
                </c:pt>
                <c:pt idx="2032">
                  <c:v>1</c:v>
                </c:pt>
                <c:pt idx="2033">
                  <c:v>2</c:v>
                </c:pt>
                <c:pt idx="2034">
                  <c:v>0</c:v>
                </c:pt>
                <c:pt idx="2035">
                  <c:v>0</c:v>
                </c:pt>
                <c:pt idx="2036">
                  <c:v>0</c:v>
                </c:pt>
                <c:pt idx="2037">
                  <c:v>3</c:v>
                </c:pt>
                <c:pt idx="2038">
                  <c:v>0</c:v>
                </c:pt>
                <c:pt idx="2039">
                  <c:v>0</c:v>
                </c:pt>
                <c:pt idx="2040">
                  <c:v>0</c:v>
                </c:pt>
                <c:pt idx="2041">
                  <c:v>0</c:v>
                </c:pt>
                <c:pt idx="2042">
                  <c:v>0</c:v>
                </c:pt>
                <c:pt idx="2043">
                  <c:v>2</c:v>
                </c:pt>
                <c:pt idx="2044">
                  <c:v>0</c:v>
                </c:pt>
                <c:pt idx="2045">
                  <c:v>1</c:v>
                </c:pt>
                <c:pt idx="2046">
                  <c:v>0</c:v>
                </c:pt>
                <c:pt idx="2047">
                  <c:v>1</c:v>
                </c:pt>
                <c:pt idx="2048">
                  <c:v>3</c:v>
                </c:pt>
                <c:pt idx="2049">
                  <c:v>1</c:v>
                </c:pt>
                <c:pt idx="2050">
                  <c:v>1</c:v>
                </c:pt>
                <c:pt idx="2051">
                  <c:v>1</c:v>
                </c:pt>
                <c:pt idx="2052">
                  <c:v>0</c:v>
                </c:pt>
                <c:pt idx="2053">
                  <c:v>0</c:v>
                </c:pt>
                <c:pt idx="2054">
                  <c:v>3</c:v>
                </c:pt>
                <c:pt idx="2055">
                  <c:v>1</c:v>
                </c:pt>
                <c:pt idx="2056">
                  <c:v>1</c:v>
                </c:pt>
                <c:pt idx="2057">
                  <c:v>0</c:v>
                </c:pt>
                <c:pt idx="2058">
                  <c:v>0</c:v>
                </c:pt>
                <c:pt idx="2059">
                  <c:v>0</c:v>
                </c:pt>
                <c:pt idx="2060">
                  <c:v>1</c:v>
                </c:pt>
                <c:pt idx="2061">
                  <c:v>0</c:v>
                </c:pt>
                <c:pt idx="2062">
                  <c:v>0</c:v>
                </c:pt>
                <c:pt idx="2063">
                  <c:v>1</c:v>
                </c:pt>
                <c:pt idx="2064">
                  <c:v>1</c:v>
                </c:pt>
                <c:pt idx="2065">
                  <c:v>0</c:v>
                </c:pt>
                <c:pt idx="2066">
                  <c:v>0</c:v>
                </c:pt>
                <c:pt idx="2067">
                  <c:v>1</c:v>
                </c:pt>
                <c:pt idx="2068">
                  <c:v>1</c:v>
                </c:pt>
                <c:pt idx="2069">
                  <c:v>0</c:v>
                </c:pt>
                <c:pt idx="2070">
                  <c:v>0</c:v>
                </c:pt>
                <c:pt idx="2071">
                  <c:v>0</c:v>
                </c:pt>
                <c:pt idx="2072">
                  <c:v>2</c:v>
                </c:pt>
                <c:pt idx="2073">
                  <c:v>1</c:v>
                </c:pt>
                <c:pt idx="2074">
                  <c:v>2</c:v>
                </c:pt>
                <c:pt idx="2075">
                  <c:v>0</c:v>
                </c:pt>
                <c:pt idx="2076">
                  <c:v>6</c:v>
                </c:pt>
                <c:pt idx="2077">
                  <c:v>1</c:v>
                </c:pt>
                <c:pt idx="2078">
                  <c:v>0</c:v>
                </c:pt>
                <c:pt idx="2079">
                  <c:v>0</c:v>
                </c:pt>
                <c:pt idx="2080">
                  <c:v>8</c:v>
                </c:pt>
                <c:pt idx="2081">
                  <c:v>0</c:v>
                </c:pt>
                <c:pt idx="2082">
                  <c:v>0</c:v>
                </c:pt>
                <c:pt idx="2083">
                  <c:v>0</c:v>
                </c:pt>
                <c:pt idx="2084">
                  <c:v>1</c:v>
                </c:pt>
                <c:pt idx="2085">
                  <c:v>3</c:v>
                </c:pt>
                <c:pt idx="2086">
                  <c:v>1</c:v>
                </c:pt>
                <c:pt idx="2087">
                  <c:v>1</c:v>
                </c:pt>
                <c:pt idx="2088">
                  <c:v>8</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3</c:v>
                </c:pt>
                <c:pt idx="2103">
                  <c:v>0</c:v>
                </c:pt>
                <c:pt idx="2104">
                  <c:v>3</c:v>
                </c:pt>
                <c:pt idx="2105">
                  <c:v>0</c:v>
                </c:pt>
                <c:pt idx="2106">
                  <c:v>0</c:v>
                </c:pt>
                <c:pt idx="2107">
                  <c:v>0</c:v>
                </c:pt>
                <c:pt idx="2108">
                  <c:v>0</c:v>
                </c:pt>
                <c:pt idx="2109">
                  <c:v>0</c:v>
                </c:pt>
                <c:pt idx="2110">
                  <c:v>0</c:v>
                </c:pt>
                <c:pt idx="2111">
                  <c:v>0</c:v>
                </c:pt>
                <c:pt idx="2112">
                  <c:v>1</c:v>
                </c:pt>
                <c:pt idx="2113">
                  <c:v>2</c:v>
                </c:pt>
                <c:pt idx="2114">
                  <c:v>4</c:v>
                </c:pt>
                <c:pt idx="2115">
                  <c:v>0</c:v>
                </c:pt>
                <c:pt idx="2116">
                  <c:v>0</c:v>
                </c:pt>
                <c:pt idx="2117">
                  <c:v>2</c:v>
                </c:pt>
                <c:pt idx="2118">
                  <c:v>0</c:v>
                </c:pt>
                <c:pt idx="2119">
                  <c:v>0</c:v>
                </c:pt>
                <c:pt idx="2120">
                  <c:v>0</c:v>
                </c:pt>
                <c:pt idx="2121">
                  <c:v>0</c:v>
                </c:pt>
                <c:pt idx="2122">
                  <c:v>0</c:v>
                </c:pt>
                <c:pt idx="2123">
                  <c:v>5</c:v>
                </c:pt>
                <c:pt idx="2124">
                  <c:v>0</c:v>
                </c:pt>
                <c:pt idx="2125">
                  <c:v>0</c:v>
                </c:pt>
                <c:pt idx="2126">
                  <c:v>0</c:v>
                </c:pt>
                <c:pt idx="2127">
                  <c:v>0</c:v>
                </c:pt>
                <c:pt idx="2128">
                  <c:v>2</c:v>
                </c:pt>
                <c:pt idx="2129">
                  <c:v>0</c:v>
                </c:pt>
                <c:pt idx="2130">
                  <c:v>8</c:v>
                </c:pt>
                <c:pt idx="2131">
                  <c:v>4</c:v>
                </c:pt>
                <c:pt idx="2132">
                  <c:v>1</c:v>
                </c:pt>
                <c:pt idx="2133">
                  <c:v>0</c:v>
                </c:pt>
                <c:pt idx="2134">
                  <c:v>2</c:v>
                </c:pt>
                <c:pt idx="2135">
                  <c:v>0</c:v>
                </c:pt>
                <c:pt idx="2136">
                  <c:v>0</c:v>
                </c:pt>
                <c:pt idx="2137">
                  <c:v>0</c:v>
                </c:pt>
                <c:pt idx="2138">
                  <c:v>1</c:v>
                </c:pt>
                <c:pt idx="2139">
                  <c:v>2</c:v>
                </c:pt>
                <c:pt idx="2140">
                  <c:v>0</c:v>
                </c:pt>
                <c:pt idx="2141">
                  <c:v>1</c:v>
                </c:pt>
                <c:pt idx="2142">
                  <c:v>0</c:v>
                </c:pt>
                <c:pt idx="2143">
                  <c:v>0</c:v>
                </c:pt>
                <c:pt idx="2144">
                  <c:v>0</c:v>
                </c:pt>
                <c:pt idx="2145">
                  <c:v>2</c:v>
                </c:pt>
                <c:pt idx="2146">
                  <c:v>0</c:v>
                </c:pt>
                <c:pt idx="2147">
                  <c:v>0</c:v>
                </c:pt>
                <c:pt idx="2148">
                  <c:v>0</c:v>
                </c:pt>
                <c:pt idx="2149">
                  <c:v>3</c:v>
                </c:pt>
                <c:pt idx="2150">
                  <c:v>0</c:v>
                </c:pt>
                <c:pt idx="2151">
                  <c:v>39</c:v>
                </c:pt>
                <c:pt idx="2152">
                  <c:v>5</c:v>
                </c:pt>
                <c:pt idx="2153">
                  <c:v>0</c:v>
                </c:pt>
                <c:pt idx="2154">
                  <c:v>0</c:v>
                </c:pt>
                <c:pt idx="2155">
                  <c:v>1</c:v>
                </c:pt>
                <c:pt idx="2156">
                  <c:v>0</c:v>
                </c:pt>
                <c:pt idx="2157">
                  <c:v>1</c:v>
                </c:pt>
                <c:pt idx="2158">
                  <c:v>3</c:v>
                </c:pt>
                <c:pt idx="2159">
                  <c:v>0</c:v>
                </c:pt>
                <c:pt idx="2160">
                  <c:v>0</c:v>
                </c:pt>
                <c:pt idx="2161">
                  <c:v>0</c:v>
                </c:pt>
                <c:pt idx="2162">
                  <c:v>0</c:v>
                </c:pt>
                <c:pt idx="2163">
                  <c:v>0</c:v>
                </c:pt>
                <c:pt idx="2164">
                  <c:v>0</c:v>
                </c:pt>
                <c:pt idx="2165">
                  <c:v>0</c:v>
                </c:pt>
                <c:pt idx="2166">
                  <c:v>1</c:v>
                </c:pt>
                <c:pt idx="2167">
                  <c:v>0</c:v>
                </c:pt>
                <c:pt idx="2168">
                  <c:v>0</c:v>
                </c:pt>
                <c:pt idx="2169">
                  <c:v>0</c:v>
                </c:pt>
                <c:pt idx="2170">
                  <c:v>0</c:v>
                </c:pt>
                <c:pt idx="2171">
                  <c:v>0</c:v>
                </c:pt>
                <c:pt idx="2172">
                  <c:v>9</c:v>
                </c:pt>
                <c:pt idx="2173">
                  <c:v>0</c:v>
                </c:pt>
                <c:pt idx="2174">
                  <c:v>1</c:v>
                </c:pt>
                <c:pt idx="2175">
                  <c:v>0</c:v>
                </c:pt>
                <c:pt idx="2176">
                  <c:v>0</c:v>
                </c:pt>
                <c:pt idx="2177">
                  <c:v>0</c:v>
                </c:pt>
                <c:pt idx="2178">
                  <c:v>0</c:v>
                </c:pt>
                <c:pt idx="2179">
                  <c:v>2</c:v>
                </c:pt>
                <c:pt idx="2180">
                  <c:v>0</c:v>
                </c:pt>
                <c:pt idx="2181">
                  <c:v>0</c:v>
                </c:pt>
                <c:pt idx="2182">
                  <c:v>0</c:v>
                </c:pt>
                <c:pt idx="2183">
                  <c:v>0</c:v>
                </c:pt>
                <c:pt idx="2184">
                  <c:v>0</c:v>
                </c:pt>
                <c:pt idx="2185">
                  <c:v>0</c:v>
                </c:pt>
                <c:pt idx="2186">
                  <c:v>0</c:v>
                </c:pt>
                <c:pt idx="2187">
                  <c:v>0</c:v>
                </c:pt>
                <c:pt idx="2188">
                  <c:v>3</c:v>
                </c:pt>
                <c:pt idx="2189">
                  <c:v>0</c:v>
                </c:pt>
                <c:pt idx="2190">
                  <c:v>0</c:v>
                </c:pt>
                <c:pt idx="2191">
                  <c:v>11</c:v>
                </c:pt>
                <c:pt idx="2192">
                  <c:v>0</c:v>
                </c:pt>
                <c:pt idx="2193">
                  <c:v>0</c:v>
                </c:pt>
                <c:pt idx="2194">
                  <c:v>0</c:v>
                </c:pt>
                <c:pt idx="2195">
                  <c:v>0</c:v>
                </c:pt>
                <c:pt idx="2196">
                  <c:v>0</c:v>
                </c:pt>
                <c:pt idx="2197">
                  <c:v>0</c:v>
                </c:pt>
                <c:pt idx="2198">
                  <c:v>4</c:v>
                </c:pt>
                <c:pt idx="2199">
                  <c:v>0</c:v>
                </c:pt>
                <c:pt idx="2200">
                  <c:v>1</c:v>
                </c:pt>
                <c:pt idx="2201">
                  <c:v>5</c:v>
                </c:pt>
                <c:pt idx="2202">
                  <c:v>1</c:v>
                </c:pt>
                <c:pt idx="2203">
                  <c:v>0</c:v>
                </c:pt>
                <c:pt idx="2204">
                  <c:v>2</c:v>
                </c:pt>
                <c:pt idx="2205">
                  <c:v>0</c:v>
                </c:pt>
                <c:pt idx="2206">
                  <c:v>2</c:v>
                </c:pt>
                <c:pt idx="2207">
                  <c:v>0</c:v>
                </c:pt>
                <c:pt idx="2208">
                  <c:v>1</c:v>
                </c:pt>
                <c:pt idx="2209">
                  <c:v>3</c:v>
                </c:pt>
                <c:pt idx="2210">
                  <c:v>3</c:v>
                </c:pt>
                <c:pt idx="2211">
                  <c:v>4</c:v>
                </c:pt>
                <c:pt idx="2212">
                  <c:v>4</c:v>
                </c:pt>
                <c:pt idx="2213">
                  <c:v>0</c:v>
                </c:pt>
                <c:pt idx="2214">
                  <c:v>0</c:v>
                </c:pt>
                <c:pt idx="2215">
                  <c:v>0</c:v>
                </c:pt>
                <c:pt idx="2216">
                  <c:v>0</c:v>
                </c:pt>
                <c:pt idx="2217">
                  <c:v>6</c:v>
                </c:pt>
                <c:pt idx="2218">
                  <c:v>1</c:v>
                </c:pt>
                <c:pt idx="2219">
                  <c:v>1</c:v>
                </c:pt>
                <c:pt idx="2220">
                  <c:v>0</c:v>
                </c:pt>
                <c:pt idx="2221">
                  <c:v>0</c:v>
                </c:pt>
                <c:pt idx="2222">
                  <c:v>0</c:v>
                </c:pt>
                <c:pt idx="2223">
                  <c:v>1</c:v>
                </c:pt>
                <c:pt idx="2224">
                  <c:v>0</c:v>
                </c:pt>
                <c:pt idx="2225">
                  <c:v>4</c:v>
                </c:pt>
                <c:pt idx="2226">
                  <c:v>0</c:v>
                </c:pt>
                <c:pt idx="2227">
                  <c:v>2</c:v>
                </c:pt>
                <c:pt idx="2228">
                  <c:v>0</c:v>
                </c:pt>
                <c:pt idx="2229">
                  <c:v>0</c:v>
                </c:pt>
                <c:pt idx="2230">
                  <c:v>0</c:v>
                </c:pt>
                <c:pt idx="2231">
                  <c:v>4</c:v>
                </c:pt>
                <c:pt idx="2232">
                  <c:v>2</c:v>
                </c:pt>
                <c:pt idx="2233">
                  <c:v>0</c:v>
                </c:pt>
                <c:pt idx="2234">
                  <c:v>2</c:v>
                </c:pt>
                <c:pt idx="2235">
                  <c:v>1</c:v>
                </c:pt>
                <c:pt idx="2236">
                  <c:v>0</c:v>
                </c:pt>
                <c:pt idx="2237">
                  <c:v>1</c:v>
                </c:pt>
                <c:pt idx="2238">
                  <c:v>0</c:v>
                </c:pt>
                <c:pt idx="2239">
                  <c:v>0</c:v>
                </c:pt>
                <c:pt idx="2240">
                  <c:v>1</c:v>
                </c:pt>
                <c:pt idx="2241">
                  <c:v>2</c:v>
                </c:pt>
                <c:pt idx="2242">
                  <c:v>9</c:v>
                </c:pt>
                <c:pt idx="2243">
                  <c:v>1</c:v>
                </c:pt>
                <c:pt idx="2244">
                  <c:v>2</c:v>
                </c:pt>
                <c:pt idx="2245">
                  <c:v>0</c:v>
                </c:pt>
                <c:pt idx="2246">
                  <c:v>0</c:v>
                </c:pt>
                <c:pt idx="2247">
                  <c:v>1</c:v>
                </c:pt>
                <c:pt idx="2248">
                  <c:v>0</c:v>
                </c:pt>
                <c:pt idx="2249">
                  <c:v>0</c:v>
                </c:pt>
                <c:pt idx="2250">
                  <c:v>0</c:v>
                </c:pt>
                <c:pt idx="2251">
                  <c:v>1</c:v>
                </c:pt>
                <c:pt idx="2252">
                  <c:v>0</c:v>
                </c:pt>
                <c:pt idx="2253">
                  <c:v>2</c:v>
                </c:pt>
                <c:pt idx="2254">
                  <c:v>1</c:v>
                </c:pt>
                <c:pt idx="2255">
                  <c:v>0</c:v>
                </c:pt>
                <c:pt idx="2256">
                  <c:v>1</c:v>
                </c:pt>
                <c:pt idx="2257">
                  <c:v>2</c:v>
                </c:pt>
                <c:pt idx="2258">
                  <c:v>1</c:v>
                </c:pt>
                <c:pt idx="2259">
                  <c:v>0</c:v>
                </c:pt>
                <c:pt idx="2260">
                  <c:v>4</c:v>
                </c:pt>
                <c:pt idx="2261">
                  <c:v>0</c:v>
                </c:pt>
                <c:pt idx="2262">
                  <c:v>0</c:v>
                </c:pt>
                <c:pt idx="2263">
                  <c:v>0</c:v>
                </c:pt>
                <c:pt idx="2264">
                  <c:v>0</c:v>
                </c:pt>
                <c:pt idx="2265">
                  <c:v>3</c:v>
                </c:pt>
                <c:pt idx="2266">
                  <c:v>0</c:v>
                </c:pt>
                <c:pt idx="2267">
                  <c:v>0</c:v>
                </c:pt>
                <c:pt idx="2268">
                  <c:v>0</c:v>
                </c:pt>
                <c:pt idx="2269">
                  <c:v>1</c:v>
                </c:pt>
                <c:pt idx="2270">
                  <c:v>8</c:v>
                </c:pt>
                <c:pt idx="2271">
                  <c:v>1</c:v>
                </c:pt>
                <c:pt idx="2272">
                  <c:v>1</c:v>
                </c:pt>
                <c:pt idx="2273">
                  <c:v>0</c:v>
                </c:pt>
                <c:pt idx="2274">
                  <c:v>8</c:v>
                </c:pt>
                <c:pt idx="2275">
                  <c:v>0</c:v>
                </c:pt>
                <c:pt idx="2276">
                  <c:v>0</c:v>
                </c:pt>
                <c:pt idx="2277">
                  <c:v>1</c:v>
                </c:pt>
                <c:pt idx="2278">
                  <c:v>4</c:v>
                </c:pt>
                <c:pt idx="2279">
                  <c:v>5</c:v>
                </c:pt>
                <c:pt idx="2280">
                  <c:v>0</c:v>
                </c:pt>
                <c:pt idx="2281">
                  <c:v>0</c:v>
                </c:pt>
                <c:pt idx="2282">
                  <c:v>4</c:v>
                </c:pt>
                <c:pt idx="2283">
                  <c:v>0</c:v>
                </c:pt>
                <c:pt idx="2284">
                  <c:v>1</c:v>
                </c:pt>
                <c:pt idx="2285">
                  <c:v>0</c:v>
                </c:pt>
                <c:pt idx="2286">
                  <c:v>0</c:v>
                </c:pt>
                <c:pt idx="2287">
                  <c:v>0</c:v>
                </c:pt>
                <c:pt idx="2288">
                  <c:v>0</c:v>
                </c:pt>
                <c:pt idx="2289">
                  <c:v>1</c:v>
                </c:pt>
                <c:pt idx="2290">
                  <c:v>0</c:v>
                </c:pt>
                <c:pt idx="2291">
                  <c:v>0</c:v>
                </c:pt>
                <c:pt idx="2292">
                  <c:v>2</c:v>
                </c:pt>
                <c:pt idx="2293">
                  <c:v>0</c:v>
                </c:pt>
                <c:pt idx="2294">
                  <c:v>0</c:v>
                </c:pt>
                <c:pt idx="2295">
                  <c:v>0</c:v>
                </c:pt>
                <c:pt idx="2296">
                  <c:v>7</c:v>
                </c:pt>
                <c:pt idx="2297">
                  <c:v>0</c:v>
                </c:pt>
                <c:pt idx="2298">
                  <c:v>1</c:v>
                </c:pt>
                <c:pt idx="2299">
                  <c:v>0</c:v>
                </c:pt>
                <c:pt idx="2300">
                  <c:v>0</c:v>
                </c:pt>
                <c:pt idx="2301">
                  <c:v>0</c:v>
                </c:pt>
                <c:pt idx="2302">
                  <c:v>0</c:v>
                </c:pt>
                <c:pt idx="2303">
                  <c:v>5</c:v>
                </c:pt>
                <c:pt idx="2304">
                  <c:v>1</c:v>
                </c:pt>
                <c:pt idx="2305">
                  <c:v>0</c:v>
                </c:pt>
                <c:pt idx="2306">
                  <c:v>0</c:v>
                </c:pt>
                <c:pt idx="2307">
                  <c:v>0</c:v>
                </c:pt>
                <c:pt idx="2308">
                  <c:v>4</c:v>
                </c:pt>
                <c:pt idx="2309">
                  <c:v>1</c:v>
                </c:pt>
                <c:pt idx="2310">
                  <c:v>0</c:v>
                </c:pt>
                <c:pt idx="2311">
                  <c:v>1</c:v>
                </c:pt>
                <c:pt idx="2312">
                  <c:v>2</c:v>
                </c:pt>
                <c:pt idx="2313">
                  <c:v>2</c:v>
                </c:pt>
                <c:pt idx="2314">
                  <c:v>19</c:v>
                </c:pt>
                <c:pt idx="2315">
                  <c:v>0</c:v>
                </c:pt>
                <c:pt idx="2316">
                  <c:v>6</c:v>
                </c:pt>
                <c:pt idx="2317">
                  <c:v>0</c:v>
                </c:pt>
                <c:pt idx="2318">
                  <c:v>0</c:v>
                </c:pt>
                <c:pt idx="2319">
                  <c:v>1</c:v>
                </c:pt>
                <c:pt idx="2320">
                  <c:v>5</c:v>
                </c:pt>
                <c:pt idx="2321">
                  <c:v>2</c:v>
                </c:pt>
                <c:pt idx="2322">
                  <c:v>1</c:v>
                </c:pt>
                <c:pt idx="2323">
                  <c:v>0</c:v>
                </c:pt>
                <c:pt idx="2324">
                  <c:v>0</c:v>
                </c:pt>
                <c:pt idx="2325">
                  <c:v>0</c:v>
                </c:pt>
                <c:pt idx="2326">
                  <c:v>0</c:v>
                </c:pt>
                <c:pt idx="2327">
                  <c:v>3</c:v>
                </c:pt>
                <c:pt idx="2328">
                  <c:v>0</c:v>
                </c:pt>
                <c:pt idx="2329">
                  <c:v>2</c:v>
                </c:pt>
                <c:pt idx="2330">
                  <c:v>3</c:v>
                </c:pt>
                <c:pt idx="2331">
                  <c:v>0</c:v>
                </c:pt>
                <c:pt idx="2332">
                  <c:v>0</c:v>
                </c:pt>
                <c:pt idx="2333">
                  <c:v>0</c:v>
                </c:pt>
                <c:pt idx="2334">
                  <c:v>1</c:v>
                </c:pt>
                <c:pt idx="2335">
                  <c:v>1</c:v>
                </c:pt>
                <c:pt idx="2336">
                  <c:v>0</c:v>
                </c:pt>
                <c:pt idx="2337">
                  <c:v>2</c:v>
                </c:pt>
                <c:pt idx="2338">
                  <c:v>5</c:v>
                </c:pt>
                <c:pt idx="2339">
                  <c:v>1</c:v>
                </c:pt>
                <c:pt idx="2340">
                  <c:v>0</c:v>
                </c:pt>
                <c:pt idx="2341">
                  <c:v>0</c:v>
                </c:pt>
                <c:pt idx="2342">
                  <c:v>1</c:v>
                </c:pt>
                <c:pt idx="2343">
                  <c:v>2</c:v>
                </c:pt>
                <c:pt idx="2344">
                  <c:v>1</c:v>
                </c:pt>
                <c:pt idx="2345">
                  <c:v>0</c:v>
                </c:pt>
                <c:pt idx="2346">
                  <c:v>0</c:v>
                </c:pt>
                <c:pt idx="2347">
                  <c:v>0</c:v>
                </c:pt>
                <c:pt idx="2348">
                  <c:v>0</c:v>
                </c:pt>
                <c:pt idx="2349">
                  <c:v>0</c:v>
                </c:pt>
                <c:pt idx="2350">
                  <c:v>0</c:v>
                </c:pt>
                <c:pt idx="2351">
                  <c:v>0</c:v>
                </c:pt>
                <c:pt idx="2352">
                  <c:v>2</c:v>
                </c:pt>
                <c:pt idx="2353">
                  <c:v>0</c:v>
                </c:pt>
                <c:pt idx="2354">
                  <c:v>0</c:v>
                </c:pt>
                <c:pt idx="2355">
                  <c:v>3</c:v>
                </c:pt>
                <c:pt idx="2356">
                  <c:v>1</c:v>
                </c:pt>
                <c:pt idx="2357">
                  <c:v>5</c:v>
                </c:pt>
                <c:pt idx="2358">
                  <c:v>0</c:v>
                </c:pt>
                <c:pt idx="2359">
                  <c:v>1</c:v>
                </c:pt>
                <c:pt idx="2360">
                  <c:v>0</c:v>
                </c:pt>
                <c:pt idx="2361">
                  <c:v>2</c:v>
                </c:pt>
                <c:pt idx="2362">
                  <c:v>2</c:v>
                </c:pt>
                <c:pt idx="2363">
                  <c:v>2</c:v>
                </c:pt>
                <c:pt idx="2364">
                  <c:v>0</c:v>
                </c:pt>
                <c:pt idx="2365">
                  <c:v>1</c:v>
                </c:pt>
                <c:pt idx="2366">
                  <c:v>0</c:v>
                </c:pt>
                <c:pt idx="2367">
                  <c:v>0</c:v>
                </c:pt>
                <c:pt idx="2368">
                  <c:v>3</c:v>
                </c:pt>
                <c:pt idx="2369">
                  <c:v>0</c:v>
                </c:pt>
                <c:pt idx="2370">
                  <c:v>0</c:v>
                </c:pt>
                <c:pt idx="2371">
                  <c:v>0</c:v>
                </c:pt>
                <c:pt idx="2372">
                  <c:v>3</c:v>
                </c:pt>
                <c:pt idx="2373">
                  <c:v>0</c:v>
                </c:pt>
                <c:pt idx="2374">
                  <c:v>3</c:v>
                </c:pt>
                <c:pt idx="2375">
                  <c:v>2</c:v>
                </c:pt>
                <c:pt idx="2376">
                  <c:v>1</c:v>
                </c:pt>
                <c:pt idx="2377">
                  <c:v>0</c:v>
                </c:pt>
                <c:pt idx="2378">
                  <c:v>0</c:v>
                </c:pt>
                <c:pt idx="2379">
                  <c:v>0</c:v>
                </c:pt>
                <c:pt idx="2380">
                  <c:v>0</c:v>
                </c:pt>
                <c:pt idx="2381">
                  <c:v>0</c:v>
                </c:pt>
                <c:pt idx="2382">
                  <c:v>3</c:v>
                </c:pt>
                <c:pt idx="2383">
                  <c:v>1</c:v>
                </c:pt>
                <c:pt idx="2384">
                  <c:v>2</c:v>
                </c:pt>
                <c:pt idx="2385">
                  <c:v>0</c:v>
                </c:pt>
                <c:pt idx="2386">
                  <c:v>0</c:v>
                </c:pt>
                <c:pt idx="2387">
                  <c:v>0</c:v>
                </c:pt>
                <c:pt idx="2388">
                  <c:v>5</c:v>
                </c:pt>
                <c:pt idx="2389">
                  <c:v>0</c:v>
                </c:pt>
                <c:pt idx="2390">
                  <c:v>1</c:v>
                </c:pt>
                <c:pt idx="2391">
                  <c:v>1</c:v>
                </c:pt>
                <c:pt idx="2392">
                  <c:v>0</c:v>
                </c:pt>
                <c:pt idx="2393">
                  <c:v>0</c:v>
                </c:pt>
                <c:pt idx="2394">
                  <c:v>2</c:v>
                </c:pt>
                <c:pt idx="2395">
                  <c:v>2</c:v>
                </c:pt>
                <c:pt idx="2396">
                  <c:v>0</c:v>
                </c:pt>
                <c:pt idx="2397">
                  <c:v>0</c:v>
                </c:pt>
                <c:pt idx="2398">
                  <c:v>0</c:v>
                </c:pt>
                <c:pt idx="2399">
                  <c:v>0</c:v>
                </c:pt>
                <c:pt idx="2400">
                  <c:v>0</c:v>
                </c:pt>
                <c:pt idx="2401">
                  <c:v>0</c:v>
                </c:pt>
                <c:pt idx="2402">
                  <c:v>3</c:v>
                </c:pt>
                <c:pt idx="2403">
                  <c:v>3</c:v>
                </c:pt>
                <c:pt idx="2404">
                  <c:v>1</c:v>
                </c:pt>
                <c:pt idx="2405">
                  <c:v>0</c:v>
                </c:pt>
                <c:pt idx="2406">
                  <c:v>1</c:v>
                </c:pt>
                <c:pt idx="2407">
                  <c:v>0</c:v>
                </c:pt>
                <c:pt idx="2408">
                  <c:v>1</c:v>
                </c:pt>
                <c:pt idx="2409">
                  <c:v>2</c:v>
                </c:pt>
                <c:pt idx="2410">
                  <c:v>0</c:v>
                </c:pt>
                <c:pt idx="2411">
                  <c:v>0</c:v>
                </c:pt>
                <c:pt idx="2412">
                  <c:v>0</c:v>
                </c:pt>
                <c:pt idx="2413">
                  <c:v>0</c:v>
                </c:pt>
                <c:pt idx="2414">
                  <c:v>0</c:v>
                </c:pt>
                <c:pt idx="2415">
                  <c:v>0</c:v>
                </c:pt>
                <c:pt idx="2416">
                  <c:v>2</c:v>
                </c:pt>
                <c:pt idx="2417">
                  <c:v>0</c:v>
                </c:pt>
                <c:pt idx="2418">
                  <c:v>3</c:v>
                </c:pt>
                <c:pt idx="2419">
                  <c:v>3</c:v>
                </c:pt>
                <c:pt idx="2420">
                  <c:v>0</c:v>
                </c:pt>
                <c:pt idx="2421">
                  <c:v>0</c:v>
                </c:pt>
                <c:pt idx="2422">
                  <c:v>0</c:v>
                </c:pt>
                <c:pt idx="2423">
                  <c:v>0</c:v>
                </c:pt>
                <c:pt idx="2424">
                  <c:v>0</c:v>
                </c:pt>
                <c:pt idx="2425">
                  <c:v>0</c:v>
                </c:pt>
                <c:pt idx="2426">
                  <c:v>0</c:v>
                </c:pt>
                <c:pt idx="2427">
                  <c:v>1</c:v>
                </c:pt>
                <c:pt idx="2428">
                  <c:v>0</c:v>
                </c:pt>
                <c:pt idx="2429">
                  <c:v>0</c:v>
                </c:pt>
                <c:pt idx="2430">
                  <c:v>9</c:v>
                </c:pt>
                <c:pt idx="2431">
                  <c:v>2</c:v>
                </c:pt>
                <c:pt idx="2432">
                  <c:v>1</c:v>
                </c:pt>
                <c:pt idx="2433">
                  <c:v>6</c:v>
                </c:pt>
                <c:pt idx="2434">
                  <c:v>0</c:v>
                </c:pt>
                <c:pt idx="2435">
                  <c:v>0</c:v>
                </c:pt>
                <c:pt idx="2436">
                  <c:v>0</c:v>
                </c:pt>
                <c:pt idx="2437">
                  <c:v>1</c:v>
                </c:pt>
                <c:pt idx="2438">
                  <c:v>52</c:v>
                </c:pt>
                <c:pt idx="2439">
                  <c:v>1</c:v>
                </c:pt>
                <c:pt idx="2440">
                  <c:v>0</c:v>
                </c:pt>
                <c:pt idx="2441">
                  <c:v>4</c:v>
                </c:pt>
                <c:pt idx="2442">
                  <c:v>3</c:v>
                </c:pt>
                <c:pt idx="2443">
                  <c:v>0</c:v>
                </c:pt>
                <c:pt idx="2444">
                  <c:v>3</c:v>
                </c:pt>
                <c:pt idx="2445">
                  <c:v>0</c:v>
                </c:pt>
                <c:pt idx="2446">
                  <c:v>2</c:v>
                </c:pt>
                <c:pt idx="2447">
                  <c:v>0</c:v>
                </c:pt>
                <c:pt idx="2448">
                  <c:v>2</c:v>
                </c:pt>
                <c:pt idx="2449">
                  <c:v>0</c:v>
                </c:pt>
                <c:pt idx="2450">
                  <c:v>1</c:v>
                </c:pt>
                <c:pt idx="2451">
                  <c:v>2</c:v>
                </c:pt>
                <c:pt idx="2452">
                  <c:v>0</c:v>
                </c:pt>
                <c:pt idx="2453">
                  <c:v>1</c:v>
                </c:pt>
                <c:pt idx="2454">
                  <c:v>1</c:v>
                </c:pt>
                <c:pt idx="2455">
                  <c:v>0</c:v>
                </c:pt>
                <c:pt idx="2456">
                  <c:v>0</c:v>
                </c:pt>
                <c:pt idx="2457">
                  <c:v>0</c:v>
                </c:pt>
                <c:pt idx="2458">
                  <c:v>1</c:v>
                </c:pt>
                <c:pt idx="2459">
                  <c:v>0</c:v>
                </c:pt>
                <c:pt idx="2460">
                  <c:v>0</c:v>
                </c:pt>
                <c:pt idx="2461">
                  <c:v>3</c:v>
                </c:pt>
                <c:pt idx="2462">
                  <c:v>6</c:v>
                </c:pt>
                <c:pt idx="2463">
                  <c:v>0</c:v>
                </c:pt>
                <c:pt idx="2464">
                  <c:v>0</c:v>
                </c:pt>
                <c:pt idx="2465">
                  <c:v>3</c:v>
                </c:pt>
                <c:pt idx="2466">
                  <c:v>2</c:v>
                </c:pt>
                <c:pt idx="2467">
                  <c:v>2</c:v>
                </c:pt>
                <c:pt idx="2468">
                  <c:v>0</c:v>
                </c:pt>
                <c:pt idx="2469">
                  <c:v>1</c:v>
                </c:pt>
                <c:pt idx="2470">
                  <c:v>0</c:v>
                </c:pt>
                <c:pt idx="2471">
                  <c:v>0</c:v>
                </c:pt>
                <c:pt idx="2472">
                  <c:v>0</c:v>
                </c:pt>
                <c:pt idx="2473">
                  <c:v>2</c:v>
                </c:pt>
                <c:pt idx="2474">
                  <c:v>0</c:v>
                </c:pt>
                <c:pt idx="2475">
                  <c:v>0</c:v>
                </c:pt>
                <c:pt idx="2476">
                  <c:v>2</c:v>
                </c:pt>
                <c:pt idx="2477">
                  <c:v>0</c:v>
                </c:pt>
                <c:pt idx="2478">
                  <c:v>1</c:v>
                </c:pt>
                <c:pt idx="2479">
                  <c:v>0</c:v>
                </c:pt>
                <c:pt idx="2480">
                  <c:v>4</c:v>
                </c:pt>
                <c:pt idx="2481">
                  <c:v>0</c:v>
                </c:pt>
                <c:pt idx="2482">
                  <c:v>1</c:v>
                </c:pt>
                <c:pt idx="2483">
                  <c:v>0</c:v>
                </c:pt>
                <c:pt idx="2484">
                  <c:v>1</c:v>
                </c:pt>
                <c:pt idx="2485">
                  <c:v>1</c:v>
                </c:pt>
                <c:pt idx="2486">
                  <c:v>0</c:v>
                </c:pt>
                <c:pt idx="2487">
                  <c:v>0</c:v>
                </c:pt>
                <c:pt idx="2488">
                  <c:v>0</c:v>
                </c:pt>
                <c:pt idx="2489">
                  <c:v>4</c:v>
                </c:pt>
                <c:pt idx="2490">
                  <c:v>0</c:v>
                </c:pt>
                <c:pt idx="2491">
                  <c:v>0</c:v>
                </c:pt>
                <c:pt idx="2492">
                  <c:v>0</c:v>
                </c:pt>
                <c:pt idx="2493">
                  <c:v>2</c:v>
                </c:pt>
                <c:pt idx="2494">
                  <c:v>0</c:v>
                </c:pt>
                <c:pt idx="2495">
                  <c:v>1</c:v>
                </c:pt>
                <c:pt idx="2496">
                  <c:v>0</c:v>
                </c:pt>
                <c:pt idx="2497">
                  <c:v>3</c:v>
                </c:pt>
                <c:pt idx="2498">
                  <c:v>0</c:v>
                </c:pt>
                <c:pt idx="2499">
                  <c:v>0</c:v>
                </c:pt>
                <c:pt idx="2500">
                  <c:v>0</c:v>
                </c:pt>
                <c:pt idx="2501">
                  <c:v>0</c:v>
                </c:pt>
                <c:pt idx="2502">
                  <c:v>0</c:v>
                </c:pt>
                <c:pt idx="2503">
                  <c:v>2</c:v>
                </c:pt>
                <c:pt idx="2504">
                  <c:v>9</c:v>
                </c:pt>
                <c:pt idx="2505">
                  <c:v>2</c:v>
                </c:pt>
                <c:pt idx="2506">
                  <c:v>1</c:v>
                </c:pt>
                <c:pt idx="2507">
                  <c:v>0</c:v>
                </c:pt>
                <c:pt idx="2508">
                  <c:v>0</c:v>
                </c:pt>
                <c:pt idx="2509">
                  <c:v>0</c:v>
                </c:pt>
                <c:pt idx="2510">
                  <c:v>2</c:v>
                </c:pt>
                <c:pt idx="2511">
                  <c:v>0</c:v>
                </c:pt>
                <c:pt idx="2512">
                  <c:v>2</c:v>
                </c:pt>
                <c:pt idx="2513">
                  <c:v>1</c:v>
                </c:pt>
                <c:pt idx="2514">
                  <c:v>0</c:v>
                </c:pt>
                <c:pt idx="2515">
                  <c:v>0</c:v>
                </c:pt>
                <c:pt idx="2516">
                  <c:v>6</c:v>
                </c:pt>
                <c:pt idx="2517">
                  <c:v>0</c:v>
                </c:pt>
                <c:pt idx="2518">
                  <c:v>4</c:v>
                </c:pt>
                <c:pt idx="2519">
                  <c:v>2</c:v>
                </c:pt>
                <c:pt idx="2520">
                  <c:v>0</c:v>
                </c:pt>
                <c:pt idx="2521">
                  <c:v>0</c:v>
                </c:pt>
                <c:pt idx="2522">
                  <c:v>0</c:v>
                </c:pt>
                <c:pt idx="2523">
                  <c:v>2</c:v>
                </c:pt>
                <c:pt idx="2524">
                  <c:v>4</c:v>
                </c:pt>
                <c:pt idx="2525">
                  <c:v>0</c:v>
                </c:pt>
                <c:pt idx="2526">
                  <c:v>1</c:v>
                </c:pt>
                <c:pt idx="2527">
                  <c:v>5</c:v>
                </c:pt>
                <c:pt idx="2528">
                  <c:v>1</c:v>
                </c:pt>
                <c:pt idx="2529">
                  <c:v>0</c:v>
                </c:pt>
                <c:pt idx="2530">
                  <c:v>4</c:v>
                </c:pt>
                <c:pt idx="2531">
                  <c:v>1</c:v>
                </c:pt>
                <c:pt idx="2532">
                  <c:v>0</c:v>
                </c:pt>
                <c:pt idx="2533">
                  <c:v>3</c:v>
                </c:pt>
                <c:pt idx="2534">
                  <c:v>0</c:v>
                </c:pt>
                <c:pt idx="2535">
                  <c:v>2</c:v>
                </c:pt>
                <c:pt idx="2536">
                  <c:v>3</c:v>
                </c:pt>
                <c:pt idx="2537">
                  <c:v>0</c:v>
                </c:pt>
                <c:pt idx="2538">
                  <c:v>0</c:v>
                </c:pt>
                <c:pt idx="2539">
                  <c:v>1</c:v>
                </c:pt>
                <c:pt idx="2540">
                  <c:v>1</c:v>
                </c:pt>
                <c:pt idx="2541">
                  <c:v>4</c:v>
                </c:pt>
                <c:pt idx="2542">
                  <c:v>0</c:v>
                </c:pt>
                <c:pt idx="2543">
                  <c:v>1</c:v>
                </c:pt>
                <c:pt idx="2544">
                  <c:v>1</c:v>
                </c:pt>
                <c:pt idx="2545">
                  <c:v>0</c:v>
                </c:pt>
                <c:pt idx="2546">
                  <c:v>0</c:v>
                </c:pt>
                <c:pt idx="2547">
                  <c:v>0</c:v>
                </c:pt>
                <c:pt idx="2548">
                  <c:v>0</c:v>
                </c:pt>
                <c:pt idx="2549">
                  <c:v>0</c:v>
                </c:pt>
                <c:pt idx="2550">
                  <c:v>1</c:v>
                </c:pt>
                <c:pt idx="2551">
                  <c:v>1</c:v>
                </c:pt>
                <c:pt idx="2552">
                  <c:v>0</c:v>
                </c:pt>
                <c:pt idx="2553">
                  <c:v>1</c:v>
                </c:pt>
                <c:pt idx="2554">
                  <c:v>4</c:v>
                </c:pt>
                <c:pt idx="2555">
                  <c:v>1</c:v>
                </c:pt>
                <c:pt idx="2556">
                  <c:v>1</c:v>
                </c:pt>
                <c:pt idx="2557">
                  <c:v>1</c:v>
                </c:pt>
                <c:pt idx="2558">
                  <c:v>0</c:v>
                </c:pt>
                <c:pt idx="2559">
                  <c:v>5</c:v>
                </c:pt>
                <c:pt idx="2560">
                  <c:v>0</c:v>
                </c:pt>
                <c:pt idx="2561">
                  <c:v>0</c:v>
                </c:pt>
                <c:pt idx="2562">
                  <c:v>0</c:v>
                </c:pt>
                <c:pt idx="2563">
                  <c:v>0</c:v>
                </c:pt>
                <c:pt idx="2564">
                  <c:v>1</c:v>
                </c:pt>
                <c:pt idx="2565">
                  <c:v>1</c:v>
                </c:pt>
                <c:pt idx="2566">
                  <c:v>0</c:v>
                </c:pt>
                <c:pt idx="2567">
                  <c:v>0</c:v>
                </c:pt>
                <c:pt idx="2568">
                  <c:v>2</c:v>
                </c:pt>
                <c:pt idx="2569">
                  <c:v>2</c:v>
                </c:pt>
                <c:pt idx="2570">
                  <c:v>0</c:v>
                </c:pt>
                <c:pt idx="2571">
                  <c:v>3</c:v>
                </c:pt>
                <c:pt idx="2572">
                  <c:v>0</c:v>
                </c:pt>
                <c:pt idx="2573">
                  <c:v>1</c:v>
                </c:pt>
                <c:pt idx="2574">
                  <c:v>2</c:v>
                </c:pt>
                <c:pt idx="2575">
                  <c:v>0</c:v>
                </c:pt>
                <c:pt idx="2576">
                  <c:v>0</c:v>
                </c:pt>
                <c:pt idx="2577">
                  <c:v>1</c:v>
                </c:pt>
                <c:pt idx="2578">
                  <c:v>0</c:v>
                </c:pt>
                <c:pt idx="2579">
                  <c:v>0</c:v>
                </c:pt>
                <c:pt idx="2580">
                  <c:v>1</c:v>
                </c:pt>
                <c:pt idx="2581">
                  <c:v>0</c:v>
                </c:pt>
                <c:pt idx="2582">
                  <c:v>0</c:v>
                </c:pt>
                <c:pt idx="2583">
                  <c:v>1</c:v>
                </c:pt>
                <c:pt idx="2584">
                  <c:v>1</c:v>
                </c:pt>
                <c:pt idx="2585">
                  <c:v>1</c:v>
                </c:pt>
                <c:pt idx="2586">
                  <c:v>1</c:v>
                </c:pt>
                <c:pt idx="2587">
                  <c:v>6</c:v>
                </c:pt>
                <c:pt idx="2588">
                  <c:v>0</c:v>
                </c:pt>
                <c:pt idx="2589">
                  <c:v>4</c:v>
                </c:pt>
                <c:pt idx="2590">
                  <c:v>0</c:v>
                </c:pt>
                <c:pt idx="2591">
                  <c:v>0</c:v>
                </c:pt>
                <c:pt idx="2592">
                  <c:v>0</c:v>
                </c:pt>
                <c:pt idx="2593">
                  <c:v>10</c:v>
                </c:pt>
                <c:pt idx="2594">
                  <c:v>0</c:v>
                </c:pt>
                <c:pt idx="2595">
                  <c:v>0</c:v>
                </c:pt>
                <c:pt idx="2596">
                  <c:v>1</c:v>
                </c:pt>
                <c:pt idx="2597">
                  <c:v>1</c:v>
                </c:pt>
                <c:pt idx="2598">
                  <c:v>0</c:v>
                </c:pt>
                <c:pt idx="2599">
                  <c:v>2</c:v>
                </c:pt>
                <c:pt idx="2600">
                  <c:v>0</c:v>
                </c:pt>
                <c:pt idx="2601">
                  <c:v>0</c:v>
                </c:pt>
                <c:pt idx="2602">
                  <c:v>2</c:v>
                </c:pt>
                <c:pt idx="2603">
                  <c:v>0</c:v>
                </c:pt>
                <c:pt idx="2604">
                  <c:v>0</c:v>
                </c:pt>
                <c:pt idx="2605">
                  <c:v>0</c:v>
                </c:pt>
                <c:pt idx="2606">
                  <c:v>6</c:v>
                </c:pt>
                <c:pt idx="2607">
                  <c:v>0</c:v>
                </c:pt>
                <c:pt idx="2608">
                  <c:v>1</c:v>
                </c:pt>
                <c:pt idx="2609">
                  <c:v>1</c:v>
                </c:pt>
                <c:pt idx="2610">
                  <c:v>0</c:v>
                </c:pt>
                <c:pt idx="2611">
                  <c:v>1</c:v>
                </c:pt>
                <c:pt idx="2612">
                  <c:v>1</c:v>
                </c:pt>
                <c:pt idx="2613">
                  <c:v>0</c:v>
                </c:pt>
                <c:pt idx="2614">
                  <c:v>1</c:v>
                </c:pt>
                <c:pt idx="2615">
                  <c:v>3</c:v>
                </c:pt>
                <c:pt idx="2616">
                  <c:v>0</c:v>
                </c:pt>
                <c:pt idx="2617">
                  <c:v>0</c:v>
                </c:pt>
                <c:pt idx="2618">
                  <c:v>0</c:v>
                </c:pt>
                <c:pt idx="2619">
                  <c:v>2</c:v>
                </c:pt>
                <c:pt idx="2620">
                  <c:v>1</c:v>
                </c:pt>
                <c:pt idx="2621">
                  <c:v>0</c:v>
                </c:pt>
                <c:pt idx="2622">
                  <c:v>4</c:v>
                </c:pt>
                <c:pt idx="2623">
                  <c:v>0</c:v>
                </c:pt>
                <c:pt idx="2624">
                  <c:v>2</c:v>
                </c:pt>
                <c:pt idx="2625">
                  <c:v>0</c:v>
                </c:pt>
                <c:pt idx="2626">
                  <c:v>0</c:v>
                </c:pt>
                <c:pt idx="2627">
                  <c:v>0</c:v>
                </c:pt>
                <c:pt idx="2628">
                  <c:v>0</c:v>
                </c:pt>
                <c:pt idx="2629">
                  <c:v>3</c:v>
                </c:pt>
                <c:pt idx="2630">
                  <c:v>1</c:v>
                </c:pt>
                <c:pt idx="2631">
                  <c:v>0</c:v>
                </c:pt>
                <c:pt idx="2632">
                  <c:v>3</c:v>
                </c:pt>
                <c:pt idx="2633">
                  <c:v>0</c:v>
                </c:pt>
                <c:pt idx="2634">
                  <c:v>0</c:v>
                </c:pt>
                <c:pt idx="2635">
                  <c:v>2</c:v>
                </c:pt>
                <c:pt idx="2636">
                  <c:v>3</c:v>
                </c:pt>
                <c:pt idx="2637">
                  <c:v>1</c:v>
                </c:pt>
                <c:pt idx="2638">
                  <c:v>2</c:v>
                </c:pt>
                <c:pt idx="2639">
                  <c:v>0</c:v>
                </c:pt>
                <c:pt idx="2640">
                  <c:v>1</c:v>
                </c:pt>
                <c:pt idx="2641">
                  <c:v>0</c:v>
                </c:pt>
                <c:pt idx="2642">
                  <c:v>0</c:v>
                </c:pt>
                <c:pt idx="2643">
                  <c:v>2</c:v>
                </c:pt>
                <c:pt idx="2644">
                  <c:v>1</c:v>
                </c:pt>
                <c:pt idx="2645">
                  <c:v>1</c:v>
                </c:pt>
                <c:pt idx="2646">
                  <c:v>0</c:v>
                </c:pt>
                <c:pt idx="2647">
                  <c:v>1</c:v>
                </c:pt>
                <c:pt idx="2648">
                  <c:v>2</c:v>
                </c:pt>
                <c:pt idx="2649">
                  <c:v>0</c:v>
                </c:pt>
                <c:pt idx="2650">
                  <c:v>1</c:v>
                </c:pt>
                <c:pt idx="2651">
                  <c:v>5</c:v>
                </c:pt>
                <c:pt idx="2652">
                  <c:v>2</c:v>
                </c:pt>
                <c:pt idx="2653">
                  <c:v>3</c:v>
                </c:pt>
                <c:pt idx="2654">
                  <c:v>2</c:v>
                </c:pt>
                <c:pt idx="2655">
                  <c:v>0</c:v>
                </c:pt>
                <c:pt idx="2656">
                  <c:v>2</c:v>
                </c:pt>
                <c:pt idx="2657">
                  <c:v>3</c:v>
                </c:pt>
                <c:pt idx="2658">
                  <c:v>4</c:v>
                </c:pt>
                <c:pt idx="2659">
                  <c:v>3</c:v>
                </c:pt>
                <c:pt idx="2660">
                  <c:v>0</c:v>
                </c:pt>
                <c:pt idx="2661">
                  <c:v>6</c:v>
                </c:pt>
                <c:pt idx="2662">
                  <c:v>0</c:v>
                </c:pt>
                <c:pt idx="2663">
                  <c:v>3</c:v>
                </c:pt>
                <c:pt idx="2664">
                  <c:v>0</c:v>
                </c:pt>
                <c:pt idx="2665">
                  <c:v>1</c:v>
                </c:pt>
                <c:pt idx="2666">
                  <c:v>16</c:v>
                </c:pt>
                <c:pt idx="2667">
                  <c:v>0</c:v>
                </c:pt>
                <c:pt idx="2668">
                  <c:v>0</c:v>
                </c:pt>
                <c:pt idx="2669">
                  <c:v>0</c:v>
                </c:pt>
                <c:pt idx="2670">
                  <c:v>3</c:v>
                </c:pt>
                <c:pt idx="2671">
                  <c:v>2</c:v>
                </c:pt>
                <c:pt idx="2672">
                  <c:v>0</c:v>
                </c:pt>
                <c:pt idx="2673">
                  <c:v>3</c:v>
                </c:pt>
                <c:pt idx="2674">
                  <c:v>0</c:v>
                </c:pt>
                <c:pt idx="2675">
                  <c:v>1</c:v>
                </c:pt>
                <c:pt idx="2676">
                  <c:v>0</c:v>
                </c:pt>
                <c:pt idx="2677">
                  <c:v>1</c:v>
                </c:pt>
                <c:pt idx="2678">
                  <c:v>0</c:v>
                </c:pt>
                <c:pt idx="2679">
                  <c:v>1</c:v>
                </c:pt>
                <c:pt idx="2680">
                  <c:v>0</c:v>
                </c:pt>
                <c:pt idx="2681">
                  <c:v>0</c:v>
                </c:pt>
                <c:pt idx="2682">
                  <c:v>0</c:v>
                </c:pt>
                <c:pt idx="2683">
                  <c:v>1</c:v>
                </c:pt>
                <c:pt idx="2684">
                  <c:v>0</c:v>
                </c:pt>
                <c:pt idx="2685">
                  <c:v>0</c:v>
                </c:pt>
                <c:pt idx="2686">
                  <c:v>0</c:v>
                </c:pt>
                <c:pt idx="2687">
                  <c:v>4</c:v>
                </c:pt>
                <c:pt idx="2688">
                  <c:v>1</c:v>
                </c:pt>
                <c:pt idx="2689">
                  <c:v>3</c:v>
                </c:pt>
                <c:pt idx="2690">
                  <c:v>2</c:v>
                </c:pt>
                <c:pt idx="2691">
                  <c:v>0</c:v>
                </c:pt>
                <c:pt idx="2692">
                  <c:v>0</c:v>
                </c:pt>
                <c:pt idx="2693">
                  <c:v>0</c:v>
                </c:pt>
                <c:pt idx="2694">
                  <c:v>0</c:v>
                </c:pt>
                <c:pt idx="2695">
                  <c:v>1</c:v>
                </c:pt>
                <c:pt idx="2696">
                  <c:v>0</c:v>
                </c:pt>
                <c:pt idx="2697">
                  <c:v>0</c:v>
                </c:pt>
                <c:pt idx="2698">
                  <c:v>0</c:v>
                </c:pt>
                <c:pt idx="2699">
                  <c:v>0</c:v>
                </c:pt>
                <c:pt idx="2700">
                  <c:v>3</c:v>
                </c:pt>
                <c:pt idx="2701">
                  <c:v>0</c:v>
                </c:pt>
                <c:pt idx="2702">
                  <c:v>9</c:v>
                </c:pt>
                <c:pt idx="2703">
                  <c:v>0</c:v>
                </c:pt>
                <c:pt idx="2704">
                  <c:v>0</c:v>
                </c:pt>
                <c:pt idx="2705">
                  <c:v>0</c:v>
                </c:pt>
                <c:pt idx="2706">
                  <c:v>0</c:v>
                </c:pt>
                <c:pt idx="2707">
                  <c:v>1</c:v>
                </c:pt>
                <c:pt idx="2708">
                  <c:v>0</c:v>
                </c:pt>
                <c:pt idx="2709">
                  <c:v>0</c:v>
                </c:pt>
                <c:pt idx="2710">
                  <c:v>0</c:v>
                </c:pt>
                <c:pt idx="2711">
                  <c:v>3</c:v>
                </c:pt>
                <c:pt idx="2712">
                  <c:v>0</c:v>
                </c:pt>
                <c:pt idx="2713">
                  <c:v>2</c:v>
                </c:pt>
                <c:pt idx="2714">
                  <c:v>0</c:v>
                </c:pt>
                <c:pt idx="2715">
                  <c:v>1</c:v>
                </c:pt>
                <c:pt idx="2716">
                  <c:v>0</c:v>
                </c:pt>
                <c:pt idx="2717">
                  <c:v>0</c:v>
                </c:pt>
                <c:pt idx="2718">
                  <c:v>4</c:v>
                </c:pt>
                <c:pt idx="2719">
                  <c:v>0</c:v>
                </c:pt>
                <c:pt idx="2720">
                  <c:v>2</c:v>
                </c:pt>
                <c:pt idx="2721">
                  <c:v>0</c:v>
                </c:pt>
                <c:pt idx="2722">
                  <c:v>1</c:v>
                </c:pt>
                <c:pt idx="2723">
                  <c:v>3</c:v>
                </c:pt>
                <c:pt idx="2724">
                  <c:v>1</c:v>
                </c:pt>
                <c:pt idx="2725">
                  <c:v>2</c:v>
                </c:pt>
                <c:pt idx="2726">
                  <c:v>1</c:v>
                </c:pt>
                <c:pt idx="2727">
                  <c:v>1</c:v>
                </c:pt>
                <c:pt idx="2728">
                  <c:v>0</c:v>
                </c:pt>
                <c:pt idx="2729">
                  <c:v>0</c:v>
                </c:pt>
                <c:pt idx="2730">
                  <c:v>0</c:v>
                </c:pt>
                <c:pt idx="2731">
                  <c:v>0</c:v>
                </c:pt>
                <c:pt idx="2732">
                  <c:v>2</c:v>
                </c:pt>
                <c:pt idx="2733">
                  <c:v>0</c:v>
                </c:pt>
                <c:pt idx="2734">
                  <c:v>3</c:v>
                </c:pt>
                <c:pt idx="2735">
                  <c:v>0</c:v>
                </c:pt>
                <c:pt idx="2736">
                  <c:v>0</c:v>
                </c:pt>
                <c:pt idx="2737">
                  <c:v>0</c:v>
                </c:pt>
                <c:pt idx="2738">
                  <c:v>0</c:v>
                </c:pt>
                <c:pt idx="2739">
                  <c:v>3</c:v>
                </c:pt>
                <c:pt idx="2740">
                  <c:v>2</c:v>
                </c:pt>
                <c:pt idx="2741">
                  <c:v>4</c:v>
                </c:pt>
                <c:pt idx="2742">
                  <c:v>1</c:v>
                </c:pt>
                <c:pt idx="2743">
                  <c:v>3</c:v>
                </c:pt>
                <c:pt idx="2744">
                  <c:v>0</c:v>
                </c:pt>
                <c:pt idx="2745">
                  <c:v>0</c:v>
                </c:pt>
                <c:pt idx="2746">
                  <c:v>1</c:v>
                </c:pt>
                <c:pt idx="2747">
                  <c:v>1</c:v>
                </c:pt>
                <c:pt idx="2748">
                  <c:v>3</c:v>
                </c:pt>
                <c:pt idx="2749">
                  <c:v>1</c:v>
                </c:pt>
                <c:pt idx="2750">
                  <c:v>1</c:v>
                </c:pt>
                <c:pt idx="2751">
                  <c:v>0</c:v>
                </c:pt>
                <c:pt idx="2752">
                  <c:v>0</c:v>
                </c:pt>
                <c:pt idx="2753">
                  <c:v>2</c:v>
                </c:pt>
                <c:pt idx="2754">
                  <c:v>0</c:v>
                </c:pt>
                <c:pt idx="2755">
                  <c:v>0</c:v>
                </c:pt>
                <c:pt idx="2756">
                  <c:v>1</c:v>
                </c:pt>
                <c:pt idx="2757">
                  <c:v>0</c:v>
                </c:pt>
                <c:pt idx="2758">
                  <c:v>1</c:v>
                </c:pt>
                <c:pt idx="2759">
                  <c:v>0</c:v>
                </c:pt>
                <c:pt idx="2760">
                  <c:v>1</c:v>
                </c:pt>
                <c:pt idx="2761">
                  <c:v>0</c:v>
                </c:pt>
                <c:pt idx="2762">
                  <c:v>1</c:v>
                </c:pt>
                <c:pt idx="2763">
                  <c:v>1</c:v>
                </c:pt>
                <c:pt idx="2764">
                  <c:v>0</c:v>
                </c:pt>
                <c:pt idx="2765">
                  <c:v>7</c:v>
                </c:pt>
                <c:pt idx="2766">
                  <c:v>0</c:v>
                </c:pt>
                <c:pt idx="2767">
                  <c:v>0</c:v>
                </c:pt>
                <c:pt idx="2768">
                  <c:v>7</c:v>
                </c:pt>
                <c:pt idx="2769">
                  <c:v>0</c:v>
                </c:pt>
                <c:pt idx="2770">
                  <c:v>1</c:v>
                </c:pt>
                <c:pt idx="2771">
                  <c:v>0</c:v>
                </c:pt>
                <c:pt idx="2772">
                  <c:v>1</c:v>
                </c:pt>
                <c:pt idx="2773">
                  <c:v>0</c:v>
                </c:pt>
                <c:pt idx="2774">
                  <c:v>1</c:v>
                </c:pt>
                <c:pt idx="2775">
                  <c:v>0</c:v>
                </c:pt>
                <c:pt idx="2776">
                  <c:v>0</c:v>
                </c:pt>
                <c:pt idx="2777">
                  <c:v>1</c:v>
                </c:pt>
                <c:pt idx="2778">
                  <c:v>4</c:v>
                </c:pt>
                <c:pt idx="2779">
                  <c:v>0</c:v>
                </c:pt>
                <c:pt idx="2780">
                  <c:v>0</c:v>
                </c:pt>
                <c:pt idx="2781">
                  <c:v>1</c:v>
                </c:pt>
                <c:pt idx="2782">
                  <c:v>0</c:v>
                </c:pt>
                <c:pt idx="2783">
                  <c:v>1</c:v>
                </c:pt>
                <c:pt idx="2784">
                  <c:v>5</c:v>
                </c:pt>
                <c:pt idx="2785">
                  <c:v>0</c:v>
                </c:pt>
                <c:pt idx="2786">
                  <c:v>0</c:v>
                </c:pt>
                <c:pt idx="2787">
                  <c:v>0</c:v>
                </c:pt>
                <c:pt idx="2788">
                  <c:v>0</c:v>
                </c:pt>
                <c:pt idx="2789">
                  <c:v>1</c:v>
                </c:pt>
                <c:pt idx="2790">
                  <c:v>0</c:v>
                </c:pt>
                <c:pt idx="2791">
                  <c:v>2</c:v>
                </c:pt>
                <c:pt idx="2792">
                  <c:v>0</c:v>
                </c:pt>
                <c:pt idx="2793">
                  <c:v>1</c:v>
                </c:pt>
                <c:pt idx="2794">
                  <c:v>4</c:v>
                </c:pt>
                <c:pt idx="2795">
                  <c:v>0</c:v>
                </c:pt>
                <c:pt idx="2796">
                  <c:v>1</c:v>
                </c:pt>
                <c:pt idx="2797">
                  <c:v>0</c:v>
                </c:pt>
                <c:pt idx="2798">
                  <c:v>0</c:v>
                </c:pt>
                <c:pt idx="2799">
                  <c:v>0</c:v>
                </c:pt>
                <c:pt idx="2800">
                  <c:v>3</c:v>
                </c:pt>
                <c:pt idx="2801">
                  <c:v>0</c:v>
                </c:pt>
                <c:pt idx="2802">
                  <c:v>1</c:v>
                </c:pt>
                <c:pt idx="2803">
                  <c:v>0</c:v>
                </c:pt>
                <c:pt idx="2804">
                  <c:v>0</c:v>
                </c:pt>
                <c:pt idx="2805">
                  <c:v>17</c:v>
                </c:pt>
                <c:pt idx="2806">
                  <c:v>0</c:v>
                </c:pt>
                <c:pt idx="2807">
                  <c:v>0</c:v>
                </c:pt>
                <c:pt idx="2808">
                  <c:v>0</c:v>
                </c:pt>
                <c:pt idx="2809">
                  <c:v>0</c:v>
                </c:pt>
                <c:pt idx="2810">
                  <c:v>3</c:v>
                </c:pt>
                <c:pt idx="2811">
                  <c:v>3</c:v>
                </c:pt>
                <c:pt idx="2812">
                  <c:v>0</c:v>
                </c:pt>
                <c:pt idx="2813">
                  <c:v>0</c:v>
                </c:pt>
                <c:pt idx="2814">
                  <c:v>0</c:v>
                </c:pt>
                <c:pt idx="2815">
                  <c:v>1</c:v>
                </c:pt>
                <c:pt idx="2816">
                  <c:v>0</c:v>
                </c:pt>
                <c:pt idx="2817">
                  <c:v>5</c:v>
                </c:pt>
                <c:pt idx="2818">
                  <c:v>1</c:v>
                </c:pt>
                <c:pt idx="2819">
                  <c:v>0</c:v>
                </c:pt>
                <c:pt idx="2820">
                  <c:v>0</c:v>
                </c:pt>
                <c:pt idx="2821">
                  <c:v>2</c:v>
                </c:pt>
                <c:pt idx="2822">
                  <c:v>0</c:v>
                </c:pt>
                <c:pt idx="2823">
                  <c:v>0</c:v>
                </c:pt>
                <c:pt idx="2824">
                  <c:v>2</c:v>
                </c:pt>
                <c:pt idx="2825">
                  <c:v>0</c:v>
                </c:pt>
                <c:pt idx="2826">
                  <c:v>1</c:v>
                </c:pt>
                <c:pt idx="2827">
                  <c:v>0</c:v>
                </c:pt>
                <c:pt idx="2828">
                  <c:v>4</c:v>
                </c:pt>
                <c:pt idx="2829">
                  <c:v>1</c:v>
                </c:pt>
                <c:pt idx="2830">
                  <c:v>2</c:v>
                </c:pt>
                <c:pt idx="2831">
                  <c:v>0</c:v>
                </c:pt>
                <c:pt idx="2832">
                  <c:v>0</c:v>
                </c:pt>
                <c:pt idx="2833">
                  <c:v>0</c:v>
                </c:pt>
                <c:pt idx="2834">
                  <c:v>0</c:v>
                </c:pt>
                <c:pt idx="2835">
                  <c:v>0</c:v>
                </c:pt>
                <c:pt idx="2836">
                  <c:v>0</c:v>
                </c:pt>
                <c:pt idx="2837">
                  <c:v>0</c:v>
                </c:pt>
                <c:pt idx="2838">
                  <c:v>1</c:v>
                </c:pt>
                <c:pt idx="2839">
                  <c:v>0</c:v>
                </c:pt>
                <c:pt idx="2840">
                  <c:v>0</c:v>
                </c:pt>
                <c:pt idx="2841">
                  <c:v>1</c:v>
                </c:pt>
                <c:pt idx="2842">
                  <c:v>2</c:v>
                </c:pt>
                <c:pt idx="2843">
                  <c:v>0</c:v>
                </c:pt>
                <c:pt idx="2844">
                  <c:v>0</c:v>
                </c:pt>
                <c:pt idx="2845">
                  <c:v>0</c:v>
                </c:pt>
                <c:pt idx="2846">
                  <c:v>0</c:v>
                </c:pt>
                <c:pt idx="2847">
                  <c:v>0</c:v>
                </c:pt>
                <c:pt idx="2848">
                  <c:v>2</c:v>
                </c:pt>
                <c:pt idx="2849">
                  <c:v>1</c:v>
                </c:pt>
                <c:pt idx="2850">
                  <c:v>0</c:v>
                </c:pt>
                <c:pt idx="2851">
                  <c:v>0</c:v>
                </c:pt>
                <c:pt idx="2852">
                  <c:v>19</c:v>
                </c:pt>
                <c:pt idx="2853">
                  <c:v>3</c:v>
                </c:pt>
                <c:pt idx="2854">
                  <c:v>59</c:v>
                </c:pt>
                <c:pt idx="2855">
                  <c:v>0</c:v>
                </c:pt>
                <c:pt idx="2856">
                  <c:v>22</c:v>
                </c:pt>
                <c:pt idx="2857">
                  <c:v>0</c:v>
                </c:pt>
                <c:pt idx="2858">
                  <c:v>0</c:v>
                </c:pt>
                <c:pt idx="2859">
                  <c:v>0</c:v>
                </c:pt>
                <c:pt idx="2860">
                  <c:v>0</c:v>
                </c:pt>
                <c:pt idx="2861">
                  <c:v>3</c:v>
                </c:pt>
                <c:pt idx="2862">
                  <c:v>0</c:v>
                </c:pt>
                <c:pt idx="2863">
                  <c:v>0</c:v>
                </c:pt>
                <c:pt idx="2864">
                  <c:v>0</c:v>
                </c:pt>
                <c:pt idx="2865">
                  <c:v>1</c:v>
                </c:pt>
                <c:pt idx="2866">
                  <c:v>2</c:v>
                </c:pt>
                <c:pt idx="2867">
                  <c:v>0</c:v>
                </c:pt>
                <c:pt idx="2868">
                  <c:v>0</c:v>
                </c:pt>
                <c:pt idx="2869">
                  <c:v>1</c:v>
                </c:pt>
                <c:pt idx="2870">
                  <c:v>0</c:v>
                </c:pt>
                <c:pt idx="2871">
                  <c:v>0</c:v>
                </c:pt>
                <c:pt idx="2872">
                  <c:v>0</c:v>
                </c:pt>
                <c:pt idx="2873">
                  <c:v>0</c:v>
                </c:pt>
                <c:pt idx="2874">
                  <c:v>0</c:v>
                </c:pt>
                <c:pt idx="2875">
                  <c:v>0</c:v>
                </c:pt>
                <c:pt idx="2876">
                  <c:v>1</c:v>
                </c:pt>
                <c:pt idx="2877">
                  <c:v>0</c:v>
                </c:pt>
                <c:pt idx="2878">
                  <c:v>4</c:v>
                </c:pt>
                <c:pt idx="2879">
                  <c:v>1</c:v>
                </c:pt>
                <c:pt idx="2880">
                  <c:v>0</c:v>
                </c:pt>
                <c:pt idx="2881">
                  <c:v>1</c:v>
                </c:pt>
                <c:pt idx="2882">
                  <c:v>0</c:v>
                </c:pt>
                <c:pt idx="2883">
                  <c:v>2</c:v>
                </c:pt>
                <c:pt idx="2884">
                  <c:v>0</c:v>
                </c:pt>
                <c:pt idx="2885">
                  <c:v>0</c:v>
                </c:pt>
                <c:pt idx="2886">
                  <c:v>2</c:v>
                </c:pt>
                <c:pt idx="2887">
                  <c:v>0</c:v>
                </c:pt>
                <c:pt idx="2888">
                  <c:v>0</c:v>
                </c:pt>
                <c:pt idx="2889">
                  <c:v>0</c:v>
                </c:pt>
                <c:pt idx="2890">
                  <c:v>4</c:v>
                </c:pt>
                <c:pt idx="2891">
                  <c:v>2</c:v>
                </c:pt>
                <c:pt idx="2892">
                  <c:v>0</c:v>
                </c:pt>
                <c:pt idx="2893">
                  <c:v>0</c:v>
                </c:pt>
                <c:pt idx="2894">
                  <c:v>0</c:v>
                </c:pt>
                <c:pt idx="2895">
                  <c:v>2</c:v>
                </c:pt>
                <c:pt idx="2896">
                  <c:v>2</c:v>
                </c:pt>
                <c:pt idx="2897">
                  <c:v>0</c:v>
                </c:pt>
                <c:pt idx="2898">
                  <c:v>1</c:v>
                </c:pt>
                <c:pt idx="2899">
                  <c:v>1</c:v>
                </c:pt>
                <c:pt idx="2900">
                  <c:v>0</c:v>
                </c:pt>
                <c:pt idx="2901">
                  <c:v>0</c:v>
                </c:pt>
                <c:pt idx="2902">
                  <c:v>0</c:v>
                </c:pt>
                <c:pt idx="2903">
                  <c:v>0</c:v>
                </c:pt>
                <c:pt idx="2904">
                  <c:v>1</c:v>
                </c:pt>
                <c:pt idx="2905">
                  <c:v>1</c:v>
                </c:pt>
                <c:pt idx="2906">
                  <c:v>0</c:v>
                </c:pt>
                <c:pt idx="2907">
                  <c:v>0</c:v>
                </c:pt>
                <c:pt idx="2908">
                  <c:v>0</c:v>
                </c:pt>
                <c:pt idx="2909">
                  <c:v>0</c:v>
                </c:pt>
                <c:pt idx="2910">
                  <c:v>0</c:v>
                </c:pt>
                <c:pt idx="2911">
                  <c:v>0</c:v>
                </c:pt>
                <c:pt idx="2912">
                  <c:v>0</c:v>
                </c:pt>
                <c:pt idx="2913">
                  <c:v>4</c:v>
                </c:pt>
                <c:pt idx="2914">
                  <c:v>0</c:v>
                </c:pt>
                <c:pt idx="2915">
                  <c:v>0</c:v>
                </c:pt>
                <c:pt idx="2916">
                  <c:v>1</c:v>
                </c:pt>
                <c:pt idx="2917">
                  <c:v>0</c:v>
                </c:pt>
                <c:pt idx="2918">
                  <c:v>1</c:v>
                </c:pt>
                <c:pt idx="2919">
                  <c:v>0</c:v>
                </c:pt>
                <c:pt idx="2920">
                  <c:v>0</c:v>
                </c:pt>
                <c:pt idx="2921">
                  <c:v>0</c:v>
                </c:pt>
                <c:pt idx="2922">
                  <c:v>1</c:v>
                </c:pt>
                <c:pt idx="2923">
                  <c:v>1</c:v>
                </c:pt>
                <c:pt idx="2924">
                  <c:v>1</c:v>
                </c:pt>
                <c:pt idx="2925">
                  <c:v>0</c:v>
                </c:pt>
                <c:pt idx="2926">
                  <c:v>0</c:v>
                </c:pt>
                <c:pt idx="2927">
                  <c:v>1</c:v>
                </c:pt>
                <c:pt idx="2928">
                  <c:v>0</c:v>
                </c:pt>
                <c:pt idx="2929">
                  <c:v>2</c:v>
                </c:pt>
                <c:pt idx="2930">
                  <c:v>1</c:v>
                </c:pt>
                <c:pt idx="2931">
                  <c:v>0</c:v>
                </c:pt>
                <c:pt idx="2932">
                  <c:v>2</c:v>
                </c:pt>
                <c:pt idx="2933">
                  <c:v>0</c:v>
                </c:pt>
                <c:pt idx="2934">
                  <c:v>0</c:v>
                </c:pt>
                <c:pt idx="2935">
                  <c:v>0</c:v>
                </c:pt>
                <c:pt idx="2936">
                  <c:v>0</c:v>
                </c:pt>
                <c:pt idx="2937">
                  <c:v>5</c:v>
                </c:pt>
                <c:pt idx="2938">
                  <c:v>2</c:v>
                </c:pt>
                <c:pt idx="2939">
                  <c:v>1</c:v>
                </c:pt>
                <c:pt idx="2940">
                  <c:v>2</c:v>
                </c:pt>
                <c:pt idx="2941">
                  <c:v>0</c:v>
                </c:pt>
                <c:pt idx="2942">
                  <c:v>0</c:v>
                </c:pt>
                <c:pt idx="2943">
                  <c:v>3</c:v>
                </c:pt>
                <c:pt idx="2944">
                  <c:v>0</c:v>
                </c:pt>
                <c:pt idx="2945">
                  <c:v>5</c:v>
                </c:pt>
                <c:pt idx="2946">
                  <c:v>0</c:v>
                </c:pt>
                <c:pt idx="2947">
                  <c:v>2</c:v>
                </c:pt>
                <c:pt idx="2948">
                  <c:v>2</c:v>
                </c:pt>
                <c:pt idx="2949">
                  <c:v>1</c:v>
                </c:pt>
                <c:pt idx="2950">
                  <c:v>1</c:v>
                </c:pt>
                <c:pt idx="2951">
                  <c:v>0</c:v>
                </c:pt>
                <c:pt idx="2952">
                  <c:v>6</c:v>
                </c:pt>
                <c:pt idx="2953">
                  <c:v>0</c:v>
                </c:pt>
                <c:pt idx="2954">
                  <c:v>5</c:v>
                </c:pt>
                <c:pt idx="2955">
                  <c:v>0</c:v>
                </c:pt>
                <c:pt idx="2956">
                  <c:v>0</c:v>
                </c:pt>
                <c:pt idx="2957">
                  <c:v>0</c:v>
                </c:pt>
                <c:pt idx="2958">
                  <c:v>0</c:v>
                </c:pt>
                <c:pt idx="2959">
                  <c:v>0</c:v>
                </c:pt>
                <c:pt idx="2960">
                  <c:v>1</c:v>
                </c:pt>
                <c:pt idx="2961">
                  <c:v>1</c:v>
                </c:pt>
                <c:pt idx="2962">
                  <c:v>1</c:v>
                </c:pt>
                <c:pt idx="2963">
                  <c:v>0</c:v>
                </c:pt>
                <c:pt idx="2964">
                  <c:v>2</c:v>
                </c:pt>
                <c:pt idx="2965">
                  <c:v>0</c:v>
                </c:pt>
                <c:pt idx="2966">
                  <c:v>0</c:v>
                </c:pt>
                <c:pt idx="2967">
                  <c:v>6</c:v>
                </c:pt>
                <c:pt idx="2968">
                  <c:v>0</c:v>
                </c:pt>
                <c:pt idx="2969">
                  <c:v>0</c:v>
                </c:pt>
                <c:pt idx="2970">
                  <c:v>1</c:v>
                </c:pt>
                <c:pt idx="2971">
                  <c:v>0</c:v>
                </c:pt>
                <c:pt idx="2972">
                  <c:v>0</c:v>
                </c:pt>
                <c:pt idx="2973">
                  <c:v>1</c:v>
                </c:pt>
                <c:pt idx="2974">
                  <c:v>2</c:v>
                </c:pt>
                <c:pt idx="2975">
                  <c:v>0</c:v>
                </c:pt>
                <c:pt idx="2976">
                  <c:v>1</c:v>
                </c:pt>
                <c:pt idx="2977">
                  <c:v>0</c:v>
                </c:pt>
                <c:pt idx="2978">
                  <c:v>0</c:v>
                </c:pt>
                <c:pt idx="2979">
                  <c:v>0</c:v>
                </c:pt>
                <c:pt idx="2980">
                  <c:v>0</c:v>
                </c:pt>
                <c:pt idx="2981">
                  <c:v>0</c:v>
                </c:pt>
                <c:pt idx="2982">
                  <c:v>0</c:v>
                </c:pt>
                <c:pt idx="2983">
                  <c:v>0</c:v>
                </c:pt>
                <c:pt idx="2984">
                  <c:v>0</c:v>
                </c:pt>
                <c:pt idx="2985">
                  <c:v>2</c:v>
                </c:pt>
                <c:pt idx="2986">
                  <c:v>0</c:v>
                </c:pt>
                <c:pt idx="2987">
                  <c:v>0</c:v>
                </c:pt>
                <c:pt idx="2988">
                  <c:v>0</c:v>
                </c:pt>
                <c:pt idx="2989">
                  <c:v>0</c:v>
                </c:pt>
                <c:pt idx="2990">
                  <c:v>1</c:v>
                </c:pt>
                <c:pt idx="2991">
                  <c:v>2</c:v>
                </c:pt>
                <c:pt idx="2992">
                  <c:v>0</c:v>
                </c:pt>
                <c:pt idx="2993">
                  <c:v>1</c:v>
                </c:pt>
                <c:pt idx="2994">
                  <c:v>0</c:v>
                </c:pt>
                <c:pt idx="2995">
                  <c:v>0</c:v>
                </c:pt>
                <c:pt idx="2996">
                  <c:v>2</c:v>
                </c:pt>
                <c:pt idx="2997">
                  <c:v>1</c:v>
                </c:pt>
                <c:pt idx="2998">
                  <c:v>0</c:v>
                </c:pt>
                <c:pt idx="2999">
                  <c:v>0</c:v>
                </c:pt>
                <c:pt idx="3000">
                  <c:v>1</c:v>
                </c:pt>
                <c:pt idx="3001">
                  <c:v>4</c:v>
                </c:pt>
                <c:pt idx="3002">
                  <c:v>0</c:v>
                </c:pt>
                <c:pt idx="3003">
                  <c:v>0</c:v>
                </c:pt>
                <c:pt idx="3004">
                  <c:v>0</c:v>
                </c:pt>
                <c:pt idx="3005">
                  <c:v>0</c:v>
                </c:pt>
                <c:pt idx="3006">
                  <c:v>3</c:v>
                </c:pt>
                <c:pt idx="3007">
                  <c:v>0</c:v>
                </c:pt>
                <c:pt idx="3008">
                  <c:v>0</c:v>
                </c:pt>
                <c:pt idx="3009">
                  <c:v>0</c:v>
                </c:pt>
                <c:pt idx="3010">
                  <c:v>0</c:v>
                </c:pt>
                <c:pt idx="3011">
                  <c:v>0</c:v>
                </c:pt>
                <c:pt idx="3012">
                  <c:v>0</c:v>
                </c:pt>
                <c:pt idx="3013">
                  <c:v>0</c:v>
                </c:pt>
                <c:pt idx="3014">
                  <c:v>3</c:v>
                </c:pt>
                <c:pt idx="3015">
                  <c:v>1</c:v>
                </c:pt>
                <c:pt idx="3016">
                  <c:v>0</c:v>
                </c:pt>
                <c:pt idx="3017">
                  <c:v>0</c:v>
                </c:pt>
                <c:pt idx="3018">
                  <c:v>1</c:v>
                </c:pt>
                <c:pt idx="3019">
                  <c:v>5</c:v>
                </c:pt>
                <c:pt idx="3020">
                  <c:v>0</c:v>
                </c:pt>
                <c:pt idx="3021">
                  <c:v>0</c:v>
                </c:pt>
                <c:pt idx="3022">
                  <c:v>1</c:v>
                </c:pt>
                <c:pt idx="3023">
                  <c:v>1</c:v>
                </c:pt>
                <c:pt idx="3024">
                  <c:v>1</c:v>
                </c:pt>
                <c:pt idx="3025">
                  <c:v>0</c:v>
                </c:pt>
                <c:pt idx="3026">
                  <c:v>3</c:v>
                </c:pt>
                <c:pt idx="3027">
                  <c:v>4</c:v>
                </c:pt>
                <c:pt idx="3028">
                  <c:v>1</c:v>
                </c:pt>
                <c:pt idx="3029">
                  <c:v>1</c:v>
                </c:pt>
                <c:pt idx="3030">
                  <c:v>0</c:v>
                </c:pt>
                <c:pt idx="3031">
                  <c:v>0</c:v>
                </c:pt>
                <c:pt idx="3032">
                  <c:v>0</c:v>
                </c:pt>
                <c:pt idx="3033">
                  <c:v>0</c:v>
                </c:pt>
                <c:pt idx="3034">
                  <c:v>2</c:v>
                </c:pt>
                <c:pt idx="3035">
                  <c:v>0</c:v>
                </c:pt>
                <c:pt idx="3036">
                  <c:v>0</c:v>
                </c:pt>
                <c:pt idx="3037">
                  <c:v>0</c:v>
                </c:pt>
                <c:pt idx="3038">
                  <c:v>3</c:v>
                </c:pt>
                <c:pt idx="3039">
                  <c:v>1</c:v>
                </c:pt>
                <c:pt idx="3040">
                  <c:v>0</c:v>
                </c:pt>
                <c:pt idx="3041">
                  <c:v>2</c:v>
                </c:pt>
                <c:pt idx="3042">
                  <c:v>8</c:v>
                </c:pt>
                <c:pt idx="3043">
                  <c:v>0</c:v>
                </c:pt>
                <c:pt idx="3044">
                  <c:v>3</c:v>
                </c:pt>
                <c:pt idx="3045">
                  <c:v>0</c:v>
                </c:pt>
                <c:pt idx="3046">
                  <c:v>1</c:v>
                </c:pt>
                <c:pt idx="3047">
                  <c:v>2</c:v>
                </c:pt>
                <c:pt idx="3048">
                  <c:v>1</c:v>
                </c:pt>
                <c:pt idx="3049">
                  <c:v>1</c:v>
                </c:pt>
                <c:pt idx="3050">
                  <c:v>0</c:v>
                </c:pt>
                <c:pt idx="3051">
                  <c:v>0</c:v>
                </c:pt>
                <c:pt idx="3052">
                  <c:v>0</c:v>
                </c:pt>
                <c:pt idx="3053">
                  <c:v>2</c:v>
                </c:pt>
                <c:pt idx="3054">
                  <c:v>7</c:v>
                </c:pt>
                <c:pt idx="3055">
                  <c:v>0</c:v>
                </c:pt>
                <c:pt idx="3056">
                  <c:v>1</c:v>
                </c:pt>
                <c:pt idx="3057">
                  <c:v>0</c:v>
                </c:pt>
                <c:pt idx="3058">
                  <c:v>0</c:v>
                </c:pt>
                <c:pt idx="3059">
                  <c:v>1</c:v>
                </c:pt>
                <c:pt idx="3060">
                  <c:v>0</c:v>
                </c:pt>
                <c:pt idx="3061">
                  <c:v>1</c:v>
                </c:pt>
                <c:pt idx="3062">
                  <c:v>0</c:v>
                </c:pt>
                <c:pt idx="3063">
                  <c:v>3</c:v>
                </c:pt>
                <c:pt idx="3064">
                  <c:v>0</c:v>
                </c:pt>
                <c:pt idx="3065">
                  <c:v>2</c:v>
                </c:pt>
                <c:pt idx="3066">
                  <c:v>0</c:v>
                </c:pt>
                <c:pt idx="3067">
                  <c:v>0</c:v>
                </c:pt>
                <c:pt idx="3068">
                  <c:v>0</c:v>
                </c:pt>
                <c:pt idx="3069">
                  <c:v>0</c:v>
                </c:pt>
                <c:pt idx="3070">
                  <c:v>1</c:v>
                </c:pt>
                <c:pt idx="3071">
                  <c:v>0</c:v>
                </c:pt>
                <c:pt idx="3072">
                  <c:v>0</c:v>
                </c:pt>
                <c:pt idx="3073">
                  <c:v>0</c:v>
                </c:pt>
                <c:pt idx="3074">
                  <c:v>0</c:v>
                </c:pt>
                <c:pt idx="3075">
                  <c:v>1</c:v>
                </c:pt>
                <c:pt idx="3076">
                  <c:v>0</c:v>
                </c:pt>
                <c:pt idx="3077">
                  <c:v>0</c:v>
                </c:pt>
                <c:pt idx="3078">
                  <c:v>4</c:v>
                </c:pt>
                <c:pt idx="3079">
                  <c:v>0</c:v>
                </c:pt>
                <c:pt idx="3080">
                  <c:v>1</c:v>
                </c:pt>
                <c:pt idx="3081">
                  <c:v>4</c:v>
                </c:pt>
                <c:pt idx="3082">
                  <c:v>0</c:v>
                </c:pt>
                <c:pt idx="3083">
                  <c:v>0</c:v>
                </c:pt>
                <c:pt idx="3084">
                  <c:v>0</c:v>
                </c:pt>
                <c:pt idx="3085">
                  <c:v>4</c:v>
                </c:pt>
                <c:pt idx="3086">
                  <c:v>0</c:v>
                </c:pt>
                <c:pt idx="3087">
                  <c:v>1</c:v>
                </c:pt>
                <c:pt idx="3088">
                  <c:v>1</c:v>
                </c:pt>
                <c:pt idx="3089">
                  <c:v>0</c:v>
                </c:pt>
                <c:pt idx="3090">
                  <c:v>0</c:v>
                </c:pt>
                <c:pt idx="3091">
                  <c:v>1</c:v>
                </c:pt>
                <c:pt idx="3092">
                  <c:v>0</c:v>
                </c:pt>
                <c:pt idx="3093">
                  <c:v>0</c:v>
                </c:pt>
                <c:pt idx="3094">
                  <c:v>0</c:v>
                </c:pt>
                <c:pt idx="3095">
                  <c:v>0</c:v>
                </c:pt>
                <c:pt idx="3096">
                  <c:v>0</c:v>
                </c:pt>
                <c:pt idx="3097">
                  <c:v>3</c:v>
                </c:pt>
                <c:pt idx="3098">
                  <c:v>0</c:v>
                </c:pt>
                <c:pt idx="3099">
                  <c:v>0</c:v>
                </c:pt>
                <c:pt idx="3100">
                  <c:v>0</c:v>
                </c:pt>
                <c:pt idx="3101">
                  <c:v>4</c:v>
                </c:pt>
                <c:pt idx="3102">
                  <c:v>1</c:v>
                </c:pt>
                <c:pt idx="3103">
                  <c:v>1</c:v>
                </c:pt>
                <c:pt idx="3104">
                  <c:v>0</c:v>
                </c:pt>
                <c:pt idx="3105">
                  <c:v>0</c:v>
                </c:pt>
                <c:pt idx="3106">
                  <c:v>2</c:v>
                </c:pt>
                <c:pt idx="3107">
                  <c:v>2</c:v>
                </c:pt>
                <c:pt idx="3108">
                  <c:v>4</c:v>
                </c:pt>
                <c:pt idx="3109">
                  <c:v>1</c:v>
                </c:pt>
                <c:pt idx="3110">
                  <c:v>0</c:v>
                </c:pt>
                <c:pt idx="3111">
                  <c:v>0</c:v>
                </c:pt>
                <c:pt idx="3112">
                  <c:v>5</c:v>
                </c:pt>
                <c:pt idx="3113">
                  <c:v>3</c:v>
                </c:pt>
                <c:pt idx="3114">
                  <c:v>1</c:v>
                </c:pt>
                <c:pt idx="3115">
                  <c:v>1</c:v>
                </c:pt>
                <c:pt idx="3116">
                  <c:v>1</c:v>
                </c:pt>
                <c:pt idx="3117">
                  <c:v>0</c:v>
                </c:pt>
                <c:pt idx="3118">
                  <c:v>1</c:v>
                </c:pt>
                <c:pt idx="3119">
                  <c:v>0</c:v>
                </c:pt>
                <c:pt idx="3120">
                  <c:v>1</c:v>
                </c:pt>
                <c:pt idx="3121">
                  <c:v>1</c:v>
                </c:pt>
                <c:pt idx="3122">
                  <c:v>0</c:v>
                </c:pt>
                <c:pt idx="3123">
                  <c:v>0</c:v>
                </c:pt>
                <c:pt idx="3124">
                  <c:v>0</c:v>
                </c:pt>
                <c:pt idx="3125">
                  <c:v>0</c:v>
                </c:pt>
                <c:pt idx="3126">
                  <c:v>3</c:v>
                </c:pt>
                <c:pt idx="3127">
                  <c:v>0</c:v>
                </c:pt>
                <c:pt idx="3128">
                  <c:v>0</c:v>
                </c:pt>
                <c:pt idx="3129">
                  <c:v>2</c:v>
                </c:pt>
                <c:pt idx="3130">
                  <c:v>0</c:v>
                </c:pt>
                <c:pt idx="3131">
                  <c:v>0</c:v>
                </c:pt>
                <c:pt idx="3132">
                  <c:v>0</c:v>
                </c:pt>
                <c:pt idx="3133">
                  <c:v>0</c:v>
                </c:pt>
                <c:pt idx="3134">
                  <c:v>0</c:v>
                </c:pt>
                <c:pt idx="3135">
                  <c:v>0</c:v>
                </c:pt>
                <c:pt idx="3136">
                  <c:v>0</c:v>
                </c:pt>
                <c:pt idx="3137">
                  <c:v>0</c:v>
                </c:pt>
                <c:pt idx="3138">
                  <c:v>0</c:v>
                </c:pt>
                <c:pt idx="3139">
                  <c:v>0</c:v>
                </c:pt>
                <c:pt idx="3140">
                  <c:v>1</c:v>
                </c:pt>
                <c:pt idx="3141">
                  <c:v>0</c:v>
                </c:pt>
                <c:pt idx="3142">
                  <c:v>0</c:v>
                </c:pt>
                <c:pt idx="3143">
                  <c:v>1</c:v>
                </c:pt>
                <c:pt idx="3144">
                  <c:v>3</c:v>
                </c:pt>
                <c:pt idx="3145">
                  <c:v>0</c:v>
                </c:pt>
                <c:pt idx="3146">
                  <c:v>0</c:v>
                </c:pt>
                <c:pt idx="3147">
                  <c:v>0</c:v>
                </c:pt>
                <c:pt idx="3148">
                  <c:v>1</c:v>
                </c:pt>
                <c:pt idx="3149">
                  <c:v>1</c:v>
                </c:pt>
                <c:pt idx="3150">
                  <c:v>3</c:v>
                </c:pt>
                <c:pt idx="3151">
                  <c:v>0</c:v>
                </c:pt>
                <c:pt idx="3152">
                  <c:v>1</c:v>
                </c:pt>
                <c:pt idx="3153">
                  <c:v>0</c:v>
                </c:pt>
                <c:pt idx="3154">
                  <c:v>0</c:v>
                </c:pt>
                <c:pt idx="3155">
                  <c:v>2</c:v>
                </c:pt>
                <c:pt idx="3156">
                  <c:v>0</c:v>
                </c:pt>
                <c:pt idx="3157">
                  <c:v>1</c:v>
                </c:pt>
                <c:pt idx="3158">
                  <c:v>0</c:v>
                </c:pt>
                <c:pt idx="3159">
                  <c:v>0</c:v>
                </c:pt>
                <c:pt idx="3160">
                  <c:v>2</c:v>
                </c:pt>
                <c:pt idx="3161">
                  <c:v>0</c:v>
                </c:pt>
                <c:pt idx="3162">
                  <c:v>3</c:v>
                </c:pt>
                <c:pt idx="3163">
                  <c:v>0</c:v>
                </c:pt>
                <c:pt idx="3164">
                  <c:v>0</c:v>
                </c:pt>
                <c:pt idx="3165">
                  <c:v>2</c:v>
                </c:pt>
                <c:pt idx="3166">
                  <c:v>0</c:v>
                </c:pt>
                <c:pt idx="3167">
                  <c:v>4</c:v>
                </c:pt>
                <c:pt idx="3168">
                  <c:v>0</c:v>
                </c:pt>
                <c:pt idx="3169">
                  <c:v>0</c:v>
                </c:pt>
                <c:pt idx="3170">
                  <c:v>0</c:v>
                </c:pt>
                <c:pt idx="3171">
                  <c:v>0</c:v>
                </c:pt>
                <c:pt idx="3172">
                  <c:v>3</c:v>
                </c:pt>
                <c:pt idx="3173">
                  <c:v>3</c:v>
                </c:pt>
                <c:pt idx="3174">
                  <c:v>1</c:v>
                </c:pt>
                <c:pt idx="3175">
                  <c:v>0</c:v>
                </c:pt>
                <c:pt idx="3176">
                  <c:v>0</c:v>
                </c:pt>
                <c:pt idx="3177">
                  <c:v>0</c:v>
                </c:pt>
                <c:pt idx="3178">
                  <c:v>0</c:v>
                </c:pt>
                <c:pt idx="3179">
                  <c:v>4</c:v>
                </c:pt>
                <c:pt idx="3180">
                  <c:v>17</c:v>
                </c:pt>
                <c:pt idx="3181">
                  <c:v>0</c:v>
                </c:pt>
                <c:pt idx="3182">
                  <c:v>0</c:v>
                </c:pt>
                <c:pt idx="3183">
                  <c:v>1</c:v>
                </c:pt>
                <c:pt idx="3184">
                  <c:v>1</c:v>
                </c:pt>
                <c:pt idx="3185">
                  <c:v>0</c:v>
                </c:pt>
                <c:pt idx="3186">
                  <c:v>3</c:v>
                </c:pt>
                <c:pt idx="3187">
                  <c:v>0</c:v>
                </c:pt>
                <c:pt idx="3188">
                  <c:v>0</c:v>
                </c:pt>
                <c:pt idx="3189">
                  <c:v>0</c:v>
                </c:pt>
                <c:pt idx="3190">
                  <c:v>1</c:v>
                </c:pt>
                <c:pt idx="3191">
                  <c:v>1</c:v>
                </c:pt>
                <c:pt idx="3192">
                  <c:v>0</c:v>
                </c:pt>
                <c:pt idx="3193">
                  <c:v>2</c:v>
                </c:pt>
                <c:pt idx="3194">
                  <c:v>0</c:v>
                </c:pt>
                <c:pt idx="3195">
                  <c:v>0</c:v>
                </c:pt>
                <c:pt idx="3196">
                  <c:v>0</c:v>
                </c:pt>
                <c:pt idx="3197">
                  <c:v>4</c:v>
                </c:pt>
                <c:pt idx="3198">
                  <c:v>0</c:v>
                </c:pt>
                <c:pt idx="3199">
                  <c:v>1</c:v>
                </c:pt>
                <c:pt idx="3200">
                  <c:v>8</c:v>
                </c:pt>
                <c:pt idx="3201">
                  <c:v>8</c:v>
                </c:pt>
                <c:pt idx="3202">
                  <c:v>0</c:v>
                </c:pt>
                <c:pt idx="3203">
                  <c:v>0</c:v>
                </c:pt>
                <c:pt idx="3204">
                  <c:v>0</c:v>
                </c:pt>
                <c:pt idx="3205">
                  <c:v>1</c:v>
                </c:pt>
                <c:pt idx="3206">
                  <c:v>2</c:v>
                </c:pt>
                <c:pt idx="3207">
                  <c:v>0</c:v>
                </c:pt>
                <c:pt idx="3208">
                  <c:v>0</c:v>
                </c:pt>
                <c:pt idx="3209">
                  <c:v>0</c:v>
                </c:pt>
                <c:pt idx="3210">
                  <c:v>0</c:v>
                </c:pt>
                <c:pt idx="3211">
                  <c:v>1</c:v>
                </c:pt>
                <c:pt idx="3212">
                  <c:v>2</c:v>
                </c:pt>
                <c:pt idx="3213">
                  <c:v>2</c:v>
                </c:pt>
                <c:pt idx="3214">
                  <c:v>0</c:v>
                </c:pt>
                <c:pt idx="3215">
                  <c:v>0</c:v>
                </c:pt>
                <c:pt idx="3216">
                  <c:v>3</c:v>
                </c:pt>
                <c:pt idx="3217">
                  <c:v>0</c:v>
                </c:pt>
                <c:pt idx="3218">
                  <c:v>1</c:v>
                </c:pt>
                <c:pt idx="3219">
                  <c:v>0</c:v>
                </c:pt>
                <c:pt idx="3220">
                  <c:v>0</c:v>
                </c:pt>
                <c:pt idx="3221">
                  <c:v>1</c:v>
                </c:pt>
                <c:pt idx="3222">
                  <c:v>0</c:v>
                </c:pt>
                <c:pt idx="3223">
                  <c:v>0</c:v>
                </c:pt>
                <c:pt idx="3224">
                  <c:v>15</c:v>
                </c:pt>
                <c:pt idx="3225">
                  <c:v>0</c:v>
                </c:pt>
                <c:pt idx="3226">
                  <c:v>4</c:v>
                </c:pt>
                <c:pt idx="3227">
                  <c:v>0</c:v>
                </c:pt>
                <c:pt idx="3228">
                  <c:v>1</c:v>
                </c:pt>
                <c:pt idx="3229">
                  <c:v>1</c:v>
                </c:pt>
                <c:pt idx="3230">
                  <c:v>2</c:v>
                </c:pt>
                <c:pt idx="3231">
                  <c:v>10</c:v>
                </c:pt>
                <c:pt idx="3232">
                  <c:v>1</c:v>
                </c:pt>
                <c:pt idx="3233">
                  <c:v>0</c:v>
                </c:pt>
                <c:pt idx="3234">
                  <c:v>0</c:v>
                </c:pt>
                <c:pt idx="3235">
                  <c:v>0</c:v>
                </c:pt>
                <c:pt idx="3236">
                  <c:v>1</c:v>
                </c:pt>
                <c:pt idx="3237">
                  <c:v>0</c:v>
                </c:pt>
                <c:pt idx="3238">
                  <c:v>0</c:v>
                </c:pt>
                <c:pt idx="3239">
                  <c:v>0</c:v>
                </c:pt>
                <c:pt idx="3240">
                  <c:v>3</c:v>
                </c:pt>
                <c:pt idx="3241">
                  <c:v>0</c:v>
                </c:pt>
                <c:pt idx="3242">
                  <c:v>0</c:v>
                </c:pt>
                <c:pt idx="3243">
                  <c:v>4</c:v>
                </c:pt>
                <c:pt idx="3244">
                  <c:v>0</c:v>
                </c:pt>
                <c:pt idx="3245">
                  <c:v>2</c:v>
                </c:pt>
                <c:pt idx="3246">
                  <c:v>3</c:v>
                </c:pt>
                <c:pt idx="3247">
                  <c:v>0</c:v>
                </c:pt>
                <c:pt idx="3248">
                  <c:v>0</c:v>
                </c:pt>
                <c:pt idx="3249">
                  <c:v>0</c:v>
                </c:pt>
                <c:pt idx="3250">
                  <c:v>0</c:v>
                </c:pt>
                <c:pt idx="3251">
                  <c:v>0</c:v>
                </c:pt>
                <c:pt idx="3252">
                  <c:v>2</c:v>
                </c:pt>
                <c:pt idx="3253">
                  <c:v>0</c:v>
                </c:pt>
                <c:pt idx="3254">
                  <c:v>0</c:v>
                </c:pt>
                <c:pt idx="3255">
                  <c:v>0</c:v>
                </c:pt>
                <c:pt idx="3256">
                  <c:v>0</c:v>
                </c:pt>
                <c:pt idx="3257">
                  <c:v>0</c:v>
                </c:pt>
                <c:pt idx="3258">
                  <c:v>0</c:v>
                </c:pt>
                <c:pt idx="3259">
                  <c:v>0</c:v>
                </c:pt>
                <c:pt idx="3260">
                  <c:v>2</c:v>
                </c:pt>
                <c:pt idx="3261">
                  <c:v>0</c:v>
                </c:pt>
                <c:pt idx="3262">
                  <c:v>0</c:v>
                </c:pt>
                <c:pt idx="3263">
                  <c:v>3</c:v>
                </c:pt>
                <c:pt idx="3264">
                  <c:v>0</c:v>
                </c:pt>
                <c:pt idx="3265">
                  <c:v>0</c:v>
                </c:pt>
                <c:pt idx="3266">
                  <c:v>2</c:v>
                </c:pt>
                <c:pt idx="3267">
                  <c:v>2</c:v>
                </c:pt>
                <c:pt idx="3268">
                  <c:v>0</c:v>
                </c:pt>
                <c:pt idx="3269">
                  <c:v>0</c:v>
                </c:pt>
                <c:pt idx="3270">
                  <c:v>1</c:v>
                </c:pt>
                <c:pt idx="3271">
                  <c:v>0</c:v>
                </c:pt>
                <c:pt idx="3272">
                  <c:v>2</c:v>
                </c:pt>
                <c:pt idx="3273">
                  <c:v>1</c:v>
                </c:pt>
                <c:pt idx="3274">
                  <c:v>0</c:v>
                </c:pt>
                <c:pt idx="3275">
                  <c:v>0</c:v>
                </c:pt>
                <c:pt idx="3276">
                  <c:v>2</c:v>
                </c:pt>
                <c:pt idx="3277">
                  <c:v>5</c:v>
                </c:pt>
                <c:pt idx="3278">
                  <c:v>1</c:v>
                </c:pt>
                <c:pt idx="3279">
                  <c:v>0</c:v>
                </c:pt>
                <c:pt idx="3280">
                  <c:v>0</c:v>
                </c:pt>
                <c:pt idx="3281">
                  <c:v>0</c:v>
                </c:pt>
                <c:pt idx="3282">
                  <c:v>0</c:v>
                </c:pt>
                <c:pt idx="3283">
                  <c:v>0</c:v>
                </c:pt>
                <c:pt idx="3284">
                  <c:v>0</c:v>
                </c:pt>
                <c:pt idx="3285">
                  <c:v>1</c:v>
                </c:pt>
                <c:pt idx="3286">
                  <c:v>0</c:v>
                </c:pt>
                <c:pt idx="3287">
                  <c:v>3</c:v>
                </c:pt>
                <c:pt idx="3288">
                  <c:v>0</c:v>
                </c:pt>
                <c:pt idx="3289">
                  <c:v>4</c:v>
                </c:pt>
                <c:pt idx="3290">
                  <c:v>2</c:v>
                </c:pt>
                <c:pt idx="3291">
                  <c:v>0</c:v>
                </c:pt>
                <c:pt idx="3292">
                  <c:v>0</c:v>
                </c:pt>
                <c:pt idx="3293">
                  <c:v>0</c:v>
                </c:pt>
                <c:pt idx="3294">
                  <c:v>16</c:v>
                </c:pt>
                <c:pt idx="3295">
                  <c:v>1</c:v>
                </c:pt>
                <c:pt idx="3296">
                  <c:v>1</c:v>
                </c:pt>
                <c:pt idx="3297">
                  <c:v>5</c:v>
                </c:pt>
                <c:pt idx="3298">
                  <c:v>0</c:v>
                </c:pt>
                <c:pt idx="3299">
                  <c:v>0</c:v>
                </c:pt>
                <c:pt idx="3300">
                  <c:v>1</c:v>
                </c:pt>
                <c:pt idx="3301">
                  <c:v>0</c:v>
                </c:pt>
                <c:pt idx="3302">
                  <c:v>0</c:v>
                </c:pt>
                <c:pt idx="3303">
                  <c:v>2</c:v>
                </c:pt>
                <c:pt idx="3304">
                  <c:v>1</c:v>
                </c:pt>
                <c:pt idx="3305">
                  <c:v>0</c:v>
                </c:pt>
                <c:pt idx="3306">
                  <c:v>3</c:v>
                </c:pt>
                <c:pt idx="3307">
                  <c:v>1</c:v>
                </c:pt>
                <c:pt idx="3308">
                  <c:v>0</c:v>
                </c:pt>
                <c:pt idx="3309">
                  <c:v>0</c:v>
                </c:pt>
                <c:pt idx="3310">
                  <c:v>0</c:v>
                </c:pt>
                <c:pt idx="3311">
                  <c:v>2</c:v>
                </c:pt>
                <c:pt idx="3312">
                  <c:v>0</c:v>
                </c:pt>
                <c:pt idx="3313">
                  <c:v>0</c:v>
                </c:pt>
                <c:pt idx="3314">
                  <c:v>1</c:v>
                </c:pt>
                <c:pt idx="3315">
                  <c:v>0</c:v>
                </c:pt>
                <c:pt idx="3316">
                  <c:v>0</c:v>
                </c:pt>
                <c:pt idx="3317">
                  <c:v>0</c:v>
                </c:pt>
                <c:pt idx="3318">
                  <c:v>0</c:v>
                </c:pt>
                <c:pt idx="3319">
                  <c:v>1</c:v>
                </c:pt>
                <c:pt idx="3320">
                  <c:v>0</c:v>
                </c:pt>
                <c:pt idx="3321">
                  <c:v>1</c:v>
                </c:pt>
                <c:pt idx="3322">
                  <c:v>0</c:v>
                </c:pt>
                <c:pt idx="3323">
                  <c:v>0</c:v>
                </c:pt>
                <c:pt idx="3324">
                  <c:v>0</c:v>
                </c:pt>
                <c:pt idx="3325">
                  <c:v>4</c:v>
                </c:pt>
                <c:pt idx="3326">
                  <c:v>2</c:v>
                </c:pt>
                <c:pt idx="3327">
                  <c:v>6</c:v>
                </c:pt>
                <c:pt idx="3328">
                  <c:v>6</c:v>
                </c:pt>
                <c:pt idx="3329">
                  <c:v>0</c:v>
                </c:pt>
                <c:pt idx="3330">
                  <c:v>1</c:v>
                </c:pt>
                <c:pt idx="3331">
                  <c:v>0</c:v>
                </c:pt>
                <c:pt idx="3332">
                  <c:v>0</c:v>
                </c:pt>
                <c:pt idx="3333">
                  <c:v>0</c:v>
                </c:pt>
                <c:pt idx="3334">
                  <c:v>0</c:v>
                </c:pt>
                <c:pt idx="3335">
                  <c:v>0</c:v>
                </c:pt>
                <c:pt idx="3336">
                  <c:v>0</c:v>
                </c:pt>
                <c:pt idx="3337">
                  <c:v>0</c:v>
                </c:pt>
                <c:pt idx="3338">
                  <c:v>2</c:v>
                </c:pt>
                <c:pt idx="3339">
                  <c:v>0</c:v>
                </c:pt>
                <c:pt idx="3340">
                  <c:v>0</c:v>
                </c:pt>
                <c:pt idx="3341">
                  <c:v>1</c:v>
                </c:pt>
                <c:pt idx="3342">
                  <c:v>1</c:v>
                </c:pt>
                <c:pt idx="3343">
                  <c:v>5</c:v>
                </c:pt>
                <c:pt idx="3344">
                  <c:v>0</c:v>
                </c:pt>
                <c:pt idx="3345">
                  <c:v>0</c:v>
                </c:pt>
                <c:pt idx="3346">
                  <c:v>0</c:v>
                </c:pt>
                <c:pt idx="3347">
                  <c:v>0</c:v>
                </c:pt>
                <c:pt idx="3348">
                  <c:v>1</c:v>
                </c:pt>
                <c:pt idx="3349">
                  <c:v>0</c:v>
                </c:pt>
                <c:pt idx="3350">
                  <c:v>0</c:v>
                </c:pt>
                <c:pt idx="3351">
                  <c:v>2</c:v>
                </c:pt>
                <c:pt idx="3352">
                  <c:v>65</c:v>
                </c:pt>
                <c:pt idx="3353">
                  <c:v>2</c:v>
                </c:pt>
                <c:pt idx="3354">
                  <c:v>1</c:v>
                </c:pt>
                <c:pt idx="3355">
                  <c:v>37</c:v>
                </c:pt>
                <c:pt idx="3356">
                  <c:v>1</c:v>
                </c:pt>
                <c:pt idx="3357">
                  <c:v>0</c:v>
                </c:pt>
                <c:pt idx="3358">
                  <c:v>0</c:v>
                </c:pt>
                <c:pt idx="3359">
                  <c:v>0</c:v>
                </c:pt>
                <c:pt idx="3360">
                  <c:v>0</c:v>
                </c:pt>
                <c:pt idx="3361">
                  <c:v>62</c:v>
                </c:pt>
                <c:pt idx="3362">
                  <c:v>0</c:v>
                </c:pt>
                <c:pt idx="3363">
                  <c:v>0</c:v>
                </c:pt>
                <c:pt idx="3364">
                  <c:v>0</c:v>
                </c:pt>
                <c:pt idx="3365">
                  <c:v>0</c:v>
                </c:pt>
                <c:pt idx="3366">
                  <c:v>4</c:v>
                </c:pt>
                <c:pt idx="3367">
                  <c:v>25</c:v>
                </c:pt>
                <c:pt idx="3368">
                  <c:v>0</c:v>
                </c:pt>
                <c:pt idx="3369">
                  <c:v>2</c:v>
                </c:pt>
                <c:pt idx="3370">
                  <c:v>0</c:v>
                </c:pt>
                <c:pt idx="3371">
                  <c:v>1</c:v>
                </c:pt>
                <c:pt idx="3372">
                  <c:v>0</c:v>
                </c:pt>
                <c:pt idx="3373">
                  <c:v>13</c:v>
                </c:pt>
                <c:pt idx="3374">
                  <c:v>0</c:v>
                </c:pt>
                <c:pt idx="3375">
                  <c:v>0</c:v>
                </c:pt>
                <c:pt idx="3376">
                  <c:v>0</c:v>
                </c:pt>
                <c:pt idx="3377">
                  <c:v>0</c:v>
                </c:pt>
                <c:pt idx="3378">
                  <c:v>0</c:v>
                </c:pt>
                <c:pt idx="3379">
                  <c:v>0</c:v>
                </c:pt>
                <c:pt idx="3380">
                  <c:v>0</c:v>
                </c:pt>
                <c:pt idx="3381">
                  <c:v>3</c:v>
                </c:pt>
                <c:pt idx="3382">
                  <c:v>2</c:v>
                </c:pt>
                <c:pt idx="3383">
                  <c:v>2</c:v>
                </c:pt>
                <c:pt idx="3384">
                  <c:v>0</c:v>
                </c:pt>
                <c:pt idx="3385">
                  <c:v>3</c:v>
                </c:pt>
                <c:pt idx="3386">
                  <c:v>2</c:v>
                </c:pt>
                <c:pt idx="3387">
                  <c:v>1</c:v>
                </c:pt>
                <c:pt idx="3388">
                  <c:v>0</c:v>
                </c:pt>
                <c:pt idx="3389">
                  <c:v>0</c:v>
                </c:pt>
                <c:pt idx="3390">
                  <c:v>2</c:v>
                </c:pt>
                <c:pt idx="3391">
                  <c:v>0</c:v>
                </c:pt>
                <c:pt idx="3392">
                  <c:v>2</c:v>
                </c:pt>
                <c:pt idx="3393">
                  <c:v>0</c:v>
                </c:pt>
                <c:pt idx="3394">
                  <c:v>0</c:v>
                </c:pt>
                <c:pt idx="3395">
                  <c:v>0</c:v>
                </c:pt>
                <c:pt idx="3396">
                  <c:v>0</c:v>
                </c:pt>
                <c:pt idx="3397">
                  <c:v>2</c:v>
                </c:pt>
                <c:pt idx="3398">
                  <c:v>0</c:v>
                </c:pt>
                <c:pt idx="3399">
                  <c:v>0</c:v>
                </c:pt>
                <c:pt idx="3400">
                  <c:v>0</c:v>
                </c:pt>
                <c:pt idx="3401">
                  <c:v>0</c:v>
                </c:pt>
                <c:pt idx="3402">
                  <c:v>7</c:v>
                </c:pt>
                <c:pt idx="3403">
                  <c:v>1</c:v>
                </c:pt>
                <c:pt idx="3404">
                  <c:v>4</c:v>
                </c:pt>
                <c:pt idx="3405">
                  <c:v>1</c:v>
                </c:pt>
                <c:pt idx="3406">
                  <c:v>2</c:v>
                </c:pt>
                <c:pt idx="3407">
                  <c:v>1</c:v>
                </c:pt>
                <c:pt idx="3408">
                  <c:v>1</c:v>
                </c:pt>
                <c:pt idx="3409">
                  <c:v>0</c:v>
                </c:pt>
                <c:pt idx="3410">
                  <c:v>3</c:v>
                </c:pt>
                <c:pt idx="3411">
                  <c:v>0</c:v>
                </c:pt>
                <c:pt idx="3412">
                  <c:v>0</c:v>
                </c:pt>
                <c:pt idx="3413">
                  <c:v>1</c:v>
                </c:pt>
                <c:pt idx="3414">
                  <c:v>0</c:v>
                </c:pt>
                <c:pt idx="3415">
                  <c:v>1</c:v>
                </c:pt>
                <c:pt idx="3416">
                  <c:v>0</c:v>
                </c:pt>
                <c:pt idx="3417">
                  <c:v>0</c:v>
                </c:pt>
                <c:pt idx="3418">
                  <c:v>0</c:v>
                </c:pt>
                <c:pt idx="3419">
                  <c:v>0</c:v>
                </c:pt>
                <c:pt idx="3420">
                  <c:v>1</c:v>
                </c:pt>
                <c:pt idx="3421">
                  <c:v>0</c:v>
                </c:pt>
                <c:pt idx="3422">
                  <c:v>8</c:v>
                </c:pt>
                <c:pt idx="3423">
                  <c:v>0</c:v>
                </c:pt>
                <c:pt idx="3424">
                  <c:v>0</c:v>
                </c:pt>
                <c:pt idx="3425">
                  <c:v>1</c:v>
                </c:pt>
                <c:pt idx="3426">
                  <c:v>4</c:v>
                </c:pt>
                <c:pt idx="3427">
                  <c:v>3</c:v>
                </c:pt>
                <c:pt idx="3428">
                  <c:v>3</c:v>
                </c:pt>
                <c:pt idx="3429">
                  <c:v>0</c:v>
                </c:pt>
                <c:pt idx="3430">
                  <c:v>2</c:v>
                </c:pt>
                <c:pt idx="3431">
                  <c:v>0</c:v>
                </c:pt>
                <c:pt idx="3432">
                  <c:v>1</c:v>
                </c:pt>
                <c:pt idx="3433">
                  <c:v>0</c:v>
                </c:pt>
                <c:pt idx="3434">
                  <c:v>2</c:v>
                </c:pt>
                <c:pt idx="3435">
                  <c:v>0</c:v>
                </c:pt>
                <c:pt idx="3436">
                  <c:v>0</c:v>
                </c:pt>
                <c:pt idx="3437">
                  <c:v>2</c:v>
                </c:pt>
                <c:pt idx="3438">
                  <c:v>2</c:v>
                </c:pt>
                <c:pt idx="3439">
                  <c:v>0</c:v>
                </c:pt>
                <c:pt idx="3440">
                  <c:v>0</c:v>
                </c:pt>
                <c:pt idx="3441">
                  <c:v>3</c:v>
                </c:pt>
                <c:pt idx="3442">
                  <c:v>0</c:v>
                </c:pt>
                <c:pt idx="3443">
                  <c:v>6</c:v>
                </c:pt>
                <c:pt idx="3444">
                  <c:v>0</c:v>
                </c:pt>
                <c:pt idx="3445">
                  <c:v>0</c:v>
                </c:pt>
                <c:pt idx="3446">
                  <c:v>1</c:v>
                </c:pt>
                <c:pt idx="3447">
                  <c:v>2</c:v>
                </c:pt>
                <c:pt idx="3448">
                  <c:v>2</c:v>
                </c:pt>
                <c:pt idx="3449">
                  <c:v>8</c:v>
                </c:pt>
                <c:pt idx="3450">
                  <c:v>2</c:v>
                </c:pt>
                <c:pt idx="3451">
                  <c:v>2</c:v>
                </c:pt>
                <c:pt idx="3452">
                  <c:v>0</c:v>
                </c:pt>
                <c:pt idx="3453">
                  <c:v>0</c:v>
                </c:pt>
                <c:pt idx="3454">
                  <c:v>0</c:v>
                </c:pt>
                <c:pt idx="3455">
                  <c:v>3</c:v>
                </c:pt>
                <c:pt idx="3456">
                  <c:v>6</c:v>
                </c:pt>
                <c:pt idx="3457">
                  <c:v>4</c:v>
                </c:pt>
                <c:pt idx="3458">
                  <c:v>0</c:v>
                </c:pt>
                <c:pt idx="3459">
                  <c:v>0</c:v>
                </c:pt>
                <c:pt idx="3460">
                  <c:v>0</c:v>
                </c:pt>
                <c:pt idx="3461">
                  <c:v>3</c:v>
                </c:pt>
                <c:pt idx="3462">
                  <c:v>0</c:v>
                </c:pt>
                <c:pt idx="3463">
                  <c:v>0</c:v>
                </c:pt>
                <c:pt idx="3464">
                  <c:v>0</c:v>
                </c:pt>
                <c:pt idx="3465">
                  <c:v>0</c:v>
                </c:pt>
                <c:pt idx="3466">
                  <c:v>0</c:v>
                </c:pt>
                <c:pt idx="3467">
                  <c:v>0</c:v>
                </c:pt>
                <c:pt idx="3468">
                  <c:v>0</c:v>
                </c:pt>
                <c:pt idx="3469">
                  <c:v>0</c:v>
                </c:pt>
                <c:pt idx="3470">
                  <c:v>1</c:v>
                </c:pt>
                <c:pt idx="3471">
                  <c:v>2</c:v>
                </c:pt>
                <c:pt idx="3472">
                  <c:v>0</c:v>
                </c:pt>
                <c:pt idx="3473">
                  <c:v>0</c:v>
                </c:pt>
                <c:pt idx="3474">
                  <c:v>0</c:v>
                </c:pt>
                <c:pt idx="3475">
                  <c:v>0</c:v>
                </c:pt>
                <c:pt idx="3476">
                  <c:v>3</c:v>
                </c:pt>
                <c:pt idx="3477">
                  <c:v>0</c:v>
                </c:pt>
                <c:pt idx="3478">
                  <c:v>0</c:v>
                </c:pt>
                <c:pt idx="3479">
                  <c:v>0</c:v>
                </c:pt>
                <c:pt idx="3480">
                  <c:v>1</c:v>
                </c:pt>
                <c:pt idx="3481">
                  <c:v>0</c:v>
                </c:pt>
                <c:pt idx="3482">
                  <c:v>2</c:v>
                </c:pt>
                <c:pt idx="3483">
                  <c:v>0</c:v>
                </c:pt>
                <c:pt idx="3484">
                  <c:v>0</c:v>
                </c:pt>
                <c:pt idx="3485">
                  <c:v>3</c:v>
                </c:pt>
                <c:pt idx="3486">
                  <c:v>0</c:v>
                </c:pt>
                <c:pt idx="3487">
                  <c:v>7</c:v>
                </c:pt>
                <c:pt idx="3488">
                  <c:v>0</c:v>
                </c:pt>
                <c:pt idx="3489">
                  <c:v>0</c:v>
                </c:pt>
                <c:pt idx="3490">
                  <c:v>4</c:v>
                </c:pt>
                <c:pt idx="3491">
                  <c:v>0</c:v>
                </c:pt>
                <c:pt idx="3492">
                  <c:v>0</c:v>
                </c:pt>
                <c:pt idx="3493">
                  <c:v>2</c:v>
                </c:pt>
                <c:pt idx="3494">
                  <c:v>0</c:v>
                </c:pt>
                <c:pt idx="3495">
                  <c:v>0</c:v>
                </c:pt>
                <c:pt idx="3496">
                  <c:v>0</c:v>
                </c:pt>
                <c:pt idx="3497">
                  <c:v>0</c:v>
                </c:pt>
                <c:pt idx="3498">
                  <c:v>0</c:v>
                </c:pt>
                <c:pt idx="3499">
                  <c:v>1</c:v>
                </c:pt>
                <c:pt idx="3500">
                  <c:v>0</c:v>
                </c:pt>
                <c:pt idx="3501">
                  <c:v>0</c:v>
                </c:pt>
                <c:pt idx="3502">
                  <c:v>0</c:v>
                </c:pt>
                <c:pt idx="3503">
                  <c:v>5</c:v>
                </c:pt>
                <c:pt idx="3504">
                  <c:v>3</c:v>
                </c:pt>
                <c:pt idx="3505">
                  <c:v>1</c:v>
                </c:pt>
                <c:pt idx="3506">
                  <c:v>0</c:v>
                </c:pt>
                <c:pt idx="3507">
                  <c:v>0</c:v>
                </c:pt>
                <c:pt idx="3508">
                  <c:v>3</c:v>
                </c:pt>
                <c:pt idx="3509">
                  <c:v>2</c:v>
                </c:pt>
                <c:pt idx="3510">
                  <c:v>1</c:v>
                </c:pt>
                <c:pt idx="3511">
                  <c:v>0</c:v>
                </c:pt>
                <c:pt idx="3512">
                  <c:v>0</c:v>
                </c:pt>
                <c:pt idx="3513">
                  <c:v>0</c:v>
                </c:pt>
                <c:pt idx="3514">
                  <c:v>3</c:v>
                </c:pt>
                <c:pt idx="3515">
                  <c:v>1</c:v>
                </c:pt>
                <c:pt idx="3516">
                  <c:v>9</c:v>
                </c:pt>
                <c:pt idx="3517">
                  <c:v>0</c:v>
                </c:pt>
                <c:pt idx="3518">
                  <c:v>0</c:v>
                </c:pt>
                <c:pt idx="3519">
                  <c:v>4</c:v>
                </c:pt>
                <c:pt idx="3520">
                  <c:v>0</c:v>
                </c:pt>
                <c:pt idx="3521">
                  <c:v>2</c:v>
                </c:pt>
                <c:pt idx="3522">
                  <c:v>1</c:v>
                </c:pt>
                <c:pt idx="3523">
                  <c:v>0</c:v>
                </c:pt>
                <c:pt idx="3524">
                  <c:v>3</c:v>
                </c:pt>
                <c:pt idx="3525">
                  <c:v>0</c:v>
                </c:pt>
                <c:pt idx="3526">
                  <c:v>1</c:v>
                </c:pt>
                <c:pt idx="3527">
                  <c:v>0</c:v>
                </c:pt>
                <c:pt idx="3528">
                  <c:v>0</c:v>
                </c:pt>
                <c:pt idx="3529">
                  <c:v>1</c:v>
                </c:pt>
                <c:pt idx="3530">
                  <c:v>2</c:v>
                </c:pt>
                <c:pt idx="3531">
                  <c:v>2</c:v>
                </c:pt>
                <c:pt idx="3532">
                  <c:v>0</c:v>
                </c:pt>
                <c:pt idx="3533">
                  <c:v>1</c:v>
                </c:pt>
                <c:pt idx="3534">
                  <c:v>4</c:v>
                </c:pt>
                <c:pt idx="3535">
                  <c:v>1</c:v>
                </c:pt>
                <c:pt idx="3536">
                  <c:v>3</c:v>
                </c:pt>
                <c:pt idx="3537">
                  <c:v>0</c:v>
                </c:pt>
                <c:pt idx="3538">
                  <c:v>2</c:v>
                </c:pt>
                <c:pt idx="3539">
                  <c:v>8</c:v>
                </c:pt>
                <c:pt idx="3540">
                  <c:v>0</c:v>
                </c:pt>
                <c:pt idx="3541">
                  <c:v>3</c:v>
                </c:pt>
                <c:pt idx="3542">
                  <c:v>0</c:v>
                </c:pt>
                <c:pt idx="3543">
                  <c:v>3</c:v>
                </c:pt>
                <c:pt idx="3544">
                  <c:v>2</c:v>
                </c:pt>
                <c:pt idx="3545">
                  <c:v>0</c:v>
                </c:pt>
                <c:pt idx="3546">
                  <c:v>0</c:v>
                </c:pt>
                <c:pt idx="3547">
                  <c:v>6</c:v>
                </c:pt>
                <c:pt idx="3548">
                  <c:v>20</c:v>
                </c:pt>
                <c:pt idx="3549">
                  <c:v>0</c:v>
                </c:pt>
                <c:pt idx="3550">
                  <c:v>2</c:v>
                </c:pt>
                <c:pt idx="3551">
                  <c:v>1</c:v>
                </c:pt>
                <c:pt idx="3552">
                  <c:v>0</c:v>
                </c:pt>
                <c:pt idx="3553">
                  <c:v>2</c:v>
                </c:pt>
                <c:pt idx="3554">
                  <c:v>0</c:v>
                </c:pt>
                <c:pt idx="3555">
                  <c:v>0</c:v>
                </c:pt>
                <c:pt idx="3556">
                  <c:v>1</c:v>
                </c:pt>
                <c:pt idx="3557">
                  <c:v>0</c:v>
                </c:pt>
                <c:pt idx="3558">
                  <c:v>0</c:v>
                </c:pt>
                <c:pt idx="3559">
                  <c:v>6</c:v>
                </c:pt>
                <c:pt idx="3560">
                  <c:v>0</c:v>
                </c:pt>
                <c:pt idx="3561">
                  <c:v>5</c:v>
                </c:pt>
                <c:pt idx="3562">
                  <c:v>2</c:v>
                </c:pt>
                <c:pt idx="3563">
                  <c:v>0</c:v>
                </c:pt>
                <c:pt idx="3564">
                  <c:v>4</c:v>
                </c:pt>
                <c:pt idx="3565">
                  <c:v>1</c:v>
                </c:pt>
                <c:pt idx="3566">
                  <c:v>0</c:v>
                </c:pt>
                <c:pt idx="3567">
                  <c:v>1</c:v>
                </c:pt>
                <c:pt idx="3568">
                  <c:v>0</c:v>
                </c:pt>
                <c:pt idx="3569">
                  <c:v>1</c:v>
                </c:pt>
                <c:pt idx="3570">
                  <c:v>0</c:v>
                </c:pt>
                <c:pt idx="3571">
                  <c:v>0</c:v>
                </c:pt>
                <c:pt idx="3572">
                  <c:v>0</c:v>
                </c:pt>
                <c:pt idx="3573">
                  <c:v>0</c:v>
                </c:pt>
                <c:pt idx="3574">
                  <c:v>0</c:v>
                </c:pt>
                <c:pt idx="3575">
                  <c:v>9</c:v>
                </c:pt>
                <c:pt idx="3576">
                  <c:v>0</c:v>
                </c:pt>
                <c:pt idx="3577">
                  <c:v>0</c:v>
                </c:pt>
                <c:pt idx="3578">
                  <c:v>0</c:v>
                </c:pt>
                <c:pt idx="3579">
                  <c:v>2</c:v>
                </c:pt>
                <c:pt idx="3580">
                  <c:v>7</c:v>
                </c:pt>
                <c:pt idx="3581">
                  <c:v>5</c:v>
                </c:pt>
                <c:pt idx="3582">
                  <c:v>0</c:v>
                </c:pt>
                <c:pt idx="3583">
                  <c:v>0</c:v>
                </c:pt>
                <c:pt idx="3584">
                  <c:v>0</c:v>
                </c:pt>
                <c:pt idx="3585">
                  <c:v>5</c:v>
                </c:pt>
                <c:pt idx="3586">
                  <c:v>1</c:v>
                </c:pt>
                <c:pt idx="3587">
                  <c:v>0</c:v>
                </c:pt>
                <c:pt idx="3588">
                  <c:v>0</c:v>
                </c:pt>
                <c:pt idx="3589">
                  <c:v>0</c:v>
                </c:pt>
                <c:pt idx="3590">
                  <c:v>1</c:v>
                </c:pt>
                <c:pt idx="3591">
                  <c:v>0</c:v>
                </c:pt>
                <c:pt idx="3592">
                  <c:v>7</c:v>
                </c:pt>
                <c:pt idx="3593">
                  <c:v>2</c:v>
                </c:pt>
                <c:pt idx="3594">
                  <c:v>7</c:v>
                </c:pt>
                <c:pt idx="3595">
                  <c:v>4</c:v>
                </c:pt>
                <c:pt idx="3596">
                  <c:v>1</c:v>
                </c:pt>
                <c:pt idx="3597">
                  <c:v>0</c:v>
                </c:pt>
                <c:pt idx="3598">
                  <c:v>2</c:v>
                </c:pt>
                <c:pt idx="3599">
                  <c:v>25</c:v>
                </c:pt>
                <c:pt idx="3600">
                  <c:v>2</c:v>
                </c:pt>
                <c:pt idx="3601">
                  <c:v>1</c:v>
                </c:pt>
                <c:pt idx="3602">
                  <c:v>0</c:v>
                </c:pt>
                <c:pt idx="3603">
                  <c:v>1</c:v>
                </c:pt>
                <c:pt idx="3604">
                  <c:v>2</c:v>
                </c:pt>
                <c:pt idx="3605">
                  <c:v>1</c:v>
                </c:pt>
                <c:pt idx="3606">
                  <c:v>5</c:v>
                </c:pt>
                <c:pt idx="3607">
                  <c:v>2</c:v>
                </c:pt>
                <c:pt idx="3608">
                  <c:v>6</c:v>
                </c:pt>
                <c:pt idx="3609">
                  <c:v>6</c:v>
                </c:pt>
                <c:pt idx="3610">
                  <c:v>1</c:v>
                </c:pt>
                <c:pt idx="3611">
                  <c:v>2</c:v>
                </c:pt>
                <c:pt idx="3612">
                  <c:v>2</c:v>
                </c:pt>
                <c:pt idx="3613">
                  <c:v>1</c:v>
                </c:pt>
                <c:pt idx="3614">
                  <c:v>0</c:v>
                </c:pt>
                <c:pt idx="3615">
                  <c:v>18</c:v>
                </c:pt>
                <c:pt idx="3616">
                  <c:v>1</c:v>
                </c:pt>
                <c:pt idx="3617">
                  <c:v>1</c:v>
                </c:pt>
                <c:pt idx="3618">
                  <c:v>1</c:v>
                </c:pt>
                <c:pt idx="3619">
                  <c:v>8</c:v>
                </c:pt>
                <c:pt idx="3620">
                  <c:v>10</c:v>
                </c:pt>
                <c:pt idx="3621">
                  <c:v>4</c:v>
                </c:pt>
                <c:pt idx="3622">
                  <c:v>2</c:v>
                </c:pt>
                <c:pt idx="3623">
                  <c:v>10</c:v>
                </c:pt>
                <c:pt idx="3624">
                  <c:v>1</c:v>
                </c:pt>
                <c:pt idx="3625">
                  <c:v>3</c:v>
                </c:pt>
                <c:pt idx="3626">
                  <c:v>2</c:v>
                </c:pt>
                <c:pt idx="3627">
                  <c:v>2</c:v>
                </c:pt>
                <c:pt idx="3628">
                  <c:v>0</c:v>
                </c:pt>
                <c:pt idx="3629">
                  <c:v>2</c:v>
                </c:pt>
                <c:pt idx="3630">
                  <c:v>1</c:v>
                </c:pt>
                <c:pt idx="3631">
                  <c:v>4</c:v>
                </c:pt>
                <c:pt idx="3632">
                  <c:v>14</c:v>
                </c:pt>
                <c:pt idx="3633">
                  <c:v>0</c:v>
                </c:pt>
                <c:pt idx="3634">
                  <c:v>1</c:v>
                </c:pt>
                <c:pt idx="3635">
                  <c:v>2</c:v>
                </c:pt>
                <c:pt idx="3636">
                  <c:v>2</c:v>
                </c:pt>
                <c:pt idx="3637">
                  <c:v>1</c:v>
                </c:pt>
                <c:pt idx="3638">
                  <c:v>1</c:v>
                </c:pt>
                <c:pt idx="3639">
                  <c:v>1</c:v>
                </c:pt>
                <c:pt idx="3640">
                  <c:v>7</c:v>
                </c:pt>
                <c:pt idx="3641">
                  <c:v>2</c:v>
                </c:pt>
                <c:pt idx="3642">
                  <c:v>0</c:v>
                </c:pt>
                <c:pt idx="3643">
                  <c:v>0</c:v>
                </c:pt>
                <c:pt idx="3644">
                  <c:v>1</c:v>
                </c:pt>
                <c:pt idx="3645">
                  <c:v>4</c:v>
                </c:pt>
                <c:pt idx="3646">
                  <c:v>4</c:v>
                </c:pt>
                <c:pt idx="3647">
                  <c:v>20</c:v>
                </c:pt>
                <c:pt idx="3648">
                  <c:v>2</c:v>
                </c:pt>
                <c:pt idx="3649">
                  <c:v>8</c:v>
                </c:pt>
                <c:pt idx="3650">
                  <c:v>2</c:v>
                </c:pt>
                <c:pt idx="3651">
                  <c:v>5</c:v>
                </c:pt>
                <c:pt idx="3652">
                  <c:v>1</c:v>
                </c:pt>
                <c:pt idx="3653">
                  <c:v>1</c:v>
                </c:pt>
                <c:pt idx="3654">
                  <c:v>3</c:v>
                </c:pt>
                <c:pt idx="3655">
                  <c:v>2</c:v>
                </c:pt>
                <c:pt idx="3656">
                  <c:v>4</c:v>
                </c:pt>
                <c:pt idx="3657">
                  <c:v>4</c:v>
                </c:pt>
                <c:pt idx="3658">
                  <c:v>2</c:v>
                </c:pt>
                <c:pt idx="3659">
                  <c:v>6</c:v>
                </c:pt>
                <c:pt idx="3660">
                  <c:v>5</c:v>
                </c:pt>
                <c:pt idx="3661">
                  <c:v>4</c:v>
                </c:pt>
                <c:pt idx="3662">
                  <c:v>0</c:v>
                </c:pt>
                <c:pt idx="3663">
                  <c:v>0</c:v>
                </c:pt>
                <c:pt idx="3664">
                  <c:v>2</c:v>
                </c:pt>
                <c:pt idx="3665">
                  <c:v>0</c:v>
                </c:pt>
                <c:pt idx="3666">
                  <c:v>10</c:v>
                </c:pt>
                <c:pt idx="3667">
                  <c:v>1</c:v>
                </c:pt>
                <c:pt idx="3668">
                  <c:v>0</c:v>
                </c:pt>
                <c:pt idx="3669">
                  <c:v>1</c:v>
                </c:pt>
                <c:pt idx="3670">
                  <c:v>0</c:v>
                </c:pt>
                <c:pt idx="3671">
                  <c:v>0</c:v>
                </c:pt>
                <c:pt idx="3672">
                  <c:v>0</c:v>
                </c:pt>
                <c:pt idx="3673">
                  <c:v>1</c:v>
                </c:pt>
                <c:pt idx="3674">
                  <c:v>0</c:v>
                </c:pt>
                <c:pt idx="3675">
                  <c:v>0</c:v>
                </c:pt>
                <c:pt idx="3676">
                  <c:v>0</c:v>
                </c:pt>
                <c:pt idx="3677">
                  <c:v>2</c:v>
                </c:pt>
                <c:pt idx="3678">
                  <c:v>0</c:v>
                </c:pt>
                <c:pt idx="3679">
                  <c:v>0</c:v>
                </c:pt>
                <c:pt idx="3680">
                  <c:v>0</c:v>
                </c:pt>
                <c:pt idx="3681">
                  <c:v>0</c:v>
                </c:pt>
                <c:pt idx="3682">
                  <c:v>0</c:v>
                </c:pt>
                <c:pt idx="3683">
                  <c:v>3</c:v>
                </c:pt>
                <c:pt idx="3684">
                  <c:v>1</c:v>
                </c:pt>
                <c:pt idx="3685">
                  <c:v>0</c:v>
                </c:pt>
                <c:pt idx="3686">
                  <c:v>2</c:v>
                </c:pt>
                <c:pt idx="3687">
                  <c:v>0</c:v>
                </c:pt>
                <c:pt idx="3688">
                  <c:v>0</c:v>
                </c:pt>
                <c:pt idx="3689">
                  <c:v>0</c:v>
                </c:pt>
                <c:pt idx="3690">
                  <c:v>1</c:v>
                </c:pt>
                <c:pt idx="3691">
                  <c:v>3</c:v>
                </c:pt>
                <c:pt idx="3692">
                  <c:v>4</c:v>
                </c:pt>
                <c:pt idx="3693">
                  <c:v>2</c:v>
                </c:pt>
                <c:pt idx="3694">
                  <c:v>0</c:v>
                </c:pt>
                <c:pt idx="3695">
                  <c:v>0</c:v>
                </c:pt>
                <c:pt idx="3696">
                  <c:v>9</c:v>
                </c:pt>
                <c:pt idx="3697">
                  <c:v>1</c:v>
                </c:pt>
                <c:pt idx="3698">
                  <c:v>1</c:v>
                </c:pt>
                <c:pt idx="3699">
                  <c:v>0</c:v>
                </c:pt>
                <c:pt idx="3700">
                  <c:v>1</c:v>
                </c:pt>
                <c:pt idx="3701">
                  <c:v>1</c:v>
                </c:pt>
                <c:pt idx="3702">
                  <c:v>0</c:v>
                </c:pt>
                <c:pt idx="3703">
                  <c:v>0</c:v>
                </c:pt>
                <c:pt idx="3704">
                  <c:v>0</c:v>
                </c:pt>
                <c:pt idx="3705">
                  <c:v>1</c:v>
                </c:pt>
                <c:pt idx="3706">
                  <c:v>0</c:v>
                </c:pt>
                <c:pt idx="3707">
                  <c:v>2</c:v>
                </c:pt>
                <c:pt idx="3708">
                  <c:v>2</c:v>
                </c:pt>
                <c:pt idx="3709">
                  <c:v>0</c:v>
                </c:pt>
                <c:pt idx="3710">
                  <c:v>1</c:v>
                </c:pt>
                <c:pt idx="3711">
                  <c:v>5</c:v>
                </c:pt>
                <c:pt idx="3712">
                  <c:v>2</c:v>
                </c:pt>
                <c:pt idx="3713">
                  <c:v>0</c:v>
                </c:pt>
                <c:pt idx="3714">
                  <c:v>6</c:v>
                </c:pt>
                <c:pt idx="3715">
                  <c:v>0</c:v>
                </c:pt>
                <c:pt idx="3716">
                  <c:v>1</c:v>
                </c:pt>
                <c:pt idx="3717">
                  <c:v>1</c:v>
                </c:pt>
                <c:pt idx="3718">
                  <c:v>6</c:v>
                </c:pt>
                <c:pt idx="3719">
                  <c:v>0</c:v>
                </c:pt>
                <c:pt idx="3720">
                  <c:v>0</c:v>
                </c:pt>
                <c:pt idx="3721">
                  <c:v>1</c:v>
                </c:pt>
                <c:pt idx="3722">
                  <c:v>1</c:v>
                </c:pt>
                <c:pt idx="3723">
                  <c:v>1</c:v>
                </c:pt>
                <c:pt idx="3724">
                  <c:v>0</c:v>
                </c:pt>
                <c:pt idx="3725">
                  <c:v>0</c:v>
                </c:pt>
                <c:pt idx="3726">
                  <c:v>0</c:v>
                </c:pt>
                <c:pt idx="3727">
                  <c:v>1</c:v>
                </c:pt>
                <c:pt idx="3728">
                  <c:v>1</c:v>
                </c:pt>
                <c:pt idx="3729">
                  <c:v>0</c:v>
                </c:pt>
                <c:pt idx="3730">
                  <c:v>0</c:v>
                </c:pt>
                <c:pt idx="3731">
                  <c:v>1</c:v>
                </c:pt>
                <c:pt idx="3732">
                  <c:v>0</c:v>
                </c:pt>
                <c:pt idx="3733">
                  <c:v>7</c:v>
                </c:pt>
                <c:pt idx="3734">
                  <c:v>0</c:v>
                </c:pt>
                <c:pt idx="3735">
                  <c:v>0</c:v>
                </c:pt>
                <c:pt idx="3736">
                  <c:v>0</c:v>
                </c:pt>
                <c:pt idx="3737">
                  <c:v>4</c:v>
                </c:pt>
                <c:pt idx="3738">
                  <c:v>0</c:v>
                </c:pt>
                <c:pt idx="3739">
                  <c:v>0</c:v>
                </c:pt>
                <c:pt idx="3740">
                  <c:v>0</c:v>
                </c:pt>
                <c:pt idx="3741">
                  <c:v>0</c:v>
                </c:pt>
                <c:pt idx="3742">
                  <c:v>0</c:v>
                </c:pt>
                <c:pt idx="3743">
                  <c:v>0</c:v>
                </c:pt>
                <c:pt idx="3744">
                  <c:v>0</c:v>
                </c:pt>
                <c:pt idx="3745">
                  <c:v>0</c:v>
                </c:pt>
                <c:pt idx="3746">
                  <c:v>0</c:v>
                </c:pt>
                <c:pt idx="3747">
                  <c:v>2</c:v>
                </c:pt>
                <c:pt idx="3748">
                  <c:v>1</c:v>
                </c:pt>
                <c:pt idx="3749">
                  <c:v>0</c:v>
                </c:pt>
                <c:pt idx="3750">
                  <c:v>0</c:v>
                </c:pt>
                <c:pt idx="3751">
                  <c:v>0</c:v>
                </c:pt>
                <c:pt idx="3752">
                  <c:v>3</c:v>
                </c:pt>
                <c:pt idx="3753">
                  <c:v>4</c:v>
                </c:pt>
                <c:pt idx="3754">
                  <c:v>1</c:v>
                </c:pt>
                <c:pt idx="3755">
                  <c:v>0</c:v>
                </c:pt>
                <c:pt idx="3756">
                  <c:v>0</c:v>
                </c:pt>
                <c:pt idx="3757">
                  <c:v>0</c:v>
                </c:pt>
                <c:pt idx="3758">
                  <c:v>0</c:v>
                </c:pt>
                <c:pt idx="3759">
                  <c:v>0</c:v>
                </c:pt>
                <c:pt idx="3760">
                  <c:v>0</c:v>
                </c:pt>
                <c:pt idx="3761">
                  <c:v>4</c:v>
                </c:pt>
                <c:pt idx="3762">
                  <c:v>2</c:v>
                </c:pt>
                <c:pt idx="3763">
                  <c:v>1</c:v>
                </c:pt>
                <c:pt idx="3764">
                  <c:v>0</c:v>
                </c:pt>
                <c:pt idx="3765">
                  <c:v>0</c:v>
                </c:pt>
                <c:pt idx="3766">
                  <c:v>1</c:v>
                </c:pt>
                <c:pt idx="3767">
                  <c:v>0</c:v>
                </c:pt>
                <c:pt idx="3768">
                  <c:v>0</c:v>
                </c:pt>
                <c:pt idx="3769">
                  <c:v>3</c:v>
                </c:pt>
                <c:pt idx="3770">
                  <c:v>0</c:v>
                </c:pt>
                <c:pt idx="3771">
                  <c:v>0</c:v>
                </c:pt>
                <c:pt idx="3772">
                  <c:v>0</c:v>
                </c:pt>
                <c:pt idx="3773">
                  <c:v>1</c:v>
                </c:pt>
                <c:pt idx="3774">
                  <c:v>1</c:v>
                </c:pt>
                <c:pt idx="3775">
                  <c:v>6</c:v>
                </c:pt>
                <c:pt idx="3776">
                  <c:v>0</c:v>
                </c:pt>
                <c:pt idx="3777">
                  <c:v>0</c:v>
                </c:pt>
                <c:pt idx="3778">
                  <c:v>0</c:v>
                </c:pt>
                <c:pt idx="3779">
                  <c:v>6</c:v>
                </c:pt>
                <c:pt idx="3780">
                  <c:v>0</c:v>
                </c:pt>
                <c:pt idx="3781">
                  <c:v>4</c:v>
                </c:pt>
                <c:pt idx="3782">
                  <c:v>0</c:v>
                </c:pt>
                <c:pt idx="3783">
                  <c:v>2</c:v>
                </c:pt>
                <c:pt idx="3784">
                  <c:v>0</c:v>
                </c:pt>
                <c:pt idx="3785">
                  <c:v>0</c:v>
                </c:pt>
                <c:pt idx="3786">
                  <c:v>0</c:v>
                </c:pt>
                <c:pt idx="3787">
                  <c:v>0</c:v>
                </c:pt>
                <c:pt idx="3788">
                  <c:v>0</c:v>
                </c:pt>
                <c:pt idx="3789">
                  <c:v>0</c:v>
                </c:pt>
                <c:pt idx="3790">
                  <c:v>2</c:v>
                </c:pt>
                <c:pt idx="3791">
                  <c:v>3</c:v>
                </c:pt>
                <c:pt idx="3792">
                  <c:v>0</c:v>
                </c:pt>
                <c:pt idx="3793">
                  <c:v>0</c:v>
                </c:pt>
                <c:pt idx="3794">
                  <c:v>1</c:v>
                </c:pt>
                <c:pt idx="3795">
                  <c:v>2</c:v>
                </c:pt>
                <c:pt idx="3796">
                  <c:v>0</c:v>
                </c:pt>
                <c:pt idx="3797">
                  <c:v>0</c:v>
                </c:pt>
                <c:pt idx="3798">
                  <c:v>0</c:v>
                </c:pt>
                <c:pt idx="3799">
                  <c:v>0</c:v>
                </c:pt>
                <c:pt idx="3800">
                  <c:v>3</c:v>
                </c:pt>
                <c:pt idx="3801">
                  <c:v>0</c:v>
                </c:pt>
                <c:pt idx="3802">
                  <c:v>0</c:v>
                </c:pt>
                <c:pt idx="3803">
                  <c:v>0</c:v>
                </c:pt>
                <c:pt idx="3804">
                  <c:v>0</c:v>
                </c:pt>
                <c:pt idx="3805">
                  <c:v>0</c:v>
                </c:pt>
                <c:pt idx="3806">
                  <c:v>1</c:v>
                </c:pt>
                <c:pt idx="3807">
                  <c:v>3</c:v>
                </c:pt>
                <c:pt idx="3808">
                  <c:v>0</c:v>
                </c:pt>
                <c:pt idx="3809">
                  <c:v>11</c:v>
                </c:pt>
                <c:pt idx="3810">
                  <c:v>0</c:v>
                </c:pt>
                <c:pt idx="3811">
                  <c:v>0</c:v>
                </c:pt>
                <c:pt idx="3812">
                  <c:v>1</c:v>
                </c:pt>
                <c:pt idx="3813">
                  <c:v>2</c:v>
                </c:pt>
                <c:pt idx="3814">
                  <c:v>0</c:v>
                </c:pt>
                <c:pt idx="3815">
                  <c:v>3</c:v>
                </c:pt>
                <c:pt idx="3816">
                  <c:v>0</c:v>
                </c:pt>
                <c:pt idx="3817">
                  <c:v>1</c:v>
                </c:pt>
                <c:pt idx="3818">
                  <c:v>5</c:v>
                </c:pt>
                <c:pt idx="3819">
                  <c:v>3</c:v>
                </c:pt>
                <c:pt idx="3820">
                  <c:v>0</c:v>
                </c:pt>
                <c:pt idx="3821">
                  <c:v>2</c:v>
                </c:pt>
                <c:pt idx="3822">
                  <c:v>0</c:v>
                </c:pt>
                <c:pt idx="3823">
                  <c:v>1</c:v>
                </c:pt>
                <c:pt idx="3824">
                  <c:v>5</c:v>
                </c:pt>
                <c:pt idx="3825">
                  <c:v>3</c:v>
                </c:pt>
                <c:pt idx="3826">
                  <c:v>0</c:v>
                </c:pt>
                <c:pt idx="3827">
                  <c:v>0</c:v>
                </c:pt>
                <c:pt idx="3828">
                  <c:v>3</c:v>
                </c:pt>
                <c:pt idx="3829">
                  <c:v>3</c:v>
                </c:pt>
                <c:pt idx="3830">
                  <c:v>1</c:v>
                </c:pt>
                <c:pt idx="3831">
                  <c:v>0</c:v>
                </c:pt>
                <c:pt idx="3832">
                  <c:v>3</c:v>
                </c:pt>
                <c:pt idx="3833">
                  <c:v>0</c:v>
                </c:pt>
                <c:pt idx="3834">
                  <c:v>2</c:v>
                </c:pt>
                <c:pt idx="3835">
                  <c:v>1</c:v>
                </c:pt>
                <c:pt idx="3836">
                  <c:v>0</c:v>
                </c:pt>
                <c:pt idx="3837">
                  <c:v>1</c:v>
                </c:pt>
                <c:pt idx="3838">
                  <c:v>10</c:v>
                </c:pt>
                <c:pt idx="3839">
                  <c:v>1</c:v>
                </c:pt>
                <c:pt idx="3840">
                  <c:v>0</c:v>
                </c:pt>
                <c:pt idx="3841">
                  <c:v>0</c:v>
                </c:pt>
                <c:pt idx="3842">
                  <c:v>0</c:v>
                </c:pt>
                <c:pt idx="3843">
                  <c:v>2</c:v>
                </c:pt>
                <c:pt idx="3844">
                  <c:v>0</c:v>
                </c:pt>
                <c:pt idx="3845">
                  <c:v>13</c:v>
                </c:pt>
                <c:pt idx="3846">
                  <c:v>4</c:v>
                </c:pt>
                <c:pt idx="3847">
                  <c:v>1</c:v>
                </c:pt>
                <c:pt idx="3848">
                  <c:v>0</c:v>
                </c:pt>
                <c:pt idx="3849">
                  <c:v>1</c:v>
                </c:pt>
                <c:pt idx="3850">
                  <c:v>1</c:v>
                </c:pt>
                <c:pt idx="3851">
                  <c:v>0</c:v>
                </c:pt>
                <c:pt idx="3852">
                  <c:v>0</c:v>
                </c:pt>
                <c:pt idx="3853">
                  <c:v>1</c:v>
                </c:pt>
                <c:pt idx="3854">
                  <c:v>0</c:v>
                </c:pt>
                <c:pt idx="3855">
                  <c:v>0</c:v>
                </c:pt>
                <c:pt idx="3856">
                  <c:v>0</c:v>
                </c:pt>
                <c:pt idx="3857">
                  <c:v>3</c:v>
                </c:pt>
                <c:pt idx="3858">
                  <c:v>0</c:v>
                </c:pt>
                <c:pt idx="3859">
                  <c:v>0</c:v>
                </c:pt>
                <c:pt idx="3860">
                  <c:v>0</c:v>
                </c:pt>
                <c:pt idx="3861">
                  <c:v>2</c:v>
                </c:pt>
                <c:pt idx="3862">
                  <c:v>0</c:v>
                </c:pt>
                <c:pt idx="3863">
                  <c:v>0</c:v>
                </c:pt>
                <c:pt idx="3864">
                  <c:v>0</c:v>
                </c:pt>
                <c:pt idx="3865">
                  <c:v>0</c:v>
                </c:pt>
                <c:pt idx="3866">
                  <c:v>4</c:v>
                </c:pt>
                <c:pt idx="3867">
                  <c:v>0</c:v>
                </c:pt>
                <c:pt idx="3868">
                  <c:v>0</c:v>
                </c:pt>
                <c:pt idx="3869">
                  <c:v>0</c:v>
                </c:pt>
                <c:pt idx="3870">
                  <c:v>1</c:v>
                </c:pt>
                <c:pt idx="3871">
                  <c:v>0</c:v>
                </c:pt>
                <c:pt idx="3872">
                  <c:v>0</c:v>
                </c:pt>
                <c:pt idx="3873">
                  <c:v>0</c:v>
                </c:pt>
                <c:pt idx="3874">
                  <c:v>0</c:v>
                </c:pt>
                <c:pt idx="3875">
                  <c:v>0</c:v>
                </c:pt>
                <c:pt idx="3876">
                  <c:v>0</c:v>
                </c:pt>
                <c:pt idx="3877">
                  <c:v>7</c:v>
                </c:pt>
                <c:pt idx="3878">
                  <c:v>1</c:v>
                </c:pt>
                <c:pt idx="3879">
                  <c:v>0</c:v>
                </c:pt>
                <c:pt idx="3880">
                  <c:v>1</c:v>
                </c:pt>
                <c:pt idx="3881">
                  <c:v>0</c:v>
                </c:pt>
                <c:pt idx="3882">
                  <c:v>0</c:v>
                </c:pt>
                <c:pt idx="3883">
                  <c:v>2</c:v>
                </c:pt>
                <c:pt idx="3884">
                  <c:v>0</c:v>
                </c:pt>
                <c:pt idx="3885">
                  <c:v>0</c:v>
                </c:pt>
                <c:pt idx="3886">
                  <c:v>0</c:v>
                </c:pt>
                <c:pt idx="3887">
                  <c:v>3</c:v>
                </c:pt>
                <c:pt idx="3888">
                  <c:v>0</c:v>
                </c:pt>
                <c:pt idx="3889">
                  <c:v>0</c:v>
                </c:pt>
                <c:pt idx="3890">
                  <c:v>0</c:v>
                </c:pt>
                <c:pt idx="3891">
                  <c:v>2</c:v>
                </c:pt>
                <c:pt idx="3892">
                  <c:v>0</c:v>
                </c:pt>
                <c:pt idx="3893">
                  <c:v>2</c:v>
                </c:pt>
                <c:pt idx="3894">
                  <c:v>1</c:v>
                </c:pt>
                <c:pt idx="3895">
                  <c:v>0</c:v>
                </c:pt>
                <c:pt idx="3896">
                  <c:v>1</c:v>
                </c:pt>
                <c:pt idx="3897">
                  <c:v>1</c:v>
                </c:pt>
                <c:pt idx="3898">
                  <c:v>1</c:v>
                </c:pt>
                <c:pt idx="3899">
                  <c:v>0</c:v>
                </c:pt>
                <c:pt idx="3900">
                  <c:v>0</c:v>
                </c:pt>
                <c:pt idx="3901">
                  <c:v>0</c:v>
                </c:pt>
                <c:pt idx="3902">
                  <c:v>0</c:v>
                </c:pt>
                <c:pt idx="3903">
                  <c:v>3</c:v>
                </c:pt>
                <c:pt idx="3904">
                  <c:v>0</c:v>
                </c:pt>
                <c:pt idx="3905">
                  <c:v>0</c:v>
                </c:pt>
                <c:pt idx="3906">
                  <c:v>1</c:v>
                </c:pt>
                <c:pt idx="3907">
                  <c:v>0</c:v>
                </c:pt>
                <c:pt idx="3908">
                  <c:v>0</c:v>
                </c:pt>
                <c:pt idx="3909">
                  <c:v>1</c:v>
                </c:pt>
                <c:pt idx="3910">
                  <c:v>0</c:v>
                </c:pt>
                <c:pt idx="3911">
                  <c:v>0</c:v>
                </c:pt>
                <c:pt idx="3912">
                  <c:v>0</c:v>
                </c:pt>
                <c:pt idx="3913">
                  <c:v>0</c:v>
                </c:pt>
                <c:pt idx="3914">
                  <c:v>1</c:v>
                </c:pt>
                <c:pt idx="3915">
                  <c:v>0</c:v>
                </c:pt>
                <c:pt idx="3916">
                  <c:v>2</c:v>
                </c:pt>
                <c:pt idx="3917">
                  <c:v>1</c:v>
                </c:pt>
                <c:pt idx="3918">
                  <c:v>0</c:v>
                </c:pt>
                <c:pt idx="3919">
                  <c:v>0</c:v>
                </c:pt>
                <c:pt idx="3920">
                  <c:v>0</c:v>
                </c:pt>
                <c:pt idx="3921">
                  <c:v>2</c:v>
                </c:pt>
                <c:pt idx="3922">
                  <c:v>0</c:v>
                </c:pt>
                <c:pt idx="3923">
                  <c:v>0</c:v>
                </c:pt>
                <c:pt idx="3924">
                  <c:v>3</c:v>
                </c:pt>
                <c:pt idx="3925">
                  <c:v>2</c:v>
                </c:pt>
                <c:pt idx="3926">
                  <c:v>4</c:v>
                </c:pt>
                <c:pt idx="3927">
                  <c:v>0</c:v>
                </c:pt>
                <c:pt idx="3928">
                  <c:v>0</c:v>
                </c:pt>
                <c:pt idx="3929">
                  <c:v>5</c:v>
                </c:pt>
                <c:pt idx="3930">
                  <c:v>0</c:v>
                </c:pt>
                <c:pt idx="3931">
                  <c:v>0</c:v>
                </c:pt>
                <c:pt idx="3932">
                  <c:v>1</c:v>
                </c:pt>
                <c:pt idx="3933">
                  <c:v>0</c:v>
                </c:pt>
                <c:pt idx="3934">
                  <c:v>0</c:v>
                </c:pt>
                <c:pt idx="3935">
                  <c:v>0</c:v>
                </c:pt>
                <c:pt idx="3936">
                  <c:v>0</c:v>
                </c:pt>
                <c:pt idx="3937">
                  <c:v>0</c:v>
                </c:pt>
                <c:pt idx="3938">
                  <c:v>1</c:v>
                </c:pt>
                <c:pt idx="3939">
                  <c:v>0</c:v>
                </c:pt>
                <c:pt idx="3940">
                  <c:v>0</c:v>
                </c:pt>
                <c:pt idx="3941">
                  <c:v>2</c:v>
                </c:pt>
                <c:pt idx="3942">
                  <c:v>0</c:v>
                </c:pt>
                <c:pt idx="3943">
                  <c:v>0</c:v>
                </c:pt>
                <c:pt idx="3944">
                  <c:v>0</c:v>
                </c:pt>
                <c:pt idx="3945">
                  <c:v>0</c:v>
                </c:pt>
                <c:pt idx="3946">
                  <c:v>0</c:v>
                </c:pt>
                <c:pt idx="3947">
                  <c:v>0</c:v>
                </c:pt>
                <c:pt idx="3948">
                  <c:v>0</c:v>
                </c:pt>
                <c:pt idx="3949">
                  <c:v>0</c:v>
                </c:pt>
                <c:pt idx="3950">
                  <c:v>46</c:v>
                </c:pt>
                <c:pt idx="3951">
                  <c:v>0</c:v>
                </c:pt>
                <c:pt idx="3952">
                  <c:v>0</c:v>
                </c:pt>
                <c:pt idx="3953">
                  <c:v>4</c:v>
                </c:pt>
                <c:pt idx="3954">
                  <c:v>0</c:v>
                </c:pt>
                <c:pt idx="3955">
                  <c:v>0</c:v>
                </c:pt>
                <c:pt idx="3956">
                  <c:v>0</c:v>
                </c:pt>
                <c:pt idx="3957">
                  <c:v>0</c:v>
                </c:pt>
                <c:pt idx="3958">
                  <c:v>5</c:v>
                </c:pt>
                <c:pt idx="3959">
                  <c:v>0</c:v>
                </c:pt>
                <c:pt idx="3960">
                  <c:v>0</c:v>
                </c:pt>
                <c:pt idx="3961">
                  <c:v>2</c:v>
                </c:pt>
                <c:pt idx="3962">
                  <c:v>0</c:v>
                </c:pt>
                <c:pt idx="3963">
                  <c:v>8</c:v>
                </c:pt>
                <c:pt idx="3964">
                  <c:v>1</c:v>
                </c:pt>
                <c:pt idx="3965">
                  <c:v>1</c:v>
                </c:pt>
                <c:pt idx="3966">
                  <c:v>0</c:v>
                </c:pt>
                <c:pt idx="3967">
                  <c:v>0</c:v>
                </c:pt>
                <c:pt idx="3968">
                  <c:v>3</c:v>
                </c:pt>
                <c:pt idx="3969">
                  <c:v>0</c:v>
                </c:pt>
                <c:pt idx="3970">
                  <c:v>0</c:v>
                </c:pt>
                <c:pt idx="3971">
                  <c:v>0</c:v>
                </c:pt>
                <c:pt idx="3972">
                  <c:v>0</c:v>
                </c:pt>
                <c:pt idx="3973">
                  <c:v>0</c:v>
                </c:pt>
                <c:pt idx="3974">
                  <c:v>0</c:v>
                </c:pt>
                <c:pt idx="3975">
                  <c:v>0</c:v>
                </c:pt>
                <c:pt idx="3976">
                  <c:v>8</c:v>
                </c:pt>
                <c:pt idx="3977">
                  <c:v>6</c:v>
                </c:pt>
                <c:pt idx="3978">
                  <c:v>0</c:v>
                </c:pt>
                <c:pt idx="3979">
                  <c:v>2</c:v>
                </c:pt>
                <c:pt idx="3980">
                  <c:v>0</c:v>
                </c:pt>
                <c:pt idx="3981">
                  <c:v>0</c:v>
                </c:pt>
                <c:pt idx="3982">
                  <c:v>0</c:v>
                </c:pt>
                <c:pt idx="3983">
                  <c:v>0</c:v>
                </c:pt>
                <c:pt idx="3984">
                  <c:v>3</c:v>
                </c:pt>
                <c:pt idx="3985">
                  <c:v>1</c:v>
                </c:pt>
                <c:pt idx="3986">
                  <c:v>0</c:v>
                </c:pt>
                <c:pt idx="3987">
                  <c:v>2</c:v>
                </c:pt>
                <c:pt idx="3988">
                  <c:v>5</c:v>
                </c:pt>
                <c:pt idx="3989">
                  <c:v>0</c:v>
                </c:pt>
                <c:pt idx="3990">
                  <c:v>2</c:v>
                </c:pt>
                <c:pt idx="3991">
                  <c:v>3</c:v>
                </c:pt>
                <c:pt idx="3992">
                  <c:v>21</c:v>
                </c:pt>
                <c:pt idx="3993">
                  <c:v>3</c:v>
                </c:pt>
                <c:pt idx="3994">
                  <c:v>2</c:v>
                </c:pt>
                <c:pt idx="3995">
                  <c:v>0</c:v>
                </c:pt>
                <c:pt idx="3996">
                  <c:v>0</c:v>
                </c:pt>
                <c:pt idx="3997">
                  <c:v>0</c:v>
                </c:pt>
                <c:pt idx="3998">
                  <c:v>0</c:v>
                </c:pt>
                <c:pt idx="3999">
                  <c:v>0</c:v>
                </c:pt>
                <c:pt idx="4000">
                  <c:v>0</c:v>
                </c:pt>
                <c:pt idx="4001">
                  <c:v>1</c:v>
                </c:pt>
                <c:pt idx="4002">
                  <c:v>0</c:v>
                </c:pt>
                <c:pt idx="4003">
                  <c:v>0</c:v>
                </c:pt>
                <c:pt idx="4004">
                  <c:v>0</c:v>
                </c:pt>
                <c:pt idx="4005">
                  <c:v>0</c:v>
                </c:pt>
                <c:pt idx="4006">
                  <c:v>1</c:v>
                </c:pt>
                <c:pt idx="4007">
                  <c:v>0</c:v>
                </c:pt>
                <c:pt idx="4008">
                  <c:v>0</c:v>
                </c:pt>
                <c:pt idx="4009">
                  <c:v>0</c:v>
                </c:pt>
                <c:pt idx="4010">
                  <c:v>1</c:v>
                </c:pt>
                <c:pt idx="4011">
                  <c:v>1</c:v>
                </c:pt>
                <c:pt idx="4012">
                  <c:v>0</c:v>
                </c:pt>
                <c:pt idx="4013">
                  <c:v>3</c:v>
                </c:pt>
                <c:pt idx="4014">
                  <c:v>0</c:v>
                </c:pt>
                <c:pt idx="4015">
                  <c:v>1</c:v>
                </c:pt>
                <c:pt idx="4016">
                  <c:v>0</c:v>
                </c:pt>
                <c:pt idx="4017">
                  <c:v>0</c:v>
                </c:pt>
                <c:pt idx="4018">
                  <c:v>1</c:v>
                </c:pt>
                <c:pt idx="4019">
                  <c:v>3</c:v>
                </c:pt>
                <c:pt idx="4020">
                  <c:v>0</c:v>
                </c:pt>
                <c:pt idx="4021">
                  <c:v>11</c:v>
                </c:pt>
                <c:pt idx="4022">
                  <c:v>1</c:v>
                </c:pt>
                <c:pt idx="4023">
                  <c:v>0</c:v>
                </c:pt>
                <c:pt idx="4024">
                  <c:v>0</c:v>
                </c:pt>
                <c:pt idx="4025">
                  <c:v>0</c:v>
                </c:pt>
                <c:pt idx="4026">
                  <c:v>13</c:v>
                </c:pt>
                <c:pt idx="4027">
                  <c:v>1</c:v>
                </c:pt>
                <c:pt idx="4028">
                  <c:v>3</c:v>
                </c:pt>
                <c:pt idx="4029">
                  <c:v>0</c:v>
                </c:pt>
                <c:pt idx="4030">
                  <c:v>1</c:v>
                </c:pt>
                <c:pt idx="4031">
                  <c:v>3</c:v>
                </c:pt>
                <c:pt idx="4032">
                  <c:v>0</c:v>
                </c:pt>
                <c:pt idx="4033">
                  <c:v>3</c:v>
                </c:pt>
                <c:pt idx="4034">
                  <c:v>0</c:v>
                </c:pt>
                <c:pt idx="4035">
                  <c:v>0</c:v>
                </c:pt>
                <c:pt idx="4036">
                  <c:v>0</c:v>
                </c:pt>
                <c:pt idx="4037">
                  <c:v>0</c:v>
                </c:pt>
                <c:pt idx="4038">
                  <c:v>0</c:v>
                </c:pt>
                <c:pt idx="4039">
                  <c:v>2</c:v>
                </c:pt>
                <c:pt idx="4040">
                  <c:v>3</c:v>
                </c:pt>
                <c:pt idx="4041">
                  <c:v>13</c:v>
                </c:pt>
                <c:pt idx="4042">
                  <c:v>0</c:v>
                </c:pt>
                <c:pt idx="4043">
                  <c:v>2</c:v>
                </c:pt>
                <c:pt idx="4044">
                  <c:v>1</c:v>
                </c:pt>
                <c:pt idx="4045">
                  <c:v>1</c:v>
                </c:pt>
                <c:pt idx="4046">
                  <c:v>3</c:v>
                </c:pt>
                <c:pt idx="4047">
                  <c:v>0</c:v>
                </c:pt>
                <c:pt idx="4048">
                  <c:v>2</c:v>
                </c:pt>
                <c:pt idx="4049">
                  <c:v>1</c:v>
                </c:pt>
                <c:pt idx="4050">
                  <c:v>0</c:v>
                </c:pt>
                <c:pt idx="4051">
                  <c:v>1</c:v>
                </c:pt>
                <c:pt idx="4052">
                  <c:v>2</c:v>
                </c:pt>
                <c:pt idx="4053">
                  <c:v>0</c:v>
                </c:pt>
                <c:pt idx="4054">
                  <c:v>0</c:v>
                </c:pt>
                <c:pt idx="4055">
                  <c:v>1</c:v>
                </c:pt>
                <c:pt idx="4056">
                  <c:v>2</c:v>
                </c:pt>
                <c:pt idx="4057">
                  <c:v>3</c:v>
                </c:pt>
                <c:pt idx="4058">
                  <c:v>0</c:v>
                </c:pt>
                <c:pt idx="4059">
                  <c:v>3</c:v>
                </c:pt>
                <c:pt idx="4060">
                  <c:v>0</c:v>
                </c:pt>
                <c:pt idx="4061">
                  <c:v>0</c:v>
                </c:pt>
                <c:pt idx="4062">
                  <c:v>1</c:v>
                </c:pt>
                <c:pt idx="4063">
                  <c:v>9</c:v>
                </c:pt>
                <c:pt idx="4064">
                  <c:v>1</c:v>
                </c:pt>
                <c:pt idx="4065">
                  <c:v>5</c:v>
                </c:pt>
                <c:pt idx="4066">
                  <c:v>0</c:v>
                </c:pt>
                <c:pt idx="4067">
                  <c:v>1</c:v>
                </c:pt>
                <c:pt idx="4068">
                  <c:v>2</c:v>
                </c:pt>
                <c:pt idx="4069">
                  <c:v>1</c:v>
                </c:pt>
                <c:pt idx="4070">
                  <c:v>0</c:v>
                </c:pt>
                <c:pt idx="4071">
                  <c:v>0</c:v>
                </c:pt>
                <c:pt idx="4072">
                  <c:v>5</c:v>
                </c:pt>
                <c:pt idx="4073">
                  <c:v>38</c:v>
                </c:pt>
                <c:pt idx="4074">
                  <c:v>7</c:v>
                </c:pt>
                <c:pt idx="4075">
                  <c:v>0</c:v>
                </c:pt>
                <c:pt idx="4076">
                  <c:v>1</c:v>
                </c:pt>
                <c:pt idx="4077">
                  <c:v>0</c:v>
                </c:pt>
                <c:pt idx="4078">
                  <c:v>1</c:v>
                </c:pt>
                <c:pt idx="4079">
                  <c:v>0</c:v>
                </c:pt>
                <c:pt idx="4080">
                  <c:v>0</c:v>
                </c:pt>
                <c:pt idx="4081">
                  <c:v>2</c:v>
                </c:pt>
                <c:pt idx="4082">
                  <c:v>5</c:v>
                </c:pt>
                <c:pt idx="4083">
                  <c:v>8</c:v>
                </c:pt>
                <c:pt idx="4084">
                  <c:v>7</c:v>
                </c:pt>
                <c:pt idx="4085">
                  <c:v>1</c:v>
                </c:pt>
                <c:pt idx="4086">
                  <c:v>4</c:v>
                </c:pt>
                <c:pt idx="4087">
                  <c:v>33</c:v>
                </c:pt>
                <c:pt idx="4088">
                  <c:v>0</c:v>
                </c:pt>
                <c:pt idx="4089">
                  <c:v>0</c:v>
                </c:pt>
                <c:pt idx="4090">
                  <c:v>0</c:v>
                </c:pt>
                <c:pt idx="4091">
                  <c:v>0</c:v>
                </c:pt>
                <c:pt idx="4092">
                  <c:v>47</c:v>
                </c:pt>
                <c:pt idx="4093">
                  <c:v>9</c:v>
                </c:pt>
                <c:pt idx="4094">
                  <c:v>1</c:v>
                </c:pt>
                <c:pt idx="4095">
                  <c:v>0</c:v>
                </c:pt>
                <c:pt idx="4096">
                  <c:v>0</c:v>
                </c:pt>
                <c:pt idx="4097">
                  <c:v>0</c:v>
                </c:pt>
                <c:pt idx="4098">
                  <c:v>0</c:v>
                </c:pt>
                <c:pt idx="4099">
                  <c:v>0</c:v>
                </c:pt>
                <c:pt idx="4100">
                  <c:v>0</c:v>
                </c:pt>
                <c:pt idx="4101">
                  <c:v>0</c:v>
                </c:pt>
                <c:pt idx="4102">
                  <c:v>6</c:v>
                </c:pt>
                <c:pt idx="4103">
                  <c:v>0</c:v>
                </c:pt>
                <c:pt idx="4104">
                  <c:v>0</c:v>
                </c:pt>
                <c:pt idx="4105">
                  <c:v>0</c:v>
                </c:pt>
                <c:pt idx="4106">
                  <c:v>0</c:v>
                </c:pt>
                <c:pt idx="4107">
                  <c:v>0</c:v>
                </c:pt>
                <c:pt idx="4108">
                  <c:v>4</c:v>
                </c:pt>
                <c:pt idx="4109">
                  <c:v>3</c:v>
                </c:pt>
                <c:pt idx="4110">
                  <c:v>3</c:v>
                </c:pt>
                <c:pt idx="4111">
                  <c:v>0</c:v>
                </c:pt>
                <c:pt idx="4112">
                  <c:v>0</c:v>
                </c:pt>
                <c:pt idx="4113">
                  <c:v>1</c:v>
                </c:pt>
                <c:pt idx="4114">
                  <c:v>0</c:v>
                </c:pt>
                <c:pt idx="4115">
                  <c:v>0</c:v>
                </c:pt>
                <c:pt idx="4116">
                  <c:v>1</c:v>
                </c:pt>
                <c:pt idx="4117">
                  <c:v>8</c:v>
                </c:pt>
                <c:pt idx="4118">
                  <c:v>8</c:v>
                </c:pt>
                <c:pt idx="4119">
                  <c:v>0</c:v>
                </c:pt>
                <c:pt idx="4120">
                  <c:v>14</c:v>
                </c:pt>
                <c:pt idx="4121">
                  <c:v>2</c:v>
                </c:pt>
                <c:pt idx="4122">
                  <c:v>6</c:v>
                </c:pt>
                <c:pt idx="4123">
                  <c:v>0</c:v>
                </c:pt>
                <c:pt idx="4124">
                  <c:v>0</c:v>
                </c:pt>
                <c:pt idx="4125">
                  <c:v>5</c:v>
                </c:pt>
                <c:pt idx="4126">
                  <c:v>0</c:v>
                </c:pt>
                <c:pt idx="4127">
                  <c:v>0</c:v>
                </c:pt>
                <c:pt idx="4128">
                  <c:v>0</c:v>
                </c:pt>
                <c:pt idx="4129">
                  <c:v>0</c:v>
                </c:pt>
                <c:pt idx="4130">
                  <c:v>1</c:v>
                </c:pt>
                <c:pt idx="4131">
                  <c:v>0</c:v>
                </c:pt>
                <c:pt idx="4132">
                  <c:v>2</c:v>
                </c:pt>
                <c:pt idx="4133">
                  <c:v>0</c:v>
                </c:pt>
                <c:pt idx="4134">
                  <c:v>2</c:v>
                </c:pt>
                <c:pt idx="4135">
                  <c:v>0</c:v>
                </c:pt>
                <c:pt idx="4136">
                  <c:v>0</c:v>
                </c:pt>
                <c:pt idx="4137">
                  <c:v>2</c:v>
                </c:pt>
                <c:pt idx="4138">
                  <c:v>0</c:v>
                </c:pt>
                <c:pt idx="4139">
                  <c:v>0</c:v>
                </c:pt>
                <c:pt idx="4140">
                  <c:v>2</c:v>
                </c:pt>
                <c:pt idx="4141">
                  <c:v>0</c:v>
                </c:pt>
                <c:pt idx="4142">
                  <c:v>0</c:v>
                </c:pt>
                <c:pt idx="4143">
                  <c:v>0</c:v>
                </c:pt>
                <c:pt idx="4144">
                  <c:v>30</c:v>
                </c:pt>
                <c:pt idx="4145">
                  <c:v>1</c:v>
                </c:pt>
                <c:pt idx="4146">
                  <c:v>0</c:v>
                </c:pt>
                <c:pt idx="4147">
                  <c:v>9</c:v>
                </c:pt>
                <c:pt idx="4148">
                  <c:v>3</c:v>
                </c:pt>
                <c:pt idx="4149">
                  <c:v>0</c:v>
                </c:pt>
                <c:pt idx="4150">
                  <c:v>0</c:v>
                </c:pt>
                <c:pt idx="4151">
                  <c:v>3</c:v>
                </c:pt>
                <c:pt idx="4152">
                  <c:v>0</c:v>
                </c:pt>
                <c:pt idx="4153">
                  <c:v>16</c:v>
                </c:pt>
                <c:pt idx="4154">
                  <c:v>2</c:v>
                </c:pt>
                <c:pt idx="4155">
                  <c:v>5</c:v>
                </c:pt>
                <c:pt idx="4156">
                  <c:v>1</c:v>
                </c:pt>
                <c:pt idx="4157">
                  <c:v>0</c:v>
                </c:pt>
                <c:pt idx="4158">
                  <c:v>6</c:v>
                </c:pt>
                <c:pt idx="4159">
                  <c:v>1</c:v>
                </c:pt>
                <c:pt idx="4160">
                  <c:v>0</c:v>
                </c:pt>
                <c:pt idx="4161">
                  <c:v>1</c:v>
                </c:pt>
                <c:pt idx="4162">
                  <c:v>0</c:v>
                </c:pt>
                <c:pt idx="4163">
                  <c:v>0</c:v>
                </c:pt>
                <c:pt idx="4164">
                  <c:v>0</c:v>
                </c:pt>
                <c:pt idx="4165">
                  <c:v>0</c:v>
                </c:pt>
                <c:pt idx="4166">
                  <c:v>0</c:v>
                </c:pt>
                <c:pt idx="4167">
                  <c:v>6</c:v>
                </c:pt>
                <c:pt idx="4168">
                  <c:v>26</c:v>
                </c:pt>
                <c:pt idx="4169">
                  <c:v>1</c:v>
                </c:pt>
                <c:pt idx="4170">
                  <c:v>1</c:v>
                </c:pt>
                <c:pt idx="4171">
                  <c:v>21</c:v>
                </c:pt>
                <c:pt idx="4172">
                  <c:v>5</c:v>
                </c:pt>
                <c:pt idx="4173">
                  <c:v>0</c:v>
                </c:pt>
                <c:pt idx="4174">
                  <c:v>0</c:v>
                </c:pt>
                <c:pt idx="4175">
                  <c:v>0</c:v>
                </c:pt>
                <c:pt idx="4176">
                  <c:v>0</c:v>
                </c:pt>
                <c:pt idx="4177">
                  <c:v>0</c:v>
                </c:pt>
                <c:pt idx="4178">
                  <c:v>0</c:v>
                </c:pt>
                <c:pt idx="4179">
                  <c:v>2</c:v>
                </c:pt>
                <c:pt idx="4180">
                  <c:v>0</c:v>
                </c:pt>
                <c:pt idx="4181">
                  <c:v>0</c:v>
                </c:pt>
                <c:pt idx="4182">
                  <c:v>0</c:v>
                </c:pt>
                <c:pt idx="4183">
                  <c:v>0</c:v>
                </c:pt>
                <c:pt idx="4184">
                  <c:v>0</c:v>
                </c:pt>
                <c:pt idx="4185">
                  <c:v>0</c:v>
                </c:pt>
                <c:pt idx="4186">
                  <c:v>17</c:v>
                </c:pt>
                <c:pt idx="4187">
                  <c:v>0</c:v>
                </c:pt>
                <c:pt idx="4188">
                  <c:v>0</c:v>
                </c:pt>
                <c:pt idx="4189">
                  <c:v>2</c:v>
                </c:pt>
                <c:pt idx="4190">
                  <c:v>8</c:v>
                </c:pt>
                <c:pt idx="4191">
                  <c:v>0</c:v>
                </c:pt>
                <c:pt idx="4192">
                  <c:v>0</c:v>
                </c:pt>
                <c:pt idx="4193">
                  <c:v>0</c:v>
                </c:pt>
                <c:pt idx="4194">
                  <c:v>0</c:v>
                </c:pt>
                <c:pt idx="4195">
                  <c:v>0</c:v>
                </c:pt>
                <c:pt idx="4196">
                  <c:v>0</c:v>
                </c:pt>
                <c:pt idx="4197">
                  <c:v>1</c:v>
                </c:pt>
                <c:pt idx="4198">
                  <c:v>0</c:v>
                </c:pt>
                <c:pt idx="4199">
                  <c:v>15</c:v>
                </c:pt>
                <c:pt idx="4200">
                  <c:v>0</c:v>
                </c:pt>
                <c:pt idx="4201">
                  <c:v>0</c:v>
                </c:pt>
                <c:pt idx="4202">
                  <c:v>0</c:v>
                </c:pt>
                <c:pt idx="4203">
                  <c:v>9</c:v>
                </c:pt>
                <c:pt idx="4204">
                  <c:v>1</c:v>
                </c:pt>
                <c:pt idx="4205">
                  <c:v>17</c:v>
                </c:pt>
                <c:pt idx="4206">
                  <c:v>0</c:v>
                </c:pt>
                <c:pt idx="4207">
                  <c:v>1</c:v>
                </c:pt>
                <c:pt idx="4208">
                  <c:v>1</c:v>
                </c:pt>
                <c:pt idx="4209">
                  <c:v>0</c:v>
                </c:pt>
                <c:pt idx="4210">
                  <c:v>0</c:v>
                </c:pt>
                <c:pt idx="4211">
                  <c:v>0</c:v>
                </c:pt>
                <c:pt idx="4212">
                  <c:v>0</c:v>
                </c:pt>
                <c:pt idx="4213">
                  <c:v>0</c:v>
                </c:pt>
                <c:pt idx="4214">
                  <c:v>0</c:v>
                </c:pt>
                <c:pt idx="4215">
                  <c:v>3</c:v>
                </c:pt>
                <c:pt idx="4216">
                  <c:v>0</c:v>
                </c:pt>
                <c:pt idx="4217">
                  <c:v>0</c:v>
                </c:pt>
                <c:pt idx="4218">
                  <c:v>0</c:v>
                </c:pt>
                <c:pt idx="4219">
                  <c:v>2</c:v>
                </c:pt>
                <c:pt idx="4220">
                  <c:v>0</c:v>
                </c:pt>
                <c:pt idx="4221">
                  <c:v>0</c:v>
                </c:pt>
                <c:pt idx="4222">
                  <c:v>4</c:v>
                </c:pt>
                <c:pt idx="4223">
                  <c:v>0</c:v>
                </c:pt>
                <c:pt idx="4224">
                  <c:v>0</c:v>
                </c:pt>
                <c:pt idx="4225">
                  <c:v>38</c:v>
                </c:pt>
                <c:pt idx="4226">
                  <c:v>0</c:v>
                </c:pt>
                <c:pt idx="4227">
                  <c:v>0</c:v>
                </c:pt>
                <c:pt idx="4228">
                  <c:v>7</c:v>
                </c:pt>
                <c:pt idx="4229">
                  <c:v>0</c:v>
                </c:pt>
                <c:pt idx="4230">
                  <c:v>0</c:v>
                </c:pt>
                <c:pt idx="4231">
                  <c:v>0</c:v>
                </c:pt>
                <c:pt idx="4232">
                  <c:v>0</c:v>
                </c:pt>
                <c:pt idx="4233">
                  <c:v>2</c:v>
                </c:pt>
                <c:pt idx="4234">
                  <c:v>3</c:v>
                </c:pt>
                <c:pt idx="4235">
                  <c:v>0</c:v>
                </c:pt>
                <c:pt idx="4236">
                  <c:v>0</c:v>
                </c:pt>
                <c:pt idx="4237">
                  <c:v>1</c:v>
                </c:pt>
                <c:pt idx="4238">
                  <c:v>0</c:v>
                </c:pt>
                <c:pt idx="4239">
                  <c:v>0</c:v>
                </c:pt>
                <c:pt idx="4240">
                  <c:v>10</c:v>
                </c:pt>
                <c:pt idx="4241">
                  <c:v>3</c:v>
                </c:pt>
                <c:pt idx="4242">
                  <c:v>1</c:v>
                </c:pt>
                <c:pt idx="4243">
                  <c:v>2</c:v>
                </c:pt>
                <c:pt idx="4244">
                  <c:v>22</c:v>
                </c:pt>
                <c:pt idx="4245">
                  <c:v>1</c:v>
                </c:pt>
                <c:pt idx="4246">
                  <c:v>0</c:v>
                </c:pt>
                <c:pt idx="4247">
                  <c:v>5</c:v>
                </c:pt>
                <c:pt idx="4248">
                  <c:v>0</c:v>
                </c:pt>
                <c:pt idx="4249">
                  <c:v>0</c:v>
                </c:pt>
                <c:pt idx="4250">
                  <c:v>0</c:v>
                </c:pt>
                <c:pt idx="4251">
                  <c:v>0</c:v>
                </c:pt>
                <c:pt idx="4252">
                  <c:v>0</c:v>
                </c:pt>
                <c:pt idx="4253">
                  <c:v>0</c:v>
                </c:pt>
                <c:pt idx="4254">
                  <c:v>0</c:v>
                </c:pt>
                <c:pt idx="4255">
                  <c:v>4</c:v>
                </c:pt>
                <c:pt idx="4256">
                  <c:v>33</c:v>
                </c:pt>
                <c:pt idx="4257">
                  <c:v>0</c:v>
                </c:pt>
                <c:pt idx="4258">
                  <c:v>7</c:v>
                </c:pt>
                <c:pt idx="4259">
                  <c:v>0</c:v>
                </c:pt>
                <c:pt idx="4260">
                  <c:v>0</c:v>
                </c:pt>
                <c:pt idx="4261">
                  <c:v>2</c:v>
                </c:pt>
                <c:pt idx="4262">
                  <c:v>10</c:v>
                </c:pt>
                <c:pt idx="4263">
                  <c:v>9</c:v>
                </c:pt>
                <c:pt idx="4264">
                  <c:v>1</c:v>
                </c:pt>
                <c:pt idx="4265">
                  <c:v>13</c:v>
                </c:pt>
                <c:pt idx="4266">
                  <c:v>0</c:v>
                </c:pt>
                <c:pt idx="4267">
                  <c:v>0</c:v>
                </c:pt>
                <c:pt idx="4268">
                  <c:v>1</c:v>
                </c:pt>
                <c:pt idx="4269">
                  <c:v>1</c:v>
                </c:pt>
                <c:pt idx="4270">
                  <c:v>6</c:v>
                </c:pt>
                <c:pt idx="4271">
                  <c:v>2</c:v>
                </c:pt>
                <c:pt idx="4272">
                  <c:v>1</c:v>
                </c:pt>
                <c:pt idx="4273">
                  <c:v>2</c:v>
                </c:pt>
                <c:pt idx="4274">
                  <c:v>2</c:v>
                </c:pt>
                <c:pt idx="4275">
                  <c:v>10</c:v>
                </c:pt>
                <c:pt idx="4276">
                  <c:v>2</c:v>
                </c:pt>
                <c:pt idx="4277">
                  <c:v>4</c:v>
                </c:pt>
                <c:pt idx="4278">
                  <c:v>4</c:v>
                </c:pt>
                <c:pt idx="4279">
                  <c:v>21</c:v>
                </c:pt>
                <c:pt idx="4280">
                  <c:v>1</c:v>
                </c:pt>
                <c:pt idx="4281">
                  <c:v>7</c:v>
                </c:pt>
                <c:pt idx="4282">
                  <c:v>16</c:v>
                </c:pt>
                <c:pt idx="4283">
                  <c:v>7</c:v>
                </c:pt>
                <c:pt idx="4284">
                  <c:v>0</c:v>
                </c:pt>
                <c:pt idx="4285">
                  <c:v>4</c:v>
                </c:pt>
                <c:pt idx="4286">
                  <c:v>1</c:v>
                </c:pt>
                <c:pt idx="4287">
                  <c:v>0</c:v>
                </c:pt>
                <c:pt idx="4288">
                  <c:v>6</c:v>
                </c:pt>
                <c:pt idx="4289">
                  <c:v>5</c:v>
                </c:pt>
                <c:pt idx="4290">
                  <c:v>2</c:v>
                </c:pt>
                <c:pt idx="4291">
                  <c:v>1</c:v>
                </c:pt>
                <c:pt idx="4292">
                  <c:v>1</c:v>
                </c:pt>
                <c:pt idx="4293">
                  <c:v>0</c:v>
                </c:pt>
                <c:pt idx="4294">
                  <c:v>1</c:v>
                </c:pt>
                <c:pt idx="4295">
                  <c:v>2</c:v>
                </c:pt>
                <c:pt idx="4296">
                  <c:v>8</c:v>
                </c:pt>
                <c:pt idx="4297">
                  <c:v>4</c:v>
                </c:pt>
                <c:pt idx="4298">
                  <c:v>1</c:v>
                </c:pt>
                <c:pt idx="4299">
                  <c:v>3</c:v>
                </c:pt>
                <c:pt idx="4300">
                  <c:v>1</c:v>
                </c:pt>
                <c:pt idx="4301">
                  <c:v>14</c:v>
                </c:pt>
                <c:pt idx="4302">
                  <c:v>2</c:v>
                </c:pt>
                <c:pt idx="4303">
                  <c:v>1</c:v>
                </c:pt>
                <c:pt idx="4304">
                  <c:v>9</c:v>
                </c:pt>
                <c:pt idx="4305">
                  <c:v>0</c:v>
                </c:pt>
                <c:pt idx="4306">
                  <c:v>2</c:v>
                </c:pt>
                <c:pt idx="4307">
                  <c:v>1</c:v>
                </c:pt>
                <c:pt idx="4308">
                  <c:v>19</c:v>
                </c:pt>
                <c:pt idx="4309">
                  <c:v>4</c:v>
                </c:pt>
                <c:pt idx="4310">
                  <c:v>2</c:v>
                </c:pt>
                <c:pt idx="4311">
                  <c:v>4</c:v>
                </c:pt>
                <c:pt idx="4312">
                  <c:v>26</c:v>
                </c:pt>
                <c:pt idx="4313">
                  <c:v>2</c:v>
                </c:pt>
                <c:pt idx="4314">
                  <c:v>17</c:v>
                </c:pt>
                <c:pt idx="4315">
                  <c:v>1</c:v>
                </c:pt>
                <c:pt idx="4316">
                  <c:v>4</c:v>
                </c:pt>
                <c:pt idx="4317">
                  <c:v>8</c:v>
                </c:pt>
                <c:pt idx="4318">
                  <c:v>2</c:v>
                </c:pt>
                <c:pt idx="4319">
                  <c:v>2</c:v>
                </c:pt>
                <c:pt idx="4320">
                  <c:v>0</c:v>
                </c:pt>
                <c:pt idx="4321">
                  <c:v>2</c:v>
                </c:pt>
                <c:pt idx="4322">
                  <c:v>29</c:v>
                </c:pt>
                <c:pt idx="4323">
                  <c:v>1</c:v>
                </c:pt>
                <c:pt idx="4324">
                  <c:v>10</c:v>
                </c:pt>
                <c:pt idx="4325">
                  <c:v>1</c:v>
                </c:pt>
                <c:pt idx="4326">
                  <c:v>2</c:v>
                </c:pt>
                <c:pt idx="4327">
                  <c:v>4</c:v>
                </c:pt>
                <c:pt idx="4328">
                  <c:v>3</c:v>
                </c:pt>
                <c:pt idx="4329">
                  <c:v>7</c:v>
                </c:pt>
                <c:pt idx="4330">
                  <c:v>3</c:v>
                </c:pt>
                <c:pt idx="4331">
                  <c:v>2</c:v>
                </c:pt>
                <c:pt idx="4332">
                  <c:v>1</c:v>
                </c:pt>
                <c:pt idx="4333">
                  <c:v>3</c:v>
                </c:pt>
                <c:pt idx="4334">
                  <c:v>5</c:v>
                </c:pt>
                <c:pt idx="4335">
                  <c:v>0</c:v>
                </c:pt>
                <c:pt idx="4336">
                  <c:v>1</c:v>
                </c:pt>
                <c:pt idx="4337">
                  <c:v>0</c:v>
                </c:pt>
                <c:pt idx="4338">
                  <c:v>1</c:v>
                </c:pt>
                <c:pt idx="4339">
                  <c:v>10</c:v>
                </c:pt>
                <c:pt idx="4340">
                  <c:v>1</c:v>
                </c:pt>
                <c:pt idx="4341">
                  <c:v>3</c:v>
                </c:pt>
                <c:pt idx="4342">
                  <c:v>2</c:v>
                </c:pt>
                <c:pt idx="4343">
                  <c:v>6</c:v>
                </c:pt>
                <c:pt idx="4344">
                  <c:v>28</c:v>
                </c:pt>
                <c:pt idx="4345">
                  <c:v>0</c:v>
                </c:pt>
                <c:pt idx="4346">
                  <c:v>0</c:v>
                </c:pt>
                <c:pt idx="4347">
                  <c:v>16</c:v>
                </c:pt>
                <c:pt idx="4348">
                  <c:v>19</c:v>
                </c:pt>
                <c:pt idx="4349">
                  <c:v>8</c:v>
                </c:pt>
                <c:pt idx="4350">
                  <c:v>1</c:v>
                </c:pt>
                <c:pt idx="4351">
                  <c:v>1</c:v>
                </c:pt>
                <c:pt idx="4352">
                  <c:v>3</c:v>
                </c:pt>
                <c:pt idx="4353">
                  <c:v>2</c:v>
                </c:pt>
                <c:pt idx="4354">
                  <c:v>7</c:v>
                </c:pt>
                <c:pt idx="4355">
                  <c:v>0</c:v>
                </c:pt>
                <c:pt idx="4356">
                  <c:v>2</c:v>
                </c:pt>
                <c:pt idx="4357">
                  <c:v>3</c:v>
                </c:pt>
                <c:pt idx="4358">
                  <c:v>4</c:v>
                </c:pt>
                <c:pt idx="4359">
                  <c:v>7</c:v>
                </c:pt>
                <c:pt idx="4360">
                  <c:v>1</c:v>
                </c:pt>
                <c:pt idx="4361">
                  <c:v>60</c:v>
                </c:pt>
                <c:pt idx="4362">
                  <c:v>3</c:v>
                </c:pt>
                <c:pt idx="4363">
                  <c:v>0</c:v>
                </c:pt>
                <c:pt idx="4364">
                  <c:v>2</c:v>
                </c:pt>
                <c:pt idx="4365">
                  <c:v>1</c:v>
                </c:pt>
                <c:pt idx="4366">
                  <c:v>1</c:v>
                </c:pt>
                <c:pt idx="4367">
                  <c:v>34</c:v>
                </c:pt>
                <c:pt idx="4368">
                  <c:v>2</c:v>
                </c:pt>
                <c:pt idx="4369">
                  <c:v>5</c:v>
                </c:pt>
                <c:pt idx="4370">
                  <c:v>1</c:v>
                </c:pt>
                <c:pt idx="4371">
                  <c:v>6</c:v>
                </c:pt>
                <c:pt idx="4372">
                  <c:v>6</c:v>
                </c:pt>
                <c:pt idx="4373">
                  <c:v>2</c:v>
                </c:pt>
                <c:pt idx="4374">
                  <c:v>5</c:v>
                </c:pt>
                <c:pt idx="4375">
                  <c:v>0</c:v>
                </c:pt>
                <c:pt idx="4376">
                  <c:v>0</c:v>
                </c:pt>
                <c:pt idx="4377">
                  <c:v>0</c:v>
                </c:pt>
                <c:pt idx="4378">
                  <c:v>0</c:v>
                </c:pt>
                <c:pt idx="4379">
                  <c:v>0</c:v>
                </c:pt>
                <c:pt idx="4380">
                  <c:v>7</c:v>
                </c:pt>
                <c:pt idx="4381">
                  <c:v>0</c:v>
                </c:pt>
                <c:pt idx="4382">
                  <c:v>0</c:v>
                </c:pt>
                <c:pt idx="4383">
                  <c:v>0</c:v>
                </c:pt>
                <c:pt idx="4384">
                  <c:v>1</c:v>
                </c:pt>
                <c:pt idx="4385">
                  <c:v>0</c:v>
                </c:pt>
                <c:pt idx="4386">
                  <c:v>0</c:v>
                </c:pt>
                <c:pt idx="4387">
                  <c:v>0</c:v>
                </c:pt>
                <c:pt idx="4388">
                  <c:v>1</c:v>
                </c:pt>
                <c:pt idx="4389">
                  <c:v>0</c:v>
                </c:pt>
                <c:pt idx="4390">
                  <c:v>0</c:v>
                </c:pt>
                <c:pt idx="4391">
                  <c:v>0</c:v>
                </c:pt>
                <c:pt idx="4392">
                  <c:v>0</c:v>
                </c:pt>
                <c:pt idx="4393">
                  <c:v>0</c:v>
                </c:pt>
                <c:pt idx="4394">
                  <c:v>0</c:v>
                </c:pt>
                <c:pt idx="4395">
                  <c:v>3</c:v>
                </c:pt>
                <c:pt idx="4396">
                  <c:v>1</c:v>
                </c:pt>
                <c:pt idx="4397">
                  <c:v>0</c:v>
                </c:pt>
                <c:pt idx="4398">
                  <c:v>1</c:v>
                </c:pt>
                <c:pt idx="4399">
                  <c:v>0</c:v>
                </c:pt>
                <c:pt idx="4400">
                  <c:v>0</c:v>
                </c:pt>
                <c:pt idx="4401">
                  <c:v>0</c:v>
                </c:pt>
                <c:pt idx="4402">
                  <c:v>0</c:v>
                </c:pt>
                <c:pt idx="4403">
                  <c:v>0</c:v>
                </c:pt>
                <c:pt idx="4404">
                  <c:v>0</c:v>
                </c:pt>
                <c:pt idx="4405">
                  <c:v>0</c:v>
                </c:pt>
                <c:pt idx="4406">
                  <c:v>0</c:v>
                </c:pt>
                <c:pt idx="4407">
                  <c:v>0</c:v>
                </c:pt>
                <c:pt idx="4408">
                  <c:v>3</c:v>
                </c:pt>
                <c:pt idx="4409">
                  <c:v>0</c:v>
                </c:pt>
                <c:pt idx="4410">
                  <c:v>2</c:v>
                </c:pt>
                <c:pt idx="4411">
                  <c:v>1</c:v>
                </c:pt>
                <c:pt idx="4412">
                  <c:v>0</c:v>
                </c:pt>
                <c:pt idx="4413">
                  <c:v>0</c:v>
                </c:pt>
                <c:pt idx="4414">
                  <c:v>0</c:v>
                </c:pt>
                <c:pt idx="4415">
                  <c:v>0</c:v>
                </c:pt>
                <c:pt idx="4416">
                  <c:v>0</c:v>
                </c:pt>
                <c:pt idx="4417">
                  <c:v>7</c:v>
                </c:pt>
                <c:pt idx="4418">
                  <c:v>0</c:v>
                </c:pt>
                <c:pt idx="4419">
                  <c:v>0</c:v>
                </c:pt>
                <c:pt idx="4420">
                  <c:v>0</c:v>
                </c:pt>
                <c:pt idx="4421">
                  <c:v>0</c:v>
                </c:pt>
                <c:pt idx="4422">
                  <c:v>0</c:v>
                </c:pt>
                <c:pt idx="4423">
                  <c:v>0</c:v>
                </c:pt>
                <c:pt idx="4424">
                  <c:v>4</c:v>
                </c:pt>
                <c:pt idx="4425">
                  <c:v>0</c:v>
                </c:pt>
                <c:pt idx="4426">
                  <c:v>1</c:v>
                </c:pt>
                <c:pt idx="4427">
                  <c:v>0</c:v>
                </c:pt>
                <c:pt idx="4428">
                  <c:v>3</c:v>
                </c:pt>
                <c:pt idx="4429">
                  <c:v>3</c:v>
                </c:pt>
                <c:pt idx="4430">
                  <c:v>10</c:v>
                </c:pt>
                <c:pt idx="4431">
                  <c:v>1</c:v>
                </c:pt>
                <c:pt idx="4432">
                  <c:v>0</c:v>
                </c:pt>
                <c:pt idx="4433">
                  <c:v>1</c:v>
                </c:pt>
                <c:pt idx="4434">
                  <c:v>0</c:v>
                </c:pt>
                <c:pt idx="4435">
                  <c:v>0</c:v>
                </c:pt>
                <c:pt idx="4436">
                  <c:v>2</c:v>
                </c:pt>
                <c:pt idx="4437">
                  <c:v>0</c:v>
                </c:pt>
                <c:pt idx="4438">
                  <c:v>2</c:v>
                </c:pt>
                <c:pt idx="4439">
                  <c:v>0</c:v>
                </c:pt>
                <c:pt idx="4440">
                  <c:v>1</c:v>
                </c:pt>
                <c:pt idx="4441">
                  <c:v>0</c:v>
                </c:pt>
                <c:pt idx="4442">
                  <c:v>8</c:v>
                </c:pt>
                <c:pt idx="4443">
                  <c:v>0</c:v>
                </c:pt>
                <c:pt idx="4444">
                  <c:v>0</c:v>
                </c:pt>
                <c:pt idx="4445">
                  <c:v>0</c:v>
                </c:pt>
                <c:pt idx="4446">
                  <c:v>1</c:v>
                </c:pt>
                <c:pt idx="4447">
                  <c:v>0</c:v>
                </c:pt>
                <c:pt idx="4448">
                  <c:v>3</c:v>
                </c:pt>
                <c:pt idx="4449">
                  <c:v>0</c:v>
                </c:pt>
                <c:pt idx="4450">
                  <c:v>0</c:v>
                </c:pt>
                <c:pt idx="4451">
                  <c:v>0</c:v>
                </c:pt>
                <c:pt idx="4452">
                  <c:v>0</c:v>
                </c:pt>
                <c:pt idx="4453">
                  <c:v>0</c:v>
                </c:pt>
                <c:pt idx="4454">
                  <c:v>16</c:v>
                </c:pt>
                <c:pt idx="4455">
                  <c:v>1</c:v>
                </c:pt>
                <c:pt idx="4456">
                  <c:v>0</c:v>
                </c:pt>
                <c:pt idx="4457">
                  <c:v>1</c:v>
                </c:pt>
                <c:pt idx="4458">
                  <c:v>1</c:v>
                </c:pt>
                <c:pt idx="4459">
                  <c:v>0</c:v>
                </c:pt>
                <c:pt idx="4460">
                  <c:v>0</c:v>
                </c:pt>
                <c:pt idx="4461">
                  <c:v>0</c:v>
                </c:pt>
                <c:pt idx="4462">
                  <c:v>0</c:v>
                </c:pt>
                <c:pt idx="4463">
                  <c:v>3</c:v>
                </c:pt>
                <c:pt idx="4464">
                  <c:v>1</c:v>
                </c:pt>
                <c:pt idx="4465">
                  <c:v>1</c:v>
                </c:pt>
                <c:pt idx="4466">
                  <c:v>0</c:v>
                </c:pt>
                <c:pt idx="4467">
                  <c:v>2</c:v>
                </c:pt>
                <c:pt idx="4468">
                  <c:v>0</c:v>
                </c:pt>
                <c:pt idx="4469">
                  <c:v>0</c:v>
                </c:pt>
                <c:pt idx="4470">
                  <c:v>0</c:v>
                </c:pt>
                <c:pt idx="4471">
                  <c:v>2</c:v>
                </c:pt>
                <c:pt idx="4472">
                  <c:v>1</c:v>
                </c:pt>
                <c:pt idx="4473">
                  <c:v>1</c:v>
                </c:pt>
                <c:pt idx="4474">
                  <c:v>0</c:v>
                </c:pt>
                <c:pt idx="4475">
                  <c:v>2</c:v>
                </c:pt>
                <c:pt idx="4476">
                  <c:v>0</c:v>
                </c:pt>
                <c:pt idx="4477">
                  <c:v>0</c:v>
                </c:pt>
                <c:pt idx="4478">
                  <c:v>0</c:v>
                </c:pt>
                <c:pt idx="4479">
                  <c:v>5</c:v>
                </c:pt>
                <c:pt idx="4480">
                  <c:v>1</c:v>
                </c:pt>
                <c:pt idx="4481">
                  <c:v>0</c:v>
                </c:pt>
                <c:pt idx="4482">
                  <c:v>0</c:v>
                </c:pt>
                <c:pt idx="4483">
                  <c:v>2</c:v>
                </c:pt>
                <c:pt idx="4484">
                  <c:v>0</c:v>
                </c:pt>
                <c:pt idx="4485">
                  <c:v>4</c:v>
                </c:pt>
                <c:pt idx="4486">
                  <c:v>0</c:v>
                </c:pt>
                <c:pt idx="4487">
                  <c:v>0</c:v>
                </c:pt>
                <c:pt idx="4488">
                  <c:v>4</c:v>
                </c:pt>
                <c:pt idx="4489">
                  <c:v>0</c:v>
                </c:pt>
                <c:pt idx="4490">
                  <c:v>2</c:v>
                </c:pt>
                <c:pt idx="4491">
                  <c:v>0</c:v>
                </c:pt>
                <c:pt idx="4492">
                  <c:v>0</c:v>
                </c:pt>
                <c:pt idx="4493">
                  <c:v>0</c:v>
                </c:pt>
                <c:pt idx="4494">
                  <c:v>0</c:v>
                </c:pt>
                <c:pt idx="4495">
                  <c:v>0</c:v>
                </c:pt>
                <c:pt idx="4496">
                  <c:v>0</c:v>
                </c:pt>
                <c:pt idx="4497">
                  <c:v>0</c:v>
                </c:pt>
                <c:pt idx="4498">
                  <c:v>0</c:v>
                </c:pt>
                <c:pt idx="4499">
                  <c:v>5</c:v>
                </c:pt>
                <c:pt idx="4500">
                  <c:v>0</c:v>
                </c:pt>
                <c:pt idx="4501">
                  <c:v>0</c:v>
                </c:pt>
                <c:pt idx="4502">
                  <c:v>0</c:v>
                </c:pt>
                <c:pt idx="4503">
                  <c:v>0</c:v>
                </c:pt>
                <c:pt idx="4504">
                  <c:v>0</c:v>
                </c:pt>
                <c:pt idx="4505">
                  <c:v>0</c:v>
                </c:pt>
                <c:pt idx="4506">
                  <c:v>0</c:v>
                </c:pt>
                <c:pt idx="4507">
                  <c:v>0</c:v>
                </c:pt>
                <c:pt idx="4508">
                  <c:v>0</c:v>
                </c:pt>
                <c:pt idx="4509">
                  <c:v>0</c:v>
                </c:pt>
                <c:pt idx="4510">
                  <c:v>2</c:v>
                </c:pt>
                <c:pt idx="4511">
                  <c:v>0</c:v>
                </c:pt>
                <c:pt idx="4512">
                  <c:v>0</c:v>
                </c:pt>
                <c:pt idx="4513">
                  <c:v>2</c:v>
                </c:pt>
                <c:pt idx="4514">
                  <c:v>1</c:v>
                </c:pt>
                <c:pt idx="4515">
                  <c:v>0</c:v>
                </c:pt>
                <c:pt idx="4516">
                  <c:v>0</c:v>
                </c:pt>
                <c:pt idx="4517">
                  <c:v>0</c:v>
                </c:pt>
                <c:pt idx="4518">
                  <c:v>0</c:v>
                </c:pt>
                <c:pt idx="4519">
                  <c:v>5</c:v>
                </c:pt>
                <c:pt idx="4520">
                  <c:v>0</c:v>
                </c:pt>
                <c:pt idx="4521">
                  <c:v>1</c:v>
                </c:pt>
                <c:pt idx="4522">
                  <c:v>2</c:v>
                </c:pt>
                <c:pt idx="4523">
                  <c:v>2</c:v>
                </c:pt>
                <c:pt idx="4524">
                  <c:v>2</c:v>
                </c:pt>
                <c:pt idx="4525">
                  <c:v>0</c:v>
                </c:pt>
                <c:pt idx="4526">
                  <c:v>1</c:v>
                </c:pt>
                <c:pt idx="4527">
                  <c:v>0</c:v>
                </c:pt>
                <c:pt idx="4528">
                  <c:v>0</c:v>
                </c:pt>
                <c:pt idx="4529">
                  <c:v>0</c:v>
                </c:pt>
                <c:pt idx="4530">
                  <c:v>0</c:v>
                </c:pt>
                <c:pt idx="4531">
                  <c:v>0</c:v>
                </c:pt>
                <c:pt idx="4532">
                  <c:v>0</c:v>
                </c:pt>
                <c:pt idx="4533">
                  <c:v>1</c:v>
                </c:pt>
                <c:pt idx="4534">
                  <c:v>10</c:v>
                </c:pt>
                <c:pt idx="4535">
                  <c:v>0</c:v>
                </c:pt>
                <c:pt idx="4536">
                  <c:v>0</c:v>
                </c:pt>
                <c:pt idx="4537">
                  <c:v>0</c:v>
                </c:pt>
                <c:pt idx="4538">
                  <c:v>4</c:v>
                </c:pt>
                <c:pt idx="4539">
                  <c:v>0</c:v>
                </c:pt>
                <c:pt idx="4540">
                  <c:v>5</c:v>
                </c:pt>
                <c:pt idx="4541">
                  <c:v>0</c:v>
                </c:pt>
                <c:pt idx="4542">
                  <c:v>0</c:v>
                </c:pt>
                <c:pt idx="4543">
                  <c:v>0</c:v>
                </c:pt>
                <c:pt idx="4544">
                  <c:v>2</c:v>
                </c:pt>
                <c:pt idx="4545">
                  <c:v>0</c:v>
                </c:pt>
                <c:pt idx="4546">
                  <c:v>0</c:v>
                </c:pt>
                <c:pt idx="4547">
                  <c:v>0</c:v>
                </c:pt>
              </c:numCache>
            </c:numRef>
          </c:yVal>
          <c:smooth val="0"/>
          <c:extLst>
            <c:ext xmlns:c16="http://schemas.microsoft.com/office/drawing/2014/chart" uri="{C3380CC4-5D6E-409C-BE32-E72D297353CC}">
              <c16:uniqueId val="{00000000-7CB9-41DA-9CB4-6389DD6F0501}"/>
            </c:ext>
          </c:extLst>
        </c:ser>
        <c:dLbls>
          <c:showLegendKey val="0"/>
          <c:showVal val="0"/>
          <c:showCatName val="0"/>
          <c:showSerName val="0"/>
          <c:showPercent val="0"/>
          <c:showBubbleSize val="0"/>
        </c:dLbls>
        <c:axId val="984622143"/>
        <c:axId val="1728903839"/>
      </c:scatterChart>
      <c:valAx>
        <c:axId val="98462214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Median</a:t>
                </a:r>
                <a:r>
                  <a:rPr lang="en-CA" baseline="0">
                    <a:latin typeface="Helvetica Neue" panose="020B0604020202020204" charset="0"/>
                  </a:rPr>
                  <a:t> </a:t>
                </a:r>
                <a:r>
                  <a:rPr lang="en-CA">
                    <a:latin typeface="Helvetica Neue" panose="020B0604020202020204" charset="0"/>
                  </a:rPr>
                  <a:t>A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728903839"/>
        <c:crosses val="autoZero"/>
        <c:crossBetween val="midCat"/>
      </c:valAx>
      <c:valAx>
        <c:axId val="172890383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9846221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r>
              <a:rPr lang="en-US" sz="1200">
                <a:latin typeface="Helvetica Neue" panose="020B0604020202020204" charset="0"/>
              </a:rPr>
              <a:t>(City)</a:t>
            </a:r>
            <a:r>
              <a:rPr lang="en-US" sz="1200" baseline="0">
                <a:latin typeface="Helvetica Neue" panose="020B0604020202020204" charset="0"/>
              </a:rPr>
              <a:t> Gender Ratio to Starbucks Stores</a:t>
            </a:r>
            <a:endParaRPr lang="en-US" sz="1200">
              <a:latin typeface="Helvetica Neue" panose="020B0604020202020204" charset="0"/>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Helvetica Neue" panose="020B0604020202020204" charset="0"/>
              <a:ea typeface="+mn-ea"/>
              <a:cs typeface="+mn-cs"/>
            </a:defRPr>
          </a:pPr>
          <a:endParaRPr lang="en-US"/>
        </a:p>
      </c:txPr>
    </c:title>
    <c:autoTitleDeleted val="0"/>
    <c:plotArea>
      <c:layout/>
      <c:scatterChart>
        <c:scatterStyle val="lineMarker"/>
        <c:varyColors val="0"/>
        <c:ser>
          <c:idx val="0"/>
          <c:order val="0"/>
          <c:tx>
            <c:strRef>
              <c:f>city_regression_data!$I$1</c:f>
              <c:strCache>
                <c:ptCount val="1"/>
                <c:pt idx="0">
                  <c:v>Sum of Starbucks</c:v>
                </c:pt>
              </c:strCache>
            </c:strRef>
          </c:tx>
          <c:spPr>
            <a:ln w="19050" cap="rnd">
              <a:noFill/>
              <a:round/>
            </a:ln>
            <a:effectLst/>
          </c:spPr>
          <c:marker>
            <c:symbol val="circle"/>
            <c:size val="5"/>
            <c:spPr>
              <a:solidFill>
                <a:schemeClr val="accent1"/>
              </a:solidFill>
              <a:ln w="9525">
                <a:solidFill>
                  <a:schemeClr val="accent1"/>
                </a:solidFill>
              </a:ln>
              <a:effectLst/>
            </c:spPr>
          </c:marker>
          <c:xVal>
            <c:numRef>
              <c:f>city_regression_data!$G$2:$G$4549</c:f>
              <c:numCache>
                <c:formatCode>General</c:formatCode>
                <c:ptCount val="4548"/>
                <c:pt idx="0">
                  <c:v>95.2</c:v>
                </c:pt>
                <c:pt idx="1">
                  <c:v>93.8</c:v>
                </c:pt>
                <c:pt idx="2">
                  <c:v>89.7</c:v>
                </c:pt>
                <c:pt idx="3">
                  <c:v>94.701230170000002</c:v>
                </c:pt>
                <c:pt idx="4">
                  <c:v>97.256541019955606</c:v>
                </c:pt>
                <c:pt idx="5">
                  <c:v>96.246663730428594</c:v>
                </c:pt>
                <c:pt idx="6">
                  <c:v>107.76561892906599</c:v>
                </c:pt>
                <c:pt idx="7">
                  <c:v>103.702837434006</c:v>
                </c:pt>
                <c:pt idx="8">
                  <c:v>97.680062530000001</c:v>
                </c:pt>
                <c:pt idx="9">
                  <c:v>92.475244858433996</c:v>
                </c:pt>
                <c:pt idx="10">
                  <c:v>143.4</c:v>
                </c:pt>
                <c:pt idx="11">
                  <c:v>105.520888154454</c:v>
                </c:pt>
                <c:pt idx="12">
                  <c:v>101.076935308209</c:v>
                </c:pt>
                <c:pt idx="13">
                  <c:v>99.5</c:v>
                </c:pt>
                <c:pt idx="14">
                  <c:v>91.821420000000003</c:v>
                </c:pt>
                <c:pt idx="15">
                  <c:v>96.517718056998802</c:v>
                </c:pt>
                <c:pt idx="16">
                  <c:v>95.914083135794101</c:v>
                </c:pt>
                <c:pt idx="17">
                  <c:v>105.5</c:v>
                </c:pt>
                <c:pt idx="18">
                  <c:v>94.898283714968898</c:v>
                </c:pt>
                <c:pt idx="19">
                  <c:v>101.836790899484</c:v>
                </c:pt>
                <c:pt idx="20">
                  <c:v>96.039656577620093</c:v>
                </c:pt>
                <c:pt idx="21">
                  <c:v>92.3</c:v>
                </c:pt>
                <c:pt idx="22">
                  <c:v>97.836388140161702</c:v>
                </c:pt>
                <c:pt idx="23">
                  <c:v>95.624090124438894</c:v>
                </c:pt>
                <c:pt idx="24">
                  <c:v>93.682736275470603</c:v>
                </c:pt>
                <c:pt idx="25">
                  <c:v>99.958735140000002</c:v>
                </c:pt>
                <c:pt idx="26">
                  <c:v>100.693174172741</c:v>
                </c:pt>
                <c:pt idx="27">
                  <c:v>90.257661889999994</c:v>
                </c:pt>
                <c:pt idx="28">
                  <c:v>99.844240832057096</c:v>
                </c:pt>
                <c:pt idx="29">
                  <c:v>104.799999999999</c:v>
                </c:pt>
                <c:pt idx="30">
                  <c:v>99.3</c:v>
                </c:pt>
                <c:pt idx="31">
                  <c:v>91.443489490000005</c:v>
                </c:pt>
                <c:pt idx="32">
                  <c:v>102.712836022926</c:v>
                </c:pt>
                <c:pt idx="33">
                  <c:v>99.21177874</c:v>
                </c:pt>
                <c:pt idx="34">
                  <c:v>91.2772055531848</c:v>
                </c:pt>
                <c:pt idx="35">
                  <c:v>94.715282857631095</c:v>
                </c:pt>
                <c:pt idx="36">
                  <c:v>92.868021089999999</c:v>
                </c:pt>
                <c:pt idx="37">
                  <c:v>106.091197240075</c:v>
                </c:pt>
                <c:pt idx="38">
                  <c:v>104.352308518675</c:v>
                </c:pt>
                <c:pt idx="39">
                  <c:v>95.493238419999997</c:v>
                </c:pt>
                <c:pt idx="40">
                  <c:v>104.071838762276</c:v>
                </c:pt>
                <c:pt idx="41">
                  <c:v>99.864149852102997</c:v>
                </c:pt>
                <c:pt idx="42">
                  <c:v>95.076023698379302</c:v>
                </c:pt>
                <c:pt idx="43">
                  <c:v>102</c:v>
                </c:pt>
                <c:pt idx="44">
                  <c:v>104.2</c:v>
                </c:pt>
                <c:pt idx="45">
                  <c:v>91.8</c:v>
                </c:pt>
                <c:pt idx="46">
                  <c:v>103.2</c:v>
                </c:pt>
                <c:pt idx="47">
                  <c:v>96.4</c:v>
                </c:pt>
                <c:pt idx="48">
                  <c:v>93.188446976526095</c:v>
                </c:pt>
                <c:pt idx="49">
                  <c:v>91.7</c:v>
                </c:pt>
                <c:pt idx="50">
                  <c:v>100.2</c:v>
                </c:pt>
                <c:pt idx="51">
                  <c:v>89.5</c:v>
                </c:pt>
                <c:pt idx="52">
                  <c:v>97.799999999999898</c:v>
                </c:pt>
                <c:pt idx="53">
                  <c:v>97.001590219999997</c:v>
                </c:pt>
                <c:pt idx="54">
                  <c:v>102</c:v>
                </c:pt>
                <c:pt idx="55">
                  <c:v>94.5</c:v>
                </c:pt>
                <c:pt idx="56">
                  <c:v>96.5</c:v>
                </c:pt>
                <c:pt idx="57">
                  <c:v>93.661034897503797</c:v>
                </c:pt>
                <c:pt idx="58">
                  <c:v>93.2</c:v>
                </c:pt>
                <c:pt idx="59">
                  <c:v>86.7</c:v>
                </c:pt>
                <c:pt idx="60">
                  <c:v>95.041909409560603</c:v>
                </c:pt>
                <c:pt idx="61">
                  <c:v>105</c:v>
                </c:pt>
                <c:pt idx="62">
                  <c:v>92</c:v>
                </c:pt>
                <c:pt idx="63">
                  <c:v>88.8</c:v>
                </c:pt>
                <c:pt idx="64">
                  <c:v>97.6</c:v>
                </c:pt>
                <c:pt idx="65">
                  <c:v>99.2</c:v>
                </c:pt>
                <c:pt idx="66">
                  <c:v>111.3</c:v>
                </c:pt>
                <c:pt idx="67">
                  <c:v>94.983920396744594</c:v>
                </c:pt>
                <c:pt idx="68">
                  <c:v>95.5</c:v>
                </c:pt>
                <c:pt idx="69">
                  <c:v>98.496398964513403</c:v>
                </c:pt>
                <c:pt idx="70">
                  <c:v>99</c:v>
                </c:pt>
                <c:pt idx="71">
                  <c:v>98.4</c:v>
                </c:pt>
                <c:pt idx="72">
                  <c:v>95.9</c:v>
                </c:pt>
                <c:pt idx="73">
                  <c:v>96.8</c:v>
                </c:pt>
                <c:pt idx="74">
                  <c:v>101.7</c:v>
                </c:pt>
                <c:pt idx="75">
                  <c:v>95</c:v>
                </c:pt>
                <c:pt idx="76">
                  <c:v>103.9</c:v>
                </c:pt>
                <c:pt idx="77">
                  <c:v>95.5</c:v>
                </c:pt>
                <c:pt idx="78">
                  <c:v>98.397453639999995</c:v>
                </c:pt>
                <c:pt idx="79">
                  <c:v>103.9</c:v>
                </c:pt>
                <c:pt idx="80">
                  <c:v>110.1</c:v>
                </c:pt>
                <c:pt idx="81">
                  <c:v>98.1</c:v>
                </c:pt>
                <c:pt idx="82">
                  <c:v>193.9</c:v>
                </c:pt>
                <c:pt idx="83">
                  <c:v>93.5</c:v>
                </c:pt>
                <c:pt idx="84">
                  <c:v>104.2</c:v>
                </c:pt>
                <c:pt idx="85">
                  <c:v>98.7</c:v>
                </c:pt>
                <c:pt idx="86">
                  <c:v>88.2</c:v>
                </c:pt>
                <c:pt idx="87">
                  <c:v>91.5</c:v>
                </c:pt>
                <c:pt idx="88">
                  <c:v>99.2</c:v>
                </c:pt>
                <c:pt idx="89">
                  <c:v>100.53273844458499</c:v>
                </c:pt>
                <c:pt idx="90">
                  <c:v>92.356587545803393</c:v>
                </c:pt>
                <c:pt idx="91">
                  <c:v>94.4</c:v>
                </c:pt>
                <c:pt idx="92">
                  <c:v>105.8</c:v>
                </c:pt>
                <c:pt idx="93">
                  <c:v>96.2</c:v>
                </c:pt>
                <c:pt idx="94">
                  <c:v>88.1</c:v>
                </c:pt>
                <c:pt idx="95">
                  <c:v>135.9</c:v>
                </c:pt>
                <c:pt idx="96">
                  <c:v>103.1</c:v>
                </c:pt>
                <c:pt idx="97">
                  <c:v>97.468981420000006</c:v>
                </c:pt>
                <c:pt idx="98">
                  <c:v>97.4</c:v>
                </c:pt>
                <c:pt idx="99">
                  <c:v>98.002844629999998</c:v>
                </c:pt>
                <c:pt idx="100">
                  <c:v>101.016531507408</c:v>
                </c:pt>
                <c:pt idx="101">
                  <c:v>86.7</c:v>
                </c:pt>
                <c:pt idx="102">
                  <c:v>118.7</c:v>
                </c:pt>
                <c:pt idx="103">
                  <c:v>97.974494849999999</c:v>
                </c:pt>
                <c:pt idx="104">
                  <c:v>94.6</c:v>
                </c:pt>
                <c:pt idx="105">
                  <c:v>106</c:v>
                </c:pt>
                <c:pt idx="106">
                  <c:v>96.792896497441902</c:v>
                </c:pt>
                <c:pt idx="107">
                  <c:v>155.6</c:v>
                </c:pt>
                <c:pt idx="108">
                  <c:v>91.9</c:v>
                </c:pt>
                <c:pt idx="109">
                  <c:v>105.1</c:v>
                </c:pt>
                <c:pt idx="110">
                  <c:v>108.5</c:v>
                </c:pt>
                <c:pt idx="111">
                  <c:v>100.9</c:v>
                </c:pt>
                <c:pt idx="112">
                  <c:v>93</c:v>
                </c:pt>
                <c:pt idx="113">
                  <c:v>97.098316819999994</c:v>
                </c:pt>
                <c:pt idx="114">
                  <c:v>121</c:v>
                </c:pt>
                <c:pt idx="115">
                  <c:v>99.4</c:v>
                </c:pt>
                <c:pt idx="116">
                  <c:v>93.6</c:v>
                </c:pt>
                <c:pt idx="117">
                  <c:v>99.4544472861608</c:v>
                </c:pt>
                <c:pt idx="118">
                  <c:v>96.138334649667101</c:v>
                </c:pt>
                <c:pt idx="119">
                  <c:v>90.9</c:v>
                </c:pt>
                <c:pt idx="120">
                  <c:v>99.7</c:v>
                </c:pt>
                <c:pt idx="121">
                  <c:v>97.131401415479502</c:v>
                </c:pt>
                <c:pt idx="122">
                  <c:v>154.9</c:v>
                </c:pt>
                <c:pt idx="123">
                  <c:v>105</c:v>
                </c:pt>
                <c:pt idx="124">
                  <c:v>97.3</c:v>
                </c:pt>
                <c:pt idx="125">
                  <c:v>102.8</c:v>
                </c:pt>
                <c:pt idx="126">
                  <c:v>96.749422361464596</c:v>
                </c:pt>
                <c:pt idx="127">
                  <c:v>98.628291309919703</c:v>
                </c:pt>
                <c:pt idx="128">
                  <c:v>218.2</c:v>
                </c:pt>
                <c:pt idx="129">
                  <c:v>93.9</c:v>
                </c:pt>
                <c:pt idx="130">
                  <c:v>99.142985019533</c:v>
                </c:pt>
                <c:pt idx="131">
                  <c:v>122.099999999999</c:v>
                </c:pt>
                <c:pt idx="132">
                  <c:v>93.7</c:v>
                </c:pt>
                <c:pt idx="133">
                  <c:v>103.075512552671</c:v>
                </c:pt>
                <c:pt idx="134">
                  <c:v>88.3</c:v>
                </c:pt>
                <c:pt idx="135">
                  <c:v>97.603270159999994</c:v>
                </c:pt>
                <c:pt idx="136">
                  <c:v>92.8</c:v>
                </c:pt>
                <c:pt idx="137">
                  <c:v>92.679306400882297</c:v>
                </c:pt>
                <c:pt idx="138">
                  <c:v>93.4</c:v>
                </c:pt>
                <c:pt idx="139">
                  <c:v>97.178558090732807</c:v>
                </c:pt>
                <c:pt idx="140">
                  <c:v>99.799999999999898</c:v>
                </c:pt>
                <c:pt idx="141">
                  <c:v>97.195097620299705</c:v>
                </c:pt>
                <c:pt idx="142">
                  <c:v>89.474631893712797</c:v>
                </c:pt>
                <c:pt idx="143">
                  <c:v>109.2</c:v>
                </c:pt>
                <c:pt idx="144">
                  <c:v>142.80000000000001</c:v>
                </c:pt>
                <c:pt idx="145">
                  <c:v>104.922558719779</c:v>
                </c:pt>
                <c:pt idx="146">
                  <c:v>95</c:v>
                </c:pt>
                <c:pt idx="147">
                  <c:v>100.5</c:v>
                </c:pt>
                <c:pt idx="148">
                  <c:v>105.5</c:v>
                </c:pt>
                <c:pt idx="149">
                  <c:v>94.037112509077502</c:v>
                </c:pt>
                <c:pt idx="150">
                  <c:v>92.9</c:v>
                </c:pt>
                <c:pt idx="151">
                  <c:v>96.6</c:v>
                </c:pt>
                <c:pt idx="152">
                  <c:v>105.799999999999</c:v>
                </c:pt>
                <c:pt idx="153">
                  <c:v>95.240223375272706</c:v>
                </c:pt>
                <c:pt idx="154">
                  <c:v>99.6</c:v>
                </c:pt>
                <c:pt idx="155">
                  <c:v>90.9</c:v>
                </c:pt>
                <c:pt idx="156">
                  <c:v>92.7</c:v>
                </c:pt>
                <c:pt idx="157">
                  <c:v>102.083858943325</c:v>
                </c:pt>
                <c:pt idx="158">
                  <c:v>105.6</c:v>
                </c:pt>
                <c:pt idx="159">
                  <c:v>94.4</c:v>
                </c:pt>
                <c:pt idx="160">
                  <c:v>96.182652254577704</c:v>
                </c:pt>
                <c:pt idx="161">
                  <c:v>102.3</c:v>
                </c:pt>
                <c:pt idx="162">
                  <c:v>89.193980330000002</c:v>
                </c:pt>
                <c:pt idx="163">
                  <c:v>92.1</c:v>
                </c:pt>
                <c:pt idx="164">
                  <c:v>101.020127459208</c:v>
                </c:pt>
                <c:pt idx="165">
                  <c:v>100.158216560509</c:v>
                </c:pt>
                <c:pt idx="166">
                  <c:v>95</c:v>
                </c:pt>
                <c:pt idx="167">
                  <c:v>99.441010060260695</c:v>
                </c:pt>
                <c:pt idx="168">
                  <c:v>97.4</c:v>
                </c:pt>
                <c:pt idx="169">
                  <c:v>93.5</c:v>
                </c:pt>
                <c:pt idx="170">
                  <c:v>102</c:v>
                </c:pt>
                <c:pt idx="171">
                  <c:v>91.3</c:v>
                </c:pt>
                <c:pt idx="172">
                  <c:v>100.944199493882</c:v>
                </c:pt>
                <c:pt idx="173">
                  <c:v>100.6</c:v>
                </c:pt>
                <c:pt idx="174">
                  <c:v>95.3</c:v>
                </c:pt>
                <c:pt idx="175">
                  <c:v>92</c:v>
                </c:pt>
                <c:pt idx="176">
                  <c:v>96.1</c:v>
                </c:pt>
                <c:pt idx="177">
                  <c:v>89.4</c:v>
                </c:pt>
                <c:pt idx="178">
                  <c:v>102.3</c:v>
                </c:pt>
                <c:pt idx="179">
                  <c:v>99.7</c:v>
                </c:pt>
                <c:pt idx="180">
                  <c:v>100.099244930929</c:v>
                </c:pt>
                <c:pt idx="181">
                  <c:v>100.20478852022801</c:v>
                </c:pt>
                <c:pt idx="182">
                  <c:v>100.924859830114</c:v>
                </c:pt>
                <c:pt idx="183">
                  <c:v>103.4</c:v>
                </c:pt>
                <c:pt idx="184">
                  <c:v>100.475319185497</c:v>
                </c:pt>
                <c:pt idx="185">
                  <c:v>93.730712285146396</c:v>
                </c:pt>
                <c:pt idx="186">
                  <c:v>120.6</c:v>
                </c:pt>
                <c:pt idx="187">
                  <c:v>99.7</c:v>
                </c:pt>
                <c:pt idx="188">
                  <c:v>89.899178111060294</c:v>
                </c:pt>
                <c:pt idx="189">
                  <c:v>92.345377885919106</c:v>
                </c:pt>
                <c:pt idx="190">
                  <c:v>102.5</c:v>
                </c:pt>
                <c:pt idx="191">
                  <c:v>96.5</c:v>
                </c:pt>
                <c:pt idx="192">
                  <c:v>99.6</c:v>
                </c:pt>
                <c:pt idx="193">
                  <c:v>94.345519121169502</c:v>
                </c:pt>
                <c:pt idx="194">
                  <c:v>100.2</c:v>
                </c:pt>
                <c:pt idx="195">
                  <c:v>109.7</c:v>
                </c:pt>
                <c:pt idx="196">
                  <c:v>131.1</c:v>
                </c:pt>
                <c:pt idx="197">
                  <c:v>93.2</c:v>
                </c:pt>
                <c:pt idx="198">
                  <c:v>97</c:v>
                </c:pt>
                <c:pt idx="199">
                  <c:v>90.4</c:v>
                </c:pt>
                <c:pt idx="200">
                  <c:v>104</c:v>
                </c:pt>
                <c:pt idx="201">
                  <c:v>88.9</c:v>
                </c:pt>
                <c:pt idx="202">
                  <c:v>99.5</c:v>
                </c:pt>
                <c:pt idx="203">
                  <c:v>96.5</c:v>
                </c:pt>
                <c:pt idx="204">
                  <c:v>104.325485089925</c:v>
                </c:pt>
                <c:pt idx="205">
                  <c:v>94</c:v>
                </c:pt>
                <c:pt idx="206">
                  <c:v>97.601134912235807</c:v>
                </c:pt>
                <c:pt idx="207">
                  <c:v>92.9</c:v>
                </c:pt>
                <c:pt idx="208">
                  <c:v>119.7</c:v>
                </c:pt>
                <c:pt idx="209">
                  <c:v>105.49690700796199</c:v>
                </c:pt>
                <c:pt idx="210">
                  <c:v>106</c:v>
                </c:pt>
                <c:pt idx="211">
                  <c:v>119</c:v>
                </c:pt>
                <c:pt idx="212">
                  <c:v>100.5</c:v>
                </c:pt>
                <c:pt idx="213">
                  <c:v>101.542372889904</c:v>
                </c:pt>
                <c:pt idx="214">
                  <c:v>105.8</c:v>
                </c:pt>
                <c:pt idx="215">
                  <c:v>102.3</c:v>
                </c:pt>
                <c:pt idx="216">
                  <c:v>89.5</c:v>
                </c:pt>
                <c:pt idx="217">
                  <c:v>95.832063148698893</c:v>
                </c:pt>
                <c:pt idx="218">
                  <c:v>99.323403998491102</c:v>
                </c:pt>
                <c:pt idx="219">
                  <c:v>97.480360232560599</c:v>
                </c:pt>
                <c:pt idx="220">
                  <c:v>101.7</c:v>
                </c:pt>
                <c:pt idx="221">
                  <c:v>102.6</c:v>
                </c:pt>
                <c:pt idx="222">
                  <c:v>99.9</c:v>
                </c:pt>
                <c:pt idx="223">
                  <c:v>100</c:v>
                </c:pt>
                <c:pt idx="224">
                  <c:v>105.4</c:v>
                </c:pt>
                <c:pt idx="225">
                  <c:v>87</c:v>
                </c:pt>
                <c:pt idx="226">
                  <c:v>96.9</c:v>
                </c:pt>
                <c:pt idx="227">
                  <c:v>94.7</c:v>
                </c:pt>
                <c:pt idx="228">
                  <c:v>103.1</c:v>
                </c:pt>
                <c:pt idx="229">
                  <c:v>104.8</c:v>
                </c:pt>
                <c:pt idx="230">
                  <c:v>87.926566829999999</c:v>
                </c:pt>
                <c:pt idx="231">
                  <c:v>98.1</c:v>
                </c:pt>
                <c:pt idx="232">
                  <c:v>88.9</c:v>
                </c:pt>
                <c:pt idx="233">
                  <c:v>105.09261480000001</c:v>
                </c:pt>
                <c:pt idx="234">
                  <c:v>103.5</c:v>
                </c:pt>
                <c:pt idx="235">
                  <c:v>94.4</c:v>
                </c:pt>
                <c:pt idx="236">
                  <c:v>90.2</c:v>
                </c:pt>
                <c:pt idx="237">
                  <c:v>102.2</c:v>
                </c:pt>
                <c:pt idx="238">
                  <c:v>93.9</c:v>
                </c:pt>
                <c:pt idx="239">
                  <c:v>60.3</c:v>
                </c:pt>
                <c:pt idx="240">
                  <c:v>105.7</c:v>
                </c:pt>
                <c:pt idx="241">
                  <c:v>98.063998973964303</c:v>
                </c:pt>
                <c:pt idx="242">
                  <c:v>96.3</c:v>
                </c:pt>
                <c:pt idx="243">
                  <c:v>103.9</c:v>
                </c:pt>
                <c:pt idx="244">
                  <c:v>99.5</c:v>
                </c:pt>
                <c:pt idx="245">
                  <c:v>97.7</c:v>
                </c:pt>
                <c:pt idx="246">
                  <c:v>95.038647119999993</c:v>
                </c:pt>
                <c:pt idx="247">
                  <c:v>110</c:v>
                </c:pt>
                <c:pt idx="248">
                  <c:v>94.9</c:v>
                </c:pt>
                <c:pt idx="249">
                  <c:v>86.7</c:v>
                </c:pt>
                <c:pt idx="250">
                  <c:v>96</c:v>
                </c:pt>
                <c:pt idx="251">
                  <c:v>108.2</c:v>
                </c:pt>
                <c:pt idx="252">
                  <c:v>80.7</c:v>
                </c:pt>
                <c:pt idx="253">
                  <c:v>98.1</c:v>
                </c:pt>
                <c:pt idx="254">
                  <c:v>107.4</c:v>
                </c:pt>
                <c:pt idx="255">
                  <c:v>93</c:v>
                </c:pt>
                <c:pt idx="256">
                  <c:v>103.5</c:v>
                </c:pt>
                <c:pt idx="257">
                  <c:v>101.7</c:v>
                </c:pt>
                <c:pt idx="258">
                  <c:v>101.1</c:v>
                </c:pt>
                <c:pt idx="259">
                  <c:v>92.8</c:v>
                </c:pt>
                <c:pt idx="260">
                  <c:v>99</c:v>
                </c:pt>
                <c:pt idx="261">
                  <c:v>86.1</c:v>
                </c:pt>
                <c:pt idx="262">
                  <c:v>92.1</c:v>
                </c:pt>
                <c:pt idx="263">
                  <c:v>117.2</c:v>
                </c:pt>
                <c:pt idx="264">
                  <c:v>153.30000000000001</c:v>
                </c:pt>
                <c:pt idx="265">
                  <c:v>96.009757651750206</c:v>
                </c:pt>
                <c:pt idx="266">
                  <c:v>106</c:v>
                </c:pt>
                <c:pt idx="267">
                  <c:v>96.4</c:v>
                </c:pt>
                <c:pt idx="268">
                  <c:v>101.06088762288</c:v>
                </c:pt>
                <c:pt idx="269">
                  <c:v>105</c:v>
                </c:pt>
                <c:pt idx="270">
                  <c:v>101.240806154512</c:v>
                </c:pt>
                <c:pt idx="271">
                  <c:v>105.5</c:v>
                </c:pt>
                <c:pt idx="272">
                  <c:v>91.4</c:v>
                </c:pt>
                <c:pt idx="273">
                  <c:v>97.4</c:v>
                </c:pt>
                <c:pt idx="274">
                  <c:v>94.079552150218504</c:v>
                </c:pt>
                <c:pt idx="275">
                  <c:v>109.5</c:v>
                </c:pt>
                <c:pt idx="276">
                  <c:v>103.130250980479</c:v>
                </c:pt>
                <c:pt idx="277">
                  <c:v>97.599999999999895</c:v>
                </c:pt>
                <c:pt idx="278">
                  <c:v>103.1</c:v>
                </c:pt>
                <c:pt idx="279">
                  <c:v>93.6</c:v>
                </c:pt>
                <c:pt idx="280">
                  <c:v>102.1</c:v>
                </c:pt>
                <c:pt idx="281">
                  <c:v>105.7</c:v>
                </c:pt>
                <c:pt idx="282">
                  <c:v>114</c:v>
                </c:pt>
                <c:pt idx="283">
                  <c:v>99.6</c:v>
                </c:pt>
                <c:pt idx="284">
                  <c:v>115.1</c:v>
                </c:pt>
                <c:pt idx="285">
                  <c:v>97.891903853262306</c:v>
                </c:pt>
                <c:pt idx="286">
                  <c:v>99.984485334152296</c:v>
                </c:pt>
                <c:pt idx="287">
                  <c:v>94.4</c:v>
                </c:pt>
                <c:pt idx="288">
                  <c:v>112.5</c:v>
                </c:pt>
                <c:pt idx="289">
                  <c:v>95.1</c:v>
                </c:pt>
                <c:pt idx="290">
                  <c:v>94.7</c:v>
                </c:pt>
                <c:pt idx="291">
                  <c:v>100.062871658375</c:v>
                </c:pt>
                <c:pt idx="292">
                  <c:v>99.298072017359999</c:v>
                </c:pt>
                <c:pt idx="293">
                  <c:v>99.9</c:v>
                </c:pt>
                <c:pt idx="294">
                  <c:v>97.2</c:v>
                </c:pt>
                <c:pt idx="295">
                  <c:v>97.5</c:v>
                </c:pt>
                <c:pt idx="296">
                  <c:v>91.8</c:v>
                </c:pt>
                <c:pt idx="297">
                  <c:v>87.7</c:v>
                </c:pt>
                <c:pt idx="298">
                  <c:v>101.5</c:v>
                </c:pt>
                <c:pt idx="299">
                  <c:v>95.8</c:v>
                </c:pt>
                <c:pt idx="300">
                  <c:v>97.713237180100606</c:v>
                </c:pt>
                <c:pt idx="301">
                  <c:v>92.4</c:v>
                </c:pt>
                <c:pt idx="302">
                  <c:v>94.4</c:v>
                </c:pt>
                <c:pt idx="303">
                  <c:v>109.321693033351</c:v>
                </c:pt>
                <c:pt idx="304">
                  <c:v>96.5</c:v>
                </c:pt>
                <c:pt idx="305">
                  <c:v>105.2</c:v>
                </c:pt>
                <c:pt idx="306">
                  <c:v>91.3</c:v>
                </c:pt>
                <c:pt idx="307">
                  <c:v>95.7</c:v>
                </c:pt>
                <c:pt idx="308">
                  <c:v>102</c:v>
                </c:pt>
                <c:pt idx="309">
                  <c:v>97.2</c:v>
                </c:pt>
                <c:pt idx="310">
                  <c:v>91.7</c:v>
                </c:pt>
                <c:pt idx="311">
                  <c:v>95.652282940000006</c:v>
                </c:pt>
                <c:pt idx="312">
                  <c:v>103</c:v>
                </c:pt>
                <c:pt idx="313">
                  <c:v>123.5</c:v>
                </c:pt>
                <c:pt idx="314">
                  <c:v>101.7</c:v>
                </c:pt>
                <c:pt idx="315">
                  <c:v>97</c:v>
                </c:pt>
                <c:pt idx="316">
                  <c:v>97.261335950000003</c:v>
                </c:pt>
                <c:pt idx="317">
                  <c:v>103.332786048884</c:v>
                </c:pt>
                <c:pt idx="318">
                  <c:v>103.8</c:v>
                </c:pt>
                <c:pt idx="319">
                  <c:v>106.644816490534</c:v>
                </c:pt>
                <c:pt idx="320">
                  <c:v>92.4</c:v>
                </c:pt>
                <c:pt idx="321">
                  <c:v>99.5</c:v>
                </c:pt>
                <c:pt idx="322">
                  <c:v>104.5</c:v>
                </c:pt>
                <c:pt idx="323">
                  <c:v>103.778751608882</c:v>
                </c:pt>
                <c:pt idx="324">
                  <c:v>89.8</c:v>
                </c:pt>
                <c:pt idx="325">
                  <c:v>127.1</c:v>
                </c:pt>
                <c:pt idx="326">
                  <c:v>98.170632299592299</c:v>
                </c:pt>
                <c:pt idx="327">
                  <c:v>103.40394752376901</c:v>
                </c:pt>
                <c:pt idx="328">
                  <c:v>99.5</c:v>
                </c:pt>
                <c:pt idx="329">
                  <c:v>95.9</c:v>
                </c:pt>
                <c:pt idx="330">
                  <c:v>92.8</c:v>
                </c:pt>
                <c:pt idx="331">
                  <c:v>98.3997357811093</c:v>
                </c:pt>
                <c:pt idx="332">
                  <c:v>103.143115451691</c:v>
                </c:pt>
                <c:pt idx="333">
                  <c:v>83.3</c:v>
                </c:pt>
                <c:pt idx="334">
                  <c:v>103</c:v>
                </c:pt>
                <c:pt idx="335">
                  <c:v>100.5</c:v>
                </c:pt>
                <c:pt idx="336">
                  <c:v>88.076564680000004</c:v>
                </c:pt>
                <c:pt idx="337">
                  <c:v>148.33352452402201</c:v>
                </c:pt>
                <c:pt idx="338">
                  <c:v>100.730715029716</c:v>
                </c:pt>
                <c:pt idx="339">
                  <c:v>98.5</c:v>
                </c:pt>
                <c:pt idx="340">
                  <c:v>97.8</c:v>
                </c:pt>
                <c:pt idx="341">
                  <c:v>102.1</c:v>
                </c:pt>
                <c:pt idx="342">
                  <c:v>98.1</c:v>
                </c:pt>
                <c:pt idx="343">
                  <c:v>101.4</c:v>
                </c:pt>
                <c:pt idx="344">
                  <c:v>99.8</c:v>
                </c:pt>
                <c:pt idx="345">
                  <c:v>96.517709749999995</c:v>
                </c:pt>
                <c:pt idx="346">
                  <c:v>99.4</c:v>
                </c:pt>
                <c:pt idx="347">
                  <c:v>103.1</c:v>
                </c:pt>
                <c:pt idx="348">
                  <c:v>107.9</c:v>
                </c:pt>
                <c:pt idx="349">
                  <c:v>98.5</c:v>
                </c:pt>
                <c:pt idx="350">
                  <c:v>104.12773302938101</c:v>
                </c:pt>
                <c:pt idx="351">
                  <c:v>98.939157544876394</c:v>
                </c:pt>
                <c:pt idx="352">
                  <c:v>99.3</c:v>
                </c:pt>
                <c:pt idx="353">
                  <c:v>94.8</c:v>
                </c:pt>
                <c:pt idx="354">
                  <c:v>87</c:v>
                </c:pt>
                <c:pt idx="355">
                  <c:v>102.3</c:v>
                </c:pt>
                <c:pt idx="356">
                  <c:v>98.3</c:v>
                </c:pt>
                <c:pt idx="357">
                  <c:v>95</c:v>
                </c:pt>
                <c:pt idx="358">
                  <c:v>93.6</c:v>
                </c:pt>
                <c:pt idx="359">
                  <c:v>94.7</c:v>
                </c:pt>
                <c:pt idx="360">
                  <c:v>96.509599178059702</c:v>
                </c:pt>
                <c:pt idx="361">
                  <c:v>98.4</c:v>
                </c:pt>
                <c:pt idx="362">
                  <c:v>104.7</c:v>
                </c:pt>
                <c:pt idx="363">
                  <c:v>105.1</c:v>
                </c:pt>
                <c:pt idx="364">
                  <c:v>109.4</c:v>
                </c:pt>
                <c:pt idx="365">
                  <c:v>97.006687941336196</c:v>
                </c:pt>
                <c:pt idx="366">
                  <c:v>97.954493371565803</c:v>
                </c:pt>
                <c:pt idx="367">
                  <c:v>105.2</c:v>
                </c:pt>
                <c:pt idx="368">
                  <c:v>94.8</c:v>
                </c:pt>
                <c:pt idx="369">
                  <c:v>97.4</c:v>
                </c:pt>
                <c:pt idx="370">
                  <c:v>97.1</c:v>
                </c:pt>
                <c:pt idx="371">
                  <c:v>96.143881975534896</c:v>
                </c:pt>
                <c:pt idx="372">
                  <c:v>91.474064029999994</c:v>
                </c:pt>
                <c:pt idx="373">
                  <c:v>99.445941955835906</c:v>
                </c:pt>
                <c:pt idx="374">
                  <c:v>107.155241221498</c:v>
                </c:pt>
                <c:pt idx="375">
                  <c:v>102.2</c:v>
                </c:pt>
                <c:pt idx="376">
                  <c:v>90.2</c:v>
                </c:pt>
                <c:pt idx="377">
                  <c:v>97.2</c:v>
                </c:pt>
                <c:pt idx="378">
                  <c:v>95.754629205714394</c:v>
                </c:pt>
                <c:pt idx="379">
                  <c:v>96.112683583953</c:v>
                </c:pt>
                <c:pt idx="380">
                  <c:v>99.8</c:v>
                </c:pt>
                <c:pt idx="381">
                  <c:v>90.8</c:v>
                </c:pt>
                <c:pt idx="382">
                  <c:v>81.2</c:v>
                </c:pt>
                <c:pt idx="383">
                  <c:v>105.1</c:v>
                </c:pt>
                <c:pt idx="384">
                  <c:v>92.3</c:v>
                </c:pt>
                <c:pt idx="385">
                  <c:v>101.192832171688</c:v>
                </c:pt>
                <c:pt idx="386">
                  <c:v>96.813997810000004</c:v>
                </c:pt>
                <c:pt idx="387">
                  <c:v>93</c:v>
                </c:pt>
                <c:pt idx="388">
                  <c:v>92</c:v>
                </c:pt>
                <c:pt idx="389">
                  <c:v>100.1</c:v>
                </c:pt>
                <c:pt idx="390">
                  <c:v>96.281369228619496</c:v>
                </c:pt>
                <c:pt idx="391">
                  <c:v>97.9</c:v>
                </c:pt>
                <c:pt idx="392">
                  <c:v>103.602268995979</c:v>
                </c:pt>
                <c:pt idx="393">
                  <c:v>97.1</c:v>
                </c:pt>
                <c:pt idx="394">
                  <c:v>99.440657728367896</c:v>
                </c:pt>
                <c:pt idx="395">
                  <c:v>99.7</c:v>
                </c:pt>
                <c:pt idx="396">
                  <c:v>95.3</c:v>
                </c:pt>
                <c:pt idx="397">
                  <c:v>108.5</c:v>
                </c:pt>
                <c:pt idx="398">
                  <c:v>103.14696901859401</c:v>
                </c:pt>
                <c:pt idx="399">
                  <c:v>88.4</c:v>
                </c:pt>
                <c:pt idx="400">
                  <c:v>101.4</c:v>
                </c:pt>
                <c:pt idx="401">
                  <c:v>100.199747551896</c:v>
                </c:pt>
                <c:pt idx="402">
                  <c:v>93.415066839785595</c:v>
                </c:pt>
                <c:pt idx="403">
                  <c:v>88.1</c:v>
                </c:pt>
                <c:pt idx="404">
                  <c:v>92.73214016</c:v>
                </c:pt>
                <c:pt idx="405">
                  <c:v>95.9</c:v>
                </c:pt>
                <c:pt idx="406">
                  <c:v>108.480573183213</c:v>
                </c:pt>
                <c:pt idx="407">
                  <c:v>99.3</c:v>
                </c:pt>
                <c:pt idx="408">
                  <c:v>98.265737466631194</c:v>
                </c:pt>
                <c:pt idx="409">
                  <c:v>100.2</c:v>
                </c:pt>
                <c:pt idx="410">
                  <c:v>95.803897707440399</c:v>
                </c:pt>
                <c:pt idx="411">
                  <c:v>95.172062569999994</c:v>
                </c:pt>
                <c:pt idx="412">
                  <c:v>100.139206494001</c:v>
                </c:pt>
                <c:pt idx="413">
                  <c:v>88.7</c:v>
                </c:pt>
                <c:pt idx="414">
                  <c:v>105.356993010095</c:v>
                </c:pt>
                <c:pt idx="415">
                  <c:v>97.899199616465907</c:v>
                </c:pt>
                <c:pt idx="416">
                  <c:v>109.238456400144</c:v>
                </c:pt>
                <c:pt idx="417">
                  <c:v>99.407416483941603</c:v>
                </c:pt>
                <c:pt idx="418">
                  <c:v>94.7</c:v>
                </c:pt>
                <c:pt idx="419">
                  <c:v>88.8</c:v>
                </c:pt>
                <c:pt idx="420">
                  <c:v>100.783802610782</c:v>
                </c:pt>
                <c:pt idx="421">
                  <c:v>97.9</c:v>
                </c:pt>
                <c:pt idx="422">
                  <c:v>97.185385952761195</c:v>
                </c:pt>
                <c:pt idx="423">
                  <c:v>94.5</c:v>
                </c:pt>
                <c:pt idx="424">
                  <c:v>81.3</c:v>
                </c:pt>
                <c:pt idx="425">
                  <c:v>112.3</c:v>
                </c:pt>
                <c:pt idx="426">
                  <c:v>80.599999999999994</c:v>
                </c:pt>
                <c:pt idx="427">
                  <c:v>100.5</c:v>
                </c:pt>
                <c:pt idx="428">
                  <c:v>90.2</c:v>
                </c:pt>
                <c:pt idx="429">
                  <c:v>102.3</c:v>
                </c:pt>
                <c:pt idx="430">
                  <c:v>97.2</c:v>
                </c:pt>
                <c:pt idx="431">
                  <c:v>94.447355163727906</c:v>
                </c:pt>
                <c:pt idx="432">
                  <c:v>98.9</c:v>
                </c:pt>
                <c:pt idx="433">
                  <c:v>84.4</c:v>
                </c:pt>
                <c:pt idx="434">
                  <c:v>96.7</c:v>
                </c:pt>
                <c:pt idx="435">
                  <c:v>96.234492100720601</c:v>
                </c:pt>
                <c:pt idx="436">
                  <c:v>84.2</c:v>
                </c:pt>
                <c:pt idx="437">
                  <c:v>90</c:v>
                </c:pt>
                <c:pt idx="438">
                  <c:v>206.6</c:v>
                </c:pt>
                <c:pt idx="439">
                  <c:v>86.5</c:v>
                </c:pt>
                <c:pt idx="440">
                  <c:v>97.3</c:v>
                </c:pt>
                <c:pt idx="441">
                  <c:v>91.4</c:v>
                </c:pt>
                <c:pt idx="442">
                  <c:v>89.4</c:v>
                </c:pt>
                <c:pt idx="443">
                  <c:v>103.5</c:v>
                </c:pt>
                <c:pt idx="444">
                  <c:v>99</c:v>
                </c:pt>
                <c:pt idx="445">
                  <c:v>109.6</c:v>
                </c:pt>
                <c:pt idx="446">
                  <c:v>100.3</c:v>
                </c:pt>
                <c:pt idx="447">
                  <c:v>100.8</c:v>
                </c:pt>
                <c:pt idx="448">
                  <c:v>99.914115852465997</c:v>
                </c:pt>
                <c:pt idx="449">
                  <c:v>94.9</c:v>
                </c:pt>
                <c:pt idx="450">
                  <c:v>91.7</c:v>
                </c:pt>
                <c:pt idx="451">
                  <c:v>97.844242242677893</c:v>
                </c:pt>
                <c:pt idx="452">
                  <c:v>111.8</c:v>
                </c:pt>
                <c:pt idx="453">
                  <c:v>104.8</c:v>
                </c:pt>
                <c:pt idx="454">
                  <c:v>102.6</c:v>
                </c:pt>
                <c:pt idx="455">
                  <c:v>98.8</c:v>
                </c:pt>
                <c:pt idx="456">
                  <c:v>101.4</c:v>
                </c:pt>
                <c:pt idx="457">
                  <c:v>109.21753699999999</c:v>
                </c:pt>
                <c:pt idx="458">
                  <c:v>226</c:v>
                </c:pt>
                <c:pt idx="459">
                  <c:v>96.9</c:v>
                </c:pt>
                <c:pt idx="460">
                  <c:v>113.7</c:v>
                </c:pt>
                <c:pt idx="461">
                  <c:v>102.8</c:v>
                </c:pt>
                <c:pt idx="462">
                  <c:v>110.1</c:v>
                </c:pt>
                <c:pt idx="463">
                  <c:v>99.937560287666599</c:v>
                </c:pt>
                <c:pt idx="464">
                  <c:v>93.7</c:v>
                </c:pt>
                <c:pt idx="465">
                  <c:v>83.9</c:v>
                </c:pt>
                <c:pt idx="466">
                  <c:v>108.3</c:v>
                </c:pt>
                <c:pt idx="467">
                  <c:v>97.722558469794194</c:v>
                </c:pt>
                <c:pt idx="468">
                  <c:v>106.2</c:v>
                </c:pt>
                <c:pt idx="469">
                  <c:v>96.052301550953004</c:v>
                </c:pt>
                <c:pt idx="470">
                  <c:v>98.4</c:v>
                </c:pt>
                <c:pt idx="471">
                  <c:v>106.904795798295</c:v>
                </c:pt>
                <c:pt idx="472">
                  <c:v>103.3</c:v>
                </c:pt>
                <c:pt idx="473">
                  <c:v>101.1</c:v>
                </c:pt>
                <c:pt idx="474">
                  <c:v>94.519982619999993</c:v>
                </c:pt>
                <c:pt idx="475">
                  <c:v>97.878189329472804</c:v>
                </c:pt>
                <c:pt idx="476">
                  <c:v>104.7</c:v>
                </c:pt>
                <c:pt idx="477">
                  <c:v>99.3</c:v>
                </c:pt>
                <c:pt idx="478">
                  <c:v>104.6</c:v>
                </c:pt>
                <c:pt idx="479">
                  <c:v>92.752364348198398</c:v>
                </c:pt>
                <c:pt idx="480">
                  <c:v>101.3</c:v>
                </c:pt>
                <c:pt idx="481">
                  <c:v>109.10023681142501</c:v>
                </c:pt>
                <c:pt idx="482">
                  <c:v>102.03250577545001</c:v>
                </c:pt>
                <c:pt idx="483">
                  <c:v>95.1630122902572</c:v>
                </c:pt>
                <c:pt idx="484">
                  <c:v>98.4</c:v>
                </c:pt>
                <c:pt idx="485">
                  <c:v>102</c:v>
                </c:pt>
                <c:pt idx="486">
                  <c:v>89.4</c:v>
                </c:pt>
                <c:pt idx="487">
                  <c:v>99.762387090000004</c:v>
                </c:pt>
                <c:pt idx="488">
                  <c:v>97.9</c:v>
                </c:pt>
                <c:pt idx="489">
                  <c:v>100.470667277446</c:v>
                </c:pt>
                <c:pt idx="490">
                  <c:v>95.4</c:v>
                </c:pt>
                <c:pt idx="491">
                  <c:v>96.100801500000003</c:v>
                </c:pt>
                <c:pt idx="492">
                  <c:v>104.500308657592</c:v>
                </c:pt>
                <c:pt idx="493">
                  <c:v>92.2</c:v>
                </c:pt>
                <c:pt idx="494">
                  <c:v>93.604572914396002</c:v>
                </c:pt>
                <c:pt idx="495">
                  <c:v>149.4</c:v>
                </c:pt>
                <c:pt idx="496">
                  <c:v>101.4</c:v>
                </c:pt>
                <c:pt idx="497">
                  <c:v>68.400000000000006</c:v>
                </c:pt>
                <c:pt idx="498">
                  <c:v>100.5</c:v>
                </c:pt>
                <c:pt idx="499">
                  <c:v>94.079476859363297</c:v>
                </c:pt>
                <c:pt idx="500">
                  <c:v>96.9</c:v>
                </c:pt>
                <c:pt idx="501">
                  <c:v>94.780061090000004</c:v>
                </c:pt>
                <c:pt idx="502">
                  <c:v>90.9</c:v>
                </c:pt>
                <c:pt idx="503">
                  <c:v>110.1</c:v>
                </c:pt>
                <c:pt idx="504">
                  <c:v>96.5</c:v>
                </c:pt>
                <c:pt idx="505">
                  <c:v>95.997933304693902</c:v>
                </c:pt>
                <c:pt idx="506">
                  <c:v>104.2</c:v>
                </c:pt>
                <c:pt idx="507">
                  <c:v>106</c:v>
                </c:pt>
                <c:pt idx="508">
                  <c:v>94</c:v>
                </c:pt>
                <c:pt idx="509">
                  <c:v>122.2</c:v>
                </c:pt>
                <c:pt idx="510">
                  <c:v>110.4</c:v>
                </c:pt>
                <c:pt idx="511">
                  <c:v>98.2</c:v>
                </c:pt>
                <c:pt idx="512">
                  <c:v>96.8</c:v>
                </c:pt>
                <c:pt idx="513">
                  <c:v>105.9</c:v>
                </c:pt>
                <c:pt idx="514">
                  <c:v>100.135018034059</c:v>
                </c:pt>
                <c:pt idx="515">
                  <c:v>97.810907850000007</c:v>
                </c:pt>
                <c:pt idx="516">
                  <c:v>96.737024129063002</c:v>
                </c:pt>
                <c:pt idx="517">
                  <c:v>225.5</c:v>
                </c:pt>
                <c:pt idx="518">
                  <c:v>98.3</c:v>
                </c:pt>
                <c:pt idx="519">
                  <c:v>102.9</c:v>
                </c:pt>
                <c:pt idx="520">
                  <c:v>93.9</c:v>
                </c:pt>
                <c:pt idx="521">
                  <c:v>93.5</c:v>
                </c:pt>
                <c:pt idx="522">
                  <c:v>100.2</c:v>
                </c:pt>
                <c:pt idx="523">
                  <c:v>96.571759439999994</c:v>
                </c:pt>
                <c:pt idx="524">
                  <c:v>105.2</c:v>
                </c:pt>
                <c:pt idx="525">
                  <c:v>101.916687435859</c:v>
                </c:pt>
                <c:pt idx="526">
                  <c:v>123.6</c:v>
                </c:pt>
                <c:pt idx="527">
                  <c:v>106.4</c:v>
                </c:pt>
                <c:pt idx="528">
                  <c:v>107.9</c:v>
                </c:pt>
                <c:pt idx="529">
                  <c:v>105.1</c:v>
                </c:pt>
                <c:pt idx="530">
                  <c:v>102.723005587418</c:v>
                </c:pt>
                <c:pt idx="531">
                  <c:v>101.644578440706</c:v>
                </c:pt>
                <c:pt idx="532">
                  <c:v>103.5</c:v>
                </c:pt>
                <c:pt idx="533">
                  <c:v>102.9</c:v>
                </c:pt>
                <c:pt idx="534">
                  <c:v>133</c:v>
                </c:pt>
                <c:pt idx="535">
                  <c:v>134.69999999999999</c:v>
                </c:pt>
                <c:pt idx="536">
                  <c:v>100.493632647778</c:v>
                </c:pt>
                <c:pt idx="537">
                  <c:v>146.4</c:v>
                </c:pt>
                <c:pt idx="538">
                  <c:v>95.4</c:v>
                </c:pt>
                <c:pt idx="539">
                  <c:v>87.4</c:v>
                </c:pt>
                <c:pt idx="540">
                  <c:v>100.795024055513</c:v>
                </c:pt>
                <c:pt idx="541">
                  <c:v>103.2</c:v>
                </c:pt>
                <c:pt idx="542">
                  <c:v>105.1</c:v>
                </c:pt>
                <c:pt idx="543">
                  <c:v>99.5</c:v>
                </c:pt>
                <c:pt idx="544">
                  <c:v>101.2</c:v>
                </c:pt>
                <c:pt idx="545">
                  <c:v>119.8</c:v>
                </c:pt>
                <c:pt idx="546">
                  <c:v>130.5</c:v>
                </c:pt>
                <c:pt idx="547">
                  <c:v>108.8</c:v>
                </c:pt>
                <c:pt idx="548">
                  <c:v>98.814992820000001</c:v>
                </c:pt>
                <c:pt idx="549">
                  <c:v>105.3</c:v>
                </c:pt>
                <c:pt idx="550">
                  <c:v>103</c:v>
                </c:pt>
                <c:pt idx="551">
                  <c:v>101.8</c:v>
                </c:pt>
                <c:pt idx="552">
                  <c:v>96.6</c:v>
                </c:pt>
                <c:pt idx="553">
                  <c:v>100.086721067596</c:v>
                </c:pt>
                <c:pt idx="554">
                  <c:v>102.8</c:v>
                </c:pt>
                <c:pt idx="555">
                  <c:v>95.2</c:v>
                </c:pt>
                <c:pt idx="556">
                  <c:v>100.4</c:v>
                </c:pt>
                <c:pt idx="557">
                  <c:v>101.7</c:v>
                </c:pt>
                <c:pt idx="558">
                  <c:v>101.992993469729</c:v>
                </c:pt>
                <c:pt idx="559">
                  <c:v>112.1</c:v>
                </c:pt>
                <c:pt idx="560">
                  <c:v>111.7</c:v>
                </c:pt>
                <c:pt idx="561">
                  <c:v>103</c:v>
                </c:pt>
                <c:pt idx="562">
                  <c:v>93.5</c:v>
                </c:pt>
                <c:pt idx="563">
                  <c:v>89.9</c:v>
                </c:pt>
                <c:pt idx="564">
                  <c:v>108.20581229834799</c:v>
                </c:pt>
                <c:pt idx="565">
                  <c:v>126.3</c:v>
                </c:pt>
                <c:pt idx="566">
                  <c:v>104.483525872782</c:v>
                </c:pt>
                <c:pt idx="567">
                  <c:v>101.30214745449901</c:v>
                </c:pt>
                <c:pt idx="568">
                  <c:v>120</c:v>
                </c:pt>
                <c:pt idx="569">
                  <c:v>108.5</c:v>
                </c:pt>
                <c:pt idx="570">
                  <c:v>110.8</c:v>
                </c:pt>
                <c:pt idx="571">
                  <c:v>95.8</c:v>
                </c:pt>
                <c:pt idx="572">
                  <c:v>125.6</c:v>
                </c:pt>
                <c:pt idx="573">
                  <c:v>92</c:v>
                </c:pt>
                <c:pt idx="574">
                  <c:v>96.2</c:v>
                </c:pt>
                <c:pt idx="575">
                  <c:v>109.2</c:v>
                </c:pt>
                <c:pt idx="576">
                  <c:v>67.400000000000006</c:v>
                </c:pt>
                <c:pt idx="577">
                  <c:v>100.113755992045</c:v>
                </c:pt>
                <c:pt idx="578">
                  <c:v>108.6</c:v>
                </c:pt>
                <c:pt idx="579">
                  <c:v>99.875001436946704</c:v>
                </c:pt>
                <c:pt idx="580">
                  <c:v>102</c:v>
                </c:pt>
                <c:pt idx="581">
                  <c:v>95.252438932732005</c:v>
                </c:pt>
                <c:pt idx="582">
                  <c:v>99.8</c:v>
                </c:pt>
                <c:pt idx="583">
                  <c:v>97.268006676066804</c:v>
                </c:pt>
                <c:pt idx="584">
                  <c:v>104.3</c:v>
                </c:pt>
                <c:pt idx="585">
                  <c:v>106.5</c:v>
                </c:pt>
                <c:pt idx="586">
                  <c:v>108</c:v>
                </c:pt>
                <c:pt idx="587">
                  <c:v>99.4</c:v>
                </c:pt>
                <c:pt idx="588">
                  <c:v>107.3</c:v>
                </c:pt>
                <c:pt idx="589">
                  <c:v>101.79659695143501</c:v>
                </c:pt>
                <c:pt idx="590">
                  <c:v>82.5</c:v>
                </c:pt>
                <c:pt idx="591">
                  <c:v>96.1</c:v>
                </c:pt>
                <c:pt idx="592">
                  <c:v>113.2</c:v>
                </c:pt>
                <c:pt idx="593">
                  <c:v>106.5</c:v>
                </c:pt>
                <c:pt idx="594">
                  <c:v>125.8</c:v>
                </c:pt>
                <c:pt idx="595">
                  <c:v>123.2</c:v>
                </c:pt>
                <c:pt idx="596">
                  <c:v>103.7</c:v>
                </c:pt>
                <c:pt idx="597">
                  <c:v>113.6</c:v>
                </c:pt>
                <c:pt idx="598">
                  <c:v>120.5</c:v>
                </c:pt>
                <c:pt idx="599">
                  <c:v>103.653169276659</c:v>
                </c:pt>
                <c:pt idx="600">
                  <c:v>91.2</c:v>
                </c:pt>
                <c:pt idx="601">
                  <c:v>105.2</c:v>
                </c:pt>
                <c:pt idx="602">
                  <c:v>137.30000000000001</c:v>
                </c:pt>
                <c:pt idx="603">
                  <c:v>98.5</c:v>
                </c:pt>
                <c:pt idx="604">
                  <c:v>78.3</c:v>
                </c:pt>
                <c:pt idx="605">
                  <c:v>86.746773629309203</c:v>
                </c:pt>
                <c:pt idx="606">
                  <c:v>112.2</c:v>
                </c:pt>
                <c:pt idx="607">
                  <c:v>116.4</c:v>
                </c:pt>
                <c:pt idx="608">
                  <c:v>96.008232364028004</c:v>
                </c:pt>
                <c:pt idx="609">
                  <c:v>130.1</c:v>
                </c:pt>
                <c:pt idx="610">
                  <c:v>97.5</c:v>
                </c:pt>
                <c:pt idx="611">
                  <c:v>95.3</c:v>
                </c:pt>
                <c:pt idx="612">
                  <c:v>112.2</c:v>
                </c:pt>
                <c:pt idx="613">
                  <c:v>99</c:v>
                </c:pt>
                <c:pt idx="614">
                  <c:v>111.7</c:v>
                </c:pt>
                <c:pt idx="615">
                  <c:v>95.7</c:v>
                </c:pt>
                <c:pt idx="616">
                  <c:v>96.6</c:v>
                </c:pt>
                <c:pt idx="617">
                  <c:v>145.19999999999999</c:v>
                </c:pt>
                <c:pt idx="618">
                  <c:v>88.723992689633903</c:v>
                </c:pt>
                <c:pt idx="619">
                  <c:v>127.2</c:v>
                </c:pt>
                <c:pt idx="620">
                  <c:v>102.1</c:v>
                </c:pt>
                <c:pt idx="621">
                  <c:v>92.662688551258597</c:v>
                </c:pt>
                <c:pt idx="622">
                  <c:v>93.581109003573999</c:v>
                </c:pt>
                <c:pt idx="623">
                  <c:v>78.3</c:v>
                </c:pt>
                <c:pt idx="624">
                  <c:v>92.069453615333401</c:v>
                </c:pt>
                <c:pt idx="625">
                  <c:v>116.5</c:v>
                </c:pt>
                <c:pt idx="626">
                  <c:v>92.7845841817511</c:v>
                </c:pt>
                <c:pt idx="627">
                  <c:v>101.2</c:v>
                </c:pt>
                <c:pt idx="628">
                  <c:v>139</c:v>
                </c:pt>
                <c:pt idx="629">
                  <c:v>103.8</c:v>
                </c:pt>
                <c:pt idx="630">
                  <c:v>92.5</c:v>
                </c:pt>
                <c:pt idx="631">
                  <c:v>98.982872549999996</c:v>
                </c:pt>
                <c:pt idx="632">
                  <c:v>104.76038245781299</c:v>
                </c:pt>
                <c:pt idx="633">
                  <c:v>82</c:v>
                </c:pt>
                <c:pt idx="634">
                  <c:v>97.998271147334293</c:v>
                </c:pt>
                <c:pt idx="635">
                  <c:v>96.6</c:v>
                </c:pt>
                <c:pt idx="636">
                  <c:v>94.285295460365802</c:v>
                </c:pt>
                <c:pt idx="637">
                  <c:v>102.58961580418099</c:v>
                </c:pt>
                <c:pt idx="638">
                  <c:v>102.1</c:v>
                </c:pt>
                <c:pt idx="639">
                  <c:v>92.493112296034894</c:v>
                </c:pt>
                <c:pt idx="640">
                  <c:v>95.1</c:v>
                </c:pt>
                <c:pt idx="641">
                  <c:v>124.7</c:v>
                </c:pt>
                <c:pt idx="642">
                  <c:v>107.30519373009101</c:v>
                </c:pt>
                <c:pt idx="643">
                  <c:v>171.9</c:v>
                </c:pt>
                <c:pt idx="644">
                  <c:v>107.7</c:v>
                </c:pt>
                <c:pt idx="645">
                  <c:v>89.3</c:v>
                </c:pt>
                <c:pt idx="646">
                  <c:v>98.174067128477901</c:v>
                </c:pt>
                <c:pt idx="647">
                  <c:v>101.204039889553</c:v>
                </c:pt>
                <c:pt idx="648">
                  <c:v>87.7</c:v>
                </c:pt>
                <c:pt idx="649">
                  <c:v>96.1</c:v>
                </c:pt>
                <c:pt idx="650">
                  <c:v>83.357948121323304</c:v>
                </c:pt>
                <c:pt idx="651">
                  <c:v>91.8</c:v>
                </c:pt>
                <c:pt idx="652">
                  <c:v>88.841827892528201</c:v>
                </c:pt>
                <c:pt idx="653">
                  <c:v>87.559190139999998</c:v>
                </c:pt>
                <c:pt idx="654">
                  <c:v>98.168081107308794</c:v>
                </c:pt>
                <c:pt idx="655">
                  <c:v>101.5</c:v>
                </c:pt>
                <c:pt idx="656">
                  <c:v>116.3</c:v>
                </c:pt>
                <c:pt idx="657">
                  <c:v>130.30000000000001</c:v>
                </c:pt>
                <c:pt idx="658">
                  <c:v>85.1</c:v>
                </c:pt>
                <c:pt idx="659">
                  <c:v>94.6</c:v>
                </c:pt>
                <c:pt idx="660">
                  <c:v>139.19999999999999</c:v>
                </c:pt>
                <c:pt idx="661">
                  <c:v>121.6</c:v>
                </c:pt>
                <c:pt idx="662">
                  <c:v>87.3</c:v>
                </c:pt>
                <c:pt idx="663">
                  <c:v>95.666702785017705</c:v>
                </c:pt>
                <c:pt idx="664">
                  <c:v>93.4</c:v>
                </c:pt>
                <c:pt idx="665">
                  <c:v>129.69999999999999</c:v>
                </c:pt>
                <c:pt idx="666">
                  <c:v>95.4</c:v>
                </c:pt>
                <c:pt idx="667">
                  <c:v>94</c:v>
                </c:pt>
                <c:pt idx="668">
                  <c:v>98.668630528915898</c:v>
                </c:pt>
                <c:pt idx="669">
                  <c:v>101.8</c:v>
                </c:pt>
                <c:pt idx="670">
                  <c:v>97.266636740242902</c:v>
                </c:pt>
                <c:pt idx="671">
                  <c:v>96.184986648532899</c:v>
                </c:pt>
                <c:pt idx="672">
                  <c:v>104.978678776083</c:v>
                </c:pt>
                <c:pt idx="673">
                  <c:v>100</c:v>
                </c:pt>
                <c:pt idx="674">
                  <c:v>111.4</c:v>
                </c:pt>
                <c:pt idx="675">
                  <c:v>95.760242027683603</c:v>
                </c:pt>
                <c:pt idx="676">
                  <c:v>97.4</c:v>
                </c:pt>
                <c:pt idx="677">
                  <c:v>104.3</c:v>
                </c:pt>
                <c:pt idx="678">
                  <c:v>93.9</c:v>
                </c:pt>
                <c:pt idx="679">
                  <c:v>94.7</c:v>
                </c:pt>
                <c:pt idx="680">
                  <c:v>91</c:v>
                </c:pt>
                <c:pt idx="681">
                  <c:v>89.2</c:v>
                </c:pt>
                <c:pt idx="682">
                  <c:v>92.7</c:v>
                </c:pt>
                <c:pt idx="683">
                  <c:v>93.799768650000004</c:v>
                </c:pt>
                <c:pt idx="684">
                  <c:v>99.7</c:v>
                </c:pt>
                <c:pt idx="685">
                  <c:v>104.60495142588501</c:v>
                </c:pt>
                <c:pt idx="686">
                  <c:v>96.24460225</c:v>
                </c:pt>
                <c:pt idx="687">
                  <c:v>103.06914542941099</c:v>
                </c:pt>
                <c:pt idx="688">
                  <c:v>89.8</c:v>
                </c:pt>
                <c:pt idx="689">
                  <c:v>116.4</c:v>
                </c:pt>
                <c:pt idx="690">
                  <c:v>101.8</c:v>
                </c:pt>
                <c:pt idx="691">
                  <c:v>148.9</c:v>
                </c:pt>
                <c:pt idx="692">
                  <c:v>114.5</c:v>
                </c:pt>
                <c:pt idx="693">
                  <c:v>85.7</c:v>
                </c:pt>
                <c:pt idx="694">
                  <c:v>101.1</c:v>
                </c:pt>
                <c:pt idx="695">
                  <c:v>80.8</c:v>
                </c:pt>
                <c:pt idx="696">
                  <c:v>94.381872312312396</c:v>
                </c:pt>
                <c:pt idx="697">
                  <c:v>108.9</c:v>
                </c:pt>
                <c:pt idx="698">
                  <c:v>97.956906574961096</c:v>
                </c:pt>
                <c:pt idx="699">
                  <c:v>108.3</c:v>
                </c:pt>
                <c:pt idx="700">
                  <c:v>99.666010894769698</c:v>
                </c:pt>
                <c:pt idx="701">
                  <c:v>121.1</c:v>
                </c:pt>
                <c:pt idx="702">
                  <c:v>87.8</c:v>
                </c:pt>
                <c:pt idx="703">
                  <c:v>80.900000000000006</c:v>
                </c:pt>
                <c:pt idx="704">
                  <c:v>154.69999999999999</c:v>
                </c:pt>
                <c:pt idx="705">
                  <c:v>118.145889086937</c:v>
                </c:pt>
                <c:pt idx="706">
                  <c:v>85.3</c:v>
                </c:pt>
                <c:pt idx="707">
                  <c:v>106.7</c:v>
                </c:pt>
                <c:pt idx="708">
                  <c:v>89.431764918789298</c:v>
                </c:pt>
                <c:pt idx="709">
                  <c:v>102.917060856584</c:v>
                </c:pt>
                <c:pt idx="710">
                  <c:v>117.9</c:v>
                </c:pt>
                <c:pt idx="711">
                  <c:v>97.597597567791993</c:v>
                </c:pt>
                <c:pt idx="712">
                  <c:v>99.652836127106895</c:v>
                </c:pt>
                <c:pt idx="713">
                  <c:v>91.547057832047301</c:v>
                </c:pt>
                <c:pt idx="714">
                  <c:v>93</c:v>
                </c:pt>
                <c:pt idx="715">
                  <c:v>95.3</c:v>
                </c:pt>
                <c:pt idx="716">
                  <c:v>91.8</c:v>
                </c:pt>
                <c:pt idx="717">
                  <c:v>104.8</c:v>
                </c:pt>
                <c:pt idx="718">
                  <c:v>89.825697770000005</c:v>
                </c:pt>
                <c:pt idx="719">
                  <c:v>103.2</c:v>
                </c:pt>
                <c:pt idx="720">
                  <c:v>100.957053455996</c:v>
                </c:pt>
                <c:pt idx="721">
                  <c:v>88.8</c:v>
                </c:pt>
                <c:pt idx="722">
                  <c:v>112.3</c:v>
                </c:pt>
                <c:pt idx="723">
                  <c:v>143.80000000000001</c:v>
                </c:pt>
                <c:pt idx="724">
                  <c:v>94</c:v>
                </c:pt>
                <c:pt idx="725">
                  <c:v>101.3503666</c:v>
                </c:pt>
                <c:pt idx="726">
                  <c:v>107.3</c:v>
                </c:pt>
                <c:pt idx="727">
                  <c:v>94.293849352214494</c:v>
                </c:pt>
                <c:pt idx="728">
                  <c:v>95.273468577268105</c:v>
                </c:pt>
                <c:pt idx="729">
                  <c:v>102.79220222230499</c:v>
                </c:pt>
                <c:pt idx="730">
                  <c:v>88.9</c:v>
                </c:pt>
                <c:pt idx="731">
                  <c:v>104.5</c:v>
                </c:pt>
                <c:pt idx="732">
                  <c:v>120.713362992981</c:v>
                </c:pt>
                <c:pt idx="733">
                  <c:v>100.6</c:v>
                </c:pt>
                <c:pt idx="734">
                  <c:v>88.5</c:v>
                </c:pt>
                <c:pt idx="735">
                  <c:v>110.6</c:v>
                </c:pt>
                <c:pt idx="736">
                  <c:v>90.9</c:v>
                </c:pt>
                <c:pt idx="737">
                  <c:v>101.1</c:v>
                </c:pt>
                <c:pt idx="738">
                  <c:v>94.4</c:v>
                </c:pt>
                <c:pt idx="739">
                  <c:v>95.241035189855495</c:v>
                </c:pt>
                <c:pt idx="740">
                  <c:v>94.658082056351901</c:v>
                </c:pt>
                <c:pt idx="741">
                  <c:v>96.6</c:v>
                </c:pt>
                <c:pt idx="742">
                  <c:v>102.7</c:v>
                </c:pt>
                <c:pt idx="743">
                  <c:v>94.749964167425205</c:v>
                </c:pt>
                <c:pt idx="744">
                  <c:v>81.3</c:v>
                </c:pt>
                <c:pt idx="745">
                  <c:v>89.5</c:v>
                </c:pt>
                <c:pt idx="746">
                  <c:v>87.3</c:v>
                </c:pt>
                <c:pt idx="747">
                  <c:v>93.982904860000005</c:v>
                </c:pt>
                <c:pt idx="748">
                  <c:v>96</c:v>
                </c:pt>
                <c:pt idx="749">
                  <c:v>101.299999999999</c:v>
                </c:pt>
                <c:pt idx="750">
                  <c:v>118.069132599396</c:v>
                </c:pt>
                <c:pt idx="751">
                  <c:v>117</c:v>
                </c:pt>
                <c:pt idx="752">
                  <c:v>87</c:v>
                </c:pt>
                <c:pt idx="753">
                  <c:v>98.1</c:v>
                </c:pt>
                <c:pt idx="754">
                  <c:v>102.9</c:v>
                </c:pt>
                <c:pt idx="755">
                  <c:v>96.7</c:v>
                </c:pt>
                <c:pt idx="756">
                  <c:v>97.813690667322803</c:v>
                </c:pt>
                <c:pt idx="757">
                  <c:v>93.516807562250193</c:v>
                </c:pt>
                <c:pt idx="758">
                  <c:v>110</c:v>
                </c:pt>
                <c:pt idx="759">
                  <c:v>97.8</c:v>
                </c:pt>
                <c:pt idx="760">
                  <c:v>92.7</c:v>
                </c:pt>
                <c:pt idx="761">
                  <c:v>102.225016288464</c:v>
                </c:pt>
                <c:pt idx="762">
                  <c:v>82.8</c:v>
                </c:pt>
                <c:pt idx="763">
                  <c:v>88.188388000000003</c:v>
                </c:pt>
                <c:pt idx="764">
                  <c:v>92.1</c:v>
                </c:pt>
                <c:pt idx="765">
                  <c:v>92.183142720000006</c:v>
                </c:pt>
                <c:pt idx="766">
                  <c:v>88.456199823865006</c:v>
                </c:pt>
                <c:pt idx="767">
                  <c:v>97.8</c:v>
                </c:pt>
                <c:pt idx="768">
                  <c:v>100.239763916957</c:v>
                </c:pt>
                <c:pt idx="769">
                  <c:v>101.2</c:v>
                </c:pt>
                <c:pt idx="770">
                  <c:v>95.347224644999301</c:v>
                </c:pt>
                <c:pt idx="771">
                  <c:v>90.7</c:v>
                </c:pt>
                <c:pt idx="772">
                  <c:v>97.315466926070002</c:v>
                </c:pt>
                <c:pt idx="773">
                  <c:v>98.732285594714895</c:v>
                </c:pt>
                <c:pt idx="774">
                  <c:v>128.80000000000001</c:v>
                </c:pt>
                <c:pt idx="775">
                  <c:v>97.231428488021805</c:v>
                </c:pt>
                <c:pt idx="776">
                  <c:v>96</c:v>
                </c:pt>
                <c:pt idx="777">
                  <c:v>100</c:v>
                </c:pt>
                <c:pt idx="778">
                  <c:v>95.725897055981406</c:v>
                </c:pt>
                <c:pt idx="779">
                  <c:v>95.885983998237293</c:v>
                </c:pt>
                <c:pt idx="780">
                  <c:v>91.4</c:v>
                </c:pt>
                <c:pt idx="781">
                  <c:v>103.4</c:v>
                </c:pt>
                <c:pt idx="782">
                  <c:v>96.709373499999998</c:v>
                </c:pt>
                <c:pt idx="783">
                  <c:v>89.4</c:v>
                </c:pt>
                <c:pt idx="784">
                  <c:v>82.145186658230102</c:v>
                </c:pt>
                <c:pt idx="785">
                  <c:v>89.710677187375097</c:v>
                </c:pt>
                <c:pt idx="786">
                  <c:v>92.8</c:v>
                </c:pt>
                <c:pt idx="787">
                  <c:v>107.8</c:v>
                </c:pt>
                <c:pt idx="788">
                  <c:v>93.1</c:v>
                </c:pt>
                <c:pt idx="789">
                  <c:v>94.117790750010201</c:v>
                </c:pt>
                <c:pt idx="790">
                  <c:v>96.491936301358606</c:v>
                </c:pt>
                <c:pt idx="791">
                  <c:v>96.5</c:v>
                </c:pt>
                <c:pt idx="792">
                  <c:v>93.9661008933424</c:v>
                </c:pt>
                <c:pt idx="793">
                  <c:v>99.483891342706499</c:v>
                </c:pt>
                <c:pt idx="794">
                  <c:v>92</c:v>
                </c:pt>
                <c:pt idx="795">
                  <c:v>92.464326944842597</c:v>
                </c:pt>
                <c:pt idx="796">
                  <c:v>93.7</c:v>
                </c:pt>
                <c:pt idx="797">
                  <c:v>95.027839775729106</c:v>
                </c:pt>
                <c:pt idx="798">
                  <c:v>93.543972577648603</c:v>
                </c:pt>
                <c:pt idx="799">
                  <c:v>90</c:v>
                </c:pt>
                <c:pt idx="800">
                  <c:v>89.808792580000002</c:v>
                </c:pt>
                <c:pt idx="801">
                  <c:v>97.3</c:v>
                </c:pt>
                <c:pt idx="802">
                  <c:v>95.666022017932093</c:v>
                </c:pt>
                <c:pt idx="803">
                  <c:v>111.2</c:v>
                </c:pt>
                <c:pt idx="804">
                  <c:v>97.492190012257794</c:v>
                </c:pt>
                <c:pt idx="805">
                  <c:v>77.599999999999994</c:v>
                </c:pt>
                <c:pt idx="806">
                  <c:v>89.869379430341795</c:v>
                </c:pt>
                <c:pt idx="807">
                  <c:v>98.278355876145696</c:v>
                </c:pt>
                <c:pt idx="808">
                  <c:v>93</c:v>
                </c:pt>
                <c:pt idx="809">
                  <c:v>86.8</c:v>
                </c:pt>
                <c:pt idx="810">
                  <c:v>106.8</c:v>
                </c:pt>
                <c:pt idx="811">
                  <c:v>86.622613396624402</c:v>
                </c:pt>
                <c:pt idx="812">
                  <c:v>113.1</c:v>
                </c:pt>
                <c:pt idx="813">
                  <c:v>88.083398564905394</c:v>
                </c:pt>
                <c:pt idx="814">
                  <c:v>113.7</c:v>
                </c:pt>
                <c:pt idx="815">
                  <c:v>106.4</c:v>
                </c:pt>
                <c:pt idx="816">
                  <c:v>90.478981843427803</c:v>
                </c:pt>
                <c:pt idx="817">
                  <c:v>89.691009930000007</c:v>
                </c:pt>
                <c:pt idx="818">
                  <c:v>94.483663778660599</c:v>
                </c:pt>
                <c:pt idx="819">
                  <c:v>89.5</c:v>
                </c:pt>
                <c:pt idx="820">
                  <c:v>98.3</c:v>
                </c:pt>
                <c:pt idx="821">
                  <c:v>92.7</c:v>
                </c:pt>
                <c:pt idx="822">
                  <c:v>98.8</c:v>
                </c:pt>
                <c:pt idx="823">
                  <c:v>95.309792372449706</c:v>
                </c:pt>
                <c:pt idx="824">
                  <c:v>143.4</c:v>
                </c:pt>
                <c:pt idx="825">
                  <c:v>107.6</c:v>
                </c:pt>
                <c:pt idx="826">
                  <c:v>97</c:v>
                </c:pt>
                <c:pt idx="827">
                  <c:v>89.6</c:v>
                </c:pt>
                <c:pt idx="828">
                  <c:v>92.8</c:v>
                </c:pt>
                <c:pt idx="829">
                  <c:v>92.782092550279899</c:v>
                </c:pt>
                <c:pt idx="830">
                  <c:v>98.556751579999997</c:v>
                </c:pt>
                <c:pt idx="831">
                  <c:v>98.7</c:v>
                </c:pt>
                <c:pt idx="832">
                  <c:v>112.3</c:v>
                </c:pt>
                <c:pt idx="833">
                  <c:v>89.829009602981202</c:v>
                </c:pt>
                <c:pt idx="834">
                  <c:v>98.358463226605096</c:v>
                </c:pt>
                <c:pt idx="835">
                  <c:v>97.1</c:v>
                </c:pt>
                <c:pt idx="836">
                  <c:v>98.1</c:v>
                </c:pt>
                <c:pt idx="837">
                  <c:v>86.657284122562601</c:v>
                </c:pt>
                <c:pt idx="838">
                  <c:v>105.5</c:v>
                </c:pt>
                <c:pt idx="839">
                  <c:v>99.952298428473895</c:v>
                </c:pt>
                <c:pt idx="840">
                  <c:v>90.471025879875199</c:v>
                </c:pt>
                <c:pt idx="841">
                  <c:v>86.6</c:v>
                </c:pt>
                <c:pt idx="842">
                  <c:v>95.909552017116496</c:v>
                </c:pt>
                <c:pt idx="843">
                  <c:v>94.6</c:v>
                </c:pt>
                <c:pt idx="844">
                  <c:v>90.366068146393502</c:v>
                </c:pt>
                <c:pt idx="845">
                  <c:v>89.4</c:v>
                </c:pt>
                <c:pt idx="846">
                  <c:v>97.7</c:v>
                </c:pt>
                <c:pt idx="847">
                  <c:v>86.4</c:v>
                </c:pt>
                <c:pt idx="848">
                  <c:v>116.5</c:v>
                </c:pt>
                <c:pt idx="849">
                  <c:v>95.7</c:v>
                </c:pt>
                <c:pt idx="850">
                  <c:v>99.9</c:v>
                </c:pt>
                <c:pt idx="851">
                  <c:v>107.4</c:v>
                </c:pt>
                <c:pt idx="852">
                  <c:v>96.7</c:v>
                </c:pt>
                <c:pt idx="853">
                  <c:v>97.2</c:v>
                </c:pt>
                <c:pt idx="854">
                  <c:v>89.6</c:v>
                </c:pt>
                <c:pt idx="855">
                  <c:v>89.599999999999895</c:v>
                </c:pt>
                <c:pt idx="856">
                  <c:v>95.6</c:v>
                </c:pt>
                <c:pt idx="857">
                  <c:v>94.7</c:v>
                </c:pt>
                <c:pt idx="858">
                  <c:v>97.437685180047694</c:v>
                </c:pt>
                <c:pt idx="859">
                  <c:v>91.568213009999994</c:v>
                </c:pt>
                <c:pt idx="860">
                  <c:v>95.5</c:v>
                </c:pt>
                <c:pt idx="861">
                  <c:v>96.264265872013695</c:v>
                </c:pt>
                <c:pt idx="862">
                  <c:v>97.9</c:v>
                </c:pt>
                <c:pt idx="863">
                  <c:v>92.5</c:v>
                </c:pt>
                <c:pt idx="864">
                  <c:v>102.26361456433</c:v>
                </c:pt>
                <c:pt idx="865">
                  <c:v>97.7</c:v>
                </c:pt>
                <c:pt idx="866">
                  <c:v>92.028352859181496</c:v>
                </c:pt>
                <c:pt idx="867">
                  <c:v>99.987297285088303</c:v>
                </c:pt>
                <c:pt idx="868">
                  <c:v>100</c:v>
                </c:pt>
                <c:pt idx="869">
                  <c:v>101.2</c:v>
                </c:pt>
                <c:pt idx="870">
                  <c:v>91.7</c:v>
                </c:pt>
                <c:pt idx="871">
                  <c:v>99.5</c:v>
                </c:pt>
                <c:pt idx="872">
                  <c:v>90.4</c:v>
                </c:pt>
                <c:pt idx="873">
                  <c:v>97.1</c:v>
                </c:pt>
                <c:pt idx="874">
                  <c:v>84.5</c:v>
                </c:pt>
                <c:pt idx="875">
                  <c:v>92.944396838213805</c:v>
                </c:pt>
                <c:pt idx="876">
                  <c:v>89.760972782257994</c:v>
                </c:pt>
                <c:pt idx="877">
                  <c:v>94.172815501320301</c:v>
                </c:pt>
                <c:pt idx="878">
                  <c:v>94.3</c:v>
                </c:pt>
                <c:pt idx="879">
                  <c:v>99</c:v>
                </c:pt>
                <c:pt idx="880">
                  <c:v>91.653639679999998</c:v>
                </c:pt>
                <c:pt idx="881">
                  <c:v>99.335239389999998</c:v>
                </c:pt>
                <c:pt idx="882">
                  <c:v>105.6</c:v>
                </c:pt>
                <c:pt idx="883">
                  <c:v>97.6</c:v>
                </c:pt>
                <c:pt idx="884">
                  <c:v>91.8</c:v>
                </c:pt>
                <c:pt idx="885">
                  <c:v>100.34999687128401</c:v>
                </c:pt>
                <c:pt idx="886">
                  <c:v>102</c:v>
                </c:pt>
                <c:pt idx="887">
                  <c:v>99.7</c:v>
                </c:pt>
                <c:pt idx="888">
                  <c:v>104.2</c:v>
                </c:pt>
                <c:pt idx="889">
                  <c:v>87.076789278585593</c:v>
                </c:pt>
                <c:pt idx="890">
                  <c:v>94.550612174512807</c:v>
                </c:pt>
                <c:pt idx="891">
                  <c:v>94.405768729026207</c:v>
                </c:pt>
                <c:pt idx="892">
                  <c:v>107.9</c:v>
                </c:pt>
                <c:pt idx="893">
                  <c:v>89.4</c:v>
                </c:pt>
                <c:pt idx="894">
                  <c:v>90.957985219999998</c:v>
                </c:pt>
                <c:pt idx="895">
                  <c:v>92.8</c:v>
                </c:pt>
                <c:pt idx="896">
                  <c:v>89.6</c:v>
                </c:pt>
                <c:pt idx="897">
                  <c:v>86.3</c:v>
                </c:pt>
                <c:pt idx="898">
                  <c:v>87.7</c:v>
                </c:pt>
                <c:pt idx="899">
                  <c:v>104.7</c:v>
                </c:pt>
                <c:pt idx="900">
                  <c:v>101.7</c:v>
                </c:pt>
                <c:pt idx="901">
                  <c:v>82.5</c:v>
                </c:pt>
                <c:pt idx="902">
                  <c:v>96.622359939999996</c:v>
                </c:pt>
                <c:pt idx="903">
                  <c:v>91.5</c:v>
                </c:pt>
                <c:pt idx="904">
                  <c:v>104.6</c:v>
                </c:pt>
                <c:pt idx="905">
                  <c:v>139.1</c:v>
                </c:pt>
                <c:pt idx="906">
                  <c:v>93.7</c:v>
                </c:pt>
                <c:pt idx="907">
                  <c:v>94.7</c:v>
                </c:pt>
                <c:pt idx="908">
                  <c:v>71.099999999999994</c:v>
                </c:pt>
                <c:pt idx="909">
                  <c:v>101.7</c:v>
                </c:pt>
                <c:pt idx="910">
                  <c:v>97.423360605690505</c:v>
                </c:pt>
                <c:pt idx="911">
                  <c:v>125.6</c:v>
                </c:pt>
                <c:pt idx="912">
                  <c:v>95.1</c:v>
                </c:pt>
                <c:pt idx="913">
                  <c:v>86.5</c:v>
                </c:pt>
                <c:pt idx="914">
                  <c:v>96.3</c:v>
                </c:pt>
                <c:pt idx="915">
                  <c:v>93.475594758688999</c:v>
                </c:pt>
                <c:pt idx="916">
                  <c:v>97</c:v>
                </c:pt>
                <c:pt idx="917">
                  <c:v>76.900000000000006</c:v>
                </c:pt>
                <c:pt idx="918">
                  <c:v>90.6</c:v>
                </c:pt>
                <c:pt idx="919">
                  <c:v>78.400000000000006</c:v>
                </c:pt>
                <c:pt idx="920">
                  <c:v>104.5</c:v>
                </c:pt>
                <c:pt idx="921">
                  <c:v>90.5</c:v>
                </c:pt>
                <c:pt idx="922">
                  <c:v>88.1</c:v>
                </c:pt>
                <c:pt idx="923">
                  <c:v>98.8</c:v>
                </c:pt>
                <c:pt idx="924">
                  <c:v>104</c:v>
                </c:pt>
                <c:pt idx="925">
                  <c:v>92</c:v>
                </c:pt>
                <c:pt idx="926">
                  <c:v>92.4</c:v>
                </c:pt>
                <c:pt idx="927">
                  <c:v>119.099999999999</c:v>
                </c:pt>
                <c:pt idx="928">
                  <c:v>98.3</c:v>
                </c:pt>
                <c:pt idx="929">
                  <c:v>106.6</c:v>
                </c:pt>
                <c:pt idx="930">
                  <c:v>99.805346493933698</c:v>
                </c:pt>
                <c:pt idx="931">
                  <c:v>92.6</c:v>
                </c:pt>
                <c:pt idx="932">
                  <c:v>90.368069643620501</c:v>
                </c:pt>
                <c:pt idx="933">
                  <c:v>101.9</c:v>
                </c:pt>
                <c:pt idx="934">
                  <c:v>92.6</c:v>
                </c:pt>
                <c:pt idx="935">
                  <c:v>92.800498779999998</c:v>
                </c:pt>
                <c:pt idx="936">
                  <c:v>105.3</c:v>
                </c:pt>
                <c:pt idx="937">
                  <c:v>97.8</c:v>
                </c:pt>
                <c:pt idx="938">
                  <c:v>96.904766190000004</c:v>
                </c:pt>
                <c:pt idx="939">
                  <c:v>103.4</c:v>
                </c:pt>
                <c:pt idx="940">
                  <c:v>102.7</c:v>
                </c:pt>
                <c:pt idx="941">
                  <c:v>88.4</c:v>
                </c:pt>
                <c:pt idx="942">
                  <c:v>81.636866181551397</c:v>
                </c:pt>
                <c:pt idx="943">
                  <c:v>96.4</c:v>
                </c:pt>
                <c:pt idx="944">
                  <c:v>93.8</c:v>
                </c:pt>
                <c:pt idx="945">
                  <c:v>116.799999999999</c:v>
                </c:pt>
                <c:pt idx="946">
                  <c:v>96.6</c:v>
                </c:pt>
                <c:pt idx="947">
                  <c:v>90.6</c:v>
                </c:pt>
                <c:pt idx="948">
                  <c:v>89.690139661231598</c:v>
                </c:pt>
                <c:pt idx="949">
                  <c:v>90.4</c:v>
                </c:pt>
                <c:pt idx="950">
                  <c:v>77.400000000000006</c:v>
                </c:pt>
                <c:pt idx="951">
                  <c:v>97.948308022627302</c:v>
                </c:pt>
                <c:pt idx="952">
                  <c:v>83.5</c:v>
                </c:pt>
                <c:pt idx="953">
                  <c:v>174.516765285996</c:v>
                </c:pt>
                <c:pt idx="954">
                  <c:v>92.007107280765496</c:v>
                </c:pt>
                <c:pt idx="955">
                  <c:v>95.6</c:v>
                </c:pt>
                <c:pt idx="956">
                  <c:v>106.799999999999</c:v>
                </c:pt>
                <c:pt idx="957">
                  <c:v>104.8</c:v>
                </c:pt>
                <c:pt idx="958">
                  <c:v>102.4</c:v>
                </c:pt>
                <c:pt idx="959">
                  <c:v>93.7</c:v>
                </c:pt>
                <c:pt idx="960">
                  <c:v>88.4</c:v>
                </c:pt>
                <c:pt idx="961">
                  <c:v>92.8</c:v>
                </c:pt>
                <c:pt idx="962">
                  <c:v>99</c:v>
                </c:pt>
                <c:pt idx="963">
                  <c:v>82.5</c:v>
                </c:pt>
                <c:pt idx="964">
                  <c:v>102.1</c:v>
                </c:pt>
                <c:pt idx="965">
                  <c:v>98.8</c:v>
                </c:pt>
                <c:pt idx="966">
                  <c:v>93.597675150000001</c:v>
                </c:pt>
                <c:pt idx="967">
                  <c:v>105.480795878943</c:v>
                </c:pt>
                <c:pt idx="968">
                  <c:v>86.7</c:v>
                </c:pt>
                <c:pt idx="969">
                  <c:v>81</c:v>
                </c:pt>
                <c:pt idx="970">
                  <c:v>89.9</c:v>
                </c:pt>
                <c:pt idx="971">
                  <c:v>93.8</c:v>
                </c:pt>
                <c:pt idx="972">
                  <c:v>86.6</c:v>
                </c:pt>
                <c:pt idx="973">
                  <c:v>90</c:v>
                </c:pt>
                <c:pt idx="974">
                  <c:v>94.4</c:v>
                </c:pt>
                <c:pt idx="975">
                  <c:v>95.9</c:v>
                </c:pt>
                <c:pt idx="976">
                  <c:v>111.1</c:v>
                </c:pt>
                <c:pt idx="977">
                  <c:v>93.2</c:v>
                </c:pt>
                <c:pt idx="978">
                  <c:v>88</c:v>
                </c:pt>
                <c:pt idx="979">
                  <c:v>201.1</c:v>
                </c:pt>
                <c:pt idx="980">
                  <c:v>108</c:v>
                </c:pt>
                <c:pt idx="981">
                  <c:v>96.2</c:v>
                </c:pt>
                <c:pt idx="982">
                  <c:v>98.2</c:v>
                </c:pt>
                <c:pt idx="983">
                  <c:v>101.1</c:v>
                </c:pt>
                <c:pt idx="984">
                  <c:v>109.6</c:v>
                </c:pt>
                <c:pt idx="985">
                  <c:v>101</c:v>
                </c:pt>
                <c:pt idx="986">
                  <c:v>94.828484548825699</c:v>
                </c:pt>
                <c:pt idx="987">
                  <c:v>91.1</c:v>
                </c:pt>
                <c:pt idx="988">
                  <c:v>94.008274562016297</c:v>
                </c:pt>
                <c:pt idx="989">
                  <c:v>92.3</c:v>
                </c:pt>
                <c:pt idx="990">
                  <c:v>97.190691917075199</c:v>
                </c:pt>
                <c:pt idx="991">
                  <c:v>117.3</c:v>
                </c:pt>
                <c:pt idx="992">
                  <c:v>100</c:v>
                </c:pt>
                <c:pt idx="993">
                  <c:v>89.8</c:v>
                </c:pt>
                <c:pt idx="994">
                  <c:v>89.7</c:v>
                </c:pt>
                <c:pt idx="995">
                  <c:v>93.810562579999996</c:v>
                </c:pt>
                <c:pt idx="996">
                  <c:v>95.2</c:v>
                </c:pt>
                <c:pt idx="997">
                  <c:v>102</c:v>
                </c:pt>
                <c:pt idx="998">
                  <c:v>96.594743870000002</c:v>
                </c:pt>
                <c:pt idx="999">
                  <c:v>88.710458149999994</c:v>
                </c:pt>
                <c:pt idx="1000">
                  <c:v>104.5</c:v>
                </c:pt>
                <c:pt idx="1001">
                  <c:v>97.019340119999995</c:v>
                </c:pt>
                <c:pt idx="1002">
                  <c:v>88.9</c:v>
                </c:pt>
                <c:pt idx="1003">
                  <c:v>90.186337421381197</c:v>
                </c:pt>
                <c:pt idx="1004">
                  <c:v>94.2</c:v>
                </c:pt>
                <c:pt idx="1005">
                  <c:v>101.3</c:v>
                </c:pt>
                <c:pt idx="1006">
                  <c:v>93</c:v>
                </c:pt>
                <c:pt idx="1007">
                  <c:v>87.9</c:v>
                </c:pt>
                <c:pt idx="1008">
                  <c:v>84.2</c:v>
                </c:pt>
                <c:pt idx="1009">
                  <c:v>102</c:v>
                </c:pt>
                <c:pt idx="1010">
                  <c:v>92.9</c:v>
                </c:pt>
                <c:pt idx="1011">
                  <c:v>88.462586813122897</c:v>
                </c:pt>
                <c:pt idx="1012">
                  <c:v>83.7</c:v>
                </c:pt>
                <c:pt idx="1013">
                  <c:v>96.506387487927796</c:v>
                </c:pt>
                <c:pt idx="1014">
                  <c:v>90.8</c:v>
                </c:pt>
                <c:pt idx="1015">
                  <c:v>100.8</c:v>
                </c:pt>
                <c:pt idx="1016">
                  <c:v>104.3</c:v>
                </c:pt>
                <c:pt idx="1017">
                  <c:v>98.7</c:v>
                </c:pt>
                <c:pt idx="1018">
                  <c:v>87.9</c:v>
                </c:pt>
                <c:pt idx="1019">
                  <c:v>94.099551545041805</c:v>
                </c:pt>
                <c:pt idx="1020">
                  <c:v>81.099999999999994</c:v>
                </c:pt>
                <c:pt idx="1021">
                  <c:v>104.4</c:v>
                </c:pt>
                <c:pt idx="1022">
                  <c:v>93</c:v>
                </c:pt>
                <c:pt idx="1023">
                  <c:v>93.874752339020304</c:v>
                </c:pt>
                <c:pt idx="1024">
                  <c:v>87.4</c:v>
                </c:pt>
                <c:pt idx="1025">
                  <c:v>99.631162245426495</c:v>
                </c:pt>
                <c:pt idx="1026">
                  <c:v>84.9</c:v>
                </c:pt>
                <c:pt idx="1027">
                  <c:v>100.5</c:v>
                </c:pt>
                <c:pt idx="1028">
                  <c:v>96.5</c:v>
                </c:pt>
                <c:pt idx="1029">
                  <c:v>92.753725773215393</c:v>
                </c:pt>
                <c:pt idx="1030">
                  <c:v>80.900000000000006</c:v>
                </c:pt>
                <c:pt idx="1031">
                  <c:v>98.6</c:v>
                </c:pt>
                <c:pt idx="1032">
                  <c:v>99.4</c:v>
                </c:pt>
                <c:pt idx="1033">
                  <c:v>97.3</c:v>
                </c:pt>
                <c:pt idx="1034">
                  <c:v>109.2</c:v>
                </c:pt>
                <c:pt idx="1035">
                  <c:v>95.599999999999895</c:v>
                </c:pt>
                <c:pt idx="1036">
                  <c:v>100.6</c:v>
                </c:pt>
                <c:pt idx="1037">
                  <c:v>88.9</c:v>
                </c:pt>
                <c:pt idx="1038">
                  <c:v>97.4</c:v>
                </c:pt>
                <c:pt idx="1039">
                  <c:v>104.4</c:v>
                </c:pt>
                <c:pt idx="1040">
                  <c:v>99.2</c:v>
                </c:pt>
                <c:pt idx="1041">
                  <c:v>95.2</c:v>
                </c:pt>
                <c:pt idx="1042">
                  <c:v>102.9</c:v>
                </c:pt>
                <c:pt idx="1043">
                  <c:v>97.7</c:v>
                </c:pt>
                <c:pt idx="1044">
                  <c:v>94.8</c:v>
                </c:pt>
                <c:pt idx="1045">
                  <c:v>99.7</c:v>
                </c:pt>
                <c:pt idx="1046">
                  <c:v>93.3</c:v>
                </c:pt>
                <c:pt idx="1047">
                  <c:v>98.2</c:v>
                </c:pt>
                <c:pt idx="1048">
                  <c:v>96.7</c:v>
                </c:pt>
                <c:pt idx="1049">
                  <c:v>106.2</c:v>
                </c:pt>
                <c:pt idx="1050">
                  <c:v>104.7</c:v>
                </c:pt>
                <c:pt idx="1051">
                  <c:v>110.5</c:v>
                </c:pt>
                <c:pt idx="1052">
                  <c:v>94.6</c:v>
                </c:pt>
                <c:pt idx="1053">
                  <c:v>106.6</c:v>
                </c:pt>
                <c:pt idx="1054">
                  <c:v>111.5</c:v>
                </c:pt>
                <c:pt idx="1055">
                  <c:v>95.9</c:v>
                </c:pt>
                <c:pt idx="1056">
                  <c:v>97.7</c:v>
                </c:pt>
                <c:pt idx="1057">
                  <c:v>98.1</c:v>
                </c:pt>
                <c:pt idx="1058">
                  <c:v>100.2</c:v>
                </c:pt>
                <c:pt idx="1059">
                  <c:v>104.4</c:v>
                </c:pt>
                <c:pt idx="1060">
                  <c:v>96.1</c:v>
                </c:pt>
                <c:pt idx="1061">
                  <c:v>105</c:v>
                </c:pt>
                <c:pt idx="1062">
                  <c:v>93.1</c:v>
                </c:pt>
                <c:pt idx="1063">
                  <c:v>108</c:v>
                </c:pt>
                <c:pt idx="1064">
                  <c:v>98.9</c:v>
                </c:pt>
                <c:pt idx="1065">
                  <c:v>95.9</c:v>
                </c:pt>
                <c:pt idx="1066">
                  <c:v>98.429756240392294</c:v>
                </c:pt>
                <c:pt idx="1067">
                  <c:v>99.900175075350504</c:v>
                </c:pt>
                <c:pt idx="1068">
                  <c:v>96.4</c:v>
                </c:pt>
                <c:pt idx="1069">
                  <c:v>99</c:v>
                </c:pt>
                <c:pt idx="1070">
                  <c:v>96</c:v>
                </c:pt>
                <c:pt idx="1071">
                  <c:v>102.1</c:v>
                </c:pt>
                <c:pt idx="1072">
                  <c:v>99.2</c:v>
                </c:pt>
                <c:pt idx="1073">
                  <c:v>95.365497360598297</c:v>
                </c:pt>
                <c:pt idx="1074">
                  <c:v>86.1</c:v>
                </c:pt>
                <c:pt idx="1075">
                  <c:v>92.5</c:v>
                </c:pt>
                <c:pt idx="1076">
                  <c:v>102.299999999999</c:v>
                </c:pt>
                <c:pt idx="1077">
                  <c:v>104.3</c:v>
                </c:pt>
                <c:pt idx="1078">
                  <c:v>100.4</c:v>
                </c:pt>
                <c:pt idx="1079">
                  <c:v>107.5</c:v>
                </c:pt>
                <c:pt idx="1080">
                  <c:v>92.4</c:v>
                </c:pt>
                <c:pt idx="1081">
                  <c:v>89.4</c:v>
                </c:pt>
                <c:pt idx="1082">
                  <c:v>98.464242200000001</c:v>
                </c:pt>
                <c:pt idx="1083">
                  <c:v>104.3</c:v>
                </c:pt>
                <c:pt idx="1084">
                  <c:v>96.149714799999998</c:v>
                </c:pt>
                <c:pt idx="1085">
                  <c:v>90.5</c:v>
                </c:pt>
                <c:pt idx="1086">
                  <c:v>91.2</c:v>
                </c:pt>
                <c:pt idx="1087">
                  <c:v>92.4</c:v>
                </c:pt>
                <c:pt idx="1088">
                  <c:v>100.5</c:v>
                </c:pt>
                <c:pt idx="1089">
                  <c:v>100.9</c:v>
                </c:pt>
                <c:pt idx="1090">
                  <c:v>94.6</c:v>
                </c:pt>
                <c:pt idx="1091">
                  <c:v>59</c:v>
                </c:pt>
                <c:pt idx="1092">
                  <c:v>110.2</c:v>
                </c:pt>
                <c:pt idx="1093">
                  <c:v>85.8</c:v>
                </c:pt>
                <c:pt idx="1094">
                  <c:v>90.8</c:v>
                </c:pt>
                <c:pt idx="1095">
                  <c:v>104.7</c:v>
                </c:pt>
                <c:pt idx="1096">
                  <c:v>95.8</c:v>
                </c:pt>
                <c:pt idx="1097">
                  <c:v>87.6</c:v>
                </c:pt>
                <c:pt idx="1098">
                  <c:v>120.3</c:v>
                </c:pt>
                <c:pt idx="1099">
                  <c:v>105.9</c:v>
                </c:pt>
                <c:pt idx="1100">
                  <c:v>95</c:v>
                </c:pt>
                <c:pt idx="1101">
                  <c:v>99.8</c:v>
                </c:pt>
                <c:pt idx="1102">
                  <c:v>102.4</c:v>
                </c:pt>
                <c:pt idx="1103">
                  <c:v>98.4</c:v>
                </c:pt>
                <c:pt idx="1104">
                  <c:v>98.6</c:v>
                </c:pt>
                <c:pt idx="1105">
                  <c:v>91.2</c:v>
                </c:pt>
                <c:pt idx="1106">
                  <c:v>101.299999999999</c:v>
                </c:pt>
                <c:pt idx="1107">
                  <c:v>89.7</c:v>
                </c:pt>
                <c:pt idx="1108">
                  <c:v>113.2</c:v>
                </c:pt>
                <c:pt idx="1109">
                  <c:v>106.707251715572</c:v>
                </c:pt>
                <c:pt idx="1110">
                  <c:v>91</c:v>
                </c:pt>
                <c:pt idx="1111">
                  <c:v>90.8</c:v>
                </c:pt>
                <c:pt idx="1112">
                  <c:v>83.9</c:v>
                </c:pt>
                <c:pt idx="1113">
                  <c:v>95.6</c:v>
                </c:pt>
                <c:pt idx="1114">
                  <c:v>215.7</c:v>
                </c:pt>
                <c:pt idx="1115">
                  <c:v>90.3</c:v>
                </c:pt>
                <c:pt idx="1116">
                  <c:v>95.1</c:v>
                </c:pt>
                <c:pt idx="1117">
                  <c:v>97.8</c:v>
                </c:pt>
                <c:pt idx="1118">
                  <c:v>96.4</c:v>
                </c:pt>
                <c:pt idx="1119">
                  <c:v>100.5</c:v>
                </c:pt>
                <c:pt idx="1120">
                  <c:v>106.6</c:v>
                </c:pt>
                <c:pt idx="1121">
                  <c:v>94.7</c:v>
                </c:pt>
                <c:pt idx="1122">
                  <c:v>99.1</c:v>
                </c:pt>
                <c:pt idx="1123">
                  <c:v>80.900000000000006</c:v>
                </c:pt>
                <c:pt idx="1124">
                  <c:v>93.4</c:v>
                </c:pt>
                <c:pt idx="1125">
                  <c:v>91.5</c:v>
                </c:pt>
                <c:pt idx="1126">
                  <c:v>92.9</c:v>
                </c:pt>
                <c:pt idx="1127">
                  <c:v>101.928332546692</c:v>
                </c:pt>
                <c:pt idx="1128">
                  <c:v>103.598988411395</c:v>
                </c:pt>
                <c:pt idx="1129">
                  <c:v>100.7</c:v>
                </c:pt>
                <c:pt idx="1130">
                  <c:v>90.692289892632303</c:v>
                </c:pt>
                <c:pt idx="1131">
                  <c:v>99.4</c:v>
                </c:pt>
                <c:pt idx="1132">
                  <c:v>97.3</c:v>
                </c:pt>
                <c:pt idx="1133">
                  <c:v>98.425880329897794</c:v>
                </c:pt>
                <c:pt idx="1134">
                  <c:v>119.7</c:v>
                </c:pt>
                <c:pt idx="1135">
                  <c:v>87</c:v>
                </c:pt>
                <c:pt idx="1136">
                  <c:v>94.900847240000004</c:v>
                </c:pt>
                <c:pt idx="1137">
                  <c:v>98.4</c:v>
                </c:pt>
                <c:pt idx="1138">
                  <c:v>101.2</c:v>
                </c:pt>
                <c:pt idx="1139">
                  <c:v>95.6</c:v>
                </c:pt>
                <c:pt idx="1140">
                  <c:v>99.1</c:v>
                </c:pt>
                <c:pt idx="1141">
                  <c:v>106.1</c:v>
                </c:pt>
                <c:pt idx="1142">
                  <c:v>88.145299669077005</c:v>
                </c:pt>
                <c:pt idx="1143">
                  <c:v>103.8</c:v>
                </c:pt>
                <c:pt idx="1144">
                  <c:v>95.3</c:v>
                </c:pt>
                <c:pt idx="1145">
                  <c:v>94.8</c:v>
                </c:pt>
                <c:pt idx="1146">
                  <c:v>117</c:v>
                </c:pt>
                <c:pt idx="1147">
                  <c:v>106.5</c:v>
                </c:pt>
                <c:pt idx="1148">
                  <c:v>104</c:v>
                </c:pt>
                <c:pt idx="1149">
                  <c:v>102.611246581952</c:v>
                </c:pt>
                <c:pt idx="1150">
                  <c:v>92.4</c:v>
                </c:pt>
                <c:pt idx="1151">
                  <c:v>96.5</c:v>
                </c:pt>
                <c:pt idx="1152">
                  <c:v>88.3</c:v>
                </c:pt>
                <c:pt idx="1153">
                  <c:v>109.2</c:v>
                </c:pt>
                <c:pt idx="1154">
                  <c:v>94.986325004792604</c:v>
                </c:pt>
                <c:pt idx="1155">
                  <c:v>88.4</c:v>
                </c:pt>
                <c:pt idx="1156">
                  <c:v>100.5</c:v>
                </c:pt>
                <c:pt idx="1157">
                  <c:v>101.5</c:v>
                </c:pt>
                <c:pt idx="1158">
                  <c:v>96.6</c:v>
                </c:pt>
                <c:pt idx="1159">
                  <c:v>93.5</c:v>
                </c:pt>
                <c:pt idx="1160">
                  <c:v>92.9</c:v>
                </c:pt>
                <c:pt idx="1161">
                  <c:v>88.3</c:v>
                </c:pt>
                <c:pt idx="1162">
                  <c:v>111.9</c:v>
                </c:pt>
                <c:pt idx="1163">
                  <c:v>81</c:v>
                </c:pt>
                <c:pt idx="1164">
                  <c:v>83.5</c:v>
                </c:pt>
                <c:pt idx="1165">
                  <c:v>96.9</c:v>
                </c:pt>
                <c:pt idx="1166">
                  <c:v>94.2</c:v>
                </c:pt>
                <c:pt idx="1167">
                  <c:v>98.1</c:v>
                </c:pt>
                <c:pt idx="1168">
                  <c:v>91.2</c:v>
                </c:pt>
                <c:pt idx="1169">
                  <c:v>98.5</c:v>
                </c:pt>
                <c:pt idx="1170">
                  <c:v>94.6</c:v>
                </c:pt>
                <c:pt idx="1171">
                  <c:v>99.6</c:v>
                </c:pt>
                <c:pt idx="1172">
                  <c:v>95.1</c:v>
                </c:pt>
                <c:pt idx="1173">
                  <c:v>116.4</c:v>
                </c:pt>
                <c:pt idx="1174">
                  <c:v>120.5</c:v>
                </c:pt>
                <c:pt idx="1175">
                  <c:v>97.4</c:v>
                </c:pt>
                <c:pt idx="1176">
                  <c:v>97.6</c:v>
                </c:pt>
                <c:pt idx="1177">
                  <c:v>91.8</c:v>
                </c:pt>
                <c:pt idx="1178">
                  <c:v>97.7</c:v>
                </c:pt>
                <c:pt idx="1179">
                  <c:v>87.9</c:v>
                </c:pt>
                <c:pt idx="1180">
                  <c:v>99.1</c:v>
                </c:pt>
                <c:pt idx="1181">
                  <c:v>92.76583454</c:v>
                </c:pt>
                <c:pt idx="1182">
                  <c:v>98</c:v>
                </c:pt>
                <c:pt idx="1183">
                  <c:v>99.5</c:v>
                </c:pt>
                <c:pt idx="1184">
                  <c:v>106.1</c:v>
                </c:pt>
                <c:pt idx="1185">
                  <c:v>128.69999999999999</c:v>
                </c:pt>
                <c:pt idx="1186">
                  <c:v>92</c:v>
                </c:pt>
                <c:pt idx="1187">
                  <c:v>86.1</c:v>
                </c:pt>
                <c:pt idx="1188">
                  <c:v>105.9</c:v>
                </c:pt>
                <c:pt idx="1189">
                  <c:v>92.1</c:v>
                </c:pt>
                <c:pt idx="1190">
                  <c:v>92.4</c:v>
                </c:pt>
                <c:pt idx="1191">
                  <c:v>98.2</c:v>
                </c:pt>
                <c:pt idx="1192">
                  <c:v>90</c:v>
                </c:pt>
                <c:pt idx="1193">
                  <c:v>98</c:v>
                </c:pt>
                <c:pt idx="1194">
                  <c:v>114.7</c:v>
                </c:pt>
                <c:pt idx="1195">
                  <c:v>74.400000000000006</c:v>
                </c:pt>
                <c:pt idx="1196">
                  <c:v>84.4</c:v>
                </c:pt>
                <c:pt idx="1197">
                  <c:v>107.9</c:v>
                </c:pt>
                <c:pt idx="1198">
                  <c:v>101.1</c:v>
                </c:pt>
                <c:pt idx="1199">
                  <c:v>96.1</c:v>
                </c:pt>
                <c:pt idx="1200">
                  <c:v>174.6</c:v>
                </c:pt>
                <c:pt idx="1201">
                  <c:v>103.1</c:v>
                </c:pt>
                <c:pt idx="1202">
                  <c:v>102.7</c:v>
                </c:pt>
                <c:pt idx="1203">
                  <c:v>99.383247988295494</c:v>
                </c:pt>
                <c:pt idx="1204">
                  <c:v>97.7</c:v>
                </c:pt>
                <c:pt idx="1205">
                  <c:v>93.5</c:v>
                </c:pt>
                <c:pt idx="1206">
                  <c:v>111.1</c:v>
                </c:pt>
                <c:pt idx="1207">
                  <c:v>94.8</c:v>
                </c:pt>
                <c:pt idx="1208">
                  <c:v>100.5</c:v>
                </c:pt>
                <c:pt idx="1209">
                  <c:v>96.1</c:v>
                </c:pt>
                <c:pt idx="1210">
                  <c:v>88.3</c:v>
                </c:pt>
                <c:pt idx="1211">
                  <c:v>101.4</c:v>
                </c:pt>
                <c:pt idx="1212">
                  <c:v>90</c:v>
                </c:pt>
                <c:pt idx="1213">
                  <c:v>124.4</c:v>
                </c:pt>
                <c:pt idx="1214">
                  <c:v>97.776818370187698</c:v>
                </c:pt>
                <c:pt idx="1215">
                  <c:v>95.8</c:v>
                </c:pt>
                <c:pt idx="1216">
                  <c:v>94</c:v>
                </c:pt>
                <c:pt idx="1217">
                  <c:v>96.2</c:v>
                </c:pt>
                <c:pt idx="1218">
                  <c:v>83.3</c:v>
                </c:pt>
                <c:pt idx="1219">
                  <c:v>95</c:v>
                </c:pt>
                <c:pt idx="1220">
                  <c:v>91.2</c:v>
                </c:pt>
                <c:pt idx="1221">
                  <c:v>91.9</c:v>
                </c:pt>
                <c:pt idx="1222">
                  <c:v>88.7</c:v>
                </c:pt>
                <c:pt idx="1223">
                  <c:v>95.7</c:v>
                </c:pt>
                <c:pt idx="1224">
                  <c:v>95.5</c:v>
                </c:pt>
                <c:pt idx="1225">
                  <c:v>103.2</c:v>
                </c:pt>
                <c:pt idx="1226">
                  <c:v>98.6</c:v>
                </c:pt>
                <c:pt idx="1227">
                  <c:v>89.7</c:v>
                </c:pt>
                <c:pt idx="1228">
                  <c:v>99.5</c:v>
                </c:pt>
                <c:pt idx="1229">
                  <c:v>102.4</c:v>
                </c:pt>
                <c:pt idx="1230">
                  <c:v>91.3</c:v>
                </c:pt>
                <c:pt idx="1231">
                  <c:v>101.2</c:v>
                </c:pt>
                <c:pt idx="1232">
                  <c:v>114.099999999999</c:v>
                </c:pt>
                <c:pt idx="1233">
                  <c:v>93.5</c:v>
                </c:pt>
                <c:pt idx="1234">
                  <c:v>99.1</c:v>
                </c:pt>
                <c:pt idx="1235">
                  <c:v>99.6</c:v>
                </c:pt>
                <c:pt idx="1236">
                  <c:v>96.8</c:v>
                </c:pt>
                <c:pt idx="1237">
                  <c:v>111.2</c:v>
                </c:pt>
                <c:pt idx="1238">
                  <c:v>96.8</c:v>
                </c:pt>
                <c:pt idx="1239">
                  <c:v>110.4</c:v>
                </c:pt>
                <c:pt idx="1240">
                  <c:v>94.7</c:v>
                </c:pt>
                <c:pt idx="1241">
                  <c:v>89.2</c:v>
                </c:pt>
                <c:pt idx="1242">
                  <c:v>99.299999999999898</c:v>
                </c:pt>
                <c:pt idx="1243">
                  <c:v>90.9</c:v>
                </c:pt>
                <c:pt idx="1244">
                  <c:v>86.8</c:v>
                </c:pt>
                <c:pt idx="1245">
                  <c:v>97.5</c:v>
                </c:pt>
                <c:pt idx="1246">
                  <c:v>108.4</c:v>
                </c:pt>
                <c:pt idx="1247">
                  <c:v>101.3</c:v>
                </c:pt>
                <c:pt idx="1248">
                  <c:v>98</c:v>
                </c:pt>
                <c:pt idx="1249">
                  <c:v>107.2</c:v>
                </c:pt>
                <c:pt idx="1250">
                  <c:v>91.7</c:v>
                </c:pt>
                <c:pt idx="1251">
                  <c:v>106.4</c:v>
                </c:pt>
                <c:pt idx="1252">
                  <c:v>98.2</c:v>
                </c:pt>
                <c:pt idx="1253">
                  <c:v>82.9</c:v>
                </c:pt>
                <c:pt idx="1254">
                  <c:v>99.1</c:v>
                </c:pt>
                <c:pt idx="1255">
                  <c:v>95.8</c:v>
                </c:pt>
                <c:pt idx="1256">
                  <c:v>108</c:v>
                </c:pt>
                <c:pt idx="1257">
                  <c:v>92.1</c:v>
                </c:pt>
                <c:pt idx="1258">
                  <c:v>101.841511897852</c:v>
                </c:pt>
                <c:pt idx="1259">
                  <c:v>104.9991196</c:v>
                </c:pt>
                <c:pt idx="1260">
                  <c:v>99.6</c:v>
                </c:pt>
                <c:pt idx="1261">
                  <c:v>97.799999999999898</c:v>
                </c:pt>
                <c:pt idx="1262">
                  <c:v>90</c:v>
                </c:pt>
                <c:pt idx="1263">
                  <c:v>106.4</c:v>
                </c:pt>
                <c:pt idx="1264">
                  <c:v>96.1</c:v>
                </c:pt>
                <c:pt idx="1265">
                  <c:v>96.4</c:v>
                </c:pt>
                <c:pt idx="1266">
                  <c:v>101</c:v>
                </c:pt>
                <c:pt idx="1267">
                  <c:v>95.4</c:v>
                </c:pt>
                <c:pt idx="1268">
                  <c:v>115.9</c:v>
                </c:pt>
                <c:pt idx="1269">
                  <c:v>91.3</c:v>
                </c:pt>
                <c:pt idx="1270">
                  <c:v>103.6</c:v>
                </c:pt>
                <c:pt idx="1271">
                  <c:v>103.6</c:v>
                </c:pt>
                <c:pt idx="1272">
                  <c:v>101.3</c:v>
                </c:pt>
                <c:pt idx="1273">
                  <c:v>95.799999999999898</c:v>
                </c:pt>
                <c:pt idx="1274">
                  <c:v>88.2</c:v>
                </c:pt>
                <c:pt idx="1275">
                  <c:v>98.1</c:v>
                </c:pt>
                <c:pt idx="1276">
                  <c:v>94.7</c:v>
                </c:pt>
                <c:pt idx="1277">
                  <c:v>99.2</c:v>
                </c:pt>
                <c:pt idx="1278">
                  <c:v>230.2</c:v>
                </c:pt>
                <c:pt idx="1279">
                  <c:v>97.1</c:v>
                </c:pt>
                <c:pt idx="1280">
                  <c:v>106.5</c:v>
                </c:pt>
                <c:pt idx="1281">
                  <c:v>85.3</c:v>
                </c:pt>
                <c:pt idx="1282">
                  <c:v>97.763769026045793</c:v>
                </c:pt>
                <c:pt idx="1283">
                  <c:v>92.3</c:v>
                </c:pt>
                <c:pt idx="1284">
                  <c:v>87.1</c:v>
                </c:pt>
                <c:pt idx="1285">
                  <c:v>106.5</c:v>
                </c:pt>
                <c:pt idx="1286">
                  <c:v>95.3</c:v>
                </c:pt>
                <c:pt idx="1287">
                  <c:v>89.7</c:v>
                </c:pt>
                <c:pt idx="1288">
                  <c:v>99.4</c:v>
                </c:pt>
                <c:pt idx="1289">
                  <c:v>109.6</c:v>
                </c:pt>
                <c:pt idx="1290">
                  <c:v>93.8</c:v>
                </c:pt>
                <c:pt idx="1291">
                  <c:v>84.9</c:v>
                </c:pt>
                <c:pt idx="1292">
                  <c:v>101.2</c:v>
                </c:pt>
                <c:pt idx="1293">
                  <c:v>96.599999999999895</c:v>
                </c:pt>
                <c:pt idx="1294">
                  <c:v>88.735157116451006</c:v>
                </c:pt>
                <c:pt idx="1295">
                  <c:v>81.5</c:v>
                </c:pt>
                <c:pt idx="1296">
                  <c:v>112.6</c:v>
                </c:pt>
                <c:pt idx="1297">
                  <c:v>94.9</c:v>
                </c:pt>
                <c:pt idx="1298">
                  <c:v>76.099999999999994</c:v>
                </c:pt>
                <c:pt idx="1299">
                  <c:v>107.3</c:v>
                </c:pt>
                <c:pt idx="1300">
                  <c:v>102.6</c:v>
                </c:pt>
                <c:pt idx="1301">
                  <c:v>103.722962940608</c:v>
                </c:pt>
                <c:pt idx="1302">
                  <c:v>93.9</c:v>
                </c:pt>
                <c:pt idx="1303">
                  <c:v>94.4</c:v>
                </c:pt>
                <c:pt idx="1304">
                  <c:v>92.324446589530496</c:v>
                </c:pt>
                <c:pt idx="1305">
                  <c:v>98.1</c:v>
                </c:pt>
                <c:pt idx="1306">
                  <c:v>93</c:v>
                </c:pt>
                <c:pt idx="1307">
                  <c:v>96.1</c:v>
                </c:pt>
                <c:pt idx="1308">
                  <c:v>97</c:v>
                </c:pt>
                <c:pt idx="1309">
                  <c:v>96.4</c:v>
                </c:pt>
                <c:pt idx="1310">
                  <c:v>95.4</c:v>
                </c:pt>
                <c:pt idx="1311">
                  <c:v>98.2</c:v>
                </c:pt>
                <c:pt idx="1312">
                  <c:v>96.660861836459404</c:v>
                </c:pt>
                <c:pt idx="1313">
                  <c:v>101</c:v>
                </c:pt>
                <c:pt idx="1314">
                  <c:v>91.6</c:v>
                </c:pt>
                <c:pt idx="1315">
                  <c:v>165.2</c:v>
                </c:pt>
                <c:pt idx="1316">
                  <c:v>94</c:v>
                </c:pt>
                <c:pt idx="1317">
                  <c:v>95.941966422076803</c:v>
                </c:pt>
                <c:pt idx="1318">
                  <c:v>101.2</c:v>
                </c:pt>
                <c:pt idx="1319">
                  <c:v>112.7</c:v>
                </c:pt>
                <c:pt idx="1320">
                  <c:v>127.4</c:v>
                </c:pt>
                <c:pt idx="1321">
                  <c:v>87.8</c:v>
                </c:pt>
                <c:pt idx="1322">
                  <c:v>94.337442615165401</c:v>
                </c:pt>
                <c:pt idx="1323">
                  <c:v>88.3</c:v>
                </c:pt>
                <c:pt idx="1324">
                  <c:v>94.3</c:v>
                </c:pt>
                <c:pt idx="1325">
                  <c:v>108.9</c:v>
                </c:pt>
                <c:pt idx="1326">
                  <c:v>88.6</c:v>
                </c:pt>
                <c:pt idx="1327">
                  <c:v>88.4</c:v>
                </c:pt>
                <c:pt idx="1328">
                  <c:v>87.1</c:v>
                </c:pt>
                <c:pt idx="1329">
                  <c:v>82.1</c:v>
                </c:pt>
                <c:pt idx="1330">
                  <c:v>97.3</c:v>
                </c:pt>
                <c:pt idx="1331">
                  <c:v>135.19999999999999</c:v>
                </c:pt>
                <c:pt idx="1332">
                  <c:v>98.1</c:v>
                </c:pt>
                <c:pt idx="1333">
                  <c:v>100.1</c:v>
                </c:pt>
                <c:pt idx="1334">
                  <c:v>100.1</c:v>
                </c:pt>
                <c:pt idx="1335">
                  <c:v>96.171382822856302</c:v>
                </c:pt>
                <c:pt idx="1336">
                  <c:v>102.6</c:v>
                </c:pt>
                <c:pt idx="1337">
                  <c:v>97.4</c:v>
                </c:pt>
                <c:pt idx="1338">
                  <c:v>108</c:v>
                </c:pt>
                <c:pt idx="1339">
                  <c:v>89.6</c:v>
                </c:pt>
                <c:pt idx="1340">
                  <c:v>106.2</c:v>
                </c:pt>
                <c:pt idx="1341">
                  <c:v>101.270151947983</c:v>
                </c:pt>
                <c:pt idx="1342">
                  <c:v>96.1</c:v>
                </c:pt>
                <c:pt idx="1343">
                  <c:v>108.4</c:v>
                </c:pt>
                <c:pt idx="1344">
                  <c:v>88</c:v>
                </c:pt>
                <c:pt idx="1345">
                  <c:v>108.3</c:v>
                </c:pt>
                <c:pt idx="1346">
                  <c:v>87.3</c:v>
                </c:pt>
                <c:pt idx="1347">
                  <c:v>109.9</c:v>
                </c:pt>
                <c:pt idx="1348">
                  <c:v>99.5</c:v>
                </c:pt>
                <c:pt idx="1349">
                  <c:v>92.785849688846298</c:v>
                </c:pt>
                <c:pt idx="1350">
                  <c:v>99.6</c:v>
                </c:pt>
                <c:pt idx="1351">
                  <c:v>105.7</c:v>
                </c:pt>
                <c:pt idx="1352">
                  <c:v>85</c:v>
                </c:pt>
                <c:pt idx="1353">
                  <c:v>113.4</c:v>
                </c:pt>
                <c:pt idx="1354">
                  <c:v>125.8</c:v>
                </c:pt>
                <c:pt idx="1355">
                  <c:v>97.9</c:v>
                </c:pt>
                <c:pt idx="1356">
                  <c:v>93.078747520954195</c:v>
                </c:pt>
                <c:pt idx="1357">
                  <c:v>113.8</c:v>
                </c:pt>
                <c:pt idx="1358">
                  <c:v>104.1</c:v>
                </c:pt>
                <c:pt idx="1359">
                  <c:v>101.4</c:v>
                </c:pt>
                <c:pt idx="1360">
                  <c:v>96.6</c:v>
                </c:pt>
                <c:pt idx="1361">
                  <c:v>98.6</c:v>
                </c:pt>
                <c:pt idx="1362">
                  <c:v>107.7</c:v>
                </c:pt>
                <c:pt idx="1363">
                  <c:v>95.9</c:v>
                </c:pt>
                <c:pt idx="1364">
                  <c:v>101.7</c:v>
                </c:pt>
                <c:pt idx="1365">
                  <c:v>86.7</c:v>
                </c:pt>
                <c:pt idx="1366">
                  <c:v>112.1</c:v>
                </c:pt>
                <c:pt idx="1367">
                  <c:v>95.7</c:v>
                </c:pt>
                <c:pt idx="1368">
                  <c:v>98.736420697377298</c:v>
                </c:pt>
                <c:pt idx="1369">
                  <c:v>85.7</c:v>
                </c:pt>
                <c:pt idx="1370">
                  <c:v>110.4</c:v>
                </c:pt>
                <c:pt idx="1371">
                  <c:v>99.61499843</c:v>
                </c:pt>
                <c:pt idx="1372">
                  <c:v>90.2</c:v>
                </c:pt>
                <c:pt idx="1373">
                  <c:v>134</c:v>
                </c:pt>
                <c:pt idx="1374">
                  <c:v>97.8</c:v>
                </c:pt>
                <c:pt idx="1375">
                  <c:v>192.3</c:v>
                </c:pt>
                <c:pt idx="1376">
                  <c:v>96.7</c:v>
                </c:pt>
                <c:pt idx="1377">
                  <c:v>100.2</c:v>
                </c:pt>
                <c:pt idx="1378">
                  <c:v>95.1</c:v>
                </c:pt>
                <c:pt idx="1379">
                  <c:v>94.8</c:v>
                </c:pt>
                <c:pt idx="1380">
                  <c:v>97.2</c:v>
                </c:pt>
                <c:pt idx="1381">
                  <c:v>87.5</c:v>
                </c:pt>
                <c:pt idx="1382">
                  <c:v>104.2</c:v>
                </c:pt>
                <c:pt idx="1383">
                  <c:v>101.32493558688</c:v>
                </c:pt>
                <c:pt idx="1384">
                  <c:v>101.9</c:v>
                </c:pt>
                <c:pt idx="1385">
                  <c:v>97</c:v>
                </c:pt>
                <c:pt idx="1386">
                  <c:v>86.4</c:v>
                </c:pt>
                <c:pt idx="1387">
                  <c:v>103.7</c:v>
                </c:pt>
                <c:pt idx="1388">
                  <c:v>91.9</c:v>
                </c:pt>
                <c:pt idx="1389">
                  <c:v>96.445751044825002</c:v>
                </c:pt>
                <c:pt idx="1390">
                  <c:v>97.8</c:v>
                </c:pt>
                <c:pt idx="1391">
                  <c:v>107.8</c:v>
                </c:pt>
                <c:pt idx="1392">
                  <c:v>92.3</c:v>
                </c:pt>
                <c:pt idx="1393">
                  <c:v>96.2</c:v>
                </c:pt>
                <c:pt idx="1394">
                  <c:v>96.4</c:v>
                </c:pt>
                <c:pt idx="1395">
                  <c:v>101.3</c:v>
                </c:pt>
                <c:pt idx="1396">
                  <c:v>106.6</c:v>
                </c:pt>
                <c:pt idx="1397">
                  <c:v>95.2</c:v>
                </c:pt>
                <c:pt idx="1398">
                  <c:v>96.1</c:v>
                </c:pt>
                <c:pt idx="1399">
                  <c:v>106.6</c:v>
                </c:pt>
                <c:pt idx="1400">
                  <c:v>91.7</c:v>
                </c:pt>
                <c:pt idx="1401">
                  <c:v>102.3</c:v>
                </c:pt>
                <c:pt idx="1402">
                  <c:v>95.8</c:v>
                </c:pt>
                <c:pt idx="1403">
                  <c:v>113.1</c:v>
                </c:pt>
                <c:pt idx="1404">
                  <c:v>105.5</c:v>
                </c:pt>
                <c:pt idx="1405">
                  <c:v>110.5</c:v>
                </c:pt>
                <c:pt idx="1406">
                  <c:v>87.7</c:v>
                </c:pt>
                <c:pt idx="1407">
                  <c:v>102.7</c:v>
                </c:pt>
                <c:pt idx="1408">
                  <c:v>100.35552866242</c:v>
                </c:pt>
                <c:pt idx="1409">
                  <c:v>73.7</c:v>
                </c:pt>
                <c:pt idx="1410">
                  <c:v>98.2</c:v>
                </c:pt>
                <c:pt idx="1411">
                  <c:v>126.4</c:v>
                </c:pt>
                <c:pt idx="1412">
                  <c:v>82.1</c:v>
                </c:pt>
                <c:pt idx="1413">
                  <c:v>98.5</c:v>
                </c:pt>
                <c:pt idx="1414">
                  <c:v>97.2</c:v>
                </c:pt>
                <c:pt idx="1415">
                  <c:v>101</c:v>
                </c:pt>
                <c:pt idx="1416">
                  <c:v>96.067539365673795</c:v>
                </c:pt>
                <c:pt idx="1417">
                  <c:v>102.4</c:v>
                </c:pt>
                <c:pt idx="1418">
                  <c:v>99.2</c:v>
                </c:pt>
                <c:pt idx="1419">
                  <c:v>98.4</c:v>
                </c:pt>
                <c:pt idx="1420">
                  <c:v>93.1</c:v>
                </c:pt>
                <c:pt idx="1421">
                  <c:v>98.2</c:v>
                </c:pt>
                <c:pt idx="1422">
                  <c:v>110.5</c:v>
                </c:pt>
                <c:pt idx="1423">
                  <c:v>92.8</c:v>
                </c:pt>
                <c:pt idx="1424">
                  <c:v>103.6</c:v>
                </c:pt>
                <c:pt idx="1425">
                  <c:v>102.7</c:v>
                </c:pt>
                <c:pt idx="1426">
                  <c:v>122.7</c:v>
                </c:pt>
                <c:pt idx="1427">
                  <c:v>101.7</c:v>
                </c:pt>
                <c:pt idx="1428">
                  <c:v>98.7</c:v>
                </c:pt>
                <c:pt idx="1429">
                  <c:v>102.8</c:v>
                </c:pt>
                <c:pt idx="1430">
                  <c:v>97.6</c:v>
                </c:pt>
                <c:pt idx="1431">
                  <c:v>112.7</c:v>
                </c:pt>
                <c:pt idx="1432">
                  <c:v>94.5</c:v>
                </c:pt>
                <c:pt idx="1433">
                  <c:v>103</c:v>
                </c:pt>
                <c:pt idx="1434">
                  <c:v>90.3</c:v>
                </c:pt>
                <c:pt idx="1435">
                  <c:v>145.1</c:v>
                </c:pt>
                <c:pt idx="1436">
                  <c:v>96.9</c:v>
                </c:pt>
                <c:pt idx="1437">
                  <c:v>94.9</c:v>
                </c:pt>
                <c:pt idx="1438">
                  <c:v>81.8</c:v>
                </c:pt>
                <c:pt idx="1439">
                  <c:v>98.9</c:v>
                </c:pt>
                <c:pt idx="1440">
                  <c:v>112</c:v>
                </c:pt>
                <c:pt idx="1441">
                  <c:v>94.1</c:v>
                </c:pt>
                <c:pt idx="1442">
                  <c:v>104.2</c:v>
                </c:pt>
                <c:pt idx="1443">
                  <c:v>95.4</c:v>
                </c:pt>
                <c:pt idx="1444">
                  <c:v>100.2</c:v>
                </c:pt>
                <c:pt idx="1445">
                  <c:v>92.7</c:v>
                </c:pt>
                <c:pt idx="1446">
                  <c:v>97.5</c:v>
                </c:pt>
                <c:pt idx="1447">
                  <c:v>98.6</c:v>
                </c:pt>
                <c:pt idx="1448">
                  <c:v>90.1</c:v>
                </c:pt>
                <c:pt idx="1449">
                  <c:v>95.1</c:v>
                </c:pt>
                <c:pt idx="1450">
                  <c:v>92.3</c:v>
                </c:pt>
                <c:pt idx="1451">
                  <c:v>133.9</c:v>
                </c:pt>
                <c:pt idx="1452">
                  <c:v>101.9</c:v>
                </c:pt>
                <c:pt idx="1453">
                  <c:v>100.7</c:v>
                </c:pt>
                <c:pt idx="1454">
                  <c:v>102.3</c:v>
                </c:pt>
                <c:pt idx="1455">
                  <c:v>94.3</c:v>
                </c:pt>
                <c:pt idx="1456">
                  <c:v>91.7</c:v>
                </c:pt>
                <c:pt idx="1457">
                  <c:v>81.900000000000006</c:v>
                </c:pt>
                <c:pt idx="1458">
                  <c:v>98.6</c:v>
                </c:pt>
                <c:pt idx="1459">
                  <c:v>98.3</c:v>
                </c:pt>
                <c:pt idx="1460">
                  <c:v>92.9</c:v>
                </c:pt>
                <c:pt idx="1461">
                  <c:v>97.6</c:v>
                </c:pt>
                <c:pt idx="1462">
                  <c:v>91.4</c:v>
                </c:pt>
                <c:pt idx="1463">
                  <c:v>88.8</c:v>
                </c:pt>
                <c:pt idx="1464">
                  <c:v>98</c:v>
                </c:pt>
                <c:pt idx="1465">
                  <c:v>76.400000000000006</c:v>
                </c:pt>
                <c:pt idx="1466">
                  <c:v>98.8</c:v>
                </c:pt>
                <c:pt idx="1467">
                  <c:v>109.3</c:v>
                </c:pt>
                <c:pt idx="1468">
                  <c:v>97.4</c:v>
                </c:pt>
                <c:pt idx="1469">
                  <c:v>101.7</c:v>
                </c:pt>
                <c:pt idx="1470">
                  <c:v>129.80000000000001</c:v>
                </c:pt>
                <c:pt idx="1471">
                  <c:v>92.9</c:v>
                </c:pt>
                <c:pt idx="1472">
                  <c:v>97.2</c:v>
                </c:pt>
                <c:pt idx="1473">
                  <c:v>100.6</c:v>
                </c:pt>
                <c:pt idx="1474">
                  <c:v>97.299999999999898</c:v>
                </c:pt>
                <c:pt idx="1475">
                  <c:v>108.5</c:v>
                </c:pt>
                <c:pt idx="1476">
                  <c:v>97.7</c:v>
                </c:pt>
                <c:pt idx="1477">
                  <c:v>97.340233758061899</c:v>
                </c:pt>
                <c:pt idx="1478">
                  <c:v>91.3</c:v>
                </c:pt>
                <c:pt idx="1479">
                  <c:v>96.851018139999994</c:v>
                </c:pt>
                <c:pt idx="1480">
                  <c:v>98.1</c:v>
                </c:pt>
                <c:pt idx="1481">
                  <c:v>99.2</c:v>
                </c:pt>
                <c:pt idx="1482">
                  <c:v>116</c:v>
                </c:pt>
                <c:pt idx="1483">
                  <c:v>99.5</c:v>
                </c:pt>
                <c:pt idx="1484">
                  <c:v>100.1</c:v>
                </c:pt>
                <c:pt idx="1485">
                  <c:v>90.9</c:v>
                </c:pt>
                <c:pt idx="1486">
                  <c:v>93.4</c:v>
                </c:pt>
                <c:pt idx="1487">
                  <c:v>98.2</c:v>
                </c:pt>
                <c:pt idx="1488">
                  <c:v>92.7</c:v>
                </c:pt>
                <c:pt idx="1489">
                  <c:v>98.1</c:v>
                </c:pt>
                <c:pt idx="1490">
                  <c:v>95.1</c:v>
                </c:pt>
                <c:pt idx="1491">
                  <c:v>123.1</c:v>
                </c:pt>
                <c:pt idx="1492">
                  <c:v>100.1</c:v>
                </c:pt>
                <c:pt idx="1493">
                  <c:v>95.5</c:v>
                </c:pt>
                <c:pt idx="1494">
                  <c:v>99</c:v>
                </c:pt>
                <c:pt idx="1495">
                  <c:v>105</c:v>
                </c:pt>
                <c:pt idx="1496">
                  <c:v>105.599999999999</c:v>
                </c:pt>
                <c:pt idx="1497">
                  <c:v>98.8</c:v>
                </c:pt>
                <c:pt idx="1498">
                  <c:v>96.056677612100899</c:v>
                </c:pt>
                <c:pt idx="1499">
                  <c:v>95</c:v>
                </c:pt>
                <c:pt idx="1500">
                  <c:v>123.1</c:v>
                </c:pt>
                <c:pt idx="1501">
                  <c:v>90.4</c:v>
                </c:pt>
                <c:pt idx="1502">
                  <c:v>96.148285349999995</c:v>
                </c:pt>
                <c:pt idx="1503">
                  <c:v>99.9</c:v>
                </c:pt>
                <c:pt idx="1504">
                  <c:v>96.1</c:v>
                </c:pt>
                <c:pt idx="1505">
                  <c:v>92.761204843524595</c:v>
                </c:pt>
                <c:pt idx="1506">
                  <c:v>97.8</c:v>
                </c:pt>
                <c:pt idx="1507">
                  <c:v>95.8</c:v>
                </c:pt>
                <c:pt idx="1508">
                  <c:v>93.5</c:v>
                </c:pt>
                <c:pt idx="1509">
                  <c:v>107.2</c:v>
                </c:pt>
                <c:pt idx="1510">
                  <c:v>99.4</c:v>
                </c:pt>
                <c:pt idx="1511">
                  <c:v>90.5</c:v>
                </c:pt>
                <c:pt idx="1512">
                  <c:v>94</c:v>
                </c:pt>
                <c:pt idx="1513">
                  <c:v>116.1</c:v>
                </c:pt>
                <c:pt idx="1514">
                  <c:v>91.299999999999898</c:v>
                </c:pt>
                <c:pt idx="1515">
                  <c:v>94.1</c:v>
                </c:pt>
                <c:pt idx="1516">
                  <c:v>90.7</c:v>
                </c:pt>
                <c:pt idx="1517">
                  <c:v>100.7</c:v>
                </c:pt>
                <c:pt idx="1518">
                  <c:v>91.7</c:v>
                </c:pt>
                <c:pt idx="1519">
                  <c:v>102</c:v>
                </c:pt>
                <c:pt idx="1520">
                  <c:v>102.2</c:v>
                </c:pt>
                <c:pt idx="1521">
                  <c:v>148.6</c:v>
                </c:pt>
                <c:pt idx="1522">
                  <c:v>97.6</c:v>
                </c:pt>
                <c:pt idx="1523">
                  <c:v>94.6</c:v>
                </c:pt>
                <c:pt idx="1524">
                  <c:v>98.4</c:v>
                </c:pt>
                <c:pt idx="1525">
                  <c:v>121.5</c:v>
                </c:pt>
                <c:pt idx="1526">
                  <c:v>120.2</c:v>
                </c:pt>
                <c:pt idx="1527">
                  <c:v>72.5</c:v>
                </c:pt>
                <c:pt idx="1528">
                  <c:v>94.1</c:v>
                </c:pt>
                <c:pt idx="1529">
                  <c:v>108.1</c:v>
                </c:pt>
                <c:pt idx="1530">
                  <c:v>90.5</c:v>
                </c:pt>
                <c:pt idx="1531">
                  <c:v>90.1</c:v>
                </c:pt>
                <c:pt idx="1532">
                  <c:v>101.5</c:v>
                </c:pt>
                <c:pt idx="1533">
                  <c:v>97.1</c:v>
                </c:pt>
                <c:pt idx="1534">
                  <c:v>94.3</c:v>
                </c:pt>
                <c:pt idx="1535">
                  <c:v>89.6</c:v>
                </c:pt>
                <c:pt idx="1536">
                  <c:v>99</c:v>
                </c:pt>
                <c:pt idx="1537">
                  <c:v>97.2</c:v>
                </c:pt>
                <c:pt idx="1538">
                  <c:v>143.5</c:v>
                </c:pt>
                <c:pt idx="1539">
                  <c:v>90.2</c:v>
                </c:pt>
                <c:pt idx="1540">
                  <c:v>110.8</c:v>
                </c:pt>
                <c:pt idx="1541">
                  <c:v>98.3</c:v>
                </c:pt>
                <c:pt idx="1542">
                  <c:v>91.6</c:v>
                </c:pt>
                <c:pt idx="1543">
                  <c:v>95.6</c:v>
                </c:pt>
                <c:pt idx="1544">
                  <c:v>93.299999999999898</c:v>
                </c:pt>
                <c:pt idx="1545">
                  <c:v>91.423954026210595</c:v>
                </c:pt>
                <c:pt idx="1546">
                  <c:v>96.9</c:v>
                </c:pt>
                <c:pt idx="1547">
                  <c:v>74.400000000000006</c:v>
                </c:pt>
                <c:pt idx="1548">
                  <c:v>95.5</c:v>
                </c:pt>
                <c:pt idx="1549">
                  <c:v>91</c:v>
                </c:pt>
                <c:pt idx="1550">
                  <c:v>92.049342659007294</c:v>
                </c:pt>
                <c:pt idx="1551">
                  <c:v>85.7</c:v>
                </c:pt>
                <c:pt idx="1552">
                  <c:v>97.881031580900299</c:v>
                </c:pt>
                <c:pt idx="1553">
                  <c:v>115.2</c:v>
                </c:pt>
                <c:pt idx="1554">
                  <c:v>90.9</c:v>
                </c:pt>
                <c:pt idx="1555">
                  <c:v>100.7</c:v>
                </c:pt>
                <c:pt idx="1556">
                  <c:v>78</c:v>
                </c:pt>
                <c:pt idx="1557">
                  <c:v>104.3</c:v>
                </c:pt>
                <c:pt idx="1558">
                  <c:v>99.1</c:v>
                </c:pt>
                <c:pt idx="1559">
                  <c:v>112.7</c:v>
                </c:pt>
                <c:pt idx="1560">
                  <c:v>106</c:v>
                </c:pt>
                <c:pt idx="1561">
                  <c:v>95.252489984746603</c:v>
                </c:pt>
                <c:pt idx="1562">
                  <c:v>106.3</c:v>
                </c:pt>
                <c:pt idx="1563">
                  <c:v>97.9</c:v>
                </c:pt>
                <c:pt idx="1564">
                  <c:v>90</c:v>
                </c:pt>
                <c:pt idx="1565">
                  <c:v>101</c:v>
                </c:pt>
                <c:pt idx="1566">
                  <c:v>99.2</c:v>
                </c:pt>
                <c:pt idx="1567">
                  <c:v>98.8</c:v>
                </c:pt>
                <c:pt idx="1568">
                  <c:v>87.1</c:v>
                </c:pt>
                <c:pt idx="1569">
                  <c:v>89.1</c:v>
                </c:pt>
                <c:pt idx="1570">
                  <c:v>113.8</c:v>
                </c:pt>
                <c:pt idx="1571">
                  <c:v>96.9</c:v>
                </c:pt>
                <c:pt idx="1572">
                  <c:v>102.1</c:v>
                </c:pt>
                <c:pt idx="1573">
                  <c:v>91.4</c:v>
                </c:pt>
                <c:pt idx="1574">
                  <c:v>66.2</c:v>
                </c:pt>
                <c:pt idx="1575">
                  <c:v>101.4</c:v>
                </c:pt>
                <c:pt idx="1576">
                  <c:v>80.900000000000006</c:v>
                </c:pt>
                <c:pt idx="1577">
                  <c:v>98.8</c:v>
                </c:pt>
                <c:pt idx="1578">
                  <c:v>95.4</c:v>
                </c:pt>
                <c:pt idx="1579">
                  <c:v>112.5</c:v>
                </c:pt>
                <c:pt idx="1580">
                  <c:v>96.965749160000001</c:v>
                </c:pt>
                <c:pt idx="1581">
                  <c:v>92.9441121717431</c:v>
                </c:pt>
                <c:pt idx="1582">
                  <c:v>99.3</c:v>
                </c:pt>
                <c:pt idx="1583">
                  <c:v>89.9</c:v>
                </c:pt>
                <c:pt idx="1584">
                  <c:v>173</c:v>
                </c:pt>
                <c:pt idx="1585">
                  <c:v>94.384344146685393</c:v>
                </c:pt>
                <c:pt idx="1586">
                  <c:v>89.5</c:v>
                </c:pt>
                <c:pt idx="1587">
                  <c:v>98.8</c:v>
                </c:pt>
                <c:pt idx="1588">
                  <c:v>96.4</c:v>
                </c:pt>
                <c:pt idx="1589">
                  <c:v>111.9</c:v>
                </c:pt>
                <c:pt idx="1590">
                  <c:v>90.451087004518698</c:v>
                </c:pt>
                <c:pt idx="1591">
                  <c:v>147.69999999999999</c:v>
                </c:pt>
                <c:pt idx="1592">
                  <c:v>96.7</c:v>
                </c:pt>
                <c:pt idx="1593">
                  <c:v>94.294375075999497</c:v>
                </c:pt>
                <c:pt idx="1594">
                  <c:v>96.883849113415806</c:v>
                </c:pt>
                <c:pt idx="1595">
                  <c:v>103.1</c:v>
                </c:pt>
                <c:pt idx="1596">
                  <c:v>96</c:v>
                </c:pt>
                <c:pt idx="1597">
                  <c:v>108.9</c:v>
                </c:pt>
                <c:pt idx="1598">
                  <c:v>96.598490729652696</c:v>
                </c:pt>
                <c:pt idx="1599">
                  <c:v>85.8</c:v>
                </c:pt>
                <c:pt idx="1600">
                  <c:v>68.7</c:v>
                </c:pt>
                <c:pt idx="1601">
                  <c:v>91</c:v>
                </c:pt>
                <c:pt idx="1602">
                  <c:v>115.5</c:v>
                </c:pt>
                <c:pt idx="1603">
                  <c:v>92.6</c:v>
                </c:pt>
                <c:pt idx="1604">
                  <c:v>113.2</c:v>
                </c:pt>
                <c:pt idx="1605">
                  <c:v>100.8</c:v>
                </c:pt>
                <c:pt idx="1606">
                  <c:v>96.1151400350806</c:v>
                </c:pt>
                <c:pt idx="1607">
                  <c:v>100.6</c:v>
                </c:pt>
                <c:pt idx="1608">
                  <c:v>91.505136986301295</c:v>
                </c:pt>
                <c:pt idx="1609">
                  <c:v>101.5</c:v>
                </c:pt>
                <c:pt idx="1610">
                  <c:v>90.5</c:v>
                </c:pt>
                <c:pt idx="1611">
                  <c:v>99</c:v>
                </c:pt>
                <c:pt idx="1612">
                  <c:v>91.471308817798302</c:v>
                </c:pt>
                <c:pt idx="1613">
                  <c:v>102.5</c:v>
                </c:pt>
                <c:pt idx="1614">
                  <c:v>105.8</c:v>
                </c:pt>
                <c:pt idx="1615">
                  <c:v>148.6</c:v>
                </c:pt>
                <c:pt idx="1616">
                  <c:v>72.900000000000006</c:v>
                </c:pt>
                <c:pt idx="1617">
                  <c:v>105</c:v>
                </c:pt>
                <c:pt idx="1618">
                  <c:v>96.2</c:v>
                </c:pt>
                <c:pt idx="1619">
                  <c:v>85</c:v>
                </c:pt>
                <c:pt idx="1620">
                  <c:v>101.7</c:v>
                </c:pt>
                <c:pt idx="1621">
                  <c:v>99.7</c:v>
                </c:pt>
                <c:pt idx="1622">
                  <c:v>98.9</c:v>
                </c:pt>
                <c:pt idx="1623">
                  <c:v>98.2</c:v>
                </c:pt>
                <c:pt idx="1624">
                  <c:v>99.7</c:v>
                </c:pt>
                <c:pt idx="1625">
                  <c:v>98.4</c:v>
                </c:pt>
                <c:pt idx="1626">
                  <c:v>103.2</c:v>
                </c:pt>
                <c:pt idx="1627">
                  <c:v>128.9</c:v>
                </c:pt>
                <c:pt idx="1628">
                  <c:v>89.4</c:v>
                </c:pt>
                <c:pt idx="1629">
                  <c:v>142.80000000000001</c:v>
                </c:pt>
                <c:pt idx="1630">
                  <c:v>106.3</c:v>
                </c:pt>
                <c:pt idx="1631">
                  <c:v>94.8</c:v>
                </c:pt>
                <c:pt idx="1632">
                  <c:v>103</c:v>
                </c:pt>
                <c:pt idx="1633">
                  <c:v>88.390317580000001</c:v>
                </c:pt>
                <c:pt idx="1634">
                  <c:v>92.249808106033498</c:v>
                </c:pt>
                <c:pt idx="1635">
                  <c:v>96.599999999999895</c:v>
                </c:pt>
                <c:pt idx="1636">
                  <c:v>79.599999999999994</c:v>
                </c:pt>
                <c:pt idx="1637">
                  <c:v>93</c:v>
                </c:pt>
                <c:pt idx="1638">
                  <c:v>98</c:v>
                </c:pt>
                <c:pt idx="1639">
                  <c:v>97.7</c:v>
                </c:pt>
                <c:pt idx="1640">
                  <c:v>104.2</c:v>
                </c:pt>
                <c:pt idx="1641">
                  <c:v>84.8</c:v>
                </c:pt>
                <c:pt idx="1642">
                  <c:v>99.2</c:v>
                </c:pt>
                <c:pt idx="1643">
                  <c:v>91</c:v>
                </c:pt>
                <c:pt idx="1644">
                  <c:v>130.19999999999999</c:v>
                </c:pt>
                <c:pt idx="1645">
                  <c:v>96.3</c:v>
                </c:pt>
                <c:pt idx="1646">
                  <c:v>90.7</c:v>
                </c:pt>
                <c:pt idx="1647">
                  <c:v>106.2</c:v>
                </c:pt>
                <c:pt idx="1648">
                  <c:v>109.9</c:v>
                </c:pt>
                <c:pt idx="1649">
                  <c:v>164.1</c:v>
                </c:pt>
                <c:pt idx="1650">
                  <c:v>92</c:v>
                </c:pt>
                <c:pt idx="1651">
                  <c:v>94</c:v>
                </c:pt>
                <c:pt idx="1652">
                  <c:v>90.2</c:v>
                </c:pt>
                <c:pt idx="1653">
                  <c:v>99.4</c:v>
                </c:pt>
                <c:pt idx="1654">
                  <c:v>84.6</c:v>
                </c:pt>
                <c:pt idx="1655">
                  <c:v>113.4</c:v>
                </c:pt>
                <c:pt idx="1656">
                  <c:v>98.3</c:v>
                </c:pt>
                <c:pt idx="1657">
                  <c:v>81.900000000000006</c:v>
                </c:pt>
                <c:pt idx="1658">
                  <c:v>146.1</c:v>
                </c:pt>
                <c:pt idx="1659">
                  <c:v>87.7</c:v>
                </c:pt>
                <c:pt idx="1660">
                  <c:v>106.8</c:v>
                </c:pt>
                <c:pt idx="1661">
                  <c:v>94.4</c:v>
                </c:pt>
                <c:pt idx="1662">
                  <c:v>105.3</c:v>
                </c:pt>
                <c:pt idx="1663">
                  <c:v>96.9</c:v>
                </c:pt>
                <c:pt idx="1664">
                  <c:v>114.099999999999</c:v>
                </c:pt>
                <c:pt idx="1665">
                  <c:v>103.7</c:v>
                </c:pt>
                <c:pt idx="1666">
                  <c:v>113.6</c:v>
                </c:pt>
                <c:pt idx="1667">
                  <c:v>101</c:v>
                </c:pt>
                <c:pt idx="1668">
                  <c:v>104.299999999999</c:v>
                </c:pt>
                <c:pt idx="1669">
                  <c:v>115.2</c:v>
                </c:pt>
                <c:pt idx="1670">
                  <c:v>79</c:v>
                </c:pt>
                <c:pt idx="1671">
                  <c:v>94.5</c:v>
                </c:pt>
                <c:pt idx="1672">
                  <c:v>93.3</c:v>
                </c:pt>
                <c:pt idx="1673">
                  <c:v>86.3</c:v>
                </c:pt>
                <c:pt idx="1674">
                  <c:v>76.099999999999994</c:v>
                </c:pt>
                <c:pt idx="1675">
                  <c:v>109.8</c:v>
                </c:pt>
                <c:pt idx="1676">
                  <c:v>108.6</c:v>
                </c:pt>
                <c:pt idx="1677">
                  <c:v>88.7</c:v>
                </c:pt>
                <c:pt idx="1678">
                  <c:v>97.5</c:v>
                </c:pt>
                <c:pt idx="1679">
                  <c:v>82.9</c:v>
                </c:pt>
                <c:pt idx="1680">
                  <c:v>89.6</c:v>
                </c:pt>
                <c:pt idx="1681">
                  <c:v>88.8</c:v>
                </c:pt>
                <c:pt idx="1682">
                  <c:v>94.8</c:v>
                </c:pt>
                <c:pt idx="1683">
                  <c:v>92</c:v>
                </c:pt>
                <c:pt idx="1684">
                  <c:v>93.2</c:v>
                </c:pt>
                <c:pt idx="1685">
                  <c:v>108.4</c:v>
                </c:pt>
                <c:pt idx="1686">
                  <c:v>99.6</c:v>
                </c:pt>
                <c:pt idx="1687">
                  <c:v>98.3</c:v>
                </c:pt>
                <c:pt idx="1688">
                  <c:v>112</c:v>
                </c:pt>
                <c:pt idx="1689">
                  <c:v>98.4</c:v>
                </c:pt>
                <c:pt idx="1690">
                  <c:v>90.1</c:v>
                </c:pt>
                <c:pt idx="1691">
                  <c:v>90.5</c:v>
                </c:pt>
                <c:pt idx="1692">
                  <c:v>91.6</c:v>
                </c:pt>
                <c:pt idx="1693">
                  <c:v>96.8</c:v>
                </c:pt>
                <c:pt idx="1694">
                  <c:v>97.8</c:v>
                </c:pt>
                <c:pt idx="1695">
                  <c:v>94.8</c:v>
                </c:pt>
                <c:pt idx="1696">
                  <c:v>89.8</c:v>
                </c:pt>
                <c:pt idx="1697">
                  <c:v>96.4</c:v>
                </c:pt>
                <c:pt idx="1698">
                  <c:v>134.19999999999999</c:v>
                </c:pt>
                <c:pt idx="1699">
                  <c:v>98.2</c:v>
                </c:pt>
                <c:pt idx="1700">
                  <c:v>100.4</c:v>
                </c:pt>
                <c:pt idx="1701">
                  <c:v>109.1</c:v>
                </c:pt>
                <c:pt idx="1702">
                  <c:v>85.1</c:v>
                </c:pt>
                <c:pt idx="1703">
                  <c:v>97.1</c:v>
                </c:pt>
                <c:pt idx="1704">
                  <c:v>115.2</c:v>
                </c:pt>
                <c:pt idx="1705">
                  <c:v>102.2</c:v>
                </c:pt>
                <c:pt idx="1706">
                  <c:v>77.5</c:v>
                </c:pt>
                <c:pt idx="1707">
                  <c:v>86.9</c:v>
                </c:pt>
                <c:pt idx="1708">
                  <c:v>101.9</c:v>
                </c:pt>
                <c:pt idx="1709">
                  <c:v>95.881707735705405</c:v>
                </c:pt>
                <c:pt idx="1710">
                  <c:v>90.5</c:v>
                </c:pt>
                <c:pt idx="1711">
                  <c:v>87.1</c:v>
                </c:pt>
                <c:pt idx="1712">
                  <c:v>103.4</c:v>
                </c:pt>
                <c:pt idx="1713">
                  <c:v>88.4</c:v>
                </c:pt>
                <c:pt idx="1714">
                  <c:v>100.9</c:v>
                </c:pt>
                <c:pt idx="1715">
                  <c:v>91</c:v>
                </c:pt>
                <c:pt idx="1716">
                  <c:v>94.3</c:v>
                </c:pt>
                <c:pt idx="1717">
                  <c:v>86.2</c:v>
                </c:pt>
                <c:pt idx="1718">
                  <c:v>94.4</c:v>
                </c:pt>
                <c:pt idx="1719">
                  <c:v>97.3</c:v>
                </c:pt>
                <c:pt idx="1720">
                  <c:v>86.4</c:v>
                </c:pt>
                <c:pt idx="1721">
                  <c:v>103.7</c:v>
                </c:pt>
                <c:pt idx="1722">
                  <c:v>101.9</c:v>
                </c:pt>
                <c:pt idx="1723">
                  <c:v>108.1</c:v>
                </c:pt>
                <c:pt idx="1724">
                  <c:v>96.099999999999895</c:v>
                </c:pt>
                <c:pt idx="1725">
                  <c:v>102.2</c:v>
                </c:pt>
                <c:pt idx="1726">
                  <c:v>95</c:v>
                </c:pt>
                <c:pt idx="1727">
                  <c:v>115.4</c:v>
                </c:pt>
                <c:pt idx="1728">
                  <c:v>87</c:v>
                </c:pt>
                <c:pt idx="1729">
                  <c:v>88.4</c:v>
                </c:pt>
                <c:pt idx="1730">
                  <c:v>83.5</c:v>
                </c:pt>
                <c:pt idx="1731">
                  <c:v>92.5</c:v>
                </c:pt>
                <c:pt idx="1732">
                  <c:v>94.6</c:v>
                </c:pt>
                <c:pt idx="1733">
                  <c:v>87.4</c:v>
                </c:pt>
                <c:pt idx="1734">
                  <c:v>80.099999999999994</c:v>
                </c:pt>
                <c:pt idx="1735">
                  <c:v>108</c:v>
                </c:pt>
                <c:pt idx="1736">
                  <c:v>93.7</c:v>
                </c:pt>
                <c:pt idx="1737">
                  <c:v>125.5</c:v>
                </c:pt>
                <c:pt idx="1738">
                  <c:v>99.9</c:v>
                </c:pt>
                <c:pt idx="1739">
                  <c:v>83.8</c:v>
                </c:pt>
                <c:pt idx="1740">
                  <c:v>108.9</c:v>
                </c:pt>
                <c:pt idx="1741">
                  <c:v>88.2</c:v>
                </c:pt>
                <c:pt idx="1742">
                  <c:v>91</c:v>
                </c:pt>
                <c:pt idx="1743">
                  <c:v>100.3</c:v>
                </c:pt>
                <c:pt idx="1744">
                  <c:v>98.8</c:v>
                </c:pt>
                <c:pt idx="1745">
                  <c:v>108.2</c:v>
                </c:pt>
                <c:pt idx="1746">
                  <c:v>94.7</c:v>
                </c:pt>
                <c:pt idx="1747">
                  <c:v>95.5</c:v>
                </c:pt>
                <c:pt idx="1748">
                  <c:v>93.9</c:v>
                </c:pt>
                <c:pt idx="1749">
                  <c:v>87.7826734716038</c:v>
                </c:pt>
                <c:pt idx="1750">
                  <c:v>93.8</c:v>
                </c:pt>
                <c:pt idx="1751">
                  <c:v>88</c:v>
                </c:pt>
                <c:pt idx="1752">
                  <c:v>96.8</c:v>
                </c:pt>
                <c:pt idx="1753">
                  <c:v>97.1</c:v>
                </c:pt>
                <c:pt idx="1754">
                  <c:v>89.7</c:v>
                </c:pt>
                <c:pt idx="1755">
                  <c:v>80.2</c:v>
                </c:pt>
                <c:pt idx="1756">
                  <c:v>91.4</c:v>
                </c:pt>
                <c:pt idx="1757">
                  <c:v>96.4</c:v>
                </c:pt>
                <c:pt idx="1758">
                  <c:v>153.69999999999999</c:v>
                </c:pt>
                <c:pt idx="1759">
                  <c:v>83.4</c:v>
                </c:pt>
                <c:pt idx="1760">
                  <c:v>90.4</c:v>
                </c:pt>
                <c:pt idx="1761">
                  <c:v>100.4</c:v>
                </c:pt>
                <c:pt idx="1762">
                  <c:v>101.5</c:v>
                </c:pt>
                <c:pt idx="1763">
                  <c:v>89.4</c:v>
                </c:pt>
                <c:pt idx="1764">
                  <c:v>86.2</c:v>
                </c:pt>
                <c:pt idx="1765">
                  <c:v>107.7</c:v>
                </c:pt>
                <c:pt idx="1766">
                  <c:v>88.1</c:v>
                </c:pt>
                <c:pt idx="1767">
                  <c:v>98.5</c:v>
                </c:pt>
                <c:pt idx="1768">
                  <c:v>88.2</c:v>
                </c:pt>
                <c:pt idx="1769">
                  <c:v>96.1</c:v>
                </c:pt>
                <c:pt idx="1770">
                  <c:v>100.7</c:v>
                </c:pt>
                <c:pt idx="1771">
                  <c:v>98.5</c:v>
                </c:pt>
                <c:pt idx="1772">
                  <c:v>90.6</c:v>
                </c:pt>
                <c:pt idx="1773">
                  <c:v>98.4</c:v>
                </c:pt>
                <c:pt idx="1774">
                  <c:v>97.5</c:v>
                </c:pt>
                <c:pt idx="1775">
                  <c:v>91.3</c:v>
                </c:pt>
                <c:pt idx="1776">
                  <c:v>112.2</c:v>
                </c:pt>
                <c:pt idx="1777">
                  <c:v>95.8</c:v>
                </c:pt>
                <c:pt idx="1778">
                  <c:v>92.242030009999993</c:v>
                </c:pt>
                <c:pt idx="1779">
                  <c:v>83.864720464233997</c:v>
                </c:pt>
                <c:pt idx="1780">
                  <c:v>92.2</c:v>
                </c:pt>
                <c:pt idx="1781">
                  <c:v>82.5</c:v>
                </c:pt>
                <c:pt idx="1782">
                  <c:v>94.4</c:v>
                </c:pt>
                <c:pt idx="1783">
                  <c:v>89.4</c:v>
                </c:pt>
                <c:pt idx="1784">
                  <c:v>100.4</c:v>
                </c:pt>
                <c:pt idx="1785">
                  <c:v>88.6</c:v>
                </c:pt>
                <c:pt idx="1786">
                  <c:v>94.799999999999898</c:v>
                </c:pt>
                <c:pt idx="1787">
                  <c:v>111.7</c:v>
                </c:pt>
                <c:pt idx="1788">
                  <c:v>93.2</c:v>
                </c:pt>
                <c:pt idx="1789">
                  <c:v>105.2</c:v>
                </c:pt>
                <c:pt idx="1790">
                  <c:v>100.6</c:v>
                </c:pt>
                <c:pt idx="1791">
                  <c:v>86.8</c:v>
                </c:pt>
                <c:pt idx="1792">
                  <c:v>98.156699679853205</c:v>
                </c:pt>
                <c:pt idx="1793">
                  <c:v>100.4</c:v>
                </c:pt>
                <c:pt idx="1794">
                  <c:v>89.1</c:v>
                </c:pt>
                <c:pt idx="1795">
                  <c:v>102.8</c:v>
                </c:pt>
                <c:pt idx="1796">
                  <c:v>95.6</c:v>
                </c:pt>
                <c:pt idx="1797">
                  <c:v>87</c:v>
                </c:pt>
                <c:pt idx="1798">
                  <c:v>88.7</c:v>
                </c:pt>
                <c:pt idx="1799">
                  <c:v>110.5</c:v>
                </c:pt>
                <c:pt idx="1800">
                  <c:v>316.5</c:v>
                </c:pt>
                <c:pt idx="1801">
                  <c:v>89.781604424399106</c:v>
                </c:pt>
                <c:pt idx="1802">
                  <c:v>85.7</c:v>
                </c:pt>
                <c:pt idx="1803">
                  <c:v>95.4</c:v>
                </c:pt>
                <c:pt idx="1804">
                  <c:v>107.5</c:v>
                </c:pt>
                <c:pt idx="1805">
                  <c:v>98.1</c:v>
                </c:pt>
                <c:pt idx="1806">
                  <c:v>92.3</c:v>
                </c:pt>
                <c:pt idx="1807">
                  <c:v>120.1</c:v>
                </c:pt>
                <c:pt idx="1808">
                  <c:v>93</c:v>
                </c:pt>
                <c:pt idx="1809">
                  <c:v>108.2</c:v>
                </c:pt>
                <c:pt idx="1810">
                  <c:v>97.099999999999895</c:v>
                </c:pt>
                <c:pt idx="1811">
                  <c:v>93.9</c:v>
                </c:pt>
                <c:pt idx="1812">
                  <c:v>92.4</c:v>
                </c:pt>
                <c:pt idx="1813">
                  <c:v>85</c:v>
                </c:pt>
                <c:pt idx="1814">
                  <c:v>95.3</c:v>
                </c:pt>
                <c:pt idx="1815">
                  <c:v>106.3</c:v>
                </c:pt>
                <c:pt idx="1816">
                  <c:v>96.8</c:v>
                </c:pt>
                <c:pt idx="1817">
                  <c:v>88.5</c:v>
                </c:pt>
                <c:pt idx="1818">
                  <c:v>81.8</c:v>
                </c:pt>
                <c:pt idx="1819">
                  <c:v>98.5</c:v>
                </c:pt>
                <c:pt idx="1820">
                  <c:v>106.1</c:v>
                </c:pt>
                <c:pt idx="1821">
                  <c:v>87.3</c:v>
                </c:pt>
                <c:pt idx="1822">
                  <c:v>93.700030141557605</c:v>
                </c:pt>
                <c:pt idx="1823">
                  <c:v>78.400000000000006</c:v>
                </c:pt>
                <c:pt idx="1824">
                  <c:v>96.1</c:v>
                </c:pt>
                <c:pt idx="1825">
                  <c:v>96</c:v>
                </c:pt>
                <c:pt idx="1826">
                  <c:v>96.2</c:v>
                </c:pt>
                <c:pt idx="1827">
                  <c:v>93.1</c:v>
                </c:pt>
                <c:pt idx="1828">
                  <c:v>101.43952273388599</c:v>
                </c:pt>
                <c:pt idx="1829">
                  <c:v>91.6</c:v>
                </c:pt>
                <c:pt idx="1830">
                  <c:v>112.5</c:v>
                </c:pt>
                <c:pt idx="1831">
                  <c:v>90.8</c:v>
                </c:pt>
                <c:pt idx="1832">
                  <c:v>97.4</c:v>
                </c:pt>
                <c:pt idx="1833">
                  <c:v>108.7</c:v>
                </c:pt>
                <c:pt idx="1834">
                  <c:v>96.7</c:v>
                </c:pt>
                <c:pt idx="1835">
                  <c:v>85.9</c:v>
                </c:pt>
                <c:pt idx="1836">
                  <c:v>94.4</c:v>
                </c:pt>
                <c:pt idx="1837">
                  <c:v>110.2</c:v>
                </c:pt>
                <c:pt idx="1838">
                  <c:v>91.099999999999895</c:v>
                </c:pt>
                <c:pt idx="1839">
                  <c:v>89.9</c:v>
                </c:pt>
                <c:pt idx="1840">
                  <c:v>90.7</c:v>
                </c:pt>
                <c:pt idx="1841">
                  <c:v>104.9</c:v>
                </c:pt>
                <c:pt idx="1842">
                  <c:v>97.3</c:v>
                </c:pt>
                <c:pt idx="1843">
                  <c:v>102.2</c:v>
                </c:pt>
                <c:pt idx="1844">
                  <c:v>102.8</c:v>
                </c:pt>
                <c:pt idx="1845">
                  <c:v>92.2</c:v>
                </c:pt>
                <c:pt idx="1846">
                  <c:v>100.599999999999</c:v>
                </c:pt>
                <c:pt idx="1847">
                  <c:v>95.130854187471101</c:v>
                </c:pt>
                <c:pt idx="1848">
                  <c:v>91.6</c:v>
                </c:pt>
                <c:pt idx="1849">
                  <c:v>99.5</c:v>
                </c:pt>
                <c:pt idx="1850">
                  <c:v>94.4</c:v>
                </c:pt>
                <c:pt idx="1851">
                  <c:v>102.8</c:v>
                </c:pt>
                <c:pt idx="1852">
                  <c:v>93.5</c:v>
                </c:pt>
                <c:pt idx="1853">
                  <c:v>80.099999999999994</c:v>
                </c:pt>
                <c:pt idx="1854">
                  <c:v>95.7</c:v>
                </c:pt>
                <c:pt idx="1855">
                  <c:v>91.1</c:v>
                </c:pt>
                <c:pt idx="1856">
                  <c:v>84.4</c:v>
                </c:pt>
                <c:pt idx="1857">
                  <c:v>85.4</c:v>
                </c:pt>
                <c:pt idx="1858">
                  <c:v>91.4</c:v>
                </c:pt>
                <c:pt idx="1859">
                  <c:v>87.6</c:v>
                </c:pt>
                <c:pt idx="1860">
                  <c:v>86.8</c:v>
                </c:pt>
                <c:pt idx="1861">
                  <c:v>102.3</c:v>
                </c:pt>
                <c:pt idx="1862">
                  <c:v>106.2</c:v>
                </c:pt>
                <c:pt idx="1863">
                  <c:v>97</c:v>
                </c:pt>
                <c:pt idx="1864">
                  <c:v>143.80000000000001</c:v>
                </c:pt>
                <c:pt idx="1865">
                  <c:v>100.731626000197</c:v>
                </c:pt>
                <c:pt idx="1866">
                  <c:v>90.1</c:v>
                </c:pt>
                <c:pt idx="1867">
                  <c:v>101.799999999999</c:v>
                </c:pt>
                <c:pt idx="1868">
                  <c:v>102.5</c:v>
                </c:pt>
                <c:pt idx="1869">
                  <c:v>102.9</c:v>
                </c:pt>
                <c:pt idx="1870">
                  <c:v>94.988523440923004</c:v>
                </c:pt>
                <c:pt idx="1871">
                  <c:v>94.7</c:v>
                </c:pt>
                <c:pt idx="1872">
                  <c:v>88.1</c:v>
                </c:pt>
                <c:pt idx="1873">
                  <c:v>101.279438</c:v>
                </c:pt>
                <c:pt idx="1874">
                  <c:v>108.4</c:v>
                </c:pt>
                <c:pt idx="1875">
                  <c:v>101.799999999999</c:v>
                </c:pt>
                <c:pt idx="1876">
                  <c:v>99.493713874996203</c:v>
                </c:pt>
                <c:pt idx="1877">
                  <c:v>87.9</c:v>
                </c:pt>
                <c:pt idx="1878">
                  <c:v>100.2</c:v>
                </c:pt>
                <c:pt idx="1879">
                  <c:v>95.6</c:v>
                </c:pt>
                <c:pt idx="1880">
                  <c:v>91.4</c:v>
                </c:pt>
                <c:pt idx="1881">
                  <c:v>87.9</c:v>
                </c:pt>
                <c:pt idx="1882">
                  <c:v>99.9</c:v>
                </c:pt>
                <c:pt idx="1883">
                  <c:v>94.8</c:v>
                </c:pt>
                <c:pt idx="1884">
                  <c:v>96.3</c:v>
                </c:pt>
                <c:pt idx="1885">
                  <c:v>100.5</c:v>
                </c:pt>
                <c:pt idx="1886">
                  <c:v>94.7</c:v>
                </c:pt>
                <c:pt idx="1887">
                  <c:v>86.7</c:v>
                </c:pt>
                <c:pt idx="1888">
                  <c:v>112.3</c:v>
                </c:pt>
                <c:pt idx="1889">
                  <c:v>101.7</c:v>
                </c:pt>
                <c:pt idx="1890">
                  <c:v>96</c:v>
                </c:pt>
                <c:pt idx="1891">
                  <c:v>92.6</c:v>
                </c:pt>
                <c:pt idx="1892">
                  <c:v>86.1</c:v>
                </c:pt>
                <c:pt idx="1893">
                  <c:v>93.1</c:v>
                </c:pt>
                <c:pt idx="1894">
                  <c:v>96</c:v>
                </c:pt>
                <c:pt idx="1895">
                  <c:v>107.8</c:v>
                </c:pt>
                <c:pt idx="1896">
                  <c:v>93.4</c:v>
                </c:pt>
                <c:pt idx="1897">
                  <c:v>106.299999999999</c:v>
                </c:pt>
                <c:pt idx="1898">
                  <c:v>131.1</c:v>
                </c:pt>
                <c:pt idx="1899">
                  <c:v>104.5</c:v>
                </c:pt>
                <c:pt idx="1900">
                  <c:v>90.5</c:v>
                </c:pt>
                <c:pt idx="1901">
                  <c:v>84.8</c:v>
                </c:pt>
                <c:pt idx="1902">
                  <c:v>95.3</c:v>
                </c:pt>
                <c:pt idx="1903">
                  <c:v>99.9</c:v>
                </c:pt>
                <c:pt idx="1904">
                  <c:v>93.2</c:v>
                </c:pt>
                <c:pt idx="1905">
                  <c:v>88.8</c:v>
                </c:pt>
                <c:pt idx="1906">
                  <c:v>87</c:v>
                </c:pt>
                <c:pt idx="1907">
                  <c:v>99.807031538592</c:v>
                </c:pt>
                <c:pt idx="1908">
                  <c:v>74.7</c:v>
                </c:pt>
                <c:pt idx="1909">
                  <c:v>85.3</c:v>
                </c:pt>
                <c:pt idx="1910">
                  <c:v>105.8</c:v>
                </c:pt>
                <c:pt idx="1911">
                  <c:v>95</c:v>
                </c:pt>
                <c:pt idx="1912">
                  <c:v>96.9</c:v>
                </c:pt>
                <c:pt idx="1913">
                  <c:v>68.599999999999994</c:v>
                </c:pt>
                <c:pt idx="1914">
                  <c:v>97.3</c:v>
                </c:pt>
                <c:pt idx="1915">
                  <c:v>83.8</c:v>
                </c:pt>
                <c:pt idx="1916">
                  <c:v>150.1</c:v>
                </c:pt>
                <c:pt idx="1917">
                  <c:v>102.2</c:v>
                </c:pt>
                <c:pt idx="1918">
                  <c:v>100.3</c:v>
                </c:pt>
                <c:pt idx="1919">
                  <c:v>95.6</c:v>
                </c:pt>
                <c:pt idx="1920">
                  <c:v>119.2</c:v>
                </c:pt>
                <c:pt idx="1921">
                  <c:v>93.6</c:v>
                </c:pt>
                <c:pt idx="1922">
                  <c:v>94.5</c:v>
                </c:pt>
                <c:pt idx="1923">
                  <c:v>96.8</c:v>
                </c:pt>
                <c:pt idx="1924">
                  <c:v>73.900000000000006</c:v>
                </c:pt>
                <c:pt idx="1925">
                  <c:v>88.4</c:v>
                </c:pt>
                <c:pt idx="1926">
                  <c:v>78</c:v>
                </c:pt>
                <c:pt idx="1927">
                  <c:v>100</c:v>
                </c:pt>
                <c:pt idx="1928">
                  <c:v>101</c:v>
                </c:pt>
                <c:pt idx="1929">
                  <c:v>79.599999999999994</c:v>
                </c:pt>
                <c:pt idx="1930">
                  <c:v>85.8</c:v>
                </c:pt>
                <c:pt idx="1931">
                  <c:v>97.5</c:v>
                </c:pt>
                <c:pt idx="1932">
                  <c:v>104.5</c:v>
                </c:pt>
                <c:pt idx="1933">
                  <c:v>100.6</c:v>
                </c:pt>
                <c:pt idx="1934">
                  <c:v>99.3</c:v>
                </c:pt>
                <c:pt idx="1935">
                  <c:v>83.3</c:v>
                </c:pt>
                <c:pt idx="1936">
                  <c:v>88.1</c:v>
                </c:pt>
                <c:pt idx="1937">
                  <c:v>103.8</c:v>
                </c:pt>
                <c:pt idx="1938">
                  <c:v>93.9</c:v>
                </c:pt>
                <c:pt idx="1939">
                  <c:v>105.6</c:v>
                </c:pt>
                <c:pt idx="1940">
                  <c:v>114.9</c:v>
                </c:pt>
                <c:pt idx="1941">
                  <c:v>91.7</c:v>
                </c:pt>
                <c:pt idx="1942">
                  <c:v>89.6</c:v>
                </c:pt>
                <c:pt idx="1943">
                  <c:v>96.9</c:v>
                </c:pt>
                <c:pt idx="1944">
                  <c:v>94.9</c:v>
                </c:pt>
                <c:pt idx="1945">
                  <c:v>101.6</c:v>
                </c:pt>
                <c:pt idx="1946">
                  <c:v>96.2</c:v>
                </c:pt>
                <c:pt idx="1947">
                  <c:v>100.8570618</c:v>
                </c:pt>
                <c:pt idx="1948">
                  <c:v>92.9</c:v>
                </c:pt>
                <c:pt idx="1949">
                  <c:v>83.9</c:v>
                </c:pt>
                <c:pt idx="1950">
                  <c:v>97.9</c:v>
                </c:pt>
                <c:pt idx="1951">
                  <c:v>103.5</c:v>
                </c:pt>
                <c:pt idx="1952">
                  <c:v>101.2</c:v>
                </c:pt>
                <c:pt idx="1953">
                  <c:v>87</c:v>
                </c:pt>
                <c:pt idx="1954">
                  <c:v>82.599999999999895</c:v>
                </c:pt>
                <c:pt idx="1955">
                  <c:v>89.7</c:v>
                </c:pt>
                <c:pt idx="1956">
                  <c:v>92.4</c:v>
                </c:pt>
                <c:pt idx="1957">
                  <c:v>88.4</c:v>
                </c:pt>
                <c:pt idx="1958">
                  <c:v>94.2</c:v>
                </c:pt>
                <c:pt idx="1959">
                  <c:v>120.299999999999</c:v>
                </c:pt>
                <c:pt idx="1960">
                  <c:v>80.3</c:v>
                </c:pt>
                <c:pt idx="1961">
                  <c:v>81.400000000000006</c:v>
                </c:pt>
                <c:pt idx="1962">
                  <c:v>102.7</c:v>
                </c:pt>
                <c:pt idx="1963">
                  <c:v>97.5</c:v>
                </c:pt>
                <c:pt idx="1964">
                  <c:v>97.3</c:v>
                </c:pt>
                <c:pt idx="1965">
                  <c:v>87.3</c:v>
                </c:pt>
                <c:pt idx="1966">
                  <c:v>97.4</c:v>
                </c:pt>
                <c:pt idx="1967">
                  <c:v>89.2</c:v>
                </c:pt>
                <c:pt idx="1968">
                  <c:v>92.7</c:v>
                </c:pt>
                <c:pt idx="1969">
                  <c:v>182.2</c:v>
                </c:pt>
                <c:pt idx="1970">
                  <c:v>93.2</c:v>
                </c:pt>
                <c:pt idx="1971">
                  <c:v>90.3</c:v>
                </c:pt>
                <c:pt idx="1972">
                  <c:v>100.65850620000001</c:v>
                </c:pt>
                <c:pt idx="1973">
                  <c:v>90.1</c:v>
                </c:pt>
                <c:pt idx="1974">
                  <c:v>96.6</c:v>
                </c:pt>
                <c:pt idx="1975">
                  <c:v>100.3</c:v>
                </c:pt>
                <c:pt idx="1976">
                  <c:v>98.4</c:v>
                </c:pt>
                <c:pt idx="1977">
                  <c:v>89.3</c:v>
                </c:pt>
                <c:pt idx="1978">
                  <c:v>66.900000000000006</c:v>
                </c:pt>
                <c:pt idx="1979">
                  <c:v>98.2</c:v>
                </c:pt>
                <c:pt idx="1980">
                  <c:v>105.9</c:v>
                </c:pt>
                <c:pt idx="1981">
                  <c:v>91.7</c:v>
                </c:pt>
                <c:pt idx="1982">
                  <c:v>106.6</c:v>
                </c:pt>
                <c:pt idx="1983">
                  <c:v>119.8</c:v>
                </c:pt>
                <c:pt idx="1984">
                  <c:v>90.6</c:v>
                </c:pt>
                <c:pt idx="1985">
                  <c:v>92</c:v>
                </c:pt>
                <c:pt idx="1986">
                  <c:v>99.7</c:v>
                </c:pt>
                <c:pt idx="1987">
                  <c:v>114.7</c:v>
                </c:pt>
                <c:pt idx="1988">
                  <c:v>92.159929592774105</c:v>
                </c:pt>
                <c:pt idx="1989">
                  <c:v>90.9</c:v>
                </c:pt>
                <c:pt idx="1990">
                  <c:v>75.099999999999994</c:v>
                </c:pt>
                <c:pt idx="1991">
                  <c:v>94</c:v>
                </c:pt>
                <c:pt idx="1992">
                  <c:v>90.1</c:v>
                </c:pt>
                <c:pt idx="1993">
                  <c:v>106.3</c:v>
                </c:pt>
                <c:pt idx="1994">
                  <c:v>89.7</c:v>
                </c:pt>
                <c:pt idx="1995">
                  <c:v>98.7</c:v>
                </c:pt>
                <c:pt idx="1996">
                  <c:v>97.9</c:v>
                </c:pt>
                <c:pt idx="1997">
                  <c:v>96.8</c:v>
                </c:pt>
                <c:pt idx="1998">
                  <c:v>87.1</c:v>
                </c:pt>
                <c:pt idx="1999">
                  <c:v>94.1</c:v>
                </c:pt>
                <c:pt idx="2000">
                  <c:v>91.4</c:v>
                </c:pt>
                <c:pt idx="2001">
                  <c:v>95.7</c:v>
                </c:pt>
                <c:pt idx="2002">
                  <c:v>89</c:v>
                </c:pt>
                <c:pt idx="2003">
                  <c:v>99.8</c:v>
                </c:pt>
                <c:pt idx="2004">
                  <c:v>99.3</c:v>
                </c:pt>
                <c:pt idx="2005">
                  <c:v>102.1</c:v>
                </c:pt>
                <c:pt idx="2006">
                  <c:v>97</c:v>
                </c:pt>
                <c:pt idx="2007">
                  <c:v>100.3</c:v>
                </c:pt>
                <c:pt idx="2008">
                  <c:v>86.1</c:v>
                </c:pt>
                <c:pt idx="2009">
                  <c:v>99.9</c:v>
                </c:pt>
                <c:pt idx="2010">
                  <c:v>95.5</c:v>
                </c:pt>
                <c:pt idx="2011">
                  <c:v>97.277425350000001</c:v>
                </c:pt>
                <c:pt idx="2012">
                  <c:v>95.9</c:v>
                </c:pt>
                <c:pt idx="2013">
                  <c:v>86.6</c:v>
                </c:pt>
                <c:pt idx="2014">
                  <c:v>140.1</c:v>
                </c:pt>
                <c:pt idx="2015">
                  <c:v>86.4</c:v>
                </c:pt>
                <c:pt idx="2016">
                  <c:v>87.1</c:v>
                </c:pt>
                <c:pt idx="2017">
                  <c:v>91.9</c:v>
                </c:pt>
                <c:pt idx="2018">
                  <c:v>68.2</c:v>
                </c:pt>
                <c:pt idx="2019">
                  <c:v>85.4</c:v>
                </c:pt>
                <c:pt idx="2020">
                  <c:v>81.2</c:v>
                </c:pt>
                <c:pt idx="2021">
                  <c:v>103.4</c:v>
                </c:pt>
                <c:pt idx="2022">
                  <c:v>109.9</c:v>
                </c:pt>
                <c:pt idx="2023">
                  <c:v>97.4</c:v>
                </c:pt>
                <c:pt idx="2024">
                  <c:v>84</c:v>
                </c:pt>
                <c:pt idx="2025">
                  <c:v>98.2</c:v>
                </c:pt>
                <c:pt idx="2026">
                  <c:v>95.3</c:v>
                </c:pt>
                <c:pt idx="2027">
                  <c:v>97.7</c:v>
                </c:pt>
                <c:pt idx="2028">
                  <c:v>81</c:v>
                </c:pt>
                <c:pt idx="2029">
                  <c:v>68.900000000000006</c:v>
                </c:pt>
                <c:pt idx="2030">
                  <c:v>87.3</c:v>
                </c:pt>
                <c:pt idx="2031">
                  <c:v>101.5</c:v>
                </c:pt>
                <c:pt idx="2032">
                  <c:v>92.6</c:v>
                </c:pt>
                <c:pt idx="2033">
                  <c:v>96.9</c:v>
                </c:pt>
                <c:pt idx="2034">
                  <c:v>97</c:v>
                </c:pt>
                <c:pt idx="2035">
                  <c:v>104.4</c:v>
                </c:pt>
                <c:pt idx="2036">
                  <c:v>97.7</c:v>
                </c:pt>
                <c:pt idx="2037">
                  <c:v>93.9</c:v>
                </c:pt>
                <c:pt idx="2038">
                  <c:v>99.4</c:v>
                </c:pt>
                <c:pt idx="2039">
                  <c:v>94.7</c:v>
                </c:pt>
                <c:pt idx="2040">
                  <c:v>92.8</c:v>
                </c:pt>
                <c:pt idx="2041">
                  <c:v>87.9</c:v>
                </c:pt>
                <c:pt idx="2042">
                  <c:v>84.4</c:v>
                </c:pt>
                <c:pt idx="2043">
                  <c:v>106.1</c:v>
                </c:pt>
                <c:pt idx="2044">
                  <c:v>100</c:v>
                </c:pt>
                <c:pt idx="2045">
                  <c:v>86.5</c:v>
                </c:pt>
                <c:pt idx="2046">
                  <c:v>93.4</c:v>
                </c:pt>
                <c:pt idx="2047">
                  <c:v>98.5</c:v>
                </c:pt>
                <c:pt idx="2048">
                  <c:v>97.8228230433335</c:v>
                </c:pt>
                <c:pt idx="2049">
                  <c:v>107.7</c:v>
                </c:pt>
                <c:pt idx="2050">
                  <c:v>101.1</c:v>
                </c:pt>
                <c:pt idx="2051">
                  <c:v>106.2</c:v>
                </c:pt>
                <c:pt idx="2052">
                  <c:v>87.799999999999898</c:v>
                </c:pt>
                <c:pt idx="2053">
                  <c:v>106.3</c:v>
                </c:pt>
                <c:pt idx="2054">
                  <c:v>92.9</c:v>
                </c:pt>
                <c:pt idx="2055">
                  <c:v>86.2</c:v>
                </c:pt>
                <c:pt idx="2056">
                  <c:v>95.4</c:v>
                </c:pt>
                <c:pt idx="2057">
                  <c:v>110</c:v>
                </c:pt>
                <c:pt idx="2058">
                  <c:v>101.3</c:v>
                </c:pt>
                <c:pt idx="2059">
                  <c:v>102.6</c:v>
                </c:pt>
                <c:pt idx="2060">
                  <c:v>109.5</c:v>
                </c:pt>
                <c:pt idx="2061">
                  <c:v>90</c:v>
                </c:pt>
                <c:pt idx="2062">
                  <c:v>94.7</c:v>
                </c:pt>
                <c:pt idx="2063">
                  <c:v>100.292372537627</c:v>
                </c:pt>
                <c:pt idx="2064">
                  <c:v>92.5013718113415</c:v>
                </c:pt>
                <c:pt idx="2065">
                  <c:v>102.1</c:v>
                </c:pt>
                <c:pt idx="2066">
                  <c:v>105.2</c:v>
                </c:pt>
                <c:pt idx="2067">
                  <c:v>96.4</c:v>
                </c:pt>
                <c:pt idx="2068">
                  <c:v>114.9</c:v>
                </c:pt>
                <c:pt idx="2069">
                  <c:v>96</c:v>
                </c:pt>
                <c:pt idx="2070">
                  <c:v>90.3</c:v>
                </c:pt>
                <c:pt idx="2071">
                  <c:v>94.3</c:v>
                </c:pt>
                <c:pt idx="2072">
                  <c:v>100.3</c:v>
                </c:pt>
                <c:pt idx="2073">
                  <c:v>110.8</c:v>
                </c:pt>
                <c:pt idx="2074">
                  <c:v>96.7</c:v>
                </c:pt>
                <c:pt idx="2075">
                  <c:v>115.5</c:v>
                </c:pt>
                <c:pt idx="2076">
                  <c:v>92.890541470000002</c:v>
                </c:pt>
                <c:pt idx="2077">
                  <c:v>99.7</c:v>
                </c:pt>
                <c:pt idx="2078">
                  <c:v>114.6</c:v>
                </c:pt>
                <c:pt idx="2079">
                  <c:v>101.4</c:v>
                </c:pt>
                <c:pt idx="2080">
                  <c:v>100.357344801333</c:v>
                </c:pt>
                <c:pt idx="2081">
                  <c:v>106.7</c:v>
                </c:pt>
                <c:pt idx="2082">
                  <c:v>109.3</c:v>
                </c:pt>
                <c:pt idx="2083">
                  <c:v>86.2</c:v>
                </c:pt>
                <c:pt idx="2084">
                  <c:v>88.131247326047202</c:v>
                </c:pt>
                <c:pt idx="2085">
                  <c:v>99.1</c:v>
                </c:pt>
                <c:pt idx="2086">
                  <c:v>98.6</c:v>
                </c:pt>
                <c:pt idx="2087">
                  <c:v>93.5</c:v>
                </c:pt>
                <c:pt idx="2088">
                  <c:v>97.796073408408503</c:v>
                </c:pt>
                <c:pt idx="2089">
                  <c:v>99.2</c:v>
                </c:pt>
                <c:pt idx="2090">
                  <c:v>102.099999999999</c:v>
                </c:pt>
                <c:pt idx="2091">
                  <c:v>209.4</c:v>
                </c:pt>
                <c:pt idx="2092">
                  <c:v>101.7</c:v>
                </c:pt>
                <c:pt idx="2093">
                  <c:v>102.4</c:v>
                </c:pt>
                <c:pt idx="2094">
                  <c:v>97</c:v>
                </c:pt>
                <c:pt idx="2095">
                  <c:v>106.8</c:v>
                </c:pt>
                <c:pt idx="2096">
                  <c:v>94.2</c:v>
                </c:pt>
                <c:pt idx="2097">
                  <c:v>105.8</c:v>
                </c:pt>
                <c:pt idx="2098">
                  <c:v>99.3</c:v>
                </c:pt>
                <c:pt idx="2099">
                  <c:v>96.7</c:v>
                </c:pt>
                <c:pt idx="2100">
                  <c:v>97.8</c:v>
                </c:pt>
                <c:pt idx="2101">
                  <c:v>87.3</c:v>
                </c:pt>
                <c:pt idx="2102">
                  <c:v>93.907406947377098</c:v>
                </c:pt>
                <c:pt idx="2103">
                  <c:v>103</c:v>
                </c:pt>
                <c:pt idx="2104">
                  <c:v>93.052571371630705</c:v>
                </c:pt>
                <c:pt idx="2105">
                  <c:v>95.9</c:v>
                </c:pt>
                <c:pt idx="2106">
                  <c:v>112</c:v>
                </c:pt>
                <c:pt idx="2107">
                  <c:v>99.9</c:v>
                </c:pt>
                <c:pt idx="2108">
                  <c:v>108</c:v>
                </c:pt>
                <c:pt idx="2109">
                  <c:v>110.9</c:v>
                </c:pt>
                <c:pt idx="2110">
                  <c:v>115.6</c:v>
                </c:pt>
                <c:pt idx="2111">
                  <c:v>105.2</c:v>
                </c:pt>
                <c:pt idx="2112">
                  <c:v>90.7</c:v>
                </c:pt>
                <c:pt idx="2113">
                  <c:v>99.217291724328803</c:v>
                </c:pt>
                <c:pt idx="2114">
                  <c:v>98.558520229730107</c:v>
                </c:pt>
                <c:pt idx="2115">
                  <c:v>121.6</c:v>
                </c:pt>
                <c:pt idx="2116">
                  <c:v>91</c:v>
                </c:pt>
                <c:pt idx="2117">
                  <c:v>100.6</c:v>
                </c:pt>
                <c:pt idx="2118">
                  <c:v>102.8</c:v>
                </c:pt>
                <c:pt idx="2119">
                  <c:v>100.5</c:v>
                </c:pt>
                <c:pt idx="2120">
                  <c:v>93.3</c:v>
                </c:pt>
                <c:pt idx="2121">
                  <c:v>104.4</c:v>
                </c:pt>
                <c:pt idx="2122">
                  <c:v>108</c:v>
                </c:pt>
                <c:pt idx="2123">
                  <c:v>97.5</c:v>
                </c:pt>
                <c:pt idx="2124">
                  <c:v>93.2</c:v>
                </c:pt>
                <c:pt idx="2125">
                  <c:v>95.2</c:v>
                </c:pt>
                <c:pt idx="2126">
                  <c:v>102</c:v>
                </c:pt>
                <c:pt idx="2127">
                  <c:v>98</c:v>
                </c:pt>
                <c:pt idx="2128">
                  <c:v>99.5</c:v>
                </c:pt>
                <c:pt idx="2129">
                  <c:v>102.5</c:v>
                </c:pt>
                <c:pt idx="2130">
                  <c:v>96.856104942326894</c:v>
                </c:pt>
                <c:pt idx="2131">
                  <c:v>92.3</c:v>
                </c:pt>
                <c:pt idx="2132">
                  <c:v>101.6</c:v>
                </c:pt>
                <c:pt idx="2133">
                  <c:v>101.5</c:v>
                </c:pt>
                <c:pt idx="2134">
                  <c:v>94.6343795222772</c:v>
                </c:pt>
                <c:pt idx="2135">
                  <c:v>98.799999999999898</c:v>
                </c:pt>
                <c:pt idx="2136">
                  <c:v>105.7</c:v>
                </c:pt>
                <c:pt idx="2137">
                  <c:v>90.5</c:v>
                </c:pt>
                <c:pt idx="2138">
                  <c:v>87.4</c:v>
                </c:pt>
                <c:pt idx="2139">
                  <c:v>84.8</c:v>
                </c:pt>
                <c:pt idx="2140">
                  <c:v>126.2</c:v>
                </c:pt>
                <c:pt idx="2141">
                  <c:v>93.4</c:v>
                </c:pt>
                <c:pt idx="2142">
                  <c:v>100.5</c:v>
                </c:pt>
                <c:pt idx="2143">
                  <c:v>100</c:v>
                </c:pt>
                <c:pt idx="2144">
                  <c:v>93.4</c:v>
                </c:pt>
                <c:pt idx="2145">
                  <c:v>98.7</c:v>
                </c:pt>
                <c:pt idx="2146">
                  <c:v>69.8</c:v>
                </c:pt>
                <c:pt idx="2147">
                  <c:v>106.7</c:v>
                </c:pt>
                <c:pt idx="2148">
                  <c:v>99.7</c:v>
                </c:pt>
                <c:pt idx="2149">
                  <c:v>88.3</c:v>
                </c:pt>
                <c:pt idx="2150">
                  <c:v>104.2</c:v>
                </c:pt>
                <c:pt idx="2151">
                  <c:v>95.950623697315805</c:v>
                </c:pt>
                <c:pt idx="2152">
                  <c:v>95.7</c:v>
                </c:pt>
                <c:pt idx="2153">
                  <c:v>104.4</c:v>
                </c:pt>
                <c:pt idx="2154">
                  <c:v>112.4</c:v>
                </c:pt>
                <c:pt idx="2155">
                  <c:v>103.1</c:v>
                </c:pt>
                <c:pt idx="2156">
                  <c:v>93.8</c:v>
                </c:pt>
                <c:pt idx="2157">
                  <c:v>89.6</c:v>
                </c:pt>
                <c:pt idx="2158">
                  <c:v>90.988661963114197</c:v>
                </c:pt>
                <c:pt idx="2159">
                  <c:v>84.5</c:v>
                </c:pt>
                <c:pt idx="2160">
                  <c:v>116.5</c:v>
                </c:pt>
                <c:pt idx="2161">
                  <c:v>91.3</c:v>
                </c:pt>
                <c:pt idx="2162">
                  <c:v>112</c:v>
                </c:pt>
                <c:pt idx="2163">
                  <c:v>95.6</c:v>
                </c:pt>
                <c:pt idx="2164">
                  <c:v>99.3</c:v>
                </c:pt>
                <c:pt idx="2165">
                  <c:v>91.3</c:v>
                </c:pt>
                <c:pt idx="2166">
                  <c:v>94.8</c:v>
                </c:pt>
                <c:pt idx="2167">
                  <c:v>105.1</c:v>
                </c:pt>
                <c:pt idx="2168">
                  <c:v>96.1</c:v>
                </c:pt>
                <c:pt idx="2169">
                  <c:v>105.693427342256</c:v>
                </c:pt>
                <c:pt idx="2170">
                  <c:v>96.3</c:v>
                </c:pt>
                <c:pt idx="2171">
                  <c:v>99</c:v>
                </c:pt>
                <c:pt idx="2172">
                  <c:v>100.1044595</c:v>
                </c:pt>
                <c:pt idx="2173">
                  <c:v>90.1</c:v>
                </c:pt>
                <c:pt idx="2174">
                  <c:v>95</c:v>
                </c:pt>
                <c:pt idx="2175">
                  <c:v>144</c:v>
                </c:pt>
                <c:pt idx="2176">
                  <c:v>102.7</c:v>
                </c:pt>
                <c:pt idx="2177">
                  <c:v>98.4</c:v>
                </c:pt>
                <c:pt idx="2178">
                  <c:v>107</c:v>
                </c:pt>
                <c:pt idx="2179">
                  <c:v>104.5</c:v>
                </c:pt>
                <c:pt idx="2180">
                  <c:v>98.4</c:v>
                </c:pt>
                <c:pt idx="2181">
                  <c:v>112.9</c:v>
                </c:pt>
                <c:pt idx="2182">
                  <c:v>94.2</c:v>
                </c:pt>
                <c:pt idx="2183">
                  <c:v>147.6</c:v>
                </c:pt>
                <c:pt idx="2184">
                  <c:v>89.8</c:v>
                </c:pt>
                <c:pt idx="2185">
                  <c:v>107.3</c:v>
                </c:pt>
                <c:pt idx="2186">
                  <c:v>94.2</c:v>
                </c:pt>
                <c:pt idx="2187">
                  <c:v>106.3</c:v>
                </c:pt>
                <c:pt idx="2188">
                  <c:v>110.25007663569301</c:v>
                </c:pt>
                <c:pt idx="2189">
                  <c:v>95.2</c:v>
                </c:pt>
                <c:pt idx="2190">
                  <c:v>99</c:v>
                </c:pt>
                <c:pt idx="2191">
                  <c:v>97.352893307557693</c:v>
                </c:pt>
                <c:pt idx="2192">
                  <c:v>101.8</c:v>
                </c:pt>
                <c:pt idx="2193">
                  <c:v>115.6</c:v>
                </c:pt>
                <c:pt idx="2194">
                  <c:v>93</c:v>
                </c:pt>
                <c:pt idx="2195">
                  <c:v>88.9</c:v>
                </c:pt>
                <c:pt idx="2196">
                  <c:v>104.7</c:v>
                </c:pt>
                <c:pt idx="2197">
                  <c:v>112.2</c:v>
                </c:pt>
                <c:pt idx="2198">
                  <c:v>100.399314792422</c:v>
                </c:pt>
                <c:pt idx="2199">
                  <c:v>111.4</c:v>
                </c:pt>
                <c:pt idx="2200">
                  <c:v>99.1</c:v>
                </c:pt>
                <c:pt idx="2201">
                  <c:v>94.714893261617604</c:v>
                </c:pt>
                <c:pt idx="2202">
                  <c:v>108.4</c:v>
                </c:pt>
                <c:pt idx="2203">
                  <c:v>100.099999999999</c:v>
                </c:pt>
                <c:pt idx="2204">
                  <c:v>101.9</c:v>
                </c:pt>
                <c:pt idx="2205">
                  <c:v>98.3</c:v>
                </c:pt>
                <c:pt idx="2206">
                  <c:v>96.487721157680397</c:v>
                </c:pt>
                <c:pt idx="2207">
                  <c:v>106.3</c:v>
                </c:pt>
                <c:pt idx="2208">
                  <c:v>96.1</c:v>
                </c:pt>
                <c:pt idx="2209">
                  <c:v>112.7</c:v>
                </c:pt>
                <c:pt idx="2210">
                  <c:v>92.9</c:v>
                </c:pt>
                <c:pt idx="2211">
                  <c:v>97.623261908432198</c:v>
                </c:pt>
                <c:pt idx="2212">
                  <c:v>97.8</c:v>
                </c:pt>
                <c:pt idx="2213">
                  <c:v>99.1</c:v>
                </c:pt>
                <c:pt idx="2214">
                  <c:v>112.6</c:v>
                </c:pt>
                <c:pt idx="2215">
                  <c:v>99.3</c:v>
                </c:pt>
                <c:pt idx="2216">
                  <c:v>107.4</c:v>
                </c:pt>
                <c:pt idx="2217">
                  <c:v>102.2</c:v>
                </c:pt>
                <c:pt idx="2218">
                  <c:v>98.1</c:v>
                </c:pt>
                <c:pt idx="2219">
                  <c:v>84.1</c:v>
                </c:pt>
                <c:pt idx="2220">
                  <c:v>93</c:v>
                </c:pt>
                <c:pt idx="2221">
                  <c:v>113.6</c:v>
                </c:pt>
                <c:pt idx="2222">
                  <c:v>101.6</c:v>
                </c:pt>
                <c:pt idx="2223">
                  <c:v>105.9</c:v>
                </c:pt>
                <c:pt idx="2224">
                  <c:v>109</c:v>
                </c:pt>
                <c:pt idx="2225">
                  <c:v>99.800510419999995</c:v>
                </c:pt>
                <c:pt idx="2226">
                  <c:v>103.5</c:v>
                </c:pt>
                <c:pt idx="2227">
                  <c:v>94.773574206091993</c:v>
                </c:pt>
                <c:pt idx="2228">
                  <c:v>120.9</c:v>
                </c:pt>
                <c:pt idx="2229">
                  <c:v>106.7</c:v>
                </c:pt>
                <c:pt idx="2230">
                  <c:v>98.1</c:v>
                </c:pt>
                <c:pt idx="2231">
                  <c:v>93.2</c:v>
                </c:pt>
                <c:pt idx="2232">
                  <c:v>98.728842149104494</c:v>
                </c:pt>
                <c:pt idx="2233">
                  <c:v>115.4</c:v>
                </c:pt>
                <c:pt idx="2234">
                  <c:v>94.804007514088894</c:v>
                </c:pt>
                <c:pt idx="2235">
                  <c:v>111.099999999999</c:v>
                </c:pt>
                <c:pt idx="2236">
                  <c:v>134</c:v>
                </c:pt>
                <c:pt idx="2237">
                  <c:v>102.8</c:v>
                </c:pt>
                <c:pt idx="2238">
                  <c:v>111.1</c:v>
                </c:pt>
                <c:pt idx="2239">
                  <c:v>152.5</c:v>
                </c:pt>
                <c:pt idx="2240">
                  <c:v>96.5</c:v>
                </c:pt>
                <c:pt idx="2241">
                  <c:v>92.684592080000002</c:v>
                </c:pt>
                <c:pt idx="2242">
                  <c:v>96.592926013054495</c:v>
                </c:pt>
                <c:pt idx="2243">
                  <c:v>87.3</c:v>
                </c:pt>
                <c:pt idx="2244">
                  <c:v>96.3</c:v>
                </c:pt>
                <c:pt idx="2245">
                  <c:v>115.4</c:v>
                </c:pt>
                <c:pt idx="2246">
                  <c:v>100</c:v>
                </c:pt>
                <c:pt idx="2247">
                  <c:v>87.7</c:v>
                </c:pt>
                <c:pt idx="2248">
                  <c:v>128.19999999999999</c:v>
                </c:pt>
                <c:pt idx="2249">
                  <c:v>93.1</c:v>
                </c:pt>
                <c:pt idx="2250">
                  <c:v>104.599999999999</c:v>
                </c:pt>
                <c:pt idx="2251">
                  <c:v>107.2</c:v>
                </c:pt>
                <c:pt idx="2252">
                  <c:v>97.5</c:v>
                </c:pt>
                <c:pt idx="2253">
                  <c:v>92.6</c:v>
                </c:pt>
                <c:pt idx="2254">
                  <c:v>102.3</c:v>
                </c:pt>
                <c:pt idx="2255">
                  <c:v>108.7</c:v>
                </c:pt>
                <c:pt idx="2256">
                  <c:v>97.3</c:v>
                </c:pt>
                <c:pt idx="2257">
                  <c:v>99.8</c:v>
                </c:pt>
                <c:pt idx="2258">
                  <c:v>94.242744828808</c:v>
                </c:pt>
                <c:pt idx="2259">
                  <c:v>98.3</c:v>
                </c:pt>
                <c:pt idx="2260">
                  <c:v>95.321986098109804</c:v>
                </c:pt>
                <c:pt idx="2261">
                  <c:v>95.2</c:v>
                </c:pt>
                <c:pt idx="2262">
                  <c:v>103.6</c:v>
                </c:pt>
                <c:pt idx="2263">
                  <c:v>97.3</c:v>
                </c:pt>
                <c:pt idx="2264">
                  <c:v>106.4</c:v>
                </c:pt>
                <c:pt idx="2265">
                  <c:v>93.8</c:v>
                </c:pt>
                <c:pt idx="2266">
                  <c:v>91.1</c:v>
                </c:pt>
                <c:pt idx="2267">
                  <c:v>103</c:v>
                </c:pt>
                <c:pt idx="2268">
                  <c:v>99.2</c:v>
                </c:pt>
                <c:pt idx="2269">
                  <c:v>92.7</c:v>
                </c:pt>
                <c:pt idx="2270">
                  <c:v>96.856857466151595</c:v>
                </c:pt>
                <c:pt idx="2271">
                  <c:v>100.7</c:v>
                </c:pt>
                <c:pt idx="2272">
                  <c:v>95.9</c:v>
                </c:pt>
                <c:pt idx="2273">
                  <c:v>89.7</c:v>
                </c:pt>
                <c:pt idx="2274">
                  <c:v>100.4</c:v>
                </c:pt>
                <c:pt idx="2275">
                  <c:v>100.1</c:v>
                </c:pt>
                <c:pt idx="2276">
                  <c:v>117.099999999999</c:v>
                </c:pt>
                <c:pt idx="2277">
                  <c:v>94.1</c:v>
                </c:pt>
                <c:pt idx="2278">
                  <c:v>104.339354363863</c:v>
                </c:pt>
                <c:pt idx="2279">
                  <c:v>90.018733768568694</c:v>
                </c:pt>
                <c:pt idx="2280">
                  <c:v>104.7</c:v>
                </c:pt>
                <c:pt idx="2281">
                  <c:v>100.299999999999</c:v>
                </c:pt>
                <c:pt idx="2282">
                  <c:v>96.653999948069398</c:v>
                </c:pt>
                <c:pt idx="2283">
                  <c:v>103.5</c:v>
                </c:pt>
                <c:pt idx="2284">
                  <c:v>102.9</c:v>
                </c:pt>
                <c:pt idx="2285">
                  <c:v>198.7</c:v>
                </c:pt>
                <c:pt idx="2286">
                  <c:v>106.2</c:v>
                </c:pt>
                <c:pt idx="2287">
                  <c:v>99.3</c:v>
                </c:pt>
                <c:pt idx="2288">
                  <c:v>99.9</c:v>
                </c:pt>
                <c:pt idx="2289">
                  <c:v>99.9</c:v>
                </c:pt>
                <c:pt idx="2290">
                  <c:v>88.9</c:v>
                </c:pt>
                <c:pt idx="2291">
                  <c:v>96</c:v>
                </c:pt>
                <c:pt idx="2292">
                  <c:v>95.9</c:v>
                </c:pt>
                <c:pt idx="2293">
                  <c:v>104.7</c:v>
                </c:pt>
                <c:pt idx="2294">
                  <c:v>92.6</c:v>
                </c:pt>
                <c:pt idx="2295">
                  <c:v>98.2</c:v>
                </c:pt>
                <c:pt idx="2296">
                  <c:v>87.431174668791698</c:v>
                </c:pt>
                <c:pt idx="2297">
                  <c:v>92.5</c:v>
                </c:pt>
                <c:pt idx="2298">
                  <c:v>109.3</c:v>
                </c:pt>
                <c:pt idx="2299">
                  <c:v>69.400000000000006</c:v>
                </c:pt>
                <c:pt idx="2300">
                  <c:v>99.8</c:v>
                </c:pt>
                <c:pt idx="2301">
                  <c:v>104.8</c:v>
                </c:pt>
                <c:pt idx="2302">
                  <c:v>97</c:v>
                </c:pt>
                <c:pt idx="2303">
                  <c:v>96.266907848607303</c:v>
                </c:pt>
                <c:pt idx="2304">
                  <c:v>102.7</c:v>
                </c:pt>
                <c:pt idx="2305">
                  <c:v>115.2</c:v>
                </c:pt>
                <c:pt idx="2306">
                  <c:v>93.5</c:v>
                </c:pt>
                <c:pt idx="2307">
                  <c:v>95.8</c:v>
                </c:pt>
                <c:pt idx="2308">
                  <c:v>100</c:v>
                </c:pt>
                <c:pt idx="2309">
                  <c:v>89.8</c:v>
                </c:pt>
                <c:pt idx="2310">
                  <c:v>102.8</c:v>
                </c:pt>
                <c:pt idx="2311">
                  <c:v>99.3</c:v>
                </c:pt>
                <c:pt idx="2312">
                  <c:v>101.3</c:v>
                </c:pt>
                <c:pt idx="2313">
                  <c:v>87.8</c:v>
                </c:pt>
                <c:pt idx="2314">
                  <c:v>106.3568161</c:v>
                </c:pt>
                <c:pt idx="2315">
                  <c:v>105.8</c:v>
                </c:pt>
                <c:pt idx="2316">
                  <c:v>93.504654082091804</c:v>
                </c:pt>
                <c:pt idx="2317">
                  <c:v>106.9</c:v>
                </c:pt>
                <c:pt idx="2318">
                  <c:v>115.4</c:v>
                </c:pt>
                <c:pt idx="2319">
                  <c:v>91.3</c:v>
                </c:pt>
                <c:pt idx="2320">
                  <c:v>95.746282629999996</c:v>
                </c:pt>
                <c:pt idx="2321">
                  <c:v>104.73693813106701</c:v>
                </c:pt>
                <c:pt idx="2322">
                  <c:v>97.590513375489806</c:v>
                </c:pt>
                <c:pt idx="2323">
                  <c:v>90.3</c:v>
                </c:pt>
                <c:pt idx="2324">
                  <c:v>95.4</c:v>
                </c:pt>
                <c:pt idx="2325">
                  <c:v>87.8</c:v>
                </c:pt>
                <c:pt idx="2326">
                  <c:v>108.5</c:v>
                </c:pt>
                <c:pt idx="2327">
                  <c:v>95.135108802866498</c:v>
                </c:pt>
                <c:pt idx="2328">
                  <c:v>103.5</c:v>
                </c:pt>
                <c:pt idx="2329">
                  <c:v>86.750594978872599</c:v>
                </c:pt>
                <c:pt idx="2330">
                  <c:v>102.02253909254</c:v>
                </c:pt>
                <c:pt idx="2331">
                  <c:v>106.3</c:v>
                </c:pt>
                <c:pt idx="2332">
                  <c:v>93.8</c:v>
                </c:pt>
                <c:pt idx="2333">
                  <c:v>109.1</c:v>
                </c:pt>
                <c:pt idx="2334">
                  <c:v>90.5</c:v>
                </c:pt>
                <c:pt idx="2335">
                  <c:v>90.6</c:v>
                </c:pt>
                <c:pt idx="2336">
                  <c:v>91.3</c:v>
                </c:pt>
                <c:pt idx="2337">
                  <c:v>102.019686926104</c:v>
                </c:pt>
                <c:pt idx="2338">
                  <c:v>95.8252104208416</c:v>
                </c:pt>
                <c:pt idx="2339">
                  <c:v>99.6</c:v>
                </c:pt>
                <c:pt idx="2340">
                  <c:v>99.5</c:v>
                </c:pt>
                <c:pt idx="2341">
                  <c:v>94.6</c:v>
                </c:pt>
                <c:pt idx="2342">
                  <c:v>107.8</c:v>
                </c:pt>
                <c:pt idx="2343">
                  <c:v>99.3</c:v>
                </c:pt>
                <c:pt idx="2344">
                  <c:v>102.1</c:v>
                </c:pt>
                <c:pt idx="2345">
                  <c:v>103.1</c:v>
                </c:pt>
                <c:pt idx="2346">
                  <c:v>101.9</c:v>
                </c:pt>
                <c:pt idx="2347">
                  <c:v>107.7</c:v>
                </c:pt>
                <c:pt idx="2348">
                  <c:v>102.4</c:v>
                </c:pt>
                <c:pt idx="2349">
                  <c:v>96.1</c:v>
                </c:pt>
                <c:pt idx="2350">
                  <c:v>112.7</c:v>
                </c:pt>
                <c:pt idx="2351">
                  <c:v>106.6</c:v>
                </c:pt>
                <c:pt idx="2352">
                  <c:v>98.1</c:v>
                </c:pt>
                <c:pt idx="2353">
                  <c:v>96.6</c:v>
                </c:pt>
                <c:pt idx="2354">
                  <c:v>95.4</c:v>
                </c:pt>
                <c:pt idx="2355">
                  <c:v>96.9</c:v>
                </c:pt>
                <c:pt idx="2356">
                  <c:v>106.9</c:v>
                </c:pt>
                <c:pt idx="2357">
                  <c:v>93.278997590964494</c:v>
                </c:pt>
                <c:pt idx="2358">
                  <c:v>87.2</c:v>
                </c:pt>
                <c:pt idx="2359">
                  <c:v>96</c:v>
                </c:pt>
                <c:pt idx="2360">
                  <c:v>104.2</c:v>
                </c:pt>
                <c:pt idx="2361">
                  <c:v>97.6</c:v>
                </c:pt>
                <c:pt idx="2362">
                  <c:v>99.9</c:v>
                </c:pt>
                <c:pt idx="2363">
                  <c:v>93.3</c:v>
                </c:pt>
                <c:pt idx="2364">
                  <c:v>90.8</c:v>
                </c:pt>
                <c:pt idx="2365">
                  <c:v>108</c:v>
                </c:pt>
                <c:pt idx="2366">
                  <c:v>95.1</c:v>
                </c:pt>
                <c:pt idx="2367">
                  <c:v>98.3</c:v>
                </c:pt>
                <c:pt idx="2368">
                  <c:v>100.7</c:v>
                </c:pt>
                <c:pt idx="2369">
                  <c:v>100.7</c:v>
                </c:pt>
                <c:pt idx="2370">
                  <c:v>102.2</c:v>
                </c:pt>
                <c:pt idx="2371">
                  <c:v>97.2</c:v>
                </c:pt>
                <c:pt idx="2372">
                  <c:v>98.419372116455406</c:v>
                </c:pt>
                <c:pt idx="2373">
                  <c:v>105.4</c:v>
                </c:pt>
                <c:pt idx="2374">
                  <c:v>90.8</c:v>
                </c:pt>
                <c:pt idx="2375">
                  <c:v>99.7</c:v>
                </c:pt>
                <c:pt idx="2376">
                  <c:v>102</c:v>
                </c:pt>
                <c:pt idx="2377">
                  <c:v>100.5</c:v>
                </c:pt>
                <c:pt idx="2378">
                  <c:v>112.5</c:v>
                </c:pt>
                <c:pt idx="2379">
                  <c:v>99.5</c:v>
                </c:pt>
                <c:pt idx="2380">
                  <c:v>92.1</c:v>
                </c:pt>
                <c:pt idx="2381">
                  <c:v>104.2</c:v>
                </c:pt>
                <c:pt idx="2382">
                  <c:v>97.5</c:v>
                </c:pt>
                <c:pt idx="2383">
                  <c:v>99.8</c:v>
                </c:pt>
                <c:pt idx="2384">
                  <c:v>102.1</c:v>
                </c:pt>
                <c:pt idx="2385">
                  <c:v>108.7</c:v>
                </c:pt>
                <c:pt idx="2386">
                  <c:v>96.3</c:v>
                </c:pt>
                <c:pt idx="2387">
                  <c:v>99.1</c:v>
                </c:pt>
                <c:pt idx="2388">
                  <c:v>100.115866193234</c:v>
                </c:pt>
                <c:pt idx="2389">
                  <c:v>92.8</c:v>
                </c:pt>
                <c:pt idx="2390">
                  <c:v>97.2</c:v>
                </c:pt>
                <c:pt idx="2391">
                  <c:v>97.465120650000003</c:v>
                </c:pt>
                <c:pt idx="2392">
                  <c:v>109.9</c:v>
                </c:pt>
                <c:pt idx="2393">
                  <c:v>98.4</c:v>
                </c:pt>
                <c:pt idx="2394">
                  <c:v>104.1</c:v>
                </c:pt>
                <c:pt idx="2395">
                  <c:v>105.3</c:v>
                </c:pt>
                <c:pt idx="2396">
                  <c:v>106.8</c:v>
                </c:pt>
                <c:pt idx="2397">
                  <c:v>100.1</c:v>
                </c:pt>
                <c:pt idx="2398">
                  <c:v>97.2</c:v>
                </c:pt>
                <c:pt idx="2399">
                  <c:v>121.7</c:v>
                </c:pt>
                <c:pt idx="2400">
                  <c:v>101</c:v>
                </c:pt>
                <c:pt idx="2401">
                  <c:v>90.4</c:v>
                </c:pt>
                <c:pt idx="2402">
                  <c:v>100.2</c:v>
                </c:pt>
                <c:pt idx="2403">
                  <c:v>93.8</c:v>
                </c:pt>
                <c:pt idx="2404">
                  <c:v>92.7</c:v>
                </c:pt>
                <c:pt idx="2405">
                  <c:v>102.2</c:v>
                </c:pt>
                <c:pt idx="2406">
                  <c:v>98.4</c:v>
                </c:pt>
                <c:pt idx="2407">
                  <c:v>106.3</c:v>
                </c:pt>
                <c:pt idx="2408">
                  <c:v>93.8</c:v>
                </c:pt>
                <c:pt idx="2409">
                  <c:v>102.5</c:v>
                </c:pt>
                <c:pt idx="2410">
                  <c:v>234.5</c:v>
                </c:pt>
                <c:pt idx="2411">
                  <c:v>97.7</c:v>
                </c:pt>
                <c:pt idx="2412">
                  <c:v>103</c:v>
                </c:pt>
                <c:pt idx="2413">
                  <c:v>105.7</c:v>
                </c:pt>
                <c:pt idx="2414">
                  <c:v>97.8</c:v>
                </c:pt>
                <c:pt idx="2415">
                  <c:v>103.5</c:v>
                </c:pt>
                <c:pt idx="2416">
                  <c:v>97.4</c:v>
                </c:pt>
                <c:pt idx="2417">
                  <c:v>107.1</c:v>
                </c:pt>
                <c:pt idx="2418">
                  <c:v>90.2</c:v>
                </c:pt>
                <c:pt idx="2419">
                  <c:v>101.8</c:v>
                </c:pt>
                <c:pt idx="2420">
                  <c:v>103.7</c:v>
                </c:pt>
                <c:pt idx="2421">
                  <c:v>111.2</c:v>
                </c:pt>
                <c:pt idx="2422">
                  <c:v>93.9</c:v>
                </c:pt>
                <c:pt idx="2423">
                  <c:v>110.2</c:v>
                </c:pt>
                <c:pt idx="2424">
                  <c:v>92.9</c:v>
                </c:pt>
                <c:pt idx="2425">
                  <c:v>111.7</c:v>
                </c:pt>
                <c:pt idx="2426">
                  <c:v>102.9</c:v>
                </c:pt>
                <c:pt idx="2427">
                  <c:v>103.6</c:v>
                </c:pt>
                <c:pt idx="2428">
                  <c:v>99</c:v>
                </c:pt>
                <c:pt idx="2429">
                  <c:v>109.099999999999</c:v>
                </c:pt>
                <c:pt idx="2430">
                  <c:v>96.7364898629354</c:v>
                </c:pt>
                <c:pt idx="2431">
                  <c:v>98</c:v>
                </c:pt>
                <c:pt idx="2432">
                  <c:v>99.6</c:v>
                </c:pt>
                <c:pt idx="2433">
                  <c:v>100.38767093733399</c:v>
                </c:pt>
                <c:pt idx="2434">
                  <c:v>107.2</c:v>
                </c:pt>
                <c:pt idx="2435">
                  <c:v>114.6</c:v>
                </c:pt>
                <c:pt idx="2436">
                  <c:v>80</c:v>
                </c:pt>
                <c:pt idx="2437">
                  <c:v>113.7</c:v>
                </c:pt>
                <c:pt idx="2438">
                  <c:v>96.214414769839706</c:v>
                </c:pt>
                <c:pt idx="2439">
                  <c:v>103.8</c:v>
                </c:pt>
                <c:pt idx="2440">
                  <c:v>96.6</c:v>
                </c:pt>
                <c:pt idx="2441">
                  <c:v>108.2</c:v>
                </c:pt>
                <c:pt idx="2442">
                  <c:v>94</c:v>
                </c:pt>
                <c:pt idx="2443">
                  <c:v>112.2</c:v>
                </c:pt>
                <c:pt idx="2444">
                  <c:v>98.5</c:v>
                </c:pt>
                <c:pt idx="2445">
                  <c:v>99</c:v>
                </c:pt>
                <c:pt idx="2446">
                  <c:v>100.8</c:v>
                </c:pt>
                <c:pt idx="2447">
                  <c:v>103.8</c:v>
                </c:pt>
                <c:pt idx="2448">
                  <c:v>103.8</c:v>
                </c:pt>
                <c:pt idx="2449">
                  <c:v>85.7</c:v>
                </c:pt>
                <c:pt idx="2450">
                  <c:v>104.7</c:v>
                </c:pt>
                <c:pt idx="2451">
                  <c:v>96.1</c:v>
                </c:pt>
                <c:pt idx="2452">
                  <c:v>108.1</c:v>
                </c:pt>
                <c:pt idx="2453">
                  <c:v>96.9</c:v>
                </c:pt>
                <c:pt idx="2454">
                  <c:v>104.6</c:v>
                </c:pt>
                <c:pt idx="2455">
                  <c:v>112.1</c:v>
                </c:pt>
                <c:pt idx="2456">
                  <c:v>89.6</c:v>
                </c:pt>
                <c:pt idx="2457">
                  <c:v>95.372731310914205</c:v>
                </c:pt>
                <c:pt idx="2458">
                  <c:v>91.6</c:v>
                </c:pt>
                <c:pt idx="2459">
                  <c:v>98.6</c:v>
                </c:pt>
                <c:pt idx="2460">
                  <c:v>148.5</c:v>
                </c:pt>
                <c:pt idx="2461">
                  <c:v>92.8</c:v>
                </c:pt>
                <c:pt idx="2462">
                  <c:v>96.4</c:v>
                </c:pt>
                <c:pt idx="2463">
                  <c:v>101.4</c:v>
                </c:pt>
                <c:pt idx="2464">
                  <c:v>143.5</c:v>
                </c:pt>
                <c:pt idx="2465">
                  <c:v>95.5</c:v>
                </c:pt>
                <c:pt idx="2466">
                  <c:v>101.9</c:v>
                </c:pt>
                <c:pt idx="2467">
                  <c:v>96.5</c:v>
                </c:pt>
                <c:pt idx="2468">
                  <c:v>104.8</c:v>
                </c:pt>
                <c:pt idx="2469">
                  <c:v>89.1</c:v>
                </c:pt>
                <c:pt idx="2470">
                  <c:v>118</c:v>
                </c:pt>
                <c:pt idx="2471">
                  <c:v>92</c:v>
                </c:pt>
                <c:pt idx="2472">
                  <c:v>104.7</c:v>
                </c:pt>
                <c:pt idx="2473">
                  <c:v>107.1</c:v>
                </c:pt>
                <c:pt idx="2474">
                  <c:v>91</c:v>
                </c:pt>
                <c:pt idx="2475">
                  <c:v>98.9</c:v>
                </c:pt>
                <c:pt idx="2476">
                  <c:v>93.8</c:v>
                </c:pt>
                <c:pt idx="2477">
                  <c:v>88.5</c:v>
                </c:pt>
                <c:pt idx="2478">
                  <c:v>103</c:v>
                </c:pt>
                <c:pt idx="2479">
                  <c:v>91.8</c:v>
                </c:pt>
                <c:pt idx="2480">
                  <c:v>95.1</c:v>
                </c:pt>
                <c:pt idx="2481">
                  <c:v>108.3</c:v>
                </c:pt>
                <c:pt idx="2482">
                  <c:v>93.2</c:v>
                </c:pt>
                <c:pt idx="2483">
                  <c:v>98.5</c:v>
                </c:pt>
                <c:pt idx="2484">
                  <c:v>95.4</c:v>
                </c:pt>
                <c:pt idx="2485">
                  <c:v>99</c:v>
                </c:pt>
                <c:pt idx="2486">
                  <c:v>92.2</c:v>
                </c:pt>
                <c:pt idx="2487">
                  <c:v>95.321395958341895</c:v>
                </c:pt>
                <c:pt idx="2488">
                  <c:v>110.9</c:v>
                </c:pt>
                <c:pt idx="2489">
                  <c:v>90</c:v>
                </c:pt>
                <c:pt idx="2490">
                  <c:v>87</c:v>
                </c:pt>
                <c:pt idx="2491">
                  <c:v>101.2</c:v>
                </c:pt>
                <c:pt idx="2492">
                  <c:v>99.5</c:v>
                </c:pt>
                <c:pt idx="2493">
                  <c:v>91.5</c:v>
                </c:pt>
                <c:pt idx="2494">
                  <c:v>101.7</c:v>
                </c:pt>
                <c:pt idx="2495">
                  <c:v>91.5</c:v>
                </c:pt>
                <c:pt idx="2496">
                  <c:v>86.4</c:v>
                </c:pt>
                <c:pt idx="2497">
                  <c:v>87.389189878702098</c:v>
                </c:pt>
                <c:pt idx="2498">
                  <c:v>106.7</c:v>
                </c:pt>
                <c:pt idx="2499">
                  <c:v>104.1</c:v>
                </c:pt>
                <c:pt idx="2500">
                  <c:v>124.3</c:v>
                </c:pt>
                <c:pt idx="2501">
                  <c:v>95.6</c:v>
                </c:pt>
                <c:pt idx="2502">
                  <c:v>77.3</c:v>
                </c:pt>
                <c:pt idx="2503">
                  <c:v>95.2</c:v>
                </c:pt>
                <c:pt idx="2504">
                  <c:v>94.785916973200202</c:v>
                </c:pt>
                <c:pt idx="2505">
                  <c:v>95.7</c:v>
                </c:pt>
                <c:pt idx="2506">
                  <c:v>102.6</c:v>
                </c:pt>
                <c:pt idx="2507">
                  <c:v>86.7</c:v>
                </c:pt>
                <c:pt idx="2508">
                  <c:v>95.7</c:v>
                </c:pt>
                <c:pt idx="2509">
                  <c:v>92.2</c:v>
                </c:pt>
                <c:pt idx="2510">
                  <c:v>93.515094320000003</c:v>
                </c:pt>
                <c:pt idx="2511">
                  <c:v>92.8</c:v>
                </c:pt>
                <c:pt idx="2512">
                  <c:v>108.2</c:v>
                </c:pt>
                <c:pt idx="2513">
                  <c:v>85.5</c:v>
                </c:pt>
                <c:pt idx="2514">
                  <c:v>92.8</c:v>
                </c:pt>
                <c:pt idx="2515">
                  <c:v>92.9</c:v>
                </c:pt>
                <c:pt idx="2516">
                  <c:v>98.4</c:v>
                </c:pt>
                <c:pt idx="2517">
                  <c:v>95.2</c:v>
                </c:pt>
                <c:pt idx="2518">
                  <c:v>89</c:v>
                </c:pt>
                <c:pt idx="2519">
                  <c:v>99.3</c:v>
                </c:pt>
                <c:pt idx="2520">
                  <c:v>85.4</c:v>
                </c:pt>
                <c:pt idx="2521">
                  <c:v>76.900000000000006</c:v>
                </c:pt>
                <c:pt idx="2522">
                  <c:v>104.3</c:v>
                </c:pt>
                <c:pt idx="2523">
                  <c:v>103.8</c:v>
                </c:pt>
                <c:pt idx="2524">
                  <c:v>105.3</c:v>
                </c:pt>
                <c:pt idx="2525">
                  <c:v>93</c:v>
                </c:pt>
                <c:pt idx="2526">
                  <c:v>128.9</c:v>
                </c:pt>
                <c:pt idx="2527">
                  <c:v>95.8</c:v>
                </c:pt>
                <c:pt idx="2528">
                  <c:v>82.8</c:v>
                </c:pt>
                <c:pt idx="2529">
                  <c:v>83.619723037577302</c:v>
                </c:pt>
                <c:pt idx="2530">
                  <c:v>84.8</c:v>
                </c:pt>
                <c:pt idx="2531">
                  <c:v>93.4</c:v>
                </c:pt>
                <c:pt idx="2532">
                  <c:v>101.1</c:v>
                </c:pt>
                <c:pt idx="2533">
                  <c:v>101.554859683868</c:v>
                </c:pt>
                <c:pt idx="2534">
                  <c:v>101.4</c:v>
                </c:pt>
                <c:pt idx="2535">
                  <c:v>97.5</c:v>
                </c:pt>
                <c:pt idx="2536">
                  <c:v>99.646693612821295</c:v>
                </c:pt>
                <c:pt idx="2537">
                  <c:v>93</c:v>
                </c:pt>
                <c:pt idx="2538">
                  <c:v>86.3</c:v>
                </c:pt>
                <c:pt idx="2539">
                  <c:v>91</c:v>
                </c:pt>
                <c:pt idx="2540">
                  <c:v>84</c:v>
                </c:pt>
                <c:pt idx="2541">
                  <c:v>98.3</c:v>
                </c:pt>
                <c:pt idx="2542">
                  <c:v>99.6</c:v>
                </c:pt>
                <c:pt idx="2543">
                  <c:v>92.9</c:v>
                </c:pt>
                <c:pt idx="2544">
                  <c:v>90.2</c:v>
                </c:pt>
                <c:pt idx="2545">
                  <c:v>106.2</c:v>
                </c:pt>
                <c:pt idx="2546">
                  <c:v>84.7</c:v>
                </c:pt>
                <c:pt idx="2547">
                  <c:v>93.8</c:v>
                </c:pt>
                <c:pt idx="2548">
                  <c:v>89.2</c:v>
                </c:pt>
                <c:pt idx="2549">
                  <c:v>100.5</c:v>
                </c:pt>
                <c:pt idx="2550">
                  <c:v>92.2</c:v>
                </c:pt>
                <c:pt idx="2551">
                  <c:v>98.5</c:v>
                </c:pt>
                <c:pt idx="2552">
                  <c:v>102</c:v>
                </c:pt>
                <c:pt idx="2553">
                  <c:v>96.2</c:v>
                </c:pt>
                <c:pt idx="2554">
                  <c:v>95.8</c:v>
                </c:pt>
                <c:pt idx="2555">
                  <c:v>100.5</c:v>
                </c:pt>
                <c:pt idx="2556">
                  <c:v>100.299999999999</c:v>
                </c:pt>
                <c:pt idx="2557">
                  <c:v>84.9</c:v>
                </c:pt>
                <c:pt idx="2558">
                  <c:v>95.1</c:v>
                </c:pt>
                <c:pt idx="2559">
                  <c:v>91.5</c:v>
                </c:pt>
                <c:pt idx="2560">
                  <c:v>98.8</c:v>
                </c:pt>
                <c:pt idx="2561">
                  <c:v>111.4</c:v>
                </c:pt>
                <c:pt idx="2562">
                  <c:v>102.7</c:v>
                </c:pt>
                <c:pt idx="2563">
                  <c:v>104.7</c:v>
                </c:pt>
                <c:pt idx="2564">
                  <c:v>83.4</c:v>
                </c:pt>
                <c:pt idx="2565">
                  <c:v>105</c:v>
                </c:pt>
                <c:pt idx="2566">
                  <c:v>90.1</c:v>
                </c:pt>
                <c:pt idx="2567">
                  <c:v>101.9</c:v>
                </c:pt>
                <c:pt idx="2568">
                  <c:v>90.3</c:v>
                </c:pt>
                <c:pt idx="2569">
                  <c:v>93.8</c:v>
                </c:pt>
                <c:pt idx="2570">
                  <c:v>99.5</c:v>
                </c:pt>
                <c:pt idx="2571">
                  <c:v>93</c:v>
                </c:pt>
                <c:pt idx="2572">
                  <c:v>94.8</c:v>
                </c:pt>
                <c:pt idx="2573">
                  <c:v>110.8</c:v>
                </c:pt>
                <c:pt idx="2574">
                  <c:v>102.6</c:v>
                </c:pt>
                <c:pt idx="2575">
                  <c:v>98.6</c:v>
                </c:pt>
                <c:pt idx="2576">
                  <c:v>104</c:v>
                </c:pt>
                <c:pt idx="2577">
                  <c:v>101.7</c:v>
                </c:pt>
                <c:pt idx="2578">
                  <c:v>111.9</c:v>
                </c:pt>
                <c:pt idx="2579">
                  <c:v>102.1</c:v>
                </c:pt>
                <c:pt idx="2580">
                  <c:v>91.8</c:v>
                </c:pt>
                <c:pt idx="2581">
                  <c:v>98.9</c:v>
                </c:pt>
                <c:pt idx="2582">
                  <c:v>89.7</c:v>
                </c:pt>
                <c:pt idx="2583">
                  <c:v>103.9</c:v>
                </c:pt>
                <c:pt idx="2584">
                  <c:v>96.7</c:v>
                </c:pt>
                <c:pt idx="2585">
                  <c:v>91.2</c:v>
                </c:pt>
                <c:pt idx="2586">
                  <c:v>94.7</c:v>
                </c:pt>
                <c:pt idx="2587">
                  <c:v>98.4</c:v>
                </c:pt>
                <c:pt idx="2588">
                  <c:v>97</c:v>
                </c:pt>
                <c:pt idx="2589">
                  <c:v>106</c:v>
                </c:pt>
                <c:pt idx="2590">
                  <c:v>94.6</c:v>
                </c:pt>
                <c:pt idx="2591">
                  <c:v>95</c:v>
                </c:pt>
                <c:pt idx="2592">
                  <c:v>96.7</c:v>
                </c:pt>
                <c:pt idx="2593">
                  <c:v>101.540970831641</c:v>
                </c:pt>
                <c:pt idx="2594">
                  <c:v>96.599999999999895</c:v>
                </c:pt>
                <c:pt idx="2595">
                  <c:v>109.3</c:v>
                </c:pt>
                <c:pt idx="2596">
                  <c:v>88</c:v>
                </c:pt>
                <c:pt idx="2597">
                  <c:v>84.8</c:v>
                </c:pt>
                <c:pt idx="2598">
                  <c:v>95.5</c:v>
                </c:pt>
                <c:pt idx="2599">
                  <c:v>82.3</c:v>
                </c:pt>
                <c:pt idx="2600">
                  <c:v>94.5</c:v>
                </c:pt>
                <c:pt idx="2601">
                  <c:v>111.2</c:v>
                </c:pt>
                <c:pt idx="2602">
                  <c:v>101</c:v>
                </c:pt>
                <c:pt idx="2603">
                  <c:v>88.1</c:v>
                </c:pt>
                <c:pt idx="2604">
                  <c:v>97.2</c:v>
                </c:pt>
                <c:pt idx="2605">
                  <c:v>84.2</c:v>
                </c:pt>
                <c:pt idx="2606">
                  <c:v>90.9</c:v>
                </c:pt>
                <c:pt idx="2607">
                  <c:v>100.8</c:v>
                </c:pt>
                <c:pt idx="2608">
                  <c:v>72.2</c:v>
                </c:pt>
                <c:pt idx="2609">
                  <c:v>95.3</c:v>
                </c:pt>
                <c:pt idx="2610">
                  <c:v>92.9</c:v>
                </c:pt>
                <c:pt idx="2611">
                  <c:v>99.6</c:v>
                </c:pt>
                <c:pt idx="2612">
                  <c:v>94.3</c:v>
                </c:pt>
                <c:pt idx="2613">
                  <c:v>90.2</c:v>
                </c:pt>
                <c:pt idx="2614">
                  <c:v>99.8</c:v>
                </c:pt>
                <c:pt idx="2615">
                  <c:v>99.1</c:v>
                </c:pt>
                <c:pt idx="2616">
                  <c:v>85.2</c:v>
                </c:pt>
                <c:pt idx="2617">
                  <c:v>90.9</c:v>
                </c:pt>
                <c:pt idx="2618">
                  <c:v>95.4</c:v>
                </c:pt>
                <c:pt idx="2619">
                  <c:v>94.299999999999898</c:v>
                </c:pt>
                <c:pt idx="2620">
                  <c:v>96.3</c:v>
                </c:pt>
                <c:pt idx="2621">
                  <c:v>98.6</c:v>
                </c:pt>
                <c:pt idx="2622">
                  <c:v>90.2</c:v>
                </c:pt>
                <c:pt idx="2623">
                  <c:v>90.2</c:v>
                </c:pt>
                <c:pt idx="2624">
                  <c:v>101.2</c:v>
                </c:pt>
                <c:pt idx="2625">
                  <c:v>107.2</c:v>
                </c:pt>
                <c:pt idx="2626">
                  <c:v>77.400000000000006</c:v>
                </c:pt>
                <c:pt idx="2627">
                  <c:v>91.8</c:v>
                </c:pt>
                <c:pt idx="2628">
                  <c:v>103.8</c:v>
                </c:pt>
                <c:pt idx="2629">
                  <c:v>104.3</c:v>
                </c:pt>
                <c:pt idx="2630">
                  <c:v>82.9</c:v>
                </c:pt>
                <c:pt idx="2631">
                  <c:v>86</c:v>
                </c:pt>
                <c:pt idx="2632">
                  <c:v>98</c:v>
                </c:pt>
                <c:pt idx="2633">
                  <c:v>93.3</c:v>
                </c:pt>
                <c:pt idx="2634">
                  <c:v>105</c:v>
                </c:pt>
                <c:pt idx="2635">
                  <c:v>101.4</c:v>
                </c:pt>
                <c:pt idx="2636">
                  <c:v>98.9</c:v>
                </c:pt>
                <c:pt idx="2637">
                  <c:v>98.6</c:v>
                </c:pt>
                <c:pt idx="2638">
                  <c:v>98.1</c:v>
                </c:pt>
                <c:pt idx="2639">
                  <c:v>93.8</c:v>
                </c:pt>
                <c:pt idx="2640">
                  <c:v>101.2</c:v>
                </c:pt>
                <c:pt idx="2641">
                  <c:v>88.1</c:v>
                </c:pt>
                <c:pt idx="2642">
                  <c:v>94.3</c:v>
                </c:pt>
                <c:pt idx="2643">
                  <c:v>101.3</c:v>
                </c:pt>
                <c:pt idx="2644">
                  <c:v>95.1</c:v>
                </c:pt>
                <c:pt idx="2645">
                  <c:v>95.6</c:v>
                </c:pt>
                <c:pt idx="2646">
                  <c:v>101.261514043863</c:v>
                </c:pt>
                <c:pt idx="2647">
                  <c:v>82.1</c:v>
                </c:pt>
                <c:pt idx="2648">
                  <c:v>92.9</c:v>
                </c:pt>
                <c:pt idx="2649">
                  <c:v>94.7</c:v>
                </c:pt>
                <c:pt idx="2650">
                  <c:v>101.1</c:v>
                </c:pt>
                <c:pt idx="2651">
                  <c:v>96.1</c:v>
                </c:pt>
                <c:pt idx="2652">
                  <c:v>98.817024330900196</c:v>
                </c:pt>
                <c:pt idx="2653">
                  <c:v>90.7</c:v>
                </c:pt>
                <c:pt idx="2654">
                  <c:v>92.7</c:v>
                </c:pt>
                <c:pt idx="2655">
                  <c:v>92.8</c:v>
                </c:pt>
                <c:pt idx="2656">
                  <c:v>104</c:v>
                </c:pt>
                <c:pt idx="2657">
                  <c:v>96.6</c:v>
                </c:pt>
                <c:pt idx="2658">
                  <c:v>107.6</c:v>
                </c:pt>
                <c:pt idx="2659">
                  <c:v>83.7</c:v>
                </c:pt>
                <c:pt idx="2660">
                  <c:v>107.6</c:v>
                </c:pt>
                <c:pt idx="2661">
                  <c:v>93.3</c:v>
                </c:pt>
                <c:pt idx="2662">
                  <c:v>86.1</c:v>
                </c:pt>
                <c:pt idx="2663">
                  <c:v>101.8</c:v>
                </c:pt>
                <c:pt idx="2664">
                  <c:v>93.8</c:v>
                </c:pt>
                <c:pt idx="2665">
                  <c:v>92.7</c:v>
                </c:pt>
                <c:pt idx="2666">
                  <c:v>100.497343169717</c:v>
                </c:pt>
                <c:pt idx="2667">
                  <c:v>94</c:v>
                </c:pt>
                <c:pt idx="2668">
                  <c:v>98.3</c:v>
                </c:pt>
                <c:pt idx="2669">
                  <c:v>97.4</c:v>
                </c:pt>
                <c:pt idx="2670">
                  <c:v>96.5</c:v>
                </c:pt>
                <c:pt idx="2671">
                  <c:v>95.5</c:v>
                </c:pt>
                <c:pt idx="2672">
                  <c:v>92.3</c:v>
                </c:pt>
                <c:pt idx="2673">
                  <c:v>103</c:v>
                </c:pt>
                <c:pt idx="2674">
                  <c:v>84.3</c:v>
                </c:pt>
                <c:pt idx="2675">
                  <c:v>98.7</c:v>
                </c:pt>
                <c:pt idx="2676">
                  <c:v>104.2</c:v>
                </c:pt>
                <c:pt idx="2677">
                  <c:v>93.7</c:v>
                </c:pt>
                <c:pt idx="2678">
                  <c:v>92</c:v>
                </c:pt>
                <c:pt idx="2679">
                  <c:v>84.8</c:v>
                </c:pt>
                <c:pt idx="2680">
                  <c:v>76.5</c:v>
                </c:pt>
                <c:pt idx="2681">
                  <c:v>99.4</c:v>
                </c:pt>
                <c:pt idx="2682">
                  <c:v>103</c:v>
                </c:pt>
                <c:pt idx="2683">
                  <c:v>98.1</c:v>
                </c:pt>
                <c:pt idx="2684">
                  <c:v>81.8</c:v>
                </c:pt>
                <c:pt idx="2685">
                  <c:v>96.5</c:v>
                </c:pt>
                <c:pt idx="2686">
                  <c:v>95</c:v>
                </c:pt>
                <c:pt idx="2687">
                  <c:v>98.5</c:v>
                </c:pt>
                <c:pt idx="2688">
                  <c:v>105.6</c:v>
                </c:pt>
                <c:pt idx="2689">
                  <c:v>97.9</c:v>
                </c:pt>
                <c:pt idx="2690">
                  <c:v>96.7</c:v>
                </c:pt>
                <c:pt idx="2691">
                  <c:v>95.5</c:v>
                </c:pt>
                <c:pt idx="2692">
                  <c:v>99.357497821298395</c:v>
                </c:pt>
                <c:pt idx="2693">
                  <c:v>86.6</c:v>
                </c:pt>
                <c:pt idx="2694">
                  <c:v>84.2</c:v>
                </c:pt>
                <c:pt idx="2695">
                  <c:v>89.1</c:v>
                </c:pt>
                <c:pt idx="2696">
                  <c:v>94.9</c:v>
                </c:pt>
                <c:pt idx="2697">
                  <c:v>82.6</c:v>
                </c:pt>
                <c:pt idx="2698">
                  <c:v>103.5</c:v>
                </c:pt>
                <c:pt idx="2699">
                  <c:v>96.4</c:v>
                </c:pt>
                <c:pt idx="2700">
                  <c:v>98.3</c:v>
                </c:pt>
                <c:pt idx="2701">
                  <c:v>111</c:v>
                </c:pt>
                <c:pt idx="2702">
                  <c:v>100.3</c:v>
                </c:pt>
                <c:pt idx="2703">
                  <c:v>103.75654783605</c:v>
                </c:pt>
                <c:pt idx="2704">
                  <c:v>104.1</c:v>
                </c:pt>
                <c:pt idx="2705">
                  <c:v>88.6</c:v>
                </c:pt>
                <c:pt idx="2706">
                  <c:v>95.7</c:v>
                </c:pt>
                <c:pt idx="2707">
                  <c:v>97.2</c:v>
                </c:pt>
                <c:pt idx="2708">
                  <c:v>91.7</c:v>
                </c:pt>
                <c:pt idx="2709">
                  <c:v>87</c:v>
                </c:pt>
                <c:pt idx="2710">
                  <c:v>108.6</c:v>
                </c:pt>
                <c:pt idx="2711">
                  <c:v>97.628956715194505</c:v>
                </c:pt>
                <c:pt idx="2712">
                  <c:v>96.7</c:v>
                </c:pt>
                <c:pt idx="2713">
                  <c:v>106</c:v>
                </c:pt>
                <c:pt idx="2714">
                  <c:v>104</c:v>
                </c:pt>
                <c:pt idx="2715">
                  <c:v>99.2</c:v>
                </c:pt>
                <c:pt idx="2716">
                  <c:v>98.6</c:v>
                </c:pt>
                <c:pt idx="2717">
                  <c:v>92.6</c:v>
                </c:pt>
                <c:pt idx="2718">
                  <c:v>95.7</c:v>
                </c:pt>
                <c:pt idx="2719">
                  <c:v>101.1</c:v>
                </c:pt>
                <c:pt idx="2720">
                  <c:v>97.9</c:v>
                </c:pt>
                <c:pt idx="2721">
                  <c:v>101.2</c:v>
                </c:pt>
                <c:pt idx="2722">
                  <c:v>94.9</c:v>
                </c:pt>
                <c:pt idx="2723">
                  <c:v>90.8</c:v>
                </c:pt>
                <c:pt idx="2724">
                  <c:v>99.9</c:v>
                </c:pt>
                <c:pt idx="2725">
                  <c:v>86</c:v>
                </c:pt>
                <c:pt idx="2726">
                  <c:v>75.2</c:v>
                </c:pt>
                <c:pt idx="2727">
                  <c:v>88.7</c:v>
                </c:pt>
                <c:pt idx="2728">
                  <c:v>86.6</c:v>
                </c:pt>
                <c:pt idx="2729">
                  <c:v>97</c:v>
                </c:pt>
                <c:pt idx="2730">
                  <c:v>107.4</c:v>
                </c:pt>
                <c:pt idx="2731">
                  <c:v>97.8</c:v>
                </c:pt>
                <c:pt idx="2732">
                  <c:v>99.3</c:v>
                </c:pt>
                <c:pt idx="2733">
                  <c:v>101.599999999999</c:v>
                </c:pt>
                <c:pt idx="2734">
                  <c:v>103.8</c:v>
                </c:pt>
                <c:pt idx="2735">
                  <c:v>84.5</c:v>
                </c:pt>
                <c:pt idx="2736">
                  <c:v>99.3</c:v>
                </c:pt>
                <c:pt idx="2737">
                  <c:v>91.1</c:v>
                </c:pt>
                <c:pt idx="2738">
                  <c:v>128.6</c:v>
                </c:pt>
                <c:pt idx="2739">
                  <c:v>95.8</c:v>
                </c:pt>
                <c:pt idx="2740">
                  <c:v>96.9</c:v>
                </c:pt>
                <c:pt idx="2741">
                  <c:v>94.8</c:v>
                </c:pt>
                <c:pt idx="2742">
                  <c:v>86.7</c:v>
                </c:pt>
                <c:pt idx="2743">
                  <c:v>95.7</c:v>
                </c:pt>
                <c:pt idx="2744">
                  <c:v>93.9</c:v>
                </c:pt>
                <c:pt idx="2745">
                  <c:v>97.9</c:v>
                </c:pt>
                <c:pt idx="2746">
                  <c:v>94.8</c:v>
                </c:pt>
                <c:pt idx="2747">
                  <c:v>103.2</c:v>
                </c:pt>
                <c:pt idx="2748">
                  <c:v>95</c:v>
                </c:pt>
                <c:pt idx="2749">
                  <c:v>113.5</c:v>
                </c:pt>
                <c:pt idx="2750">
                  <c:v>89.9</c:v>
                </c:pt>
                <c:pt idx="2751">
                  <c:v>100.1</c:v>
                </c:pt>
                <c:pt idx="2752">
                  <c:v>103.9</c:v>
                </c:pt>
                <c:pt idx="2753">
                  <c:v>97.8</c:v>
                </c:pt>
                <c:pt idx="2754">
                  <c:v>85.8</c:v>
                </c:pt>
                <c:pt idx="2755">
                  <c:v>84.5</c:v>
                </c:pt>
                <c:pt idx="2756">
                  <c:v>96.5</c:v>
                </c:pt>
                <c:pt idx="2757">
                  <c:v>92.5</c:v>
                </c:pt>
                <c:pt idx="2758">
                  <c:v>98.9</c:v>
                </c:pt>
                <c:pt idx="2759">
                  <c:v>102.9</c:v>
                </c:pt>
                <c:pt idx="2760">
                  <c:v>93.5</c:v>
                </c:pt>
                <c:pt idx="2761">
                  <c:v>97</c:v>
                </c:pt>
                <c:pt idx="2762">
                  <c:v>103.099999999999</c:v>
                </c:pt>
                <c:pt idx="2763">
                  <c:v>98</c:v>
                </c:pt>
                <c:pt idx="2764">
                  <c:v>84</c:v>
                </c:pt>
                <c:pt idx="2765">
                  <c:v>87.6287860032011</c:v>
                </c:pt>
                <c:pt idx="2766">
                  <c:v>98</c:v>
                </c:pt>
                <c:pt idx="2767">
                  <c:v>95.2</c:v>
                </c:pt>
                <c:pt idx="2768">
                  <c:v>99.015784280000005</c:v>
                </c:pt>
                <c:pt idx="2769">
                  <c:v>94.8</c:v>
                </c:pt>
                <c:pt idx="2770">
                  <c:v>93.2</c:v>
                </c:pt>
                <c:pt idx="2771">
                  <c:v>95.7</c:v>
                </c:pt>
                <c:pt idx="2772">
                  <c:v>90.7</c:v>
                </c:pt>
                <c:pt idx="2773">
                  <c:v>98.6</c:v>
                </c:pt>
                <c:pt idx="2774">
                  <c:v>101.5</c:v>
                </c:pt>
                <c:pt idx="2775">
                  <c:v>86.8</c:v>
                </c:pt>
                <c:pt idx="2776">
                  <c:v>99.1</c:v>
                </c:pt>
                <c:pt idx="2777">
                  <c:v>89.2</c:v>
                </c:pt>
                <c:pt idx="2778">
                  <c:v>101.1</c:v>
                </c:pt>
                <c:pt idx="2779">
                  <c:v>90.2</c:v>
                </c:pt>
                <c:pt idx="2780">
                  <c:v>103.5</c:v>
                </c:pt>
                <c:pt idx="2781">
                  <c:v>108.3</c:v>
                </c:pt>
                <c:pt idx="2782">
                  <c:v>93.4</c:v>
                </c:pt>
                <c:pt idx="2783">
                  <c:v>84.7</c:v>
                </c:pt>
                <c:pt idx="2784">
                  <c:v>96</c:v>
                </c:pt>
                <c:pt idx="2785">
                  <c:v>96</c:v>
                </c:pt>
                <c:pt idx="2786">
                  <c:v>95.9</c:v>
                </c:pt>
                <c:pt idx="2787">
                  <c:v>79.3</c:v>
                </c:pt>
                <c:pt idx="2788">
                  <c:v>99.9</c:v>
                </c:pt>
                <c:pt idx="2789">
                  <c:v>102.7</c:v>
                </c:pt>
                <c:pt idx="2790">
                  <c:v>96.6</c:v>
                </c:pt>
                <c:pt idx="2791">
                  <c:v>93.5</c:v>
                </c:pt>
                <c:pt idx="2792">
                  <c:v>93.2</c:v>
                </c:pt>
                <c:pt idx="2793">
                  <c:v>101.5</c:v>
                </c:pt>
                <c:pt idx="2794">
                  <c:v>102.4</c:v>
                </c:pt>
                <c:pt idx="2795">
                  <c:v>93.1</c:v>
                </c:pt>
                <c:pt idx="2796">
                  <c:v>101.3</c:v>
                </c:pt>
                <c:pt idx="2797">
                  <c:v>90.7</c:v>
                </c:pt>
                <c:pt idx="2798">
                  <c:v>97.8</c:v>
                </c:pt>
                <c:pt idx="2799">
                  <c:v>93.9</c:v>
                </c:pt>
                <c:pt idx="2800">
                  <c:v>96.6</c:v>
                </c:pt>
                <c:pt idx="2801">
                  <c:v>103.8</c:v>
                </c:pt>
                <c:pt idx="2802">
                  <c:v>94.7</c:v>
                </c:pt>
                <c:pt idx="2803">
                  <c:v>92.4</c:v>
                </c:pt>
                <c:pt idx="2804">
                  <c:v>98.7</c:v>
                </c:pt>
                <c:pt idx="2805">
                  <c:v>94.074495083917796</c:v>
                </c:pt>
                <c:pt idx="2806">
                  <c:v>99.6</c:v>
                </c:pt>
                <c:pt idx="2807">
                  <c:v>102.9</c:v>
                </c:pt>
                <c:pt idx="2808">
                  <c:v>115.7</c:v>
                </c:pt>
                <c:pt idx="2809">
                  <c:v>92.8</c:v>
                </c:pt>
                <c:pt idx="2810">
                  <c:v>81.900000000000006</c:v>
                </c:pt>
                <c:pt idx="2811">
                  <c:v>100.299999999999</c:v>
                </c:pt>
                <c:pt idx="2812">
                  <c:v>98.8</c:v>
                </c:pt>
                <c:pt idx="2813">
                  <c:v>106.5</c:v>
                </c:pt>
                <c:pt idx="2814">
                  <c:v>96.1</c:v>
                </c:pt>
                <c:pt idx="2815">
                  <c:v>102.3</c:v>
                </c:pt>
                <c:pt idx="2816">
                  <c:v>94.799999999999898</c:v>
                </c:pt>
                <c:pt idx="2817">
                  <c:v>97.511780796936193</c:v>
                </c:pt>
                <c:pt idx="2818">
                  <c:v>94.1</c:v>
                </c:pt>
                <c:pt idx="2819">
                  <c:v>87.7</c:v>
                </c:pt>
                <c:pt idx="2820">
                  <c:v>114.9</c:v>
                </c:pt>
                <c:pt idx="2821">
                  <c:v>94.4</c:v>
                </c:pt>
                <c:pt idx="2822">
                  <c:v>92.5</c:v>
                </c:pt>
                <c:pt idx="2823">
                  <c:v>100.1</c:v>
                </c:pt>
                <c:pt idx="2824">
                  <c:v>99.6</c:v>
                </c:pt>
                <c:pt idx="2825">
                  <c:v>92.7</c:v>
                </c:pt>
                <c:pt idx="2826">
                  <c:v>103.7</c:v>
                </c:pt>
                <c:pt idx="2827">
                  <c:v>101.9</c:v>
                </c:pt>
                <c:pt idx="2828">
                  <c:v>104.6</c:v>
                </c:pt>
                <c:pt idx="2829">
                  <c:v>98.9</c:v>
                </c:pt>
                <c:pt idx="2830">
                  <c:v>85.877584760991894</c:v>
                </c:pt>
                <c:pt idx="2831">
                  <c:v>107.3</c:v>
                </c:pt>
                <c:pt idx="2832">
                  <c:v>65.2</c:v>
                </c:pt>
                <c:pt idx="2833">
                  <c:v>103</c:v>
                </c:pt>
                <c:pt idx="2834">
                  <c:v>99.4</c:v>
                </c:pt>
                <c:pt idx="2835">
                  <c:v>101.4</c:v>
                </c:pt>
                <c:pt idx="2836">
                  <c:v>106.3</c:v>
                </c:pt>
                <c:pt idx="2837">
                  <c:v>106.2</c:v>
                </c:pt>
                <c:pt idx="2838">
                  <c:v>96.9</c:v>
                </c:pt>
                <c:pt idx="2839">
                  <c:v>97.349019968954707</c:v>
                </c:pt>
                <c:pt idx="2840">
                  <c:v>95.3</c:v>
                </c:pt>
                <c:pt idx="2841">
                  <c:v>89.3</c:v>
                </c:pt>
                <c:pt idx="2842">
                  <c:v>104.3</c:v>
                </c:pt>
                <c:pt idx="2843">
                  <c:v>109.2</c:v>
                </c:pt>
                <c:pt idx="2844">
                  <c:v>92.3</c:v>
                </c:pt>
                <c:pt idx="2845">
                  <c:v>99.9</c:v>
                </c:pt>
                <c:pt idx="2846">
                  <c:v>95.7</c:v>
                </c:pt>
                <c:pt idx="2847">
                  <c:v>108.5</c:v>
                </c:pt>
                <c:pt idx="2848">
                  <c:v>100</c:v>
                </c:pt>
                <c:pt idx="2849">
                  <c:v>97.8</c:v>
                </c:pt>
                <c:pt idx="2850">
                  <c:v>99.1</c:v>
                </c:pt>
                <c:pt idx="2851">
                  <c:v>86.6</c:v>
                </c:pt>
                <c:pt idx="2852">
                  <c:v>89.3763042254364</c:v>
                </c:pt>
                <c:pt idx="2853">
                  <c:v>82.4</c:v>
                </c:pt>
                <c:pt idx="2854">
                  <c:v>91.335691130000001</c:v>
                </c:pt>
                <c:pt idx="2855">
                  <c:v>113</c:v>
                </c:pt>
                <c:pt idx="2856">
                  <c:v>93.082817230854403</c:v>
                </c:pt>
                <c:pt idx="2857">
                  <c:v>72.400000000000006</c:v>
                </c:pt>
                <c:pt idx="2858">
                  <c:v>103.6</c:v>
                </c:pt>
                <c:pt idx="2859">
                  <c:v>74.099999999999994</c:v>
                </c:pt>
                <c:pt idx="2860">
                  <c:v>74.400000000000006</c:v>
                </c:pt>
                <c:pt idx="2861">
                  <c:v>108.9</c:v>
                </c:pt>
                <c:pt idx="2862">
                  <c:v>88.3</c:v>
                </c:pt>
                <c:pt idx="2863">
                  <c:v>83.1</c:v>
                </c:pt>
                <c:pt idx="2864">
                  <c:v>97.7</c:v>
                </c:pt>
                <c:pt idx="2865">
                  <c:v>96.9</c:v>
                </c:pt>
                <c:pt idx="2866">
                  <c:v>95.1</c:v>
                </c:pt>
                <c:pt idx="2867">
                  <c:v>94.2</c:v>
                </c:pt>
                <c:pt idx="2868">
                  <c:v>100.7</c:v>
                </c:pt>
                <c:pt idx="2869">
                  <c:v>94.8</c:v>
                </c:pt>
                <c:pt idx="2870">
                  <c:v>99.9</c:v>
                </c:pt>
                <c:pt idx="2871">
                  <c:v>101.3</c:v>
                </c:pt>
                <c:pt idx="2872">
                  <c:v>89.2</c:v>
                </c:pt>
                <c:pt idx="2873">
                  <c:v>102.9</c:v>
                </c:pt>
                <c:pt idx="2874">
                  <c:v>118.4</c:v>
                </c:pt>
                <c:pt idx="2875">
                  <c:v>95.2</c:v>
                </c:pt>
                <c:pt idx="2876">
                  <c:v>101.5</c:v>
                </c:pt>
                <c:pt idx="2877">
                  <c:v>85.9</c:v>
                </c:pt>
                <c:pt idx="2878">
                  <c:v>95.7</c:v>
                </c:pt>
                <c:pt idx="2879">
                  <c:v>104.2</c:v>
                </c:pt>
                <c:pt idx="2880">
                  <c:v>108.4</c:v>
                </c:pt>
                <c:pt idx="2881">
                  <c:v>109.6</c:v>
                </c:pt>
                <c:pt idx="2882">
                  <c:v>94.6</c:v>
                </c:pt>
                <c:pt idx="2883">
                  <c:v>94.2</c:v>
                </c:pt>
                <c:pt idx="2884">
                  <c:v>116</c:v>
                </c:pt>
                <c:pt idx="2885">
                  <c:v>88.599999999999895</c:v>
                </c:pt>
                <c:pt idx="2886">
                  <c:v>117.299999999999</c:v>
                </c:pt>
                <c:pt idx="2887">
                  <c:v>97</c:v>
                </c:pt>
                <c:pt idx="2888">
                  <c:v>97</c:v>
                </c:pt>
                <c:pt idx="2889">
                  <c:v>103.7</c:v>
                </c:pt>
                <c:pt idx="2890">
                  <c:v>99.1</c:v>
                </c:pt>
                <c:pt idx="2891">
                  <c:v>93.1</c:v>
                </c:pt>
                <c:pt idx="2892">
                  <c:v>89.9</c:v>
                </c:pt>
                <c:pt idx="2893">
                  <c:v>92.6</c:v>
                </c:pt>
                <c:pt idx="2894">
                  <c:v>81</c:v>
                </c:pt>
                <c:pt idx="2895">
                  <c:v>103.3</c:v>
                </c:pt>
                <c:pt idx="2896">
                  <c:v>99.3</c:v>
                </c:pt>
                <c:pt idx="2897">
                  <c:v>89.3</c:v>
                </c:pt>
                <c:pt idx="2898">
                  <c:v>100.4</c:v>
                </c:pt>
                <c:pt idx="2899">
                  <c:v>101.7</c:v>
                </c:pt>
                <c:pt idx="2900">
                  <c:v>100.6</c:v>
                </c:pt>
                <c:pt idx="2901">
                  <c:v>90.5</c:v>
                </c:pt>
                <c:pt idx="2902">
                  <c:v>95.8</c:v>
                </c:pt>
                <c:pt idx="2903">
                  <c:v>113.2</c:v>
                </c:pt>
                <c:pt idx="2904">
                  <c:v>94.5</c:v>
                </c:pt>
                <c:pt idx="2905">
                  <c:v>104.3</c:v>
                </c:pt>
                <c:pt idx="2906">
                  <c:v>246.6</c:v>
                </c:pt>
                <c:pt idx="2907">
                  <c:v>65.099999999999994</c:v>
                </c:pt>
                <c:pt idx="2908">
                  <c:v>84.9</c:v>
                </c:pt>
                <c:pt idx="2909">
                  <c:v>100.4</c:v>
                </c:pt>
                <c:pt idx="2910">
                  <c:v>104.7</c:v>
                </c:pt>
                <c:pt idx="2911">
                  <c:v>866.4</c:v>
                </c:pt>
                <c:pt idx="2912">
                  <c:v>109.4</c:v>
                </c:pt>
                <c:pt idx="2913">
                  <c:v>94.599999999999895</c:v>
                </c:pt>
                <c:pt idx="2914">
                  <c:v>111.8</c:v>
                </c:pt>
                <c:pt idx="2915">
                  <c:v>105.8</c:v>
                </c:pt>
                <c:pt idx="2916">
                  <c:v>94.7</c:v>
                </c:pt>
                <c:pt idx="2917">
                  <c:v>109.7</c:v>
                </c:pt>
                <c:pt idx="2918">
                  <c:v>104.6</c:v>
                </c:pt>
                <c:pt idx="2919">
                  <c:v>85.3</c:v>
                </c:pt>
                <c:pt idx="2920">
                  <c:v>91.5</c:v>
                </c:pt>
                <c:pt idx="2921">
                  <c:v>98.2</c:v>
                </c:pt>
                <c:pt idx="2922">
                  <c:v>98.7</c:v>
                </c:pt>
                <c:pt idx="2923">
                  <c:v>107.4</c:v>
                </c:pt>
                <c:pt idx="2924">
                  <c:v>101</c:v>
                </c:pt>
                <c:pt idx="2925">
                  <c:v>121.994439915212</c:v>
                </c:pt>
                <c:pt idx="2926">
                  <c:v>102.4</c:v>
                </c:pt>
                <c:pt idx="2927">
                  <c:v>84.4</c:v>
                </c:pt>
                <c:pt idx="2928">
                  <c:v>101.3</c:v>
                </c:pt>
                <c:pt idx="2929">
                  <c:v>90.9</c:v>
                </c:pt>
                <c:pt idx="2930">
                  <c:v>102.8</c:v>
                </c:pt>
                <c:pt idx="2931">
                  <c:v>116</c:v>
                </c:pt>
                <c:pt idx="2932">
                  <c:v>104.2</c:v>
                </c:pt>
                <c:pt idx="2933">
                  <c:v>99.2</c:v>
                </c:pt>
                <c:pt idx="2934">
                  <c:v>97.1</c:v>
                </c:pt>
                <c:pt idx="2935">
                  <c:v>90.6</c:v>
                </c:pt>
                <c:pt idx="2936">
                  <c:v>105.4</c:v>
                </c:pt>
                <c:pt idx="2937">
                  <c:v>96.3</c:v>
                </c:pt>
                <c:pt idx="2938">
                  <c:v>103.686167945439</c:v>
                </c:pt>
                <c:pt idx="2939">
                  <c:v>96.7</c:v>
                </c:pt>
                <c:pt idx="2940">
                  <c:v>102.7</c:v>
                </c:pt>
                <c:pt idx="2941">
                  <c:v>92.4</c:v>
                </c:pt>
                <c:pt idx="2942">
                  <c:v>112.8</c:v>
                </c:pt>
                <c:pt idx="2943">
                  <c:v>88.7</c:v>
                </c:pt>
                <c:pt idx="2944">
                  <c:v>84.918479230000003</c:v>
                </c:pt>
                <c:pt idx="2945">
                  <c:v>94.6</c:v>
                </c:pt>
                <c:pt idx="2946">
                  <c:v>88.4</c:v>
                </c:pt>
                <c:pt idx="2947">
                  <c:v>109.9</c:v>
                </c:pt>
                <c:pt idx="2948">
                  <c:v>90.4</c:v>
                </c:pt>
                <c:pt idx="2949">
                  <c:v>113.4</c:v>
                </c:pt>
                <c:pt idx="2950">
                  <c:v>103.2</c:v>
                </c:pt>
                <c:pt idx="2951">
                  <c:v>97.9</c:v>
                </c:pt>
                <c:pt idx="2952">
                  <c:v>91.788425111055204</c:v>
                </c:pt>
                <c:pt idx="2953">
                  <c:v>95.7</c:v>
                </c:pt>
                <c:pt idx="2954">
                  <c:v>90.9</c:v>
                </c:pt>
                <c:pt idx="2955">
                  <c:v>117.5</c:v>
                </c:pt>
                <c:pt idx="2956">
                  <c:v>91.7</c:v>
                </c:pt>
                <c:pt idx="2957">
                  <c:v>166.6</c:v>
                </c:pt>
                <c:pt idx="2958">
                  <c:v>106.9</c:v>
                </c:pt>
                <c:pt idx="2959">
                  <c:v>98.4</c:v>
                </c:pt>
                <c:pt idx="2960">
                  <c:v>100.1</c:v>
                </c:pt>
                <c:pt idx="2961">
                  <c:v>100.2</c:v>
                </c:pt>
                <c:pt idx="2962">
                  <c:v>93.3</c:v>
                </c:pt>
                <c:pt idx="2963">
                  <c:v>103.2</c:v>
                </c:pt>
                <c:pt idx="2964">
                  <c:v>91.283137076531702</c:v>
                </c:pt>
                <c:pt idx="2965">
                  <c:v>96.2</c:v>
                </c:pt>
                <c:pt idx="2966">
                  <c:v>94.1</c:v>
                </c:pt>
                <c:pt idx="2967">
                  <c:v>88.3</c:v>
                </c:pt>
                <c:pt idx="2968">
                  <c:v>90.4</c:v>
                </c:pt>
                <c:pt idx="2969">
                  <c:v>88.5</c:v>
                </c:pt>
                <c:pt idx="2970">
                  <c:v>79.5</c:v>
                </c:pt>
                <c:pt idx="2971">
                  <c:v>96.1</c:v>
                </c:pt>
                <c:pt idx="2972">
                  <c:v>92.1</c:v>
                </c:pt>
                <c:pt idx="2973">
                  <c:v>85.5</c:v>
                </c:pt>
                <c:pt idx="2974">
                  <c:v>97.9</c:v>
                </c:pt>
                <c:pt idx="2975">
                  <c:v>86</c:v>
                </c:pt>
                <c:pt idx="2976">
                  <c:v>94.6</c:v>
                </c:pt>
                <c:pt idx="2977">
                  <c:v>100.3</c:v>
                </c:pt>
                <c:pt idx="2978">
                  <c:v>97.1</c:v>
                </c:pt>
                <c:pt idx="2979">
                  <c:v>85.2</c:v>
                </c:pt>
                <c:pt idx="2980">
                  <c:v>102.9</c:v>
                </c:pt>
                <c:pt idx="2981">
                  <c:v>127.7</c:v>
                </c:pt>
                <c:pt idx="2982">
                  <c:v>98.4</c:v>
                </c:pt>
                <c:pt idx="2983">
                  <c:v>98.7</c:v>
                </c:pt>
                <c:pt idx="2984">
                  <c:v>98</c:v>
                </c:pt>
                <c:pt idx="2985">
                  <c:v>91.144577699259301</c:v>
                </c:pt>
                <c:pt idx="2986">
                  <c:v>89.3</c:v>
                </c:pt>
                <c:pt idx="2987">
                  <c:v>91.4</c:v>
                </c:pt>
                <c:pt idx="2988">
                  <c:v>103.799999999999</c:v>
                </c:pt>
                <c:pt idx="2989">
                  <c:v>104.9</c:v>
                </c:pt>
                <c:pt idx="2990">
                  <c:v>117</c:v>
                </c:pt>
                <c:pt idx="2991">
                  <c:v>90</c:v>
                </c:pt>
                <c:pt idx="2992">
                  <c:v>93.1</c:v>
                </c:pt>
                <c:pt idx="2993">
                  <c:v>116.5</c:v>
                </c:pt>
                <c:pt idx="2994">
                  <c:v>113.7</c:v>
                </c:pt>
                <c:pt idx="2995">
                  <c:v>86.9</c:v>
                </c:pt>
                <c:pt idx="2996">
                  <c:v>84.799999999999898</c:v>
                </c:pt>
                <c:pt idx="2997">
                  <c:v>100.3</c:v>
                </c:pt>
                <c:pt idx="2998">
                  <c:v>91.7</c:v>
                </c:pt>
                <c:pt idx="2999">
                  <c:v>93.1</c:v>
                </c:pt>
                <c:pt idx="3000">
                  <c:v>93.6</c:v>
                </c:pt>
                <c:pt idx="3001">
                  <c:v>104.8</c:v>
                </c:pt>
                <c:pt idx="3002">
                  <c:v>97</c:v>
                </c:pt>
                <c:pt idx="3003">
                  <c:v>96.7</c:v>
                </c:pt>
                <c:pt idx="3004">
                  <c:v>102.5</c:v>
                </c:pt>
                <c:pt idx="3005">
                  <c:v>82.099999999999895</c:v>
                </c:pt>
                <c:pt idx="3006">
                  <c:v>91.5</c:v>
                </c:pt>
                <c:pt idx="3007">
                  <c:v>92.9</c:v>
                </c:pt>
                <c:pt idx="3008">
                  <c:v>96.9</c:v>
                </c:pt>
                <c:pt idx="3009">
                  <c:v>91.9</c:v>
                </c:pt>
                <c:pt idx="3010">
                  <c:v>105.4</c:v>
                </c:pt>
                <c:pt idx="3011">
                  <c:v>86.1</c:v>
                </c:pt>
                <c:pt idx="3012">
                  <c:v>98.4</c:v>
                </c:pt>
                <c:pt idx="3013">
                  <c:v>100.6</c:v>
                </c:pt>
                <c:pt idx="3014">
                  <c:v>99.4</c:v>
                </c:pt>
                <c:pt idx="3015">
                  <c:v>95.9</c:v>
                </c:pt>
                <c:pt idx="3016">
                  <c:v>106.3</c:v>
                </c:pt>
                <c:pt idx="3017">
                  <c:v>104.7</c:v>
                </c:pt>
                <c:pt idx="3018">
                  <c:v>97.2</c:v>
                </c:pt>
                <c:pt idx="3019">
                  <c:v>101.6</c:v>
                </c:pt>
                <c:pt idx="3020">
                  <c:v>97.5</c:v>
                </c:pt>
                <c:pt idx="3021">
                  <c:v>111.7</c:v>
                </c:pt>
                <c:pt idx="3022">
                  <c:v>125.7</c:v>
                </c:pt>
                <c:pt idx="3023">
                  <c:v>85.3</c:v>
                </c:pt>
                <c:pt idx="3024">
                  <c:v>91.8</c:v>
                </c:pt>
                <c:pt idx="3025">
                  <c:v>105</c:v>
                </c:pt>
                <c:pt idx="3026">
                  <c:v>100.6</c:v>
                </c:pt>
                <c:pt idx="3027">
                  <c:v>92.030963069999999</c:v>
                </c:pt>
                <c:pt idx="3028">
                  <c:v>93.5</c:v>
                </c:pt>
                <c:pt idx="3029">
                  <c:v>89.9</c:v>
                </c:pt>
                <c:pt idx="3030">
                  <c:v>106.7</c:v>
                </c:pt>
                <c:pt idx="3031">
                  <c:v>87.6</c:v>
                </c:pt>
                <c:pt idx="3032">
                  <c:v>100</c:v>
                </c:pt>
                <c:pt idx="3033">
                  <c:v>88.6</c:v>
                </c:pt>
                <c:pt idx="3034">
                  <c:v>97.6</c:v>
                </c:pt>
                <c:pt idx="3035">
                  <c:v>86.1</c:v>
                </c:pt>
                <c:pt idx="3036">
                  <c:v>106.2</c:v>
                </c:pt>
                <c:pt idx="3037">
                  <c:v>95</c:v>
                </c:pt>
                <c:pt idx="3038">
                  <c:v>116.5</c:v>
                </c:pt>
                <c:pt idx="3039">
                  <c:v>93.8</c:v>
                </c:pt>
                <c:pt idx="3040">
                  <c:v>98</c:v>
                </c:pt>
                <c:pt idx="3041">
                  <c:v>100.4</c:v>
                </c:pt>
                <c:pt idx="3042">
                  <c:v>102.3</c:v>
                </c:pt>
                <c:pt idx="3043">
                  <c:v>90.3</c:v>
                </c:pt>
                <c:pt idx="3044">
                  <c:v>96.1</c:v>
                </c:pt>
                <c:pt idx="3045">
                  <c:v>92.3</c:v>
                </c:pt>
                <c:pt idx="3046">
                  <c:v>100.4</c:v>
                </c:pt>
                <c:pt idx="3047">
                  <c:v>106.6</c:v>
                </c:pt>
                <c:pt idx="3048">
                  <c:v>96.4</c:v>
                </c:pt>
                <c:pt idx="3049">
                  <c:v>92.491564951624497</c:v>
                </c:pt>
                <c:pt idx="3050">
                  <c:v>116</c:v>
                </c:pt>
                <c:pt idx="3051">
                  <c:v>123.3</c:v>
                </c:pt>
                <c:pt idx="3052">
                  <c:v>99.299999999999898</c:v>
                </c:pt>
                <c:pt idx="3053">
                  <c:v>103.5</c:v>
                </c:pt>
                <c:pt idx="3054">
                  <c:v>102.6</c:v>
                </c:pt>
                <c:pt idx="3055">
                  <c:v>94.7</c:v>
                </c:pt>
                <c:pt idx="3056">
                  <c:v>91.8</c:v>
                </c:pt>
                <c:pt idx="3057">
                  <c:v>87.2</c:v>
                </c:pt>
                <c:pt idx="3058">
                  <c:v>87</c:v>
                </c:pt>
                <c:pt idx="3059">
                  <c:v>100.8</c:v>
                </c:pt>
                <c:pt idx="3060">
                  <c:v>164.3</c:v>
                </c:pt>
                <c:pt idx="3061">
                  <c:v>110.8</c:v>
                </c:pt>
                <c:pt idx="3062">
                  <c:v>95.7</c:v>
                </c:pt>
                <c:pt idx="3063">
                  <c:v>96.3</c:v>
                </c:pt>
                <c:pt idx="3064">
                  <c:v>101.2</c:v>
                </c:pt>
                <c:pt idx="3065">
                  <c:v>100.5</c:v>
                </c:pt>
                <c:pt idx="3066">
                  <c:v>216.8</c:v>
                </c:pt>
                <c:pt idx="3067">
                  <c:v>93.6</c:v>
                </c:pt>
                <c:pt idx="3068">
                  <c:v>91.3</c:v>
                </c:pt>
                <c:pt idx="3069">
                  <c:v>101.3</c:v>
                </c:pt>
                <c:pt idx="3070">
                  <c:v>94.2</c:v>
                </c:pt>
                <c:pt idx="3071">
                  <c:v>96.4</c:v>
                </c:pt>
                <c:pt idx="3072">
                  <c:v>94.3</c:v>
                </c:pt>
                <c:pt idx="3073">
                  <c:v>110.5</c:v>
                </c:pt>
                <c:pt idx="3074">
                  <c:v>78.099999999999994</c:v>
                </c:pt>
                <c:pt idx="3075">
                  <c:v>86.9</c:v>
                </c:pt>
                <c:pt idx="3076">
                  <c:v>118.2</c:v>
                </c:pt>
                <c:pt idx="3077">
                  <c:v>100.2</c:v>
                </c:pt>
                <c:pt idx="3078">
                  <c:v>95.3</c:v>
                </c:pt>
                <c:pt idx="3079">
                  <c:v>100.8</c:v>
                </c:pt>
                <c:pt idx="3080">
                  <c:v>84</c:v>
                </c:pt>
                <c:pt idx="3081">
                  <c:v>104.1</c:v>
                </c:pt>
                <c:pt idx="3082">
                  <c:v>104.1</c:v>
                </c:pt>
                <c:pt idx="3083">
                  <c:v>79.2</c:v>
                </c:pt>
                <c:pt idx="3084">
                  <c:v>95.1</c:v>
                </c:pt>
                <c:pt idx="3085">
                  <c:v>99.964732887508205</c:v>
                </c:pt>
                <c:pt idx="3086">
                  <c:v>93.1</c:v>
                </c:pt>
                <c:pt idx="3087">
                  <c:v>92.299999999999898</c:v>
                </c:pt>
                <c:pt idx="3088">
                  <c:v>105.8</c:v>
                </c:pt>
                <c:pt idx="3089">
                  <c:v>99.4</c:v>
                </c:pt>
                <c:pt idx="3090">
                  <c:v>89.6</c:v>
                </c:pt>
                <c:pt idx="3091">
                  <c:v>103.1</c:v>
                </c:pt>
                <c:pt idx="3092">
                  <c:v>98</c:v>
                </c:pt>
                <c:pt idx="3093">
                  <c:v>96.5</c:v>
                </c:pt>
                <c:pt idx="3094">
                  <c:v>108.7</c:v>
                </c:pt>
                <c:pt idx="3095">
                  <c:v>90.9</c:v>
                </c:pt>
                <c:pt idx="3096">
                  <c:v>131.80000000000001</c:v>
                </c:pt>
                <c:pt idx="3097">
                  <c:v>106.2</c:v>
                </c:pt>
                <c:pt idx="3098">
                  <c:v>102.6</c:v>
                </c:pt>
                <c:pt idx="3099">
                  <c:v>102</c:v>
                </c:pt>
                <c:pt idx="3100">
                  <c:v>79</c:v>
                </c:pt>
                <c:pt idx="3101">
                  <c:v>92.4</c:v>
                </c:pt>
                <c:pt idx="3102">
                  <c:v>103.5</c:v>
                </c:pt>
                <c:pt idx="3103">
                  <c:v>95.2</c:v>
                </c:pt>
                <c:pt idx="3104">
                  <c:v>131.6</c:v>
                </c:pt>
                <c:pt idx="3105">
                  <c:v>85.6</c:v>
                </c:pt>
                <c:pt idx="3106">
                  <c:v>96.9</c:v>
                </c:pt>
                <c:pt idx="3107">
                  <c:v>89</c:v>
                </c:pt>
                <c:pt idx="3108">
                  <c:v>92.534906949169994</c:v>
                </c:pt>
                <c:pt idx="3109">
                  <c:v>97.4</c:v>
                </c:pt>
                <c:pt idx="3110">
                  <c:v>77.3</c:v>
                </c:pt>
                <c:pt idx="3111">
                  <c:v>107.8</c:v>
                </c:pt>
                <c:pt idx="3112">
                  <c:v>97.3</c:v>
                </c:pt>
                <c:pt idx="3113">
                  <c:v>100.095365418894</c:v>
                </c:pt>
                <c:pt idx="3114">
                  <c:v>94.5</c:v>
                </c:pt>
                <c:pt idx="3115">
                  <c:v>95.5</c:v>
                </c:pt>
                <c:pt idx="3116">
                  <c:v>100</c:v>
                </c:pt>
                <c:pt idx="3117">
                  <c:v>98.1</c:v>
                </c:pt>
                <c:pt idx="3118">
                  <c:v>87.6</c:v>
                </c:pt>
                <c:pt idx="3119">
                  <c:v>93</c:v>
                </c:pt>
                <c:pt idx="3120">
                  <c:v>97.5</c:v>
                </c:pt>
                <c:pt idx="3121">
                  <c:v>106.3</c:v>
                </c:pt>
                <c:pt idx="3122">
                  <c:v>114.7</c:v>
                </c:pt>
                <c:pt idx="3123">
                  <c:v>104.1</c:v>
                </c:pt>
                <c:pt idx="3124">
                  <c:v>98.4</c:v>
                </c:pt>
                <c:pt idx="3125">
                  <c:v>87.4</c:v>
                </c:pt>
                <c:pt idx="3126">
                  <c:v>89.9</c:v>
                </c:pt>
                <c:pt idx="3127">
                  <c:v>103</c:v>
                </c:pt>
                <c:pt idx="3128">
                  <c:v>98.6</c:v>
                </c:pt>
                <c:pt idx="3129">
                  <c:v>97.5</c:v>
                </c:pt>
                <c:pt idx="3130">
                  <c:v>97.1</c:v>
                </c:pt>
                <c:pt idx="3131">
                  <c:v>148.80000000000001</c:v>
                </c:pt>
                <c:pt idx="3132">
                  <c:v>90.9</c:v>
                </c:pt>
                <c:pt idx="3133">
                  <c:v>88</c:v>
                </c:pt>
                <c:pt idx="3134">
                  <c:v>97.013935757615897</c:v>
                </c:pt>
                <c:pt idx="3135">
                  <c:v>96.6</c:v>
                </c:pt>
                <c:pt idx="3136">
                  <c:v>100.7</c:v>
                </c:pt>
                <c:pt idx="3137">
                  <c:v>100.3</c:v>
                </c:pt>
                <c:pt idx="3138">
                  <c:v>105.799999999999</c:v>
                </c:pt>
                <c:pt idx="3139">
                  <c:v>91.6</c:v>
                </c:pt>
                <c:pt idx="3140">
                  <c:v>108.8</c:v>
                </c:pt>
                <c:pt idx="3141">
                  <c:v>108.3</c:v>
                </c:pt>
                <c:pt idx="3142">
                  <c:v>90.1</c:v>
                </c:pt>
                <c:pt idx="3143">
                  <c:v>99.4</c:v>
                </c:pt>
                <c:pt idx="3144">
                  <c:v>89.5</c:v>
                </c:pt>
                <c:pt idx="3145">
                  <c:v>86.3</c:v>
                </c:pt>
                <c:pt idx="3146">
                  <c:v>84.1</c:v>
                </c:pt>
                <c:pt idx="3147">
                  <c:v>82.4</c:v>
                </c:pt>
                <c:pt idx="3148">
                  <c:v>92.8</c:v>
                </c:pt>
                <c:pt idx="3149">
                  <c:v>97</c:v>
                </c:pt>
                <c:pt idx="3150">
                  <c:v>95.661898012900195</c:v>
                </c:pt>
                <c:pt idx="3151">
                  <c:v>94.8</c:v>
                </c:pt>
                <c:pt idx="3152">
                  <c:v>102.6</c:v>
                </c:pt>
                <c:pt idx="3153">
                  <c:v>93.1</c:v>
                </c:pt>
                <c:pt idx="3154">
                  <c:v>97.4</c:v>
                </c:pt>
                <c:pt idx="3155">
                  <c:v>108.5</c:v>
                </c:pt>
                <c:pt idx="3156">
                  <c:v>108.8</c:v>
                </c:pt>
                <c:pt idx="3157">
                  <c:v>97.8</c:v>
                </c:pt>
                <c:pt idx="3158">
                  <c:v>87.2</c:v>
                </c:pt>
                <c:pt idx="3159">
                  <c:v>93.4</c:v>
                </c:pt>
                <c:pt idx="3160">
                  <c:v>99.6</c:v>
                </c:pt>
                <c:pt idx="3161">
                  <c:v>111.4</c:v>
                </c:pt>
                <c:pt idx="3162">
                  <c:v>97.522608980000001</c:v>
                </c:pt>
                <c:pt idx="3163">
                  <c:v>98</c:v>
                </c:pt>
                <c:pt idx="3164">
                  <c:v>103.7</c:v>
                </c:pt>
                <c:pt idx="3165">
                  <c:v>87.399999999999906</c:v>
                </c:pt>
                <c:pt idx="3166">
                  <c:v>93.116923540000002</c:v>
                </c:pt>
                <c:pt idx="3167">
                  <c:v>94.599999999999895</c:v>
                </c:pt>
                <c:pt idx="3168">
                  <c:v>92.9</c:v>
                </c:pt>
                <c:pt idx="3169">
                  <c:v>100.6</c:v>
                </c:pt>
                <c:pt idx="3170">
                  <c:v>100.2</c:v>
                </c:pt>
                <c:pt idx="3171">
                  <c:v>99.3</c:v>
                </c:pt>
                <c:pt idx="3172">
                  <c:v>94</c:v>
                </c:pt>
                <c:pt idx="3173">
                  <c:v>95.9</c:v>
                </c:pt>
                <c:pt idx="3174">
                  <c:v>92.6</c:v>
                </c:pt>
                <c:pt idx="3175">
                  <c:v>96.3</c:v>
                </c:pt>
                <c:pt idx="3176">
                  <c:v>102.1</c:v>
                </c:pt>
                <c:pt idx="3177">
                  <c:v>83.3</c:v>
                </c:pt>
                <c:pt idx="3178">
                  <c:v>98.1</c:v>
                </c:pt>
                <c:pt idx="3179">
                  <c:v>119</c:v>
                </c:pt>
                <c:pt idx="3180">
                  <c:v>94.838408699257698</c:v>
                </c:pt>
                <c:pt idx="3181">
                  <c:v>120.9</c:v>
                </c:pt>
                <c:pt idx="3182">
                  <c:v>93.5</c:v>
                </c:pt>
                <c:pt idx="3183">
                  <c:v>92.3</c:v>
                </c:pt>
                <c:pt idx="3184">
                  <c:v>97.6</c:v>
                </c:pt>
                <c:pt idx="3185">
                  <c:v>104.6</c:v>
                </c:pt>
                <c:pt idx="3186">
                  <c:v>97.2</c:v>
                </c:pt>
                <c:pt idx="3187">
                  <c:v>95.2</c:v>
                </c:pt>
                <c:pt idx="3188">
                  <c:v>91.3</c:v>
                </c:pt>
                <c:pt idx="3189">
                  <c:v>95</c:v>
                </c:pt>
                <c:pt idx="3190">
                  <c:v>90.6</c:v>
                </c:pt>
                <c:pt idx="3191">
                  <c:v>96.5</c:v>
                </c:pt>
                <c:pt idx="3192">
                  <c:v>83.3</c:v>
                </c:pt>
                <c:pt idx="3193">
                  <c:v>94.2</c:v>
                </c:pt>
                <c:pt idx="3194">
                  <c:v>93.2</c:v>
                </c:pt>
                <c:pt idx="3195">
                  <c:v>90.3</c:v>
                </c:pt>
                <c:pt idx="3196">
                  <c:v>117.5</c:v>
                </c:pt>
                <c:pt idx="3197">
                  <c:v>92.2</c:v>
                </c:pt>
                <c:pt idx="3198">
                  <c:v>96.6</c:v>
                </c:pt>
                <c:pt idx="3199">
                  <c:v>96.7</c:v>
                </c:pt>
                <c:pt idx="3200">
                  <c:v>98.3</c:v>
                </c:pt>
                <c:pt idx="3201">
                  <c:v>96.022061510243205</c:v>
                </c:pt>
                <c:pt idx="3202">
                  <c:v>99.9</c:v>
                </c:pt>
                <c:pt idx="3203">
                  <c:v>104.9</c:v>
                </c:pt>
                <c:pt idx="3204">
                  <c:v>78.5</c:v>
                </c:pt>
                <c:pt idx="3205">
                  <c:v>105.5</c:v>
                </c:pt>
                <c:pt idx="3206">
                  <c:v>98.2</c:v>
                </c:pt>
                <c:pt idx="3207">
                  <c:v>99.3</c:v>
                </c:pt>
                <c:pt idx="3208">
                  <c:v>105.4</c:v>
                </c:pt>
                <c:pt idx="3209">
                  <c:v>113.9</c:v>
                </c:pt>
                <c:pt idx="3210">
                  <c:v>90.1</c:v>
                </c:pt>
                <c:pt idx="3211">
                  <c:v>94.1</c:v>
                </c:pt>
                <c:pt idx="3212">
                  <c:v>104</c:v>
                </c:pt>
                <c:pt idx="3213">
                  <c:v>98.9</c:v>
                </c:pt>
                <c:pt idx="3214">
                  <c:v>72.099999999999994</c:v>
                </c:pt>
                <c:pt idx="3215">
                  <c:v>94.6</c:v>
                </c:pt>
                <c:pt idx="3216">
                  <c:v>104.1</c:v>
                </c:pt>
                <c:pt idx="3217">
                  <c:v>104.4</c:v>
                </c:pt>
                <c:pt idx="3218">
                  <c:v>102.2</c:v>
                </c:pt>
                <c:pt idx="3219">
                  <c:v>98.7</c:v>
                </c:pt>
                <c:pt idx="3220">
                  <c:v>102</c:v>
                </c:pt>
                <c:pt idx="3221">
                  <c:v>102.3</c:v>
                </c:pt>
                <c:pt idx="3222">
                  <c:v>85.8</c:v>
                </c:pt>
                <c:pt idx="3223">
                  <c:v>104.3</c:v>
                </c:pt>
                <c:pt idx="3224">
                  <c:v>95.483920526202596</c:v>
                </c:pt>
                <c:pt idx="3225">
                  <c:v>98.2</c:v>
                </c:pt>
                <c:pt idx="3226">
                  <c:v>111.799999999999</c:v>
                </c:pt>
                <c:pt idx="3227">
                  <c:v>100</c:v>
                </c:pt>
                <c:pt idx="3228">
                  <c:v>88.9</c:v>
                </c:pt>
                <c:pt idx="3229">
                  <c:v>92.8</c:v>
                </c:pt>
                <c:pt idx="3230">
                  <c:v>100.6</c:v>
                </c:pt>
                <c:pt idx="3231">
                  <c:v>92.952011783376705</c:v>
                </c:pt>
                <c:pt idx="3232">
                  <c:v>95.2</c:v>
                </c:pt>
                <c:pt idx="3233">
                  <c:v>99.1</c:v>
                </c:pt>
                <c:pt idx="3234">
                  <c:v>106.8</c:v>
                </c:pt>
                <c:pt idx="3235">
                  <c:v>97.3</c:v>
                </c:pt>
                <c:pt idx="3236">
                  <c:v>95.585833382086193</c:v>
                </c:pt>
                <c:pt idx="3237">
                  <c:v>92.8</c:v>
                </c:pt>
                <c:pt idx="3238">
                  <c:v>99</c:v>
                </c:pt>
                <c:pt idx="3239">
                  <c:v>112.7</c:v>
                </c:pt>
                <c:pt idx="3240">
                  <c:v>99.1</c:v>
                </c:pt>
                <c:pt idx="3241">
                  <c:v>99.027737470000005</c:v>
                </c:pt>
                <c:pt idx="3242">
                  <c:v>101</c:v>
                </c:pt>
                <c:pt idx="3243">
                  <c:v>92.436542900000006</c:v>
                </c:pt>
                <c:pt idx="3244">
                  <c:v>117.7</c:v>
                </c:pt>
                <c:pt idx="3245">
                  <c:v>92.5</c:v>
                </c:pt>
                <c:pt idx="3246">
                  <c:v>93</c:v>
                </c:pt>
                <c:pt idx="3247">
                  <c:v>99.3</c:v>
                </c:pt>
                <c:pt idx="3248">
                  <c:v>98.2</c:v>
                </c:pt>
                <c:pt idx="3249">
                  <c:v>108.5</c:v>
                </c:pt>
                <c:pt idx="3250">
                  <c:v>98.1</c:v>
                </c:pt>
                <c:pt idx="3251">
                  <c:v>96.9</c:v>
                </c:pt>
                <c:pt idx="3252">
                  <c:v>102.1</c:v>
                </c:pt>
                <c:pt idx="3253">
                  <c:v>93.8</c:v>
                </c:pt>
                <c:pt idx="3254">
                  <c:v>92.6</c:v>
                </c:pt>
                <c:pt idx="3255">
                  <c:v>86.9</c:v>
                </c:pt>
                <c:pt idx="3256">
                  <c:v>95.7</c:v>
                </c:pt>
                <c:pt idx="3257">
                  <c:v>98.8</c:v>
                </c:pt>
                <c:pt idx="3258">
                  <c:v>93.6</c:v>
                </c:pt>
                <c:pt idx="3259">
                  <c:v>94.1</c:v>
                </c:pt>
                <c:pt idx="3260">
                  <c:v>105</c:v>
                </c:pt>
                <c:pt idx="3261">
                  <c:v>86.3</c:v>
                </c:pt>
                <c:pt idx="3262">
                  <c:v>101.2</c:v>
                </c:pt>
                <c:pt idx="3263">
                  <c:v>91.2</c:v>
                </c:pt>
                <c:pt idx="3264">
                  <c:v>121.1</c:v>
                </c:pt>
                <c:pt idx="3265">
                  <c:v>101</c:v>
                </c:pt>
                <c:pt idx="3266">
                  <c:v>95.6</c:v>
                </c:pt>
                <c:pt idx="3267">
                  <c:v>122.4</c:v>
                </c:pt>
                <c:pt idx="3268">
                  <c:v>92</c:v>
                </c:pt>
                <c:pt idx="3269">
                  <c:v>121.3</c:v>
                </c:pt>
                <c:pt idx="3270">
                  <c:v>99.4</c:v>
                </c:pt>
                <c:pt idx="3271">
                  <c:v>103.6</c:v>
                </c:pt>
                <c:pt idx="3272">
                  <c:v>91.9</c:v>
                </c:pt>
                <c:pt idx="3273">
                  <c:v>94.6</c:v>
                </c:pt>
                <c:pt idx="3274">
                  <c:v>101.1</c:v>
                </c:pt>
                <c:pt idx="3275">
                  <c:v>105.3</c:v>
                </c:pt>
                <c:pt idx="3276">
                  <c:v>137.9</c:v>
                </c:pt>
                <c:pt idx="3277">
                  <c:v>94.438387685885701</c:v>
                </c:pt>
                <c:pt idx="3278">
                  <c:v>89.6</c:v>
                </c:pt>
                <c:pt idx="3279">
                  <c:v>92.7</c:v>
                </c:pt>
                <c:pt idx="3280">
                  <c:v>108</c:v>
                </c:pt>
                <c:pt idx="3281">
                  <c:v>99.4</c:v>
                </c:pt>
                <c:pt idx="3282">
                  <c:v>93.8</c:v>
                </c:pt>
                <c:pt idx="3283">
                  <c:v>85.4</c:v>
                </c:pt>
                <c:pt idx="3284">
                  <c:v>107.1</c:v>
                </c:pt>
                <c:pt idx="3285">
                  <c:v>95.9</c:v>
                </c:pt>
                <c:pt idx="3286">
                  <c:v>104.7</c:v>
                </c:pt>
                <c:pt idx="3287">
                  <c:v>101.3</c:v>
                </c:pt>
                <c:pt idx="3288">
                  <c:v>98.9</c:v>
                </c:pt>
                <c:pt idx="3289">
                  <c:v>95.655742502217294</c:v>
                </c:pt>
                <c:pt idx="3290">
                  <c:v>99.5</c:v>
                </c:pt>
                <c:pt idx="3291">
                  <c:v>135.1</c:v>
                </c:pt>
                <c:pt idx="3292">
                  <c:v>99.2</c:v>
                </c:pt>
                <c:pt idx="3293">
                  <c:v>98.9</c:v>
                </c:pt>
                <c:pt idx="3294">
                  <c:v>93.905346080000001</c:v>
                </c:pt>
                <c:pt idx="3295">
                  <c:v>100.1</c:v>
                </c:pt>
                <c:pt idx="3296">
                  <c:v>97.5</c:v>
                </c:pt>
                <c:pt idx="3297">
                  <c:v>101.8</c:v>
                </c:pt>
                <c:pt idx="3298">
                  <c:v>106</c:v>
                </c:pt>
                <c:pt idx="3299">
                  <c:v>95.599999999999895</c:v>
                </c:pt>
                <c:pt idx="3300">
                  <c:v>93.6</c:v>
                </c:pt>
                <c:pt idx="3301">
                  <c:v>89.5</c:v>
                </c:pt>
                <c:pt idx="3302">
                  <c:v>98.1</c:v>
                </c:pt>
                <c:pt idx="3303">
                  <c:v>94.5</c:v>
                </c:pt>
                <c:pt idx="3304">
                  <c:v>90.6</c:v>
                </c:pt>
                <c:pt idx="3305">
                  <c:v>82.8</c:v>
                </c:pt>
                <c:pt idx="3306">
                  <c:v>93.6</c:v>
                </c:pt>
                <c:pt idx="3307">
                  <c:v>96.4</c:v>
                </c:pt>
                <c:pt idx="3308">
                  <c:v>95.6</c:v>
                </c:pt>
                <c:pt idx="3309">
                  <c:v>101.4</c:v>
                </c:pt>
                <c:pt idx="3310">
                  <c:v>97.8</c:v>
                </c:pt>
                <c:pt idx="3311">
                  <c:v>83.9</c:v>
                </c:pt>
                <c:pt idx="3312">
                  <c:v>90</c:v>
                </c:pt>
                <c:pt idx="3313">
                  <c:v>101.5</c:v>
                </c:pt>
                <c:pt idx="3314">
                  <c:v>102.3</c:v>
                </c:pt>
                <c:pt idx="3315">
                  <c:v>94</c:v>
                </c:pt>
                <c:pt idx="3316">
                  <c:v>103.7</c:v>
                </c:pt>
                <c:pt idx="3317">
                  <c:v>85.3</c:v>
                </c:pt>
                <c:pt idx="3318">
                  <c:v>100.3</c:v>
                </c:pt>
                <c:pt idx="3319">
                  <c:v>86.8</c:v>
                </c:pt>
                <c:pt idx="3320">
                  <c:v>100.1</c:v>
                </c:pt>
                <c:pt idx="3321">
                  <c:v>104.6</c:v>
                </c:pt>
                <c:pt idx="3322">
                  <c:v>107.5</c:v>
                </c:pt>
                <c:pt idx="3323">
                  <c:v>96.2</c:v>
                </c:pt>
                <c:pt idx="3324">
                  <c:v>95</c:v>
                </c:pt>
                <c:pt idx="3325">
                  <c:v>101.1</c:v>
                </c:pt>
                <c:pt idx="3326">
                  <c:v>110.6</c:v>
                </c:pt>
                <c:pt idx="3327">
                  <c:v>87.8</c:v>
                </c:pt>
                <c:pt idx="3328">
                  <c:v>93.6</c:v>
                </c:pt>
                <c:pt idx="3329">
                  <c:v>95.6</c:v>
                </c:pt>
                <c:pt idx="3330">
                  <c:v>95.6</c:v>
                </c:pt>
                <c:pt idx="3331">
                  <c:v>95.7</c:v>
                </c:pt>
                <c:pt idx="3332">
                  <c:v>79.7</c:v>
                </c:pt>
                <c:pt idx="3333">
                  <c:v>107.8</c:v>
                </c:pt>
                <c:pt idx="3334">
                  <c:v>100.6</c:v>
                </c:pt>
                <c:pt idx="3335">
                  <c:v>100.3</c:v>
                </c:pt>
                <c:pt idx="3336">
                  <c:v>92.5</c:v>
                </c:pt>
                <c:pt idx="3337">
                  <c:v>162.1</c:v>
                </c:pt>
                <c:pt idx="3338">
                  <c:v>97.1</c:v>
                </c:pt>
                <c:pt idx="3339">
                  <c:v>84.3</c:v>
                </c:pt>
                <c:pt idx="3340">
                  <c:v>99.4</c:v>
                </c:pt>
                <c:pt idx="3341">
                  <c:v>87.9</c:v>
                </c:pt>
                <c:pt idx="3342">
                  <c:v>102.1</c:v>
                </c:pt>
                <c:pt idx="3343">
                  <c:v>92.403513419373695</c:v>
                </c:pt>
                <c:pt idx="3344">
                  <c:v>100.2</c:v>
                </c:pt>
                <c:pt idx="3345">
                  <c:v>106</c:v>
                </c:pt>
                <c:pt idx="3346">
                  <c:v>105</c:v>
                </c:pt>
                <c:pt idx="3347">
                  <c:v>105</c:v>
                </c:pt>
                <c:pt idx="3348">
                  <c:v>96.99575978</c:v>
                </c:pt>
                <c:pt idx="3349">
                  <c:v>99.2</c:v>
                </c:pt>
                <c:pt idx="3350">
                  <c:v>103.299999999999</c:v>
                </c:pt>
                <c:pt idx="3351">
                  <c:v>114.7</c:v>
                </c:pt>
                <c:pt idx="3352">
                  <c:v>94.837970359686807</c:v>
                </c:pt>
                <c:pt idx="3353">
                  <c:v>102.1</c:v>
                </c:pt>
                <c:pt idx="3354">
                  <c:v>100.3</c:v>
                </c:pt>
                <c:pt idx="3355">
                  <c:v>92.772521553116405</c:v>
                </c:pt>
                <c:pt idx="3356">
                  <c:v>93.799999999999898</c:v>
                </c:pt>
                <c:pt idx="3357">
                  <c:v>99.7</c:v>
                </c:pt>
                <c:pt idx="3358">
                  <c:v>117.4</c:v>
                </c:pt>
                <c:pt idx="3359">
                  <c:v>89.9</c:v>
                </c:pt>
                <c:pt idx="3360">
                  <c:v>85.3</c:v>
                </c:pt>
                <c:pt idx="3361">
                  <c:v>96.520608404831194</c:v>
                </c:pt>
                <c:pt idx="3362">
                  <c:v>129.4</c:v>
                </c:pt>
                <c:pt idx="3363">
                  <c:v>97.4</c:v>
                </c:pt>
                <c:pt idx="3364">
                  <c:v>93.9</c:v>
                </c:pt>
                <c:pt idx="3365">
                  <c:v>109</c:v>
                </c:pt>
                <c:pt idx="3366">
                  <c:v>90.631081503721703</c:v>
                </c:pt>
                <c:pt idx="3367">
                  <c:v>91.999727106037696</c:v>
                </c:pt>
                <c:pt idx="3368">
                  <c:v>103.6</c:v>
                </c:pt>
                <c:pt idx="3369">
                  <c:v>100.5</c:v>
                </c:pt>
                <c:pt idx="3370">
                  <c:v>96.6</c:v>
                </c:pt>
                <c:pt idx="3371">
                  <c:v>91</c:v>
                </c:pt>
                <c:pt idx="3372">
                  <c:v>102.4</c:v>
                </c:pt>
                <c:pt idx="3373">
                  <c:v>98.750801940440496</c:v>
                </c:pt>
                <c:pt idx="3374">
                  <c:v>96.1</c:v>
                </c:pt>
                <c:pt idx="3375">
                  <c:v>98.4</c:v>
                </c:pt>
                <c:pt idx="3376">
                  <c:v>94.8</c:v>
                </c:pt>
                <c:pt idx="3377">
                  <c:v>95.2</c:v>
                </c:pt>
                <c:pt idx="3378">
                  <c:v>90.8</c:v>
                </c:pt>
                <c:pt idx="3379">
                  <c:v>90.2</c:v>
                </c:pt>
                <c:pt idx="3380">
                  <c:v>86.196586310047493</c:v>
                </c:pt>
                <c:pt idx="3381">
                  <c:v>96</c:v>
                </c:pt>
                <c:pt idx="3382">
                  <c:v>91.6</c:v>
                </c:pt>
                <c:pt idx="3383">
                  <c:v>98.9</c:v>
                </c:pt>
                <c:pt idx="3384">
                  <c:v>100.7</c:v>
                </c:pt>
                <c:pt idx="3385">
                  <c:v>101.9</c:v>
                </c:pt>
                <c:pt idx="3386">
                  <c:v>97.2</c:v>
                </c:pt>
                <c:pt idx="3387">
                  <c:v>106.5</c:v>
                </c:pt>
                <c:pt idx="3388">
                  <c:v>86.4</c:v>
                </c:pt>
                <c:pt idx="3389">
                  <c:v>88.3</c:v>
                </c:pt>
                <c:pt idx="3390">
                  <c:v>98.1</c:v>
                </c:pt>
                <c:pt idx="3391">
                  <c:v>101.3</c:v>
                </c:pt>
                <c:pt idx="3392">
                  <c:v>92.8</c:v>
                </c:pt>
                <c:pt idx="3393">
                  <c:v>103.1</c:v>
                </c:pt>
                <c:pt idx="3394">
                  <c:v>88.1</c:v>
                </c:pt>
                <c:pt idx="3395">
                  <c:v>102.3</c:v>
                </c:pt>
                <c:pt idx="3396">
                  <c:v>96.2</c:v>
                </c:pt>
                <c:pt idx="3397">
                  <c:v>90</c:v>
                </c:pt>
                <c:pt idx="3398">
                  <c:v>108.3</c:v>
                </c:pt>
                <c:pt idx="3399">
                  <c:v>169</c:v>
                </c:pt>
                <c:pt idx="3400">
                  <c:v>100.8</c:v>
                </c:pt>
                <c:pt idx="3401">
                  <c:v>89.5</c:v>
                </c:pt>
                <c:pt idx="3402">
                  <c:v>99</c:v>
                </c:pt>
                <c:pt idx="3403">
                  <c:v>114</c:v>
                </c:pt>
                <c:pt idx="3404">
                  <c:v>97.034568100000001</c:v>
                </c:pt>
                <c:pt idx="3405">
                  <c:v>95.3</c:v>
                </c:pt>
                <c:pt idx="3406">
                  <c:v>97.4</c:v>
                </c:pt>
                <c:pt idx="3407">
                  <c:v>87.6</c:v>
                </c:pt>
                <c:pt idx="3408">
                  <c:v>108.1</c:v>
                </c:pt>
                <c:pt idx="3409">
                  <c:v>90.5</c:v>
                </c:pt>
                <c:pt idx="3410">
                  <c:v>100.5</c:v>
                </c:pt>
                <c:pt idx="3411">
                  <c:v>92.6</c:v>
                </c:pt>
                <c:pt idx="3412">
                  <c:v>93.7</c:v>
                </c:pt>
                <c:pt idx="3413">
                  <c:v>98.5</c:v>
                </c:pt>
                <c:pt idx="3414">
                  <c:v>99.2</c:v>
                </c:pt>
                <c:pt idx="3415">
                  <c:v>94.7</c:v>
                </c:pt>
                <c:pt idx="3416">
                  <c:v>98.9</c:v>
                </c:pt>
                <c:pt idx="3417">
                  <c:v>104.3</c:v>
                </c:pt>
                <c:pt idx="3418">
                  <c:v>103.5</c:v>
                </c:pt>
                <c:pt idx="3419">
                  <c:v>98.1</c:v>
                </c:pt>
                <c:pt idx="3420">
                  <c:v>87.5</c:v>
                </c:pt>
                <c:pt idx="3421">
                  <c:v>100.8</c:v>
                </c:pt>
                <c:pt idx="3422">
                  <c:v>101.7</c:v>
                </c:pt>
                <c:pt idx="3423">
                  <c:v>97.5</c:v>
                </c:pt>
                <c:pt idx="3424">
                  <c:v>119.5</c:v>
                </c:pt>
                <c:pt idx="3425">
                  <c:v>94.4</c:v>
                </c:pt>
                <c:pt idx="3426">
                  <c:v>104.6</c:v>
                </c:pt>
                <c:pt idx="3427">
                  <c:v>127.4</c:v>
                </c:pt>
                <c:pt idx="3428">
                  <c:v>100.1</c:v>
                </c:pt>
                <c:pt idx="3429">
                  <c:v>56.6</c:v>
                </c:pt>
                <c:pt idx="3430">
                  <c:v>104.42186294939</c:v>
                </c:pt>
                <c:pt idx="3431">
                  <c:v>146.4</c:v>
                </c:pt>
                <c:pt idx="3432">
                  <c:v>101</c:v>
                </c:pt>
                <c:pt idx="3433">
                  <c:v>154.4</c:v>
                </c:pt>
                <c:pt idx="3434">
                  <c:v>94.808978530000005</c:v>
                </c:pt>
                <c:pt idx="3435">
                  <c:v>102</c:v>
                </c:pt>
                <c:pt idx="3436">
                  <c:v>94.4</c:v>
                </c:pt>
                <c:pt idx="3437">
                  <c:v>100.1</c:v>
                </c:pt>
                <c:pt idx="3438">
                  <c:v>92.7</c:v>
                </c:pt>
                <c:pt idx="3439">
                  <c:v>96.3</c:v>
                </c:pt>
                <c:pt idx="3440">
                  <c:v>89</c:v>
                </c:pt>
                <c:pt idx="3441">
                  <c:v>101.2</c:v>
                </c:pt>
                <c:pt idx="3442">
                  <c:v>92.2</c:v>
                </c:pt>
                <c:pt idx="3443">
                  <c:v>112.465895429284</c:v>
                </c:pt>
                <c:pt idx="3444">
                  <c:v>100.2</c:v>
                </c:pt>
                <c:pt idx="3445">
                  <c:v>91.3</c:v>
                </c:pt>
                <c:pt idx="3446">
                  <c:v>100.7</c:v>
                </c:pt>
                <c:pt idx="3447">
                  <c:v>114.3</c:v>
                </c:pt>
                <c:pt idx="3448">
                  <c:v>85.6</c:v>
                </c:pt>
                <c:pt idx="3449">
                  <c:v>98</c:v>
                </c:pt>
                <c:pt idx="3450">
                  <c:v>97.532221488000403</c:v>
                </c:pt>
                <c:pt idx="3451">
                  <c:v>93</c:v>
                </c:pt>
                <c:pt idx="3452">
                  <c:v>103.9</c:v>
                </c:pt>
                <c:pt idx="3453">
                  <c:v>93.3</c:v>
                </c:pt>
                <c:pt idx="3454">
                  <c:v>101.4</c:v>
                </c:pt>
                <c:pt idx="3455">
                  <c:v>104.3</c:v>
                </c:pt>
                <c:pt idx="3456">
                  <c:v>98.7</c:v>
                </c:pt>
                <c:pt idx="3457">
                  <c:v>106</c:v>
                </c:pt>
                <c:pt idx="3458">
                  <c:v>98.6</c:v>
                </c:pt>
                <c:pt idx="3459">
                  <c:v>98.335302530000007</c:v>
                </c:pt>
                <c:pt idx="3460">
                  <c:v>95.7</c:v>
                </c:pt>
                <c:pt idx="3461">
                  <c:v>98.3</c:v>
                </c:pt>
                <c:pt idx="3462">
                  <c:v>105.7</c:v>
                </c:pt>
                <c:pt idx="3463">
                  <c:v>103.7</c:v>
                </c:pt>
                <c:pt idx="3464">
                  <c:v>106.8</c:v>
                </c:pt>
                <c:pt idx="3465">
                  <c:v>100.3</c:v>
                </c:pt>
                <c:pt idx="3466">
                  <c:v>109.5</c:v>
                </c:pt>
                <c:pt idx="3467">
                  <c:v>101.4</c:v>
                </c:pt>
                <c:pt idx="3468">
                  <c:v>93.2</c:v>
                </c:pt>
                <c:pt idx="3469">
                  <c:v>104.7</c:v>
                </c:pt>
                <c:pt idx="3470">
                  <c:v>106.2</c:v>
                </c:pt>
                <c:pt idx="3471">
                  <c:v>96.7</c:v>
                </c:pt>
                <c:pt idx="3472">
                  <c:v>107.8</c:v>
                </c:pt>
                <c:pt idx="3473">
                  <c:v>98.9</c:v>
                </c:pt>
                <c:pt idx="3474">
                  <c:v>99</c:v>
                </c:pt>
                <c:pt idx="3475">
                  <c:v>129.1</c:v>
                </c:pt>
                <c:pt idx="3476">
                  <c:v>97.9</c:v>
                </c:pt>
                <c:pt idx="3477">
                  <c:v>83</c:v>
                </c:pt>
                <c:pt idx="3478">
                  <c:v>97.4</c:v>
                </c:pt>
                <c:pt idx="3479">
                  <c:v>111.1</c:v>
                </c:pt>
                <c:pt idx="3480">
                  <c:v>107.3</c:v>
                </c:pt>
                <c:pt idx="3481">
                  <c:v>102</c:v>
                </c:pt>
                <c:pt idx="3482">
                  <c:v>94.4</c:v>
                </c:pt>
                <c:pt idx="3483">
                  <c:v>91.8</c:v>
                </c:pt>
                <c:pt idx="3484">
                  <c:v>94.5</c:v>
                </c:pt>
                <c:pt idx="3485">
                  <c:v>89.4</c:v>
                </c:pt>
                <c:pt idx="3486">
                  <c:v>114.3</c:v>
                </c:pt>
                <c:pt idx="3487">
                  <c:v>94.1</c:v>
                </c:pt>
                <c:pt idx="3488">
                  <c:v>105.3</c:v>
                </c:pt>
                <c:pt idx="3489">
                  <c:v>83.299999999999898</c:v>
                </c:pt>
                <c:pt idx="3490">
                  <c:v>102</c:v>
                </c:pt>
                <c:pt idx="3491">
                  <c:v>98.7</c:v>
                </c:pt>
                <c:pt idx="3492">
                  <c:v>96</c:v>
                </c:pt>
                <c:pt idx="3493">
                  <c:v>114.7</c:v>
                </c:pt>
                <c:pt idx="3494">
                  <c:v>101.3</c:v>
                </c:pt>
                <c:pt idx="3495">
                  <c:v>92.3</c:v>
                </c:pt>
                <c:pt idx="3496">
                  <c:v>101.5</c:v>
                </c:pt>
                <c:pt idx="3497">
                  <c:v>86.4</c:v>
                </c:pt>
                <c:pt idx="3498">
                  <c:v>82.3</c:v>
                </c:pt>
                <c:pt idx="3499">
                  <c:v>92.7</c:v>
                </c:pt>
                <c:pt idx="3500">
                  <c:v>108.4</c:v>
                </c:pt>
                <c:pt idx="3501">
                  <c:v>89.8</c:v>
                </c:pt>
                <c:pt idx="3502">
                  <c:v>56</c:v>
                </c:pt>
                <c:pt idx="3503">
                  <c:v>96.7</c:v>
                </c:pt>
                <c:pt idx="3504">
                  <c:v>100.4</c:v>
                </c:pt>
                <c:pt idx="3505">
                  <c:v>100.6</c:v>
                </c:pt>
                <c:pt idx="3506">
                  <c:v>94</c:v>
                </c:pt>
                <c:pt idx="3507">
                  <c:v>92.8</c:v>
                </c:pt>
                <c:pt idx="3508">
                  <c:v>98.5</c:v>
                </c:pt>
                <c:pt idx="3509">
                  <c:v>98.2</c:v>
                </c:pt>
                <c:pt idx="3510">
                  <c:v>106.6</c:v>
                </c:pt>
                <c:pt idx="3511">
                  <c:v>99.8</c:v>
                </c:pt>
                <c:pt idx="3512">
                  <c:v>94.1</c:v>
                </c:pt>
                <c:pt idx="3513">
                  <c:v>88.4</c:v>
                </c:pt>
                <c:pt idx="3514">
                  <c:v>103.299999999999</c:v>
                </c:pt>
                <c:pt idx="3515">
                  <c:v>106.2</c:v>
                </c:pt>
                <c:pt idx="3516">
                  <c:v>96.6</c:v>
                </c:pt>
                <c:pt idx="3517">
                  <c:v>88.7</c:v>
                </c:pt>
                <c:pt idx="3518">
                  <c:v>109.4</c:v>
                </c:pt>
                <c:pt idx="3519">
                  <c:v>83.4</c:v>
                </c:pt>
                <c:pt idx="3520">
                  <c:v>97.7</c:v>
                </c:pt>
                <c:pt idx="3521">
                  <c:v>137.9</c:v>
                </c:pt>
                <c:pt idx="3522">
                  <c:v>91.7</c:v>
                </c:pt>
                <c:pt idx="3523">
                  <c:v>100.1</c:v>
                </c:pt>
                <c:pt idx="3524">
                  <c:v>93.2</c:v>
                </c:pt>
                <c:pt idx="3525">
                  <c:v>71.8</c:v>
                </c:pt>
                <c:pt idx="3526">
                  <c:v>92.4</c:v>
                </c:pt>
                <c:pt idx="3527">
                  <c:v>99.299999999999898</c:v>
                </c:pt>
                <c:pt idx="3528">
                  <c:v>85.6</c:v>
                </c:pt>
                <c:pt idx="3529">
                  <c:v>97.9</c:v>
                </c:pt>
                <c:pt idx="3530">
                  <c:v>96</c:v>
                </c:pt>
                <c:pt idx="3531">
                  <c:v>83.9</c:v>
                </c:pt>
                <c:pt idx="3532">
                  <c:v>93</c:v>
                </c:pt>
                <c:pt idx="3533">
                  <c:v>91.5</c:v>
                </c:pt>
                <c:pt idx="3534">
                  <c:v>93.023488911185694</c:v>
                </c:pt>
                <c:pt idx="3535">
                  <c:v>93.159599400463193</c:v>
                </c:pt>
                <c:pt idx="3536">
                  <c:v>96.1</c:v>
                </c:pt>
                <c:pt idx="3537">
                  <c:v>106.2</c:v>
                </c:pt>
                <c:pt idx="3538">
                  <c:v>87.8</c:v>
                </c:pt>
                <c:pt idx="3539">
                  <c:v>100.01223796646801</c:v>
                </c:pt>
                <c:pt idx="3540">
                  <c:v>103.6</c:v>
                </c:pt>
                <c:pt idx="3541">
                  <c:v>90.6</c:v>
                </c:pt>
                <c:pt idx="3542">
                  <c:v>108.7</c:v>
                </c:pt>
                <c:pt idx="3543">
                  <c:v>95.2</c:v>
                </c:pt>
                <c:pt idx="3544">
                  <c:v>87.7</c:v>
                </c:pt>
                <c:pt idx="3545">
                  <c:v>78.900000000000006</c:v>
                </c:pt>
                <c:pt idx="3546">
                  <c:v>100.4</c:v>
                </c:pt>
                <c:pt idx="3547">
                  <c:v>98.9</c:v>
                </c:pt>
                <c:pt idx="3548">
                  <c:v>94.397809949999996</c:v>
                </c:pt>
                <c:pt idx="3549">
                  <c:v>98.6</c:v>
                </c:pt>
                <c:pt idx="3550">
                  <c:v>98.4</c:v>
                </c:pt>
                <c:pt idx="3551">
                  <c:v>96.7</c:v>
                </c:pt>
                <c:pt idx="3552">
                  <c:v>94.6</c:v>
                </c:pt>
                <c:pt idx="3553">
                  <c:v>99.7</c:v>
                </c:pt>
                <c:pt idx="3554">
                  <c:v>93.2</c:v>
                </c:pt>
                <c:pt idx="3555">
                  <c:v>98.3</c:v>
                </c:pt>
                <c:pt idx="3556">
                  <c:v>79.5</c:v>
                </c:pt>
                <c:pt idx="3557">
                  <c:v>100.6</c:v>
                </c:pt>
                <c:pt idx="3558">
                  <c:v>93.5</c:v>
                </c:pt>
                <c:pt idx="3559">
                  <c:v>92.1</c:v>
                </c:pt>
                <c:pt idx="3560">
                  <c:v>98.1</c:v>
                </c:pt>
                <c:pt idx="3561">
                  <c:v>82.9</c:v>
                </c:pt>
                <c:pt idx="3562">
                  <c:v>88.6</c:v>
                </c:pt>
                <c:pt idx="3563">
                  <c:v>103</c:v>
                </c:pt>
                <c:pt idx="3564">
                  <c:v>94.8264264930026</c:v>
                </c:pt>
                <c:pt idx="3565">
                  <c:v>96.4</c:v>
                </c:pt>
                <c:pt idx="3566">
                  <c:v>113</c:v>
                </c:pt>
                <c:pt idx="3567">
                  <c:v>105.7</c:v>
                </c:pt>
                <c:pt idx="3568">
                  <c:v>100.2</c:v>
                </c:pt>
                <c:pt idx="3569">
                  <c:v>104.9</c:v>
                </c:pt>
                <c:pt idx="3570">
                  <c:v>100.2</c:v>
                </c:pt>
                <c:pt idx="3571">
                  <c:v>102.8</c:v>
                </c:pt>
                <c:pt idx="3572">
                  <c:v>101.4</c:v>
                </c:pt>
                <c:pt idx="3573">
                  <c:v>87.8</c:v>
                </c:pt>
                <c:pt idx="3574">
                  <c:v>92.3</c:v>
                </c:pt>
                <c:pt idx="3575">
                  <c:v>96.3</c:v>
                </c:pt>
                <c:pt idx="3576">
                  <c:v>88.7</c:v>
                </c:pt>
                <c:pt idx="3577">
                  <c:v>77</c:v>
                </c:pt>
                <c:pt idx="3578">
                  <c:v>112.2</c:v>
                </c:pt>
                <c:pt idx="3579">
                  <c:v>98.4</c:v>
                </c:pt>
                <c:pt idx="3580">
                  <c:v>91.566378830000005</c:v>
                </c:pt>
                <c:pt idx="3581">
                  <c:v>94.3</c:v>
                </c:pt>
                <c:pt idx="3582">
                  <c:v>94.599999999999895</c:v>
                </c:pt>
                <c:pt idx="3583">
                  <c:v>95</c:v>
                </c:pt>
                <c:pt idx="3584">
                  <c:v>92.6</c:v>
                </c:pt>
                <c:pt idx="3585">
                  <c:v>88.1</c:v>
                </c:pt>
                <c:pt idx="3586">
                  <c:v>95.1</c:v>
                </c:pt>
                <c:pt idx="3587">
                  <c:v>97.9</c:v>
                </c:pt>
                <c:pt idx="3588">
                  <c:v>92.1</c:v>
                </c:pt>
                <c:pt idx="3589">
                  <c:v>89.7</c:v>
                </c:pt>
                <c:pt idx="3590">
                  <c:v>91.9</c:v>
                </c:pt>
                <c:pt idx="3591">
                  <c:v>100.1</c:v>
                </c:pt>
                <c:pt idx="3592">
                  <c:v>94.012874248974001</c:v>
                </c:pt>
                <c:pt idx="3593">
                  <c:v>95.5</c:v>
                </c:pt>
                <c:pt idx="3594">
                  <c:v>97.680985829999997</c:v>
                </c:pt>
                <c:pt idx="3595">
                  <c:v>95.9</c:v>
                </c:pt>
                <c:pt idx="3596">
                  <c:v>101.6</c:v>
                </c:pt>
                <c:pt idx="3597">
                  <c:v>112.5</c:v>
                </c:pt>
                <c:pt idx="3598">
                  <c:v>104.3</c:v>
                </c:pt>
                <c:pt idx="3599">
                  <c:v>99.339124376254205</c:v>
                </c:pt>
                <c:pt idx="3600">
                  <c:v>104.582332334076</c:v>
                </c:pt>
                <c:pt idx="3601">
                  <c:v>110.6</c:v>
                </c:pt>
                <c:pt idx="3602">
                  <c:v>97.9</c:v>
                </c:pt>
                <c:pt idx="3603">
                  <c:v>93.7</c:v>
                </c:pt>
                <c:pt idx="3604">
                  <c:v>98.3</c:v>
                </c:pt>
                <c:pt idx="3605">
                  <c:v>90.7</c:v>
                </c:pt>
                <c:pt idx="3606">
                  <c:v>102.2</c:v>
                </c:pt>
                <c:pt idx="3607">
                  <c:v>97.7</c:v>
                </c:pt>
                <c:pt idx="3608">
                  <c:v>95.7</c:v>
                </c:pt>
                <c:pt idx="3609">
                  <c:v>102.613617773516</c:v>
                </c:pt>
                <c:pt idx="3610">
                  <c:v>103.6</c:v>
                </c:pt>
                <c:pt idx="3611">
                  <c:v>90.9</c:v>
                </c:pt>
                <c:pt idx="3612">
                  <c:v>99.8</c:v>
                </c:pt>
                <c:pt idx="3613">
                  <c:v>100.5</c:v>
                </c:pt>
                <c:pt idx="3614">
                  <c:v>114.799999999999</c:v>
                </c:pt>
                <c:pt idx="3615">
                  <c:v>96.219202080000002</c:v>
                </c:pt>
                <c:pt idx="3616">
                  <c:v>87.5</c:v>
                </c:pt>
                <c:pt idx="3617">
                  <c:v>80</c:v>
                </c:pt>
                <c:pt idx="3618">
                  <c:v>92.8</c:v>
                </c:pt>
                <c:pt idx="3619">
                  <c:v>96.309841748304393</c:v>
                </c:pt>
                <c:pt idx="3620">
                  <c:v>96.592068010000006</c:v>
                </c:pt>
                <c:pt idx="3621">
                  <c:v>96.3</c:v>
                </c:pt>
                <c:pt idx="3622">
                  <c:v>100.9</c:v>
                </c:pt>
                <c:pt idx="3623">
                  <c:v>105</c:v>
                </c:pt>
                <c:pt idx="3624">
                  <c:v>115.1</c:v>
                </c:pt>
                <c:pt idx="3625">
                  <c:v>101.9</c:v>
                </c:pt>
                <c:pt idx="3626">
                  <c:v>90</c:v>
                </c:pt>
                <c:pt idx="3627">
                  <c:v>94.6</c:v>
                </c:pt>
                <c:pt idx="3628">
                  <c:v>100.7</c:v>
                </c:pt>
                <c:pt idx="3629">
                  <c:v>98.2</c:v>
                </c:pt>
                <c:pt idx="3630">
                  <c:v>108.3</c:v>
                </c:pt>
                <c:pt idx="3631">
                  <c:v>96.5</c:v>
                </c:pt>
                <c:pt idx="3632">
                  <c:v>96.44654396</c:v>
                </c:pt>
                <c:pt idx="3633">
                  <c:v>99.6</c:v>
                </c:pt>
                <c:pt idx="3634">
                  <c:v>94.8</c:v>
                </c:pt>
                <c:pt idx="3635">
                  <c:v>95.6</c:v>
                </c:pt>
                <c:pt idx="3636">
                  <c:v>93.8</c:v>
                </c:pt>
                <c:pt idx="3637">
                  <c:v>99.2</c:v>
                </c:pt>
                <c:pt idx="3638">
                  <c:v>94.9</c:v>
                </c:pt>
                <c:pt idx="3639">
                  <c:v>140.5</c:v>
                </c:pt>
                <c:pt idx="3640">
                  <c:v>98.3</c:v>
                </c:pt>
                <c:pt idx="3641">
                  <c:v>109.5</c:v>
                </c:pt>
                <c:pt idx="3642">
                  <c:v>100.9</c:v>
                </c:pt>
                <c:pt idx="3643">
                  <c:v>95.7</c:v>
                </c:pt>
                <c:pt idx="3644">
                  <c:v>101.4</c:v>
                </c:pt>
                <c:pt idx="3645">
                  <c:v>90.9</c:v>
                </c:pt>
                <c:pt idx="3646">
                  <c:v>99.229037132987898</c:v>
                </c:pt>
                <c:pt idx="3647">
                  <c:v>100.413678657746</c:v>
                </c:pt>
                <c:pt idx="3648">
                  <c:v>99.2</c:v>
                </c:pt>
                <c:pt idx="3649">
                  <c:v>91.6</c:v>
                </c:pt>
                <c:pt idx="3650">
                  <c:v>89.4</c:v>
                </c:pt>
                <c:pt idx="3651">
                  <c:v>100.48339071010101</c:v>
                </c:pt>
                <c:pt idx="3652">
                  <c:v>106.4</c:v>
                </c:pt>
                <c:pt idx="3653">
                  <c:v>105.2</c:v>
                </c:pt>
                <c:pt idx="3654">
                  <c:v>98.1</c:v>
                </c:pt>
                <c:pt idx="3655">
                  <c:v>103.7</c:v>
                </c:pt>
                <c:pt idx="3656">
                  <c:v>110.2</c:v>
                </c:pt>
                <c:pt idx="3657">
                  <c:v>96.7</c:v>
                </c:pt>
                <c:pt idx="3658">
                  <c:v>95.3</c:v>
                </c:pt>
                <c:pt idx="3659">
                  <c:v>98.099999999999895</c:v>
                </c:pt>
                <c:pt idx="3660">
                  <c:v>92.5</c:v>
                </c:pt>
                <c:pt idx="3661">
                  <c:v>89.3</c:v>
                </c:pt>
                <c:pt idx="3662">
                  <c:v>101.8</c:v>
                </c:pt>
                <c:pt idx="3663">
                  <c:v>97.7</c:v>
                </c:pt>
                <c:pt idx="3664">
                  <c:v>95.7</c:v>
                </c:pt>
                <c:pt idx="3665">
                  <c:v>94.7</c:v>
                </c:pt>
                <c:pt idx="3666">
                  <c:v>94.952260890000005</c:v>
                </c:pt>
                <c:pt idx="3667">
                  <c:v>98.3</c:v>
                </c:pt>
                <c:pt idx="3668">
                  <c:v>95.815849460594507</c:v>
                </c:pt>
                <c:pt idx="3669">
                  <c:v>97.9</c:v>
                </c:pt>
                <c:pt idx="3670">
                  <c:v>104.7</c:v>
                </c:pt>
                <c:pt idx="3671">
                  <c:v>101.9</c:v>
                </c:pt>
                <c:pt idx="3672">
                  <c:v>91.3</c:v>
                </c:pt>
                <c:pt idx="3673">
                  <c:v>89.2</c:v>
                </c:pt>
                <c:pt idx="3674">
                  <c:v>88</c:v>
                </c:pt>
                <c:pt idx="3675">
                  <c:v>111.1</c:v>
                </c:pt>
                <c:pt idx="3676">
                  <c:v>99.7</c:v>
                </c:pt>
                <c:pt idx="3677">
                  <c:v>89.4</c:v>
                </c:pt>
                <c:pt idx="3678">
                  <c:v>99.4</c:v>
                </c:pt>
                <c:pt idx="3679">
                  <c:v>88.8</c:v>
                </c:pt>
                <c:pt idx="3680">
                  <c:v>95.6</c:v>
                </c:pt>
                <c:pt idx="3681">
                  <c:v>95.4</c:v>
                </c:pt>
                <c:pt idx="3682">
                  <c:v>113.8</c:v>
                </c:pt>
                <c:pt idx="3683">
                  <c:v>105.1</c:v>
                </c:pt>
                <c:pt idx="3684">
                  <c:v>92.1</c:v>
                </c:pt>
                <c:pt idx="3685">
                  <c:v>136.69999999999999</c:v>
                </c:pt>
                <c:pt idx="3686">
                  <c:v>100.5</c:v>
                </c:pt>
                <c:pt idx="3687">
                  <c:v>89.4</c:v>
                </c:pt>
                <c:pt idx="3688">
                  <c:v>92.4</c:v>
                </c:pt>
                <c:pt idx="3689">
                  <c:v>100.5</c:v>
                </c:pt>
                <c:pt idx="3690">
                  <c:v>90.2</c:v>
                </c:pt>
                <c:pt idx="3691">
                  <c:v>96.2</c:v>
                </c:pt>
                <c:pt idx="3692">
                  <c:v>93.414326662717798</c:v>
                </c:pt>
                <c:pt idx="3693">
                  <c:v>104.6</c:v>
                </c:pt>
                <c:pt idx="3694">
                  <c:v>101.6</c:v>
                </c:pt>
                <c:pt idx="3695">
                  <c:v>112.1</c:v>
                </c:pt>
                <c:pt idx="3696">
                  <c:v>90.8</c:v>
                </c:pt>
                <c:pt idx="3697">
                  <c:v>99.5</c:v>
                </c:pt>
                <c:pt idx="3698">
                  <c:v>98</c:v>
                </c:pt>
                <c:pt idx="3699">
                  <c:v>101.8</c:v>
                </c:pt>
                <c:pt idx="3700">
                  <c:v>104.1</c:v>
                </c:pt>
                <c:pt idx="3701">
                  <c:v>92.4</c:v>
                </c:pt>
                <c:pt idx="3702">
                  <c:v>92.6</c:v>
                </c:pt>
                <c:pt idx="3703">
                  <c:v>93.8</c:v>
                </c:pt>
                <c:pt idx="3704">
                  <c:v>92.3</c:v>
                </c:pt>
                <c:pt idx="3705">
                  <c:v>103.5</c:v>
                </c:pt>
                <c:pt idx="3706">
                  <c:v>106.7</c:v>
                </c:pt>
                <c:pt idx="3707">
                  <c:v>102.2</c:v>
                </c:pt>
                <c:pt idx="3708">
                  <c:v>79.099999999999994</c:v>
                </c:pt>
                <c:pt idx="3709">
                  <c:v>95.2</c:v>
                </c:pt>
                <c:pt idx="3710">
                  <c:v>99.584999011910895</c:v>
                </c:pt>
                <c:pt idx="3711">
                  <c:v>109.9</c:v>
                </c:pt>
                <c:pt idx="3712">
                  <c:v>97.5</c:v>
                </c:pt>
                <c:pt idx="3713">
                  <c:v>92.8</c:v>
                </c:pt>
                <c:pt idx="3714">
                  <c:v>96.326637669999997</c:v>
                </c:pt>
                <c:pt idx="3715">
                  <c:v>87.3</c:v>
                </c:pt>
                <c:pt idx="3716">
                  <c:v>96.2</c:v>
                </c:pt>
                <c:pt idx="3717">
                  <c:v>96.3</c:v>
                </c:pt>
                <c:pt idx="3718">
                  <c:v>94.897313830235404</c:v>
                </c:pt>
                <c:pt idx="3719">
                  <c:v>99.6</c:v>
                </c:pt>
                <c:pt idx="3720">
                  <c:v>99</c:v>
                </c:pt>
                <c:pt idx="3721">
                  <c:v>103.8</c:v>
                </c:pt>
                <c:pt idx="3722">
                  <c:v>89.5</c:v>
                </c:pt>
                <c:pt idx="3723">
                  <c:v>92.9</c:v>
                </c:pt>
                <c:pt idx="3724">
                  <c:v>99.1</c:v>
                </c:pt>
                <c:pt idx="3725">
                  <c:v>94</c:v>
                </c:pt>
                <c:pt idx="3726">
                  <c:v>172.8</c:v>
                </c:pt>
                <c:pt idx="3727">
                  <c:v>92.7</c:v>
                </c:pt>
                <c:pt idx="3728">
                  <c:v>119.2</c:v>
                </c:pt>
                <c:pt idx="3729">
                  <c:v>92.4</c:v>
                </c:pt>
                <c:pt idx="3730">
                  <c:v>95.7</c:v>
                </c:pt>
                <c:pt idx="3731">
                  <c:v>98.9</c:v>
                </c:pt>
                <c:pt idx="3732">
                  <c:v>100.9</c:v>
                </c:pt>
                <c:pt idx="3733">
                  <c:v>98.4</c:v>
                </c:pt>
                <c:pt idx="3734">
                  <c:v>93.9</c:v>
                </c:pt>
                <c:pt idx="3735">
                  <c:v>96.7</c:v>
                </c:pt>
                <c:pt idx="3736">
                  <c:v>88.1</c:v>
                </c:pt>
                <c:pt idx="3737">
                  <c:v>104.2</c:v>
                </c:pt>
                <c:pt idx="3738">
                  <c:v>90.7</c:v>
                </c:pt>
                <c:pt idx="3739">
                  <c:v>96.6</c:v>
                </c:pt>
                <c:pt idx="3740">
                  <c:v>96.3</c:v>
                </c:pt>
                <c:pt idx="3741">
                  <c:v>120.8</c:v>
                </c:pt>
                <c:pt idx="3742">
                  <c:v>90.5</c:v>
                </c:pt>
                <c:pt idx="3743">
                  <c:v>82.3</c:v>
                </c:pt>
                <c:pt idx="3744">
                  <c:v>125.4</c:v>
                </c:pt>
                <c:pt idx="3745">
                  <c:v>98.2</c:v>
                </c:pt>
                <c:pt idx="3746">
                  <c:v>115.1</c:v>
                </c:pt>
                <c:pt idx="3747">
                  <c:v>97.3</c:v>
                </c:pt>
                <c:pt idx="3748">
                  <c:v>95.2</c:v>
                </c:pt>
                <c:pt idx="3749">
                  <c:v>132</c:v>
                </c:pt>
                <c:pt idx="3750">
                  <c:v>104.6</c:v>
                </c:pt>
                <c:pt idx="3751">
                  <c:v>95.1</c:v>
                </c:pt>
                <c:pt idx="3752">
                  <c:v>92.3</c:v>
                </c:pt>
                <c:pt idx="3753">
                  <c:v>100.72851574153199</c:v>
                </c:pt>
                <c:pt idx="3754">
                  <c:v>96.7</c:v>
                </c:pt>
                <c:pt idx="3755">
                  <c:v>91.4</c:v>
                </c:pt>
                <c:pt idx="3756">
                  <c:v>106.4</c:v>
                </c:pt>
                <c:pt idx="3757">
                  <c:v>97.2</c:v>
                </c:pt>
                <c:pt idx="3758">
                  <c:v>100.4</c:v>
                </c:pt>
                <c:pt idx="3759">
                  <c:v>101.9</c:v>
                </c:pt>
                <c:pt idx="3760">
                  <c:v>96.2</c:v>
                </c:pt>
                <c:pt idx="3761">
                  <c:v>97.655748510584303</c:v>
                </c:pt>
                <c:pt idx="3762">
                  <c:v>102.66924289870499</c:v>
                </c:pt>
                <c:pt idx="3763">
                  <c:v>110.7</c:v>
                </c:pt>
                <c:pt idx="3764">
                  <c:v>98.1</c:v>
                </c:pt>
                <c:pt idx="3765">
                  <c:v>99.8</c:v>
                </c:pt>
                <c:pt idx="3766">
                  <c:v>95.9</c:v>
                </c:pt>
                <c:pt idx="3767">
                  <c:v>104.099999999999</c:v>
                </c:pt>
                <c:pt idx="3768">
                  <c:v>104.4</c:v>
                </c:pt>
                <c:pt idx="3769">
                  <c:v>84.2</c:v>
                </c:pt>
                <c:pt idx="3770">
                  <c:v>75.7</c:v>
                </c:pt>
                <c:pt idx="3771">
                  <c:v>90</c:v>
                </c:pt>
                <c:pt idx="3772">
                  <c:v>105.3</c:v>
                </c:pt>
                <c:pt idx="3773">
                  <c:v>99.6</c:v>
                </c:pt>
                <c:pt idx="3774">
                  <c:v>98.9</c:v>
                </c:pt>
                <c:pt idx="3775">
                  <c:v>95.671309011442005</c:v>
                </c:pt>
                <c:pt idx="3776">
                  <c:v>100.1</c:v>
                </c:pt>
                <c:pt idx="3777">
                  <c:v>96.6</c:v>
                </c:pt>
                <c:pt idx="3778">
                  <c:v>101.6</c:v>
                </c:pt>
                <c:pt idx="3779">
                  <c:v>100</c:v>
                </c:pt>
                <c:pt idx="3780">
                  <c:v>98.8</c:v>
                </c:pt>
                <c:pt idx="3781">
                  <c:v>89.8</c:v>
                </c:pt>
                <c:pt idx="3782">
                  <c:v>100.3</c:v>
                </c:pt>
                <c:pt idx="3783">
                  <c:v>74.5</c:v>
                </c:pt>
                <c:pt idx="3784">
                  <c:v>73.7</c:v>
                </c:pt>
                <c:pt idx="3785">
                  <c:v>99.7</c:v>
                </c:pt>
                <c:pt idx="3786">
                  <c:v>254</c:v>
                </c:pt>
                <c:pt idx="3787">
                  <c:v>90.7</c:v>
                </c:pt>
                <c:pt idx="3788">
                  <c:v>102.599999999999</c:v>
                </c:pt>
                <c:pt idx="3789">
                  <c:v>109.4</c:v>
                </c:pt>
                <c:pt idx="3790">
                  <c:v>98.5</c:v>
                </c:pt>
                <c:pt idx="3791">
                  <c:v>101.2</c:v>
                </c:pt>
                <c:pt idx="3792">
                  <c:v>104.7</c:v>
                </c:pt>
                <c:pt idx="3793">
                  <c:v>88.6</c:v>
                </c:pt>
                <c:pt idx="3794">
                  <c:v>102.1</c:v>
                </c:pt>
                <c:pt idx="3795">
                  <c:v>108.9</c:v>
                </c:pt>
                <c:pt idx="3796">
                  <c:v>95.2</c:v>
                </c:pt>
                <c:pt idx="3797">
                  <c:v>86.4</c:v>
                </c:pt>
                <c:pt idx="3798">
                  <c:v>95.3</c:v>
                </c:pt>
                <c:pt idx="3799">
                  <c:v>98.8</c:v>
                </c:pt>
                <c:pt idx="3800">
                  <c:v>94.2</c:v>
                </c:pt>
                <c:pt idx="3801">
                  <c:v>92.9</c:v>
                </c:pt>
                <c:pt idx="3802">
                  <c:v>87.7</c:v>
                </c:pt>
                <c:pt idx="3803">
                  <c:v>100.2</c:v>
                </c:pt>
                <c:pt idx="3804">
                  <c:v>98.9</c:v>
                </c:pt>
                <c:pt idx="3805">
                  <c:v>97.299999999999898</c:v>
                </c:pt>
                <c:pt idx="3806">
                  <c:v>97.3</c:v>
                </c:pt>
                <c:pt idx="3807">
                  <c:v>96.2</c:v>
                </c:pt>
                <c:pt idx="3808">
                  <c:v>99.299999999999898</c:v>
                </c:pt>
                <c:pt idx="3809">
                  <c:v>94.875765278645403</c:v>
                </c:pt>
                <c:pt idx="3810">
                  <c:v>100.7</c:v>
                </c:pt>
                <c:pt idx="3811">
                  <c:v>98.4</c:v>
                </c:pt>
                <c:pt idx="3812">
                  <c:v>86</c:v>
                </c:pt>
                <c:pt idx="3813">
                  <c:v>96.7</c:v>
                </c:pt>
                <c:pt idx="3814">
                  <c:v>110.7</c:v>
                </c:pt>
                <c:pt idx="3815">
                  <c:v>100.067574718055</c:v>
                </c:pt>
                <c:pt idx="3816">
                  <c:v>99.1</c:v>
                </c:pt>
                <c:pt idx="3817">
                  <c:v>93.5</c:v>
                </c:pt>
                <c:pt idx="3818">
                  <c:v>93.8</c:v>
                </c:pt>
                <c:pt idx="3819">
                  <c:v>98.2</c:v>
                </c:pt>
                <c:pt idx="3820">
                  <c:v>88.8</c:v>
                </c:pt>
                <c:pt idx="3821">
                  <c:v>89.9</c:v>
                </c:pt>
                <c:pt idx="3822">
                  <c:v>96.9</c:v>
                </c:pt>
                <c:pt idx="3823">
                  <c:v>101.5</c:v>
                </c:pt>
                <c:pt idx="3824">
                  <c:v>99.8</c:v>
                </c:pt>
                <c:pt idx="3825">
                  <c:v>88.2</c:v>
                </c:pt>
                <c:pt idx="3826">
                  <c:v>111.7</c:v>
                </c:pt>
                <c:pt idx="3827">
                  <c:v>91.7</c:v>
                </c:pt>
                <c:pt idx="3828">
                  <c:v>108.8</c:v>
                </c:pt>
                <c:pt idx="3829">
                  <c:v>100.2</c:v>
                </c:pt>
                <c:pt idx="3830">
                  <c:v>87.4</c:v>
                </c:pt>
                <c:pt idx="3831">
                  <c:v>92.3</c:v>
                </c:pt>
                <c:pt idx="3832">
                  <c:v>99.4</c:v>
                </c:pt>
                <c:pt idx="3833">
                  <c:v>106.2</c:v>
                </c:pt>
                <c:pt idx="3834">
                  <c:v>101.6</c:v>
                </c:pt>
                <c:pt idx="3835">
                  <c:v>93.936815200857694</c:v>
                </c:pt>
                <c:pt idx="3836">
                  <c:v>94.4</c:v>
                </c:pt>
                <c:pt idx="3837">
                  <c:v>93.9</c:v>
                </c:pt>
                <c:pt idx="3838">
                  <c:v>100.1</c:v>
                </c:pt>
                <c:pt idx="3839">
                  <c:v>99.2</c:v>
                </c:pt>
                <c:pt idx="3840">
                  <c:v>113</c:v>
                </c:pt>
                <c:pt idx="3841">
                  <c:v>99.1</c:v>
                </c:pt>
                <c:pt idx="3842">
                  <c:v>109.9</c:v>
                </c:pt>
                <c:pt idx="3843">
                  <c:v>97.7</c:v>
                </c:pt>
                <c:pt idx="3844">
                  <c:v>108.3</c:v>
                </c:pt>
                <c:pt idx="3845">
                  <c:v>92.103910499139403</c:v>
                </c:pt>
                <c:pt idx="3846">
                  <c:v>92</c:v>
                </c:pt>
                <c:pt idx="3847">
                  <c:v>94.5</c:v>
                </c:pt>
                <c:pt idx="3848">
                  <c:v>89.8</c:v>
                </c:pt>
                <c:pt idx="3849">
                  <c:v>96.299999999999898</c:v>
                </c:pt>
                <c:pt idx="3850">
                  <c:v>99.322734429298805</c:v>
                </c:pt>
                <c:pt idx="3851">
                  <c:v>103.4</c:v>
                </c:pt>
                <c:pt idx="3852">
                  <c:v>143.1</c:v>
                </c:pt>
                <c:pt idx="3853">
                  <c:v>101.2</c:v>
                </c:pt>
                <c:pt idx="3854">
                  <c:v>94.6</c:v>
                </c:pt>
                <c:pt idx="3855">
                  <c:v>96.9</c:v>
                </c:pt>
                <c:pt idx="3856">
                  <c:v>103.694467419246</c:v>
                </c:pt>
                <c:pt idx="3857">
                  <c:v>109.4</c:v>
                </c:pt>
                <c:pt idx="3858">
                  <c:v>90.8</c:v>
                </c:pt>
                <c:pt idx="3859">
                  <c:v>100.3</c:v>
                </c:pt>
                <c:pt idx="3860">
                  <c:v>101.7</c:v>
                </c:pt>
                <c:pt idx="3861">
                  <c:v>98.4</c:v>
                </c:pt>
                <c:pt idx="3862">
                  <c:v>102.1</c:v>
                </c:pt>
                <c:pt idx="3863">
                  <c:v>91.5</c:v>
                </c:pt>
                <c:pt idx="3864">
                  <c:v>91.4</c:v>
                </c:pt>
                <c:pt idx="3865">
                  <c:v>94.4</c:v>
                </c:pt>
                <c:pt idx="3866">
                  <c:v>92.9</c:v>
                </c:pt>
                <c:pt idx="3867">
                  <c:v>108.7</c:v>
                </c:pt>
                <c:pt idx="3868">
                  <c:v>99.3</c:v>
                </c:pt>
                <c:pt idx="3869">
                  <c:v>94.5</c:v>
                </c:pt>
                <c:pt idx="3870">
                  <c:v>98.3</c:v>
                </c:pt>
                <c:pt idx="3871">
                  <c:v>94.2</c:v>
                </c:pt>
                <c:pt idx="3872">
                  <c:v>101.5</c:v>
                </c:pt>
                <c:pt idx="3873">
                  <c:v>132.69999999999999</c:v>
                </c:pt>
                <c:pt idx="3874">
                  <c:v>96.9</c:v>
                </c:pt>
                <c:pt idx="3875">
                  <c:v>82.1</c:v>
                </c:pt>
                <c:pt idx="3876">
                  <c:v>92.5</c:v>
                </c:pt>
                <c:pt idx="3877">
                  <c:v>93.932471011347403</c:v>
                </c:pt>
                <c:pt idx="3878">
                  <c:v>88.4</c:v>
                </c:pt>
                <c:pt idx="3879">
                  <c:v>98.9</c:v>
                </c:pt>
                <c:pt idx="3880">
                  <c:v>108.6</c:v>
                </c:pt>
                <c:pt idx="3881">
                  <c:v>103.8</c:v>
                </c:pt>
                <c:pt idx="3882">
                  <c:v>102.3</c:v>
                </c:pt>
                <c:pt idx="3883">
                  <c:v>101.9</c:v>
                </c:pt>
                <c:pt idx="3884">
                  <c:v>104.6</c:v>
                </c:pt>
                <c:pt idx="3885">
                  <c:v>103</c:v>
                </c:pt>
                <c:pt idx="3886">
                  <c:v>104.5</c:v>
                </c:pt>
                <c:pt idx="3887">
                  <c:v>114.8</c:v>
                </c:pt>
                <c:pt idx="3888">
                  <c:v>100.7</c:v>
                </c:pt>
                <c:pt idx="3889">
                  <c:v>103.4</c:v>
                </c:pt>
                <c:pt idx="3890">
                  <c:v>100.7</c:v>
                </c:pt>
                <c:pt idx="3891">
                  <c:v>92.2</c:v>
                </c:pt>
                <c:pt idx="3892">
                  <c:v>105.299999999999</c:v>
                </c:pt>
                <c:pt idx="3893">
                  <c:v>88.8</c:v>
                </c:pt>
                <c:pt idx="3894">
                  <c:v>237.6</c:v>
                </c:pt>
                <c:pt idx="3895">
                  <c:v>100.7</c:v>
                </c:pt>
                <c:pt idx="3896">
                  <c:v>103.8</c:v>
                </c:pt>
                <c:pt idx="3897">
                  <c:v>114.799999999999</c:v>
                </c:pt>
                <c:pt idx="3898">
                  <c:v>103.9</c:v>
                </c:pt>
                <c:pt idx="3899">
                  <c:v>96.4</c:v>
                </c:pt>
                <c:pt idx="3900">
                  <c:v>101.3</c:v>
                </c:pt>
                <c:pt idx="3901">
                  <c:v>102.5</c:v>
                </c:pt>
                <c:pt idx="3902">
                  <c:v>92.3</c:v>
                </c:pt>
                <c:pt idx="3903">
                  <c:v>108.2</c:v>
                </c:pt>
                <c:pt idx="3904">
                  <c:v>112.6</c:v>
                </c:pt>
                <c:pt idx="3905">
                  <c:v>90.3</c:v>
                </c:pt>
                <c:pt idx="3906">
                  <c:v>84.4</c:v>
                </c:pt>
                <c:pt idx="3907">
                  <c:v>102.2</c:v>
                </c:pt>
                <c:pt idx="3908">
                  <c:v>99.5</c:v>
                </c:pt>
                <c:pt idx="3909">
                  <c:v>99</c:v>
                </c:pt>
                <c:pt idx="3910">
                  <c:v>107.7</c:v>
                </c:pt>
                <c:pt idx="3911">
                  <c:v>110.5</c:v>
                </c:pt>
                <c:pt idx="3912">
                  <c:v>91.23413549</c:v>
                </c:pt>
                <c:pt idx="3913">
                  <c:v>107.2</c:v>
                </c:pt>
                <c:pt idx="3914">
                  <c:v>96.3</c:v>
                </c:pt>
                <c:pt idx="3915">
                  <c:v>98.1</c:v>
                </c:pt>
                <c:pt idx="3916">
                  <c:v>106.4</c:v>
                </c:pt>
                <c:pt idx="3917">
                  <c:v>97</c:v>
                </c:pt>
                <c:pt idx="3918">
                  <c:v>97.6</c:v>
                </c:pt>
                <c:pt idx="3919">
                  <c:v>82</c:v>
                </c:pt>
                <c:pt idx="3920">
                  <c:v>101.2</c:v>
                </c:pt>
                <c:pt idx="3921">
                  <c:v>102.5</c:v>
                </c:pt>
                <c:pt idx="3922">
                  <c:v>102.7</c:v>
                </c:pt>
                <c:pt idx="3923">
                  <c:v>106.5</c:v>
                </c:pt>
                <c:pt idx="3924">
                  <c:v>99.5</c:v>
                </c:pt>
                <c:pt idx="3925">
                  <c:v>93.2</c:v>
                </c:pt>
                <c:pt idx="3926">
                  <c:v>92.957771505251898</c:v>
                </c:pt>
                <c:pt idx="3927">
                  <c:v>104.9</c:v>
                </c:pt>
                <c:pt idx="3928">
                  <c:v>82</c:v>
                </c:pt>
                <c:pt idx="3929">
                  <c:v>96.5</c:v>
                </c:pt>
                <c:pt idx="3930">
                  <c:v>102.2</c:v>
                </c:pt>
                <c:pt idx="3931">
                  <c:v>107.3</c:v>
                </c:pt>
                <c:pt idx="3932">
                  <c:v>87.4</c:v>
                </c:pt>
                <c:pt idx="3933">
                  <c:v>100.9</c:v>
                </c:pt>
                <c:pt idx="3934">
                  <c:v>98.6</c:v>
                </c:pt>
                <c:pt idx="3935">
                  <c:v>125.1</c:v>
                </c:pt>
                <c:pt idx="3936">
                  <c:v>85.3</c:v>
                </c:pt>
                <c:pt idx="3937">
                  <c:v>107.4</c:v>
                </c:pt>
                <c:pt idx="3938">
                  <c:v>111.2</c:v>
                </c:pt>
                <c:pt idx="3939">
                  <c:v>92.6</c:v>
                </c:pt>
                <c:pt idx="3940">
                  <c:v>87.4</c:v>
                </c:pt>
                <c:pt idx="3941">
                  <c:v>101.7</c:v>
                </c:pt>
                <c:pt idx="3942">
                  <c:v>100.8</c:v>
                </c:pt>
                <c:pt idx="3943">
                  <c:v>97.6</c:v>
                </c:pt>
                <c:pt idx="3944">
                  <c:v>100.7</c:v>
                </c:pt>
                <c:pt idx="3945">
                  <c:v>106.5</c:v>
                </c:pt>
                <c:pt idx="3946">
                  <c:v>106.6</c:v>
                </c:pt>
                <c:pt idx="3947">
                  <c:v>139.30000000000001</c:v>
                </c:pt>
                <c:pt idx="3948">
                  <c:v>107.2</c:v>
                </c:pt>
                <c:pt idx="3949">
                  <c:v>109.7</c:v>
                </c:pt>
                <c:pt idx="3950">
                  <c:v>93.647550402438</c:v>
                </c:pt>
                <c:pt idx="3951">
                  <c:v>86.940374449999993</c:v>
                </c:pt>
                <c:pt idx="3952">
                  <c:v>100.2</c:v>
                </c:pt>
                <c:pt idx="3953">
                  <c:v>92.1</c:v>
                </c:pt>
                <c:pt idx="3954">
                  <c:v>132.9</c:v>
                </c:pt>
                <c:pt idx="3955">
                  <c:v>96.4</c:v>
                </c:pt>
                <c:pt idx="3956">
                  <c:v>110</c:v>
                </c:pt>
                <c:pt idx="3957">
                  <c:v>101.2</c:v>
                </c:pt>
                <c:pt idx="3958">
                  <c:v>99.250894888064096</c:v>
                </c:pt>
                <c:pt idx="3959">
                  <c:v>87.1</c:v>
                </c:pt>
                <c:pt idx="3960">
                  <c:v>96.8</c:v>
                </c:pt>
                <c:pt idx="3961">
                  <c:v>95.5</c:v>
                </c:pt>
                <c:pt idx="3962">
                  <c:v>98.3</c:v>
                </c:pt>
                <c:pt idx="3963">
                  <c:v>94.267341822596606</c:v>
                </c:pt>
                <c:pt idx="3964">
                  <c:v>98.5</c:v>
                </c:pt>
                <c:pt idx="3965">
                  <c:v>102.6</c:v>
                </c:pt>
                <c:pt idx="3966">
                  <c:v>94</c:v>
                </c:pt>
                <c:pt idx="3967">
                  <c:v>108.5</c:v>
                </c:pt>
                <c:pt idx="3968">
                  <c:v>88.099999999999895</c:v>
                </c:pt>
                <c:pt idx="3969">
                  <c:v>90.3</c:v>
                </c:pt>
                <c:pt idx="3970">
                  <c:v>92.4</c:v>
                </c:pt>
                <c:pt idx="3971">
                  <c:v>103.8</c:v>
                </c:pt>
                <c:pt idx="3972">
                  <c:v>93.6</c:v>
                </c:pt>
                <c:pt idx="3973">
                  <c:v>97.6</c:v>
                </c:pt>
                <c:pt idx="3974">
                  <c:v>94.8</c:v>
                </c:pt>
                <c:pt idx="3975">
                  <c:v>102</c:v>
                </c:pt>
                <c:pt idx="3976">
                  <c:v>98.929520309280903</c:v>
                </c:pt>
                <c:pt idx="3977">
                  <c:v>98.7</c:v>
                </c:pt>
                <c:pt idx="3978">
                  <c:v>109.9</c:v>
                </c:pt>
                <c:pt idx="3979">
                  <c:v>93.4</c:v>
                </c:pt>
                <c:pt idx="3980">
                  <c:v>92.9</c:v>
                </c:pt>
                <c:pt idx="3981">
                  <c:v>91.7</c:v>
                </c:pt>
                <c:pt idx="3982">
                  <c:v>96.2</c:v>
                </c:pt>
                <c:pt idx="3983">
                  <c:v>97.6</c:v>
                </c:pt>
                <c:pt idx="3984">
                  <c:v>104</c:v>
                </c:pt>
                <c:pt idx="3985">
                  <c:v>105.1</c:v>
                </c:pt>
                <c:pt idx="3986">
                  <c:v>111.5</c:v>
                </c:pt>
                <c:pt idx="3987">
                  <c:v>87.8</c:v>
                </c:pt>
                <c:pt idx="3988">
                  <c:v>110.2</c:v>
                </c:pt>
                <c:pt idx="3989">
                  <c:v>97.4</c:v>
                </c:pt>
                <c:pt idx="3990">
                  <c:v>95.5</c:v>
                </c:pt>
                <c:pt idx="3991">
                  <c:v>97.4</c:v>
                </c:pt>
                <c:pt idx="3992">
                  <c:v>112.768091054313</c:v>
                </c:pt>
                <c:pt idx="3993">
                  <c:v>95.3</c:v>
                </c:pt>
                <c:pt idx="3994">
                  <c:v>94.5</c:v>
                </c:pt>
                <c:pt idx="3995">
                  <c:v>90.1</c:v>
                </c:pt>
                <c:pt idx="3996">
                  <c:v>78.099999999999994</c:v>
                </c:pt>
                <c:pt idx="3997">
                  <c:v>97.1</c:v>
                </c:pt>
                <c:pt idx="3998">
                  <c:v>98.9</c:v>
                </c:pt>
                <c:pt idx="3999">
                  <c:v>97.1</c:v>
                </c:pt>
                <c:pt idx="4000">
                  <c:v>91.9</c:v>
                </c:pt>
                <c:pt idx="4001">
                  <c:v>129.4</c:v>
                </c:pt>
                <c:pt idx="4002">
                  <c:v>93.6</c:v>
                </c:pt>
                <c:pt idx="4003">
                  <c:v>108</c:v>
                </c:pt>
                <c:pt idx="4004">
                  <c:v>90.1</c:v>
                </c:pt>
                <c:pt idx="4005">
                  <c:v>104.6</c:v>
                </c:pt>
                <c:pt idx="4006">
                  <c:v>70.2</c:v>
                </c:pt>
                <c:pt idx="4007">
                  <c:v>93.2</c:v>
                </c:pt>
                <c:pt idx="4008">
                  <c:v>106.299999999999</c:v>
                </c:pt>
                <c:pt idx="4009">
                  <c:v>89</c:v>
                </c:pt>
                <c:pt idx="4010">
                  <c:v>87.5</c:v>
                </c:pt>
                <c:pt idx="4011">
                  <c:v>93.3</c:v>
                </c:pt>
                <c:pt idx="4012">
                  <c:v>97.7</c:v>
                </c:pt>
                <c:pt idx="4013">
                  <c:v>90.9</c:v>
                </c:pt>
                <c:pt idx="4014">
                  <c:v>98.8</c:v>
                </c:pt>
                <c:pt idx="4015">
                  <c:v>88.9</c:v>
                </c:pt>
                <c:pt idx="4016">
                  <c:v>91.2</c:v>
                </c:pt>
                <c:pt idx="4017">
                  <c:v>120.9</c:v>
                </c:pt>
                <c:pt idx="4018">
                  <c:v>90.1</c:v>
                </c:pt>
                <c:pt idx="4019">
                  <c:v>95.9</c:v>
                </c:pt>
                <c:pt idx="4020">
                  <c:v>105.2</c:v>
                </c:pt>
                <c:pt idx="4021">
                  <c:v>102.1</c:v>
                </c:pt>
                <c:pt idx="4022">
                  <c:v>97</c:v>
                </c:pt>
                <c:pt idx="4023">
                  <c:v>135.80000000000001</c:v>
                </c:pt>
                <c:pt idx="4024">
                  <c:v>96.7</c:v>
                </c:pt>
                <c:pt idx="4025">
                  <c:v>98.6</c:v>
                </c:pt>
                <c:pt idx="4026">
                  <c:v>98.390305661586794</c:v>
                </c:pt>
                <c:pt idx="4027">
                  <c:v>94.5</c:v>
                </c:pt>
                <c:pt idx="4028">
                  <c:v>101.799999999999</c:v>
                </c:pt>
                <c:pt idx="4029">
                  <c:v>101.6</c:v>
                </c:pt>
                <c:pt idx="4030">
                  <c:v>96</c:v>
                </c:pt>
                <c:pt idx="4031">
                  <c:v>99.319678410303197</c:v>
                </c:pt>
                <c:pt idx="4032">
                  <c:v>99.2</c:v>
                </c:pt>
                <c:pt idx="4033">
                  <c:v>92.1</c:v>
                </c:pt>
                <c:pt idx="4034">
                  <c:v>92.5</c:v>
                </c:pt>
                <c:pt idx="4035">
                  <c:v>92.4</c:v>
                </c:pt>
                <c:pt idx="4036">
                  <c:v>96.5</c:v>
                </c:pt>
                <c:pt idx="4037">
                  <c:v>100.5</c:v>
                </c:pt>
                <c:pt idx="4038">
                  <c:v>98</c:v>
                </c:pt>
                <c:pt idx="4039">
                  <c:v>104</c:v>
                </c:pt>
                <c:pt idx="4040">
                  <c:v>90.9</c:v>
                </c:pt>
                <c:pt idx="4041">
                  <c:v>97.64070418</c:v>
                </c:pt>
                <c:pt idx="4042">
                  <c:v>99.8</c:v>
                </c:pt>
                <c:pt idx="4043">
                  <c:v>96.8</c:v>
                </c:pt>
                <c:pt idx="4044">
                  <c:v>101.5</c:v>
                </c:pt>
                <c:pt idx="4045">
                  <c:v>97.9</c:v>
                </c:pt>
                <c:pt idx="4046">
                  <c:v>107.8</c:v>
                </c:pt>
                <c:pt idx="4047">
                  <c:v>105.8</c:v>
                </c:pt>
                <c:pt idx="4048">
                  <c:v>108.9</c:v>
                </c:pt>
                <c:pt idx="4049">
                  <c:v>101.2</c:v>
                </c:pt>
                <c:pt idx="4050">
                  <c:v>91.6</c:v>
                </c:pt>
                <c:pt idx="4051">
                  <c:v>103.5</c:v>
                </c:pt>
                <c:pt idx="4052">
                  <c:v>98.9</c:v>
                </c:pt>
                <c:pt idx="4053">
                  <c:v>110.9</c:v>
                </c:pt>
                <c:pt idx="4054">
                  <c:v>103.2</c:v>
                </c:pt>
                <c:pt idx="4055">
                  <c:v>109.4</c:v>
                </c:pt>
                <c:pt idx="4056">
                  <c:v>105.9</c:v>
                </c:pt>
                <c:pt idx="4057">
                  <c:v>100.7</c:v>
                </c:pt>
                <c:pt idx="4058">
                  <c:v>112.8</c:v>
                </c:pt>
                <c:pt idx="4059">
                  <c:v>99.633676609362794</c:v>
                </c:pt>
                <c:pt idx="4060">
                  <c:v>104.8</c:v>
                </c:pt>
                <c:pt idx="4061">
                  <c:v>99</c:v>
                </c:pt>
                <c:pt idx="4062">
                  <c:v>100.9</c:v>
                </c:pt>
                <c:pt idx="4063">
                  <c:v>100.588988437528</c:v>
                </c:pt>
                <c:pt idx="4064">
                  <c:v>100.93256922018099</c:v>
                </c:pt>
                <c:pt idx="4065">
                  <c:v>106.16190917846799</c:v>
                </c:pt>
                <c:pt idx="4066">
                  <c:v>107.6</c:v>
                </c:pt>
                <c:pt idx="4067">
                  <c:v>108.599999999999</c:v>
                </c:pt>
                <c:pt idx="4068">
                  <c:v>99.977101159709804</c:v>
                </c:pt>
                <c:pt idx="4069">
                  <c:v>102.7</c:v>
                </c:pt>
                <c:pt idx="4070">
                  <c:v>99.3</c:v>
                </c:pt>
                <c:pt idx="4071">
                  <c:v>106.4</c:v>
                </c:pt>
                <c:pt idx="4072">
                  <c:v>96.058330800431804</c:v>
                </c:pt>
                <c:pt idx="4073">
                  <c:v>102.071971793755</c:v>
                </c:pt>
                <c:pt idx="4074">
                  <c:v>104.82757610327199</c:v>
                </c:pt>
                <c:pt idx="4075">
                  <c:v>105</c:v>
                </c:pt>
                <c:pt idx="4076">
                  <c:v>93.4</c:v>
                </c:pt>
                <c:pt idx="4077">
                  <c:v>99.4</c:v>
                </c:pt>
                <c:pt idx="4078">
                  <c:v>100</c:v>
                </c:pt>
                <c:pt idx="4079">
                  <c:v>114.8</c:v>
                </c:pt>
                <c:pt idx="4080">
                  <c:v>102.6</c:v>
                </c:pt>
                <c:pt idx="4081">
                  <c:v>121.4</c:v>
                </c:pt>
                <c:pt idx="4082">
                  <c:v>95.4</c:v>
                </c:pt>
                <c:pt idx="4083">
                  <c:v>108.502043502072</c:v>
                </c:pt>
                <c:pt idx="4084">
                  <c:v>104.99713655740101</c:v>
                </c:pt>
                <c:pt idx="4085">
                  <c:v>100.1</c:v>
                </c:pt>
                <c:pt idx="4086">
                  <c:v>100.259176863181</c:v>
                </c:pt>
                <c:pt idx="4087">
                  <c:v>96.661136566797495</c:v>
                </c:pt>
                <c:pt idx="4088">
                  <c:v>103</c:v>
                </c:pt>
                <c:pt idx="4089">
                  <c:v>97.4</c:v>
                </c:pt>
                <c:pt idx="4090">
                  <c:v>95.5</c:v>
                </c:pt>
                <c:pt idx="4091">
                  <c:v>89.4</c:v>
                </c:pt>
                <c:pt idx="4092">
                  <c:v>100.747452074159</c:v>
                </c:pt>
                <c:pt idx="4093">
                  <c:v>97.632276379999993</c:v>
                </c:pt>
                <c:pt idx="4094">
                  <c:v>86.9</c:v>
                </c:pt>
                <c:pt idx="4095">
                  <c:v>97.2</c:v>
                </c:pt>
                <c:pt idx="4096">
                  <c:v>100.1</c:v>
                </c:pt>
                <c:pt idx="4097">
                  <c:v>117.5</c:v>
                </c:pt>
                <c:pt idx="4098">
                  <c:v>86.4</c:v>
                </c:pt>
                <c:pt idx="4099">
                  <c:v>94.3</c:v>
                </c:pt>
                <c:pt idx="4100">
                  <c:v>97</c:v>
                </c:pt>
                <c:pt idx="4101">
                  <c:v>126.9</c:v>
                </c:pt>
                <c:pt idx="4102">
                  <c:v>114.2</c:v>
                </c:pt>
                <c:pt idx="4103">
                  <c:v>91.1</c:v>
                </c:pt>
                <c:pt idx="4104">
                  <c:v>134.1</c:v>
                </c:pt>
                <c:pt idx="4105">
                  <c:v>87.1</c:v>
                </c:pt>
                <c:pt idx="4106">
                  <c:v>103.2</c:v>
                </c:pt>
                <c:pt idx="4107">
                  <c:v>83.3</c:v>
                </c:pt>
                <c:pt idx="4108">
                  <c:v>94.636702789127696</c:v>
                </c:pt>
                <c:pt idx="4109">
                  <c:v>106.5</c:v>
                </c:pt>
                <c:pt idx="4110">
                  <c:v>100.3</c:v>
                </c:pt>
                <c:pt idx="4111">
                  <c:v>87.4</c:v>
                </c:pt>
                <c:pt idx="4112">
                  <c:v>111.6</c:v>
                </c:pt>
                <c:pt idx="4113">
                  <c:v>95.7</c:v>
                </c:pt>
                <c:pt idx="4114">
                  <c:v>99.6</c:v>
                </c:pt>
                <c:pt idx="4115">
                  <c:v>87.2</c:v>
                </c:pt>
                <c:pt idx="4116">
                  <c:v>99.378888873257196</c:v>
                </c:pt>
                <c:pt idx="4117">
                  <c:v>102.685788579372</c:v>
                </c:pt>
                <c:pt idx="4118">
                  <c:v>93.380692550000006</c:v>
                </c:pt>
                <c:pt idx="4119">
                  <c:v>126.8</c:v>
                </c:pt>
                <c:pt idx="4120">
                  <c:v>96.904468763512696</c:v>
                </c:pt>
                <c:pt idx="4121">
                  <c:v>98.837251249999994</c:v>
                </c:pt>
                <c:pt idx="4122">
                  <c:v>95.1</c:v>
                </c:pt>
                <c:pt idx="4123">
                  <c:v>87.8</c:v>
                </c:pt>
                <c:pt idx="4124">
                  <c:v>104.1</c:v>
                </c:pt>
                <c:pt idx="4125">
                  <c:v>101</c:v>
                </c:pt>
                <c:pt idx="4126">
                  <c:v>87.4</c:v>
                </c:pt>
                <c:pt idx="4127">
                  <c:v>120.5</c:v>
                </c:pt>
                <c:pt idx="4128">
                  <c:v>100.8</c:v>
                </c:pt>
                <c:pt idx="4129">
                  <c:v>88.7</c:v>
                </c:pt>
                <c:pt idx="4130">
                  <c:v>89.8</c:v>
                </c:pt>
                <c:pt idx="4131">
                  <c:v>94.2</c:v>
                </c:pt>
                <c:pt idx="4132">
                  <c:v>96.8</c:v>
                </c:pt>
                <c:pt idx="4133">
                  <c:v>105</c:v>
                </c:pt>
                <c:pt idx="4134">
                  <c:v>83.6</c:v>
                </c:pt>
                <c:pt idx="4135">
                  <c:v>187.7</c:v>
                </c:pt>
                <c:pt idx="4136">
                  <c:v>83</c:v>
                </c:pt>
                <c:pt idx="4137">
                  <c:v>69.2</c:v>
                </c:pt>
                <c:pt idx="4138">
                  <c:v>114.299999999999</c:v>
                </c:pt>
                <c:pt idx="4139">
                  <c:v>115.1</c:v>
                </c:pt>
                <c:pt idx="4140">
                  <c:v>98.042131292623196</c:v>
                </c:pt>
                <c:pt idx="4141">
                  <c:v>89.3</c:v>
                </c:pt>
                <c:pt idx="4142">
                  <c:v>96.3</c:v>
                </c:pt>
                <c:pt idx="4143">
                  <c:v>98.2</c:v>
                </c:pt>
                <c:pt idx="4144">
                  <c:v>99.876970144019694</c:v>
                </c:pt>
                <c:pt idx="4145">
                  <c:v>111</c:v>
                </c:pt>
                <c:pt idx="4146">
                  <c:v>87</c:v>
                </c:pt>
                <c:pt idx="4147">
                  <c:v>100.307519114288</c:v>
                </c:pt>
                <c:pt idx="4148">
                  <c:v>115.2</c:v>
                </c:pt>
                <c:pt idx="4149">
                  <c:v>84.3</c:v>
                </c:pt>
                <c:pt idx="4150">
                  <c:v>96.9</c:v>
                </c:pt>
                <c:pt idx="4151">
                  <c:v>119.799999999999</c:v>
                </c:pt>
                <c:pt idx="4152">
                  <c:v>95.2</c:v>
                </c:pt>
                <c:pt idx="4153">
                  <c:v>93.921307580000004</c:v>
                </c:pt>
                <c:pt idx="4154">
                  <c:v>96.5</c:v>
                </c:pt>
                <c:pt idx="4155">
                  <c:v>101.7</c:v>
                </c:pt>
                <c:pt idx="4156">
                  <c:v>85</c:v>
                </c:pt>
                <c:pt idx="4157">
                  <c:v>102.4</c:v>
                </c:pt>
                <c:pt idx="4158">
                  <c:v>94.266401999323094</c:v>
                </c:pt>
                <c:pt idx="4159">
                  <c:v>99.9</c:v>
                </c:pt>
                <c:pt idx="4160">
                  <c:v>82.4</c:v>
                </c:pt>
                <c:pt idx="4161">
                  <c:v>99.3</c:v>
                </c:pt>
                <c:pt idx="4162">
                  <c:v>138.6</c:v>
                </c:pt>
                <c:pt idx="4163">
                  <c:v>94</c:v>
                </c:pt>
                <c:pt idx="4164">
                  <c:v>87.3</c:v>
                </c:pt>
                <c:pt idx="4165">
                  <c:v>102.2</c:v>
                </c:pt>
                <c:pt idx="4166">
                  <c:v>145.80000000000001</c:v>
                </c:pt>
                <c:pt idx="4167">
                  <c:v>94.283215020234806</c:v>
                </c:pt>
                <c:pt idx="4168">
                  <c:v>102.814009911212</c:v>
                </c:pt>
                <c:pt idx="4169">
                  <c:v>96.6</c:v>
                </c:pt>
                <c:pt idx="4170">
                  <c:v>103.1</c:v>
                </c:pt>
                <c:pt idx="4171">
                  <c:v>93.837518529999997</c:v>
                </c:pt>
                <c:pt idx="4172">
                  <c:v>109.863755871572</c:v>
                </c:pt>
                <c:pt idx="4173">
                  <c:v>107.2</c:v>
                </c:pt>
                <c:pt idx="4174">
                  <c:v>102.1</c:v>
                </c:pt>
                <c:pt idx="4175">
                  <c:v>77.5</c:v>
                </c:pt>
                <c:pt idx="4176">
                  <c:v>102</c:v>
                </c:pt>
                <c:pt idx="4177">
                  <c:v>115.5</c:v>
                </c:pt>
                <c:pt idx="4178">
                  <c:v>91.5</c:v>
                </c:pt>
                <c:pt idx="4179">
                  <c:v>103.6</c:v>
                </c:pt>
                <c:pt idx="4180">
                  <c:v>115.9</c:v>
                </c:pt>
                <c:pt idx="4181">
                  <c:v>98.6</c:v>
                </c:pt>
                <c:pt idx="4182">
                  <c:v>89.8</c:v>
                </c:pt>
                <c:pt idx="4183">
                  <c:v>90.8</c:v>
                </c:pt>
                <c:pt idx="4184">
                  <c:v>64.099999999999994</c:v>
                </c:pt>
                <c:pt idx="4185">
                  <c:v>98.6</c:v>
                </c:pt>
                <c:pt idx="4186">
                  <c:v>89.4820189708106</c:v>
                </c:pt>
                <c:pt idx="4187">
                  <c:v>97.299999999999898</c:v>
                </c:pt>
                <c:pt idx="4188">
                  <c:v>98.4</c:v>
                </c:pt>
                <c:pt idx="4189">
                  <c:v>87.1</c:v>
                </c:pt>
                <c:pt idx="4190">
                  <c:v>105.52750848390301</c:v>
                </c:pt>
                <c:pt idx="4191">
                  <c:v>100.1</c:v>
                </c:pt>
                <c:pt idx="4192">
                  <c:v>104.1</c:v>
                </c:pt>
                <c:pt idx="4193">
                  <c:v>86.7</c:v>
                </c:pt>
                <c:pt idx="4194">
                  <c:v>94.9</c:v>
                </c:pt>
                <c:pt idx="4195">
                  <c:v>54</c:v>
                </c:pt>
                <c:pt idx="4196">
                  <c:v>94</c:v>
                </c:pt>
                <c:pt idx="4197">
                  <c:v>102.5</c:v>
                </c:pt>
                <c:pt idx="4198">
                  <c:v>94.7</c:v>
                </c:pt>
                <c:pt idx="4199">
                  <c:v>94.876532960000006</c:v>
                </c:pt>
                <c:pt idx="4200">
                  <c:v>117.5</c:v>
                </c:pt>
                <c:pt idx="4201">
                  <c:v>134.4</c:v>
                </c:pt>
                <c:pt idx="4202">
                  <c:v>91.8</c:v>
                </c:pt>
                <c:pt idx="4203">
                  <c:v>90.632377770552793</c:v>
                </c:pt>
                <c:pt idx="4204">
                  <c:v>96.1</c:v>
                </c:pt>
                <c:pt idx="4205">
                  <c:v>102.708597596864</c:v>
                </c:pt>
                <c:pt idx="4206">
                  <c:v>106.7</c:v>
                </c:pt>
                <c:pt idx="4207">
                  <c:v>91.8</c:v>
                </c:pt>
                <c:pt idx="4208">
                  <c:v>92</c:v>
                </c:pt>
                <c:pt idx="4209">
                  <c:v>83</c:v>
                </c:pt>
                <c:pt idx="4210">
                  <c:v>103.3</c:v>
                </c:pt>
                <c:pt idx="4211">
                  <c:v>93</c:v>
                </c:pt>
                <c:pt idx="4212">
                  <c:v>152</c:v>
                </c:pt>
                <c:pt idx="4213">
                  <c:v>90.279663094877904</c:v>
                </c:pt>
                <c:pt idx="4214">
                  <c:v>100.6</c:v>
                </c:pt>
                <c:pt idx="4215">
                  <c:v>92.764437244945597</c:v>
                </c:pt>
                <c:pt idx="4216">
                  <c:v>118.3</c:v>
                </c:pt>
                <c:pt idx="4217">
                  <c:v>97</c:v>
                </c:pt>
                <c:pt idx="4218">
                  <c:v>95.8</c:v>
                </c:pt>
                <c:pt idx="4219">
                  <c:v>97.5</c:v>
                </c:pt>
                <c:pt idx="4220">
                  <c:v>232.4</c:v>
                </c:pt>
                <c:pt idx="4221">
                  <c:v>96.7</c:v>
                </c:pt>
                <c:pt idx="4222">
                  <c:v>89.1</c:v>
                </c:pt>
                <c:pt idx="4223">
                  <c:v>103.6</c:v>
                </c:pt>
                <c:pt idx="4224">
                  <c:v>96.2</c:v>
                </c:pt>
                <c:pt idx="4225">
                  <c:v>90.719308697245097</c:v>
                </c:pt>
                <c:pt idx="4226">
                  <c:v>93.8</c:v>
                </c:pt>
                <c:pt idx="4227">
                  <c:v>91.8</c:v>
                </c:pt>
                <c:pt idx="4228">
                  <c:v>91.842849150000006</c:v>
                </c:pt>
                <c:pt idx="4229">
                  <c:v>105.1</c:v>
                </c:pt>
                <c:pt idx="4230">
                  <c:v>87</c:v>
                </c:pt>
                <c:pt idx="4231">
                  <c:v>90</c:v>
                </c:pt>
                <c:pt idx="4232">
                  <c:v>108.1</c:v>
                </c:pt>
                <c:pt idx="4233">
                  <c:v>87.9</c:v>
                </c:pt>
                <c:pt idx="4234">
                  <c:v>94.5</c:v>
                </c:pt>
                <c:pt idx="4235">
                  <c:v>119.4</c:v>
                </c:pt>
                <c:pt idx="4236">
                  <c:v>57.2</c:v>
                </c:pt>
                <c:pt idx="4237">
                  <c:v>99.2</c:v>
                </c:pt>
                <c:pt idx="4238">
                  <c:v>78.599999999999994</c:v>
                </c:pt>
                <c:pt idx="4239">
                  <c:v>99.9</c:v>
                </c:pt>
                <c:pt idx="4240">
                  <c:v>101.529106764861</c:v>
                </c:pt>
                <c:pt idx="4241">
                  <c:v>104.97156682977599</c:v>
                </c:pt>
                <c:pt idx="4242">
                  <c:v>88</c:v>
                </c:pt>
                <c:pt idx="4243">
                  <c:v>98.3</c:v>
                </c:pt>
                <c:pt idx="4244">
                  <c:v>100.17113586143699</c:v>
                </c:pt>
                <c:pt idx="4245">
                  <c:v>93</c:v>
                </c:pt>
                <c:pt idx="4246">
                  <c:v>102.7</c:v>
                </c:pt>
                <c:pt idx="4247">
                  <c:v>92.802032446994005</c:v>
                </c:pt>
                <c:pt idx="4248">
                  <c:v>88.6</c:v>
                </c:pt>
                <c:pt idx="4249">
                  <c:v>87.7</c:v>
                </c:pt>
                <c:pt idx="4250">
                  <c:v>97.6</c:v>
                </c:pt>
                <c:pt idx="4251">
                  <c:v>100.8</c:v>
                </c:pt>
                <c:pt idx="4252">
                  <c:v>64.3</c:v>
                </c:pt>
                <c:pt idx="4253">
                  <c:v>112.4</c:v>
                </c:pt>
                <c:pt idx="4254">
                  <c:v>124.1</c:v>
                </c:pt>
                <c:pt idx="4255">
                  <c:v>99.105729727686693</c:v>
                </c:pt>
                <c:pt idx="4256">
                  <c:v>95.910166937528999</c:v>
                </c:pt>
                <c:pt idx="4257">
                  <c:v>158.19999999999999</c:v>
                </c:pt>
                <c:pt idx="4258">
                  <c:v>94.333472439575701</c:v>
                </c:pt>
                <c:pt idx="4259">
                  <c:v>124.5</c:v>
                </c:pt>
                <c:pt idx="4260">
                  <c:v>113.8</c:v>
                </c:pt>
                <c:pt idx="4261">
                  <c:v>96.3</c:v>
                </c:pt>
                <c:pt idx="4262">
                  <c:v>93.016030574043199</c:v>
                </c:pt>
                <c:pt idx="4263">
                  <c:v>101.033400943948</c:v>
                </c:pt>
                <c:pt idx="4264">
                  <c:v>91.6</c:v>
                </c:pt>
                <c:pt idx="4265">
                  <c:v>96.841038358410003</c:v>
                </c:pt>
                <c:pt idx="4266">
                  <c:v>94.799999999999898</c:v>
                </c:pt>
                <c:pt idx="4267">
                  <c:v>98.7</c:v>
                </c:pt>
                <c:pt idx="4268">
                  <c:v>89.9</c:v>
                </c:pt>
                <c:pt idx="4269">
                  <c:v>100.1</c:v>
                </c:pt>
                <c:pt idx="4270">
                  <c:v>93.495022967277507</c:v>
                </c:pt>
                <c:pt idx="4271">
                  <c:v>126.7</c:v>
                </c:pt>
                <c:pt idx="4272">
                  <c:v>211.1</c:v>
                </c:pt>
                <c:pt idx="4273">
                  <c:v>97.6</c:v>
                </c:pt>
                <c:pt idx="4274">
                  <c:v>103.7</c:v>
                </c:pt>
                <c:pt idx="4275">
                  <c:v>104.836548615401</c:v>
                </c:pt>
                <c:pt idx="4276">
                  <c:v>91.6</c:v>
                </c:pt>
                <c:pt idx="4277">
                  <c:v>95.2</c:v>
                </c:pt>
                <c:pt idx="4278">
                  <c:v>118.7</c:v>
                </c:pt>
                <c:pt idx="4279">
                  <c:v>96.327407967531101</c:v>
                </c:pt>
                <c:pt idx="4280">
                  <c:v>103.5</c:v>
                </c:pt>
                <c:pt idx="4281">
                  <c:v>104.2</c:v>
                </c:pt>
                <c:pt idx="4282">
                  <c:v>99.440842105263101</c:v>
                </c:pt>
                <c:pt idx="4283">
                  <c:v>110.69409976556101</c:v>
                </c:pt>
                <c:pt idx="4284">
                  <c:v>116.2</c:v>
                </c:pt>
                <c:pt idx="4285">
                  <c:v>93.7</c:v>
                </c:pt>
                <c:pt idx="4286">
                  <c:v>92.7</c:v>
                </c:pt>
                <c:pt idx="4287">
                  <c:v>89.4</c:v>
                </c:pt>
                <c:pt idx="4288">
                  <c:v>98.599999999999895</c:v>
                </c:pt>
                <c:pt idx="4289">
                  <c:v>104.8</c:v>
                </c:pt>
                <c:pt idx="4290">
                  <c:v>93</c:v>
                </c:pt>
                <c:pt idx="4291">
                  <c:v>104.2</c:v>
                </c:pt>
                <c:pt idx="4292">
                  <c:v>95.9</c:v>
                </c:pt>
                <c:pt idx="4293">
                  <c:v>86.3</c:v>
                </c:pt>
                <c:pt idx="4294">
                  <c:v>93.7</c:v>
                </c:pt>
                <c:pt idx="4295">
                  <c:v>93</c:v>
                </c:pt>
                <c:pt idx="4296">
                  <c:v>93.069534297649</c:v>
                </c:pt>
                <c:pt idx="4297">
                  <c:v>99.3</c:v>
                </c:pt>
                <c:pt idx="4298">
                  <c:v>90.4</c:v>
                </c:pt>
                <c:pt idx="4299">
                  <c:v>105.6</c:v>
                </c:pt>
                <c:pt idx="4300">
                  <c:v>124.6</c:v>
                </c:pt>
                <c:pt idx="4301">
                  <c:v>104.5179256</c:v>
                </c:pt>
                <c:pt idx="4302">
                  <c:v>102</c:v>
                </c:pt>
                <c:pt idx="4303">
                  <c:v>110.4</c:v>
                </c:pt>
                <c:pt idx="4304">
                  <c:v>89.614181819999999</c:v>
                </c:pt>
                <c:pt idx="4305">
                  <c:v>105.3</c:v>
                </c:pt>
                <c:pt idx="4306">
                  <c:v>112.3</c:v>
                </c:pt>
                <c:pt idx="4307">
                  <c:v>98</c:v>
                </c:pt>
                <c:pt idx="4308">
                  <c:v>94.075293482660896</c:v>
                </c:pt>
                <c:pt idx="4309">
                  <c:v>107.5</c:v>
                </c:pt>
                <c:pt idx="4310">
                  <c:v>104.6</c:v>
                </c:pt>
                <c:pt idx="4311">
                  <c:v>94.5</c:v>
                </c:pt>
                <c:pt idx="4312">
                  <c:v>103.90542363030301</c:v>
                </c:pt>
                <c:pt idx="4313">
                  <c:v>88.7</c:v>
                </c:pt>
                <c:pt idx="4314">
                  <c:v>100.09176812470901</c:v>
                </c:pt>
                <c:pt idx="4315">
                  <c:v>92.6</c:v>
                </c:pt>
                <c:pt idx="4316">
                  <c:v>102.3</c:v>
                </c:pt>
                <c:pt idx="4317">
                  <c:v>94.776450495602603</c:v>
                </c:pt>
                <c:pt idx="4318">
                  <c:v>99.8</c:v>
                </c:pt>
                <c:pt idx="4319">
                  <c:v>83.7</c:v>
                </c:pt>
                <c:pt idx="4320">
                  <c:v>93.5</c:v>
                </c:pt>
                <c:pt idx="4321">
                  <c:v>99.5</c:v>
                </c:pt>
                <c:pt idx="4322">
                  <c:v>100.11603349162699</c:v>
                </c:pt>
                <c:pt idx="4323">
                  <c:v>106.9</c:v>
                </c:pt>
                <c:pt idx="4324">
                  <c:v>99.840656602667394</c:v>
                </c:pt>
                <c:pt idx="4325">
                  <c:v>113.2</c:v>
                </c:pt>
                <c:pt idx="4326">
                  <c:v>89</c:v>
                </c:pt>
                <c:pt idx="4327">
                  <c:v>121.4</c:v>
                </c:pt>
                <c:pt idx="4328">
                  <c:v>95.2</c:v>
                </c:pt>
                <c:pt idx="4329">
                  <c:v>100.5</c:v>
                </c:pt>
                <c:pt idx="4330">
                  <c:v>95</c:v>
                </c:pt>
                <c:pt idx="4331">
                  <c:v>94.6</c:v>
                </c:pt>
                <c:pt idx="4332">
                  <c:v>106.1</c:v>
                </c:pt>
                <c:pt idx="4333">
                  <c:v>102.7</c:v>
                </c:pt>
                <c:pt idx="4334">
                  <c:v>89.9</c:v>
                </c:pt>
                <c:pt idx="4335">
                  <c:v>93.799999999999898</c:v>
                </c:pt>
                <c:pt idx="4336">
                  <c:v>98.1</c:v>
                </c:pt>
                <c:pt idx="4337">
                  <c:v>105.9</c:v>
                </c:pt>
                <c:pt idx="4338">
                  <c:v>100.9</c:v>
                </c:pt>
                <c:pt idx="4339">
                  <c:v>102.69122233773901</c:v>
                </c:pt>
                <c:pt idx="4340">
                  <c:v>87.9</c:v>
                </c:pt>
                <c:pt idx="4341">
                  <c:v>100.5</c:v>
                </c:pt>
                <c:pt idx="4342">
                  <c:v>104.9</c:v>
                </c:pt>
                <c:pt idx="4343">
                  <c:v>104.7</c:v>
                </c:pt>
                <c:pt idx="4344">
                  <c:v>99.187514438863502</c:v>
                </c:pt>
                <c:pt idx="4345">
                  <c:v>104.9</c:v>
                </c:pt>
                <c:pt idx="4346">
                  <c:v>95.6</c:v>
                </c:pt>
                <c:pt idx="4347">
                  <c:v>102.626130072397</c:v>
                </c:pt>
                <c:pt idx="4348">
                  <c:v>99.825905432276002</c:v>
                </c:pt>
                <c:pt idx="4349">
                  <c:v>104.60926002823599</c:v>
                </c:pt>
                <c:pt idx="4350">
                  <c:v>99.1</c:v>
                </c:pt>
                <c:pt idx="4351">
                  <c:v>114.9</c:v>
                </c:pt>
                <c:pt idx="4352">
                  <c:v>98</c:v>
                </c:pt>
                <c:pt idx="4353">
                  <c:v>111.1</c:v>
                </c:pt>
                <c:pt idx="4354">
                  <c:v>95.434707475236905</c:v>
                </c:pt>
                <c:pt idx="4355">
                  <c:v>102.7</c:v>
                </c:pt>
                <c:pt idx="4356">
                  <c:v>95</c:v>
                </c:pt>
                <c:pt idx="4357">
                  <c:v>108.3</c:v>
                </c:pt>
                <c:pt idx="4358">
                  <c:v>104.7</c:v>
                </c:pt>
                <c:pt idx="4359">
                  <c:v>107.518880820162</c:v>
                </c:pt>
                <c:pt idx="4360">
                  <c:v>101.4</c:v>
                </c:pt>
                <c:pt idx="4361">
                  <c:v>97.994759871310606</c:v>
                </c:pt>
                <c:pt idx="4362">
                  <c:v>93.7</c:v>
                </c:pt>
                <c:pt idx="4363">
                  <c:v>109.7</c:v>
                </c:pt>
                <c:pt idx="4364">
                  <c:v>93.7</c:v>
                </c:pt>
                <c:pt idx="4365">
                  <c:v>107.7</c:v>
                </c:pt>
                <c:pt idx="4366">
                  <c:v>92.6</c:v>
                </c:pt>
                <c:pt idx="4367">
                  <c:v>99.391107390000002</c:v>
                </c:pt>
                <c:pt idx="4368">
                  <c:v>99.7</c:v>
                </c:pt>
                <c:pt idx="4369">
                  <c:v>105.7</c:v>
                </c:pt>
                <c:pt idx="4370">
                  <c:v>95.4</c:v>
                </c:pt>
                <c:pt idx="4371">
                  <c:v>103</c:v>
                </c:pt>
                <c:pt idx="4372">
                  <c:v>101.771997525326</c:v>
                </c:pt>
                <c:pt idx="4373">
                  <c:v>110.3</c:v>
                </c:pt>
                <c:pt idx="4374">
                  <c:v>98.005571073318393</c:v>
                </c:pt>
                <c:pt idx="4375">
                  <c:v>91.9</c:v>
                </c:pt>
                <c:pt idx="4376">
                  <c:v>116.3</c:v>
                </c:pt>
                <c:pt idx="4377">
                  <c:v>103</c:v>
                </c:pt>
                <c:pt idx="4378">
                  <c:v>102</c:v>
                </c:pt>
                <c:pt idx="4379">
                  <c:v>102.5</c:v>
                </c:pt>
                <c:pt idx="4380">
                  <c:v>101.52826301724799</c:v>
                </c:pt>
                <c:pt idx="4381">
                  <c:v>120.7</c:v>
                </c:pt>
                <c:pt idx="4382">
                  <c:v>113.1</c:v>
                </c:pt>
                <c:pt idx="4383">
                  <c:v>119.2</c:v>
                </c:pt>
                <c:pt idx="4384">
                  <c:v>100.599999999999</c:v>
                </c:pt>
                <c:pt idx="4385">
                  <c:v>93.9</c:v>
                </c:pt>
                <c:pt idx="4386">
                  <c:v>117.4</c:v>
                </c:pt>
                <c:pt idx="4387">
                  <c:v>81</c:v>
                </c:pt>
                <c:pt idx="4388">
                  <c:v>97.5</c:v>
                </c:pt>
                <c:pt idx="4389">
                  <c:v>107</c:v>
                </c:pt>
                <c:pt idx="4390">
                  <c:v>117.4</c:v>
                </c:pt>
                <c:pt idx="4391">
                  <c:v>96</c:v>
                </c:pt>
                <c:pt idx="4392">
                  <c:v>116.1</c:v>
                </c:pt>
                <c:pt idx="4393">
                  <c:v>100.4</c:v>
                </c:pt>
                <c:pt idx="4394">
                  <c:v>100.599999999999</c:v>
                </c:pt>
                <c:pt idx="4395">
                  <c:v>97.886907840000006</c:v>
                </c:pt>
                <c:pt idx="4396">
                  <c:v>104.4</c:v>
                </c:pt>
                <c:pt idx="4397">
                  <c:v>104.9</c:v>
                </c:pt>
                <c:pt idx="4398">
                  <c:v>103.3</c:v>
                </c:pt>
                <c:pt idx="4399">
                  <c:v>109.9</c:v>
                </c:pt>
                <c:pt idx="4400">
                  <c:v>104.8</c:v>
                </c:pt>
                <c:pt idx="4401">
                  <c:v>93.4</c:v>
                </c:pt>
                <c:pt idx="4402">
                  <c:v>110.2</c:v>
                </c:pt>
                <c:pt idx="4403">
                  <c:v>93.2</c:v>
                </c:pt>
                <c:pt idx="4404">
                  <c:v>96.3</c:v>
                </c:pt>
                <c:pt idx="4405">
                  <c:v>103.9</c:v>
                </c:pt>
                <c:pt idx="4406">
                  <c:v>94.5</c:v>
                </c:pt>
                <c:pt idx="4407">
                  <c:v>109.1</c:v>
                </c:pt>
                <c:pt idx="4408">
                  <c:v>98.4</c:v>
                </c:pt>
                <c:pt idx="4409">
                  <c:v>87.2</c:v>
                </c:pt>
                <c:pt idx="4410">
                  <c:v>97.3</c:v>
                </c:pt>
                <c:pt idx="4411">
                  <c:v>98.9</c:v>
                </c:pt>
                <c:pt idx="4412">
                  <c:v>109</c:v>
                </c:pt>
                <c:pt idx="4413">
                  <c:v>107.4</c:v>
                </c:pt>
                <c:pt idx="4414">
                  <c:v>99</c:v>
                </c:pt>
                <c:pt idx="4415">
                  <c:v>103.9</c:v>
                </c:pt>
                <c:pt idx="4416">
                  <c:v>102.8</c:v>
                </c:pt>
                <c:pt idx="4417">
                  <c:v>95.425805579076098</c:v>
                </c:pt>
                <c:pt idx="4418">
                  <c:v>107.3</c:v>
                </c:pt>
                <c:pt idx="4419">
                  <c:v>101.2</c:v>
                </c:pt>
                <c:pt idx="4420">
                  <c:v>106.1</c:v>
                </c:pt>
                <c:pt idx="4421">
                  <c:v>96.6</c:v>
                </c:pt>
                <c:pt idx="4422">
                  <c:v>101.6</c:v>
                </c:pt>
                <c:pt idx="4423">
                  <c:v>101.9</c:v>
                </c:pt>
                <c:pt idx="4424">
                  <c:v>97.096150582911704</c:v>
                </c:pt>
                <c:pt idx="4425">
                  <c:v>104.5</c:v>
                </c:pt>
                <c:pt idx="4426">
                  <c:v>101.9</c:v>
                </c:pt>
                <c:pt idx="4427">
                  <c:v>107.6</c:v>
                </c:pt>
                <c:pt idx="4428">
                  <c:v>96.8</c:v>
                </c:pt>
                <c:pt idx="4429">
                  <c:v>101.3</c:v>
                </c:pt>
                <c:pt idx="4430">
                  <c:v>98.31136592</c:v>
                </c:pt>
                <c:pt idx="4431">
                  <c:v>93.8</c:v>
                </c:pt>
                <c:pt idx="4432">
                  <c:v>97.9</c:v>
                </c:pt>
                <c:pt idx="4433">
                  <c:v>92.3</c:v>
                </c:pt>
                <c:pt idx="4434">
                  <c:v>101.2</c:v>
                </c:pt>
                <c:pt idx="4435">
                  <c:v>102.8</c:v>
                </c:pt>
                <c:pt idx="4436">
                  <c:v>95.1</c:v>
                </c:pt>
                <c:pt idx="4437">
                  <c:v>95.8</c:v>
                </c:pt>
                <c:pt idx="4438">
                  <c:v>96.484353454149002</c:v>
                </c:pt>
                <c:pt idx="4439">
                  <c:v>86.3</c:v>
                </c:pt>
                <c:pt idx="4440">
                  <c:v>109.6</c:v>
                </c:pt>
                <c:pt idx="4441">
                  <c:v>101.9</c:v>
                </c:pt>
                <c:pt idx="4442">
                  <c:v>96.807734169011795</c:v>
                </c:pt>
                <c:pt idx="4443">
                  <c:v>90.9</c:v>
                </c:pt>
                <c:pt idx="4444">
                  <c:v>99.4</c:v>
                </c:pt>
                <c:pt idx="4445">
                  <c:v>101.4</c:v>
                </c:pt>
                <c:pt idx="4446">
                  <c:v>96.079864615572205</c:v>
                </c:pt>
                <c:pt idx="4447">
                  <c:v>96.2</c:v>
                </c:pt>
                <c:pt idx="4448">
                  <c:v>97.1</c:v>
                </c:pt>
                <c:pt idx="4449">
                  <c:v>104.5</c:v>
                </c:pt>
                <c:pt idx="4450">
                  <c:v>95.4</c:v>
                </c:pt>
                <c:pt idx="4451">
                  <c:v>95.5</c:v>
                </c:pt>
                <c:pt idx="4452">
                  <c:v>98.8</c:v>
                </c:pt>
                <c:pt idx="4453">
                  <c:v>101.6</c:v>
                </c:pt>
                <c:pt idx="4454">
                  <c:v>100.830003654278</c:v>
                </c:pt>
                <c:pt idx="4455">
                  <c:v>98.8</c:v>
                </c:pt>
                <c:pt idx="4456">
                  <c:v>96.8</c:v>
                </c:pt>
                <c:pt idx="4457">
                  <c:v>104.8</c:v>
                </c:pt>
                <c:pt idx="4458">
                  <c:v>92.9</c:v>
                </c:pt>
                <c:pt idx="4459">
                  <c:v>115.5</c:v>
                </c:pt>
                <c:pt idx="4460">
                  <c:v>91.4</c:v>
                </c:pt>
                <c:pt idx="4461">
                  <c:v>83.7</c:v>
                </c:pt>
                <c:pt idx="4462">
                  <c:v>102.5</c:v>
                </c:pt>
                <c:pt idx="4463">
                  <c:v>88.9</c:v>
                </c:pt>
                <c:pt idx="4464">
                  <c:v>98.3</c:v>
                </c:pt>
                <c:pt idx="4465">
                  <c:v>94.812427930813499</c:v>
                </c:pt>
                <c:pt idx="4466">
                  <c:v>103.7</c:v>
                </c:pt>
                <c:pt idx="4467">
                  <c:v>99.4</c:v>
                </c:pt>
                <c:pt idx="4468">
                  <c:v>99.7</c:v>
                </c:pt>
                <c:pt idx="4469">
                  <c:v>101.1</c:v>
                </c:pt>
                <c:pt idx="4470">
                  <c:v>87.6</c:v>
                </c:pt>
                <c:pt idx="4471">
                  <c:v>105.8</c:v>
                </c:pt>
                <c:pt idx="4472">
                  <c:v>106.4</c:v>
                </c:pt>
                <c:pt idx="4473">
                  <c:v>103.6</c:v>
                </c:pt>
                <c:pt idx="4474">
                  <c:v>100.6</c:v>
                </c:pt>
                <c:pt idx="4475">
                  <c:v>101.691781503407</c:v>
                </c:pt>
                <c:pt idx="4476">
                  <c:v>138.5</c:v>
                </c:pt>
                <c:pt idx="4477">
                  <c:v>103.4</c:v>
                </c:pt>
                <c:pt idx="4478">
                  <c:v>99.8</c:v>
                </c:pt>
                <c:pt idx="4479">
                  <c:v>104</c:v>
                </c:pt>
                <c:pt idx="4480">
                  <c:v>102.7</c:v>
                </c:pt>
                <c:pt idx="4481">
                  <c:v>105</c:v>
                </c:pt>
                <c:pt idx="4482">
                  <c:v>105.1</c:v>
                </c:pt>
                <c:pt idx="4483">
                  <c:v>90.7</c:v>
                </c:pt>
                <c:pt idx="4484">
                  <c:v>118.2</c:v>
                </c:pt>
                <c:pt idx="4485">
                  <c:v>108.609128630705</c:v>
                </c:pt>
                <c:pt idx="4486">
                  <c:v>109</c:v>
                </c:pt>
                <c:pt idx="4487">
                  <c:v>101.5</c:v>
                </c:pt>
                <c:pt idx="4488">
                  <c:v>92.6</c:v>
                </c:pt>
                <c:pt idx="4489">
                  <c:v>118.8</c:v>
                </c:pt>
                <c:pt idx="4490">
                  <c:v>98.7</c:v>
                </c:pt>
                <c:pt idx="4491">
                  <c:v>92.5</c:v>
                </c:pt>
                <c:pt idx="4492">
                  <c:v>108.9</c:v>
                </c:pt>
                <c:pt idx="4493">
                  <c:v>94</c:v>
                </c:pt>
                <c:pt idx="4494">
                  <c:v>113.3</c:v>
                </c:pt>
                <c:pt idx="4495">
                  <c:v>107.2</c:v>
                </c:pt>
                <c:pt idx="4496">
                  <c:v>116.2</c:v>
                </c:pt>
                <c:pt idx="4497">
                  <c:v>93.5</c:v>
                </c:pt>
                <c:pt idx="4498">
                  <c:v>100.7</c:v>
                </c:pt>
                <c:pt idx="4499">
                  <c:v>95.755828909520304</c:v>
                </c:pt>
                <c:pt idx="4500">
                  <c:v>102.4</c:v>
                </c:pt>
                <c:pt idx="4501">
                  <c:v>98.4</c:v>
                </c:pt>
                <c:pt idx="4502">
                  <c:v>103.5</c:v>
                </c:pt>
                <c:pt idx="4503">
                  <c:v>106.5</c:v>
                </c:pt>
                <c:pt idx="4504">
                  <c:v>91.4</c:v>
                </c:pt>
                <c:pt idx="4505">
                  <c:v>91.4</c:v>
                </c:pt>
                <c:pt idx="4506">
                  <c:v>93.3</c:v>
                </c:pt>
                <c:pt idx="4507">
                  <c:v>112.5</c:v>
                </c:pt>
                <c:pt idx="4508">
                  <c:v>106.5</c:v>
                </c:pt>
                <c:pt idx="4509">
                  <c:v>100.8</c:v>
                </c:pt>
                <c:pt idx="4510">
                  <c:v>100</c:v>
                </c:pt>
                <c:pt idx="4511">
                  <c:v>101.4</c:v>
                </c:pt>
                <c:pt idx="4512">
                  <c:v>101.3</c:v>
                </c:pt>
                <c:pt idx="4513">
                  <c:v>109.3</c:v>
                </c:pt>
                <c:pt idx="4514">
                  <c:v>94.9</c:v>
                </c:pt>
                <c:pt idx="4515">
                  <c:v>97.4</c:v>
                </c:pt>
                <c:pt idx="4516">
                  <c:v>104.7</c:v>
                </c:pt>
                <c:pt idx="4517">
                  <c:v>109.9</c:v>
                </c:pt>
                <c:pt idx="4518">
                  <c:v>184.9</c:v>
                </c:pt>
                <c:pt idx="4519">
                  <c:v>104.06564554931801</c:v>
                </c:pt>
                <c:pt idx="4520">
                  <c:v>98.5</c:v>
                </c:pt>
                <c:pt idx="4521">
                  <c:v>97.8</c:v>
                </c:pt>
                <c:pt idx="4522">
                  <c:v>149.1</c:v>
                </c:pt>
                <c:pt idx="4523">
                  <c:v>96.4</c:v>
                </c:pt>
                <c:pt idx="4524">
                  <c:v>99.9</c:v>
                </c:pt>
                <c:pt idx="4525">
                  <c:v>102.1</c:v>
                </c:pt>
                <c:pt idx="4526">
                  <c:v>109.3</c:v>
                </c:pt>
                <c:pt idx="4527">
                  <c:v>98</c:v>
                </c:pt>
                <c:pt idx="4528">
                  <c:v>95.7</c:v>
                </c:pt>
                <c:pt idx="4529">
                  <c:v>93.2</c:v>
                </c:pt>
                <c:pt idx="4530">
                  <c:v>103.299999999999</c:v>
                </c:pt>
                <c:pt idx="4531">
                  <c:v>98.2</c:v>
                </c:pt>
                <c:pt idx="4532">
                  <c:v>104.4</c:v>
                </c:pt>
                <c:pt idx="4533">
                  <c:v>94.912397465821897</c:v>
                </c:pt>
                <c:pt idx="4534">
                  <c:v>96.347966587917597</c:v>
                </c:pt>
                <c:pt idx="4535">
                  <c:v>110.5</c:v>
                </c:pt>
                <c:pt idx="4536">
                  <c:v>111.1</c:v>
                </c:pt>
                <c:pt idx="4537">
                  <c:v>131.9</c:v>
                </c:pt>
                <c:pt idx="4538">
                  <c:v>95.1</c:v>
                </c:pt>
                <c:pt idx="4539">
                  <c:v>103</c:v>
                </c:pt>
                <c:pt idx="4540">
                  <c:v>100.033330643208</c:v>
                </c:pt>
                <c:pt idx="4541">
                  <c:v>118.7</c:v>
                </c:pt>
                <c:pt idx="4542">
                  <c:v>106.4</c:v>
                </c:pt>
                <c:pt idx="4543">
                  <c:v>87.1</c:v>
                </c:pt>
                <c:pt idx="4544">
                  <c:v>96</c:v>
                </c:pt>
                <c:pt idx="4545">
                  <c:v>106.9</c:v>
                </c:pt>
                <c:pt idx="4546">
                  <c:v>99.6</c:v>
                </c:pt>
                <c:pt idx="4547">
                  <c:v>102.2</c:v>
                </c:pt>
              </c:numCache>
            </c:numRef>
          </c:xVal>
          <c:yVal>
            <c:numRef>
              <c:f>city_regression_data!$I$2:$I$4549</c:f>
              <c:numCache>
                <c:formatCode>General</c:formatCode>
                <c:ptCount val="4548"/>
                <c:pt idx="0">
                  <c:v>11</c:v>
                </c:pt>
                <c:pt idx="1">
                  <c:v>5</c:v>
                </c:pt>
                <c:pt idx="2">
                  <c:v>4</c:v>
                </c:pt>
                <c:pt idx="3">
                  <c:v>15</c:v>
                </c:pt>
                <c:pt idx="4">
                  <c:v>16</c:v>
                </c:pt>
                <c:pt idx="5">
                  <c:v>103</c:v>
                </c:pt>
                <c:pt idx="6">
                  <c:v>90</c:v>
                </c:pt>
                <c:pt idx="7">
                  <c:v>86</c:v>
                </c:pt>
                <c:pt idx="8">
                  <c:v>17</c:v>
                </c:pt>
                <c:pt idx="9">
                  <c:v>8</c:v>
                </c:pt>
                <c:pt idx="10">
                  <c:v>7</c:v>
                </c:pt>
                <c:pt idx="11">
                  <c:v>17</c:v>
                </c:pt>
                <c:pt idx="12">
                  <c:v>127</c:v>
                </c:pt>
                <c:pt idx="13">
                  <c:v>9</c:v>
                </c:pt>
                <c:pt idx="14">
                  <c:v>80</c:v>
                </c:pt>
                <c:pt idx="15">
                  <c:v>21</c:v>
                </c:pt>
                <c:pt idx="16">
                  <c:v>14</c:v>
                </c:pt>
                <c:pt idx="17">
                  <c:v>4</c:v>
                </c:pt>
                <c:pt idx="18">
                  <c:v>113</c:v>
                </c:pt>
                <c:pt idx="19">
                  <c:v>62</c:v>
                </c:pt>
                <c:pt idx="20">
                  <c:v>246</c:v>
                </c:pt>
                <c:pt idx="21">
                  <c:v>12</c:v>
                </c:pt>
                <c:pt idx="22">
                  <c:v>9</c:v>
                </c:pt>
                <c:pt idx="23">
                  <c:v>56</c:v>
                </c:pt>
                <c:pt idx="24">
                  <c:v>50</c:v>
                </c:pt>
                <c:pt idx="25">
                  <c:v>14</c:v>
                </c:pt>
                <c:pt idx="26">
                  <c:v>14</c:v>
                </c:pt>
                <c:pt idx="27">
                  <c:v>14</c:v>
                </c:pt>
                <c:pt idx="28">
                  <c:v>81</c:v>
                </c:pt>
                <c:pt idx="29">
                  <c:v>4</c:v>
                </c:pt>
                <c:pt idx="30">
                  <c:v>3</c:v>
                </c:pt>
                <c:pt idx="31">
                  <c:v>279</c:v>
                </c:pt>
                <c:pt idx="32">
                  <c:v>9</c:v>
                </c:pt>
                <c:pt idx="33">
                  <c:v>121</c:v>
                </c:pt>
                <c:pt idx="34">
                  <c:v>82</c:v>
                </c:pt>
                <c:pt idx="35">
                  <c:v>8</c:v>
                </c:pt>
                <c:pt idx="36">
                  <c:v>10</c:v>
                </c:pt>
                <c:pt idx="37">
                  <c:v>55</c:v>
                </c:pt>
                <c:pt idx="38">
                  <c:v>19</c:v>
                </c:pt>
                <c:pt idx="39">
                  <c:v>11</c:v>
                </c:pt>
                <c:pt idx="40">
                  <c:v>170</c:v>
                </c:pt>
                <c:pt idx="41">
                  <c:v>42</c:v>
                </c:pt>
                <c:pt idx="42">
                  <c:v>42</c:v>
                </c:pt>
                <c:pt idx="43">
                  <c:v>0</c:v>
                </c:pt>
                <c:pt idx="44">
                  <c:v>3</c:v>
                </c:pt>
                <c:pt idx="45">
                  <c:v>6</c:v>
                </c:pt>
                <c:pt idx="46">
                  <c:v>2</c:v>
                </c:pt>
                <c:pt idx="47">
                  <c:v>1</c:v>
                </c:pt>
                <c:pt idx="48">
                  <c:v>7</c:v>
                </c:pt>
                <c:pt idx="49">
                  <c:v>7</c:v>
                </c:pt>
                <c:pt idx="50">
                  <c:v>3</c:v>
                </c:pt>
                <c:pt idx="51">
                  <c:v>0</c:v>
                </c:pt>
                <c:pt idx="52">
                  <c:v>2</c:v>
                </c:pt>
                <c:pt idx="53">
                  <c:v>40</c:v>
                </c:pt>
                <c:pt idx="54">
                  <c:v>3</c:v>
                </c:pt>
                <c:pt idx="55">
                  <c:v>1</c:v>
                </c:pt>
                <c:pt idx="56">
                  <c:v>1</c:v>
                </c:pt>
                <c:pt idx="57">
                  <c:v>7</c:v>
                </c:pt>
                <c:pt idx="58">
                  <c:v>2</c:v>
                </c:pt>
                <c:pt idx="59">
                  <c:v>2</c:v>
                </c:pt>
                <c:pt idx="60">
                  <c:v>7</c:v>
                </c:pt>
                <c:pt idx="61">
                  <c:v>0</c:v>
                </c:pt>
                <c:pt idx="62">
                  <c:v>1</c:v>
                </c:pt>
                <c:pt idx="63">
                  <c:v>2</c:v>
                </c:pt>
                <c:pt idx="64">
                  <c:v>0</c:v>
                </c:pt>
                <c:pt idx="65">
                  <c:v>5</c:v>
                </c:pt>
                <c:pt idx="66">
                  <c:v>3</c:v>
                </c:pt>
                <c:pt idx="67">
                  <c:v>12</c:v>
                </c:pt>
                <c:pt idx="68">
                  <c:v>0</c:v>
                </c:pt>
                <c:pt idx="69">
                  <c:v>29</c:v>
                </c:pt>
                <c:pt idx="70">
                  <c:v>5</c:v>
                </c:pt>
                <c:pt idx="71">
                  <c:v>7</c:v>
                </c:pt>
                <c:pt idx="72">
                  <c:v>3</c:v>
                </c:pt>
                <c:pt idx="73">
                  <c:v>4</c:v>
                </c:pt>
                <c:pt idx="74">
                  <c:v>5</c:v>
                </c:pt>
                <c:pt idx="75">
                  <c:v>3</c:v>
                </c:pt>
                <c:pt idx="76">
                  <c:v>4</c:v>
                </c:pt>
                <c:pt idx="77">
                  <c:v>1</c:v>
                </c:pt>
                <c:pt idx="78">
                  <c:v>7</c:v>
                </c:pt>
                <c:pt idx="79">
                  <c:v>2</c:v>
                </c:pt>
                <c:pt idx="80">
                  <c:v>1</c:v>
                </c:pt>
                <c:pt idx="81">
                  <c:v>1</c:v>
                </c:pt>
                <c:pt idx="82">
                  <c:v>2</c:v>
                </c:pt>
                <c:pt idx="83">
                  <c:v>1</c:v>
                </c:pt>
                <c:pt idx="84">
                  <c:v>0</c:v>
                </c:pt>
                <c:pt idx="85">
                  <c:v>2</c:v>
                </c:pt>
                <c:pt idx="86">
                  <c:v>12</c:v>
                </c:pt>
                <c:pt idx="87">
                  <c:v>7</c:v>
                </c:pt>
                <c:pt idx="88">
                  <c:v>2</c:v>
                </c:pt>
                <c:pt idx="89">
                  <c:v>10</c:v>
                </c:pt>
                <c:pt idx="90">
                  <c:v>9</c:v>
                </c:pt>
                <c:pt idx="91">
                  <c:v>0</c:v>
                </c:pt>
                <c:pt idx="92">
                  <c:v>1</c:v>
                </c:pt>
                <c:pt idx="93">
                  <c:v>3</c:v>
                </c:pt>
                <c:pt idx="94">
                  <c:v>1</c:v>
                </c:pt>
                <c:pt idx="95">
                  <c:v>0</c:v>
                </c:pt>
                <c:pt idx="96">
                  <c:v>2</c:v>
                </c:pt>
                <c:pt idx="97">
                  <c:v>14</c:v>
                </c:pt>
                <c:pt idx="98">
                  <c:v>6</c:v>
                </c:pt>
                <c:pt idx="99">
                  <c:v>5</c:v>
                </c:pt>
                <c:pt idx="100">
                  <c:v>4</c:v>
                </c:pt>
                <c:pt idx="101">
                  <c:v>3</c:v>
                </c:pt>
                <c:pt idx="102">
                  <c:v>1</c:v>
                </c:pt>
                <c:pt idx="103">
                  <c:v>9</c:v>
                </c:pt>
                <c:pt idx="104">
                  <c:v>5</c:v>
                </c:pt>
                <c:pt idx="105">
                  <c:v>1</c:v>
                </c:pt>
                <c:pt idx="106">
                  <c:v>11</c:v>
                </c:pt>
                <c:pt idx="107">
                  <c:v>3</c:v>
                </c:pt>
                <c:pt idx="108">
                  <c:v>3</c:v>
                </c:pt>
                <c:pt idx="109">
                  <c:v>2</c:v>
                </c:pt>
                <c:pt idx="110">
                  <c:v>0</c:v>
                </c:pt>
                <c:pt idx="111">
                  <c:v>9</c:v>
                </c:pt>
                <c:pt idx="112">
                  <c:v>6</c:v>
                </c:pt>
                <c:pt idx="113">
                  <c:v>15</c:v>
                </c:pt>
                <c:pt idx="114">
                  <c:v>10</c:v>
                </c:pt>
                <c:pt idx="115">
                  <c:v>7</c:v>
                </c:pt>
                <c:pt idx="116">
                  <c:v>1</c:v>
                </c:pt>
                <c:pt idx="117">
                  <c:v>34</c:v>
                </c:pt>
                <c:pt idx="118">
                  <c:v>7</c:v>
                </c:pt>
                <c:pt idx="119">
                  <c:v>4</c:v>
                </c:pt>
                <c:pt idx="120">
                  <c:v>1</c:v>
                </c:pt>
                <c:pt idx="121">
                  <c:v>15</c:v>
                </c:pt>
                <c:pt idx="122">
                  <c:v>4</c:v>
                </c:pt>
                <c:pt idx="123">
                  <c:v>1</c:v>
                </c:pt>
                <c:pt idx="124">
                  <c:v>6</c:v>
                </c:pt>
                <c:pt idx="125">
                  <c:v>0</c:v>
                </c:pt>
                <c:pt idx="126">
                  <c:v>5</c:v>
                </c:pt>
                <c:pt idx="127">
                  <c:v>13</c:v>
                </c:pt>
                <c:pt idx="128">
                  <c:v>0</c:v>
                </c:pt>
                <c:pt idx="129">
                  <c:v>1</c:v>
                </c:pt>
                <c:pt idx="130">
                  <c:v>15</c:v>
                </c:pt>
                <c:pt idx="131">
                  <c:v>1</c:v>
                </c:pt>
                <c:pt idx="132">
                  <c:v>4</c:v>
                </c:pt>
                <c:pt idx="133">
                  <c:v>18</c:v>
                </c:pt>
                <c:pt idx="134">
                  <c:v>1</c:v>
                </c:pt>
                <c:pt idx="135">
                  <c:v>6</c:v>
                </c:pt>
                <c:pt idx="136">
                  <c:v>0</c:v>
                </c:pt>
                <c:pt idx="137">
                  <c:v>12</c:v>
                </c:pt>
                <c:pt idx="138">
                  <c:v>5</c:v>
                </c:pt>
                <c:pt idx="139">
                  <c:v>6</c:v>
                </c:pt>
                <c:pt idx="140">
                  <c:v>5</c:v>
                </c:pt>
                <c:pt idx="141">
                  <c:v>6</c:v>
                </c:pt>
                <c:pt idx="142">
                  <c:v>9</c:v>
                </c:pt>
                <c:pt idx="143">
                  <c:v>5</c:v>
                </c:pt>
                <c:pt idx="144">
                  <c:v>2</c:v>
                </c:pt>
                <c:pt idx="145">
                  <c:v>3</c:v>
                </c:pt>
                <c:pt idx="146">
                  <c:v>3</c:v>
                </c:pt>
                <c:pt idx="147">
                  <c:v>1</c:v>
                </c:pt>
                <c:pt idx="148">
                  <c:v>3</c:v>
                </c:pt>
                <c:pt idx="149">
                  <c:v>11</c:v>
                </c:pt>
                <c:pt idx="150">
                  <c:v>3</c:v>
                </c:pt>
                <c:pt idx="151">
                  <c:v>14</c:v>
                </c:pt>
                <c:pt idx="152">
                  <c:v>0</c:v>
                </c:pt>
                <c:pt idx="153">
                  <c:v>10</c:v>
                </c:pt>
                <c:pt idx="154">
                  <c:v>6</c:v>
                </c:pt>
                <c:pt idx="155">
                  <c:v>1</c:v>
                </c:pt>
                <c:pt idx="156">
                  <c:v>7</c:v>
                </c:pt>
                <c:pt idx="157">
                  <c:v>5</c:v>
                </c:pt>
                <c:pt idx="158">
                  <c:v>5</c:v>
                </c:pt>
                <c:pt idx="159">
                  <c:v>1</c:v>
                </c:pt>
                <c:pt idx="160">
                  <c:v>9</c:v>
                </c:pt>
                <c:pt idx="161">
                  <c:v>5</c:v>
                </c:pt>
                <c:pt idx="162">
                  <c:v>6</c:v>
                </c:pt>
                <c:pt idx="163">
                  <c:v>1</c:v>
                </c:pt>
                <c:pt idx="164">
                  <c:v>9</c:v>
                </c:pt>
                <c:pt idx="165">
                  <c:v>4</c:v>
                </c:pt>
                <c:pt idx="166">
                  <c:v>8</c:v>
                </c:pt>
                <c:pt idx="167">
                  <c:v>14</c:v>
                </c:pt>
                <c:pt idx="168">
                  <c:v>2</c:v>
                </c:pt>
                <c:pt idx="169">
                  <c:v>1</c:v>
                </c:pt>
                <c:pt idx="170">
                  <c:v>0</c:v>
                </c:pt>
                <c:pt idx="171">
                  <c:v>10</c:v>
                </c:pt>
                <c:pt idx="172">
                  <c:v>8</c:v>
                </c:pt>
                <c:pt idx="173">
                  <c:v>2</c:v>
                </c:pt>
                <c:pt idx="174">
                  <c:v>1</c:v>
                </c:pt>
                <c:pt idx="175">
                  <c:v>1</c:v>
                </c:pt>
                <c:pt idx="176">
                  <c:v>5</c:v>
                </c:pt>
                <c:pt idx="177">
                  <c:v>1</c:v>
                </c:pt>
                <c:pt idx="178">
                  <c:v>0</c:v>
                </c:pt>
                <c:pt idx="179">
                  <c:v>2</c:v>
                </c:pt>
                <c:pt idx="180">
                  <c:v>20</c:v>
                </c:pt>
                <c:pt idx="181">
                  <c:v>48</c:v>
                </c:pt>
                <c:pt idx="182">
                  <c:v>18</c:v>
                </c:pt>
                <c:pt idx="183">
                  <c:v>2</c:v>
                </c:pt>
                <c:pt idx="184">
                  <c:v>17</c:v>
                </c:pt>
                <c:pt idx="185">
                  <c:v>4</c:v>
                </c:pt>
                <c:pt idx="186">
                  <c:v>1</c:v>
                </c:pt>
                <c:pt idx="187">
                  <c:v>7</c:v>
                </c:pt>
                <c:pt idx="188">
                  <c:v>17</c:v>
                </c:pt>
                <c:pt idx="189">
                  <c:v>4</c:v>
                </c:pt>
                <c:pt idx="190">
                  <c:v>1</c:v>
                </c:pt>
                <c:pt idx="191">
                  <c:v>4</c:v>
                </c:pt>
                <c:pt idx="192">
                  <c:v>0</c:v>
                </c:pt>
                <c:pt idx="193">
                  <c:v>3</c:v>
                </c:pt>
                <c:pt idx="194">
                  <c:v>1</c:v>
                </c:pt>
                <c:pt idx="195">
                  <c:v>1</c:v>
                </c:pt>
                <c:pt idx="196">
                  <c:v>1</c:v>
                </c:pt>
                <c:pt idx="197">
                  <c:v>1</c:v>
                </c:pt>
                <c:pt idx="198">
                  <c:v>3</c:v>
                </c:pt>
                <c:pt idx="199">
                  <c:v>1</c:v>
                </c:pt>
                <c:pt idx="200">
                  <c:v>8</c:v>
                </c:pt>
                <c:pt idx="201">
                  <c:v>2</c:v>
                </c:pt>
                <c:pt idx="202">
                  <c:v>1</c:v>
                </c:pt>
                <c:pt idx="203">
                  <c:v>6</c:v>
                </c:pt>
                <c:pt idx="204">
                  <c:v>12</c:v>
                </c:pt>
                <c:pt idx="205">
                  <c:v>5</c:v>
                </c:pt>
                <c:pt idx="206">
                  <c:v>5</c:v>
                </c:pt>
                <c:pt idx="207">
                  <c:v>3</c:v>
                </c:pt>
                <c:pt idx="208">
                  <c:v>3</c:v>
                </c:pt>
                <c:pt idx="209">
                  <c:v>7</c:v>
                </c:pt>
                <c:pt idx="210">
                  <c:v>2</c:v>
                </c:pt>
                <c:pt idx="211">
                  <c:v>0</c:v>
                </c:pt>
                <c:pt idx="212">
                  <c:v>3</c:v>
                </c:pt>
                <c:pt idx="213">
                  <c:v>26</c:v>
                </c:pt>
                <c:pt idx="214">
                  <c:v>2</c:v>
                </c:pt>
                <c:pt idx="215">
                  <c:v>1</c:v>
                </c:pt>
                <c:pt idx="216">
                  <c:v>1</c:v>
                </c:pt>
                <c:pt idx="217">
                  <c:v>6</c:v>
                </c:pt>
                <c:pt idx="218">
                  <c:v>10</c:v>
                </c:pt>
                <c:pt idx="219">
                  <c:v>48</c:v>
                </c:pt>
                <c:pt idx="220">
                  <c:v>2</c:v>
                </c:pt>
                <c:pt idx="221">
                  <c:v>1</c:v>
                </c:pt>
                <c:pt idx="222">
                  <c:v>1</c:v>
                </c:pt>
                <c:pt idx="223">
                  <c:v>1</c:v>
                </c:pt>
                <c:pt idx="224">
                  <c:v>1</c:v>
                </c:pt>
                <c:pt idx="225">
                  <c:v>1</c:v>
                </c:pt>
                <c:pt idx="226">
                  <c:v>7</c:v>
                </c:pt>
                <c:pt idx="227">
                  <c:v>4</c:v>
                </c:pt>
                <c:pt idx="228">
                  <c:v>5</c:v>
                </c:pt>
                <c:pt idx="229">
                  <c:v>7</c:v>
                </c:pt>
                <c:pt idx="230">
                  <c:v>13</c:v>
                </c:pt>
                <c:pt idx="231">
                  <c:v>4</c:v>
                </c:pt>
                <c:pt idx="232">
                  <c:v>2</c:v>
                </c:pt>
                <c:pt idx="233">
                  <c:v>6</c:v>
                </c:pt>
                <c:pt idx="234">
                  <c:v>3</c:v>
                </c:pt>
                <c:pt idx="235">
                  <c:v>2</c:v>
                </c:pt>
                <c:pt idx="236">
                  <c:v>1</c:v>
                </c:pt>
                <c:pt idx="237">
                  <c:v>4</c:v>
                </c:pt>
                <c:pt idx="238">
                  <c:v>4</c:v>
                </c:pt>
                <c:pt idx="239">
                  <c:v>3</c:v>
                </c:pt>
                <c:pt idx="240">
                  <c:v>0</c:v>
                </c:pt>
                <c:pt idx="241">
                  <c:v>7</c:v>
                </c:pt>
                <c:pt idx="242">
                  <c:v>6</c:v>
                </c:pt>
                <c:pt idx="243">
                  <c:v>1</c:v>
                </c:pt>
                <c:pt idx="244">
                  <c:v>1</c:v>
                </c:pt>
                <c:pt idx="245">
                  <c:v>2</c:v>
                </c:pt>
                <c:pt idx="246">
                  <c:v>12</c:v>
                </c:pt>
                <c:pt idx="247">
                  <c:v>0</c:v>
                </c:pt>
                <c:pt idx="248">
                  <c:v>3</c:v>
                </c:pt>
                <c:pt idx="249">
                  <c:v>1</c:v>
                </c:pt>
                <c:pt idx="250">
                  <c:v>3</c:v>
                </c:pt>
                <c:pt idx="251">
                  <c:v>2</c:v>
                </c:pt>
                <c:pt idx="252">
                  <c:v>0</c:v>
                </c:pt>
                <c:pt idx="253">
                  <c:v>2</c:v>
                </c:pt>
                <c:pt idx="254">
                  <c:v>4</c:v>
                </c:pt>
                <c:pt idx="255">
                  <c:v>4</c:v>
                </c:pt>
                <c:pt idx="256">
                  <c:v>2</c:v>
                </c:pt>
                <c:pt idx="257">
                  <c:v>0</c:v>
                </c:pt>
                <c:pt idx="258">
                  <c:v>7</c:v>
                </c:pt>
                <c:pt idx="259">
                  <c:v>1</c:v>
                </c:pt>
                <c:pt idx="260">
                  <c:v>4</c:v>
                </c:pt>
                <c:pt idx="261">
                  <c:v>1</c:v>
                </c:pt>
                <c:pt idx="262">
                  <c:v>3</c:v>
                </c:pt>
                <c:pt idx="263">
                  <c:v>3</c:v>
                </c:pt>
                <c:pt idx="264">
                  <c:v>0</c:v>
                </c:pt>
                <c:pt idx="265">
                  <c:v>42</c:v>
                </c:pt>
                <c:pt idx="266">
                  <c:v>4</c:v>
                </c:pt>
                <c:pt idx="267">
                  <c:v>6</c:v>
                </c:pt>
                <c:pt idx="268">
                  <c:v>194</c:v>
                </c:pt>
                <c:pt idx="269">
                  <c:v>5</c:v>
                </c:pt>
                <c:pt idx="270">
                  <c:v>4</c:v>
                </c:pt>
                <c:pt idx="271">
                  <c:v>1</c:v>
                </c:pt>
                <c:pt idx="272">
                  <c:v>0</c:v>
                </c:pt>
                <c:pt idx="273">
                  <c:v>2</c:v>
                </c:pt>
                <c:pt idx="274">
                  <c:v>8</c:v>
                </c:pt>
                <c:pt idx="275">
                  <c:v>3</c:v>
                </c:pt>
                <c:pt idx="276">
                  <c:v>7</c:v>
                </c:pt>
                <c:pt idx="277">
                  <c:v>5</c:v>
                </c:pt>
                <c:pt idx="278">
                  <c:v>5</c:v>
                </c:pt>
                <c:pt idx="279">
                  <c:v>5</c:v>
                </c:pt>
                <c:pt idx="280">
                  <c:v>1</c:v>
                </c:pt>
                <c:pt idx="281">
                  <c:v>1</c:v>
                </c:pt>
                <c:pt idx="282">
                  <c:v>0</c:v>
                </c:pt>
                <c:pt idx="283">
                  <c:v>1</c:v>
                </c:pt>
                <c:pt idx="284">
                  <c:v>0</c:v>
                </c:pt>
                <c:pt idx="285">
                  <c:v>6</c:v>
                </c:pt>
                <c:pt idx="286">
                  <c:v>6</c:v>
                </c:pt>
                <c:pt idx="287">
                  <c:v>3</c:v>
                </c:pt>
                <c:pt idx="288">
                  <c:v>10</c:v>
                </c:pt>
                <c:pt idx="289">
                  <c:v>6</c:v>
                </c:pt>
                <c:pt idx="290">
                  <c:v>3</c:v>
                </c:pt>
                <c:pt idx="291">
                  <c:v>6</c:v>
                </c:pt>
                <c:pt idx="292">
                  <c:v>26</c:v>
                </c:pt>
                <c:pt idx="293">
                  <c:v>0</c:v>
                </c:pt>
                <c:pt idx="294">
                  <c:v>10</c:v>
                </c:pt>
                <c:pt idx="295">
                  <c:v>4</c:v>
                </c:pt>
                <c:pt idx="296">
                  <c:v>3</c:v>
                </c:pt>
                <c:pt idx="297">
                  <c:v>2</c:v>
                </c:pt>
                <c:pt idx="298">
                  <c:v>6</c:v>
                </c:pt>
                <c:pt idx="299">
                  <c:v>2</c:v>
                </c:pt>
                <c:pt idx="300">
                  <c:v>10</c:v>
                </c:pt>
                <c:pt idx="301">
                  <c:v>7</c:v>
                </c:pt>
                <c:pt idx="302">
                  <c:v>1</c:v>
                </c:pt>
                <c:pt idx="303">
                  <c:v>4</c:v>
                </c:pt>
                <c:pt idx="304">
                  <c:v>10</c:v>
                </c:pt>
                <c:pt idx="305">
                  <c:v>3</c:v>
                </c:pt>
                <c:pt idx="306">
                  <c:v>5</c:v>
                </c:pt>
                <c:pt idx="307">
                  <c:v>0</c:v>
                </c:pt>
                <c:pt idx="308">
                  <c:v>5</c:v>
                </c:pt>
                <c:pt idx="309">
                  <c:v>5</c:v>
                </c:pt>
                <c:pt idx="310">
                  <c:v>3</c:v>
                </c:pt>
                <c:pt idx="311">
                  <c:v>10</c:v>
                </c:pt>
                <c:pt idx="312">
                  <c:v>2</c:v>
                </c:pt>
                <c:pt idx="313">
                  <c:v>3</c:v>
                </c:pt>
                <c:pt idx="314">
                  <c:v>2</c:v>
                </c:pt>
                <c:pt idx="315">
                  <c:v>5</c:v>
                </c:pt>
                <c:pt idx="316">
                  <c:v>10</c:v>
                </c:pt>
                <c:pt idx="317">
                  <c:v>15</c:v>
                </c:pt>
                <c:pt idx="318">
                  <c:v>7</c:v>
                </c:pt>
                <c:pt idx="319">
                  <c:v>8</c:v>
                </c:pt>
                <c:pt idx="320">
                  <c:v>1</c:v>
                </c:pt>
                <c:pt idx="321">
                  <c:v>2</c:v>
                </c:pt>
                <c:pt idx="322">
                  <c:v>1</c:v>
                </c:pt>
                <c:pt idx="323">
                  <c:v>13</c:v>
                </c:pt>
                <c:pt idx="324">
                  <c:v>2</c:v>
                </c:pt>
                <c:pt idx="325">
                  <c:v>6</c:v>
                </c:pt>
                <c:pt idx="326">
                  <c:v>15</c:v>
                </c:pt>
                <c:pt idx="327">
                  <c:v>17</c:v>
                </c:pt>
                <c:pt idx="328">
                  <c:v>4</c:v>
                </c:pt>
                <c:pt idx="329">
                  <c:v>3</c:v>
                </c:pt>
                <c:pt idx="330">
                  <c:v>1</c:v>
                </c:pt>
                <c:pt idx="331">
                  <c:v>3</c:v>
                </c:pt>
                <c:pt idx="332">
                  <c:v>17</c:v>
                </c:pt>
                <c:pt idx="333">
                  <c:v>1</c:v>
                </c:pt>
                <c:pt idx="334">
                  <c:v>3</c:v>
                </c:pt>
                <c:pt idx="335">
                  <c:v>1</c:v>
                </c:pt>
                <c:pt idx="336">
                  <c:v>12</c:v>
                </c:pt>
                <c:pt idx="337">
                  <c:v>4</c:v>
                </c:pt>
                <c:pt idx="338">
                  <c:v>11</c:v>
                </c:pt>
                <c:pt idx="339">
                  <c:v>4</c:v>
                </c:pt>
                <c:pt idx="340">
                  <c:v>5</c:v>
                </c:pt>
                <c:pt idx="341">
                  <c:v>2</c:v>
                </c:pt>
                <c:pt idx="342">
                  <c:v>1</c:v>
                </c:pt>
                <c:pt idx="343">
                  <c:v>4</c:v>
                </c:pt>
                <c:pt idx="344">
                  <c:v>1</c:v>
                </c:pt>
                <c:pt idx="345">
                  <c:v>26</c:v>
                </c:pt>
                <c:pt idx="346">
                  <c:v>7</c:v>
                </c:pt>
                <c:pt idx="347">
                  <c:v>2</c:v>
                </c:pt>
                <c:pt idx="348">
                  <c:v>2</c:v>
                </c:pt>
                <c:pt idx="349">
                  <c:v>1</c:v>
                </c:pt>
                <c:pt idx="350">
                  <c:v>6</c:v>
                </c:pt>
                <c:pt idx="351">
                  <c:v>15</c:v>
                </c:pt>
                <c:pt idx="352">
                  <c:v>0</c:v>
                </c:pt>
                <c:pt idx="353">
                  <c:v>4</c:v>
                </c:pt>
                <c:pt idx="354">
                  <c:v>1</c:v>
                </c:pt>
                <c:pt idx="355">
                  <c:v>4</c:v>
                </c:pt>
                <c:pt idx="356">
                  <c:v>5</c:v>
                </c:pt>
                <c:pt idx="357">
                  <c:v>4</c:v>
                </c:pt>
                <c:pt idx="358">
                  <c:v>3</c:v>
                </c:pt>
                <c:pt idx="359">
                  <c:v>8</c:v>
                </c:pt>
                <c:pt idx="360">
                  <c:v>8</c:v>
                </c:pt>
                <c:pt idx="361">
                  <c:v>3</c:v>
                </c:pt>
                <c:pt idx="362">
                  <c:v>5</c:v>
                </c:pt>
                <c:pt idx="363">
                  <c:v>8</c:v>
                </c:pt>
                <c:pt idx="364">
                  <c:v>2</c:v>
                </c:pt>
                <c:pt idx="365">
                  <c:v>12</c:v>
                </c:pt>
                <c:pt idx="366">
                  <c:v>13</c:v>
                </c:pt>
                <c:pt idx="367">
                  <c:v>4</c:v>
                </c:pt>
                <c:pt idx="368">
                  <c:v>5</c:v>
                </c:pt>
                <c:pt idx="369">
                  <c:v>5</c:v>
                </c:pt>
                <c:pt idx="370">
                  <c:v>3</c:v>
                </c:pt>
                <c:pt idx="371">
                  <c:v>10</c:v>
                </c:pt>
                <c:pt idx="372">
                  <c:v>13</c:v>
                </c:pt>
                <c:pt idx="373">
                  <c:v>6</c:v>
                </c:pt>
                <c:pt idx="374">
                  <c:v>8</c:v>
                </c:pt>
                <c:pt idx="375">
                  <c:v>1</c:v>
                </c:pt>
                <c:pt idx="376">
                  <c:v>1</c:v>
                </c:pt>
                <c:pt idx="377">
                  <c:v>3</c:v>
                </c:pt>
                <c:pt idx="378">
                  <c:v>4</c:v>
                </c:pt>
                <c:pt idx="379">
                  <c:v>6</c:v>
                </c:pt>
                <c:pt idx="380">
                  <c:v>2</c:v>
                </c:pt>
                <c:pt idx="381">
                  <c:v>1</c:v>
                </c:pt>
                <c:pt idx="382">
                  <c:v>0</c:v>
                </c:pt>
                <c:pt idx="383">
                  <c:v>2</c:v>
                </c:pt>
                <c:pt idx="384">
                  <c:v>3</c:v>
                </c:pt>
                <c:pt idx="385">
                  <c:v>21</c:v>
                </c:pt>
                <c:pt idx="386">
                  <c:v>9</c:v>
                </c:pt>
                <c:pt idx="387">
                  <c:v>1</c:v>
                </c:pt>
                <c:pt idx="388">
                  <c:v>7</c:v>
                </c:pt>
                <c:pt idx="389">
                  <c:v>5</c:v>
                </c:pt>
                <c:pt idx="390">
                  <c:v>29</c:v>
                </c:pt>
                <c:pt idx="391">
                  <c:v>3</c:v>
                </c:pt>
                <c:pt idx="392">
                  <c:v>36</c:v>
                </c:pt>
                <c:pt idx="393">
                  <c:v>1</c:v>
                </c:pt>
                <c:pt idx="394">
                  <c:v>9</c:v>
                </c:pt>
                <c:pt idx="395">
                  <c:v>5</c:v>
                </c:pt>
                <c:pt idx="396">
                  <c:v>3</c:v>
                </c:pt>
                <c:pt idx="397">
                  <c:v>3</c:v>
                </c:pt>
                <c:pt idx="398">
                  <c:v>150</c:v>
                </c:pt>
                <c:pt idx="399">
                  <c:v>9</c:v>
                </c:pt>
                <c:pt idx="400">
                  <c:v>1</c:v>
                </c:pt>
                <c:pt idx="401">
                  <c:v>2</c:v>
                </c:pt>
                <c:pt idx="402">
                  <c:v>3</c:v>
                </c:pt>
                <c:pt idx="403">
                  <c:v>4</c:v>
                </c:pt>
                <c:pt idx="404">
                  <c:v>5</c:v>
                </c:pt>
                <c:pt idx="405">
                  <c:v>2</c:v>
                </c:pt>
                <c:pt idx="406">
                  <c:v>16</c:v>
                </c:pt>
                <c:pt idx="407">
                  <c:v>13</c:v>
                </c:pt>
                <c:pt idx="408">
                  <c:v>17</c:v>
                </c:pt>
                <c:pt idx="409">
                  <c:v>3</c:v>
                </c:pt>
                <c:pt idx="410">
                  <c:v>4</c:v>
                </c:pt>
                <c:pt idx="411">
                  <c:v>8</c:v>
                </c:pt>
                <c:pt idx="412">
                  <c:v>12</c:v>
                </c:pt>
                <c:pt idx="413">
                  <c:v>3</c:v>
                </c:pt>
                <c:pt idx="414">
                  <c:v>21</c:v>
                </c:pt>
                <c:pt idx="415">
                  <c:v>14</c:v>
                </c:pt>
                <c:pt idx="416">
                  <c:v>20</c:v>
                </c:pt>
                <c:pt idx="417">
                  <c:v>10</c:v>
                </c:pt>
                <c:pt idx="418">
                  <c:v>1</c:v>
                </c:pt>
                <c:pt idx="419">
                  <c:v>4</c:v>
                </c:pt>
                <c:pt idx="420">
                  <c:v>12</c:v>
                </c:pt>
                <c:pt idx="421">
                  <c:v>2</c:v>
                </c:pt>
                <c:pt idx="422">
                  <c:v>32</c:v>
                </c:pt>
                <c:pt idx="423">
                  <c:v>6</c:v>
                </c:pt>
                <c:pt idx="424">
                  <c:v>3</c:v>
                </c:pt>
                <c:pt idx="425">
                  <c:v>4</c:v>
                </c:pt>
                <c:pt idx="426">
                  <c:v>4</c:v>
                </c:pt>
                <c:pt idx="427">
                  <c:v>6</c:v>
                </c:pt>
                <c:pt idx="428">
                  <c:v>2</c:v>
                </c:pt>
                <c:pt idx="429">
                  <c:v>2</c:v>
                </c:pt>
                <c:pt idx="430">
                  <c:v>0</c:v>
                </c:pt>
                <c:pt idx="431">
                  <c:v>13</c:v>
                </c:pt>
                <c:pt idx="432">
                  <c:v>4</c:v>
                </c:pt>
                <c:pt idx="433">
                  <c:v>1</c:v>
                </c:pt>
                <c:pt idx="434">
                  <c:v>1</c:v>
                </c:pt>
                <c:pt idx="435">
                  <c:v>11</c:v>
                </c:pt>
                <c:pt idx="436">
                  <c:v>1</c:v>
                </c:pt>
                <c:pt idx="437">
                  <c:v>2</c:v>
                </c:pt>
                <c:pt idx="438">
                  <c:v>2</c:v>
                </c:pt>
                <c:pt idx="439">
                  <c:v>2</c:v>
                </c:pt>
                <c:pt idx="440">
                  <c:v>2</c:v>
                </c:pt>
                <c:pt idx="441">
                  <c:v>2</c:v>
                </c:pt>
                <c:pt idx="442">
                  <c:v>3</c:v>
                </c:pt>
                <c:pt idx="443">
                  <c:v>3</c:v>
                </c:pt>
                <c:pt idx="444">
                  <c:v>4</c:v>
                </c:pt>
                <c:pt idx="445">
                  <c:v>4</c:v>
                </c:pt>
                <c:pt idx="446">
                  <c:v>6</c:v>
                </c:pt>
                <c:pt idx="447">
                  <c:v>8</c:v>
                </c:pt>
                <c:pt idx="448">
                  <c:v>6</c:v>
                </c:pt>
                <c:pt idx="449">
                  <c:v>1</c:v>
                </c:pt>
                <c:pt idx="450">
                  <c:v>3</c:v>
                </c:pt>
                <c:pt idx="451">
                  <c:v>19</c:v>
                </c:pt>
                <c:pt idx="452">
                  <c:v>1</c:v>
                </c:pt>
                <c:pt idx="453">
                  <c:v>3</c:v>
                </c:pt>
                <c:pt idx="454">
                  <c:v>2</c:v>
                </c:pt>
                <c:pt idx="455">
                  <c:v>1</c:v>
                </c:pt>
                <c:pt idx="456">
                  <c:v>1</c:v>
                </c:pt>
                <c:pt idx="457">
                  <c:v>14</c:v>
                </c:pt>
                <c:pt idx="458">
                  <c:v>2</c:v>
                </c:pt>
                <c:pt idx="459">
                  <c:v>3</c:v>
                </c:pt>
                <c:pt idx="460">
                  <c:v>2</c:v>
                </c:pt>
                <c:pt idx="461">
                  <c:v>3</c:v>
                </c:pt>
                <c:pt idx="462">
                  <c:v>2</c:v>
                </c:pt>
                <c:pt idx="463">
                  <c:v>13</c:v>
                </c:pt>
                <c:pt idx="464">
                  <c:v>2</c:v>
                </c:pt>
                <c:pt idx="465">
                  <c:v>3</c:v>
                </c:pt>
                <c:pt idx="466">
                  <c:v>1</c:v>
                </c:pt>
                <c:pt idx="467">
                  <c:v>13</c:v>
                </c:pt>
                <c:pt idx="468">
                  <c:v>2</c:v>
                </c:pt>
                <c:pt idx="469">
                  <c:v>31</c:v>
                </c:pt>
                <c:pt idx="470">
                  <c:v>6</c:v>
                </c:pt>
                <c:pt idx="471">
                  <c:v>9</c:v>
                </c:pt>
                <c:pt idx="472">
                  <c:v>6</c:v>
                </c:pt>
                <c:pt idx="473">
                  <c:v>4</c:v>
                </c:pt>
                <c:pt idx="474">
                  <c:v>13</c:v>
                </c:pt>
                <c:pt idx="475">
                  <c:v>11</c:v>
                </c:pt>
                <c:pt idx="476">
                  <c:v>2</c:v>
                </c:pt>
                <c:pt idx="477">
                  <c:v>3</c:v>
                </c:pt>
                <c:pt idx="478">
                  <c:v>6</c:v>
                </c:pt>
                <c:pt idx="479">
                  <c:v>6</c:v>
                </c:pt>
                <c:pt idx="480">
                  <c:v>0</c:v>
                </c:pt>
                <c:pt idx="481">
                  <c:v>14</c:v>
                </c:pt>
                <c:pt idx="482">
                  <c:v>14</c:v>
                </c:pt>
                <c:pt idx="483">
                  <c:v>7</c:v>
                </c:pt>
                <c:pt idx="484">
                  <c:v>2</c:v>
                </c:pt>
                <c:pt idx="485">
                  <c:v>1</c:v>
                </c:pt>
                <c:pt idx="486">
                  <c:v>2</c:v>
                </c:pt>
                <c:pt idx="487">
                  <c:v>11</c:v>
                </c:pt>
                <c:pt idx="488">
                  <c:v>3</c:v>
                </c:pt>
                <c:pt idx="489">
                  <c:v>18</c:v>
                </c:pt>
                <c:pt idx="490">
                  <c:v>0</c:v>
                </c:pt>
                <c:pt idx="491">
                  <c:v>14</c:v>
                </c:pt>
                <c:pt idx="492">
                  <c:v>12</c:v>
                </c:pt>
                <c:pt idx="493">
                  <c:v>5</c:v>
                </c:pt>
                <c:pt idx="494">
                  <c:v>11</c:v>
                </c:pt>
                <c:pt idx="495">
                  <c:v>1</c:v>
                </c:pt>
                <c:pt idx="496">
                  <c:v>5</c:v>
                </c:pt>
                <c:pt idx="497">
                  <c:v>1</c:v>
                </c:pt>
                <c:pt idx="498">
                  <c:v>1</c:v>
                </c:pt>
                <c:pt idx="499">
                  <c:v>7</c:v>
                </c:pt>
                <c:pt idx="500">
                  <c:v>2</c:v>
                </c:pt>
                <c:pt idx="501">
                  <c:v>3</c:v>
                </c:pt>
                <c:pt idx="502">
                  <c:v>4</c:v>
                </c:pt>
                <c:pt idx="503">
                  <c:v>0</c:v>
                </c:pt>
                <c:pt idx="504">
                  <c:v>8</c:v>
                </c:pt>
                <c:pt idx="505">
                  <c:v>11</c:v>
                </c:pt>
                <c:pt idx="506">
                  <c:v>3</c:v>
                </c:pt>
                <c:pt idx="507">
                  <c:v>1</c:v>
                </c:pt>
                <c:pt idx="508">
                  <c:v>1</c:v>
                </c:pt>
                <c:pt idx="509">
                  <c:v>1</c:v>
                </c:pt>
                <c:pt idx="510">
                  <c:v>0</c:v>
                </c:pt>
                <c:pt idx="511">
                  <c:v>5</c:v>
                </c:pt>
                <c:pt idx="512">
                  <c:v>2</c:v>
                </c:pt>
                <c:pt idx="513">
                  <c:v>1</c:v>
                </c:pt>
                <c:pt idx="514">
                  <c:v>6</c:v>
                </c:pt>
                <c:pt idx="515">
                  <c:v>17</c:v>
                </c:pt>
                <c:pt idx="516">
                  <c:v>7</c:v>
                </c:pt>
                <c:pt idx="517">
                  <c:v>2</c:v>
                </c:pt>
                <c:pt idx="518">
                  <c:v>1</c:v>
                </c:pt>
                <c:pt idx="519">
                  <c:v>4</c:v>
                </c:pt>
                <c:pt idx="520">
                  <c:v>2</c:v>
                </c:pt>
                <c:pt idx="521">
                  <c:v>1</c:v>
                </c:pt>
                <c:pt idx="522">
                  <c:v>2</c:v>
                </c:pt>
                <c:pt idx="523">
                  <c:v>15</c:v>
                </c:pt>
                <c:pt idx="524">
                  <c:v>1</c:v>
                </c:pt>
                <c:pt idx="525">
                  <c:v>35</c:v>
                </c:pt>
                <c:pt idx="526">
                  <c:v>4</c:v>
                </c:pt>
                <c:pt idx="527">
                  <c:v>2</c:v>
                </c:pt>
                <c:pt idx="528">
                  <c:v>4</c:v>
                </c:pt>
                <c:pt idx="529">
                  <c:v>1</c:v>
                </c:pt>
                <c:pt idx="530">
                  <c:v>13</c:v>
                </c:pt>
                <c:pt idx="531">
                  <c:v>19</c:v>
                </c:pt>
                <c:pt idx="532">
                  <c:v>0</c:v>
                </c:pt>
                <c:pt idx="533">
                  <c:v>0</c:v>
                </c:pt>
                <c:pt idx="534">
                  <c:v>2</c:v>
                </c:pt>
                <c:pt idx="535">
                  <c:v>1</c:v>
                </c:pt>
                <c:pt idx="536">
                  <c:v>10</c:v>
                </c:pt>
                <c:pt idx="537">
                  <c:v>1</c:v>
                </c:pt>
                <c:pt idx="538">
                  <c:v>2</c:v>
                </c:pt>
                <c:pt idx="539">
                  <c:v>0</c:v>
                </c:pt>
                <c:pt idx="540">
                  <c:v>58</c:v>
                </c:pt>
                <c:pt idx="541">
                  <c:v>7</c:v>
                </c:pt>
                <c:pt idx="542">
                  <c:v>3</c:v>
                </c:pt>
                <c:pt idx="543">
                  <c:v>1</c:v>
                </c:pt>
                <c:pt idx="544">
                  <c:v>1</c:v>
                </c:pt>
                <c:pt idx="545">
                  <c:v>0</c:v>
                </c:pt>
                <c:pt idx="546">
                  <c:v>3</c:v>
                </c:pt>
                <c:pt idx="547">
                  <c:v>3</c:v>
                </c:pt>
                <c:pt idx="548">
                  <c:v>2</c:v>
                </c:pt>
                <c:pt idx="549">
                  <c:v>1</c:v>
                </c:pt>
                <c:pt idx="550">
                  <c:v>0</c:v>
                </c:pt>
                <c:pt idx="551">
                  <c:v>5</c:v>
                </c:pt>
                <c:pt idx="552">
                  <c:v>1</c:v>
                </c:pt>
                <c:pt idx="553">
                  <c:v>27</c:v>
                </c:pt>
                <c:pt idx="554">
                  <c:v>2</c:v>
                </c:pt>
                <c:pt idx="555">
                  <c:v>2</c:v>
                </c:pt>
                <c:pt idx="556">
                  <c:v>0</c:v>
                </c:pt>
                <c:pt idx="557">
                  <c:v>4</c:v>
                </c:pt>
                <c:pt idx="558">
                  <c:v>18</c:v>
                </c:pt>
                <c:pt idx="559">
                  <c:v>1</c:v>
                </c:pt>
                <c:pt idx="560">
                  <c:v>1</c:v>
                </c:pt>
                <c:pt idx="561">
                  <c:v>2</c:v>
                </c:pt>
                <c:pt idx="562">
                  <c:v>1</c:v>
                </c:pt>
                <c:pt idx="563">
                  <c:v>4</c:v>
                </c:pt>
                <c:pt idx="564">
                  <c:v>8</c:v>
                </c:pt>
                <c:pt idx="565">
                  <c:v>1</c:v>
                </c:pt>
                <c:pt idx="566">
                  <c:v>12</c:v>
                </c:pt>
                <c:pt idx="567">
                  <c:v>14</c:v>
                </c:pt>
                <c:pt idx="568">
                  <c:v>1</c:v>
                </c:pt>
                <c:pt idx="569">
                  <c:v>0</c:v>
                </c:pt>
                <c:pt idx="570">
                  <c:v>2</c:v>
                </c:pt>
                <c:pt idx="571">
                  <c:v>4</c:v>
                </c:pt>
                <c:pt idx="572">
                  <c:v>0</c:v>
                </c:pt>
                <c:pt idx="573">
                  <c:v>0</c:v>
                </c:pt>
                <c:pt idx="574">
                  <c:v>6</c:v>
                </c:pt>
                <c:pt idx="575">
                  <c:v>0</c:v>
                </c:pt>
                <c:pt idx="576">
                  <c:v>0</c:v>
                </c:pt>
                <c:pt idx="577">
                  <c:v>40</c:v>
                </c:pt>
                <c:pt idx="578">
                  <c:v>7</c:v>
                </c:pt>
                <c:pt idx="579">
                  <c:v>22</c:v>
                </c:pt>
                <c:pt idx="580">
                  <c:v>7</c:v>
                </c:pt>
                <c:pt idx="581">
                  <c:v>4</c:v>
                </c:pt>
                <c:pt idx="582">
                  <c:v>0</c:v>
                </c:pt>
                <c:pt idx="583">
                  <c:v>6</c:v>
                </c:pt>
                <c:pt idx="584">
                  <c:v>5</c:v>
                </c:pt>
                <c:pt idx="585">
                  <c:v>0</c:v>
                </c:pt>
                <c:pt idx="586">
                  <c:v>0</c:v>
                </c:pt>
                <c:pt idx="587">
                  <c:v>1</c:v>
                </c:pt>
                <c:pt idx="588">
                  <c:v>1</c:v>
                </c:pt>
                <c:pt idx="589">
                  <c:v>2</c:v>
                </c:pt>
                <c:pt idx="590">
                  <c:v>0</c:v>
                </c:pt>
                <c:pt idx="591">
                  <c:v>1</c:v>
                </c:pt>
                <c:pt idx="592">
                  <c:v>2</c:v>
                </c:pt>
                <c:pt idx="593">
                  <c:v>3</c:v>
                </c:pt>
                <c:pt idx="594">
                  <c:v>0</c:v>
                </c:pt>
                <c:pt idx="595">
                  <c:v>2</c:v>
                </c:pt>
                <c:pt idx="596">
                  <c:v>6</c:v>
                </c:pt>
                <c:pt idx="597">
                  <c:v>1</c:v>
                </c:pt>
                <c:pt idx="598">
                  <c:v>7</c:v>
                </c:pt>
                <c:pt idx="599">
                  <c:v>7</c:v>
                </c:pt>
                <c:pt idx="600">
                  <c:v>4</c:v>
                </c:pt>
                <c:pt idx="601">
                  <c:v>3</c:v>
                </c:pt>
                <c:pt idx="602">
                  <c:v>3</c:v>
                </c:pt>
                <c:pt idx="603">
                  <c:v>2</c:v>
                </c:pt>
                <c:pt idx="604">
                  <c:v>0</c:v>
                </c:pt>
                <c:pt idx="605">
                  <c:v>3</c:v>
                </c:pt>
                <c:pt idx="606">
                  <c:v>0</c:v>
                </c:pt>
                <c:pt idx="607">
                  <c:v>0</c:v>
                </c:pt>
                <c:pt idx="608">
                  <c:v>0</c:v>
                </c:pt>
                <c:pt idx="609">
                  <c:v>0</c:v>
                </c:pt>
                <c:pt idx="610">
                  <c:v>0</c:v>
                </c:pt>
                <c:pt idx="611">
                  <c:v>0</c:v>
                </c:pt>
                <c:pt idx="612">
                  <c:v>0</c:v>
                </c:pt>
                <c:pt idx="613">
                  <c:v>1</c:v>
                </c:pt>
                <c:pt idx="614">
                  <c:v>0</c:v>
                </c:pt>
                <c:pt idx="615">
                  <c:v>0</c:v>
                </c:pt>
                <c:pt idx="616">
                  <c:v>0</c:v>
                </c:pt>
                <c:pt idx="617">
                  <c:v>0</c:v>
                </c:pt>
                <c:pt idx="618">
                  <c:v>11</c:v>
                </c:pt>
                <c:pt idx="619">
                  <c:v>0</c:v>
                </c:pt>
                <c:pt idx="620">
                  <c:v>1</c:v>
                </c:pt>
                <c:pt idx="621">
                  <c:v>9</c:v>
                </c:pt>
                <c:pt idx="622">
                  <c:v>6</c:v>
                </c:pt>
                <c:pt idx="623">
                  <c:v>0</c:v>
                </c:pt>
                <c:pt idx="624">
                  <c:v>2</c:v>
                </c:pt>
                <c:pt idx="625">
                  <c:v>0</c:v>
                </c:pt>
                <c:pt idx="626">
                  <c:v>2</c:v>
                </c:pt>
                <c:pt idx="627">
                  <c:v>2</c:v>
                </c:pt>
                <c:pt idx="628">
                  <c:v>0</c:v>
                </c:pt>
                <c:pt idx="629">
                  <c:v>0</c:v>
                </c:pt>
                <c:pt idx="630">
                  <c:v>0</c:v>
                </c:pt>
                <c:pt idx="631">
                  <c:v>4</c:v>
                </c:pt>
                <c:pt idx="632">
                  <c:v>3</c:v>
                </c:pt>
                <c:pt idx="633">
                  <c:v>0</c:v>
                </c:pt>
                <c:pt idx="634">
                  <c:v>9</c:v>
                </c:pt>
                <c:pt idx="635">
                  <c:v>3</c:v>
                </c:pt>
                <c:pt idx="636">
                  <c:v>3</c:v>
                </c:pt>
                <c:pt idx="637">
                  <c:v>0</c:v>
                </c:pt>
                <c:pt idx="638">
                  <c:v>0</c:v>
                </c:pt>
                <c:pt idx="639">
                  <c:v>3</c:v>
                </c:pt>
                <c:pt idx="640">
                  <c:v>0</c:v>
                </c:pt>
                <c:pt idx="641">
                  <c:v>0</c:v>
                </c:pt>
                <c:pt idx="642">
                  <c:v>1</c:v>
                </c:pt>
                <c:pt idx="643">
                  <c:v>0</c:v>
                </c:pt>
                <c:pt idx="644">
                  <c:v>1</c:v>
                </c:pt>
                <c:pt idx="645">
                  <c:v>15</c:v>
                </c:pt>
                <c:pt idx="646">
                  <c:v>1</c:v>
                </c:pt>
                <c:pt idx="647">
                  <c:v>5</c:v>
                </c:pt>
                <c:pt idx="648">
                  <c:v>0</c:v>
                </c:pt>
                <c:pt idx="649">
                  <c:v>0</c:v>
                </c:pt>
                <c:pt idx="650">
                  <c:v>4</c:v>
                </c:pt>
                <c:pt idx="651">
                  <c:v>0</c:v>
                </c:pt>
                <c:pt idx="652">
                  <c:v>0</c:v>
                </c:pt>
                <c:pt idx="653">
                  <c:v>6</c:v>
                </c:pt>
                <c:pt idx="654">
                  <c:v>0</c:v>
                </c:pt>
                <c:pt idx="655">
                  <c:v>1</c:v>
                </c:pt>
                <c:pt idx="656">
                  <c:v>0</c:v>
                </c:pt>
                <c:pt idx="657">
                  <c:v>0</c:v>
                </c:pt>
                <c:pt idx="658">
                  <c:v>0</c:v>
                </c:pt>
                <c:pt idx="659">
                  <c:v>0</c:v>
                </c:pt>
                <c:pt idx="660">
                  <c:v>0</c:v>
                </c:pt>
                <c:pt idx="661">
                  <c:v>0</c:v>
                </c:pt>
                <c:pt idx="662">
                  <c:v>2</c:v>
                </c:pt>
                <c:pt idx="663">
                  <c:v>0</c:v>
                </c:pt>
                <c:pt idx="664">
                  <c:v>0</c:v>
                </c:pt>
                <c:pt idx="665">
                  <c:v>0</c:v>
                </c:pt>
                <c:pt idx="666">
                  <c:v>4</c:v>
                </c:pt>
                <c:pt idx="667">
                  <c:v>5</c:v>
                </c:pt>
                <c:pt idx="668">
                  <c:v>57</c:v>
                </c:pt>
                <c:pt idx="669">
                  <c:v>0</c:v>
                </c:pt>
                <c:pt idx="670">
                  <c:v>14</c:v>
                </c:pt>
                <c:pt idx="671">
                  <c:v>2</c:v>
                </c:pt>
                <c:pt idx="672">
                  <c:v>4</c:v>
                </c:pt>
                <c:pt idx="673">
                  <c:v>0</c:v>
                </c:pt>
                <c:pt idx="674">
                  <c:v>0</c:v>
                </c:pt>
                <c:pt idx="675">
                  <c:v>16</c:v>
                </c:pt>
                <c:pt idx="676">
                  <c:v>0</c:v>
                </c:pt>
                <c:pt idx="677">
                  <c:v>0</c:v>
                </c:pt>
                <c:pt idx="678">
                  <c:v>0</c:v>
                </c:pt>
                <c:pt idx="679">
                  <c:v>1</c:v>
                </c:pt>
                <c:pt idx="680">
                  <c:v>0</c:v>
                </c:pt>
                <c:pt idx="681">
                  <c:v>2</c:v>
                </c:pt>
                <c:pt idx="682">
                  <c:v>0</c:v>
                </c:pt>
                <c:pt idx="683">
                  <c:v>5</c:v>
                </c:pt>
                <c:pt idx="684">
                  <c:v>0</c:v>
                </c:pt>
                <c:pt idx="685">
                  <c:v>0</c:v>
                </c:pt>
                <c:pt idx="686">
                  <c:v>1</c:v>
                </c:pt>
                <c:pt idx="687">
                  <c:v>0</c:v>
                </c:pt>
                <c:pt idx="688">
                  <c:v>0</c:v>
                </c:pt>
                <c:pt idx="689">
                  <c:v>0</c:v>
                </c:pt>
                <c:pt idx="690">
                  <c:v>0</c:v>
                </c:pt>
                <c:pt idx="691">
                  <c:v>0</c:v>
                </c:pt>
                <c:pt idx="692">
                  <c:v>0</c:v>
                </c:pt>
                <c:pt idx="693">
                  <c:v>1</c:v>
                </c:pt>
                <c:pt idx="694">
                  <c:v>0</c:v>
                </c:pt>
                <c:pt idx="695">
                  <c:v>0</c:v>
                </c:pt>
                <c:pt idx="696">
                  <c:v>42</c:v>
                </c:pt>
                <c:pt idx="697">
                  <c:v>1</c:v>
                </c:pt>
                <c:pt idx="698">
                  <c:v>4</c:v>
                </c:pt>
                <c:pt idx="699">
                  <c:v>2</c:v>
                </c:pt>
                <c:pt idx="700">
                  <c:v>4</c:v>
                </c:pt>
                <c:pt idx="701">
                  <c:v>0</c:v>
                </c:pt>
                <c:pt idx="702">
                  <c:v>2</c:v>
                </c:pt>
                <c:pt idx="703">
                  <c:v>0</c:v>
                </c:pt>
                <c:pt idx="704">
                  <c:v>0</c:v>
                </c:pt>
                <c:pt idx="705">
                  <c:v>1</c:v>
                </c:pt>
                <c:pt idx="706">
                  <c:v>4</c:v>
                </c:pt>
                <c:pt idx="707">
                  <c:v>0</c:v>
                </c:pt>
                <c:pt idx="708">
                  <c:v>0</c:v>
                </c:pt>
                <c:pt idx="709">
                  <c:v>5</c:v>
                </c:pt>
                <c:pt idx="710">
                  <c:v>1</c:v>
                </c:pt>
                <c:pt idx="711">
                  <c:v>3</c:v>
                </c:pt>
                <c:pt idx="712">
                  <c:v>0</c:v>
                </c:pt>
                <c:pt idx="713">
                  <c:v>5</c:v>
                </c:pt>
                <c:pt idx="714">
                  <c:v>0</c:v>
                </c:pt>
                <c:pt idx="715">
                  <c:v>0</c:v>
                </c:pt>
                <c:pt idx="716">
                  <c:v>0</c:v>
                </c:pt>
                <c:pt idx="717">
                  <c:v>0</c:v>
                </c:pt>
                <c:pt idx="718">
                  <c:v>5</c:v>
                </c:pt>
                <c:pt idx="719">
                  <c:v>0</c:v>
                </c:pt>
                <c:pt idx="720">
                  <c:v>0</c:v>
                </c:pt>
                <c:pt idx="721">
                  <c:v>1</c:v>
                </c:pt>
                <c:pt idx="722">
                  <c:v>1</c:v>
                </c:pt>
                <c:pt idx="723">
                  <c:v>0</c:v>
                </c:pt>
                <c:pt idx="724">
                  <c:v>1</c:v>
                </c:pt>
                <c:pt idx="725">
                  <c:v>0</c:v>
                </c:pt>
                <c:pt idx="726">
                  <c:v>0</c:v>
                </c:pt>
                <c:pt idx="727">
                  <c:v>9</c:v>
                </c:pt>
                <c:pt idx="728">
                  <c:v>105</c:v>
                </c:pt>
                <c:pt idx="729">
                  <c:v>7</c:v>
                </c:pt>
                <c:pt idx="730">
                  <c:v>1</c:v>
                </c:pt>
                <c:pt idx="731">
                  <c:v>0</c:v>
                </c:pt>
                <c:pt idx="732">
                  <c:v>0</c:v>
                </c:pt>
                <c:pt idx="733">
                  <c:v>0</c:v>
                </c:pt>
                <c:pt idx="734">
                  <c:v>1</c:v>
                </c:pt>
                <c:pt idx="735">
                  <c:v>0</c:v>
                </c:pt>
                <c:pt idx="736">
                  <c:v>2</c:v>
                </c:pt>
                <c:pt idx="737">
                  <c:v>0</c:v>
                </c:pt>
                <c:pt idx="738">
                  <c:v>0</c:v>
                </c:pt>
                <c:pt idx="739">
                  <c:v>7</c:v>
                </c:pt>
                <c:pt idx="740">
                  <c:v>0</c:v>
                </c:pt>
                <c:pt idx="741">
                  <c:v>1</c:v>
                </c:pt>
                <c:pt idx="742">
                  <c:v>1</c:v>
                </c:pt>
                <c:pt idx="743">
                  <c:v>0</c:v>
                </c:pt>
                <c:pt idx="744">
                  <c:v>3</c:v>
                </c:pt>
                <c:pt idx="745">
                  <c:v>1</c:v>
                </c:pt>
                <c:pt idx="746">
                  <c:v>0</c:v>
                </c:pt>
                <c:pt idx="747">
                  <c:v>8</c:v>
                </c:pt>
                <c:pt idx="748">
                  <c:v>1</c:v>
                </c:pt>
                <c:pt idx="749">
                  <c:v>2</c:v>
                </c:pt>
                <c:pt idx="750">
                  <c:v>0</c:v>
                </c:pt>
                <c:pt idx="751">
                  <c:v>0</c:v>
                </c:pt>
                <c:pt idx="752">
                  <c:v>2</c:v>
                </c:pt>
                <c:pt idx="753">
                  <c:v>1</c:v>
                </c:pt>
                <c:pt idx="754">
                  <c:v>2</c:v>
                </c:pt>
                <c:pt idx="755">
                  <c:v>2</c:v>
                </c:pt>
                <c:pt idx="756">
                  <c:v>81</c:v>
                </c:pt>
                <c:pt idx="757">
                  <c:v>1</c:v>
                </c:pt>
                <c:pt idx="758">
                  <c:v>0</c:v>
                </c:pt>
                <c:pt idx="759">
                  <c:v>2</c:v>
                </c:pt>
                <c:pt idx="760">
                  <c:v>0</c:v>
                </c:pt>
                <c:pt idx="761">
                  <c:v>1</c:v>
                </c:pt>
                <c:pt idx="762">
                  <c:v>2</c:v>
                </c:pt>
                <c:pt idx="763">
                  <c:v>6</c:v>
                </c:pt>
                <c:pt idx="764">
                  <c:v>1</c:v>
                </c:pt>
                <c:pt idx="765">
                  <c:v>3</c:v>
                </c:pt>
                <c:pt idx="766">
                  <c:v>3</c:v>
                </c:pt>
                <c:pt idx="767">
                  <c:v>1</c:v>
                </c:pt>
                <c:pt idx="768">
                  <c:v>3</c:v>
                </c:pt>
                <c:pt idx="769">
                  <c:v>1</c:v>
                </c:pt>
                <c:pt idx="770">
                  <c:v>16</c:v>
                </c:pt>
                <c:pt idx="771">
                  <c:v>0</c:v>
                </c:pt>
                <c:pt idx="772">
                  <c:v>0</c:v>
                </c:pt>
                <c:pt idx="773">
                  <c:v>4</c:v>
                </c:pt>
                <c:pt idx="774">
                  <c:v>0</c:v>
                </c:pt>
                <c:pt idx="775">
                  <c:v>10</c:v>
                </c:pt>
                <c:pt idx="776">
                  <c:v>1</c:v>
                </c:pt>
                <c:pt idx="777">
                  <c:v>1</c:v>
                </c:pt>
                <c:pt idx="778">
                  <c:v>2</c:v>
                </c:pt>
                <c:pt idx="779">
                  <c:v>2</c:v>
                </c:pt>
                <c:pt idx="780">
                  <c:v>1</c:v>
                </c:pt>
                <c:pt idx="781">
                  <c:v>0</c:v>
                </c:pt>
                <c:pt idx="782">
                  <c:v>6</c:v>
                </c:pt>
                <c:pt idx="783">
                  <c:v>1</c:v>
                </c:pt>
                <c:pt idx="784">
                  <c:v>0</c:v>
                </c:pt>
                <c:pt idx="785">
                  <c:v>1</c:v>
                </c:pt>
                <c:pt idx="786">
                  <c:v>2</c:v>
                </c:pt>
                <c:pt idx="787">
                  <c:v>0</c:v>
                </c:pt>
                <c:pt idx="788">
                  <c:v>1</c:v>
                </c:pt>
                <c:pt idx="789">
                  <c:v>6</c:v>
                </c:pt>
                <c:pt idx="790">
                  <c:v>1</c:v>
                </c:pt>
                <c:pt idx="791">
                  <c:v>2</c:v>
                </c:pt>
                <c:pt idx="792">
                  <c:v>13</c:v>
                </c:pt>
                <c:pt idx="793">
                  <c:v>8</c:v>
                </c:pt>
                <c:pt idx="794">
                  <c:v>0</c:v>
                </c:pt>
                <c:pt idx="795">
                  <c:v>15</c:v>
                </c:pt>
                <c:pt idx="796">
                  <c:v>0</c:v>
                </c:pt>
                <c:pt idx="797">
                  <c:v>0</c:v>
                </c:pt>
                <c:pt idx="798">
                  <c:v>0</c:v>
                </c:pt>
                <c:pt idx="799">
                  <c:v>0</c:v>
                </c:pt>
                <c:pt idx="800">
                  <c:v>2</c:v>
                </c:pt>
                <c:pt idx="801">
                  <c:v>0</c:v>
                </c:pt>
                <c:pt idx="802">
                  <c:v>3</c:v>
                </c:pt>
                <c:pt idx="803">
                  <c:v>0</c:v>
                </c:pt>
                <c:pt idx="804">
                  <c:v>0</c:v>
                </c:pt>
                <c:pt idx="805">
                  <c:v>0</c:v>
                </c:pt>
                <c:pt idx="806">
                  <c:v>9</c:v>
                </c:pt>
                <c:pt idx="807">
                  <c:v>59</c:v>
                </c:pt>
                <c:pt idx="808">
                  <c:v>2</c:v>
                </c:pt>
                <c:pt idx="809">
                  <c:v>0</c:v>
                </c:pt>
                <c:pt idx="810">
                  <c:v>0</c:v>
                </c:pt>
                <c:pt idx="811">
                  <c:v>3</c:v>
                </c:pt>
                <c:pt idx="812">
                  <c:v>0</c:v>
                </c:pt>
                <c:pt idx="813">
                  <c:v>3</c:v>
                </c:pt>
                <c:pt idx="814">
                  <c:v>0</c:v>
                </c:pt>
                <c:pt idx="815">
                  <c:v>0</c:v>
                </c:pt>
                <c:pt idx="816">
                  <c:v>2</c:v>
                </c:pt>
                <c:pt idx="817">
                  <c:v>2</c:v>
                </c:pt>
                <c:pt idx="818">
                  <c:v>1</c:v>
                </c:pt>
                <c:pt idx="819">
                  <c:v>0</c:v>
                </c:pt>
                <c:pt idx="820">
                  <c:v>0</c:v>
                </c:pt>
                <c:pt idx="821">
                  <c:v>5</c:v>
                </c:pt>
                <c:pt idx="822">
                  <c:v>1</c:v>
                </c:pt>
                <c:pt idx="823">
                  <c:v>20</c:v>
                </c:pt>
                <c:pt idx="824">
                  <c:v>0</c:v>
                </c:pt>
                <c:pt idx="825">
                  <c:v>0</c:v>
                </c:pt>
                <c:pt idx="826">
                  <c:v>0</c:v>
                </c:pt>
                <c:pt idx="827">
                  <c:v>1</c:v>
                </c:pt>
                <c:pt idx="828">
                  <c:v>3</c:v>
                </c:pt>
                <c:pt idx="829">
                  <c:v>2</c:v>
                </c:pt>
                <c:pt idx="830">
                  <c:v>7</c:v>
                </c:pt>
                <c:pt idx="831">
                  <c:v>1</c:v>
                </c:pt>
                <c:pt idx="832">
                  <c:v>2</c:v>
                </c:pt>
                <c:pt idx="833">
                  <c:v>0</c:v>
                </c:pt>
                <c:pt idx="834">
                  <c:v>6</c:v>
                </c:pt>
                <c:pt idx="835">
                  <c:v>0</c:v>
                </c:pt>
                <c:pt idx="836">
                  <c:v>0</c:v>
                </c:pt>
                <c:pt idx="837">
                  <c:v>3</c:v>
                </c:pt>
                <c:pt idx="838">
                  <c:v>0</c:v>
                </c:pt>
                <c:pt idx="839">
                  <c:v>16</c:v>
                </c:pt>
                <c:pt idx="840">
                  <c:v>0</c:v>
                </c:pt>
                <c:pt idx="841">
                  <c:v>0</c:v>
                </c:pt>
                <c:pt idx="842">
                  <c:v>8</c:v>
                </c:pt>
                <c:pt idx="843">
                  <c:v>0</c:v>
                </c:pt>
                <c:pt idx="844">
                  <c:v>12</c:v>
                </c:pt>
                <c:pt idx="845">
                  <c:v>0</c:v>
                </c:pt>
                <c:pt idx="846">
                  <c:v>0</c:v>
                </c:pt>
                <c:pt idx="847">
                  <c:v>0</c:v>
                </c:pt>
                <c:pt idx="848">
                  <c:v>2</c:v>
                </c:pt>
                <c:pt idx="849">
                  <c:v>1</c:v>
                </c:pt>
                <c:pt idx="850">
                  <c:v>0</c:v>
                </c:pt>
                <c:pt idx="851">
                  <c:v>1</c:v>
                </c:pt>
                <c:pt idx="852">
                  <c:v>0</c:v>
                </c:pt>
                <c:pt idx="853">
                  <c:v>1</c:v>
                </c:pt>
                <c:pt idx="854">
                  <c:v>0</c:v>
                </c:pt>
                <c:pt idx="855">
                  <c:v>2</c:v>
                </c:pt>
                <c:pt idx="856">
                  <c:v>1</c:v>
                </c:pt>
                <c:pt idx="857">
                  <c:v>1</c:v>
                </c:pt>
                <c:pt idx="858">
                  <c:v>4</c:v>
                </c:pt>
                <c:pt idx="859">
                  <c:v>8</c:v>
                </c:pt>
                <c:pt idx="860">
                  <c:v>0</c:v>
                </c:pt>
                <c:pt idx="861">
                  <c:v>0</c:v>
                </c:pt>
                <c:pt idx="862">
                  <c:v>3</c:v>
                </c:pt>
                <c:pt idx="863">
                  <c:v>0</c:v>
                </c:pt>
                <c:pt idx="864">
                  <c:v>9</c:v>
                </c:pt>
                <c:pt idx="865">
                  <c:v>0</c:v>
                </c:pt>
                <c:pt idx="866">
                  <c:v>8</c:v>
                </c:pt>
                <c:pt idx="867">
                  <c:v>9</c:v>
                </c:pt>
                <c:pt idx="868">
                  <c:v>0</c:v>
                </c:pt>
                <c:pt idx="869">
                  <c:v>1</c:v>
                </c:pt>
                <c:pt idx="870">
                  <c:v>0</c:v>
                </c:pt>
                <c:pt idx="871">
                  <c:v>0</c:v>
                </c:pt>
                <c:pt idx="872">
                  <c:v>1</c:v>
                </c:pt>
                <c:pt idx="873">
                  <c:v>1</c:v>
                </c:pt>
                <c:pt idx="874">
                  <c:v>0</c:v>
                </c:pt>
                <c:pt idx="875">
                  <c:v>5</c:v>
                </c:pt>
                <c:pt idx="876">
                  <c:v>4</c:v>
                </c:pt>
                <c:pt idx="877">
                  <c:v>4</c:v>
                </c:pt>
                <c:pt idx="878">
                  <c:v>0</c:v>
                </c:pt>
                <c:pt idx="879">
                  <c:v>1</c:v>
                </c:pt>
                <c:pt idx="880">
                  <c:v>0</c:v>
                </c:pt>
                <c:pt idx="881">
                  <c:v>9</c:v>
                </c:pt>
                <c:pt idx="882">
                  <c:v>2</c:v>
                </c:pt>
                <c:pt idx="883">
                  <c:v>1</c:v>
                </c:pt>
                <c:pt idx="884">
                  <c:v>1</c:v>
                </c:pt>
                <c:pt idx="885">
                  <c:v>3</c:v>
                </c:pt>
                <c:pt idx="886">
                  <c:v>0</c:v>
                </c:pt>
                <c:pt idx="887">
                  <c:v>0</c:v>
                </c:pt>
                <c:pt idx="888">
                  <c:v>2</c:v>
                </c:pt>
                <c:pt idx="889">
                  <c:v>5</c:v>
                </c:pt>
                <c:pt idx="890">
                  <c:v>0</c:v>
                </c:pt>
                <c:pt idx="891">
                  <c:v>3</c:v>
                </c:pt>
                <c:pt idx="892">
                  <c:v>0</c:v>
                </c:pt>
                <c:pt idx="893">
                  <c:v>2</c:v>
                </c:pt>
                <c:pt idx="894">
                  <c:v>7</c:v>
                </c:pt>
                <c:pt idx="895">
                  <c:v>0</c:v>
                </c:pt>
                <c:pt idx="896">
                  <c:v>0</c:v>
                </c:pt>
                <c:pt idx="897">
                  <c:v>1</c:v>
                </c:pt>
                <c:pt idx="898">
                  <c:v>0</c:v>
                </c:pt>
                <c:pt idx="899">
                  <c:v>2</c:v>
                </c:pt>
                <c:pt idx="900">
                  <c:v>3</c:v>
                </c:pt>
                <c:pt idx="901">
                  <c:v>0</c:v>
                </c:pt>
                <c:pt idx="902">
                  <c:v>4</c:v>
                </c:pt>
                <c:pt idx="903">
                  <c:v>0</c:v>
                </c:pt>
                <c:pt idx="904">
                  <c:v>4</c:v>
                </c:pt>
                <c:pt idx="905">
                  <c:v>0</c:v>
                </c:pt>
                <c:pt idx="906">
                  <c:v>0</c:v>
                </c:pt>
                <c:pt idx="907">
                  <c:v>0</c:v>
                </c:pt>
                <c:pt idx="908">
                  <c:v>0</c:v>
                </c:pt>
                <c:pt idx="909">
                  <c:v>0</c:v>
                </c:pt>
                <c:pt idx="910">
                  <c:v>8</c:v>
                </c:pt>
                <c:pt idx="911">
                  <c:v>0</c:v>
                </c:pt>
                <c:pt idx="912">
                  <c:v>1</c:v>
                </c:pt>
                <c:pt idx="913">
                  <c:v>0</c:v>
                </c:pt>
                <c:pt idx="914">
                  <c:v>0</c:v>
                </c:pt>
                <c:pt idx="915">
                  <c:v>5</c:v>
                </c:pt>
                <c:pt idx="916">
                  <c:v>2</c:v>
                </c:pt>
                <c:pt idx="917">
                  <c:v>1</c:v>
                </c:pt>
                <c:pt idx="918">
                  <c:v>1</c:v>
                </c:pt>
                <c:pt idx="919">
                  <c:v>0</c:v>
                </c:pt>
                <c:pt idx="920">
                  <c:v>0</c:v>
                </c:pt>
                <c:pt idx="921">
                  <c:v>0</c:v>
                </c:pt>
                <c:pt idx="922">
                  <c:v>1</c:v>
                </c:pt>
                <c:pt idx="923">
                  <c:v>2</c:v>
                </c:pt>
                <c:pt idx="924">
                  <c:v>2</c:v>
                </c:pt>
                <c:pt idx="925">
                  <c:v>0</c:v>
                </c:pt>
                <c:pt idx="926">
                  <c:v>0</c:v>
                </c:pt>
                <c:pt idx="927">
                  <c:v>0</c:v>
                </c:pt>
                <c:pt idx="928">
                  <c:v>2</c:v>
                </c:pt>
                <c:pt idx="929">
                  <c:v>1</c:v>
                </c:pt>
                <c:pt idx="930">
                  <c:v>0</c:v>
                </c:pt>
                <c:pt idx="931">
                  <c:v>0</c:v>
                </c:pt>
                <c:pt idx="932">
                  <c:v>15</c:v>
                </c:pt>
                <c:pt idx="933">
                  <c:v>1</c:v>
                </c:pt>
                <c:pt idx="934">
                  <c:v>0</c:v>
                </c:pt>
                <c:pt idx="935">
                  <c:v>1</c:v>
                </c:pt>
                <c:pt idx="936">
                  <c:v>0</c:v>
                </c:pt>
                <c:pt idx="937">
                  <c:v>0</c:v>
                </c:pt>
                <c:pt idx="938">
                  <c:v>14</c:v>
                </c:pt>
                <c:pt idx="939">
                  <c:v>0</c:v>
                </c:pt>
                <c:pt idx="940">
                  <c:v>1</c:v>
                </c:pt>
                <c:pt idx="941">
                  <c:v>0</c:v>
                </c:pt>
                <c:pt idx="942">
                  <c:v>0</c:v>
                </c:pt>
                <c:pt idx="943">
                  <c:v>2</c:v>
                </c:pt>
                <c:pt idx="944">
                  <c:v>2</c:v>
                </c:pt>
                <c:pt idx="945">
                  <c:v>0</c:v>
                </c:pt>
                <c:pt idx="946">
                  <c:v>1</c:v>
                </c:pt>
                <c:pt idx="947">
                  <c:v>0</c:v>
                </c:pt>
                <c:pt idx="948">
                  <c:v>3</c:v>
                </c:pt>
                <c:pt idx="949">
                  <c:v>1</c:v>
                </c:pt>
                <c:pt idx="950">
                  <c:v>0</c:v>
                </c:pt>
                <c:pt idx="951">
                  <c:v>18</c:v>
                </c:pt>
                <c:pt idx="952">
                  <c:v>0</c:v>
                </c:pt>
                <c:pt idx="953">
                  <c:v>0</c:v>
                </c:pt>
                <c:pt idx="954">
                  <c:v>3</c:v>
                </c:pt>
                <c:pt idx="955">
                  <c:v>0</c:v>
                </c:pt>
                <c:pt idx="956">
                  <c:v>2</c:v>
                </c:pt>
                <c:pt idx="957">
                  <c:v>0</c:v>
                </c:pt>
                <c:pt idx="958">
                  <c:v>2</c:v>
                </c:pt>
                <c:pt idx="959">
                  <c:v>0</c:v>
                </c:pt>
                <c:pt idx="960">
                  <c:v>0</c:v>
                </c:pt>
                <c:pt idx="961">
                  <c:v>0</c:v>
                </c:pt>
                <c:pt idx="962">
                  <c:v>0</c:v>
                </c:pt>
                <c:pt idx="963">
                  <c:v>0</c:v>
                </c:pt>
                <c:pt idx="964">
                  <c:v>1</c:v>
                </c:pt>
                <c:pt idx="965">
                  <c:v>0</c:v>
                </c:pt>
                <c:pt idx="966">
                  <c:v>10</c:v>
                </c:pt>
                <c:pt idx="967">
                  <c:v>5</c:v>
                </c:pt>
                <c:pt idx="968">
                  <c:v>1</c:v>
                </c:pt>
                <c:pt idx="969">
                  <c:v>0</c:v>
                </c:pt>
                <c:pt idx="970">
                  <c:v>4</c:v>
                </c:pt>
                <c:pt idx="971">
                  <c:v>3</c:v>
                </c:pt>
                <c:pt idx="972">
                  <c:v>0</c:v>
                </c:pt>
                <c:pt idx="973">
                  <c:v>1</c:v>
                </c:pt>
                <c:pt idx="974">
                  <c:v>1</c:v>
                </c:pt>
                <c:pt idx="975">
                  <c:v>3</c:v>
                </c:pt>
                <c:pt idx="976">
                  <c:v>0</c:v>
                </c:pt>
                <c:pt idx="977">
                  <c:v>2</c:v>
                </c:pt>
                <c:pt idx="978">
                  <c:v>0</c:v>
                </c:pt>
                <c:pt idx="979">
                  <c:v>0</c:v>
                </c:pt>
                <c:pt idx="980">
                  <c:v>0</c:v>
                </c:pt>
                <c:pt idx="981">
                  <c:v>0</c:v>
                </c:pt>
                <c:pt idx="982">
                  <c:v>0</c:v>
                </c:pt>
                <c:pt idx="983">
                  <c:v>0</c:v>
                </c:pt>
                <c:pt idx="984">
                  <c:v>2</c:v>
                </c:pt>
                <c:pt idx="985">
                  <c:v>0</c:v>
                </c:pt>
                <c:pt idx="986">
                  <c:v>0</c:v>
                </c:pt>
                <c:pt idx="987">
                  <c:v>0</c:v>
                </c:pt>
                <c:pt idx="988">
                  <c:v>4</c:v>
                </c:pt>
                <c:pt idx="989">
                  <c:v>0</c:v>
                </c:pt>
                <c:pt idx="990">
                  <c:v>15</c:v>
                </c:pt>
                <c:pt idx="991">
                  <c:v>0</c:v>
                </c:pt>
                <c:pt idx="992">
                  <c:v>0</c:v>
                </c:pt>
                <c:pt idx="993">
                  <c:v>1</c:v>
                </c:pt>
                <c:pt idx="994">
                  <c:v>0</c:v>
                </c:pt>
                <c:pt idx="995">
                  <c:v>17</c:v>
                </c:pt>
                <c:pt idx="996">
                  <c:v>0</c:v>
                </c:pt>
                <c:pt idx="997">
                  <c:v>4</c:v>
                </c:pt>
                <c:pt idx="998">
                  <c:v>8</c:v>
                </c:pt>
                <c:pt idx="999">
                  <c:v>3</c:v>
                </c:pt>
                <c:pt idx="1000">
                  <c:v>0</c:v>
                </c:pt>
                <c:pt idx="1001">
                  <c:v>6</c:v>
                </c:pt>
                <c:pt idx="1002">
                  <c:v>1</c:v>
                </c:pt>
                <c:pt idx="1003">
                  <c:v>1</c:v>
                </c:pt>
                <c:pt idx="1004">
                  <c:v>0</c:v>
                </c:pt>
                <c:pt idx="1005">
                  <c:v>3</c:v>
                </c:pt>
                <c:pt idx="1006">
                  <c:v>0</c:v>
                </c:pt>
                <c:pt idx="1007">
                  <c:v>0</c:v>
                </c:pt>
                <c:pt idx="1008">
                  <c:v>0</c:v>
                </c:pt>
                <c:pt idx="1009">
                  <c:v>1</c:v>
                </c:pt>
                <c:pt idx="1010">
                  <c:v>1</c:v>
                </c:pt>
                <c:pt idx="1011">
                  <c:v>2</c:v>
                </c:pt>
                <c:pt idx="1012">
                  <c:v>0</c:v>
                </c:pt>
                <c:pt idx="1013">
                  <c:v>2</c:v>
                </c:pt>
                <c:pt idx="1014">
                  <c:v>1</c:v>
                </c:pt>
                <c:pt idx="1015">
                  <c:v>0</c:v>
                </c:pt>
                <c:pt idx="1016">
                  <c:v>0</c:v>
                </c:pt>
                <c:pt idx="1017">
                  <c:v>3</c:v>
                </c:pt>
                <c:pt idx="1018">
                  <c:v>0</c:v>
                </c:pt>
                <c:pt idx="1019">
                  <c:v>5</c:v>
                </c:pt>
                <c:pt idx="1020">
                  <c:v>1</c:v>
                </c:pt>
                <c:pt idx="1021">
                  <c:v>0</c:v>
                </c:pt>
                <c:pt idx="1022">
                  <c:v>1</c:v>
                </c:pt>
                <c:pt idx="1023">
                  <c:v>3</c:v>
                </c:pt>
                <c:pt idx="1024">
                  <c:v>0</c:v>
                </c:pt>
                <c:pt idx="1025">
                  <c:v>4</c:v>
                </c:pt>
                <c:pt idx="1026">
                  <c:v>0</c:v>
                </c:pt>
                <c:pt idx="1027">
                  <c:v>0</c:v>
                </c:pt>
                <c:pt idx="1028">
                  <c:v>2</c:v>
                </c:pt>
                <c:pt idx="1029">
                  <c:v>4</c:v>
                </c:pt>
                <c:pt idx="1030">
                  <c:v>0</c:v>
                </c:pt>
                <c:pt idx="1031">
                  <c:v>1</c:v>
                </c:pt>
                <c:pt idx="1032">
                  <c:v>2</c:v>
                </c:pt>
                <c:pt idx="1033">
                  <c:v>1</c:v>
                </c:pt>
                <c:pt idx="1034">
                  <c:v>1</c:v>
                </c:pt>
                <c:pt idx="1035">
                  <c:v>11</c:v>
                </c:pt>
                <c:pt idx="1036">
                  <c:v>4</c:v>
                </c:pt>
                <c:pt idx="1037">
                  <c:v>1</c:v>
                </c:pt>
                <c:pt idx="1038">
                  <c:v>2</c:v>
                </c:pt>
                <c:pt idx="1039">
                  <c:v>1</c:v>
                </c:pt>
                <c:pt idx="1040">
                  <c:v>9</c:v>
                </c:pt>
                <c:pt idx="1041">
                  <c:v>0</c:v>
                </c:pt>
                <c:pt idx="1042">
                  <c:v>0</c:v>
                </c:pt>
                <c:pt idx="1043">
                  <c:v>6</c:v>
                </c:pt>
                <c:pt idx="1044">
                  <c:v>1</c:v>
                </c:pt>
                <c:pt idx="1045">
                  <c:v>7</c:v>
                </c:pt>
                <c:pt idx="1046">
                  <c:v>0</c:v>
                </c:pt>
                <c:pt idx="1047">
                  <c:v>3</c:v>
                </c:pt>
                <c:pt idx="1048">
                  <c:v>1</c:v>
                </c:pt>
                <c:pt idx="1049">
                  <c:v>2</c:v>
                </c:pt>
                <c:pt idx="1050">
                  <c:v>1</c:v>
                </c:pt>
                <c:pt idx="1051">
                  <c:v>2</c:v>
                </c:pt>
                <c:pt idx="1052">
                  <c:v>1</c:v>
                </c:pt>
                <c:pt idx="1053">
                  <c:v>4</c:v>
                </c:pt>
                <c:pt idx="1054">
                  <c:v>0</c:v>
                </c:pt>
                <c:pt idx="1055">
                  <c:v>5</c:v>
                </c:pt>
                <c:pt idx="1056">
                  <c:v>2</c:v>
                </c:pt>
                <c:pt idx="1057">
                  <c:v>0</c:v>
                </c:pt>
                <c:pt idx="1058">
                  <c:v>0</c:v>
                </c:pt>
                <c:pt idx="1059">
                  <c:v>4</c:v>
                </c:pt>
                <c:pt idx="1060">
                  <c:v>2</c:v>
                </c:pt>
                <c:pt idx="1061">
                  <c:v>0</c:v>
                </c:pt>
                <c:pt idx="1062">
                  <c:v>0</c:v>
                </c:pt>
                <c:pt idx="1063">
                  <c:v>0</c:v>
                </c:pt>
                <c:pt idx="1064">
                  <c:v>2</c:v>
                </c:pt>
                <c:pt idx="1065">
                  <c:v>0</c:v>
                </c:pt>
                <c:pt idx="1066">
                  <c:v>7</c:v>
                </c:pt>
                <c:pt idx="1067">
                  <c:v>7</c:v>
                </c:pt>
                <c:pt idx="1068">
                  <c:v>9</c:v>
                </c:pt>
                <c:pt idx="1069">
                  <c:v>1</c:v>
                </c:pt>
                <c:pt idx="1070">
                  <c:v>3</c:v>
                </c:pt>
                <c:pt idx="1071">
                  <c:v>0</c:v>
                </c:pt>
                <c:pt idx="1072">
                  <c:v>0</c:v>
                </c:pt>
                <c:pt idx="1073">
                  <c:v>5</c:v>
                </c:pt>
                <c:pt idx="1074">
                  <c:v>0</c:v>
                </c:pt>
                <c:pt idx="1075">
                  <c:v>3</c:v>
                </c:pt>
                <c:pt idx="1076">
                  <c:v>1</c:v>
                </c:pt>
                <c:pt idx="1077">
                  <c:v>0</c:v>
                </c:pt>
                <c:pt idx="1078">
                  <c:v>0</c:v>
                </c:pt>
                <c:pt idx="1079">
                  <c:v>1</c:v>
                </c:pt>
                <c:pt idx="1080">
                  <c:v>0</c:v>
                </c:pt>
                <c:pt idx="1081">
                  <c:v>4</c:v>
                </c:pt>
                <c:pt idx="1082">
                  <c:v>26</c:v>
                </c:pt>
                <c:pt idx="1083">
                  <c:v>0</c:v>
                </c:pt>
                <c:pt idx="1084">
                  <c:v>2</c:v>
                </c:pt>
                <c:pt idx="1085">
                  <c:v>0</c:v>
                </c:pt>
                <c:pt idx="1086">
                  <c:v>6</c:v>
                </c:pt>
                <c:pt idx="1087">
                  <c:v>3</c:v>
                </c:pt>
                <c:pt idx="1088">
                  <c:v>0</c:v>
                </c:pt>
                <c:pt idx="1089">
                  <c:v>0</c:v>
                </c:pt>
                <c:pt idx="1090">
                  <c:v>1</c:v>
                </c:pt>
                <c:pt idx="1091">
                  <c:v>0</c:v>
                </c:pt>
                <c:pt idx="1092">
                  <c:v>2</c:v>
                </c:pt>
                <c:pt idx="1093">
                  <c:v>1</c:v>
                </c:pt>
                <c:pt idx="1094">
                  <c:v>4</c:v>
                </c:pt>
                <c:pt idx="1095">
                  <c:v>0</c:v>
                </c:pt>
                <c:pt idx="1096">
                  <c:v>0</c:v>
                </c:pt>
                <c:pt idx="1097">
                  <c:v>1</c:v>
                </c:pt>
                <c:pt idx="1098">
                  <c:v>1</c:v>
                </c:pt>
                <c:pt idx="1099">
                  <c:v>4</c:v>
                </c:pt>
                <c:pt idx="1100">
                  <c:v>0</c:v>
                </c:pt>
                <c:pt idx="1101">
                  <c:v>0</c:v>
                </c:pt>
                <c:pt idx="1102">
                  <c:v>0</c:v>
                </c:pt>
                <c:pt idx="1103">
                  <c:v>2</c:v>
                </c:pt>
                <c:pt idx="1104">
                  <c:v>2</c:v>
                </c:pt>
                <c:pt idx="1105">
                  <c:v>0</c:v>
                </c:pt>
                <c:pt idx="1106">
                  <c:v>1</c:v>
                </c:pt>
                <c:pt idx="1107">
                  <c:v>0</c:v>
                </c:pt>
                <c:pt idx="1108">
                  <c:v>0</c:v>
                </c:pt>
                <c:pt idx="1109">
                  <c:v>22</c:v>
                </c:pt>
                <c:pt idx="1110">
                  <c:v>0</c:v>
                </c:pt>
                <c:pt idx="1111">
                  <c:v>1</c:v>
                </c:pt>
                <c:pt idx="1112">
                  <c:v>0</c:v>
                </c:pt>
                <c:pt idx="1113">
                  <c:v>0</c:v>
                </c:pt>
                <c:pt idx="1114">
                  <c:v>0</c:v>
                </c:pt>
                <c:pt idx="1115">
                  <c:v>0</c:v>
                </c:pt>
                <c:pt idx="1116">
                  <c:v>0</c:v>
                </c:pt>
                <c:pt idx="1117">
                  <c:v>2</c:v>
                </c:pt>
                <c:pt idx="1118">
                  <c:v>2</c:v>
                </c:pt>
                <c:pt idx="1119">
                  <c:v>0</c:v>
                </c:pt>
                <c:pt idx="1120">
                  <c:v>0</c:v>
                </c:pt>
                <c:pt idx="1121">
                  <c:v>1</c:v>
                </c:pt>
                <c:pt idx="1122">
                  <c:v>0</c:v>
                </c:pt>
                <c:pt idx="1123">
                  <c:v>0</c:v>
                </c:pt>
                <c:pt idx="1124">
                  <c:v>0</c:v>
                </c:pt>
                <c:pt idx="1125">
                  <c:v>1</c:v>
                </c:pt>
                <c:pt idx="1126">
                  <c:v>0</c:v>
                </c:pt>
                <c:pt idx="1127">
                  <c:v>7</c:v>
                </c:pt>
                <c:pt idx="1128">
                  <c:v>1</c:v>
                </c:pt>
                <c:pt idx="1129">
                  <c:v>1</c:v>
                </c:pt>
                <c:pt idx="1130">
                  <c:v>3</c:v>
                </c:pt>
                <c:pt idx="1131">
                  <c:v>1</c:v>
                </c:pt>
                <c:pt idx="1132">
                  <c:v>7</c:v>
                </c:pt>
                <c:pt idx="1133">
                  <c:v>46</c:v>
                </c:pt>
                <c:pt idx="1134">
                  <c:v>0</c:v>
                </c:pt>
                <c:pt idx="1135">
                  <c:v>0</c:v>
                </c:pt>
                <c:pt idx="1136">
                  <c:v>8</c:v>
                </c:pt>
                <c:pt idx="1137">
                  <c:v>0</c:v>
                </c:pt>
                <c:pt idx="1138">
                  <c:v>3</c:v>
                </c:pt>
                <c:pt idx="1139">
                  <c:v>0</c:v>
                </c:pt>
                <c:pt idx="1140">
                  <c:v>1</c:v>
                </c:pt>
                <c:pt idx="1141">
                  <c:v>2</c:v>
                </c:pt>
                <c:pt idx="1142">
                  <c:v>0</c:v>
                </c:pt>
                <c:pt idx="1143">
                  <c:v>1</c:v>
                </c:pt>
                <c:pt idx="1144">
                  <c:v>5</c:v>
                </c:pt>
                <c:pt idx="1145">
                  <c:v>1</c:v>
                </c:pt>
                <c:pt idx="1146">
                  <c:v>0</c:v>
                </c:pt>
                <c:pt idx="1147">
                  <c:v>1</c:v>
                </c:pt>
                <c:pt idx="1148">
                  <c:v>0</c:v>
                </c:pt>
                <c:pt idx="1149">
                  <c:v>6</c:v>
                </c:pt>
                <c:pt idx="1150">
                  <c:v>4</c:v>
                </c:pt>
                <c:pt idx="1151">
                  <c:v>4</c:v>
                </c:pt>
                <c:pt idx="1152">
                  <c:v>1</c:v>
                </c:pt>
                <c:pt idx="1153">
                  <c:v>0</c:v>
                </c:pt>
                <c:pt idx="1154">
                  <c:v>7</c:v>
                </c:pt>
                <c:pt idx="1155">
                  <c:v>3</c:v>
                </c:pt>
                <c:pt idx="1156">
                  <c:v>0</c:v>
                </c:pt>
                <c:pt idx="1157">
                  <c:v>3</c:v>
                </c:pt>
                <c:pt idx="1158">
                  <c:v>0</c:v>
                </c:pt>
                <c:pt idx="1159">
                  <c:v>0</c:v>
                </c:pt>
                <c:pt idx="1160">
                  <c:v>0</c:v>
                </c:pt>
                <c:pt idx="1161">
                  <c:v>0</c:v>
                </c:pt>
                <c:pt idx="1162">
                  <c:v>0</c:v>
                </c:pt>
                <c:pt idx="1163">
                  <c:v>0</c:v>
                </c:pt>
                <c:pt idx="1164">
                  <c:v>1</c:v>
                </c:pt>
                <c:pt idx="1165">
                  <c:v>2</c:v>
                </c:pt>
                <c:pt idx="1166">
                  <c:v>1</c:v>
                </c:pt>
                <c:pt idx="1167">
                  <c:v>0</c:v>
                </c:pt>
                <c:pt idx="1168">
                  <c:v>1</c:v>
                </c:pt>
                <c:pt idx="1169">
                  <c:v>0</c:v>
                </c:pt>
                <c:pt idx="1170">
                  <c:v>3</c:v>
                </c:pt>
                <c:pt idx="1171">
                  <c:v>0</c:v>
                </c:pt>
                <c:pt idx="1172">
                  <c:v>6</c:v>
                </c:pt>
                <c:pt idx="1173">
                  <c:v>0</c:v>
                </c:pt>
                <c:pt idx="1174">
                  <c:v>0</c:v>
                </c:pt>
                <c:pt idx="1175">
                  <c:v>0</c:v>
                </c:pt>
                <c:pt idx="1176">
                  <c:v>0</c:v>
                </c:pt>
                <c:pt idx="1177">
                  <c:v>0</c:v>
                </c:pt>
                <c:pt idx="1178">
                  <c:v>4</c:v>
                </c:pt>
                <c:pt idx="1179">
                  <c:v>1</c:v>
                </c:pt>
                <c:pt idx="1180">
                  <c:v>1</c:v>
                </c:pt>
                <c:pt idx="1181">
                  <c:v>9</c:v>
                </c:pt>
                <c:pt idx="1182">
                  <c:v>0</c:v>
                </c:pt>
                <c:pt idx="1183">
                  <c:v>0</c:v>
                </c:pt>
                <c:pt idx="1184">
                  <c:v>2</c:v>
                </c:pt>
                <c:pt idx="1185">
                  <c:v>0</c:v>
                </c:pt>
                <c:pt idx="1186">
                  <c:v>8</c:v>
                </c:pt>
                <c:pt idx="1187">
                  <c:v>0</c:v>
                </c:pt>
                <c:pt idx="1188">
                  <c:v>0</c:v>
                </c:pt>
                <c:pt idx="1189">
                  <c:v>1</c:v>
                </c:pt>
                <c:pt idx="1190">
                  <c:v>0</c:v>
                </c:pt>
                <c:pt idx="1191">
                  <c:v>0</c:v>
                </c:pt>
                <c:pt idx="1192">
                  <c:v>0</c:v>
                </c:pt>
                <c:pt idx="1193">
                  <c:v>3</c:v>
                </c:pt>
                <c:pt idx="1194">
                  <c:v>0</c:v>
                </c:pt>
                <c:pt idx="1195">
                  <c:v>0</c:v>
                </c:pt>
                <c:pt idx="1196">
                  <c:v>0</c:v>
                </c:pt>
                <c:pt idx="1197">
                  <c:v>0</c:v>
                </c:pt>
                <c:pt idx="1198">
                  <c:v>0</c:v>
                </c:pt>
                <c:pt idx="1199">
                  <c:v>4</c:v>
                </c:pt>
                <c:pt idx="1200">
                  <c:v>0</c:v>
                </c:pt>
                <c:pt idx="1201">
                  <c:v>1</c:v>
                </c:pt>
                <c:pt idx="1202">
                  <c:v>2</c:v>
                </c:pt>
                <c:pt idx="1203">
                  <c:v>8</c:v>
                </c:pt>
                <c:pt idx="1204">
                  <c:v>3</c:v>
                </c:pt>
                <c:pt idx="1205">
                  <c:v>3</c:v>
                </c:pt>
                <c:pt idx="1206">
                  <c:v>0</c:v>
                </c:pt>
                <c:pt idx="1207">
                  <c:v>3</c:v>
                </c:pt>
                <c:pt idx="1208">
                  <c:v>1</c:v>
                </c:pt>
                <c:pt idx="1209">
                  <c:v>0</c:v>
                </c:pt>
                <c:pt idx="1210">
                  <c:v>2</c:v>
                </c:pt>
                <c:pt idx="1211">
                  <c:v>0</c:v>
                </c:pt>
                <c:pt idx="1212">
                  <c:v>0</c:v>
                </c:pt>
                <c:pt idx="1213">
                  <c:v>0</c:v>
                </c:pt>
                <c:pt idx="1214">
                  <c:v>4</c:v>
                </c:pt>
                <c:pt idx="1215">
                  <c:v>0</c:v>
                </c:pt>
                <c:pt idx="1216">
                  <c:v>6</c:v>
                </c:pt>
                <c:pt idx="1217">
                  <c:v>0</c:v>
                </c:pt>
                <c:pt idx="1218">
                  <c:v>0</c:v>
                </c:pt>
                <c:pt idx="1219">
                  <c:v>6</c:v>
                </c:pt>
                <c:pt idx="1220">
                  <c:v>0</c:v>
                </c:pt>
                <c:pt idx="1221">
                  <c:v>2</c:v>
                </c:pt>
                <c:pt idx="1222">
                  <c:v>2</c:v>
                </c:pt>
                <c:pt idx="1223">
                  <c:v>5</c:v>
                </c:pt>
                <c:pt idx="1224">
                  <c:v>1</c:v>
                </c:pt>
                <c:pt idx="1225">
                  <c:v>2</c:v>
                </c:pt>
                <c:pt idx="1226">
                  <c:v>5</c:v>
                </c:pt>
                <c:pt idx="1227">
                  <c:v>0</c:v>
                </c:pt>
                <c:pt idx="1228">
                  <c:v>0</c:v>
                </c:pt>
                <c:pt idx="1229">
                  <c:v>0</c:v>
                </c:pt>
                <c:pt idx="1230">
                  <c:v>0</c:v>
                </c:pt>
                <c:pt idx="1231">
                  <c:v>2</c:v>
                </c:pt>
                <c:pt idx="1232">
                  <c:v>0</c:v>
                </c:pt>
                <c:pt idx="1233">
                  <c:v>4</c:v>
                </c:pt>
                <c:pt idx="1234">
                  <c:v>0</c:v>
                </c:pt>
                <c:pt idx="1235">
                  <c:v>2</c:v>
                </c:pt>
                <c:pt idx="1236">
                  <c:v>3</c:v>
                </c:pt>
                <c:pt idx="1237">
                  <c:v>1</c:v>
                </c:pt>
                <c:pt idx="1238">
                  <c:v>0</c:v>
                </c:pt>
                <c:pt idx="1239">
                  <c:v>1</c:v>
                </c:pt>
                <c:pt idx="1240">
                  <c:v>2</c:v>
                </c:pt>
                <c:pt idx="1241">
                  <c:v>1</c:v>
                </c:pt>
                <c:pt idx="1242">
                  <c:v>1</c:v>
                </c:pt>
                <c:pt idx="1243">
                  <c:v>2</c:v>
                </c:pt>
                <c:pt idx="1244">
                  <c:v>2</c:v>
                </c:pt>
                <c:pt idx="1245">
                  <c:v>0</c:v>
                </c:pt>
                <c:pt idx="1246">
                  <c:v>0</c:v>
                </c:pt>
                <c:pt idx="1247">
                  <c:v>1</c:v>
                </c:pt>
                <c:pt idx="1248">
                  <c:v>0</c:v>
                </c:pt>
                <c:pt idx="1249">
                  <c:v>3</c:v>
                </c:pt>
                <c:pt idx="1250">
                  <c:v>0</c:v>
                </c:pt>
                <c:pt idx="1251">
                  <c:v>0</c:v>
                </c:pt>
                <c:pt idx="1252">
                  <c:v>0</c:v>
                </c:pt>
                <c:pt idx="1253">
                  <c:v>1</c:v>
                </c:pt>
                <c:pt idx="1254">
                  <c:v>1</c:v>
                </c:pt>
                <c:pt idx="1255">
                  <c:v>0</c:v>
                </c:pt>
                <c:pt idx="1256">
                  <c:v>0</c:v>
                </c:pt>
                <c:pt idx="1257">
                  <c:v>0</c:v>
                </c:pt>
                <c:pt idx="1258">
                  <c:v>7</c:v>
                </c:pt>
                <c:pt idx="1259">
                  <c:v>3</c:v>
                </c:pt>
                <c:pt idx="1260">
                  <c:v>0</c:v>
                </c:pt>
                <c:pt idx="1261">
                  <c:v>0</c:v>
                </c:pt>
                <c:pt idx="1262">
                  <c:v>0</c:v>
                </c:pt>
                <c:pt idx="1263">
                  <c:v>0</c:v>
                </c:pt>
                <c:pt idx="1264">
                  <c:v>1</c:v>
                </c:pt>
                <c:pt idx="1265">
                  <c:v>0</c:v>
                </c:pt>
                <c:pt idx="1266">
                  <c:v>2</c:v>
                </c:pt>
                <c:pt idx="1267">
                  <c:v>5</c:v>
                </c:pt>
                <c:pt idx="1268">
                  <c:v>0</c:v>
                </c:pt>
                <c:pt idx="1269">
                  <c:v>0</c:v>
                </c:pt>
                <c:pt idx="1270">
                  <c:v>1</c:v>
                </c:pt>
                <c:pt idx="1271">
                  <c:v>0</c:v>
                </c:pt>
                <c:pt idx="1272">
                  <c:v>2</c:v>
                </c:pt>
                <c:pt idx="1273">
                  <c:v>0</c:v>
                </c:pt>
                <c:pt idx="1274">
                  <c:v>1</c:v>
                </c:pt>
                <c:pt idx="1275">
                  <c:v>2</c:v>
                </c:pt>
                <c:pt idx="1276">
                  <c:v>0</c:v>
                </c:pt>
                <c:pt idx="1277">
                  <c:v>2</c:v>
                </c:pt>
                <c:pt idx="1278">
                  <c:v>0</c:v>
                </c:pt>
                <c:pt idx="1279">
                  <c:v>2</c:v>
                </c:pt>
                <c:pt idx="1280">
                  <c:v>3</c:v>
                </c:pt>
                <c:pt idx="1281">
                  <c:v>0</c:v>
                </c:pt>
                <c:pt idx="1282">
                  <c:v>15</c:v>
                </c:pt>
                <c:pt idx="1283">
                  <c:v>0</c:v>
                </c:pt>
                <c:pt idx="1284">
                  <c:v>0</c:v>
                </c:pt>
                <c:pt idx="1285">
                  <c:v>5</c:v>
                </c:pt>
                <c:pt idx="1286">
                  <c:v>3</c:v>
                </c:pt>
                <c:pt idx="1287">
                  <c:v>15</c:v>
                </c:pt>
                <c:pt idx="1288">
                  <c:v>1</c:v>
                </c:pt>
                <c:pt idx="1289">
                  <c:v>0</c:v>
                </c:pt>
                <c:pt idx="1290">
                  <c:v>3</c:v>
                </c:pt>
                <c:pt idx="1291">
                  <c:v>6</c:v>
                </c:pt>
                <c:pt idx="1292">
                  <c:v>1</c:v>
                </c:pt>
                <c:pt idx="1293">
                  <c:v>3</c:v>
                </c:pt>
                <c:pt idx="1294">
                  <c:v>4</c:v>
                </c:pt>
                <c:pt idx="1295">
                  <c:v>0</c:v>
                </c:pt>
                <c:pt idx="1296">
                  <c:v>0</c:v>
                </c:pt>
                <c:pt idx="1297">
                  <c:v>0</c:v>
                </c:pt>
                <c:pt idx="1298">
                  <c:v>0</c:v>
                </c:pt>
                <c:pt idx="1299">
                  <c:v>0</c:v>
                </c:pt>
                <c:pt idx="1300">
                  <c:v>0</c:v>
                </c:pt>
                <c:pt idx="1301">
                  <c:v>9</c:v>
                </c:pt>
                <c:pt idx="1302">
                  <c:v>3</c:v>
                </c:pt>
                <c:pt idx="1303">
                  <c:v>1</c:v>
                </c:pt>
                <c:pt idx="1304">
                  <c:v>8</c:v>
                </c:pt>
                <c:pt idx="1305">
                  <c:v>1</c:v>
                </c:pt>
                <c:pt idx="1306">
                  <c:v>0</c:v>
                </c:pt>
                <c:pt idx="1307">
                  <c:v>0</c:v>
                </c:pt>
                <c:pt idx="1308">
                  <c:v>0</c:v>
                </c:pt>
                <c:pt idx="1309">
                  <c:v>0</c:v>
                </c:pt>
                <c:pt idx="1310">
                  <c:v>2</c:v>
                </c:pt>
                <c:pt idx="1311">
                  <c:v>1</c:v>
                </c:pt>
                <c:pt idx="1312">
                  <c:v>11</c:v>
                </c:pt>
                <c:pt idx="1313">
                  <c:v>0</c:v>
                </c:pt>
                <c:pt idx="1314">
                  <c:v>3</c:v>
                </c:pt>
                <c:pt idx="1315">
                  <c:v>0</c:v>
                </c:pt>
                <c:pt idx="1316">
                  <c:v>0</c:v>
                </c:pt>
                <c:pt idx="1317">
                  <c:v>8</c:v>
                </c:pt>
                <c:pt idx="1318">
                  <c:v>0</c:v>
                </c:pt>
                <c:pt idx="1319">
                  <c:v>0</c:v>
                </c:pt>
                <c:pt idx="1320">
                  <c:v>0</c:v>
                </c:pt>
                <c:pt idx="1321">
                  <c:v>0</c:v>
                </c:pt>
                <c:pt idx="1322">
                  <c:v>6</c:v>
                </c:pt>
                <c:pt idx="1323">
                  <c:v>0</c:v>
                </c:pt>
                <c:pt idx="1324">
                  <c:v>0</c:v>
                </c:pt>
                <c:pt idx="1325">
                  <c:v>0</c:v>
                </c:pt>
                <c:pt idx="1326">
                  <c:v>0</c:v>
                </c:pt>
                <c:pt idx="1327">
                  <c:v>1</c:v>
                </c:pt>
                <c:pt idx="1328">
                  <c:v>2</c:v>
                </c:pt>
                <c:pt idx="1329">
                  <c:v>0</c:v>
                </c:pt>
                <c:pt idx="1330">
                  <c:v>1</c:v>
                </c:pt>
                <c:pt idx="1331">
                  <c:v>0</c:v>
                </c:pt>
                <c:pt idx="1332">
                  <c:v>0</c:v>
                </c:pt>
                <c:pt idx="1333">
                  <c:v>0</c:v>
                </c:pt>
                <c:pt idx="1334">
                  <c:v>1</c:v>
                </c:pt>
                <c:pt idx="1335">
                  <c:v>9</c:v>
                </c:pt>
                <c:pt idx="1336">
                  <c:v>2</c:v>
                </c:pt>
                <c:pt idx="1337">
                  <c:v>1</c:v>
                </c:pt>
                <c:pt idx="1338">
                  <c:v>0</c:v>
                </c:pt>
                <c:pt idx="1339">
                  <c:v>1</c:v>
                </c:pt>
                <c:pt idx="1340">
                  <c:v>1</c:v>
                </c:pt>
                <c:pt idx="1341">
                  <c:v>5</c:v>
                </c:pt>
                <c:pt idx="1342">
                  <c:v>0</c:v>
                </c:pt>
                <c:pt idx="1343">
                  <c:v>0</c:v>
                </c:pt>
                <c:pt idx="1344">
                  <c:v>0</c:v>
                </c:pt>
                <c:pt idx="1345">
                  <c:v>1</c:v>
                </c:pt>
                <c:pt idx="1346">
                  <c:v>0</c:v>
                </c:pt>
                <c:pt idx="1347">
                  <c:v>1</c:v>
                </c:pt>
                <c:pt idx="1348">
                  <c:v>1</c:v>
                </c:pt>
                <c:pt idx="1349">
                  <c:v>3</c:v>
                </c:pt>
                <c:pt idx="1350">
                  <c:v>0</c:v>
                </c:pt>
                <c:pt idx="1351">
                  <c:v>1</c:v>
                </c:pt>
                <c:pt idx="1352">
                  <c:v>3</c:v>
                </c:pt>
                <c:pt idx="1353">
                  <c:v>0</c:v>
                </c:pt>
                <c:pt idx="1354">
                  <c:v>1</c:v>
                </c:pt>
                <c:pt idx="1355">
                  <c:v>0</c:v>
                </c:pt>
                <c:pt idx="1356">
                  <c:v>10</c:v>
                </c:pt>
                <c:pt idx="1357">
                  <c:v>0</c:v>
                </c:pt>
                <c:pt idx="1358">
                  <c:v>1</c:v>
                </c:pt>
                <c:pt idx="1359">
                  <c:v>0</c:v>
                </c:pt>
                <c:pt idx="1360">
                  <c:v>2</c:v>
                </c:pt>
                <c:pt idx="1361">
                  <c:v>1</c:v>
                </c:pt>
                <c:pt idx="1362">
                  <c:v>1</c:v>
                </c:pt>
                <c:pt idx="1363">
                  <c:v>0</c:v>
                </c:pt>
                <c:pt idx="1364">
                  <c:v>0</c:v>
                </c:pt>
                <c:pt idx="1365">
                  <c:v>4</c:v>
                </c:pt>
                <c:pt idx="1366">
                  <c:v>1</c:v>
                </c:pt>
                <c:pt idx="1367">
                  <c:v>2</c:v>
                </c:pt>
                <c:pt idx="1368">
                  <c:v>3</c:v>
                </c:pt>
                <c:pt idx="1369">
                  <c:v>0</c:v>
                </c:pt>
                <c:pt idx="1370">
                  <c:v>0</c:v>
                </c:pt>
                <c:pt idx="1371">
                  <c:v>16</c:v>
                </c:pt>
                <c:pt idx="1372">
                  <c:v>0</c:v>
                </c:pt>
                <c:pt idx="1373">
                  <c:v>0</c:v>
                </c:pt>
                <c:pt idx="1374">
                  <c:v>2</c:v>
                </c:pt>
                <c:pt idx="1375">
                  <c:v>0</c:v>
                </c:pt>
                <c:pt idx="1376">
                  <c:v>2</c:v>
                </c:pt>
                <c:pt idx="1377">
                  <c:v>0</c:v>
                </c:pt>
                <c:pt idx="1378">
                  <c:v>1</c:v>
                </c:pt>
                <c:pt idx="1379">
                  <c:v>0</c:v>
                </c:pt>
                <c:pt idx="1380">
                  <c:v>0</c:v>
                </c:pt>
                <c:pt idx="1381">
                  <c:v>0</c:v>
                </c:pt>
                <c:pt idx="1382">
                  <c:v>0</c:v>
                </c:pt>
                <c:pt idx="1383">
                  <c:v>3</c:v>
                </c:pt>
                <c:pt idx="1384">
                  <c:v>2</c:v>
                </c:pt>
                <c:pt idx="1385">
                  <c:v>0</c:v>
                </c:pt>
                <c:pt idx="1386">
                  <c:v>2</c:v>
                </c:pt>
                <c:pt idx="1387">
                  <c:v>4</c:v>
                </c:pt>
                <c:pt idx="1388">
                  <c:v>3</c:v>
                </c:pt>
                <c:pt idx="1389">
                  <c:v>7</c:v>
                </c:pt>
                <c:pt idx="1390">
                  <c:v>2</c:v>
                </c:pt>
                <c:pt idx="1391">
                  <c:v>0</c:v>
                </c:pt>
                <c:pt idx="1392">
                  <c:v>0</c:v>
                </c:pt>
                <c:pt idx="1393">
                  <c:v>4</c:v>
                </c:pt>
                <c:pt idx="1394">
                  <c:v>2</c:v>
                </c:pt>
                <c:pt idx="1395">
                  <c:v>0</c:v>
                </c:pt>
                <c:pt idx="1396">
                  <c:v>0</c:v>
                </c:pt>
                <c:pt idx="1397">
                  <c:v>0</c:v>
                </c:pt>
                <c:pt idx="1398">
                  <c:v>3</c:v>
                </c:pt>
                <c:pt idx="1399">
                  <c:v>1</c:v>
                </c:pt>
                <c:pt idx="1400">
                  <c:v>0</c:v>
                </c:pt>
                <c:pt idx="1401">
                  <c:v>4</c:v>
                </c:pt>
                <c:pt idx="1402">
                  <c:v>2</c:v>
                </c:pt>
                <c:pt idx="1403">
                  <c:v>0</c:v>
                </c:pt>
                <c:pt idx="1404">
                  <c:v>0</c:v>
                </c:pt>
                <c:pt idx="1405">
                  <c:v>2</c:v>
                </c:pt>
                <c:pt idx="1406">
                  <c:v>0</c:v>
                </c:pt>
                <c:pt idx="1407">
                  <c:v>0</c:v>
                </c:pt>
                <c:pt idx="1408">
                  <c:v>1</c:v>
                </c:pt>
                <c:pt idx="1409">
                  <c:v>0</c:v>
                </c:pt>
                <c:pt idx="1410">
                  <c:v>1</c:v>
                </c:pt>
                <c:pt idx="1411">
                  <c:v>0</c:v>
                </c:pt>
                <c:pt idx="1412">
                  <c:v>0</c:v>
                </c:pt>
                <c:pt idx="1413">
                  <c:v>0</c:v>
                </c:pt>
                <c:pt idx="1414">
                  <c:v>0</c:v>
                </c:pt>
                <c:pt idx="1415">
                  <c:v>0</c:v>
                </c:pt>
                <c:pt idx="1416">
                  <c:v>13</c:v>
                </c:pt>
                <c:pt idx="1417">
                  <c:v>0</c:v>
                </c:pt>
                <c:pt idx="1418">
                  <c:v>1</c:v>
                </c:pt>
                <c:pt idx="1419">
                  <c:v>0</c:v>
                </c:pt>
                <c:pt idx="1420">
                  <c:v>0</c:v>
                </c:pt>
                <c:pt idx="1421">
                  <c:v>0</c:v>
                </c:pt>
                <c:pt idx="1422">
                  <c:v>0</c:v>
                </c:pt>
                <c:pt idx="1423">
                  <c:v>0</c:v>
                </c:pt>
                <c:pt idx="1424">
                  <c:v>0</c:v>
                </c:pt>
                <c:pt idx="1425">
                  <c:v>0</c:v>
                </c:pt>
                <c:pt idx="1426">
                  <c:v>0</c:v>
                </c:pt>
                <c:pt idx="1427">
                  <c:v>0</c:v>
                </c:pt>
                <c:pt idx="1428">
                  <c:v>0</c:v>
                </c:pt>
                <c:pt idx="1429">
                  <c:v>0</c:v>
                </c:pt>
                <c:pt idx="1430">
                  <c:v>1</c:v>
                </c:pt>
                <c:pt idx="1431">
                  <c:v>0</c:v>
                </c:pt>
                <c:pt idx="1432">
                  <c:v>0</c:v>
                </c:pt>
                <c:pt idx="1433">
                  <c:v>1</c:v>
                </c:pt>
                <c:pt idx="1434">
                  <c:v>1</c:v>
                </c:pt>
                <c:pt idx="1435">
                  <c:v>0</c:v>
                </c:pt>
                <c:pt idx="1436">
                  <c:v>0</c:v>
                </c:pt>
                <c:pt idx="1437">
                  <c:v>4</c:v>
                </c:pt>
                <c:pt idx="1438">
                  <c:v>0</c:v>
                </c:pt>
                <c:pt idx="1439">
                  <c:v>2</c:v>
                </c:pt>
                <c:pt idx="1440">
                  <c:v>0</c:v>
                </c:pt>
                <c:pt idx="1441">
                  <c:v>0</c:v>
                </c:pt>
                <c:pt idx="1442">
                  <c:v>0</c:v>
                </c:pt>
                <c:pt idx="1443">
                  <c:v>6</c:v>
                </c:pt>
                <c:pt idx="1444">
                  <c:v>1</c:v>
                </c:pt>
                <c:pt idx="1445">
                  <c:v>3</c:v>
                </c:pt>
                <c:pt idx="1446">
                  <c:v>0</c:v>
                </c:pt>
                <c:pt idx="1447">
                  <c:v>2</c:v>
                </c:pt>
                <c:pt idx="1448">
                  <c:v>0</c:v>
                </c:pt>
                <c:pt idx="1449">
                  <c:v>4</c:v>
                </c:pt>
                <c:pt idx="1450">
                  <c:v>0</c:v>
                </c:pt>
                <c:pt idx="1451">
                  <c:v>1</c:v>
                </c:pt>
                <c:pt idx="1452">
                  <c:v>0</c:v>
                </c:pt>
                <c:pt idx="1453">
                  <c:v>0</c:v>
                </c:pt>
                <c:pt idx="1454">
                  <c:v>0</c:v>
                </c:pt>
                <c:pt idx="1455">
                  <c:v>0</c:v>
                </c:pt>
                <c:pt idx="1456">
                  <c:v>0</c:v>
                </c:pt>
                <c:pt idx="1457">
                  <c:v>0</c:v>
                </c:pt>
                <c:pt idx="1458">
                  <c:v>0</c:v>
                </c:pt>
                <c:pt idx="1459">
                  <c:v>0</c:v>
                </c:pt>
                <c:pt idx="1460">
                  <c:v>2</c:v>
                </c:pt>
                <c:pt idx="1461">
                  <c:v>1</c:v>
                </c:pt>
                <c:pt idx="1462">
                  <c:v>1</c:v>
                </c:pt>
                <c:pt idx="1463">
                  <c:v>0</c:v>
                </c:pt>
                <c:pt idx="1464">
                  <c:v>1</c:v>
                </c:pt>
                <c:pt idx="1465">
                  <c:v>0</c:v>
                </c:pt>
                <c:pt idx="1466">
                  <c:v>1</c:v>
                </c:pt>
                <c:pt idx="1467">
                  <c:v>0</c:v>
                </c:pt>
                <c:pt idx="1468">
                  <c:v>0</c:v>
                </c:pt>
                <c:pt idx="1469">
                  <c:v>0</c:v>
                </c:pt>
                <c:pt idx="1470">
                  <c:v>1</c:v>
                </c:pt>
                <c:pt idx="1471">
                  <c:v>0</c:v>
                </c:pt>
                <c:pt idx="1472">
                  <c:v>0</c:v>
                </c:pt>
                <c:pt idx="1473">
                  <c:v>0</c:v>
                </c:pt>
                <c:pt idx="1474">
                  <c:v>0</c:v>
                </c:pt>
                <c:pt idx="1475">
                  <c:v>0</c:v>
                </c:pt>
                <c:pt idx="1476">
                  <c:v>0</c:v>
                </c:pt>
                <c:pt idx="1477">
                  <c:v>23</c:v>
                </c:pt>
                <c:pt idx="1478">
                  <c:v>0</c:v>
                </c:pt>
                <c:pt idx="1479">
                  <c:v>2</c:v>
                </c:pt>
                <c:pt idx="1480">
                  <c:v>0</c:v>
                </c:pt>
                <c:pt idx="1481">
                  <c:v>0</c:v>
                </c:pt>
                <c:pt idx="1482">
                  <c:v>0</c:v>
                </c:pt>
                <c:pt idx="1483">
                  <c:v>0</c:v>
                </c:pt>
                <c:pt idx="1484">
                  <c:v>0</c:v>
                </c:pt>
                <c:pt idx="1485">
                  <c:v>0</c:v>
                </c:pt>
                <c:pt idx="1486">
                  <c:v>0</c:v>
                </c:pt>
                <c:pt idx="1487">
                  <c:v>1</c:v>
                </c:pt>
                <c:pt idx="1488">
                  <c:v>0</c:v>
                </c:pt>
                <c:pt idx="1489">
                  <c:v>0</c:v>
                </c:pt>
                <c:pt idx="1490">
                  <c:v>3</c:v>
                </c:pt>
                <c:pt idx="1491">
                  <c:v>0</c:v>
                </c:pt>
                <c:pt idx="1492">
                  <c:v>0</c:v>
                </c:pt>
                <c:pt idx="1493">
                  <c:v>0</c:v>
                </c:pt>
                <c:pt idx="1494">
                  <c:v>0</c:v>
                </c:pt>
                <c:pt idx="1495">
                  <c:v>0</c:v>
                </c:pt>
                <c:pt idx="1496">
                  <c:v>0</c:v>
                </c:pt>
                <c:pt idx="1497">
                  <c:v>2</c:v>
                </c:pt>
                <c:pt idx="1498">
                  <c:v>6</c:v>
                </c:pt>
                <c:pt idx="1499">
                  <c:v>1</c:v>
                </c:pt>
                <c:pt idx="1500">
                  <c:v>1</c:v>
                </c:pt>
                <c:pt idx="1501">
                  <c:v>0</c:v>
                </c:pt>
                <c:pt idx="1502">
                  <c:v>5</c:v>
                </c:pt>
                <c:pt idx="1503">
                  <c:v>0</c:v>
                </c:pt>
                <c:pt idx="1504">
                  <c:v>0</c:v>
                </c:pt>
                <c:pt idx="1505">
                  <c:v>2</c:v>
                </c:pt>
                <c:pt idx="1506">
                  <c:v>0</c:v>
                </c:pt>
                <c:pt idx="1507">
                  <c:v>0</c:v>
                </c:pt>
                <c:pt idx="1508">
                  <c:v>2</c:v>
                </c:pt>
                <c:pt idx="1509">
                  <c:v>0</c:v>
                </c:pt>
                <c:pt idx="1510">
                  <c:v>1</c:v>
                </c:pt>
                <c:pt idx="1511">
                  <c:v>0</c:v>
                </c:pt>
                <c:pt idx="1512">
                  <c:v>1</c:v>
                </c:pt>
                <c:pt idx="1513">
                  <c:v>0</c:v>
                </c:pt>
                <c:pt idx="1514">
                  <c:v>0</c:v>
                </c:pt>
                <c:pt idx="1515">
                  <c:v>4</c:v>
                </c:pt>
                <c:pt idx="1516">
                  <c:v>0</c:v>
                </c:pt>
                <c:pt idx="1517">
                  <c:v>0</c:v>
                </c:pt>
                <c:pt idx="1518">
                  <c:v>0</c:v>
                </c:pt>
                <c:pt idx="1519">
                  <c:v>0</c:v>
                </c:pt>
                <c:pt idx="1520">
                  <c:v>0</c:v>
                </c:pt>
                <c:pt idx="1521">
                  <c:v>0</c:v>
                </c:pt>
                <c:pt idx="1522">
                  <c:v>0</c:v>
                </c:pt>
                <c:pt idx="1523">
                  <c:v>1</c:v>
                </c:pt>
                <c:pt idx="1524">
                  <c:v>1</c:v>
                </c:pt>
                <c:pt idx="1525">
                  <c:v>0</c:v>
                </c:pt>
                <c:pt idx="1526">
                  <c:v>0</c:v>
                </c:pt>
                <c:pt idx="1527">
                  <c:v>0</c:v>
                </c:pt>
                <c:pt idx="1528">
                  <c:v>0</c:v>
                </c:pt>
                <c:pt idx="1529">
                  <c:v>0</c:v>
                </c:pt>
                <c:pt idx="1530">
                  <c:v>0</c:v>
                </c:pt>
                <c:pt idx="1531">
                  <c:v>0</c:v>
                </c:pt>
                <c:pt idx="1532">
                  <c:v>0</c:v>
                </c:pt>
                <c:pt idx="1533">
                  <c:v>0</c:v>
                </c:pt>
                <c:pt idx="1534">
                  <c:v>0</c:v>
                </c:pt>
                <c:pt idx="1535">
                  <c:v>2</c:v>
                </c:pt>
                <c:pt idx="1536">
                  <c:v>0</c:v>
                </c:pt>
                <c:pt idx="1537">
                  <c:v>1</c:v>
                </c:pt>
                <c:pt idx="1538">
                  <c:v>0</c:v>
                </c:pt>
                <c:pt idx="1539">
                  <c:v>0</c:v>
                </c:pt>
                <c:pt idx="1540">
                  <c:v>0</c:v>
                </c:pt>
                <c:pt idx="1541">
                  <c:v>0</c:v>
                </c:pt>
                <c:pt idx="1542">
                  <c:v>1</c:v>
                </c:pt>
                <c:pt idx="1543">
                  <c:v>2</c:v>
                </c:pt>
                <c:pt idx="1544">
                  <c:v>0</c:v>
                </c:pt>
                <c:pt idx="1545">
                  <c:v>6</c:v>
                </c:pt>
                <c:pt idx="1546">
                  <c:v>0</c:v>
                </c:pt>
                <c:pt idx="1547">
                  <c:v>0</c:v>
                </c:pt>
                <c:pt idx="1548">
                  <c:v>0</c:v>
                </c:pt>
                <c:pt idx="1549">
                  <c:v>0</c:v>
                </c:pt>
                <c:pt idx="1550">
                  <c:v>18</c:v>
                </c:pt>
                <c:pt idx="1551">
                  <c:v>0</c:v>
                </c:pt>
                <c:pt idx="1552">
                  <c:v>4</c:v>
                </c:pt>
                <c:pt idx="1553">
                  <c:v>0</c:v>
                </c:pt>
                <c:pt idx="1554">
                  <c:v>0</c:v>
                </c:pt>
                <c:pt idx="1555">
                  <c:v>1</c:v>
                </c:pt>
                <c:pt idx="1556">
                  <c:v>0</c:v>
                </c:pt>
                <c:pt idx="1557">
                  <c:v>0</c:v>
                </c:pt>
                <c:pt idx="1558">
                  <c:v>0</c:v>
                </c:pt>
                <c:pt idx="1559">
                  <c:v>0</c:v>
                </c:pt>
                <c:pt idx="1560">
                  <c:v>0</c:v>
                </c:pt>
                <c:pt idx="1561">
                  <c:v>3</c:v>
                </c:pt>
                <c:pt idx="1562">
                  <c:v>0</c:v>
                </c:pt>
                <c:pt idx="1563">
                  <c:v>0</c:v>
                </c:pt>
                <c:pt idx="1564">
                  <c:v>3</c:v>
                </c:pt>
                <c:pt idx="1565">
                  <c:v>0</c:v>
                </c:pt>
                <c:pt idx="1566">
                  <c:v>0</c:v>
                </c:pt>
                <c:pt idx="1567">
                  <c:v>0</c:v>
                </c:pt>
                <c:pt idx="1568">
                  <c:v>0</c:v>
                </c:pt>
                <c:pt idx="1569">
                  <c:v>0</c:v>
                </c:pt>
                <c:pt idx="1570">
                  <c:v>0</c:v>
                </c:pt>
                <c:pt idx="1571">
                  <c:v>0</c:v>
                </c:pt>
                <c:pt idx="1572">
                  <c:v>0</c:v>
                </c:pt>
                <c:pt idx="1573">
                  <c:v>0</c:v>
                </c:pt>
                <c:pt idx="1574">
                  <c:v>0</c:v>
                </c:pt>
                <c:pt idx="1575">
                  <c:v>1</c:v>
                </c:pt>
                <c:pt idx="1576">
                  <c:v>0</c:v>
                </c:pt>
                <c:pt idx="1577">
                  <c:v>0</c:v>
                </c:pt>
                <c:pt idx="1578">
                  <c:v>0</c:v>
                </c:pt>
                <c:pt idx="1579">
                  <c:v>0</c:v>
                </c:pt>
                <c:pt idx="1580">
                  <c:v>2</c:v>
                </c:pt>
                <c:pt idx="1581">
                  <c:v>8</c:v>
                </c:pt>
                <c:pt idx="1582">
                  <c:v>4</c:v>
                </c:pt>
                <c:pt idx="1583">
                  <c:v>0</c:v>
                </c:pt>
                <c:pt idx="1584">
                  <c:v>0</c:v>
                </c:pt>
                <c:pt idx="1585">
                  <c:v>2</c:v>
                </c:pt>
                <c:pt idx="1586">
                  <c:v>0</c:v>
                </c:pt>
                <c:pt idx="1587">
                  <c:v>0</c:v>
                </c:pt>
                <c:pt idx="1588">
                  <c:v>0</c:v>
                </c:pt>
                <c:pt idx="1589">
                  <c:v>0</c:v>
                </c:pt>
                <c:pt idx="1590">
                  <c:v>10</c:v>
                </c:pt>
                <c:pt idx="1591">
                  <c:v>2</c:v>
                </c:pt>
                <c:pt idx="1592">
                  <c:v>0</c:v>
                </c:pt>
                <c:pt idx="1593">
                  <c:v>11</c:v>
                </c:pt>
                <c:pt idx="1594">
                  <c:v>4</c:v>
                </c:pt>
                <c:pt idx="1595">
                  <c:v>1</c:v>
                </c:pt>
                <c:pt idx="1596">
                  <c:v>0</c:v>
                </c:pt>
                <c:pt idx="1597">
                  <c:v>0</c:v>
                </c:pt>
                <c:pt idx="1598">
                  <c:v>3</c:v>
                </c:pt>
                <c:pt idx="1599">
                  <c:v>0</c:v>
                </c:pt>
                <c:pt idx="1600">
                  <c:v>0</c:v>
                </c:pt>
                <c:pt idx="1601">
                  <c:v>0</c:v>
                </c:pt>
                <c:pt idx="1602">
                  <c:v>0</c:v>
                </c:pt>
                <c:pt idx="1603">
                  <c:v>1</c:v>
                </c:pt>
                <c:pt idx="1604">
                  <c:v>0</c:v>
                </c:pt>
                <c:pt idx="1605">
                  <c:v>0</c:v>
                </c:pt>
                <c:pt idx="1606">
                  <c:v>10</c:v>
                </c:pt>
                <c:pt idx="1607">
                  <c:v>0</c:v>
                </c:pt>
                <c:pt idx="1608">
                  <c:v>5</c:v>
                </c:pt>
                <c:pt idx="1609">
                  <c:v>0</c:v>
                </c:pt>
                <c:pt idx="1610">
                  <c:v>0</c:v>
                </c:pt>
                <c:pt idx="1611">
                  <c:v>1</c:v>
                </c:pt>
                <c:pt idx="1612">
                  <c:v>20</c:v>
                </c:pt>
                <c:pt idx="1613">
                  <c:v>0</c:v>
                </c:pt>
                <c:pt idx="1614">
                  <c:v>0</c:v>
                </c:pt>
                <c:pt idx="1615">
                  <c:v>0</c:v>
                </c:pt>
                <c:pt idx="1616">
                  <c:v>0</c:v>
                </c:pt>
                <c:pt idx="1617">
                  <c:v>0</c:v>
                </c:pt>
                <c:pt idx="1618">
                  <c:v>2</c:v>
                </c:pt>
                <c:pt idx="1619">
                  <c:v>0</c:v>
                </c:pt>
                <c:pt idx="1620">
                  <c:v>0</c:v>
                </c:pt>
                <c:pt idx="1621">
                  <c:v>0</c:v>
                </c:pt>
                <c:pt idx="1622">
                  <c:v>0</c:v>
                </c:pt>
                <c:pt idx="1623">
                  <c:v>1</c:v>
                </c:pt>
                <c:pt idx="1624">
                  <c:v>0</c:v>
                </c:pt>
                <c:pt idx="1625">
                  <c:v>0</c:v>
                </c:pt>
                <c:pt idx="1626">
                  <c:v>0</c:v>
                </c:pt>
                <c:pt idx="1627">
                  <c:v>0</c:v>
                </c:pt>
                <c:pt idx="1628">
                  <c:v>1</c:v>
                </c:pt>
                <c:pt idx="1629">
                  <c:v>0</c:v>
                </c:pt>
                <c:pt idx="1630">
                  <c:v>0</c:v>
                </c:pt>
                <c:pt idx="1631">
                  <c:v>0</c:v>
                </c:pt>
                <c:pt idx="1632">
                  <c:v>0</c:v>
                </c:pt>
                <c:pt idx="1633">
                  <c:v>5</c:v>
                </c:pt>
                <c:pt idx="1634">
                  <c:v>5</c:v>
                </c:pt>
                <c:pt idx="1635">
                  <c:v>0</c:v>
                </c:pt>
                <c:pt idx="1636">
                  <c:v>0</c:v>
                </c:pt>
                <c:pt idx="1637">
                  <c:v>1</c:v>
                </c:pt>
                <c:pt idx="1638">
                  <c:v>0</c:v>
                </c:pt>
                <c:pt idx="1639">
                  <c:v>1</c:v>
                </c:pt>
                <c:pt idx="1640">
                  <c:v>0</c:v>
                </c:pt>
                <c:pt idx="1641">
                  <c:v>0</c:v>
                </c:pt>
                <c:pt idx="1642">
                  <c:v>1</c:v>
                </c:pt>
                <c:pt idx="1643">
                  <c:v>1</c:v>
                </c:pt>
                <c:pt idx="1644">
                  <c:v>0</c:v>
                </c:pt>
                <c:pt idx="1645">
                  <c:v>0</c:v>
                </c:pt>
                <c:pt idx="1646">
                  <c:v>0</c:v>
                </c:pt>
                <c:pt idx="1647">
                  <c:v>0</c:v>
                </c:pt>
                <c:pt idx="1648">
                  <c:v>0</c:v>
                </c:pt>
                <c:pt idx="1649">
                  <c:v>0</c:v>
                </c:pt>
                <c:pt idx="1650">
                  <c:v>2</c:v>
                </c:pt>
                <c:pt idx="1651">
                  <c:v>2</c:v>
                </c:pt>
                <c:pt idx="1652">
                  <c:v>2</c:v>
                </c:pt>
                <c:pt idx="1653">
                  <c:v>0</c:v>
                </c:pt>
                <c:pt idx="1654">
                  <c:v>0</c:v>
                </c:pt>
                <c:pt idx="1655">
                  <c:v>0</c:v>
                </c:pt>
                <c:pt idx="1656">
                  <c:v>3</c:v>
                </c:pt>
                <c:pt idx="1657">
                  <c:v>0</c:v>
                </c:pt>
                <c:pt idx="1658">
                  <c:v>0</c:v>
                </c:pt>
                <c:pt idx="1659">
                  <c:v>0</c:v>
                </c:pt>
                <c:pt idx="1660">
                  <c:v>0</c:v>
                </c:pt>
                <c:pt idx="1661">
                  <c:v>3</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1</c:v>
                </c:pt>
                <c:pt idx="1679">
                  <c:v>0</c:v>
                </c:pt>
                <c:pt idx="1680">
                  <c:v>1</c:v>
                </c:pt>
                <c:pt idx="1681">
                  <c:v>2</c:v>
                </c:pt>
                <c:pt idx="1682">
                  <c:v>0</c:v>
                </c:pt>
                <c:pt idx="1683">
                  <c:v>0</c:v>
                </c:pt>
                <c:pt idx="1684">
                  <c:v>0</c:v>
                </c:pt>
                <c:pt idx="1685">
                  <c:v>0</c:v>
                </c:pt>
                <c:pt idx="1686">
                  <c:v>0</c:v>
                </c:pt>
                <c:pt idx="1687">
                  <c:v>0</c:v>
                </c:pt>
                <c:pt idx="1688">
                  <c:v>0</c:v>
                </c:pt>
                <c:pt idx="1689">
                  <c:v>4</c:v>
                </c:pt>
                <c:pt idx="1690">
                  <c:v>4</c:v>
                </c:pt>
                <c:pt idx="1691">
                  <c:v>1</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7</c:v>
                </c:pt>
                <c:pt idx="1710">
                  <c:v>0</c:v>
                </c:pt>
                <c:pt idx="1711">
                  <c:v>0</c:v>
                </c:pt>
                <c:pt idx="1712">
                  <c:v>0</c:v>
                </c:pt>
                <c:pt idx="1713">
                  <c:v>0</c:v>
                </c:pt>
                <c:pt idx="1714">
                  <c:v>0</c:v>
                </c:pt>
                <c:pt idx="1715">
                  <c:v>0</c:v>
                </c:pt>
                <c:pt idx="1716">
                  <c:v>1</c:v>
                </c:pt>
                <c:pt idx="1717">
                  <c:v>0</c:v>
                </c:pt>
                <c:pt idx="1718">
                  <c:v>7</c:v>
                </c:pt>
                <c:pt idx="1719">
                  <c:v>0</c:v>
                </c:pt>
                <c:pt idx="1720">
                  <c:v>0</c:v>
                </c:pt>
                <c:pt idx="1721">
                  <c:v>0</c:v>
                </c:pt>
                <c:pt idx="1722">
                  <c:v>0</c:v>
                </c:pt>
                <c:pt idx="1723">
                  <c:v>0</c:v>
                </c:pt>
                <c:pt idx="1724">
                  <c:v>3</c:v>
                </c:pt>
                <c:pt idx="1725">
                  <c:v>0</c:v>
                </c:pt>
                <c:pt idx="1726">
                  <c:v>0</c:v>
                </c:pt>
                <c:pt idx="1727">
                  <c:v>0</c:v>
                </c:pt>
                <c:pt idx="1728">
                  <c:v>2</c:v>
                </c:pt>
                <c:pt idx="1729">
                  <c:v>0</c:v>
                </c:pt>
                <c:pt idx="1730">
                  <c:v>0</c:v>
                </c:pt>
                <c:pt idx="1731">
                  <c:v>1</c:v>
                </c:pt>
                <c:pt idx="1732">
                  <c:v>0</c:v>
                </c:pt>
                <c:pt idx="1733">
                  <c:v>0</c:v>
                </c:pt>
                <c:pt idx="1734">
                  <c:v>0</c:v>
                </c:pt>
                <c:pt idx="1735">
                  <c:v>0</c:v>
                </c:pt>
                <c:pt idx="1736">
                  <c:v>0</c:v>
                </c:pt>
                <c:pt idx="1737">
                  <c:v>0</c:v>
                </c:pt>
                <c:pt idx="1738">
                  <c:v>0</c:v>
                </c:pt>
                <c:pt idx="1739">
                  <c:v>0</c:v>
                </c:pt>
                <c:pt idx="1740">
                  <c:v>1</c:v>
                </c:pt>
                <c:pt idx="1741">
                  <c:v>1</c:v>
                </c:pt>
                <c:pt idx="1742">
                  <c:v>0</c:v>
                </c:pt>
                <c:pt idx="1743">
                  <c:v>0</c:v>
                </c:pt>
                <c:pt idx="1744">
                  <c:v>0</c:v>
                </c:pt>
                <c:pt idx="1745">
                  <c:v>3</c:v>
                </c:pt>
                <c:pt idx="1746">
                  <c:v>0</c:v>
                </c:pt>
                <c:pt idx="1747">
                  <c:v>1</c:v>
                </c:pt>
                <c:pt idx="1748">
                  <c:v>3</c:v>
                </c:pt>
                <c:pt idx="1749">
                  <c:v>1</c:v>
                </c:pt>
                <c:pt idx="1750">
                  <c:v>0</c:v>
                </c:pt>
                <c:pt idx="1751">
                  <c:v>0</c:v>
                </c:pt>
                <c:pt idx="1752">
                  <c:v>1</c:v>
                </c:pt>
                <c:pt idx="1753">
                  <c:v>0</c:v>
                </c:pt>
                <c:pt idx="1754">
                  <c:v>1</c:v>
                </c:pt>
                <c:pt idx="1755">
                  <c:v>1</c:v>
                </c:pt>
                <c:pt idx="1756">
                  <c:v>0</c:v>
                </c:pt>
                <c:pt idx="1757">
                  <c:v>0</c:v>
                </c:pt>
                <c:pt idx="1758">
                  <c:v>0</c:v>
                </c:pt>
                <c:pt idx="1759">
                  <c:v>0</c:v>
                </c:pt>
                <c:pt idx="1760">
                  <c:v>1</c:v>
                </c:pt>
                <c:pt idx="1761">
                  <c:v>0</c:v>
                </c:pt>
                <c:pt idx="1762">
                  <c:v>0</c:v>
                </c:pt>
                <c:pt idx="1763">
                  <c:v>3</c:v>
                </c:pt>
                <c:pt idx="1764">
                  <c:v>0</c:v>
                </c:pt>
                <c:pt idx="1765">
                  <c:v>0</c:v>
                </c:pt>
                <c:pt idx="1766">
                  <c:v>5</c:v>
                </c:pt>
                <c:pt idx="1767">
                  <c:v>0</c:v>
                </c:pt>
                <c:pt idx="1768">
                  <c:v>0</c:v>
                </c:pt>
                <c:pt idx="1769">
                  <c:v>0</c:v>
                </c:pt>
                <c:pt idx="1770">
                  <c:v>0</c:v>
                </c:pt>
                <c:pt idx="1771">
                  <c:v>0</c:v>
                </c:pt>
                <c:pt idx="1772">
                  <c:v>0</c:v>
                </c:pt>
                <c:pt idx="1773">
                  <c:v>0</c:v>
                </c:pt>
                <c:pt idx="1774">
                  <c:v>4</c:v>
                </c:pt>
                <c:pt idx="1775">
                  <c:v>0</c:v>
                </c:pt>
                <c:pt idx="1776">
                  <c:v>0</c:v>
                </c:pt>
                <c:pt idx="1777">
                  <c:v>2</c:v>
                </c:pt>
                <c:pt idx="1778">
                  <c:v>2</c:v>
                </c:pt>
                <c:pt idx="1779">
                  <c:v>4</c:v>
                </c:pt>
                <c:pt idx="1780">
                  <c:v>5</c:v>
                </c:pt>
                <c:pt idx="1781">
                  <c:v>1</c:v>
                </c:pt>
                <c:pt idx="1782">
                  <c:v>0</c:v>
                </c:pt>
                <c:pt idx="1783">
                  <c:v>0</c:v>
                </c:pt>
                <c:pt idx="1784">
                  <c:v>0</c:v>
                </c:pt>
                <c:pt idx="1785">
                  <c:v>1</c:v>
                </c:pt>
                <c:pt idx="1786">
                  <c:v>0</c:v>
                </c:pt>
                <c:pt idx="1787">
                  <c:v>0</c:v>
                </c:pt>
                <c:pt idx="1788">
                  <c:v>1</c:v>
                </c:pt>
                <c:pt idx="1789">
                  <c:v>2</c:v>
                </c:pt>
                <c:pt idx="1790">
                  <c:v>0</c:v>
                </c:pt>
                <c:pt idx="1791">
                  <c:v>4</c:v>
                </c:pt>
                <c:pt idx="1792">
                  <c:v>2</c:v>
                </c:pt>
                <c:pt idx="1793">
                  <c:v>0</c:v>
                </c:pt>
                <c:pt idx="1794">
                  <c:v>1</c:v>
                </c:pt>
                <c:pt idx="1795">
                  <c:v>1</c:v>
                </c:pt>
                <c:pt idx="1796">
                  <c:v>2</c:v>
                </c:pt>
                <c:pt idx="1797">
                  <c:v>2</c:v>
                </c:pt>
                <c:pt idx="1798">
                  <c:v>2</c:v>
                </c:pt>
                <c:pt idx="1799">
                  <c:v>0</c:v>
                </c:pt>
                <c:pt idx="1800">
                  <c:v>0</c:v>
                </c:pt>
                <c:pt idx="1801">
                  <c:v>2</c:v>
                </c:pt>
                <c:pt idx="1802">
                  <c:v>0</c:v>
                </c:pt>
                <c:pt idx="1803">
                  <c:v>0</c:v>
                </c:pt>
                <c:pt idx="1804">
                  <c:v>0</c:v>
                </c:pt>
                <c:pt idx="1805">
                  <c:v>1</c:v>
                </c:pt>
                <c:pt idx="1806">
                  <c:v>0</c:v>
                </c:pt>
                <c:pt idx="1807">
                  <c:v>0</c:v>
                </c:pt>
                <c:pt idx="1808">
                  <c:v>1</c:v>
                </c:pt>
                <c:pt idx="1809">
                  <c:v>25</c:v>
                </c:pt>
                <c:pt idx="1810">
                  <c:v>0</c:v>
                </c:pt>
                <c:pt idx="1811">
                  <c:v>0</c:v>
                </c:pt>
                <c:pt idx="1812">
                  <c:v>0</c:v>
                </c:pt>
                <c:pt idx="1813">
                  <c:v>1</c:v>
                </c:pt>
                <c:pt idx="1814">
                  <c:v>0</c:v>
                </c:pt>
                <c:pt idx="1815">
                  <c:v>0</c:v>
                </c:pt>
                <c:pt idx="1816">
                  <c:v>0</c:v>
                </c:pt>
                <c:pt idx="1817">
                  <c:v>0</c:v>
                </c:pt>
                <c:pt idx="1818">
                  <c:v>0</c:v>
                </c:pt>
                <c:pt idx="1819">
                  <c:v>0</c:v>
                </c:pt>
                <c:pt idx="1820">
                  <c:v>2</c:v>
                </c:pt>
                <c:pt idx="1821">
                  <c:v>0</c:v>
                </c:pt>
                <c:pt idx="1822">
                  <c:v>1</c:v>
                </c:pt>
                <c:pt idx="1823">
                  <c:v>1</c:v>
                </c:pt>
                <c:pt idx="1824">
                  <c:v>0</c:v>
                </c:pt>
                <c:pt idx="1825">
                  <c:v>0</c:v>
                </c:pt>
                <c:pt idx="1826">
                  <c:v>0</c:v>
                </c:pt>
                <c:pt idx="1827">
                  <c:v>2</c:v>
                </c:pt>
                <c:pt idx="1828">
                  <c:v>6</c:v>
                </c:pt>
                <c:pt idx="1829">
                  <c:v>3</c:v>
                </c:pt>
                <c:pt idx="1830">
                  <c:v>0</c:v>
                </c:pt>
                <c:pt idx="1831">
                  <c:v>0</c:v>
                </c:pt>
                <c:pt idx="1832">
                  <c:v>2</c:v>
                </c:pt>
                <c:pt idx="1833">
                  <c:v>0</c:v>
                </c:pt>
                <c:pt idx="1834">
                  <c:v>0</c:v>
                </c:pt>
                <c:pt idx="1835">
                  <c:v>0</c:v>
                </c:pt>
                <c:pt idx="1836">
                  <c:v>0</c:v>
                </c:pt>
                <c:pt idx="1837">
                  <c:v>0</c:v>
                </c:pt>
                <c:pt idx="1838">
                  <c:v>0</c:v>
                </c:pt>
                <c:pt idx="1839">
                  <c:v>2</c:v>
                </c:pt>
                <c:pt idx="1840">
                  <c:v>0</c:v>
                </c:pt>
                <c:pt idx="1841">
                  <c:v>0</c:v>
                </c:pt>
                <c:pt idx="1842">
                  <c:v>3</c:v>
                </c:pt>
                <c:pt idx="1843">
                  <c:v>0</c:v>
                </c:pt>
                <c:pt idx="1844">
                  <c:v>0</c:v>
                </c:pt>
                <c:pt idx="1845">
                  <c:v>1</c:v>
                </c:pt>
                <c:pt idx="1846">
                  <c:v>0</c:v>
                </c:pt>
                <c:pt idx="1847">
                  <c:v>3</c:v>
                </c:pt>
                <c:pt idx="1848">
                  <c:v>2</c:v>
                </c:pt>
                <c:pt idx="1849">
                  <c:v>0</c:v>
                </c:pt>
                <c:pt idx="1850">
                  <c:v>0</c:v>
                </c:pt>
                <c:pt idx="1851">
                  <c:v>0</c:v>
                </c:pt>
                <c:pt idx="1852">
                  <c:v>0</c:v>
                </c:pt>
                <c:pt idx="1853">
                  <c:v>0</c:v>
                </c:pt>
                <c:pt idx="1854">
                  <c:v>2</c:v>
                </c:pt>
                <c:pt idx="1855">
                  <c:v>0</c:v>
                </c:pt>
                <c:pt idx="1856">
                  <c:v>0</c:v>
                </c:pt>
                <c:pt idx="1857">
                  <c:v>3</c:v>
                </c:pt>
                <c:pt idx="1858">
                  <c:v>0</c:v>
                </c:pt>
                <c:pt idx="1859">
                  <c:v>0</c:v>
                </c:pt>
                <c:pt idx="1860">
                  <c:v>0</c:v>
                </c:pt>
                <c:pt idx="1861">
                  <c:v>0</c:v>
                </c:pt>
                <c:pt idx="1862">
                  <c:v>2</c:v>
                </c:pt>
                <c:pt idx="1863">
                  <c:v>0</c:v>
                </c:pt>
                <c:pt idx="1864">
                  <c:v>0</c:v>
                </c:pt>
                <c:pt idx="1865">
                  <c:v>1</c:v>
                </c:pt>
                <c:pt idx="1866">
                  <c:v>0</c:v>
                </c:pt>
                <c:pt idx="1867">
                  <c:v>0</c:v>
                </c:pt>
                <c:pt idx="1868">
                  <c:v>0</c:v>
                </c:pt>
                <c:pt idx="1869">
                  <c:v>2</c:v>
                </c:pt>
                <c:pt idx="1870">
                  <c:v>6</c:v>
                </c:pt>
                <c:pt idx="1871">
                  <c:v>1</c:v>
                </c:pt>
                <c:pt idx="1872">
                  <c:v>1</c:v>
                </c:pt>
                <c:pt idx="1873">
                  <c:v>4</c:v>
                </c:pt>
                <c:pt idx="1874">
                  <c:v>5</c:v>
                </c:pt>
                <c:pt idx="1875">
                  <c:v>0</c:v>
                </c:pt>
                <c:pt idx="1876">
                  <c:v>0</c:v>
                </c:pt>
                <c:pt idx="1877">
                  <c:v>1</c:v>
                </c:pt>
                <c:pt idx="1878">
                  <c:v>0</c:v>
                </c:pt>
                <c:pt idx="1879">
                  <c:v>0</c:v>
                </c:pt>
                <c:pt idx="1880">
                  <c:v>1</c:v>
                </c:pt>
                <c:pt idx="1881">
                  <c:v>1</c:v>
                </c:pt>
                <c:pt idx="1882">
                  <c:v>0</c:v>
                </c:pt>
                <c:pt idx="1883">
                  <c:v>4</c:v>
                </c:pt>
                <c:pt idx="1884">
                  <c:v>4</c:v>
                </c:pt>
                <c:pt idx="1885">
                  <c:v>0</c:v>
                </c:pt>
                <c:pt idx="1886">
                  <c:v>1</c:v>
                </c:pt>
                <c:pt idx="1887">
                  <c:v>0</c:v>
                </c:pt>
                <c:pt idx="1888">
                  <c:v>0</c:v>
                </c:pt>
                <c:pt idx="1889">
                  <c:v>0</c:v>
                </c:pt>
                <c:pt idx="1890">
                  <c:v>1</c:v>
                </c:pt>
                <c:pt idx="1891">
                  <c:v>2</c:v>
                </c:pt>
                <c:pt idx="1892">
                  <c:v>1</c:v>
                </c:pt>
                <c:pt idx="1893">
                  <c:v>1</c:v>
                </c:pt>
                <c:pt idx="1894">
                  <c:v>0</c:v>
                </c:pt>
                <c:pt idx="1895">
                  <c:v>0</c:v>
                </c:pt>
                <c:pt idx="1896">
                  <c:v>2</c:v>
                </c:pt>
                <c:pt idx="1897">
                  <c:v>0</c:v>
                </c:pt>
                <c:pt idx="1898">
                  <c:v>1</c:v>
                </c:pt>
                <c:pt idx="1899">
                  <c:v>3</c:v>
                </c:pt>
                <c:pt idx="1900">
                  <c:v>0</c:v>
                </c:pt>
                <c:pt idx="1901">
                  <c:v>0</c:v>
                </c:pt>
                <c:pt idx="1902">
                  <c:v>0</c:v>
                </c:pt>
                <c:pt idx="1903">
                  <c:v>0</c:v>
                </c:pt>
                <c:pt idx="1904">
                  <c:v>4</c:v>
                </c:pt>
                <c:pt idx="1905">
                  <c:v>1</c:v>
                </c:pt>
                <c:pt idx="1906">
                  <c:v>1</c:v>
                </c:pt>
                <c:pt idx="1907">
                  <c:v>0</c:v>
                </c:pt>
                <c:pt idx="1908">
                  <c:v>0</c:v>
                </c:pt>
                <c:pt idx="1909">
                  <c:v>1</c:v>
                </c:pt>
                <c:pt idx="1910">
                  <c:v>1</c:v>
                </c:pt>
                <c:pt idx="1911">
                  <c:v>4</c:v>
                </c:pt>
                <c:pt idx="1912">
                  <c:v>1</c:v>
                </c:pt>
                <c:pt idx="1913">
                  <c:v>1</c:v>
                </c:pt>
                <c:pt idx="1914">
                  <c:v>1</c:v>
                </c:pt>
                <c:pt idx="1915">
                  <c:v>1</c:v>
                </c:pt>
                <c:pt idx="1916">
                  <c:v>0</c:v>
                </c:pt>
                <c:pt idx="1917">
                  <c:v>0</c:v>
                </c:pt>
                <c:pt idx="1918">
                  <c:v>1</c:v>
                </c:pt>
                <c:pt idx="1919">
                  <c:v>1</c:v>
                </c:pt>
                <c:pt idx="1920">
                  <c:v>1</c:v>
                </c:pt>
                <c:pt idx="1921">
                  <c:v>0</c:v>
                </c:pt>
                <c:pt idx="1922">
                  <c:v>2</c:v>
                </c:pt>
                <c:pt idx="1923">
                  <c:v>0</c:v>
                </c:pt>
                <c:pt idx="1924">
                  <c:v>0</c:v>
                </c:pt>
                <c:pt idx="1925">
                  <c:v>0</c:v>
                </c:pt>
                <c:pt idx="1926">
                  <c:v>0</c:v>
                </c:pt>
                <c:pt idx="1927">
                  <c:v>1</c:v>
                </c:pt>
                <c:pt idx="1928">
                  <c:v>0</c:v>
                </c:pt>
                <c:pt idx="1929">
                  <c:v>5</c:v>
                </c:pt>
                <c:pt idx="1930">
                  <c:v>0</c:v>
                </c:pt>
                <c:pt idx="1931">
                  <c:v>0</c:v>
                </c:pt>
                <c:pt idx="1932">
                  <c:v>0</c:v>
                </c:pt>
                <c:pt idx="1933">
                  <c:v>2</c:v>
                </c:pt>
                <c:pt idx="1934">
                  <c:v>1</c:v>
                </c:pt>
                <c:pt idx="1935">
                  <c:v>0</c:v>
                </c:pt>
                <c:pt idx="1936">
                  <c:v>0</c:v>
                </c:pt>
                <c:pt idx="1937">
                  <c:v>0</c:v>
                </c:pt>
                <c:pt idx="1938">
                  <c:v>0</c:v>
                </c:pt>
                <c:pt idx="1939">
                  <c:v>0</c:v>
                </c:pt>
                <c:pt idx="1940">
                  <c:v>0</c:v>
                </c:pt>
                <c:pt idx="1941">
                  <c:v>6</c:v>
                </c:pt>
                <c:pt idx="1942">
                  <c:v>0</c:v>
                </c:pt>
                <c:pt idx="1943">
                  <c:v>0</c:v>
                </c:pt>
                <c:pt idx="1944">
                  <c:v>1</c:v>
                </c:pt>
                <c:pt idx="1945">
                  <c:v>2</c:v>
                </c:pt>
                <c:pt idx="1946">
                  <c:v>0</c:v>
                </c:pt>
                <c:pt idx="1947">
                  <c:v>8</c:v>
                </c:pt>
                <c:pt idx="1948">
                  <c:v>0</c:v>
                </c:pt>
                <c:pt idx="1949">
                  <c:v>0</c:v>
                </c:pt>
                <c:pt idx="1950">
                  <c:v>2</c:v>
                </c:pt>
                <c:pt idx="1951">
                  <c:v>0</c:v>
                </c:pt>
                <c:pt idx="1952">
                  <c:v>1</c:v>
                </c:pt>
                <c:pt idx="1953">
                  <c:v>1</c:v>
                </c:pt>
                <c:pt idx="1954">
                  <c:v>0</c:v>
                </c:pt>
                <c:pt idx="1955">
                  <c:v>0</c:v>
                </c:pt>
                <c:pt idx="1956">
                  <c:v>0</c:v>
                </c:pt>
                <c:pt idx="1957">
                  <c:v>0</c:v>
                </c:pt>
                <c:pt idx="1958">
                  <c:v>0</c:v>
                </c:pt>
                <c:pt idx="1959">
                  <c:v>0</c:v>
                </c:pt>
                <c:pt idx="1960">
                  <c:v>0</c:v>
                </c:pt>
                <c:pt idx="1961">
                  <c:v>3</c:v>
                </c:pt>
                <c:pt idx="1962">
                  <c:v>0</c:v>
                </c:pt>
                <c:pt idx="1963">
                  <c:v>0</c:v>
                </c:pt>
                <c:pt idx="1964">
                  <c:v>4</c:v>
                </c:pt>
                <c:pt idx="1965">
                  <c:v>0</c:v>
                </c:pt>
                <c:pt idx="1966">
                  <c:v>0</c:v>
                </c:pt>
                <c:pt idx="1967">
                  <c:v>1</c:v>
                </c:pt>
                <c:pt idx="1968">
                  <c:v>0</c:v>
                </c:pt>
                <c:pt idx="1969">
                  <c:v>0</c:v>
                </c:pt>
                <c:pt idx="1970">
                  <c:v>3</c:v>
                </c:pt>
                <c:pt idx="1971">
                  <c:v>0</c:v>
                </c:pt>
                <c:pt idx="1972">
                  <c:v>3</c:v>
                </c:pt>
                <c:pt idx="1973">
                  <c:v>1</c:v>
                </c:pt>
                <c:pt idx="1974">
                  <c:v>0</c:v>
                </c:pt>
                <c:pt idx="1975">
                  <c:v>0</c:v>
                </c:pt>
                <c:pt idx="1976">
                  <c:v>1</c:v>
                </c:pt>
                <c:pt idx="1977">
                  <c:v>2</c:v>
                </c:pt>
                <c:pt idx="1978">
                  <c:v>0</c:v>
                </c:pt>
                <c:pt idx="1979">
                  <c:v>0</c:v>
                </c:pt>
                <c:pt idx="1980">
                  <c:v>0</c:v>
                </c:pt>
                <c:pt idx="1981">
                  <c:v>1</c:v>
                </c:pt>
                <c:pt idx="1982">
                  <c:v>0</c:v>
                </c:pt>
                <c:pt idx="1983">
                  <c:v>0</c:v>
                </c:pt>
                <c:pt idx="1984">
                  <c:v>1</c:v>
                </c:pt>
                <c:pt idx="1985">
                  <c:v>0</c:v>
                </c:pt>
                <c:pt idx="1986">
                  <c:v>0</c:v>
                </c:pt>
                <c:pt idx="1987">
                  <c:v>0</c:v>
                </c:pt>
                <c:pt idx="1988">
                  <c:v>4</c:v>
                </c:pt>
                <c:pt idx="1989">
                  <c:v>0</c:v>
                </c:pt>
                <c:pt idx="1990">
                  <c:v>0</c:v>
                </c:pt>
                <c:pt idx="1991">
                  <c:v>0</c:v>
                </c:pt>
                <c:pt idx="1992">
                  <c:v>0</c:v>
                </c:pt>
                <c:pt idx="1993">
                  <c:v>0</c:v>
                </c:pt>
                <c:pt idx="1994">
                  <c:v>0</c:v>
                </c:pt>
                <c:pt idx="1995">
                  <c:v>1</c:v>
                </c:pt>
                <c:pt idx="1996">
                  <c:v>0</c:v>
                </c:pt>
                <c:pt idx="1997">
                  <c:v>2</c:v>
                </c:pt>
                <c:pt idx="1998">
                  <c:v>2</c:v>
                </c:pt>
                <c:pt idx="1999">
                  <c:v>1</c:v>
                </c:pt>
                <c:pt idx="2000">
                  <c:v>0</c:v>
                </c:pt>
                <c:pt idx="2001">
                  <c:v>0</c:v>
                </c:pt>
                <c:pt idx="2002">
                  <c:v>0</c:v>
                </c:pt>
                <c:pt idx="2003">
                  <c:v>0</c:v>
                </c:pt>
                <c:pt idx="2004">
                  <c:v>0</c:v>
                </c:pt>
                <c:pt idx="2005">
                  <c:v>0</c:v>
                </c:pt>
                <c:pt idx="2006">
                  <c:v>0</c:v>
                </c:pt>
                <c:pt idx="2007">
                  <c:v>0</c:v>
                </c:pt>
                <c:pt idx="2008">
                  <c:v>1</c:v>
                </c:pt>
                <c:pt idx="2009">
                  <c:v>0</c:v>
                </c:pt>
                <c:pt idx="2010">
                  <c:v>1</c:v>
                </c:pt>
                <c:pt idx="2011">
                  <c:v>0</c:v>
                </c:pt>
                <c:pt idx="2012">
                  <c:v>0</c:v>
                </c:pt>
                <c:pt idx="2013">
                  <c:v>0</c:v>
                </c:pt>
                <c:pt idx="2014">
                  <c:v>0</c:v>
                </c:pt>
                <c:pt idx="2015">
                  <c:v>4</c:v>
                </c:pt>
                <c:pt idx="2016">
                  <c:v>1</c:v>
                </c:pt>
                <c:pt idx="2017">
                  <c:v>2</c:v>
                </c:pt>
                <c:pt idx="2018">
                  <c:v>2</c:v>
                </c:pt>
                <c:pt idx="2019">
                  <c:v>0</c:v>
                </c:pt>
                <c:pt idx="2020">
                  <c:v>2</c:v>
                </c:pt>
                <c:pt idx="2021">
                  <c:v>0</c:v>
                </c:pt>
                <c:pt idx="2022">
                  <c:v>0</c:v>
                </c:pt>
                <c:pt idx="2023">
                  <c:v>0</c:v>
                </c:pt>
                <c:pt idx="2024">
                  <c:v>0</c:v>
                </c:pt>
                <c:pt idx="2025">
                  <c:v>0</c:v>
                </c:pt>
                <c:pt idx="2026">
                  <c:v>2</c:v>
                </c:pt>
                <c:pt idx="2027">
                  <c:v>1</c:v>
                </c:pt>
                <c:pt idx="2028">
                  <c:v>2</c:v>
                </c:pt>
                <c:pt idx="2029">
                  <c:v>0</c:v>
                </c:pt>
                <c:pt idx="2030">
                  <c:v>0</c:v>
                </c:pt>
                <c:pt idx="2031">
                  <c:v>3</c:v>
                </c:pt>
                <c:pt idx="2032">
                  <c:v>1</c:v>
                </c:pt>
                <c:pt idx="2033">
                  <c:v>2</c:v>
                </c:pt>
                <c:pt idx="2034">
                  <c:v>0</c:v>
                </c:pt>
                <c:pt idx="2035">
                  <c:v>0</c:v>
                </c:pt>
                <c:pt idx="2036">
                  <c:v>0</c:v>
                </c:pt>
                <c:pt idx="2037">
                  <c:v>3</c:v>
                </c:pt>
                <c:pt idx="2038">
                  <c:v>0</c:v>
                </c:pt>
                <c:pt idx="2039">
                  <c:v>0</c:v>
                </c:pt>
                <c:pt idx="2040">
                  <c:v>0</c:v>
                </c:pt>
                <c:pt idx="2041">
                  <c:v>0</c:v>
                </c:pt>
                <c:pt idx="2042">
                  <c:v>0</c:v>
                </c:pt>
                <c:pt idx="2043">
                  <c:v>2</c:v>
                </c:pt>
                <c:pt idx="2044">
                  <c:v>0</c:v>
                </c:pt>
                <c:pt idx="2045">
                  <c:v>1</c:v>
                </c:pt>
                <c:pt idx="2046">
                  <c:v>0</c:v>
                </c:pt>
                <c:pt idx="2047">
                  <c:v>1</c:v>
                </c:pt>
                <c:pt idx="2048">
                  <c:v>3</c:v>
                </c:pt>
                <c:pt idx="2049">
                  <c:v>1</c:v>
                </c:pt>
                <c:pt idx="2050">
                  <c:v>1</c:v>
                </c:pt>
                <c:pt idx="2051">
                  <c:v>1</c:v>
                </c:pt>
                <c:pt idx="2052">
                  <c:v>0</c:v>
                </c:pt>
                <c:pt idx="2053">
                  <c:v>0</c:v>
                </c:pt>
                <c:pt idx="2054">
                  <c:v>3</c:v>
                </c:pt>
                <c:pt idx="2055">
                  <c:v>1</c:v>
                </c:pt>
                <c:pt idx="2056">
                  <c:v>1</c:v>
                </c:pt>
                <c:pt idx="2057">
                  <c:v>0</c:v>
                </c:pt>
                <c:pt idx="2058">
                  <c:v>0</c:v>
                </c:pt>
                <c:pt idx="2059">
                  <c:v>0</c:v>
                </c:pt>
                <c:pt idx="2060">
                  <c:v>1</c:v>
                </c:pt>
                <c:pt idx="2061">
                  <c:v>0</c:v>
                </c:pt>
                <c:pt idx="2062">
                  <c:v>0</c:v>
                </c:pt>
                <c:pt idx="2063">
                  <c:v>1</c:v>
                </c:pt>
                <c:pt idx="2064">
                  <c:v>1</c:v>
                </c:pt>
                <c:pt idx="2065">
                  <c:v>0</c:v>
                </c:pt>
                <c:pt idx="2066">
                  <c:v>0</c:v>
                </c:pt>
                <c:pt idx="2067">
                  <c:v>1</c:v>
                </c:pt>
                <c:pt idx="2068">
                  <c:v>1</c:v>
                </c:pt>
                <c:pt idx="2069">
                  <c:v>0</c:v>
                </c:pt>
                <c:pt idx="2070">
                  <c:v>0</c:v>
                </c:pt>
                <c:pt idx="2071">
                  <c:v>0</c:v>
                </c:pt>
                <c:pt idx="2072">
                  <c:v>2</c:v>
                </c:pt>
                <c:pt idx="2073">
                  <c:v>1</c:v>
                </c:pt>
                <c:pt idx="2074">
                  <c:v>2</c:v>
                </c:pt>
                <c:pt idx="2075">
                  <c:v>0</c:v>
                </c:pt>
                <c:pt idx="2076">
                  <c:v>6</c:v>
                </c:pt>
                <c:pt idx="2077">
                  <c:v>1</c:v>
                </c:pt>
                <c:pt idx="2078">
                  <c:v>0</c:v>
                </c:pt>
                <c:pt idx="2079">
                  <c:v>0</c:v>
                </c:pt>
                <c:pt idx="2080">
                  <c:v>8</c:v>
                </c:pt>
                <c:pt idx="2081">
                  <c:v>0</c:v>
                </c:pt>
                <c:pt idx="2082">
                  <c:v>0</c:v>
                </c:pt>
                <c:pt idx="2083">
                  <c:v>0</c:v>
                </c:pt>
                <c:pt idx="2084">
                  <c:v>1</c:v>
                </c:pt>
                <c:pt idx="2085">
                  <c:v>3</c:v>
                </c:pt>
                <c:pt idx="2086">
                  <c:v>1</c:v>
                </c:pt>
                <c:pt idx="2087">
                  <c:v>1</c:v>
                </c:pt>
                <c:pt idx="2088">
                  <c:v>8</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3</c:v>
                </c:pt>
                <c:pt idx="2103">
                  <c:v>0</c:v>
                </c:pt>
                <c:pt idx="2104">
                  <c:v>3</c:v>
                </c:pt>
                <c:pt idx="2105">
                  <c:v>0</c:v>
                </c:pt>
                <c:pt idx="2106">
                  <c:v>0</c:v>
                </c:pt>
                <c:pt idx="2107">
                  <c:v>0</c:v>
                </c:pt>
                <c:pt idx="2108">
                  <c:v>0</c:v>
                </c:pt>
                <c:pt idx="2109">
                  <c:v>0</c:v>
                </c:pt>
                <c:pt idx="2110">
                  <c:v>0</c:v>
                </c:pt>
                <c:pt idx="2111">
                  <c:v>0</c:v>
                </c:pt>
                <c:pt idx="2112">
                  <c:v>1</c:v>
                </c:pt>
                <c:pt idx="2113">
                  <c:v>2</c:v>
                </c:pt>
                <c:pt idx="2114">
                  <c:v>4</c:v>
                </c:pt>
                <c:pt idx="2115">
                  <c:v>0</c:v>
                </c:pt>
                <c:pt idx="2116">
                  <c:v>0</c:v>
                </c:pt>
                <c:pt idx="2117">
                  <c:v>2</c:v>
                </c:pt>
                <c:pt idx="2118">
                  <c:v>0</c:v>
                </c:pt>
                <c:pt idx="2119">
                  <c:v>0</c:v>
                </c:pt>
                <c:pt idx="2120">
                  <c:v>0</c:v>
                </c:pt>
                <c:pt idx="2121">
                  <c:v>0</c:v>
                </c:pt>
                <c:pt idx="2122">
                  <c:v>0</c:v>
                </c:pt>
                <c:pt idx="2123">
                  <c:v>5</c:v>
                </c:pt>
                <c:pt idx="2124">
                  <c:v>0</c:v>
                </c:pt>
                <c:pt idx="2125">
                  <c:v>0</c:v>
                </c:pt>
                <c:pt idx="2126">
                  <c:v>0</c:v>
                </c:pt>
                <c:pt idx="2127">
                  <c:v>0</c:v>
                </c:pt>
                <c:pt idx="2128">
                  <c:v>2</c:v>
                </c:pt>
                <c:pt idx="2129">
                  <c:v>0</c:v>
                </c:pt>
                <c:pt idx="2130">
                  <c:v>8</c:v>
                </c:pt>
                <c:pt idx="2131">
                  <c:v>4</c:v>
                </c:pt>
                <c:pt idx="2132">
                  <c:v>1</c:v>
                </c:pt>
                <c:pt idx="2133">
                  <c:v>0</c:v>
                </c:pt>
                <c:pt idx="2134">
                  <c:v>2</c:v>
                </c:pt>
                <c:pt idx="2135">
                  <c:v>0</c:v>
                </c:pt>
                <c:pt idx="2136">
                  <c:v>0</c:v>
                </c:pt>
                <c:pt idx="2137">
                  <c:v>0</c:v>
                </c:pt>
                <c:pt idx="2138">
                  <c:v>1</c:v>
                </c:pt>
                <c:pt idx="2139">
                  <c:v>2</c:v>
                </c:pt>
                <c:pt idx="2140">
                  <c:v>0</c:v>
                </c:pt>
                <c:pt idx="2141">
                  <c:v>1</c:v>
                </c:pt>
                <c:pt idx="2142">
                  <c:v>0</c:v>
                </c:pt>
                <c:pt idx="2143">
                  <c:v>0</c:v>
                </c:pt>
                <c:pt idx="2144">
                  <c:v>0</c:v>
                </c:pt>
                <c:pt idx="2145">
                  <c:v>2</c:v>
                </c:pt>
                <c:pt idx="2146">
                  <c:v>0</c:v>
                </c:pt>
                <c:pt idx="2147">
                  <c:v>0</c:v>
                </c:pt>
                <c:pt idx="2148">
                  <c:v>0</c:v>
                </c:pt>
                <c:pt idx="2149">
                  <c:v>3</c:v>
                </c:pt>
                <c:pt idx="2150">
                  <c:v>0</c:v>
                </c:pt>
                <c:pt idx="2151">
                  <c:v>39</c:v>
                </c:pt>
                <c:pt idx="2152">
                  <c:v>5</c:v>
                </c:pt>
                <c:pt idx="2153">
                  <c:v>0</c:v>
                </c:pt>
                <c:pt idx="2154">
                  <c:v>0</c:v>
                </c:pt>
                <c:pt idx="2155">
                  <c:v>1</c:v>
                </c:pt>
                <c:pt idx="2156">
                  <c:v>0</c:v>
                </c:pt>
                <c:pt idx="2157">
                  <c:v>1</c:v>
                </c:pt>
                <c:pt idx="2158">
                  <c:v>3</c:v>
                </c:pt>
                <c:pt idx="2159">
                  <c:v>0</c:v>
                </c:pt>
                <c:pt idx="2160">
                  <c:v>0</c:v>
                </c:pt>
                <c:pt idx="2161">
                  <c:v>0</c:v>
                </c:pt>
                <c:pt idx="2162">
                  <c:v>0</c:v>
                </c:pt>
                <c:pt idx="2163">
                  <c:v>0</c:v>
                </c:pt>
                <c:pt idx="2164">
                  <c:v>0</c:v>
                </c:pt>
                <c:pt idx="2165">
                  <c:v>0</c:v>
                </c:pt>
                <c:pt idx="2166">
                  <c:v>1</c:v>
                </c:pt>
                <c:pt idx="2167">
                  <c:v>0</c:v>
                </c:pt>
                <c:pt idx="2168">
                  <c:v>0</c:v>
                </c:pt>
                <c:pt idx="2169">
                  <c:v>0</c:v>
                </c:pt>
                <c:pt idx="2170">
                  <c:v>0</c:v>
                </c:pt>
                <c:pt idx="2171">
                  <c:v>0</c:v>
                </c:pt>
                <c:pt idx="2172">
                  <c:v>9</c:v>
                </c:pt>
                <c:pt idx="2173">
                  <c:v>0</c:v>
                </c:pt>
                <c:pt idx="2174">
                  <c:v>1</c:v>
                </c:pt>
                <c:pt idx="2175">
                  <c:v>0</c:v>
                </c:pt>
                <c:pt idx="2176">
                  <c:v>0</c:v>
                </c:pt>
                <c:pt idx="2177">
                  <c:v>0</c:v>
                </c:pt>
                <c:pt idx="2178">
                  <c:v>0</c:v>
                </c:pt>
                <c:pt idx="2179">
                  <c:v>2</c:v>
                </c:pt>
                <c:pt idx="2180">
                  <c:v>0</c:v>
                </c:pt>
                <c:pt idx="2181">
                  <c:v>0</c:v>
                </c:pt>
                <c:pt idx="2182">
                  <c:v>0</c:v>
                </c:pt>
                <c:pt idx="2183">
                  <c:v>0</c:v>
                </c:pt>
                <c:pt idx="2184">
                  <c:v>0</c:v>
                </c:pt>
                <c:pt idx="2185">
                  <c:v>0</c:v>
                </c:pt>
                <c:pt idx="2186">
                  <c:v>0</c:v>
                </c:pt>
                <c:pt idx="2187">
                  <c:v>0</c:v>
                </c:pt>
                <c:pt idx="2188">
                  <c:v>3</c:v>
                </c:pt>
                <c:pt idx="2189">
                  <c:v>0</c:v>
                </c:pt>
                <c:pt idx="2190">
                  <c:v>0</c:v>
                </c:pt>
                <c:pt idx="2191">
                  <c:v>11</c:v>
                </c:pt>
                <c:pt idx="2192">
                  <c:v>0</c:v>
                </c:pt>
                <c:pt idx="2193">
                  <c:v>0</c:v>
                </c:pt>
                <c:pt idx="2194">
                  <c:v>0</c:v>
                </c:pt>
                <c:pt idx="2195">
                  <c:v>0</c:v>
                </c:pt>
                <c:pt idx="2196">
                  <c:v>0</c:v>
                </c:pt>
                <c:pt idx="2197">
                  <c:v>0</c:v>
                </c:pt>
                <c:pt idx="2198">
                  <c:v>4</c:v>
                </c:pt>
                <c:pt idx="2199">
                  <c:v>0</c:v>
                </c:pt>
                <c:pt idx="2200">
                  <c:v>1</c:v>
                </c:pt>
                <c:pt idx="2201">
                  <c:v>5</c:v>
                </c:pt>
                <c:pt idx="2202">
                  <c:v>1</c:v>
                </c:pt>
                <c:pt idx="2203">
                  <c:v>0</c:v>
                </c:pt>
                <c:pt idx="2204">
                  <c:v>2</c:v>
                </c:pt>
                <c:pt idx="2205">
                  <c:v>0</c:v>
                </c:pt>
                <c:pt idx="2206">
                  <c:v>2</c:v>
                </c:pt>
                <c:pt idx="2207">
                  <c:v>0</c:v>
                </c:pt>
                <c:pt idx="2208">
                  <c:v>1</c:v>
                </c:pt>
                <c:pt idx="2209">
                  <c:v>3</c:v>
                </c:pt>
                <c:pt idx="2210">
                  <c:v>3</c:v>
                </c:pt>
                <c:pt idx="2211">
                  <c:v>4</c:v>
                </c:pt>
                <c:pt idx="2212">
                  <c:v>4</c:v>
                </c:pt>
                <c:pt idx="2213">
                  <c:v>0</c:v>
                </c:pt>
                <c:pt idx="2214">
                  <c:v>0</c:v>
                </c:pt>
                <c:pt idx="2215">
                  <c:v>0</c:v>
                </c:pt>
                <c:pt idx="2216">
                  <c:v>0</c:v>
                </c:pt>
                <c:pt idx="2217">
                  <c:v>6</c:v>
                </c:pt>
                <c:pt idx="2218">
                  <c:v>1</c:v>
                </c:pt>
                <c:pt idx="2219">
                  <c:v>1</c:v>
                </c:pt>
                <c:pt idx="2220">
                  <c:v>0</c:v>
                </c:pt>
                <c:pt idx="2221">
                  <c:v>0</c:v>
                </c:pt>
                <c:pt idx="2222">
                  <c:v>0</c:v>
                </c:pt>
                <c:pt idx="2223">
                  <c:v>1</c:v>
                </c:pt>
                <c:pt idx="2224">
                  <c:v>0</c:v>
                </c:pt>
                <c:pt idx="2225">
                  <c:v>4</c:v>
                </c:pt>
                <c:pt idx="2226">
                  <c:v>0</c:v>
                </c:pt>
                <c:pt idx="2227">
                  <c:v>2</c:v>
                </c:pt>
                <c:pt idx="2228">
                  <c:v>0</c:v>
                </c:pt>
                <c:pt idx="2229">
                  <c:v>0</c:v>
                </c:pt>
                <c:pt idx="2230">
                  <c:v>0</c:v>
                </c:pt>
                <c:pt idx="2231">
                  <c:v>4</c:v>
                </c:pt>
                <c:pt idx="2232">
                  <c:v>2</c:v>
                </c:pt>
                <c:pt idx="2233">
                  <c:v>0</c:v>
                </c:pt>
                <c:pt idx="2234">
                  <c:v>2</c:v>
                </c:pt>
                <c:pt idx="2235">
                  <c:v>1</c:v>
                </c:pt>
                <c:pt idx="2236">
                  <c:v>0</c:v>
                </c:pt>
                <c:pt idx="2237">
                  <c:v>1</c:v>
                </c:pt>
                <c:pt idx="2238">
                  <c:v>0</c:v>
                </c:pt>
                <c:pt idx="2239">
                  <c:v>0</c:v>
                </c:pt>
                <c:pt idx="2240">
                  <c:v>1</c:v>
                </c:pt>
                <c:pt idx="2241">
                  <c:v>2</c:v>
                </c:pt>
                <c:pt idx="2242">
                  <c:v>9</c:v>
                </c:pt>
                <c:pt idx="2243">
                  <c:v>1</c:v>
                </c:pt>
                <c:pt idx="2244">
                  <c:v>2</c:v>
                </c:pt>
                <c:pt idx="2245">
                  <c:v>0</c:v>
                </c:pt>
                <c:pt idx="2246">
                  <c:v>0</c:v>
                </c:pt>
                <c:pt idx="2247">
                  <c:v>1</c:v>
                </c:pt>
                <c:pt idx="2248">
                  <c:v>0</c:v>
                </c:pt>
                <c:pt idx="2249">
                  <c:v>0</c:v>
                </c:pt>
                <c:pt idx="2250">
                  <c:v>0</c:v>
                </c:pt>
                <c:pt idx="2251">
                  <c:v>1</c:v>
                </c:pt>
                <c:pt idx="2252">
                  <c:v>0</c:v>
                </c:pt>
                <c:pt idx="2253">
                  <c:v>2</c:v>
                </c:pt>
                <c:pt idx="2254">
                  <c:v>1</c:v>
                </c:pt>
                <c:pt idx="2255">
                  <c:v>0</c:v>
                </c:pt>
                <c:pt idx="2256">
                  <c:v>1</c:v>
                </c:pt>
                <c:pt idx="2257">
                  <c:v>2</c:v>
                </c:pt>
                <c:pt idx="2258">
                  <c:v>1</c:v>
                </c:pt>
                <c:pt idx="2259">
                  <c:v>0</c:v>
                </c:pt>
                <c:pt idx="2260">
                  <c:v>4</c:v>
                </c:pt>
                <c:pt idx="2261">
                  <c:v>0</c:v>
                </c:pt>
                <c:pt idx="2262">
                  <c:v>0</c:v>
                </c:pt>
                <c:pt idx="2263">
                  <c:v>0</c:v>
                </c:pt>
                <c:pt idx="2264">
                  <c:v>0</c:v>
                </c:pt>
                <c:pt idx="2265">
                  <c:v>3</c:v>
                </c:pt>
                <c:pt idx="2266">
                  <c:v>0</c:v>
                </c:pt>
                <c:pt idx="2267">
                  <c:v>0</c:v>
                </c:pt>
                <c:pt idx="2268">
                  <c:v>0</c:v>
                </c:pt>
                <c:pt idx="2269">
                  <c:v>1</c:v>
                </c:pt>
                <c:pt idx="2270">
                  <c:v>8</c:v>
                </c:pt>
                <c:pt idx="2271">
                  <c:v>1</c:v>
                </c:pt>
                <c:pt idx="2272">
                  <c:v>1</c:v>
                </c:pt>
                <c:pt idx="2273">
                  <c:v>0</c:v>
                </c:pt>
                <c:pt idx="2274">
                  <c:v>8</c:v>
                </c:pt>
                <c:pt idx="2275">
                  <c:v>0</c:v>
                </c:pt>
                <c:pt idx="2276">
                  <c:v>0</c:v>
                </c:pt>
                <c:pt idx="2277">
                  <c:v>1</c:v>
                </c:pt>
                <c:pt idx="2278">
                  <c:v>4</c:v>
                </c:pt>
                <c:pt idx="2279">
                  <c:v>5</c:v>
                </c:pt>
                <c:pt idx="2280">
                  <c:v>0</c:v>
                </c:pt>
                <c:pt idx="2281">
                  <c:v>0</c:v>
                </c:pt>
                <c:pt idx="2282">
                  <c:v>4</c:v>
                </c:pt>
                <c:pt idx="2283">
                  <c:v>0</c:v>
                </c:pt>
                <c:pt idx="2284">
                  <c:v>1</c:v>
                </c:pt>
                <c:pt idx="2285">
                  <c:v>0</c:v>
                </c:pt>
                <c:pt idx="2286">
                  <c:v>0</c:v>
                </c:pt>
                <c:pt idx="2287">
                  <c:v>0</c:v>
                </c:pt>
                <c:pt idx="2288">
                  <c:v>0</c:v>
                </c:pt>
                <c:pt idx="2289">
                  <c:v>1</c:v>
                </c:pt>
                <c:pt idx="2290">
                  <c:v>0</c:v>
                </c:pt>
                <c:pt idx="2291">
                  <c:v>0</c:v>
                </c:pt>
                <c:pt idx="2292">
                  <c:v>2</c:v>
                </c:pt>
                <c:pt idx="2293">
                  <c:v>0</c:v>
                </c:pt>
                <c:pt idx="2294">
                  <c:v>0</c:v>
                </c:pt>
                <c:pt idx="2295">
                  <c:v>0</c:v>
                </c:pt>
                <c:pt idx="2296">
                  <c:v>7</c:v>
                </c:pt>
                <c:pt idx="2297">
                  <c:v>0</c:v>
                </c:pt>
                <c:pt idx="2298">
                  <c:v>1</c:v>
                </c:pt>
                <c:pt idx="2299">
                  <c:v>0</c:v>
                </c:pt>
                <c:pt idx="2300">
                  <c:v>0</c:v>
                </c:pt>
                <c:pt idx="2301">
                  <c:v>0</c:v>
                </c:pt>
                <c:pt idx="2302">
                  <c:v>0</c:v>
                </c:pt>
                <c:pt idx="2303">
                  <c:v>5</c:v>
                </c:pt>
                <c:pt idx="2304">
                  <c:v>1</c:v>
                </c:pt>
                <c:pt idx="2305">
                  <c:v>0</c:v>
                </c:pt>
                <c:pt idx="2306">
                  <c:v>0</c:v>
                </c:pt>
                <c:pt idx="2307">
                  <c:v>0</c:v>
                </c:pt>
                <c:pt idx="2308">
                  <c:v>4</c:v>
                </c:pt>
                <c:pt idx="2309">
                  <c:v>1</c:v>
                </c:pt>
                <c:pt idx="2310">
                  <c:v>0</c:v>
                </c:pt>
                <c:pt idx="2311">
                  <c:v>1</c:v>
                </c:pt>
                <c:pt idx="2312">
                  <c:v>2</c:v>
                </c:pt>
                <c:pt idx="2313">
                  <c:v>2</c:v>
                </c:pt>
                <c:pt idx="2314">
                  <c:v>19</c:v>
                </c:pt>
                <c:pt idx="2315">
                  <c:v>0</c:v>
                </c:pt>
                <c:pt idx="2316">
                  <c:v>6</c:v>
                </c:pt>
                <c:pt idx="2317">
                  <c:v>0</c:v>
                </c:pt>
                <c:pt idx="2318">
                  <c:v>0</c:v>
                </c:pt>
                <c:pt idx="2319">
                  <c:v>1</c:v>
                </c:pt>
                <c:pt idx="2320">
                  <c:v>5</c:v>
                </c:pt>
                <c:pt idx="2321">
                  <c:v>2</c:v>
                </c:pt>
                <c:pt idx="2322">
                  <c:v>1</c:v>
                </c:pt>
                <c:pt idx="2323">
                  <c:v>0</c:v>
                </c:pt>
                <c:pt idx="2324">
                  <c:v>0</c:v>
                </c:pt>
                <c:pt idx="2325">
                  <c:v>0</c:v>
                </c:pt>
                <c:pt idx="2326">
                  <c:v>0</c:v>
                </c:pt>
                <c:pt idx="2327">
                  <c:v>3</c:v>
                </c:pt>
                <c:pt idx="2328">
                  <c:v>0</c:v>
                </c:pt>
                <c:pt idx="2329">
                  <c:v>2</c:v>
                </c:pt>
                <c:pt idx="2330">
                  <c:v>3</c:v>
                </c:pt>
                <c:pt idx="2331">
                  <c:v>0</c:v>
                </c:pt>
                <c:pt idx="2332">
                  <c:v>0</c:v>
                </c:pt>
                <c:pt idx="2333">
                  <c:v>0</c:v>
                </c:pt>
                <c:pt idx="2334">
                  <c:v>1</c:v>
                </c:pt>
                <c:pt idx="2335">
                  <c:v>1</c:v>
                </c:pt>
                <c:pt idx="2336">
                  <c:v>0</c:v>
                </c:pt>
                <c:pt idx="2337">
                  <c:v>2</c:v>
                </c:pt>
                <c:pt idx="2338">
                  <c:v>5</c:v>
                </c:pt>
                <c:pt idx="2339">
                  <c:v>1</c:v>
                </c:pt>
                <c:pt idx="2340">
                  <c:v>0</c:v>
                </c:pt>
                <c:pt idx="2341">
                  <c:v>0</c:v>
                </c:pt>
                <c:pt idx="2342">
                  <c:v>1</c:v>
                </c:pt>
                <c:pt idx="2343">
                  <c:v>2</c:v>
                </c:pt>
                <c:pt idx="2344">
                  <c:v>1</c:v>
                </c:pt>
                <c:pt idx="2345">
                  <c:v>0</c:v>
                </c:pt>
                <c:pt idx="2346">
                  <c:v>0</c:v>
                </c:pt>
                <c:pt idx="2347">
                  <c:v>0</c:v>
                </c:pt>
                <c:pt idx="2348">
                  <c:v>0</c:v>
                </c:pt>
                <c:pt idx="2349">
                  <c:v>0</c:v>
                </c:pt>
                <c:pt idx="2350">
                  <c:v>0</c:v>
                </c:pt>
                <c:pt idx="2351">
                  <c:v>0</c:v>
                </c:pt>
                <c:pt idx="2352">
                  <c:v>2</c:v>
                </c:pt>
                <c:pt idx="2353">
                  <c:v>0</c:v>
                </c:pt>
                <c:pt idx="2354">
                  <c:v>0</c:v>
                </c:pt>
                <c:pt idx="2355">
                  <c:v>3</c:v>
                </c:pt>
                <c:pt idx="2356">
                  <c:v>1</c:v>
                </c:pt>
                <c:pt idx="2357">
                  <c:v>5</c:v>
                </c:pt>
                <c:pt idx="2358">
                  <c:v>0</c:v>
                </c:pt>
                <c:pt idx="2359">
                  <c:v>1</c:v>
                </c:pt>
                <c:pt idx="2360">
                  <c:v>0</c:v>
                </c:pt>
                <c:pt idx="2361">
                  <c:v>2</c:v>
                </c:pt>
                <c:pt idx="2362">
                  <c:v>2</c:v>
                </c:pt>
                <c:pt idx="2363">
                  <c:v>2</c:v>
                </c:pt>
                <c:pt idx="2364">
                  <c:v>0</c:v>
                </c:pt>
                <c:pt idx="2365">
                  <c:v>1</c:v>
                </c:pt>
                <c:pt idx="2366">
                  <c:v>0</c:v>
                </c:pt>
                <c:pt idx="2367">
                  <c:v>0</c:v>
                </c:pt>
                <c:pt idx="2368">
                  <c:v>3</c:v>
                </c:pt>
                <c:pt idx="2369">
                  <c:v>0</c:v>
                </c:pt>
                <c:pt idx="2370">
                  <c:v>0</c:v>
                </c:pt>
                <c:pt idx="2371">
                  <c:v>0</c:v>
                </c:pt>
                <c:pt idx="2372">
                  <c:v>3</c:v>
                </c:pt>
                <c:pt idx="2373">
                  <c:v>0</c:v>
                </c:pt>
                <c:pt idx="2374">
                  <c:v>3</c:v>
                </c:pt>
                <c:pt idx="2375">
                  <c:v>2</c:v>
                </c:pt>
                <c:pt idx="2376">
                  <c:v>1</c:v>
                </c:pt>
                <c:pt idx="2377">
                  <c:v>0</c:v>
                </c:pt>
                <c:pt idx="2378">
                  <c:v>0</c:v>
                </c:pt>
                <c:pt idx="2379">
                  <c:v>0</c:v>
                </c:pt>
                <c:pt idx="2380">
                  <c:v>0</c:v>
                </c:pt>
                <c:pt idx="2381">
                  <c:v>0</c:v>
                </c:pt>
                <c:pt idx="2382">
                  <c:v>3</c:v>
                </c:pt>
                <c:pt idx="2383">
                  <c:v>1</c:v>
                </c:pt>
                <c:pt idx="2384">
                  <c:v>2</c:v>
                </c:pt>
                <c:pt idx="2385">
                  <c:v>0</c:v>
                </c:pt>
                <c:pt idx="2386">
                  <c:v>0</c:v>
                </c:pt>
                <c:pt idx="2387">
                  <c:v>0</c:v>
                </c:pt>
                <c:pt idx="2388">
                  <c:v>5</c:v>
                </c:pt>
                <c:pt idx="2389">
                  <c:v>0</c:v>
                </c:pt>
                <c:pt idx="2390">
                  <c:v>1</c:v>
                </c:pt>
                <c:pt idx="2391">
                  <c:v>1</c:v>
                </c:pt>
                <c:pt idx="2392">
                  <c:v>0</c:v>
                </c:pt>
                <c:pt idx="2393">
                  <c:v>0</c:v>
                </c:pt>
                <c:pt idx="2394">
                  <c:v>2</c:v>
                </c:pt>
                <c:pt idx="2395">
                  <c:v>2</c:v>
                </c:pt>
                <c:pt idx="2396">
                  <c:v>0</c:v>
                </c:pt>
                <c:pt idx="2397">
                  <c:v>0</c:v>
                </c:pt>
                <c:pt idx="2398">
                  <c:v>0</c:v>
                </c:pt>
                <c:pt idx="2399">
                  <c:v>0</c:v>
                </c:pt>
                <c:pt idx="2400">
                  <c:v>0</c:v>
                </c:pt>
                <c:pt idx="2401">
                  <c:v>0</c:v>
                </c:pt>
                <c:pt idx="2402">
                  <c:v>3</c:v>
                </c:pt>
                <c:pt idx="2403">
                  <c:v>3</c:v>
                </c:pt>
                <c:pt idx="2404">
                  <c:v>1</c:v>
                </c:pt>
                <c:pt idx="2405">
                  <c:v>0</c:v>
                </c:pt>
                <c:pt idx="2406">
                  <c:v>1</c:v>
                </c:pt>
                <c:pt idx="2407">
                  <c:v>0</c:v>
                </c:pt>
                <c:pt idx="2408">
                  <c:v>1</c:v>
                </c:pt>
                <c:pt idx="2409">
                  <c:v>2</c:v>
                </c:pt>
                <c:pt idx="2410">
                  <c:v>0</c:v>
                </c:pt>
                <c:pt idx="2411">
                  <c:v>0</c:v>
                </c:pt>
                <c:pt idx="2412">
                  <c:v>0</c:v>
                </c:pt>
                <c:pt idx="2413">
                  <c:v>0</c:v>
                </c:pt>
                <c:pt idx="2414">
                  <c:v>0</c:v>
                </c:pt>
                <c:pt idx="2415">
                  <c:v>0</c:v>
                </c:pt>
                <c:pt idx="2416">
                  <c:v>2</c:v>
                </c:pt>
                <c:pt idx="2417">
                  <c:v>0</c:v>
                </c:pt>
                <c:pt idx="2418">
                  <c:v>3</c:v>
                </c:pt>
                <c:pt idx="2419">
                  <c:v>3</c:v>
                </c:pt>
                <c:pt idx="2420">
                  <c:v>0</c:v>
                </c:pt>
                <c:pt idx="2421">
                  <c:v>0</c:v>
                </c:pt>
                <c:pt idx="2422">
                  <c:v>0</c:v>
                </c:pt>
                <c:pt idx="2423">
                  <c:v>0</c:v>
                </c:pt>
                <c:pt idx="2424">
                  <c:v>0</c:v>
                </c:pt>
                <c:pt idx="2425">
                  <c:v>0</c:v>
                </c:pt>
                <c:pt idx="2426">
                  <c:v>0</c:v>
                </c:pt>
                <c:pt idx="2427">
                  <c:v>1</c:v>
                </c:pt>
                <c:pt idx="2428">
                  <c:v>0</c:v>
                </c:pt>
                <c:pt idx="2429">
                  <c:v>0</c:v>
                </c:pt>
                <c:pt idx="2430">
                  <c:v>9</c:v>
                </c:pt>
                <c:pt idx="2431">
                  <c:v>2</c:v>
                </c:pt>
                <c:pt idx="2432">
                  <c:v>1</c:v>
                </c:pt>
                <c:pt idx="2433">
                  <c:v>6</c:v>
                </c:pt>
                <c:pt idx="2434">
                  <c:v>0</c:v>
                </c:pt>
                <c:pt idx="2435">
                  <c:v>0</c:v>
                </c:pt>
                <c:pt idx="2436">
                  <c:v>0</c:v>
                </c:pt>
                <c:pt idx="2437">
                  <c:v>1</c:v>
                </c:pt>
                <c:pt idx="2438">
                  <c:v>52</c:v>
                </c:pt>
                <c:pt idx="2439">
                  <c:v>1</c:v>
                </c:pt>
                <c:pt idx="2440">
                  <c:v>0</c:v>
                </c:pt>
                <c:pt idx="2441">
                  <c:v>4</c:v>
                </c:pt>
                <c:pt idx="2442">
                  <c:v>3</c:v>
                </c:pt>
                <c:pt idx="2443">
                  <c:v>0</c:v>
                </c:pt>
                <c:pt idx="2444">
                  <c:v>3</c:v>
                </c:pt>
                <c:pt idx="2445">
                  <c:v>0</c:v>
                </c:pt>
                <c:pt idx="2446">
                  <c:v>2</c:v>
                </c:pt>
                <c:pt idx="2447">
                  <c:v>0</c:v>
                </c:pt>
                <c:pt idx="2448">
                  <c:v>2</c:v>
                </c:pt>
                <c:pt idx="2449">
                  <c:v>0</c:v>
                </c:pt>
                <c:pt idx="2450">
                  <c:v>1</c:v>
                </c:pt>
                <c:pt idx="2451">
                  <c:v>2</c:v>
                </c:pt>
                <c:pt idx="2452">
                  <c:v>0</c:v>
                </c:pt>
                <c:pt idx="2453">
                  <c:v>1</c:v>
                </c:pt>
                <c:pt idx="2454">
                  <c:v>1</c:v>
                </c:pt>
                <c:pt idx="2455">
                  <c:v>0</c:v>
                </c:pt>
                <c:pt idx="2456">
                  <c:v>0</c:v>
                </c:pt>
                <c:pt idx="2457">
                  <c:v>0</c:v>
                </c:pt>
                <c:pt idx="2458">
                  <c:v>1</c:v>
                </c:pt>
                <c:pt idx="2459">
                  <c:v>0</c:v>
                </c:pt>
                <c:pt idx="2460">
                  <c:v>0</c:v>
                </c:pt>
                <c:pt idx="2461">
                  <c:v>3</c:v>
                </c:pt>
                <c:pt idx="2462">
                  <c:v>6</c:v>
                </c:pt>
                <c:pt idx="2463">
                  <c:v>0</c:v>
                </c:pt>
                <c:pt idx="2464">
                  <c:v>0</c:v>
                </c:pt>
                <c:pt idx="2465">
                  <c:v>3</c:v>
                </c:pt>
                <c:pt idx="2466">
                  <c:v>2</c:v>
                </c:pt>
                <c:pt idx="2467">
                  <c:v>2</c:v>
                </c:pt>
                <c:pt idx="2468">
                  <c:v>0</c:v>
                </c:pt>
                <c:pt idx="2469">
                  <c:v>1</c:v>
                </c:pt>
                <c:pt idx="2470">
                  <c:v>0</c:v>
                </c:pt>
                <c:pt idx="2471">
                  <c:v>0</c:v>
                </c:pt>
                <c:pt idx="2472">
                  <c:v>0</c:v>
                </c:pt>
                <c:pt idx="2473">
                  <c:v>2</c:v>
                </c:pt>
                <c:pt idx="2474">
                  <c:v>0</c:v>
                </c:pt>
                <c:pt idx="2475">
                  <c:v>0</c:v>
                </c:pt>
                <c:pt idx="2476">
                  <c:v>2</c:v>
                </c:pt>
                <c:pt idx="2477">
                  <c:v>0</c:v>
                </c:pt>
                <c:pt idx="2478">
                  <c:v>1</c:v>
                </c:pt>
                <c:pt idx="2479">
                  <c:v>0</c:v>
                </c:pt>
                <c:pt idx="2480">
                  <c:v>4</c:v>
                </c:pt>
                <c:pt idx="2481">
                  <c:v>0</c:v>
                </c:pt>
                <c:pt idx="2482">
                  <c:v>1</c:v>
                </c:pt>
                <c:pt idx="2483">
                  <c:v>0</c:v>
                </c:pt>
                <c:pt idx="2484">
                  <c:v>1</c:v>
                </c:pt>
                <c:pt idx="2485">
                  <c:v>1</c:v>
                </c:pt>
                <c:pt idx="2486">
                  <c:v>0</c:v>
                </c:pt>
                <c:pt idx="2487">
                  <c:v>0</c:v>
                </c:pt>
                <c:pt idx="2488">
                  <c:v>0</c:v>
                </c:pt>
                <c:pt idx="2489">
                  <c:v>4</c:v>
                </c:pt>
                <c:pt idx="2490">
                  <c:v>0</c:v>
                </c:pt>
                <c:pt idx="2491">
                  <c:v>0</c:v>
                </c:pt>
                <c:pt idx="2492">
                  <c:v>0</c:v>
                </c:pt>
                <c:pt idx="2493">
                  <c:v>2</c:v>
                </c:pt>
                <c:pt idx="2494">
                  <c:v>0</c:v>
                </c:pt>
                <c:pt idx="2495">
                  <c:v>1</c:v>
                </c:pt>
                <c:pt idx="2496">
                  <c:v>0</c:v>
                </c:pt>
                <c:pt idx="2497">
                  <c:v>3</c:v>
                </c:pt>
                <c:pt idx="2498">
                  <c:v>0</c:v>
                </c:pt>
                <c:pt idx="2499">
                  <c:v>0</c:v>
                </c:pt>
                <c:pt idx="2500">
                  <c:v>0</c:v>
                </c:pt>
                <c:pt idx="2501">
                  <c:v>0</c:v>
                </c:pt>
                <c:pt idx="2502">
                  <c:v>0</c:v>
                </c:pt>
                <c:pt idx="2503">
                  <c:v>2</c:v>
                </c:pt>
                <c:pt idx="2504">
                  <c:v>9</c:v>
                </c:pt>
                <c:pt idx="2505">
                  <c:v>2</c:v>
                </c:pt>
                <c:pt idx="2506">
                  <c:v>1</c:v>
                </c:pt>
                <c:pt idx="2507">
                  <c:v>0</c:v>
                </c:pt>
                <c:pt idx="2508">
                  <c:v>0</c:v>
                </c:pt>
                <c:pt idx="2509">
                  <c:v>0</c:v>
                </c:pt>
                <c:pt idx="2510">
                  <c:v>2</c:v>
                </c:pt>
                <c:pt idx="2511">
                  <c:v>0</c:v>
                </c:pt>
                <c:pt idx="2512">
                  <c:v>2</c:v>
                </c:pt>
                <c:pt idx="2513">
                  <c:v>1</c:v>
                </c:pt>
                <c:pt idx="2514">
                  <c:v>0</c:v>
                </c:pt>
                <c:pt idx="2515">
                  <c:v>0</c:v>
                </c:pt>
                <c:pt idx="2516">
                  <c:v>6</c:v>
                </c:pt>
                <c:pt idx="2517">
                  <c:v>0</c:v>
                </c:pt>
                <c:pt idx="2518">
                  <c:v>4</c:v>
                </c:pt>
                <c:pt idx="2519">
                  <c:v>2</c:v>
                </c:pt>
                <c:pt idx="2520">
                  <c:v>0</c:v>
                </c:pt>
                <c:pt idx="2521">
                  <c:v>0</c:v>
                </c:pt>
                <c:pt idx="2522">
                  <c:v>0</c:v>
                </c:pt>
                <c:pt idx="2523">
                  <c:v>2</c:v>
                </c:pt>
                <c:pt idx="2524">
                  <c:v>4</c:v>
                </c:pt>
                <c:pt idx="2525">
                  <c:v>0</c:v>
                </c:pt>
                <c:pt idx="2526">
                  <c:v>1</c:v>
                </c:pt>
                <c:pt idx="2527">
                  <c:v>5</c:v>
                </c:pt>
                <c:pt idx="2528">
                  <c:v>1</c:v>
                </c:pt>
                <c:pt idx="2529">
                  <c:v>0</c:v>
                </c:pt>
                <c:pt idx="2530">
                  <c:v>4</c:v>
                </c:pt>
                <c:pt idx="2531">
                  <c:v>1</c:v>
                </c:pt>
                <c:pt idx="2532">
                  <c:v>0</c:v>
                </c:pt>
                <c:pt idx="2533">
                  <c:v>3</c:v>
                </c:pt>
                <c:pt idx="2534">
                  <c:v>0</c:v>
                </c:pt>
                <c:pt idx="2535">
                  <c:v>2</c:v>
                </c:pt>
                <c:pt idx="2536">
                  <c:v>3</c:v>
                </c:pt>
                <c:pt idx="2537">
                  <c:v>0</c:v>
                </c:pt>
                <c:pt idx="2538">
                  <c:v>0</c:v>
                </c:pt>
                <c:pt idx="2539">
                  <c:v>1</c:v>
                </c:pt>
                <c:pt idx="2540">
                  <c:v>1</c:v>
                </c:pt>
                <c:pt idx="2541">
                  <c:v>4</c:v>
                </c:pt>
                <c:pt idx="2542">
                  <c:v>0</c:v>
                </c:pt>
                <c:pt idx="2543">
                  <c:v>1</c:v>
                </c:pt>
                <c:pt idx="2544">
                  <c:v>1</c:v>
                </c:pt>
                <c:pt idx="2545">
                  <c:v>0</c:v>
                </c:pt>
                <c:pt idx="2546">
                  <c:v>0</c:v>
                </c:pt>
                <c:pt idx="2547">
                  <c:v>0</c:v>
                </c:pt>
                <c:pt idx="2548">
                  <c:v>0</c:v>
                </c:pt>
                <c:pt idx="2549">
                  <c:v>0</c:v>
                </c:pt>
                <c:pt idx="2550">
                  <c:v>1</c:v>
                </c:pt>
                <c:pt idx="2551">
                  <c:v>1</c:v>
                </c:pt>
                <c:pt idx="2552">
                  <c:v>0</c:v>
                </c:pt>
                <c:pt idx="2553">
                  <c:v>1</c:v>
                </c:pt>
                <c:pt idx="2554">
                  <c:v>4</c:v>
                </c:pt>
                <c:pt idx="2555">
                  <c:v>1</c:v>
                </c:pt>
                <c:pt idx="2556">
                  <c:v>1</c:v>
                </c:pt>
                <c:pt idx="2557">
                  <c:v>1</c:v>
                </c:pt>
                <c:pt idx="2558">
                  <c:v>0</c:v>
                </c:pt>
                <c:pt idx="2559">
                  <c:v>5</c:v>
                </c:pt>
                <c:pt idx="2560">
                  <c:v>0</c:v>
                </c:pt>
                <c:pt idx="2561">
                  <c:v>0</c:v>
                </c:pt>
                <c:pt idx="2562">
                  <c:v>0</c:v>
                </c:pt>
                <c:pt idx="2563">
                  <c:v>0</c:v>
                </c:pt>
                <c:pt idx="2564">
                  <c:v>1</c:v>
                </c:pt>
                <c:pt idx="2565">
                  <c:v>1</c:v>
                </c:pt>
                <c:pt idx="2566">
                  <c:v>0</c:v>
                </c:pt>
                <c:pt idx="2567">
                  <c:v>0</c:v>
                </c:pt>
                <c:pt idx="2568">
                  <c:v>2</c:v>
                </c:pt>
                <c:pt idx="2569">
                  <c:v>2</c:v>
                </c:pt>
                <c:pt idx="2570">
                  <c:v>0</c:v>
                </c:pt>
                <c:pt idx="2571">
                  <c:v>3</c:v>
                </c:pt>
                <c:pt idx="2572">
                  <c:v>0</c:v>
                </c:pt>
                <c:pt idx="2573">
                  <c:v>1</c:v>
                </c:pt>
                <c:pt idx="2574">
                  <c:v>2</c:v>
                </c:pt>
                <c:pt idx="2575">
                  <c:v>0</c:v>
                </c:pt>
                <c:pt idx="2576">
                  <c:v>0</c:v>
                </c:pt>
                <c:pt idx="2577">
                  <c:v>1</c:v>
                </c:pt>
                <c:pt idx="2578">
                  <c:v>0</c:v>
                </c:pt>
                <c:pt idx="2579">
                  <c:v>0</c:v>
                </c:pt>
                <c:pt idx="2580">
                  <c:v>1</c:v>
                </c:pt>
                <c:pt idx="2581">
                  <c:v>0</c:v>
                </c:pt>
                <c:pt idx="2582">
                  <c:v>0</c:v>
                </c:pt>
                <c:pt idx="2583">
                  <c:v>1</c:v>
                </c:pt>
                <c:pt idx="2584">
                  <c:v>1</c:v>
                </c:pt>
                <c:pt idx="2585">
                  <c:v>1</c:v>
                </c:pt>
                <c:pt idx="2586">
                  <c:v>1</c:v>
                </c:pt>
                <c:pt idx="2587">
                  <c:v>6</c:v>
                </c:pt>
                <c:pt idx="2588">
                  <c:v>0</c:v>
                </c:pt>
                <c:pt idx="2589">
                  <c:v>4</c:v>
                </c:pt>
                <c:pt idx="2590">
                  <c:v>0</c:v>
                </c:pt>
                <c:pt idx="2591">
                  <c:v>0</c:v>
                </c:pt>
                <c:pt idx="2592">
                  <c:v>0</c:v>
                </c:pt>
                <c:pt idx="2593">
                  <c:v>10</c:v>
                </c:pt>
                <c:pt idx="2594">
                  <c:v>0</c:v>
                </c:pt>
                <c:pt idx="2595">
                  <c:v>0</c:v>
                </c:pt>
                <c:pt idx="2596">
                  <c:v>1</c:v>
                </c:pt>
                <c:pt idx="2597">
                  <c:v>1</c:v>
                </c:pt>
                <c:pt idx="2598">
                  <c:v>0</c:v>
                </c:pt>
                <c:pt idx="2599">
                  <c:v>2</c:v>
                </c:pt>
                <c:pt idx="2600">
                  <c:v>0</c:v>
                </c:pt>
                <c:pt idx="2601">
                  <c:v>0</c:v>
                </c:pt>
                <c:pt idx="2602">
                  <c:v>2</c:v>
                </c:pt>
                <c:pt idx="2603">
                  <c:v>0</c:v>
                </c:pt>
                <c:pt idx="2604">
                  <c:v>0</c:v>
                </c:pt>
                <c:pt idx="2605">
                  <c:v>0</c:v>
                </c:pt>
                <c:pt idx="2606">
                  <c:v>6</c:v>
                </c:pt>
                <c:pt idx="2607">
                  <c:v>0</c:v>
                </c:pt>
                <c:pt idx="2608">
                  <c:v>1</c:v>
                </c:pt>
                <c:pt idx="2609">
                  <c:v>1</c:v>
                </c:pt>
                <c:pt idx="2610">
                  <c:v>0</c:v>
                </c:pt>
                <c:pt idx="2611">
                  <c:v>1</c:v>
                </c:pt>
                <c:pt idx="2612">
                  <c:v>1</c:v>
                </c:pt>
                <c:pt idx="2613">
                  <c:v>0</c:v>
                </c:pt>
                <c:pt idx="2614">
                  <c:v>1</c:v>
                </c:pt>
                <c:pt idx="2615">
                  <c:v>3</c:v>
                </c:pt>
                <c:pt idx="2616">
                  <c:v>0</c:v>
                </c:pt>
                <c:pt idx="2617">
                  <c:v>0</c:v>
                </c:pt>
                <c:pt idx="2618">
                  <c:v>0</c:v>
                </c:pt>
                <c:pt idx="2619">
                  <c:v>2</c:v>
                </c:pt>
                <c:pt idx="2620">
                  <c:v>1</c:v>
                </c:pt>
                <c:pt idx="2621">
                  <c:v>0</c:v>
                </c:pt>
                <c:pt idx="2622">
                  <c:v>4</c:v>
                </c:pt>
                <c:pt idx="2623">
                  <c:v>0</c:v>
                </c:pt>
                <c:pt idx="2624">
                  <c:v>2</c:v>
                </c:pt>
                <c:pt idx="2625">
                  <c:v>0</c:v>
                </c:pt>
                <c:pt idx="2626">
                  <c:v>0</c:v>
                </c:pt>
                <c:pt idx="2627">
                  <c:v>0</c:v>
                </c:pt>
                <c:pt idx="2628">
                  <c:v>0</c:v>
                </c:pt>
                <c:pt idx="2629">
                  <c:v>3</c:v>
                </c:pt>
                <c:pt idx="2630">
                  <c:v>1</c:v>
                </c:pt>
                <c:pt idx="2631">
                  <c:v>0</c:v>
                </c:pt>
                <c:pt idx="2632">
                  <c:v>3</c:v>
                </c:pt>
                <c:pt idx="2633">
                  <c:v>0</c:v>
                </c:pt>
                <c:pt idx="2634">
                  <c:v>0</c:v>
                </c:pt>
                <c:pt idx="2635">
                  <c:v>2</c:v>
                </c:pt>
                <c:pt idx="2636">
                  <c:v>3</c:v>
                </c:pt>
                <c:pt idx="2637">
                  <c:v>1</c:v>
                </c:pt>
                <c:pt idx="2638">
                  <c:v>2</c:v>
                </c:pt>
                <c:pt idx="2639">
                  <c:v>0</c:v>
                </c:pt>
                <c:pt idx="2640">
                  <c:v>1</c:v>
                </c:pt>
                <c:pt idx="2641">
                  <c:v>0</c:v>
                </c:pt>
                <c:pt idx="2642">
                  <c:v>0</c:v>
                </c:pt>
                <c:pt idx="2643">
                  <c:v>2</c:v>
                </c:pt>
                <c:pt idx="2644">
                  <c:v>1</c:v>
                </c:pt>
                <c:pt idx="2645">
                  <c:v>1</c:v>
                </c:pt>
                <c:pt idx="2646">
                  <c:v>0</c:v>
                </c:pt>
                <c:pt idx="2647">
                  <c:v>1</c:v>
                </c:pt>
                <c:pt idx="2648">
                  <c:v>2</c:v>
                </c:pt>
                <c:pt idx="2649">
                  <c:v>0</c:v>
                </c:pt>
                <c:pt idx="2650">
                  <c:v>1</c:v>
                </c:pt>
                <c:pt idx="2651">
                  <c:v>5</c:v>
                </c:pt>
                <c:pt idx="2652">
                  <c:v>2</c:v>
                </c:pt>
                <c:pt idx="2653">
                  <c:v>3</c:v>
                </c:pt>
                <c:pt idx="2654">
                  <c:v>2</c:v>
                </c:pt>
                <c:pt idx="2655">
                  <c:v>0</c:v>
                </c:pt>
                <c:pt idx="2656">
                  <c:v>2</c:v>
                </c:pt>
                <c:pt idx="2657">
                  <c:v>3</c:v>
                </c:pt>
                <c:pt idx="2658">
                  <c:v>4</c:v>
                </c:pt>
                <c:pt idx="2659">
                  <c:v>3</c:v>
                </c:pt>
                <c:pt idx="2660">
                  <c:v>0</c:v>
                </c:pt>
                <c:pt idx="2661">
                  <c:v>6</c:v>
                </c:pt>
                <c:pt idx="2662">
                  <c:v>0</c:v>
                </c:pt>
                <c:pt idx="2663">
                  <c:v>3</c:v>
                </c:pt>
                <c:pt idx="2664">
                  <c:v>0</c:v>
                </c:pt>
                <c:pt idx="2665">
                  <c:v>1</c:v>
                </c:pt>
                <c:pt idx="2666">
                  <c:v>16</c:v>
                </c:pt>
                <c:pt idx="2667">
                  <c:v>0</c:v>
                </c:pt>
                <c:pt idx="2668">
                  <c:v>0</c:v>
                </c:pt>
                <c:pt idx="2669">
                  <c:v>0</c:v>
                </c:pt>
                <c:pt idx="2670">
                  <c:v>3</c:v>
                </c:pt>
                <c:pt idx="2671">
                  <c:v>2</c:v>
                </c:pt>
                <c:pt idx="2672">
                  <c:v>0</c:v>
                </c:pt>
                <c:pt idx="2673">
                  <c:v>3</c:v>
                </c:pt>
                <c:pt idx="2674">
                  <c:v>0</c:v>
                </c:pt>
                <c:pt idx="2675">
                  <c:v>1</c:v>
                </c:pt>
                <c:pt idx="2676">
                  <c:v>0</c:v>
                </c:pt>
                <c:pt idx="2677">
                  <c:v>1</c:v>
                </c:pt>
                <c:pt idx="2678">
                  <c:v>0</c:v>
                </c:pt>
                <c:pt idx="2679">
                  <c:v>1</c:v>
                </c:pt>
                <c:pt idx="2680">
                  <c:v>0</c:v>
                </c:pt>
                <c:pt idx="2681">
                  <c:v>0</c:v>
                </c:pt>
                <c:pt idx="2682">
                  <c:v>0</c:v>
                </c:pt>
                <c:pt idx="2683">
                  <c:v>1</c:v>
                </c:pt>
                <c:pt idx="2684">
                  <c:v>0</c:v>
                </c:pt>
                <c:pt idx="2685">
                  <c:v>0</c:v>
                </c:pt>
                <c:pt idx="2686">
                  <c:v>0</c:v>
                </c:pt>
                <c:pt idx="2687">
                  <c:v>4</c:v>
                </c:pt>
                <c:pt idx="2688">
                  <c:v>1</c:v>
                </c:pt>
                <c:pt idx="2689">
                  <c:v>3</c:v>
                </c:pt>
                <c:pt idx="2690">
                  <c:v>2</c:v>
                </c:pt>
                <c:pt idx="2691">
                  <c:v>0</c:v>
                </c:pt>
                <c:pt idx="2692">
                  <c:v>0</c:v>
                </c:pt>
                <c:pt idx="2693">
                  <c:v>0</c:v>
                </c:pt>
                <c:pt idx="2694">
                  <c:v>0</c:v>
                </c:pt>
                <c:pt idx="2695">
                  <c:v>1</c:v>
                </c:pt>
                <c:pt idx="2696">
                  <c:v>0</c:v>
                </c:pt>
                <c:pt idx="2697">
                  <c:v>0</c:v>
                </c:pt>
                <c:pt idx="2698">
                  <c:v>0</c:v>
                </c:pt>
                <c:pt idx="2699">
                  <c:v>0</c:v>
                </c:pt>
                <c:pt idx="2700">
                  <c:v>3</c:v>
                </c:pt>
                <c:pt idx="2701">
                  <c:v>0</c:v>
                </c:pt>
                <c:pt idx="2702">
                  <c:v>9</c:v>
                </c:pt>
                <c:pt idx="2703">
                  <c:v>0</c:v>
                </c:pt>
                <c:pt idx="2704">
                  <c:v>0</c:v>
                </c:pt>
                <c:pt idx="2705">
                  <c:v>0</c:v>
                </c:pt>
                <c:pt idx="2706">
                  <c:v>0</c:v>
                </c:pt>
                <c:pt idx="2707">
                  <c:v>1</c:v>
                </c:pt>
                <c:pt idx="2708">
                  <c:v>0</c:v>
                </c:pt>
                <c:pt idx="2709">
                  <c:v>0</c:v>
                </c:pt>
                <c:pt idx="2710">
                  <c:v>0</c:v>
                </c:pt>
                <c:pt idx="2711">
                  <c:v>3</c:v>
                </c:pt>
                <c:pt idx="2712">
                  <c:v>0</c:v>
                </c:pt>
                <c:pt idx="2713">
                  <c:v>2</c:v>
                </c:pt>
                <c:pt idx="2714">
                  <c:v>0</c:v>
                </c:pt>
                <c:pt idx="2715">
                  <c:v>1</c:v>
                </c:pt>
                <c:pt idx="2716">
                  <c:v>0</c:v>
                </c:pt>
                <c:pt idx="2717">
                  <c:v>0</c:v>
                </c:pt>
                <c:pt idx="2718">
                  <c:v>4</c:v>
                </c:pt>
                <c:pt idx="2719">
                  <c:v>0</c:v>
                </c:pt>
                <c:pt idx="2720">
                  <c:v>2</c:v>
                </c:pt>
                <c:pt idx="2721">
                  <c:v>0</c:v>
                </c:pt>
                <c:pt idx="2722">
                  <c:v>1</c:v>
                </c:pt>
                <c:pt idx="2723">
                  <c:v>3</c:v>
                </c:pt>
                <c:pt idx="2724">
                  <c:v>1</c:v>
                </c:pt>
                <c:pt idx="2725">
                  <c:v>2</c:v>
                </c:pt>
                <c:pt idx="2726">
                  <c:v>1</c:v>
                </c:pt>
                <c:pt idx="2727">
                  <c:v>1</c:v>
                </c:pt>
                <c:pt idx="2728">
                  <c:v>0</c:v>
                </c:pt>
                <c:pt idx="2729">
                  <c:v>0</c:v>
                </c:pt>
                <c:pt idx="2730">
                  <c:v>0</c:v>
                </c:pt>
                <c:pt idx="2731">
                  <c:v>0</c:v>
                </c:pt>
                <c:pt idx="2732">
                  <c:v>2</c:v>
                </c:pt>
                <c:pt idx="2733">
                  <c:v>0</c:v>
                </c:pt>
                <c:pt idx="2734">
                  <c:v>3</c:v>
                </c:pt>
                <c:pt idx="2735">
                  <c:v>0</c:v>
                </c:pt>
                <c:pt idx="2736">
                  <c:v>0</c:v>
                </c:pt>
                <c:pt idx="2737">
                  <c:v>0</c:v>
                </c:pt>
                <c:pt idx="2738">
                  <c:v>0</c:v>
                </c:pt>
                <c:pt idx="2739">
                  <c:v>3</c:v>
                </c:pt>
                <c:pt idx="2740">
                  <c:v>2</c:v>
                </c:pt>
                <c:pt idx="2741">
                  <c:v>4</c:v>
                </c:pt>
                <c:pt idx="2742">
                  <c:v>1</c:v>
                </c:pt>
                <c:pt idx="2743">
                  <c:v>3</c:v>
                </c:pt>
                <c:pt idx="2744">
                  <c:v>0</c:v>
                </c:pt>
                <c:pt idx="2745">
                  <c:v>0</c:v>
                </c:pt>
                <c:pt idx="2746">
                  <c:v>1</c:v>
                </c:pt>
                <c:pt idx="2747">
                  <c:v>1</c:v>
                </c:pt>
                <c:pt idx="2748">
                  <c:v>3</c:v>
                </c:pt>
                <c:pt idx="2749">
                  <c:v>1</c:v>
                </c:pt>
                <c:pt idx="2750">
                  <c:v>1</c:v>
                </c:pt>
                <c:pt idx="2751">
                  <c:v>0</c:v>
                </c:pt>
                <c:pt idx="2752">
                  <c:v>0</c:v>
                </c:pt>
                <c:pt idx="2753">
                  <c:v>2</c:v>
                </c:pt>
                <c:pt idx="2754">
                  <c:v>0</c:v>
                </c:pt>
                <c:pt idx="2755">
                  <c:v>0</c:v>
                </c:pt>
                <c:pt idx="2756">
                  <c:v>1</c:v>
                </c:pt>
                <c:pt idx="2757">
                  <c:v>0</c:v>
                </c:pt>
                <c:pt idx="2758">
                  <c:v>1</c:v>
                </c:pt>
                <c:pt idx="2759">
                  <c:v>0</c:v>
                </c:pt>
                <c:pt idx="2760">
                  <c:v>1</c:v>
                </c:pt>
                <c:pt idx="2761">
                  <c:v>0</c:v>
                </c:pt>
                <c:pt idx="2762">
                  <c:v>1</c:v>
                </c:pt>
                <c:pt idx="2763">
                  <c:v>1</c:v>
                </c:pt>
                <c:pt idx="2764">
                  <c:v>0</c:v>
                </c:pt>
                <c:pt idx="2765">
                  <c:v>7</c:v>
                </c:pt>
                <c:pt idx="2766">
                  <c:v>0</c:v>
                </c:pt>
                <c:pt idx="2767">
                  <c:v>0</c:v>
                </c:pt>
                <c:pt idx="2768">
                  <c:v>7</c:v>
                </c:pt>
                <c:pt idx="2769">
                  <c:v>0</c:v>
                </c:pt>
                <c:pt idx="2770">
                  <c:v>1</c:v>
                </c:pt>
                <c:pt idx="2771">
                  <c:v>0</c:v>
                </c:pt>
                <c:pt idx="2772">
                  <c:v>1</c:v>
                </c:pt>
                <c:pt idx="2773">
                  <c:v>0</c:v>
                </c:pt>
                <c:pt idx="2774">
                  <c:v>1</c:v>
                </c:pt>
                <c:pt idx="2775">
                  <c:v>0</c:v>
                </c:pt>
                <c:pt idx="2776">
                  <c:v>0</c:v>
                </c:pt>
                <c:pt idx="2777">
                  <c:v>1</c:v>
                </c:pt>
                <c:pt idx="2778">
                  <c:v>4</c:v>
                </c:pt>
                <c:pt idx="2779">
                  <c:v>0</c:v>
                </c:pt>
                <c:pt idx="2780">
                  <c:v>0</c:v>
                </c:pt>
                <c:pt idx="2781">
                  <c:v>1</c:v>
                </c:pt>
                <c:pt idx="2782">
                  <c:v>0</c:v>
                </c:pt>
                <c:pt idx="2783">
                  <c:v>1</c:v>
                </c:pt>
                <c:pt idx="2784">
                  <c:v>5</c:v>
                </c:pt>
                <c:pt idx="2785">
                  <c:v>0</c:v>
                </c:pt>
                <c:pt idx="2786">
                  <c:v>0</c:v>
                </c:pt>
                <c:pt idx="2787">
                  <c:v>0</c:v>
                </c:pt>
                <c:pt idx="2788">
                  <c:v>0</c:v>
                </c:pt>
                <c:pt idx="2789">
                  <c:v>1</c:v>
                </c:pt>
                <c:pt idx="2790">
                  <c:v>0</c:v>
                </c:pt>
                <c:pt idx="2791">
                  <c:v>2</c:v>
                </c:pt>
                <c:pt idx="2792">
                  <c:v>0</c:v>
                </c:pt>
                <c:pt idx="2793">
                  <c:v>1</c:v>
                </c:pt>
                <c:pt idx="2794">
                  <c:v>4</c:v>
                </c:pt>
                <c:pt idx="2795">
                  <c:v>0</c:v>
                </c:pt>
                <c:pt idx="2796">
                  <c:v>1</c:v>
                </c:pt>
                <c:pt idx="2797">
                  <c:v>0</c:v>
                </c:pt>
                <c:pt idx="2798">
                  <c:v>0</c:v>
                </c:pt>
                <c:pt idx="2799">
                  <c:v>0</c:v>
                </c:pt>
                <c:pt idx="2800">
                  <c:v>3</c:v>
                </c:pt>
                <c:pt idx="2801">
                  <c:v>0</c:v>
                </c:pt>
                <c:pt idx="2802">
                  <c:v>1</c:v>
                </c:pt>
                <c:pt idx="2803">
                  <c:v>0</c:v>
                </c:pt>
                <c:pt idx="2804">
                  <c:v>0</c:v>
                </c:pt>
                <c:pt idx="2805">
                  <c:v>17</c:v>
                </c:pt>
                <c:pt idx="2806">
                  <c:v>0</c:v>
                </c:pt>
                <c:pt idx="2807">
                  <c:v>0</c:v>
                </c:pt>
                <c:pt idx="2808">
                  <c:v>0</c:v>
                </c:pt>
                <c:pt idx="2809">
                  <c:v>0</c:v>
                </c:pt>
                <c:pt idx="2810">
                  <c:v>3</c:v>
                </c:pt>
                <c:pt idx="2811">
                  <c:v>3</c:v>
                </c:pt>
                <c:pt idx="2812">
                  <c:v>0</c:v>
                </c:pt>
                <c:pt idx="2813">
                  <c:v>0</c:v>
                </c:pt>
                <c:pt idx="2814">
                  <c:v>0</c:v>
                </c:pt>
                <c:pt idx="2815">
                  <c:v>1</c:v>
                </c:pt>
                <c:pt idx="2816">
                  <c:v>0</c:v>
                </c:pt>
                <c:pt idx="2817">
                  <c:v>5</c:v>
                </c:pt>
                <c:pt idx="2818">
                  <c:v>1</c:v>
                </c:pt>
                <c:pt idx="2819">
                  <c:v>0</c:v>
                </c:pt>
                <c:pt idx="2820">
                  <c:v>0</c:v>
                </c:pt>
                <c:pt idx="2821">
                  <c:v>2</c:v>
                </c:pt>
                <c:pt idx="2822">
                  <c:v>0</c:v>
                </c:pt>
                <c:pt idx="2823">
                  <c:v>0</c:v>
                </c:pt>
                <c:pt idx="2824">
                  <c:v>2</c:v>
                </c:pt>
                <c:pt idx="2825">
                  <c:v>0</c:v>
                </c:pt>
                <c:pt idx="2826">
                  <c:v>1</c:v>
                </c:pt>
                <c:pt idx="2827">
                  <c:v>0</c:v>
                </c:pt>
                <c:pt idx="2828">
                  <c:v>4</c:v>
                </c:pt>
                <c:pt idx="2829">
                  <c:v>1</c:v>
                </c:pt>
                <c:pt idx="2830">
                  <c:v>2</c:v>
                </c:pt>
                <c:pt idx="2831">
                  <c:v>0</c:v>
                </c:pt>
                <c:pt idx="2832">
                  <c:v>0</c:v>
                </c:pt>
                <c:pt idx="2833">
                  <c:v>0</c:v>
                </c:pt>
                <c:pt idx="2834">
                  <c:v>0</c:v>
                </c:pt>
                <c:pt idx="2835">
                  <c:v>0</c:v>
                </c:pt>
                <c:pt idx="2836">
                  <c:v>0</c:v>
                </c:pt>
                <c:pt idx="2837">
                  <c:v>0</c:v>
                </c:pt>
                <c:pt idx="2838">
                  <c:v>1</c:v>
                </c:pt>
                <c:pt idx="2839">
                  <c:v>0</c:v>
                </c:pt>
                <c:pt idx="2840">
                  <c:v>0</c:v>
                </c:pt>
                <c:pt idx="2841">
                  <c:v>1</c:v>
                </c:pt>
                <c:pt idx="2842">
                  <c:v>2</c:v>
                </c:pt>
                <c:pt idx="2843">
                  <c:v>0</c:v>
                </c:pt>
                <c:pt idx="2844">
                  <c:v>0</c:v>
                </c:pt>
                <c:pt idx="2845">
                  <c:v>0</c:v>
                </c:pt>
                <c:pt idx="2846">
                  <c:v>0</c:v>
                </c:pt>
                <c:pt idx="2847">
                  <c:v>0</c:v>
                </c:pt>
                <c:pt idx="2848">
                  <c:v>2</c:v>
                </c:pt>
                <c:pt idx="2849">
                  <c:v>1</c:v>
                </c:pt>
                <c:pt idx="2850">
                  <c:v>0</c:v>
                </c:pt>
                <c:pt idx="2851">
                  <c:v>0</c:v>
                </c:pt>
                <c:pt idx="2852">
                  <c:v>19</c:v>
                </c:pt>
                <c:pt idx="2853">
                  <c:v>3</c:v>
                </c:pt>
                <c:pt idx="2854">
                  <c:v>59</c:v>
                </c:pt>
                <c:pt idx="2855">
                  <c:v>0</c:v>
                </c:pt>
                <c:pt idx="2856">
                  <c:v>22</c:v>
                </c:pt>
                <c:pt idx="2857">
                  <c:v>0</c:v>
                </c:pt>
                <c:pt idx="2858">
                  <c:v>0</c:v>
                </c:pt>
                <c:pt idx="2859">
                  <c:v>0</c:v>
                </c:pt>
                <c:pt idx="2860">
                  <c:v>0</c:v>
                </c:pt>
                <c:pt idx="2861">
                  <c:v>3</c:v>
                </c:pt>
                <c:pt idx="2862">
                  <c:v>0</c:v>
                </c:pt>
                <c:pt idx="2863">
                  <c:v>0</c:v>
                </c:pt>
                <c:pt idx="2864">
                  <c:v>0</c:v>
                </c:pt>
                <c:pt idx="2865">
                  <c:v>1</c:v>
                </c:pt>
                <c:pt idx="2866">
                  <c:v>2</c:v>
                </c:pt>
                <c:pt idx="2867">
                  <c:v>0</c:v>
                </c:pt>
                <c:pt idx="2868">
                  <c:v>0</c:v>
                </c:pt>
                <c:pt idx="2869">
                  <c:v>1</c:v>
                </c:pt>
                <c:pt idx="2870">
                  <c:v>0</c:v>
                </c:pt>
                <c:pt idx="2871">
                  <c:v>0</c:v>
                </c:pt>
                <c:pt idx="2872">
                  <c:v>0</c:v>
                </c:pt>
                <c:pt idx="2873">
                  <c:v>0</c:v>
                </c:pt>
                <c:pt idx="2874">
                  <c:v>0</c:v>
                </c:pt>
                <c:pt idx="2875">
                  <c:v>0</c:v>
                </c:pt>
                <c:pt idx="2876">
                  <c:v>1</c:v>
                </c:pt>
                <c:pt idx="2877">
                  <c:v>0</c:v>
                </c:pt>
                <c:pt idx="2878">
                  <c:v>4</c:v>
                </c:pt>
                <c:pt idx="2879">
                  <c:v>1</c:v>
                </c:pt>
                <c:pt idx="2880">
                  <c:v>0</c:v>
                </c:pt>
                <c:pt idx="2881">
                  <c:v>1</c:v>
                </c:pt>
                <c:pt idx="2882">
                  <c:v>0</c:v>
                </c:pt>
                <c:pt idx="2883">
                  <c:v>2</c:v>
                </c:pt>
                <c:pt idx="2884">
                  <c:v>0</c:v>
                </c:pt>
                <c:pt idx="2885">
                  <c:v>0</c:v>
                </c:pt>
                <c:pt idx="2886">
                  <c:v>2</c:v>
                </c:pt>
                <c:pt idx="2887">
                  <c:v>0</c:v>
                </c:pt>
                <c:pt idx="2888">
                  <c:v>0</c:v>
                </c:pt>
                <c:pt idx="2889">
                  <c:v>0</c:v>
                </c:pt>
                <c:pt idx="2890">
                  <c:v>4</c:v>
                </c:pt>
                <c:pt idx="2891">
                  <c:v>2</c:v>
                </c:pt>
                <c:pt idx="2892">
                  <c:v>0</c:v>
                </c:pt>
                <c:pt idx="2893">
                  <c:v>0</c:v>
                </c:pt>
                <c:pt idx="2894">
                  <c:v>0</c:v>
                </c:pt>
                <c:pt idx="2895">
                  <c:v>2</c:v>
                </c:pt>
                <c:pt idx="2896">
                  <c:v>2</c:v>
                </c:pt>
                <c:pt idx="2897">
                  <c:v>0</c:v>
                </c:pt>
                <c:pt idx="2898">
                  <c:v>1</c:v>
                </c:pt>
                <c:pt idx="2899">
                  <c:v>1</c:v>
                </c:pt>
                <c:pt idx="2900">
                  <c:v>0</c:v>
                </c:pt>
                <c:pt idx="2901">
                  <c:v>0</c:v>
                </c:pt>
                <c:pt idx="2902">
                  <c:v>0</c:v>
                </c:pt>
                <c:pt idx="2903">
                  <c:v>0</c:v>
                </c:pt>
                <c:pt idx="2904">
                  <c:v>1</c:v>
                </c:pt>
                <c:pt idx="2905">
                  <c:v>1</c:v>
                </c:pt>
                <c:pt idx="2906">
                  <c:v>0</c:v>
                </c:pt>
                <c:pt idx="2907">
                  <c:v>0</c:v>
                </c:pt>
                <c:pt idx="2908">
                  <c:v>0</c:v>
                </c:pt>
                <c:pt idx="2909">
                  <c:v>0</c:v>
                </c:pt>
                <c:pt idx="2910">
                  <c:v>0</c:v>
                </c:pt>
                <c:pt idx="2911">
                  <c:v>0</c:v>
                </c:pt>
                <c:pt idx="2912">
                  <c:v>0</c:v>
                </c:pt>
                <c:pt idx="2913">
                  <c:v>4</c:v>
                </c:pt>
                <c:pt idx="2914">
                  <c:v>0</c:v>
                </c:pt>
                <c:pt idx="2915">
                  <c:v>0</c:v>
                </c:pt>
                <c:pt idx="2916">
                  <c:v>1</c:v>
                </c:pt>
                <c:pt idx="2917">
                  <c:v>0</c:v>
                </c:pt>
                <c:pt idx="2918">
                  <c:v>1</c:v>
                </c:pt>
                <c:pt idx="2919">
                  <c:v>0</c:v>
                </c:pt>
                <c:pt idx="2920">
                  <c:v>0</c:v>
                </c:pt>
                <c:pt idx="2921">
                  <c:v>0</c:v>
                </c:pt>
                <c:pt idx="2922">
                  <c:v>1</c:v>
                </c:pt>
                <c:pt idx="2923">
                  <c:v>1</c:v>
                </c:pt>
                <c:pt idx="2924">
                  <c:v>1</c:v>
                </c:pt>
                <c:pt idx="2925">
                  <c:v>0</c:v>
                </c:pt>
                <c:pt idx="2926">
                  <c:v>0</c:v>
                </c:pt>
                <c:pt idx="2927">
                  <c:v>1</c:v>
                </c:pt>
                <c:pt idx="2928">
                  <c:v>0</c:v>
                </c:pt>
                <c:pt idx="2929">
                  <c:v>2</c:v>
                </c:pt>
                <c:pt idx="2930">
                  <c:v>1</c:v>
                </c:pt>
                <c:pt idx="2931">
                  <c:v>0</c:v>
                </c:pt>
                <c:pt idx="2932">
                  <c:v>2</c:v>
                </c:pt>
                <c:pt idx="2933">
                  <c:v>0</c:v>
                </c:pt>
                <c:pt idx="2934">
                  <c:v>0</c:v>
                </c:pt>
                <c:pt idx="2935">
                  <c:v>0</c:v>
                </c:pt>
                <c:pt idx="2936">
                  <c:v>0</c:v>
                </c:pt>
                <c:pt idx="2937">
                  <c:v>5</c:v>
                </c:pt>
                <c:pt idx="2938">
                  <c:v>2</c:v>
                </c:pt>
                <c:pt idx="2939">
                  <c:v>1</c:v>
                </c:pt>
                <c:pt idx="2940">
                  <c:v>2</c:v>
                </c:pt>
                <c:pt idx="2941">
                  <c:v>0</c:v>
                </c:pt>
                <c:pt idx="2942">
                  <c:v>0</c:v>
                </c:pt>
                <c:pt idx="2943">
                  <c:v>3</c:v>
                </c:pt>
                <c:pt idx="2944">
                  <c:v>0</c:v>
                </c:pt>
                <c:pt idx="2945">
                  <c:v>5</c:v>
                </c:pt>
                <c:pt idx="2946">
                  <c:v>0</c:v>
                </c:pt>
                <c:pt idx="2947">
                  <c:v>2</c:v>
                </c:pt>
                <c:pt idx="2948">
                  <c:v>2</c:v>
                </c:pt>
                <c:pt idx="2949">
                  <c:v>1</c:v>
                </c:pt>
                <c:pt idx="2950">
                  <c:v>1</c:v>
                </c:pt>
                <c:pt idx="2951">
                  <c:v>0</c:v>
                </c:pt>
                <c:pt idx="2952">
                  <c:v>6</c:v>
                </c:pt>
                <c:pt idx="2953">
                  <c:v>0</c:v>
                </c:pt>
                <c:pt idx="2954">
                  <c:v>5</c:v>
                </c:pt>
                <c:pt idx="2955">
                  <c:v>0</c:v>
                </c:pt>
                <c:pt idx="2956">
                  <c:v>0</c:v>
                </c:pt>
                <c:pt idx="2957">
                  <c:v>0</c:v>
                </c:pt>
                <c:pt idx="2958">
                  <c:v>0</c:v>
                </c:pt>
                <c:pt idx="2959">
                  <c:v>0</c:v>
                </c:pt>
                <c:pt idx="2960">
                  <c:v>1</c:v>
                </c:pt>
                <c:pt idx="2961">
                  <c:v>1</c:v>
                </c:pt>
                <c:pt idx="2962">
                  <c:v>1</c:v>
                </c:pt>
                <c:pt idx="2963">
                  <c:v>0</c:v>
                </c:pt>
                <c:pt idx="2964">
                  <c:v>2</c:v>
                </c:pt>
                <c:pt idx="2965">
                  <c:v>0</c:v>
                </c:pt>
                <c:pt idx="2966">
                  <c:v>0</c:v>
                </c:pt>
                <c:pt idx="2967">
                  <c:v>6</c:v>
                </c:pt>
                <c:pt idx="2968">
                  <c:v>0</c:v>
                </c:pt>
                <c:pt idx="2969">
                  <c:v>0</c:v>
                </c:pt>
                <c:pt idx="2970">
                  <c:v>1</c:v>
                </c:pt>
                <c:pt idx="2971">
                  <c:v>0</c:v>
                </c:pt>
                <c:pt idx="2972">
                  <c:v>0</c:v>
                </c:pt>
                <c:pt idx="2973">
                  <c:v>1</c:v>
                </c:pt>
                <c:pt idx="2974">
                  <c:v>2</c:v>
                </c:pt>
                <c:pt idx="2975">
                  <c:v>0</c:v>
                </c:pt>
                <c:pt idx="2976">
                  <c:v>1</c:v>
                </c:pt>
                <c:pt idx="2977">
                  <c:v>0</c:v>
                </c:pt>
                <c:pt idx="2978">
                  <c:v>0</c:v>
                </c:pt>
                <c:pt idx="2979">
                  <c:v>0</c:v>
                </c:pt>
                <c:pt idx="2980">
                  <c:v>0</c:v>
                </c:pt>
                <c:pt idx="2981">
                  <c:v>0</c:v>
                </c:pt>
                <c:pt idx="2982">
                  <c:v>0</c:v>
                </c:pt>
                <c:pt idx="2983">
                  <c:v>0</c:v>
                </c:pt>
                <c:pt idx="2984">
                  <c:v>0</c:v>
                </c:pt>
                <c:pt idx="2985">
                  <c:v>2</c:v>
                </c:pt>
                <c:pt idx="2986">
                  <c:v>0</c:v>
                </c:pt>
                <c:pt idx="2987">
                  <c:v>0</c:v>
                </c:pt>
                <c:pt idx="2988">
                  <c:v>0</c:v>
                </c:pt>
                <c:pt idx="2989">
                  <c:v>0</c:v>
                </c:pt>
                <c:pt idx="2990">
                  <c:v>1</c:v>
                </c:pt>
                <c:pt idx="2991">
                  <c:v>2</c:v>
                </c:pt>
                <c:pt idx="2992">
                  <c:v>0</c:v>
                </c:pt>
                <c:pt idx="2993">
                  <c:v>1</c:v>
                </c:pt>
                <c:pt idx="2994">
                  <c:v>0</c:v>
                </c:pt>
                <c:pt idx="2995">
                  <c:v>0</c:v>
                </c:pt>
                <c:pt idx="2996">
                  <c:v>2</c:v>
                </c:pt>
                <c:pt idx="2997">
                  <c:v>1</c:v>
                </c:pt>
                <c:pt idx="2998">
                  <c:v>0</c:v>
                </c:pt>
                <c:pt idx="2999">
                  <c:v>0</c:v>
                </c:pt>
                <c:pt idx="3000">
                  <c:v>1</c:v>
                </c:pt>
                <c:pt idx="3001">
                  <c:v>4</c:v>
                </c:pt>
                <c:pt idx="3002">
                  <c:v>0</c:v>
                </c:pt>
                <c:pt idx="3003">
                  <c:v>0</c:v>
                </c:pt>
                <c:pt idx="3004">
                  <c:v>0</c:v>
                </c:pt>
                <c:pt idx="3005">
                  <c:v>0</c:v>
                </c:pt>
                <c:pt idx="3006">
                  <c:v>3</c:v>
                </c:pt>
                <c:pt idx="3007">
                  <c:v>0</c:v>
                </c:pt>
                <c:pt idx="3008">
                  <c:v>0</c:v>
                </c:pt>
                <c:pt idx="3009">
                  <c:v>0</c:v>
                </c:pt>
                <c:pt idx="3010">
                  <c:v>0</c:v>
                </c:pt>
                <c:pt idx="3011">
                  <c:v>0</c:v>
                </c:pt>
                <c:pt idx="3012">
                  <c:v>0</c:v>
                </c:pt>
                <c:pt idx="3013">
                  <c:v>0</c:v>
                </c:pt>
                <c:pt idx="3014">
                  <c:v>3</c:v>
                </c:pt>
                <c:pt idx="3015">
                  <c:v>1</c:v>
                </c:pt>
                <c:pt idx="3016">
                  <c:v>0</c:v>
                </c:pt>
                <c:pt idx="3017">
                  <c:v>0</c:v>
                </c:pt>
                <c:pt idx="3018">
                  <c:v>1</c:v>
                </c:pt>
                <c:pt idx="3019">
                  <c:v>5</c:v>
                </c:pt>
                <c:pt idx="3020">
                  <c:v>0</c:v>
                </c:pt>
                <c:pt idx="3021">
                  <c:v>0</c:v>
                </c:pt>
                <c:pt idx="3022">
                  <c:v>1</c:v>
                </c:pt>
                <c:pt idx="3023">
                  <c:v>1</c:v>
                </c:pt>
                <c:pt idx="3024">
                  <c:v>1</c:v>
                </c:pt>
                <c:pt idx="3025">
                  <c:v>0</c:v>
                </c:pt>
                <c:pt idx="3026">
                  <c:v>3</c:v>
                </c:pt>
                <c:pt idx="3027">
                  <c:v>4</c:v>
                </c:pt>
                <c:pt idx="3028">
                  <c:v>1</c:v>
                </c:pt>
                <c:pt idx="3029">
                  <c:v>1</c:v>
                </c:pt>
                <c:pt idx="3030">
                  <c:v>0</c:v>
                </c:pt>
                <c:pt idx="3031">
                  <c:v>0</c:v>
                </c:pt>
                <c:pt idx="3032">
                  <c:v>0</c:v>
                </c:pt>
                <c:pt idx="3033">
                  <c:v>0</c:v>
                </c:pt>
                <c:pt idx="3034">
                  <c:v>2</c:v>
                </c:pt>
                <c:pt idx="3035">
                  <c:v>0</c:v>
                </c:pt>
                <c:pt idx="3036">
                  <c:v>0</c:v>
                </c:pt>
                <c:pt idx="3037">
                  <c:v>0</c:v>
                </c:pt>
                <c:pt idx="3038">
                  <c:v>3</c:v>
                </c:pt>
                <c:pt idx="3039">
                  <c:v>1</c:v>
                </c:pt>
                <c:pt idx="3040">
                  <c:v>0</c:v>
                </c:pt>
                <c:pt idx="3041">
                  <c:v>2</c:v>
                </c:pt>
                <c:pt idx="3042">
                  <c:v>8</c:v>
                </c:pt>
                <c:pt idx="3043">
                  <c:v>0</c:v>
                </c:pt>
                <c:pt idx="3044">
                  <c:v>3</c:v>
                </c:pt>
                <c:pt idx="3045">
                  <c:v>0</c:v>
                </c:pt>
                <c:pt idx="3046">
                  <c:v>1</c:v>
                </c:pt>
                <c:pt idx="3047">
                  <c:v>2</c:v>
                </c:pt>
                <c:pt idx="3048">
                  <c:v>1</c:v>
                </c:pt>
                <c:pt idx="3049">
                  <c:v>1</c:v>
                </c:pt>
                <c:pt idx="3050">
                  <c:v>0</c:v>
                </c:pt>
                <c:pt idx="3051">
                  <c:v>0</c:v>
                </c:pt>
                <c:pt idx="3052">
                  <c:v>0</c:v>
                </c:pt>
                <c:pt idx="3053">
                  <c:v>2</c:v>
                </c:pt>
                <c:pt idx="3054">
                  <c:v>7</c:v>
                </c:pt>
                <c:pt idx="3055">
                  <c:v>0</c:v>
                </c:pt>
                <c:pt idx="3056">
                  <c:v>1</c:v>
                </c:pt>
                <c:pt idx="3057">
                  <c:v>0</c:v>
                </c:pt>
                <c:pt idx="3058">
                  <c:v>0</c:v>
                </c:pt>
                <c:pt idx="3059">
                  <c:v>1</c:v>
                </c:pt>
                <c:pt idx="3060">
                  <c:v>0</c:v>
                </c:pt>
                <c:pt idx="3061">
                  <c:v>1</c:v>
                </c:pt>
                <c:pt idx="3062">
                  <c:v>0</c:v>
                </c:pt>
                <c:pt idx="3063">
                  <c:v>3</c:v>
                </c:pt>
                <c:pt idx="3064">
                  <c:v>0</c:v>
                </c:pt>
                <c:pt idx="3065">
                  <c:v>2</c:v>
                </c:pt>
                <c:pt idx="3066">
                  <c:v>0</c:v>
                </c:pt>
                <c:pt idx="3067">
                  <c:v>0</c:v>
                </c:pt>
                <c:pt idx="3068">
                  <c:v>0</c:v>
                </c:pt>
                <c:pt idx="3069">
                  <c:v>0</c:v>
                </c:pt>
                <c:pt idx="3070">
                  <c:v>1</c:v>
                </c:pt>
                <c:pt idx="3071">
                  <c:v>0</c:v>
                </c:pt>
                <c:pt idx="3072">
                  <c:v>0</c:v>
                </c:pt>
                <c:pt idx="3073">
                  <c:v>0</c:v>
                </c:pt>
                <c:pt idx="3074">
                  <c:v>0</c:v>
                </c:pt>
                <c:pt idx="3075">
                  <c:v>1</c:v>
                </c:pt>
                <c:pt idx="3076">
                  <c:v>0</c:v>
                </c:pt>
                <c:pt idx="3077">
                  <c:v>0</c:v>
                </c:pt>
                <c:pt idx="3078">
                  <c:v>4</c:v>
                </c:pt>
                <c:pt idx="3079">
                  <c:v>0</c:v>
                </c:pt>
                <c:pt idx="3080">
                  <c:v>1</c:v>
                </c:pt>
                <c:pt idx="3081">
                  <c:v>4</c:v>
                </c:pt>
                <c:pt idx="3082">
                  <c:v>0</c:v>
                </c:pt>
                <c:pt idx="3083">
                  <c:v>0</c:v>
                </c:pt>
                <c:pt idx="3084">
                  <c:v>0</c:v>
                </c:pt>
                <c:pt idx="3085">
                  <c:v>4</c:v>
                </c:pt>
                <c:pt idx="3086">
                  <c:v>0</c:v>
                </c:pt>
                <c:pt idx="3087">
                  <c:v>1</c:v>
                </c:pt>
                <c:pt idx="3088">
                  <c:v>1</c:v>
                </c:pt>
                <c:pt idx="3089">
                  <c:v>0</c:v>
                </c:pt>
                <c:pt idx="3090">
                  <c:v>0</c:v>
                </c:pt>
                <c:pt idx="3091">
                  <c:v>1</c:v>
                </c:pt>
                <c:pt idx="3092">
                  <c:v>0</c:v>
                </c:pt>
                <c:pt idx="3093">
                  <c:v>0</c:v>
                </c:pt>
                <c:pt idx="3094">
                  <c:v>0</c:v>
                </c:pt>
                <c:pt idx="3095">
                  <c:v>0</c:v>
                </c:pt>
                <c:pt idx="3096">
                  <c:v>0</c:v>
                </c:pt>
                <c:pt idx="3097">
                  <c:v>3</c:v>
                </c:pt>
                <c:pt idx="3098">
                  <c:v>0</c:v>
                </c:pt>
                <c:pt idx="3099">
                  <c:v>0</c:v>
                </c:pt>
                <c:pt idx="3100">
                  <c:v>0</c:v>
                </c:pt>
                <c:pt idx="3101">
                  <c:v>4</c:v>
                </c:pt>
                <c:pt idx="3102">
                  <c:v>1</c:v>
                </c:pt>
                <c:pt idx="3103">
                  <c:v>1</c:v>
                </c:pt>
                <c:pt idx="3104">
                  <c:v>0</c:v>
                </c:pt>
                <c:pt idx="3105">
                  <c:v>0</c:v>
                </c:pt>
                <c:pt idx="3106">
                  <c:v>2</c:v>
                </c:pt>
                <c:pt idx="3107">
                  <c:v>2</c:v>
                </c:pt>
                <c:pt idx="3108">
                  <c:v>4</c:v>
                </c:pt>
                <c:pt idx="3109">
                  <c:v>1</c:v>
                </c:pt>
                <c:pt idx="3110">
                  <c:v>0</c:v>
                </c:pt>
                <c:pt idx="3111">
                  <c:v>0</c:v>
                </c:pt>
                <c:pt idx="3112">
                  <c:v>5</c:v>
                </c:pt>
                <c:pt idx="3113">
                  <c:v>3</c:v>
                </c:pt>
                <c:pt idx="3114">
                  <c:v>1</c:v>
                </c:pt>
                <c:pt idx="3115">
                  <c:v>1</c:v>
                </c:pt>
                <c:pt idx="3116">
                  <c:v>1</c:v>
                </c:pt>
                <c:pt idx="3117">
                  <c:v>0</c:v>
                </c:pt>
                <c:pt idx="3118">
                  <c:v>1</c:v>
                </c:pt>
                <c:pt idx="3119">
                  <c:v>0</c:v>
                </c:pt>
                <c:pt idx="3120">
                  <c:v>1</c:v>
                </c:pt>
                <c:pt idx="3121">
                  <c:v>1</c:v>
                </c:pt>
                <c:pt idx="3122">
                  <c:v>0</c:v>
                </c:pt>
                <c:pt idx="3123">
                  <c:v>0</c:v>
                </c:pt>
                <c:pt idx="3124">
                  <c:v>0</c:v>
                </c:pt>
                <c:pt idx="3125">
                  <c:v>0</c:v>
                </c:pt>
                <c:pt idx="3126">
                  <c:v>3</c:v>
                </c:pt>
                <c:pt idx="3127">
                  <c:v>0</c:v>
                </c:pt>
                <c:pt idx="3128">
                  <c:v>0</c:v>
                </c:pt>
                <c:pt idx="3129">
                  <c:v>2</c:v>
                </c:pt>
                <c:pt idx="3130">
                  <c:v>0</c:v>
                </c:pt>
                <c:pt idx="3131">
                  <c:v>0</c:v>
                </c:pt>
                <c:pt idx="3132">
                  <c:v>0</c:v>
                </c:pt>
                <c:pt idx="3133">
                  <c:v>0</c:v>
                </c:pt>
                <c:pt idx="3134">
                  <c:v>0</c:v>
                </c:pt>
                <c:pt idx="3135">
                  <c:v>0</c:v>
                </c:pt>
                <c:pt idx="3136">
                  <c:v>0</c:v>
                </c:pt>
                <c:pt idx="3137">
                  <c:v>0</c:v>
                </c:pt>
                <c:pt idx="3138">
                  <c:v>0</c:v>
                </c:pt>
                <c:pt idx="3139">
                  <c:v>0</c:v>
                </c:pt>
                <c:pt idx="3140">
                  <c:v>1</c:v>
                </c:pt>
                <c:pt idx="3141">
                  <c:v>0</c:v>
                </c:pt>
                <c:pt idx="3142">
                  <c:v>0</c:v>
                </c:pt>
                <c:pt idx="3143">
                  <c:v>1</c:v>
                </c:pt>
                <c:pt idx="3144">
                  <c:v>3</c:v>
                </c:pt>
                <c:pt idx="3145">
                  <c:v>0</c:v>
                </c:pt>
                <c:pt idx="3146">
                  <c:v>0</c:v>
                </c:pt>
                <c:pt idx="3147">
                  <c:v>0</c:v>
                </c:pt>
                <c:pt idx="3148">
                  <c:v>1</c:v>
                </c:pt>
                <c:pt idx="3149">
                  <c:v>1</c:v>
                </c:pt>
                <c:pt idx="3150">
                  <c:v>3</c:v>
                </c:pt>
                <c:pt idx="3151">
                  <c:v>0</c:v>
                </c:pt>
                <c:pt idx="3152">
                  <c:v>1</c:v>
                </c:pt>
                <c:pt idx="3153">
                  <c:v>0</c:v>
                </c:pt>
                <c:pt idx="3154">
                  <c:v>0</c:v>
                </c:pt>
                <c:pt idx="3155">
                  <c:v>2</c:v>
                </c:pt>
                <c:pt idx="3156">
                  <c:v>0</c:v>
                </c:pt>
                <c:pt idx="3157">
                  <c:v>1</c:v>
                </c:pt>
                <c:pt idx="3158">
                  <c:v>0</c:v>
                </c:pt>
                <c:pt idx="3159">
                  <c:v>0</c:v>
                </c:pt>
                <c:pt idx="3160">
                  <c:v>2</c:v>
                </c:pt>
                <c:pt idx="3161">
                  <c:v>0</c:v>
                </c:pt>
                <c:pt idx="3162">
                  <c:v>3</c:v>
                </c:pt>
                <c:pt idx="3163">
                  <c:v>0</c:v>
                </c:pt>
                <c:pt idx="3164">
                  <c:v>0</c:v>
                </c:pt>
                <c:pt idx="3165">
                  <c:v>2</c:v>
                </c:pt>
                <c:pt idx="3166">
                  <c:v>0</c:v>
                </c:pt>
                <c:pt idx="3167">
                  <c:v>4</c:v>
                </c:pt>
                <c:pt idx="3168">
                  <c:v>0</c:v>
                </c:pt>
                <c:pt idx="3169">
                  <c:v>0</c:v>
                </c:pt>
                <c:pt idx="3170">
                  <c:v>0</c:v>
                </c:pt>
                <c:pt idx="3171">
                  <c:v>0</c:v>
                </c:pt>
                <c:pt idx="3172">
                  <c:v>3</c:v>
                </c:pt>
                <c:pt idx="3173">
                  <c:v>3</c:v>
                </c:pt>
                <c:pt idx="3174">
                  <c:v>1</c:v>
                </c:pt>
                <c:pt idx="3175">
                  <c:v>0</c:v>
                </c:pt>
                <c:pt idx="3176">
                  <c:v>0</c:v>
                </c:pt>
                <c:pt idx="3177">
                  <c:v>0</c:v>
                </c:pt>
                <c:pt idx="3178">
                  <c:v>0</c:v>
                </c:pt>
                <c:pt idx="3179">
                  <c:v>4</c:v>
                </c:pt>
                <c:pt idx="3180">
                  <c:v>17</c:v>
                </c:pt>
                <c:pt idx="3181">
                  <c:v>0</c:v>
                </c:pt>
                <c:pt idx="3182">
                  <c:v>0</c:v>
                </c:pt>
                <c:pt idx="3183">
                  <c:v>1</c:v>
                </c:pt>
                <c:pt idx="3184">
                  <c:v>1</c:v>
                </c:pt>
                <c:pt idx="3185">
                  <c:v>0</c:v>
                </c:pt>
                <c:pt idx="3186">
                  <c:v>3</c:v>
                </c:pt>
                <c:pt idx="3187">
                  <c:v>0</c:v>
                </c:pt>
                <c:pt idx="3188">
                  <c:v>0</c:v>
                </c:pt>
                <c:pt idx="3189">
                  <c:v>0</c:v>
                </c:pt>
                <c:pt idx="3190">
                  <c:v>1</c:v>
                </c:pt>
                <c:pt idx="3191">
                  <c:v>1</c:v>
                </c:pt>
                <c:pt idx="3192">
                  <c:v>0</c:v>
                </c:pt>
                <c:pt idx="3193">
                  <c:v>2</c:v>
                </c:pt>
                <c:pt idx="3194">
                  <c:v>0</c:v>
                </c:pt>
                <c:pt idx="3195">
                  <c:v>0</c:v>
                </c:pt>
                <c:pt idx="3196">
                  <c:v>0</c:v>
                </c:pt>
                <c:pt idx="3197">
                  <c:v>4</c:v>
                </c:pt>
                <c:pt idx="3198">
                  <c:v>0</c:v>
                </c:pt>
                <c:pt idx="3199">
                  <c:v>1</c:v>
                </c:pt>
                <c:pt idx="3200">
                  <c:v>8</c:v>
                </c:pt>
                <c:pt idx="3201">
                  <c:v>8</c:v>
                </c:pt>
                <c:pt idx="3202">
                  <c:v>0</c:v>
                </c:pt>
                <c:pt idx="3203">
                  <c:v>0</c:v>
                </c:pt>
                <c:pt idx="3204">
                  <c:v>0</c:v>
                </c:pt>
                <c:pt idx="3205">
                  <c:v>1</c:v>
                </c:pt>
                <c:pt idx="3206">
                  <c:v>2</c:v>
                </c:pt>
                <c:pt idx="3207">
                  <c:v>0</c:v>
                </c:pt>
                <c:pt idx="3208">
                  <c:v>0</c:v>
                </c:pt>
                <c:pt idx="3209">
                  <c:v>0</c:v>
                </c:pt>
                <c:pt idx="3210">
                  <c:v>0</c:v>
                </c:pt>
                <c:pt idx="3211">
                  <c:v>1</c:v>
                </c:pt>
                <c:pt idx="3212">
                  <c:v>2</c:v>
                </c:pt>
                <c:pt idx="3213">
                  <c:v>2</c:v>
                </c:pt>
                <c:pt idx="3214">
                  <c:v>0</c:v>
                </c:pt>
                <c:pt idx="3215">
                  <c:v>0</c:v>
                </c:pt>
                <c:pt idx="3216">
                  <c:v>3</c:v>
                </c:pt>
                <c:pt idx="3217">
                  <c:v>0</c:v>
                </c:pt>
                <c:pt idx="3218">
                  <c:v>1</c:v>
                </c:pt>
                <c:pt idx="3219">
                  <c:v>0</c:v>
                </c:pt>
                <c:pt idx="3220">
                  <c:v>0</c:v>
                </c:pt>
                <c:pt idx="3221">
                  <c:v>1</c:v>
                </c:pt>
                <c:pt idx="3222">
                  <c:v>0</c:v>
                </c:pt>
                <c:pt idx="3223">
                  <c:v>0</c:v>
                </c:pt>
                <c:pt idx="3224">
                  <c:v>15</c:v>
                </c:pt>
                <c:pt idx="3225">
                  <c:v>0</c:v>
                </c:pt>
                <c:pt idx="3226">
                  <c:v>4</c:v>
                </c:pt>
                <c:pt idx="3227">
                  <c:v>0</c:v>
                </c:pt>
                <c:pt idx="3228">
                  <c:v>1</c:v>
                </c:pt>
                <c:pt idx="3229">
                  <c:v>1</c:v>
                </c:pt>
                <c:pt idx="3230">
                  <c:v>2</c:v>
                </c:pt>
                <c:pt idx="3231">
                  <c:v>10</c:v>
                </c:pt>
                <c:pt idx="3232">
                  <c:v>1</c:v>
                </c:pt>
                <c:pt idx="3233">
                  <c:v>0</c:v>
                </c:pt>
                <c:pt idx="3234">
                  <c:v>0</c:v>
                </c:pt>
                <c:pt idx="3235">
                  <c:v>0</c:v>
                </c:pt>
                <c:pt idx="3236">
                  <c:v>1</c:v>
                </c:pt>
                <c:pt idx="3237">
                  <c:v>0</c:v>
                </c:pt>
                <c:pt idx="3238">
                  <c:v>0</c:v>
                </c:pt>
                <c:pt idx="3239">
                  <c:v>0</c:v>
                </c:pt>
                <c:pt idx="3240">
                  <c:v>3</c:v>
                </c:pt>
                <c:pt idx="3241">
                  <c:v>0</c:v>
                </c:pt>
                <c:pt idx="3242">
                  <c:v>0</c:v>
                </c:pt>
                <c:pt idx="3243">
                  <c:v>4</c:v>
                </c:pt>
                <c:pt idx="3244">
                  <c:v>0</c:v>
                </c:pt>
                <c:pt idx="3245">
                  <c:v>2</c:v>
                </c:pt>
                <c:pt idx="3246">
                  <c:v>3</c:v>
                </c:pt>
                <c:pt idx="3247">
                  <c:v>0</c:v>
                </c:pt>
                <c:pt idx="3248">
                  <c:v>0</c:v>
                </c:pt>
                <c:pt idx="3249">
                  <c:v>0</c:v>
                </c:pt>
                <c:pt idx="3250">
                  <c:v>0</c:v>
                </c:pt>
                <c:pt idx="3251">
                  <c:v>0</c:v>
                </c:pt>
                <c:pt idx="3252">
                  <c:v>2</c:v>
                </c:pt>
                <c:pt idx="3253">
                  <c:v>0</c:v>
                </c:pt>
                <c:pt idx="3254">
                  <c:v>0</c:v>
                </c:pt>
                <c:pt idx="3255">
                  <c:v>0</c:v>
                </c:pt>
                <c:pt idx="3256">
                  <c:v>0</c:v>
                </c:pt>
                <c:pt idx="3257">
                  <c:v>0</c:v>
                </c:pt>
                <c:pt idx="3258">
                  <c:v>0</c:v>
                </c:pt>
                <c:pt idx="3259">
                  <c:v>0</c:v>
                </c:pt>
                <c:pt idx="3260">
                  <c:v>2</c:v>
                </c:pt>
                <c:pt idx="3261">
                  <c:v>0</c:v>
                </c:pt>
                <c:pt idx="3262">
                  <c:v>0</c:v>
                </c:pt>
                <c:pt idx="3263">
                  <c:v>3</c:v>
                </c:pt>
                <c:pt idx="3264">
                  <c:v>0</c:v>
                </c:pt>
                <c:pt idx="3265">
                  <c:v>0</c:v>
                </c:pt>
                <c:pt idx="3266">
                  <c:v>2</c:v>
                </c:pt>
                <c:pt idx="3267">
                  <c:v>2</c:v>
                </c:pt>
                <c:pt idx="3268">
                  <c:v>0</c:v>
                </c:pt>
                <c:pt idx="3269">
                  <c:v>0</c:v>
                </c:pt>
                <c:pt idx="3270">
                  <c:v>1</c:v>
                </c:pt>
                <c:pt idx="3271">
                  <c:v>0</c:v>
                </c:pt>
                <c:pt idx="3272">
                  <c:v>2</c:v>
                </c:pt>
                <c:pt idx="3273">
                  <c:v>1</c:v>
                </c:pt>
                <c:pt idx="3274">
                  <c:v>0</c:v>
                </c:pt>
                <c:pt idx="3275">
                  <c:v>0</c:v>
                </c:pt>
                <c:pt idx="3276">
                  <c:v>2</c:v>
                </c:pt>
                <c:pt idx="3277">
                  <c:v>5</c:v>
                </c:pt>
                <c:pt idx="3278">
                  <c:v>1</c:v>
                </c:pt>
                <c:pt idx="3279">
                  <c:v>0</c:v>
                </c:pt>
                <c:pt idx="3280">
                  <c:v>0</c:v>
                </c:pt>
                <c:pt idx="3281">
                  <c:v>0</c:v>
                </c:pt>
                <c:pt idx="3282">
                  <c:v>0</c:v>
                </c:pt>
                <c:pt idx="3283">
                  <c:v>0</c:v>
                </c:pt>
                <c:pt idx="3284">
                  <c:v>0</c:v>
                </c:pt>
                <c:pt idx="3285">
                  <c:v>1</c:v>
                </c:pt>
                <c:pt idx="3286">
                  <c:v>0</c:v>
                </c:pt>
                <c:pt idx="3287">
                  <c:v>3</c:v>
                </c:pt>
                <c:pt idx="3288">
                  <c:v>0</c:v>
                </c:pt>
                <c:pt idx="3289">
                  <c:v>4</c:v>
                </c:pt>
                <c:pt idx="3290">
                  <c:v>2</c:v>
                </c:pt>
                <c:pt idx="3291">
                  <c:v>0</c:v>
                </c:pt>
                <c:pt idx="3292">
                  <c:v>0</c:v>
                </c:pt>
                <c:pt idx="3293">
                  <c:v>0</c:v>
                </c:pt>
                <c:pt idx="3294">
                  <c:v>16</c:v>
                </c:pt>
                <c:pt idx="3295">
                  <c:v>1</c:v>
                </c:pt>
                <c:pt idx="3296">
                  <c:v>1</c:v>
                </c:pt>
                <c:pt idx="3297">
                  <c:v>5</c:v>
                </c:pt>
                <c:pt idx="3298">
                  <c:v>0</c:v>
                </c:pt>
                <c:pt idx="3299">
                  <c:v>0</c:v>
                </c:pt>
                <c:pt idx="3300">
                  <c:v>1</c:v>
                </c:pt>
                <c:pt idx="3301">
                  <c:v>0</c:v>
                </c:pt>
                <c:pt idx="3302">
                  <c:v>0</c:v>
                </c:pt>
                <c:pt idx="3303">
                  <c:v>2</c:v>
                </c:pt>
                <c:pt idx="3304">
                  <c:v>1</c:v>
                </c:pt>
                <c:pt idx="3305">
                  <c:v>0</c:v>
                </c:pt>
                <c:pt idx="3306">
                  <c:v>3</c:v>
                </c:pt>
                <c:pt idx="3307">
                  <c:v>1</c:v>
                </c:pt>
                <c:pt idx="3308">
                  <c:v>0</c:v>
                </c:pt>
                <c:pt idx="3309">
                  <c:v>0</c:v>
                </c:pt>
                <c:pt idx="3310">
                  <c:v>0</c:v>
                </c:pt>
                <c:pt idx="3311">
                  <c:v>2</c:v>
                </c:pt>
                <c:pt idx="3312">
                  <c:v>0</c:v>
                </c:pt>
                <c:pt idx="3313">
                  <c:v>0</c:v>
                </c:pt>
                <c:pt idx="3314">
                  <c:v>1</c:v>
                </c:pt>
                <c:pt idx="3315">
                  <c:v>0</c:v>
                </c:pt>
                <c:pt idx="3316">
                  <c:v>0</c:v>
                </c:pt>
                <c:pt idx="3317">
                  <c:v>0</c:v>
                </c:pt>
                <c:pt idx="3318">
                  <c:v>0</c:v>
                </c:pt>
                <c:pt idx="3319">
                  <c:v>1</c:v>
                </c:pt>
                <c:pt idx="3320">
                  <c:v>0</c:v>
                </c:pt>
                <c:pt idx="3321">
                  <c:v>1</c:v>
                </c:pt>
                <c:pt idx="3322">
                  <c:v>0</c:v>
                </c:pt>
                <c:pt idx="3323">
                  <c:v>0</c:v>
                </c:pt>
                <c:pt idx="3324">
                  <c:v>0</c:v>
                </c:pt>
                <c:pt idx="3325">
                  <c:v>4</c:v>
                </c:pt>
                <c:pt idx="3326">
                  <c:v>2</c:v>
                </c:pt>
                <c:pt idx="3327">
                  <c:v>6</c:v>
                </c:pt>
                <c:pt idx="3328">
                  <c:v>6</c:v>
                </c:pt>
                <c:pt idx="3329">
                  <c:v>0</c:v>
                </c:pt>
                <c:pt idx="3330">
                  <c:v>1</c:v>
                </c:pt>
                <c:pt idx="3331">
                  <c:v>0</c:v>
                </c:pt>
                <c:pt idx="3332">
                  <c:v>0</c:v>
                </c:pt>
                <c:pt idx="3333">
                  <c:v>0</c:v>
                </c:pt>
                <c:pt idx="3334">
                  <c:v>0</c:v>
                </c:pt>
                <c:pt idx="3335">
                  <c:v>0</c:v>
                </c:pt>
                <c:pt idx="3336">
                  <c:v>0</c:v>
                </c:pt>
                <c:pt idx="3337">
                  <c:v>0</c:v>
                </c:pt>
                <c:pt idx="3338">
                  <c:v>2</c:v>
                </c:pt>
                <c:pt idx="3339">
                  <c:v>0</c:v>
                </c:pt>
                <c:pt idx="3340">
                  <c:v>0</c:v>
                </c:pt>
                <c:pt idx="3341">
                  <c:v>1</c:v>
                </c:pt>
                <c:pt idx="3342">
                  <c:v>1</c:v>
                </c:pt>
                <c:pt idx="3343">
                  <c:v>5</c:v>
                </c:pt>
                <c:pt idx="3344">
                  <c:v>0</c:v>
                </c:pt>
                <c:pt idx="3345">
                  <c:v>0</c:v>
                </c:pt>
                <c:pt idx="3346">
                  <c:v>0</c:v>
                </c:pt>
                <c:pt idx="3347">
                  <c:v>0</c:v>
                </c:pt>
                <c:pt idx="3348">
                  <c:v>1</c:v>
                </c:pt>
                <c:pt idx="3349">
                  <c:v>0</c:v>
                </c:pt>
                <c:pt idx="3350">
                  <c:v>0</c:v>
                </c:pt>
                <c:pt idx="3351">
                  <c:v>2</c:v>
                </c:pt>
                <c:pt idx="3352">
                  <c:v>65</c:v>
                </c:pt>
                <c:pt idx="3353">
                  <c:v>2</c:v>
                </c:pt>
                <c:pt idx="3354">
                  <c:v>1</c:v>
                </c:pt>
                <c:pt idx="3355">
                  <c:v>37</c:v>
                </c:pt>
                <c:pt idx="3356">
                  <c:v>1</c:v>
                </c:pt>
                <c:pt idx="3357">
                  <c:v>0</c:v>
                </c:pt>
                <c:pt idx="3358">
                  <c:v>0</c:v>
                </c:pt>
                <c:pt idx="3359">
                  <c:v>0</c:v>
                </c:pt>
                <c:pt idx="3360">
                  <c:v>0</c:v>
                </c:pt>
                <c:pt idx="3361">
                  <c:v>62</c:v>
                </c:pt>
                <c:pt idx="3362">
                  <c:v>0</c:v>
                </c:pt>
                <c:pt idx="3363">
                  <c:v>0</c:v>
                </c:pt>
                <c:pt idx="3364">
                  <c:v>0</c:v>
                </c:pt>
                <c:pt idx="3365">
                  <c:v>0</c:v>
                </c:pt>
                <c:pt idx="3366">
                  <c:v>4</c:v>
                </c:pt>
                <c:pt idx="3367">
                  <c:v>25</c:v>
                </c:pt>
                <c:pt idx="3368">
                  <c:v>0</c:v>
                </c:pt>
                <c:pt idx="3369">
                  <c:v>2</c:v>
                </c:pt>
                <c:pt idx="3370">
                  <c:v>0</c:v>
                </c:pt>
                <c:pt idx="3371">
                  <c:v>1</c:v>
                </c:pt>
                <c:pt idx="3372">
                  <c:v>0</c:v>
                </c:pt>
                <c:pt idx="3373">
                  <c:v>13</c:v>
                </c:pt>
                <c:pt idx="3374">
                  <c:v>0</c:v>
                </c:pt>
                <c:pt idx="3375">
                  <c:v>0</c:v>
                </c:pt>
                <c:pt idx="3376">
                  <c:v>0</c:v>
                </c:pt>
                <c:pt idx="3377">
                  <c:v>0</c:v>
                </c:pt>
                <c:pt idx="3378">
                  <c:v>0</c:v>
                </c:pt>
                <c:pt idx="3379">
                  <c:v>0</c:v>
                </c:pt>
                <c:pt idx="3380">
                  <c:v>0</c:v>
                </c:pt>
                <c:pt idx="3381">
                  <c:v>3</c:v>
                </c:pt>
                <c:pt idx="3382">
                  <c:v>2</c:v>
                </c:pt>
                <c:pt idx="3383">
                  <c:v>2</c:v>
                </c:pt>
                <c:pt idx="3384">
                  <c:v>0</c:v>
                </c:pt>
                <c:pt idx="3385">
                  <c:v>3</c:v>
                </c:pt>
                <c:pt idx="3386">
                  <c:v>2</c:v>
                </c:pt>
                <c:pt idx="3387">
                  <c:v>1</c:v>
                </c:pt>
                <c:pt idx="3388">
                  <c:v>0</c:v>
                </c:pt>
                <c:pt idx="3389">
                  <c:v>0</c:v>
                </c:pt>
                <c:pt idx="3390">
                  <c:v>2</c:v>
                </c:pt>
                <c:pt idx="3391">
                  <c:v>0</c:v>
                </c:pt>
                <c:pt idx="3392">
                  <c:v>2</c:v>
                </c:pt>
                <c:pt idx="3393">
                  <c:v>0</c:v>
                </c:pt>
                <c:pt idx="3394">
                  <c:v>0</c:v>
                </c:pt>
                <c:pt idx="3395">
                  <c:v>0</c:v>
                </c:pt>
                <c:pt idx="3396">
                  <c:v>0</c:v>
                </c:pt>
                <c:pt idx="3397">
                  <c:v>2</c:v>
                </c:pt>
                <c:pt idx="3398">
                  <c:v>0</c:v>
                </c:pt>
                <c:pt idx="3399">
                  <c:v>0</c:v>
                </c:pt>
                <c:pt idx="3400">
                  <c:v>0</c:v>
                </c:pt>
                <c:pt idx="3401">
                  <c:v>0</c:v>
                </c:pt>
                <c:pt idx="3402">
                  <c:v>7</c:v>
                </c:pt>
                <c:pt idx="3403">
                  <c:v>1</c:v>
                </c:pt>
                <c:pt idx="3404">
                  <c:v>4</c:v>
                </c:pt>
                <c:pt idx="3405">
                  <c:v>1</c:v>
                </c:pt>
                <c:pt idx="3406">
                  <c:v>2</c:v>
                </c:pt>
                <c:pt idx="3407">
                  <c:v>1</c:v>
                </c:pt>
                <c:pt idx="3408">
                  <c:v>1</c:v>
                </c:pt>
                <c:pt idx="3409">
                  <c:v>0</c:v>
                </c:pt>
                <c:pt idx="3410">
                  <c:v>3</c:v>
                </c:pt>
                <c:pt idx="3411">
                  <c:v>0</c:v>
                </c:pt>
                <c:pt idx="3412">
                  <c:v>0</c:v>
                </c:pt>
                <c:pt idx="3413">
                  <c:v>1</c:v>
                </c:pt>
                <c:pt idx="3414">
                  <c:v>0</c:v>
                </c:pt>
                <c:pt idx="3415">
                  <c:v>1</c:v>
                </c:pt>
                <c:pt idx="3416">
                  <c:v>0</c:v>
                </c:pt>
                <c:pt idx="3417">
                  <c:v>0</c:v>
                </c:pt>
                <c:pt idx="3418">
                  <c:v>0</c:v>
                </c:pt>
                <c:pt idx="3419">
                  <c:v>0</c:v>
                </c:pt>
                <c:pt idx="3420">
                  <c:v>1</c:v>
                </c:pt>
                <c:pt idx="3421">
                  <c:v>0</c:v>
                </c:pt>
                <c:pt idx="3422">
                  <c:v>8</c:v>
                </c:pt>
                <c:pt idx="3423">
                  <c:v>0</c:v>
                </c:pt>
                <c:pt idx="3424">
                  <c:v>0</c:v>
                </c:pt>
                <c:pt idx="3425">
                  <c:v>1</c:v>
                </c:pt>
                <c:pt idx="3426">
                  <c:v>4</c:v>
                </c:pt>
                <c:pt idx="3427">
                  <c:v>3</c:v>
                </c:pt>
                <c:pt idx="3428">
                  <c:v>3</c:v>
                </c:pt>
                <c:pt idx="3429">
                  <c:v>0</c:v>
                </c:pt>
                <c:pt idx="3430">
                  <c:v>2</c:v>
                </c:pt>
                <c:pt idx="3431">
                  <c:v>0</c:v>
                </c:pt>
                <c:pt idx="3432">
                  <c:v>1</c:v>
                </c:pt>
                <c:pt idx="3433">
                  <c:v>0</c:v>
                </c:pt>
                <c:pt idx="3434">
                  <c:v>2</c:v>
                </c:pt>
                <c:pt idx="3435">
                  <c:v>0</c:v>
                </c:pt>
                <c:pt idx="3436">
                  <c:v>0</c:v>
                </c:pt>
                <c:pt idx="3437">
                  <c:v>2</c:v>
                </c:pt>
                <c:pt idx="3438">
                  <c:v>2</c:v>
                </c:pt>
                <c:pt idx="3439">
                  <c:v>0</c:v>
                </c:pt>
                <c:pt idx="3440">
                  <c:v>0</c:v>
                </c:pt>
                <c:pt idx="3441">
                  <c:v>3</c:v>
                </c:pt>
                <c:pt idx="3442">
                  <c:v>0</c:v>
                </c:pt>
                <c:pt idx="3443">
                  <c:v>6</c:v>
                </c:pt>
                <c:pt idx="3444">
                  <c:v>0</c:v>
                </c:pt>
                <c:pt idx="3445">
                  <c:v>0</c:v>
                </c:pt>
                <c:pt idx="3446">
                  <c:v>1</c:v>
                </c:pt>
                <c:pt idx="3447">
                  <c:v>2</c:v>
                </c:pt>
                <c:pt idx="3448">
                  <c:v>2</c:v>
                </c:pt>
                <c:pt idx="3449">
                  <c:v>8</c:v>
                </c:pt>
                <c:pt idx="3450">
                  <c:v>2</c:v>
                </c:pt>
                <c:pt idx="3451">
                  <c:v>2</c:v>
                </c:pt>
                <c:pt idx="3452">
                  <c:v>0</c:v>
                </c:pt>
                <c:pt idx="3453">
                  <c:v>0</c:v>
                </c:pt>
                <c:pt idx="3454">
                  <c:v>0</c:v>
                </c:pt>
                <c:pt idx="3455">
                  <c:v>3</c:v>
                </c:pt>
                <c:pt idx="3456">
                  <c:v>6</c:v>
                </c:pt>
                <c:pt idx="3457">
                  <c:v>4</c:v>
                </c:pt>
                <c:pt idx="3458">
                  <c:v>0</c:v>
                </c:pt>
                <c:pt idx="3459">
                  <c:v>0</c:v>
                </c:pt>
                <c:pt idx="3460">
                  <c:v>0</c:v>
                </c:pt>
                <c:pt idx="3461">
                  <c:v>3</c:v>
                </c:pt>
                <c:pt idx="3462">
                  <c:v>0</c:v>
                </c:pt>
                <c:pt idx="3463">
                  <c:v>0</c:v>
                </c:pt>
                <c:pt idx="3464">
                  <c:v>0</c:v>
                </c:pt>
                <c:pt idx="3465">
                  <c:v>0</c:v>
                </c:pt>
                <c:pt idx="3466">
                  <c:v>0</c:v>
                </c:pt>
                <c:pt idx="3467">
                  <c:v>0</c:v>
                </c:pt>
                <c:pt idx="3468">
                  <c:v>0</c:v>
                </c:pt>
                <c:pt idx="3469">
                  <c:v>0</c:v>
                </c:pt>
                <c:pt idx="3470">
                  <c:v>1</c:v>
                </c:pt>
                <c:pt idx="3471">
                  <c:v>2</c:v>
                </c:pt>
                <c:pt idx="3472">
                  <c:v>0</c:v>
                </c:pt>
                <c:pt idx="3473">
                  <c:v>0</c:v>
                </c:pt>
                <c:pt idx="3474">
                  <c:v>0</c:v>
                </c:pt>
                <c:pt idx="3475">
                  <c:v>0</c:v>
                </c:pt>
                <c:pt idx="3476">
                  <c:v>3</c:v>
                </c:pt>
                <c:pt idx="3477">
                  <c:v>0</c:v>
                </c:pt>
                <c:pt idx="3478">
                  <c:v>0</c:v>
                </c:pt>
                <c:pt idx="3479">
                  <c:v>0</c:v>
                </c:pt>
                <c:pt idx="3480">
                  <c:v>1</c:v>
                </c:pt>
                <c:pt idx="3481">
                  <c:v>0</c:v>
                </c:pt>
                <c:pt idx="3482">
                  <c:v>2</c:v>
                </c:pt>
                <c:pt idx="3483">
                  <c:v>0</c:v>
                </c:pt>
                <c:pt idx="3484">
                  <c:v>0</c:v>
                </c:pt>
                <c:pt idx="3485">
                  <c:v>3</c:v>
                </c:pt>
                <c:pt idx="3486">
                  <c:v>0</c:v>
                </c:pt>
                <c:pt idx="3487">
                  <c:v>7</c:v>
                </c:pt>
                <c:pt idx="3488">
                  <c:v>0</c:v>
                </c:pt>
                <c:pt idx="3489">
                  <c:v>0</c:v>
                </c:pt>
                <c:pt idx="3490">
                  <c:v>4</c:v>
                </c:pt>
                <c:pt idx="3491">
                  <c:v>0</c:v>
                </c:pt>
                <c:pt idx="3492">
                  <c:v>0</c:v>
                </c:pt>
                <c:pt idx="3493">
                  <c:v>2</c:v>
                </c:pt>
                <c:pt idx="3494">
                  <c:v>0</c:v>
                </c:pt>
                <c:pt idx="3495">
                  <c:v>0</c:v>
                </c:pt>
                <c:pt idx="3496">
                  <c:v>0</c:v>
                </c:pt>
                <c:pt idx="3497">
                  <c:v>0</c:v>
                </c:pt>
                <c:pt idx="3498">
                  <c:v>0</c:v>
                </c:pt>
                <c:pt idx="3499">
                  <c:v>1</c:v>
                </c:pt>
                <c:pt idx="3500">
                  <c:v>0</c:v>
                </c:pt>
                <c:pt idx="3501">
                  <c:v>0</c:v>
                </c:pt>
                <c:pt idx="3502">
                  <c:v>0</c:v>
                </c:pt>
                <c:pt idx="3503">
                  <c:v>5</c:v>
                </c:pt>
                <c:pt idx="3504">
                  <c:v>3</c:v>
                </c:pt>
                <c:pt idx="3505">
                  <c:v>1</c:v>
                </c:pt>
                <c:pt idx="3506">
                  <c:v>0</c:v>
                </c:pt>
                <c:pt idx="3507">
                  <c:v>0</c:v>
                </c:pt>
                <c:pt idx="3508">
                  <c:v>3</c:v>
                </c:pt>
                <c:pt idx="3509">
                  <c:v>2</c:v>
                </c:pt>
                <c:pt idx="3510">
                  <c:v>1</c:v>
                </c:pt>
                <c:pt idx="3511">
                  <c:v>0</c:v>
                </c:pt>
                <c:pt idx="3512">
                  <c:v>0</c:v>
                </c:pt>
                <c:pt idx="3513">
                  <c:v>0</c:v>
                </c:pt>
                <c:pt idx="3514">
                  <c:v>3</c:v>
                </c:pt>
                <c:pt idx="3515">
                  <c:v>1</c:v>
                </c:pt>
                <c:pt idx="3516">
                  <c:v>9</c:v>
                </c:pt>
                <c:pt idx="3517">
                  <c:v>0</c:v>
                </c:pt>
                <c:pt idx="3518">
                  <c:v>0</c:v>
                </c:pt>
                <c:pt idx="3519">
                  <c:v>4</c:v>
                </c:pt>
                <c:pt idx="3520">
                  <c:v>0</c:v>
                </c:pt>
                <c:pt idx="3521">
                  <c:v>2</c:v>
                </c:pt>
                <c:pt idx="3522">
                  <c:v>1</c:v>
                </c:pt>
                <c:pt idx="3523">
                  <c:v>0</c:v>
                </c:pt>
                <c:pt idx="3524">
                  <c:v>3</c:v>
                </c:pt>
                <c:pt idx="3525">
                  <c:v>0</c:v>
                </c:pt>
                <c:pt idx="3526">
                  <c:v>1</c:v>
                </c:pt>
                <c:pt idx="3527">
                  <c:v>0</c:v>
                </c:pt>
                <c:pt idx="3528">
                  <c:v>0</c:v>
                </c:pt>
                <c:pt idx="3529">
                  <c:v>1</c:v>
                </c:pt>
                <c:pt idx="3530">
                  <c:v>2</c:v>
                </c:pt>
                <c:pt idx="3531">
                  <c:v>2</c:v>
                </c:pt>
                <c:pt idx="3532">
                  <c:v>0</c:v>
                </c:pt>
                <c:pt idx="3533">
                  <c:v>1</c:v>
                </c:pt>
                <c:pt idx="3534">
                  <c:v>4</c:v>
                </c:pt>
                <c:pt idx="3535">
                  <c:v>1</c:v>
                </c:pt>
                <c:pt idx="3536">
                  <c:v>3</c:v>
                </c:pt>
                <c:pt idx="3537">
                  <c:v>0</c:v>
                </c:pt>
                <c:pt idx="3538">
                  <c:v>2</c:v>
                </c:pt>
                <c:pt idx="3539">
                  <c:v>8</c:v>
                </c:pt>
                <c:pt idx="3540">
                  <c:v>0</c:v>
                </c:pt>
                <c:pt idx="3541">
                  <c:v>3</c:v>
                </c:pt>
                <c:pt idx="3542">
                  <c:v>0</c:v>
                </c:pt>
                <c:pt idx="3543">
                  <c:v>3</c:v>
                </c:pt>
                <c:pt idx="3544">
                  <c:v>2</c:v>
                </c:pt>
                <c:pt idx="3545">
                  <c:v>0</c:v>
                </c:pt>
                <c:pt idx="3546">
                  <c:v>0</c:v>
                </c:pt>
                <c:pt idx="3547">
                  <c:v>6</c:v>
                </c:pt>
                <c:pt idx="3548">
                  <c:v>20</c:v>
                </c:pt>
                <c:pt idx="3549">
                  <c:v>0</c:v>
                </c:pt>
                <c:pt idx="3550">
                  <c:v>2</c:v>
                </c:pt>
                <c:pt idx="3551">
                  <c:v>1</c:v>
                </c:pt>
                <c:pt idx="3552">
                  <c:v>0</c:v>
                </c:pt>
                <c:pt idx="3553">
                  <c:v>2</c:v>
                </c:pt>
                <c:pt idx="3554">
                  <c:v>0</c:v>
                </c:pt>
                <c:pt idx="3555">
                  <c:v>0</c:v>
                </c:pt>
                <c:pt idx="3556">
                  <c:v>1</c:v>
                </c:pt>
                <c:pt idx="3557">
                  <c:v>0</c:v>
                </c:pt>
                <c:pt idx="3558">
                  <c:v>0</c:v>
                </c:pt>
                <c:pt idx="3559">
                  <c:v>6</c:v>
                </c:pt>
                <c:pt idx="3560">
                  <c:v>0</c:v>
                </c:pt>
                <c:pt idx="3561">
                  <c:v>5</c:v>
                </c:pt>
                <c:pt idx="3562">
                  <c:v>2</c:v>
                </c:pt>
                <c:pt idx="3563">
                  <c:v>0</c:v>
                </c:pt>
                <c:pt idx="3564">
                  <c:v>4</c:v>
                </c:pt>
                <c:pt idx="3565">
                  <c:v>1</c:v>
                </c:pt>
                <c:pt idx="3566">
                  <c:v>0</c:v>
                </c:pt>
                <c:pt idx="3567">
                  <c:v>1</c:v>
                </c:pt>
                <c:pt idx="3568">
                  <c:v>0</c:v>
                </c:pt>
                <c:pt idx="3569">
                  <c:v>1</c:v>
                </c:pt>
                <c:pt idx="3570">
                  <c:v>0</c:v>
                </c:pt>
                <c:pt idx="3571">
                  <c:v>0</c:v>
                </c:pt>
                <c:pt idx="3572">
                  <c:v>0</c:v>
                </c:pt>
                <c:pt idx="3573">
                  <c:v>0</c:v>
                </c:pt>
                <c:pt idx="3574">
                  <c:v>0</c:v>
                </c:pt>
                <c:pt idx="3575">
                  <c:v>9</c:v>
                </c:pt>
                <c:pt idx="3576">
                  <c:v>0</c:v>
                </c:pt>
                <c:pt idx="3577">
                  <c:v>0</c:v>
                </c:pt>
                <c:pt idx="3578">
                  <c:v>0</c:v>
                </c:pt>
                <c:pt idx="3579">
                  <c:v>2</c:v>
                </c:pt>
                <c:pt idx="3580">
                  <c:v>7</c:v>
                </c:pt>
                <c:pt idx="3581">
                  <c:v>5</c:v>
                </c:pt>
                <c:pt idx="3582">
                  <c:v>0</c:v>
                </c:pt>
                <c:pt idx="3583">
                  <c:v>0</c:v>
                </c:pt>
                <c:pt idx="3584">
                  <c:v>0</c:v>
                </c:pt>
                <c:pt idx="3585">
                  <c:v>5</c:v>
                </c:pt>
                <c:pt idx="3586">
                  <c:v>1</c:v>
                </c:pt>
                <c:pt idx="3587">
                  <c:v>0</c:v>
                </c:pt>
                <c:pt idx="3588">
                  <c:v>0</c:v>
                </c:pt>
                <c:pt idx="3589">
                  <c:v>0</c:v>
                </c:pt>
                <c:pt idx="3590">
                  <c:v>1</c:v>
                </c:pt>
                <c:pt idx="3591">
                  <c:v>0</c:v>
                </c:pt>
                <c:pt idx="3592">
                  <c:v>7</c:v>
                </c:pt>
                <c:pt idx="3593">
                  <c:v>2</c:v>
                </c:pt>
                <c:pt idx="3594">
                  <c:v>7</c:v>
                </c:pt>
                <c:pt idx="3595">
                  <c:v>4</c:v>
                </c:pt>
                <c:pt idx="3596">
                  <c:v>1</c:v>
                </c:pt>
                <c:pt idx="3597">
                  <c:v>0</c:v>
                </c:pt>
                <c:pt idx="3598">
                  <c:v>2</c:v>
                </c:pt>
                <c:pt idx="3599">
                  <c:v>25</c:v>
                </c:pt>
                <c:pt idx="3600">
                  <c:v>2</c:v>
                </c:pt>
                <c:pt idx="3601">
                  <c:v>1</c:v>
                </c:pt>
                <c:pt idx="3602">
                  <c:v>0</c:v>
                </c:pt>
                <c:pt idx="3603">
                  <c:v>1</c:v>
                </c:pt>
                <c:pt idx="3604">
                  <c:v>2</c:v>
                </c:pt>
                <c:pt idx="3605">
                  <c:v>1</c:v>
                </c:pt>
                <c:pt idx="3606">
                  <c:v>5</c:v>
                </c:pt>
                <c:pt idx="3607">
                  <c:v>2</c:v>
                </c:pt>
                <c:pt idx="3608">
                  <c:v>6</c:v>
                </c:pt>
                <c:pt idx="3609">
                  <c:v>6</c:v>
                </c:pt>
                <c:pt idx="3610">
                  <c:v>1</c:v>
                </c:pt>
                <c:pt idx="3611">
                  <c:v>2</c:v>
                </c:pt>
                <c:pt idx="3612">
                  <c:v>2</c:v>
                </c:pt>
                <c:pt idx="3613">
                  <c:v>1</c:v>
                </c:pt>
                <c:pt idx="3614">
                  <c:v>0</c:v>
                </c:pt>
                <c:pt idx="3615">
                  <c:v>18</c:v>
                </c:pt>
                <c:pt idx="3616">
                  <c:v>1</c:v>
                </c:pt>
                <c:pt idx="3617">
                  <c:v>1</c:v>
                </c:pt>
                <c:pt idx="3618">
                  <c:v>1</c:v>
                </c:pt>
                <c:pt idx="3619">
                  <c:v>8</c:v>
                </c:pt>
                <c:pt idx="3620">
                  <c:v>10</c:v>
                </c:pt>
                <c:pt idx="3621">
                  <c:v>4</c:v>
                </c:pt>
                <c:pt idx="3622">
                  <c:v>2</c:v>
                </c:pt>
                <c:pt idx="3623">
                  <c:v>10</c:v>
                </c:pt>
                <c:pt idx="3624">
                  <c:v>1</c:v>
                </c:pt>
                <c:pt idx="3625">
                  <c:v>3</c:v>
                </c:pt>
                <c:pt idx="3626">
                  <c:v>2</c:v>
                </c:pt>
                <c:pt idx="3627">
                  <c:v>2</c:v>
                </c:pt>
                <c:pt idx="3628">
                  <c:v>0</c:v>
                </c:pt>
                <c:pt idx="3629">
                  <c:v>2</c:v>
                </c:pt>
                <c:pt idx="3630">
                  <c:v>1</c:v>
                </c:pt>
                <c:pt idx="3631">
                  <c:v>4</c:v>
                </c:pt>
                <c:pt idx="3632">
                  <c:v>14</c:v>
                </c:pt>
                <c:pt idx="3633">
                  <c:v>0</c:v>
                </c:pt>
                <c:pt idx="3634">
                  <c:v>1</c:v>
                </c:pt>
                <c:pt idx="3635">
                  <c:v>2</c:v>
                </c:pt>
                <c:pt idx="3636">
                  <c:v>2</c:v>
                </c:pt>
                <c:pt idx="3637">
                  <c:v>1</c:v>
                </c:pt>
                <c:pt idx="3638">
                  <c:v>1</c:v>
                </c:pt>
                <c:pt idx="3639">
                  <c:v>1</c:v>
                </c:pt>
                <c:pt idx="3640">
                  <c:v>7</c:v>
                </c:pt>
                <c:pt idx="3641">
                  <c:v>2</c:v>
                </c:pt>
                <c:pt idx="3642">
                  <c:v>0</c:v>
                </c:pt>
                <c:pt idx="3643">
                  <c:v>0</c:v>
                </c:pt>
                <c:pt idx="3644">
                  <c:v>1</c:v>
                </c:pt>
                <c:pt idx="3645">
                  <c:v>4</c:v>
                </c:pt>
                <c:pt idx="3646">
                  <c:v>4</c:v>
                </c:pt>
                <c:pt idx="3647">
                  <c:v>20</c:v>
                </c:pt>
                <c:pt idx="3648">
                  <c:v>2</c:v>
                </c:pt>
                <c:pt idx="3649">
                  <c:v>8</c:v>
                </c:pt>
                <c:pt idx="3650">
                  <c:v>2</c:v>
                </c:pt>
                <c:pt idx="3651">
                  <c:v>5</c:v>
                </c:pt>
                <c:pt idx="3652">
                  <c:v>1</c:v>
                </c:pt>
                <c:pt idx="3653">
                  <c:v>1</c:v>
                </c:pt>
                <c:pt idx="3654">
                  <c:v>3</c:v>
                </c:pt>
                <c:pt idx="3655">
                  <c:v>2</c:v>
                </c:pt>
                <c:pt idx="3656">
                  <c:v>4</c:v>
                </c:pt>
                <c:pt idx="3657">
                  <c:v>4</c:v>
                </c:pt>
                <c:pt idx="3658">
                  <c:v>2</c:v>
                </c:pt>
                <c:pt idx="3659">
                  <c:v>6</c:v>
                </c:pt>
                <c:pt idx="3660">
                  <c:v>5</c:v>
                </c:pt>
                <c:pt idx="3661">
                  <c:v>4</c:v>
                </c:pt>
                <c:pt idx="3662">
                  <c:v>0</c:v>
                </c:pt>
                <c:pt idx="3663">
                  <c:v>0</c:v>
                </c:pt>
                <c:pt idx="3664">
                  <c:v>2</c:v>
                </c:pt>
                <c:pt idx="3665">
                  <c:v>0</c:v>
                </c:pt>
                <c:pt idx="3666">
                  <c:v>10</c:v>
                </c:pt>
                <c:pt idx="3667">
                  <c:v>1</c:v>
                </c:pt>
                <c:pt idx="3668">
                  <c:v>0</c:v>
                </c:pt>
                <c:pt idx="3669">
                  <c:v>1</c:v>
                </c:pt>
                <c:pt idx="3670">
                  <c:v>0</c:v>
                </c:pt>
                <c:pt idx="3671">
                  <c:v>0</c:v>
                </c:pt>
                <c:pt idx="3672">
                  <c:v>0</c:v>
                </c:pt>
                <c:pt idx="3673">
                  <c:v>1</c:v>
                </c:pt>
                <c:pt idx="3674">
                  <c:v>0</c:v>
                </c:pt>
                <c:pt idx="3675">
                  <c:v>0</c:v>
                </c:pt>
                <c:pt idx="3676">
                  <c:v>0</c:v>
                </c:pt>
                <c:pt idx="3677">
                  <c:v>2</c:v>
                </c:pt>
                <c:pt idx="3678">
                  <c:v>0</c:v>
                </c:pt>
                <c:pt idx="3679">
                  <c:v>0</c:v>
                </c:pt>
                <c:pt idx="3680">
                  <c:v>0</c:v>
                </c:pt>
                <c:pt idx="3681">
                  <c:v>0</c:v>
                </c:pt>
                <c:pt idx="3682">
                  <c:v>0</c:v>
                </c:pt>
                <c:pt idx="3683">
                  <c:v>3</c:v>
                </c:pt>
                <c:pt idx="3684">
                  <c:v>1</c:v>
                </c:pt>
                <c:pt idx="3685">
                  <c:v>0</c:v>
                </c:pt>
                <c:pt idx="3686">
                  <c:v>2</c:v>
                </c:pt>
                <c:pt idx="3687">
                  <c:v>0</c:v>
                </c:pt>
                <c:pt idx="3688">
                  <c:v>0</c:v>
                </c:pt>
                <c:pt idx="3689">
                  <c:v>0</c:v>
                </c:pt>
                <c:pt idx="3690">
                  <c:v>1</c:v>
                </c:pt>
                <c:pt idx="3691">
                  <c:v>3</c:v>
                </c:pt>
                <c:pt idx="3692">
                  <c:v>4</c:v>
                </c:pt>
                <c:pt idx="3693">
                  <c:v>2</c:v>
                </c:pt>
                <c:pt idx="3694">
                  <c:v>0</c:v>
                </c:pt>
                <c:pt idx="3695">
                  <c:v>0</c:v>
                </c:pt>
                <c:pt idx="3696">
                  <c:v>9</c:v>
                </c:pt>
                <c:pt idx="3697">
                  <c:v>1</c:v>
                </c:pt>
                <c:pt idx="3698">
                  <c:v>1</c:v>
                </c:pt>
                <c:pt idx="3699">
                  <c:v>0</c:v>
                </c:pt>
                <c:pt idx="3700">
                  <c:v>1</c:v>
                </c:pt>
                <c:pt idx="3701">
                  <c:v>1</c:v>
                </c:pt>
                <c:pt idx="3702">
                  <c:v>0</c:v>
                </c:pt>
                <c:pt idx="3703">
                  <c:v>0</c:v>
                </c:pt>
                <c:pt idx="3704">
                  <c:v>0</c:v>
                </c:pt>
                <c:pt idx="3705">
                  <c:v>1</c:v>
                </c:pt>
                <c:pt idx="3706">
                  <c:v>0</c:v>
                </c:pt>
                <c:pt idx="3707">
                  <c:v>2</c:v>
                </c:pt>
                <c:pt idx="3708">
                  <c:v>2</c:v>
                </c:pt>
                <c:pt idx="3709">
                  <c:v>0</c:v>
                </c:pt>
                <c:pt idx="3710">
                  <c:v>1</c:v>
                </c:pt>
                <c:pt idx="3711">
                  <c:v>5</c:v>
                </c:pt>
                <c:pt idx="3712">
                  <c:v>2</c:v>
                </c:pt>
                <c:pt idx="3713">
                  <c:v>0</c:v>
                </c:pt>
                <c:pt idx="3714">
                  <c:v>6</c:v>
                </c:pt>
                <c:pt idx="3715">
                  <c:v>0</c:v>
                </c:pt>
                <c:pt idx="3716">
                  <c:v>1</c:v>
                </c:pt>
                <c:pt idx="3717">
                  <c:v>1</c:v>
                </c:pt>
                <c:pt idx="3718">
                  <c:v>6</c:v>
                </c:pt>
                <c:pt idx="3719">
                  <c:v>0</c:v>
                </c:pt>
                <c:pt idx="3720">
                  <c:v>0</c:v>
                </c:pt>
                <c:pt idx="3721">
                  <c:v>1</c:v>
                </c:pt>
                <c:pt idx="3722">
                  <c:v>1</c:v>
                </c:pt>
                <c:pt idx="3723">
                  <c:v>1</c:v>
                </c:pt>
                <c:pt idx="3724">
                  <c:v>0</c:v>
                </c:pt>
                <c:pt idx="3725">
                  <c:v>0</c:v>
                </c:pt>
                <c:pt idx="3726">
                  <c:v>0</c:v>
                </c:pt>
                <c:pt idx="3727">
                  <c:v>1</c:v>
                </c:pt>
                <c:pt idx="3728">
                  <c:v>1</c:v>
                </c:pt>
                <c:pt idx="3729">
                  <c:v>0</c:v>
                </c:pt>
                <c:pt idx="3730">
                  <c:v>0</c:v>
                </c:pt>
                <c:pt idx="3731">
                  <c:v>1</c:v>
                </c:pt>
                <c:pt idx="3732">
                  <c:v>0</c:v>
                </c:pt>
                <c:pt idx="3733">
                  <c:v>7</c:v>
                </c:pt>
                <c:pt idx="3734">
                  <c:v>0</c:v>
                </c:pt>
                <c:pt idx="3735">
                  <c:v>0</c:v>
                </c:pt>
                <c:pt idx="3736">
                  <c:v>0</c:v>
                </c:pt>
                <c:pt idx="3737">
                  <c:v>4</c:v>
                </c:pt>
                <c:pt idx="3738">
                  <c:v>0</c:v>
                </c:pt>
                <c:pt idx="3739">
                  <c:v>0</c:v>
                </c:pt>
                <c:pt idx="3740">
                  <c:v>0</c:v>
                </c:pt>
                <c:pt idx="3741">
                  <c:v>0</c:v>
                </c:pt>
                <c:pt idx="3742">
                  <c:v>0</c:v>
                </c:pt>
                <c:pt idx="3743">
                  <c:v>0</c:v>
                </c:pt>
                <c:pt idx="3744">
                  <c:v>0</c:v>
                </c:pt>
                <c:pt idx="3745">
                  <c:v>0</c:v>
                </c:pt>
                <c:pt idx="3746">
                  <c:v>0</c:v>
                </c:pt>
                <c:pt idx="3747">
                  <c:v>2</c:v>
                </c:pt>
                <c:pt idx="3748">
                  <c:v>1</c:v>
                </c:pt>
                <c:pt idx="3749">
                  <c:v>0</c:v>
                </c:pt>
                <c:pt idx="3750">
                  <c:v>0</c:v>
                </c:pt>
                <c:pt idx="3751">
                  <c:v>0</c:v>
                </c:pt>
                <c:pt idx="3752">
                  <c:v>3</c:v>
                </c:pt>
                <c:pt idx="3753">
                  <c:v>4</c:v>
                </c:pt>
                <c:pt idx="3754">
                  <c:v>1</c:v>
                </c:pt>
                <c:pt idx="3755">
                  <c:v>0</c:v>
                </c:pt>
                <c:pt idx="3756">
                  <c:v>0</c:v>
                </c:pt>
                <c:pt idx="3757">
                  <c:v>0</c:v>
                </c:pt>
                <c:pt idx="3758">
                  <c:v>0</c:v>
                </c:pt>
                <c:pt idx="3759">
                  <c:v>0</c:v>
                </c:pt>
                <c:pt idx="3760">
                  <c:v>0</c:v>
                </c:pt>
                <c:pt idx="3761">
                  <c:v>4</c:v>
                </c:pt>
                <c:pt idx="3762">
                  <c:v>2</c:v>
                </c:pt>
                <c:pt idx="3763">
                  <c:v>1</c:v>
                </c:pt>
                <c:pt idx="3764">
                  <c:v>0</c:v>
                </c:pt>
                <c:pt idx="3765">
                  <c:v>0</c:v>
                </c:pt>
                <c:pt idx="3766">
                  <c:v>1</c:v>
                </c:pt>
                <c:pt idx="3767">
                  <c:v>0</c:v>
                </c:pt>
                <c:pt idx="3768">
                  <c:v>0</c:v>
                </c:pt>
                <c:pt idx="3769">
                  <c:v>3</c:v>
                </c:pt>
                <c:pt idx="3770">
                  <c:v>0</c:v>
                </c:pt>
                <c:pt idx="3771">
                  <c:v>0</c:v>
                </c:pt>
                <c:pt idx="3772">
                  <c:v>0</c:v>
                </c:pt>
                <c:pt idx="3773">
                  <c:v>1</c:v>
                </c:pt>
                <c:pt idx="3774">
                  <c:v>1</c:v>
                </c:pt>
                <c:pt idx="3775">
                  <c:v>6</c:v>
                </c:pt>
                <c:pt idx="3776">
                  <c:v>0</c:v>
                </c:pt>
                <c:pt idx="3777">
                  <c:v>0</c:v>
                </c:pt>
                <c:pt idx="3778">
                  <c:v>0</c:v>
                </c:pt>
                <c:pt idx="3779">
                  <c:v>6</c:v>
                </c:pt>
                <c:pt idx="3780">
                  <c:v>0</c:v>
                </c:pt>
                <c:pt idx="3781">
                  <c:v>4</c:v>
                </c:pt>
                <c:pt idx="3782">
                  <c:v>0</c:v>
                </c:pt>
                <c:pt idx="3783">
                  <c:v>2</c:v>
                </c:pt>
                <c:pt idx="3784">
                  <c:v>0</c:v>
                </c:pt>
                <c:pt idx="3785">
                  <c:v>0</c:v>
                </c:pt>
                <c:pt idx="3786">
                  <c:v>0</c:v>
                </c:pt>
                <c:pt idx="3787">
                  <c:v>0</c:v>
                </c:pt>
                <c:pt idx="3788">
                  <c:v>0</c:v>
                </c:pt>
                <c:pt idx="3789">
                  <c:v>0</c:v>
                </c:pt>
                <c:pt idx="3790">
                  <c:v>2</c:v>
                </c:pt>
                <c:pt idx="3791">
                  <c:v>3</c:v>
                </c:pt>
                <c:pt idx="3792">
                  <c:v>0</c:v>
                </c:pt>
                <c:pt idx="3793">
                  <c:v>0</c:v>
                </c:pt>
                <c:pt idx="3794">
                  <c:v>1</c:v>
                </c:pt>
                <c:pt idx="3795">
                  <c:v>2</c:v>
                </c:pt>
                <c:pt idx="3796">
                  <c:v>0</c:v>
                </c:pt>
                <c:pt idx="3797">
                  <c:v>0</c:v>
                </c:pt>
                <c:pt idx="3798">
                  <c:v>0</c:v>
                </c:pt>
                <c:pt idx="3799">
                  <c:v>0</c:v>
                </c:pt>
                <c:pt idx="3800">
                  <c:v>3</c:v>
                </c:pt>
                <c:pt idx="3801">
                  <c:v>0</c:v>
                </c:pt>
                <c:pt idx="3802">
                  <c:v>0</c:v>
                </c:pt>
                <c:pt idx="3803">
                  <c:v>0</c:v>
                </c:pt>
                <c:pt idx="3804">
                  <c:v>0</c:v>
                </c:pt>
                <c:pt idx="3805">
                  <c:v>0</c:v>
                </c:pt>
                <c:pt idx="3806">
                  <c:v>1</c:v>
                </c:pt>
                <c:pt idx="3807">
                  <c:v>3</c:v>
                </c:pt>
                <c:pt idx="3808">
                  <c:v>0</c:v>
                </c:pt>
                <c:pt idx="3809">
                  <c:v>11</c:v>
                </c:pt>
                <c:pt idx="3810">
                  <c:v>0</c:v>
                </c:pt>
                <c:pt idx="3811">
                  <c:v>0</c:v>
                </c:pt>
                <c:pt idx="3812">
                  <c:v>1</c:v>
                </c:pt>
                <c:pt idx="3813">
                  <c:v>2</c:v>
                </c:pt>
                <c:pt idx="3814">
                  <c:v>0</c:v>
                </c:pt>
                <c:pt idx="3815">
                  <c:v>3</c:v>
                </c:pt>
                <c:pt idx="3816">
                  <c:v>0</c:v>
                </c:pt>
                <c:pt idx="3817">
                  <c:v>1</c:v>
                </c:pt>
                <c:pt idx="3818">
                  <c:v>5</c:v>
                </c:pt>
                <c:pt idx="3819">
                  <c:v>3</c:v>
                </c:pt>
                <c:pt idx="3820">
                  <c:v>0</c:v>
                </c:pt>
                <c:pt idx="3821">
                  <c:v>2</c:v>
                </c:pt>
                <c:pt idx="3822">
                  <c:v>0</c:v>
                </c:pt>
                <c:pt idx="3823">
                  <c:v>1</c:v>
                </c:pt>
                <c:pt idx="3824">
                  <c:v>5</c:v>
                </c:pt>
                <c:pt idx="3825">
                  <c:v>3</c:v>
                </c:pt>
                <c:pt idx="3826">
                  <c:v>0</c:v>
                </c:pt>
                <c:pt idx="3827">
                  <c:v>0</c:v>
                </c:pt>
                <c:pt idx="3828">
                  <c:v>3</c:v>
                </c:pt>
                <c:pt idx="3829">
                  <c:v>3</c:v>
                </c:pt>
                <c:pt idx="3830">
                  <c:v>1</c:v>
                </c:pt>
                <c:pt idx="3831">
                  <c:v>0</c:v>
                </c:pt>
                <c:pt idx="3832">
                  <c:v>3</c:v>
                </c:pt>
                <c:pt idx="3833">
                  <c:v>0</c:v>
                </c:pt>
                <c:pt idx="3834">
                  <c:v>2</c:v>
                </c:pt>
                <c:pt idx="3835">
                  <c:v>1</c:v>
                </c:pt>
                <c:pt idx="3836">
                  <c:v>0</c:v>
                </c:pt>
                <c:pt idx="3837">
                  <c:v>1</c:v>
                </c:pt>
                <c:pt idx="3838">
                  <c:v>10</c:v>
                </c:pt>
                <c:pt idx="3839">
                  <c:v>1</c:v>
                </c:pt>
                <c:pt idx="3840">
                  <c:v>0</c:v>
                </c:pt>
                <c:pt idx="3841">
                  <c:v>0</c:v>
                </c:pt>
                <c:pt idx="3842">
                  <c:v>0</c:v>
                </c:pt>
                <c:pt idx="3843">
                  <c:v>2</c:v>
                </c:pt>
                <c:pt idx="3844">
                  <c:v>0</c:v>
                </c:pt>
                <c:pt idx="3845">
                  <c:v>13</c:v>
                </c:pt>
                <c:pt idx="3846">
                  <c:v>4</c:v>
                </c:pt>
                <c:pt idx="3847">
                  <c:v>1</c:v>
                </c:pt>
                <c:pt idx="3848">
                  <c:v>0</c:v>
                </c:pt>
                <c:pt idx="3849">
                  <c:v>1</c:v>
                </c:pt>
                <c:pt idx="3850">
                  <c:v>1</c:v>
                </c:pt>
                <c:pt idx="3851">
                  <c:v>0</c:v>
                </c:pt>
                <c:pt idx="3852">
                  <c:v>0</c:v>
                </c:pt>
                <c:pt idx="3853">
                  <c:v>1</c:v>
                </c:pt>
                <c:pt idx="3854">
                  <c:v>0</c:v>
                </c:pt>
                <c:pt idx="3855">
                  <c:v>0</c:v>
                </c:pt>
                <c:pt idx="3856">
                  <c:v>0</c:v>
                </c:pt>
                <c:pt idx="3857">
                  <c:v>3</c:v>
                </c:pt>
                <c:pt idx="3858">
                  <c:v>0</c:v>
                </c:pt>
                <c:pt idx="3859">
                  <c:v>0</c:v>
                </c:pt>
                <c:pt idx="3860">
                  <c:v>0</c:v>
                </c:pt>
                <c:pt idx="3861">
                  <c:v>2</c:v>
                </c:pt>
                <c:pt idx="3862">
                  <c:v>0</c:v>
                </c:pt>
                <c:pt idx="3863">
                  <c:v>0</c:v>
                </c:pt>
                <c:pt idx="3864">
                  <c:v>0</c:v>
                </c:pt>
                <c:pt idx="3865">
                  <c:v>0</c:v>
                </c:pt>
                <c:pt idx="3866">
                  <c:v>4</c:v>
                </c:pt>
                <c:pt idx="3867">
                  <c:v>0</c:v>
                </c:pt>
                <c:pt idx="3868">
                  <c:v>0</c:v>
                </c:pt>
                <c:pt idx="3869">
                  <c:v>0</c:v>
                </c:pt>
                <c:pt idx="3870">
                  <c:v>1</c:v>
                </c:pt>
                <c:pt idx="3871">
                  <c:v>0</c:v>
                </c:pt>
                <c:pt idx="3872">
                  <c:v>0</c:v>
                </c:pt>
                <c:pt idx="3873">
                  <c:v>0</c:v>
                </c:pt>
                <c:pt idx="3874">
                  <c:v>0</c:v>
                </c:pt>
                <c:pt idx="3875">
                  <c:v>0</c:v>
                </c:pt>
                <c:pt idx="3876">
                  <c:v>0</c:v>
                </c:pt>
                <c:pt idx="3877">
                  <c:v>7</c:v>
                </c:pt>
                <c:pt idx="3878">
                  <c:v>1</c:v>
                </c:pt>
                <c:pt idx="3879">
                  <c:v>0</c:v>
                </c:pt>
                <c:pt idx="3880">
                  <c:v>1</c:v>
                </c:pt>
                <c:pt idx="3881">
                  <c:v>0</c:v>
                </c:pt>
                <c:pt idx="3882">
                  <c:v>0</c:v>
                </c:pt>
                <c:pt idx="3883">
                  <c:v>2</c:v>
                </c:pt>
                <c:pt idx="3884">
                  <c:v>0</c:v>
                </c:pt>
                <c:pt idx="3885">
                  <c:v>0</c:v>
                </c:pt>
                <c:pt idx="3886">
                  <c:v>0</c:v>
                </c:pt>
                <c:pt idx="3887">
                  <c:v>3</c:v>
                </c:pt>
                <c:pt idx="3888">
                  <c:v>0</c:v>
                </c:pt>
                <c:pt idx="3889">
                  <c:v>0</c:v>
                </c:pt>
                <c:pt idx="3890">
                  <c:v>0</c:v>
                </c:pt>
                <c:pt idx="3891">
                  <c:v>2</c:v>
                </c:pt>
                <c:pt idx="3892">
                  <c:v>0</c:v>
                </c:pt>
                <c:pt idx="3893">
                  <c:v>2</c:v>
                </c:pt>
                <c:pt idx="3894">
                  <c:v>1</c:v>
                </c:pt>
                <c:pt idx="3895">
                  <c:v>0</c:v>
                </c:pt>
                <c:pt idx="3896">
                  <c:v>1</c:v>
                </c:pt>
                <c:pt idx="3897">
                  <c:v>1</c:v>
                </c:pt>
                <c:pt idx="3898">
                  <c:v>1</c:v>
                </c:pt>
                <c:pt idx="3899">
                  <c:v>0</c:v>
                </c:pt>
                <c:pt idx="3900">
                  <c:v>0</c:v>
                </c:pt>
                <c:pt idx="3901">
                  <c:v>0</c:v>
                </c:pt>
                <c:pt idx="3902">
                  <c:v>0</c:v>
                </c:pt>
                <c:pt idx="3903">
                  <c:v>3</c:v>
                </c:pt>
                <c:pt idx="3904">
                  <c:v>0</c:v>
                </c:pt>
                <c:pt idx="3905">
                  <c:v>0</c:v>
                </c:pt>
                <c:pt idx="3906">
                  <c:v>1</c:v>
                </c:pt>
                <c:pt idx="3907">
                  <c:v>0</c:v>
                </c:pt>
                <c:pt idx="3908">
                  <c:v>0</c:v>
                </c:pt>
                <c:pt idx="3909">
                  <c:v>1</c:v>
                </c:pt>
                <c:pt idx="3910">
                  <c:v>0</c:v>
                </c:pt>
                <c:pt idx="3911">
                  <c:v>0</c:v>
                </c:pt>
                <c:pt idx="3912">
                  <c:v>0</c:v>
                </c:pt>
                <c:pt idx="3913">
                  <c:v>0</c:v>
                </c:pt>
                <c:pt idx="3914">
                  <c:v>1</c:v>
                </c:pt>
                <c:pt idx="3915">
                  <c:v>0</c:v>
                </c:pt>
                <c:pt idx="3916">
                  <c:v>2</c:v>
                </c:pt>
                <c:pt idx="3917">
                  <c:v>1</c:v>
                </c:pt>
                <c:pt idx="3918">
                  <c:v>0</c:v>
                </c:pt>
                <c:pt idx="3919">
                  <c:v>0</c:v>
                </c:pt>
                <c:pt idx="3920">
                  <c:v>0</c:v>
                </c:pt>
                <c:pt idx="3921">
                  <c:v>2</c:v>
                </c:pt>
                <c:pt idx="3922">
                  <c:v>0</c:v>
                </c:pt>
                <c:pt idx="3923">
                  <c:v>0</c:v>
                </c:pt>
                <c:pt idx="3924">
                  <c:v>3</c:v>
                </c:pt>
                <c:pt idx="3925">
                  <c:v>2</c:v>
                </c:pt>
                <c:pt idx="3926">
                  <c:v>4</c:v>
                </c:pt>
                <c:pt idx="3927">
                  <c:v>0</c:v>
                </c:pt>
                <c:pt idx="3928">
                  <c:v>0</c:v>
                </c:pt>
                <c:pt idx="3929">
                  <c:v>5</c:v>
                </c:pt>
                <c:pt idx="3930">
                  <c:v>0</c:v>
                </c:pt>
                <c:pt idx="3931">
                  <c:v>0</c:v>
                </c:pt>
                <c:pt idx="3932">
                  <c:v>1</c:v>
                </c:pt>
                <c:pt idx="3933">
                  <c:v>0</c:v>
                </c:pt>
                <c:pt idx="3934">
                  <c:v>0</c:v>
                </c:pt>
                <c:pt idx="3935">
                  <c:v>0</c:v>
                </c:pt>
                <c:pt idx="3936">
                  <c:v>0</c:v>
                </c:pt>
                <c:pt idx="3937">
                  <c:v>0</c:v>
                </c:pt>
                <c:pt idx="3938">
                  <c:v>1</c:v>
                </c:pt>
                <c:pt idx="3939">
                  <c:v>0</c:v>
                </c:pt>
                <c:pt idx="3940">
                  <c:v>0</c:v>
                </c:pt>
                <c:pt idx="3941">
                  <c:v>2</c:v>
                </c:pt>
                <c:pt idx="3942">
                  <c:v>0</c:v>
                </c:pt>
                <c:pt idx="3943">
                  <c:v>0</c:v>
                </c:pt>
                <c:pt idx="3944">
                  <c:v>0</c:v>
                </c:pt>
                <c:pt idx="3945">
                  <c:v>0</c:v>
                </c:pt>
                <c:pt idx="3946">
                  <c:v>0</c:v>
                </c:pt>
                <c:pt idx="3947">
                  <c:v>0</c:v>
                </c:pt>
                <c:pt idx="3948">
                  <c:v>0</c:v>
                </c:pt>
                <c:pt idx="3949">
                  <c:v>0</c:v>
                </c:pt>
                <c:pt idx="3950">
                  <c:v>46</c:v>
                </c:pt>
                <c:pt idx="3951">
                  <c:v>0</c:v>
                </c:pt>
                <c:pt idx="3952">
                  <c:v>0</c:v>
                </c:pt>
                <c:pt idx="3953">
                  <c:v>4</c:v>
                </c:pt>
                <c:pt idx="3954">
                  <c:v>0</c:v>
                </c:pt>
                <c:pt idx="3955">
                  <c:v>0</c:v>
                </c:pt>
                <c:pt idx="3956">
                  <c:v>0</c:v>
                </c:pt>
                <c:pt idx="3957">
                  <c:v>0</c:v>
                </c:pt>
                <c:pt idx="3958">
                  <c:v>5</c:v>
                </c:pt>
                <c:pt idx="3959">
                  <c:v>0</c:v>
                </c:pt>
                <c:pt idx="3960">
                  <c:v>0</c:v>
                </c:pt>
                <c:pt idx="3961">
                  <c:v>2</c:v>
                </c:pt>
                <c:pt idx="3962">
                  <c:v>0</c:v>
                </c:pt>
                <c:pt idx="3963">
                  <c:v>8</c:v>
                </c:pt>
                <c:pt idx="3964">
                  <c:v>1</c:v>
                </c:pt>
                <c:pt idx="3965">
                  <c:v>1</c:v>
                </c:pt>
                <c:pt idx="3966">
                  <c:v>0</c:v>
                </c:pt>
                <c:pt idx="3967">
                  <c:v>0</c:v>
                </c:pt>
                <c:pt idx="3968">
                  <c:v>3</c:v>
                </c:pt>
                <c:pt idx="3969">
                  <c:v>0</c:v>
                </c:pt>
                <c:pt idx="3970">
                  <c:v>0</c:v>
                </c:pt>
                <c:pt idx="3971">
                  <c:v>0</c:v>
                </c:pt>
                <c:pt idx="3972">
                  <c:v>0</c:v>
                </c:pt>
                <c:pt idx="3973">
                  <c:v>0</c:v>
                </c:pt>
                <c:pt idx="3974">
                  <c:v>0</c:v>
                </c:pt>
                <c:pt idx="3975">
                  <c:v>0</c:v>
                </c:pt>
                <c:pt idx="3976">
                  <c:v>8</c:v>
                </c:pt>
                <c:pt idx="3977">
                  <c:v>6</c:v>
                </c:pt>
                <c:pt idx="3978">
                  <c:v>0</c:v>
                </c:pt>
                <c:pt idx="3979">
                  <c:v>2</c:v>
                </c:pt>
                <c:pt idx="3980">
                  <c:v>0</c:v>
                </c:pt>
                <c:pt idx="3981">
                  <c:v>0</c:v>
                </c:pt>
                <c:pt idx="3982">
                  <c:v>0</c:v>
                </c:pt>
                <c:pt idx="3983">
                  <c:v>0</c:v>
                </c:pt>
                <c:pt idx="3984">
                  <c:v>3</c:v>
                </c:pt>
                <c:pt idx="3985">
                  <c:v>1</c:v>
                </c:pt>
                <c:pt idx="3986">
                  <c:v>0</c:v>
                </c:pt>
                <c:pt idx="3987">
                  <c:v>2</c:v>
                </c:pt>
                <c:pt idx="3988">
                  <c:v>5</c:v>
                </c:pt>
                <c:pt idx="3989">
                  <c:v>0</c:v>
                </c:pt>
                <c:pt idx="3990">
                  <c:v>2</c:v>
                </c:pt>
                <c:pt idx="3991">
                  <c:v>3</c:v>
                </c:pt>
                <c:pt idx="3992">
                  <c:v>21</c:v>
                </c:pt>
                <c:pt idx="3993">
                  <c:v>3</c:v>
                </c:pt>
                <c:pt idx="3994">
                  <c:v>2</c:v>
                </c:pt>
                <c:pt idx="3995">
                  <c:v>0</c:v>
                </c:pt>
                <c:pt idx="3996">
                  <c:v>0</c:v>
                </c:pt>
                <c:pt idx="3997">
                  <c:v>0</c:v>
                </c:pt>
                <c:pt idx="3998">
                  <c:v>0</c:v>
                </c:pt>
                <c:pt idx="3999">
                  <c:v>0</c:v>
                </c:pt>
                <c:pt idx="4000">
                  <c:v>0</c:v>
                </c:pt>
                <c:pt idx="4001">
                  <c:v>1</c:v>
                </c:pt>
                <c:pt idx="4002">
                  <c:v>0</c:v>
                </c:pt>
                <c:pt idx="4003">
                  <c:v>0</c:v>
                </c:pt>
                <c:pt idx="4004">
                  <c:v>0</c:v>
                </c:pt>
                <c:pt idx="4005">
                  <c:v>0</c:v>
                </c:pt>
                <c:pt idx="4006">
                  <c:v>1</c:v>
                </c:pt>
                <c:pt idx="4007">
                  <c:v>0</c:v>
                </c:pt>
                <c:pt idx="4008">
                  <c:v>0</c:v>
                </c:pt>
                <c:pt idx="4009">
                  <c:v>0</c:v>
                </c:pt>
                <c:pt idx="4010">
                  <c:v>1</c:v>
                </c:pt>
                <c:pt idx="4011">
                  <c:v>1</c:v>
                </c:pt>
                <c:pt idx="4012">
                  <c:v>0</c:v>
                </c:pt>
                <c:pt idx="4013">
                  <c:v>3</c:v>
                </c:pt>
                <c:pt idx="4014">
                  <c:v>0</c:v>
                </c:pt>
                <c:pt idx="4015">
                  <c:v>1</c:v>
                </c:pt>
                <c:pt idx="4016">
                  <c:v>0</c:v>
                </c:pt>
                <c:pt idx="4017">
                  <c:v>0</c:v>
                </c:pt>
                <c:pt idx="4018">
                  <c:v>1</c:v>
                </c:pt>
                <c:pt idx="4019">
                  <c:v>3</c:v>
                </c:pt>
                <c:pt idx="4020">
                  <c:v>0</c:v>
                </c:pt>
                <c:pt idx="4021">
                  <c:v>11</c:v>
                </c:pt>
                <c:pt idx="4022">
                  <c:v>1</c:v>
                </c:pt>
                <c:pt idx="4023">
                  <c:v>0</c:v>
                </c:pt>
                <c:pt idx="4024">
                  <c:v>0</c:v>
                </c:pt>
                <c:pt idx="4025">
                  <c:v>0</c:v>
                </c:pt>
                <c:pt idx="4026">
                  <c:v>13</c:v>
                </c:pt>
                <c:pt idx="4027">
                  <c:v>1</c:v>
                </c:pt>
                <c:pt idx="4028">
                  <c:v>3</c:v>
                </c:pt>
                <c:pt idx="4029">
                  <c:v>0</c:v>
                </c:pt>
                <c:pt idx="4030">
                  <c:v>1</c:v>
                </c:pt>
                <c:pt idx="4031">
                  <c:v>3</c:v>
                </c:pt>
                <c:pt idx="4032">
                  <c:v>0</c:v>
                </c:pt>
                <c:pt idx="4033">
                  <c:v>3</c:v>
                </c:pt>
                <c:pt idx="4034">
                  <c:v>0</c:v>
                </c:pt>
                <c:pt idx="4035">
                  <c:v>0</c:v>
                </c:pt>
                <c:pt idx="4036">
                  <c:v>0</c:v>
                </c:pt>
                <c:pt idx="4037">
                  <c:v>0</c:v>
                </c:pt>
                <c:pt idx="4038">
                  <c:v>0</c:v>
                </c:pt>
                <c:pt idx="4039">
                  <c:v>2</c:v>
                </c:pt>
                <c:pt idx="4040">
                  <c:v>3</c:v>
                </c:pt>
                <c:pt idx="4041">
                  <c:v>13</c:v>
                </c:pt>
                <c:pt idx="4042">
                  <c:v>0</c:v>
                </c:pt>
                <c:pt idx="4043">
                  <c:v>2</c:v>
                </c:pt>
                <c:pt idx="4044">
                  <c:v>1</c:v>
                </c:pt>
                <c:pt idx="4045">
                  <c:v>1</c:v>
                </c:pt>
                <c:pt idx="4046">
                  <c:v>3</c:v>
                </c:pt>
                <c:pt idx="4047">
                  <c:v>0</c:v>
                </c:pt>
                <c:pt idx="4048">
                  <c:v>2</c:v>
                </c:pt>
                <c:pt idx="4049">
                  <c:v>1</c:v>
                </c:pt>
                <c:pt idx="4050">
                  <c:v>0</c:v>
                </c:pt>
                <c:pt idx="4051">
                  <c:v>1</c:v>
                </c:pt>
                <c:pt idx="4052">
                  <c:v>2</c:v>
                </c:pt>
                <c:pt idx="4053">
                  <c:v>0</c:v>
                </c:pt>
                <c:pt idx="4054">
                  <c:v>0</c:v>
                </c:pt>
                <c:pt idx="4055">
                  <c:v>1</c:v>
                </c:pt>
                <c:pt idx="4056">
                  <c:v>2</c:v>
                </c:pt>
                <c:pt idx="4057">
                  <c:v>3</c:v>
                </c:pt>
                <c:pt idx="4058">
                  <c:v>0</c:v>
                </c:pt>
                <c:pt idx="4059">
                  <c:v>3</c:v>
                </c:pt>
                <c:pt idx="4060">
                  <c:v>0</c:v>
                </c:pt>
                <c:pt idx="4061">
                  <c:v>0</c:v>
                </c:pt>
                <c:pt idx="4062">
                  <c:v>1</c:v>
                </c:pt>
                <c:pt idx="4063">
                  <c:v>9</c:v>
                </c:pt>
                <c:pt idx="4064">
                  <c:v>1</c:v>
                </c:pt>
                <c:pt idx="4065">
                  <c:v>5</c:v>
                </c:pt>
                <c:pt idx="4066">
                  <c:v>0</c:v>
                </c:pt>
                <c:pt idx="4067">
                  <c:v>1</c:v>
                </c:pt>
                <c:pt idx="4068">
                  <c:v>2</c:v>
                </c:pt>
                <c:pt idx="4069">
                  <c:v>1</c:v>
                </c:pt>
                <c:pt idx="4070">
                  <c:v>0</c:v>
                </c:pt>
                <c:pt idx="4071">
                  <c:v>0</c:v>
                </c:pt>
                <c:pt idx="4072">
                  <c:v>5</c:v>
                </c:pt>
                <c:pt idx="4073">
                  <c:v>38</c:v>
                </c:pt>
                <c:pt idx="4074">
                  <c:v>7</c:v>
                </c:pt>
                <c:pt idx="4075">
                  <c:v>0</c:v>
                </c:pt>
                <c:pt idx="4076">
                  <c:v>1</c:v>
                </c:pt>
                <c:pt idx="4077">
                  <c:v>0</c:v>
                </c:pt>
                <c:pt idx="4078">
                  <c:v>1</c:v>
                </c:pt>
                <c:pt idx="4079">
                  <c:v>0</c:v>
                </c:pt>
                <c:pt idx="4080">
                  <c:v>0</c:v>
                </c:pt>
                <c:pt idx="4081">
                  <c:v>2</c:v>
                </c:pt>
                <c:pt idx="4082">
                  <c:v>5</c:v>
                </c:pt>
                <c:pt idx="4083">
                  <c:v>8</c:v>
                </c:pt>
                <c:pt idx="4084">
                  <c:v>7</c:v>
                </c:pt>
                <c:pt idx="4085">
                  <c:v>1</c:v>
                </c:pt>
                <c:pt idx="4086">
                  <c:v>4</c:v>
                </c:pt>
                <c:pt idx="4087">
                  <c:v>33</c:v>
                </c:pt>
                <c:pt idx="4088">
                  <c:v>0</c:v>
                </c:pt>
                <c:pt idx="4089">
                  <c:v>0</c:v>
                </c:pt>
                <c:pt idx="4090">
                  <c:v>0</c:v>
                </c:pt>
                <c:pt idx="4091">
                  <c:v>0</c:v>
                </c:pt>
                <c:pt idx="4092">
                  <c:v>47</c:v>
                </c:pt>
                <c:pt idx="4093">
                  <c:v>9</c:v>
                </c:pt>
                <c:pt idx="4094">
                  <c:v>1</c:v>
                </c:pt>
                <c:pt idx="4095">
                  <c:v>0</c:v>
                </c:pt>
                <c:pt idx="4096">
                  <c:v>0</c:v>
                </c:pt>
                <c:pt idx="4097">
                  <c:v>0</c:v>
                </c:pt>
                <c:pt idx="4098">
                  <c:v>0</c:v>
                </c:pt>
                <c:pt idx="4099">
                  <c:v>0</c:v>
                </c:pt>
                <c:pt idx="4100">
                  <c:v>0</c:v>
                </c:pt>
                <c:pt idx="4101">
                  <c:v>0</c:v>
                </c:pt>
                <c:pt idx="4102">
                  <c:v>6</c:v>
                </c:pt>
                <c:pt idx="4103">
                  <c:v>0</c:v>
                </c:pt>
                <c:pt idx="4104">
                  <c:v>0</c:v>
                </c:pt>
                <c:pt idx="4105">
                  <c:v>0</c:v>
                </c:pt>
                <c:pt idx="4106">
                  <c:v>0</c:v>
                </c:pt>
                <c:pt idx="4107">
                  <c:v>0</c:v>
                </c:pt>
                <c:pt idx="4108">
                  <c:v>4</c:v>
                </c:pt>
                <c:pt idx="4109">
                  <c:v>3</c:v>
                </c:pt>
                <c:pt idx="4110">
                  <c:v>3</c:v>
                </c:pt>
                <c:pt idx="4111">
                  <c:v>0</c:v>
                </c:pt>
                <c:pt idx="4112">
                  <c:v>0</c:v>
                </c:pt>
                <c:pt idx="4113">
                  <c:v>1</c:v>
                </c:pt>
                <c:pt idx="4114">
                  <c:v>0</c:v>
                </c:pt>
                <c:pt idx="4115">
                  <c:v>0</c:v>
                </c:pt>
                <c:pt idx="4116">
                  <c:v>1</c:v>
                </c:pt>
                <c:pt idx="4117">
                  <c:v>8</c:v>
                </c:pt>
                <c:pt idx="4118">
                  <c:v>8</c:v>
                </c:pt>
                <c:pt idx="4119">
                  <c:v>0</c:v>
                </c:pt>
                <c:pt idx="4120">
                  <c:v>14</c:v>
                </c:pt>
                <c:pt idx="4121">
                  <c:v>2</c:v>
                </c:pt>
                <c:pt idx="4122">
                  <c:v>6</c:v>
                </c:pt>
                <c:pt idx="4123">
                  <c:v>0</c:v>
                </c:pt>
                <c:pt idx="4124">
                  <c:v>0</c:v>
                </c:pt>
                <c:pt idx="4125">
                  <c:v>5</c:v>
                </c:pt>
                <c:pt idx="4126">
                  <c:v>0</c:v>
                </c:pt>
                <c:pt idx="4127">
                  <c:v>0</c:v>
                </c:pt>
                <c:pt idx="4128">
                  <c:v>0</c:v>
                </c:pt>
                <c:pt idx="4129">
                  <c:v>0</c:v>
                </c:pt>
                <c:pt idx="4130">
                  <c:v>1</c:v>
                </c:pt>
                <c:pt idx="4131">
                  <c:v>0</c:v>
                </c:pt>
                <c:pt idx="4132">
                  <c:v>2</c:v>
                </c:pt>
                <c:pt idx="4133">
                  <c:v>0</c:v>
                </c:pt>
                <c:pt idx="4134">
                  <c:v>2</c:v>
                </c:pt>
                <c:pt idx="4135">
                  <c:v>0</c:v>
                </c:pt>
                <c:pt idx="4136">
                  <c:v>0</c:v>
                </c:pt>
                <c:pt idx="4137">
                  <c:v>2</c:v>
                </c:pt>
                <c:pt idx="4138">
                  <c:v>0</c:v>
                </c:pt>
                <c:pt idx="4139">
                  <c:v>0</c:v>
                </c:pt>
                <c:pt idx="4140">
                  <c:v>2</c:v>
                </c:pt>
                <c:pt idx="4141">
                  <c:v>0</c:v>
                </c:pt>
                <c:pt idx="4142">
                  <c:v>0</c:v>
                </c:pt>
                <c:pt idx="4143">
                  <c:v>0</c:v>
                </c:pt>
                <c:pt idx="4144">
                  <c:v>30</c:v>
                </c:pt>
                <c:pt idx="4145">
                  <c:v>1</c:v>
                </c:pt>
                <c:pt idx="4146">
                  <c:v>0</c:v>
                </c:pt>
                <c:pt idx="4147">
                  <c:v>9</c:v>
                </c:pt>
                <c:pt idx="4148">
                  <c:v>3</c:v>
                </c:pt>
                <c:pt idx="4149">
                  <c:v>0</c:v>
                </c:pt>
                <c:pt idx="4150">
                  <c:v>0</c:v>
                </c:pt>
                <c:pt idx="4151">
                  <c:v>3</c:v>
                </c:pt>
                <c:pt idx="4152">
                  <c:v>0</c:v>
                </c:pt>
                <c:pt idx="4153">
                  <c:v>16</c:v>
                </c:pt>
                <c:pt idx="4154">
                  <c:v>2</c:v>
                </c:pt>
                <c:pt idx="4155">
                  <c:v>5</c:v>
                </c:pt>
                <c:pt idx="4156">
                  <c:v>1</c:v>
                </c:pt>
                <c:pt idx="4157">
                  <c:v>0</c:v>
                </c:pt>
                <c:pt idx="4158">
                  <c:v>6</c:v>
                </c:pt>
                <c:pt idx="4159">
                  <c:v>1</c:v>
                </c:pt>
                <c:pt idx="4160">
                  <c:v>0</c:v>
                </c:pt>
                <c:pt idx="4161">
                  <c:v>1</c:v>
                </c:pt>
                <c:pt idx="4162">
                  <c:v>0</c:v>
                </c:pt>
                <c:pt idx="4163">
                  <c:v>0</c:v>
                </c:pt>
                <c:pt idx="4164">
                  <c:v>0</c:v>
                </c:pt>
                <c:pt idx="4165">
                  <c:v>0</c:v>
                </c:pt>
                <c:pt idx="4166">
                  <c:v>0</c:v>
                </c:pt>
                <c:pt idx="4167">
                  <c:v>6</c:v>
                </c:pt>
                <c:pt idx="4168">
                  <c:v>26</c:v>
                </c:pt>
                <c:pt idx="4169">
                  <c:v>1</c:v>
                </c:pt>
                <c:pt idx="4170">
                  <c:v>1</c:v>
                </c:pt>
                <c:pt idx="4171">
                  <c:v>21</c:v>
                </c:pt>
                <c:pt idx="4172">
                  <c:v>5</c:v>
                </c:pt>
                <c:pt idx="4173">
                  <c:v>0</c:v>
                </c:pt>
                <c:pt idx="4174">
                  <c:v>0</c:v>
                </c:pt>
                <c:pt idx="4175">
                  <c:v>0</c:v>
                </c:pt>
                <c:pt idx="4176">
                  <c:v>0</c:v>
                </c:pt>
                <c:pt idx="4177">
                  <c:v>0</c:v>
                </c:pt>
                <c:pt idx="4178">
                  <c:v>0</c:v>
                </c:pt>
                <c:pt idx="4179">
                  <c:v>2</c:v>
                </c:pt>
                <c:pt idx="4180">
                  <c:v>0</c:v>
                </c:pt>
                <c:pt idx="4181">
                  <c:v>0</c:v>
                </c:pt>
                <c:pt idx="4182">
                  <c:v>0</c:v>
                </c:pt>
                <c:pt idx="4183">
                  <c:v>0</c:v>
                </c:pt>
                <c:pt idx="4184">
                  <c:v>0</c:v>
                </c:pt>
                <c:pt idx="4185">
                  <c:v>0</c:v>
                </c:pt>
                <c:pt idx="4186">
                  <c:v>17</c:v>
                </c:pt>
                <c:pt idx="4187">
                  <c:v>0</c:v>
                </c:pt>
                <c:pt idx="4188">
                  <c:v>0</c:v>
                </c:pt>
                <c:pt idx="4189">
                  <c:v>2</c:v>
                </c:pt>
                <c:pt idx="4190">
                  <c:v>8</c:v>
                </c:pt>
                <c:pt idx="4191">
                  <c:v>0</c:v>
                </c:pt>
                <c:pt idx="4192">
                  <c:v>0</c:v>
                </c:pt>
                <c:pt idx="4193">
                  <c:v>0</c:v>
                </c:pt>
                <c:pt idx="4194">
                  <c:v>0</c:v>
                </c:pt>
                <c:pt idx="4195">
                  <c:v>0</c:v>
                </c:pt>
                <c:pt idx="4196">
                  <c:v>0</c:v>
                </c:pt>
                <c:pt idx="4197">
                  <c:v>1</c:v>
                </c:pt>
                <c:pt idx="4198">
                  <c:v>0</c:v>
                </c:pt>
                <c:pt idx="4199">
                  <c:v>15</c:v>
                </c:pt>
                <c:pt idx="4200">
                  <c:v>0</c:v>
                </c:pt>
                <c:pt idx="4201">
                  <c:v>0</c:v>
                </c:pt>
                <c:pt idx="4202">
                  <c:v>0</c:v>
                </c:pt>
                <c:pt idx="4203">
                  <c:v>9</c:v>
                </c:pt>
                <c:pt idx="4204">
                  <c:v>1</c:v>
                </c:pt>
                <c:pt idx="4205">
                  <c:v>17</c:v>
                </c:pt>
                <c:pt idx="4206">
                  <c:v>0</c:v>
                </c:pt>
                <c:pt idx="4207">
                  <c:v>1</c:v>
                </c:pt>
                <c:pt idx="4208">
                  <c:v>1</c:v>
                </c:pt>
                <c:pt idx="4209">
                  <c:v>0</c:v>
                </c:pt>
                <c:pt idx="4210">
                  <c:v>0</c:v>
                </c:pt>
                <c:pt idx="4211">
                  <c:v>0</c:v>
                </c:pt>
                <c:pt idx="4212">
                  <c:v>0</c:v>
                </c:pt>
                <c:pt idx="4213">
                  <c:v>0</c:v>
                </c:pt>
                <c:pt idx="4214">
                  <c:v>0</c:v>
                </c:pt>
                <c:pt idx="4215">
                  <c:v>3</c:v>
                </c:pt>
                <c:pt idx="4216">
                  <c:v>0</c:v>
                </c:pt>
                <c:pt idx="4217">
                  <c:v>0</c:v>
                </c:pt>
                <c:pt idx="4218">
                  <c:v>0</c:v>
                </c:pt>
                <c:pt idx="4219">
                  <c:v>2</c:v>
                </c:pt>
                <c:pt idx="4220">
                  <c:v>0</c:v>
                </c:pt>
                <c:pt idx="4221">
                  <c:v>0</c:v>
                </c:pt>
                <c:pt idx="4222">
                  <c:v>4</c:v>
                </c:pt>
                <c:pt idx="4223">
                  <c:v>0</c:v>
                </c:pt>
                <c:pt idx="4224">
                  <c:v>0</c:v>
                </c:pt>
                <c:pt idx="4225">
                  <c:v>38</c:v>
                </c:pt>
                <c:pt idx="4226">
                  <c:v>0</c:v>
                </c:pt>
                <c:pt idx="4227">
                  <c:v>0</c:v>
                </c:pt>
                <c:pt idx="4228">
                  <c:v>7</c:v>
                </c:pt>
                <c:pt idx="4229">
                  <c:v>0</c:v>
                </c:pt>
                <c:pt idx="4230">
                  <c:v>0</c:v>
                </c:pt>
                <c:pt idx="4231">
                  <c:v>0</c:v>
                </c:pt>
                <c:pt idx="4232">
                  <c:v>0</c:v>
                </c:pt>
                <c:pt idx="4233">
                  <c:v>2</c:v>
                </c:pt>
                <c:pt idx="4234">
                  <c:v>3</c:v>
                </c:pt>
                <c:pt idx="4235">
                  <c:v>0</c:v>
                </c:pt>
                <c:pt idx="4236">
                  <c:v>0</c:v>
                </c:pt>
                <c:pt idx="4237">
                  <c:v>1</c:v>
                </c:pt>
                <c:pt idx="4238">
                  <c:v>0</c:v>
                </c:pt>
                <c:pt idx="4239">
                  <c:v>0</c:v>
                </c:pt>
                <c:pt idx="4240">
                  <c:v>10</c:v>
                </c:pt>
                <c:pt idx="4241">
                  <c:v>3</c:v>
                </c:pt>
                <c:pt idx="4242">
                  <c:v>1</c:v>
                </c:pt>
                <c:pt idx="4243">
                  <c:v>2</c:v>
                </c:pt>
                <c:pt idx="4244">
                  <c:v>22</c:v>
                </c:pt>
                <c:pt idx="4245">
                  <c:v>1</c:v>
                </c:pt>
                <c:pt idx="4246">
                  <c:v>0</c:v>
                </c:pt>
                <c:pt idx="4247">
                  <c:v>5</c:v>
                </c:pt>
                <c:pt idx="4248">
                  <c:v>0</c:v>
                </c:pt>
                <c:pt idx="4249">
                  <c:v>0</c:v>
                </c:pt>
                <c:pt idx="4250">
                  <c:v>0</c:v>
                </c:pt>
                <c:pt idx="4251">
                  <c:v>0</c:v>
                </c:pt>
                <c:pt idx="4252">
                  <c:v>0</c:v>
                </c:pt>
                <c:pt idx="4253">
                  <c:v>0</c:v>
                </c:pt>
                <c:pt idx="4254">
                  <c:v>0</c:v>
                </c:pt>
                <c:pt idx="4255">
                  <c:v>4</c:v>
                </c:pt>
                <c:pt idx="4256">
                  <c:v>33</c:v>
                </c:pt>
                <c:pt idx="4257">
                  <c:v>0</c:v>
                </c:pt>
                <c:pt idx="4258">
                  <c:v>7</c:v>
                </c:pt>
                <c:pt idx="4259">
                  <c:v>0</c:v>
                </c:pt>
                <c:pt idx="4260">
                  <c:v>0</c:v>
                </c:pt>
                <c:pt idx="4261">
                  <c:v>2</c:v>
                </c:pt>
                <c:pt idx="4262">
                  <c:v>10</c:v>
                </c:pt>
                <c:pt idx="4263">
                  <c:v>9</c:v>
                </c:pt>
                <c:pt idx="4264">
                  <c:v>1</c:v>
                </c:pt>
                <c:pt idx="4265">
                  <c:v>13</c:v>
                </c:pt>
                <c:pt idx="4266">
                  <c:v>0</c:v>
                </c:pt>
                <c:pt idx="4267">
                  <c:v>0</c:v>
                </c:pt>
                <c:pt idx="4268">
                  <c:v>1</c:v>
                </c:pt>
                <c:pt idx="4269">
                  <c:v>1</c:v>
                </c:pt>
                <c:pt idx="4270">
                  <c:v>6</c:v>
                </c:pt>
                <c:pt idx="4271">
                  <c:v>2</c:v>
                </c:pt>
                <c:pt idx="4272">
                  <c:v>1</c:v>
                </c:pt>
                <c:pt idx="4273">
                  <c:v>2</c:v>
                </c:pt>
                <c:pt idx="4274">
                  <c:v>2</c:v>
                </c:pt>
                <c:pt idx="4275">
                  <c:v>10</c:v>
                </c:pt>
                <c:pt idx="4276">
                  <c:v>2</c:v>
                </c:pt>
                <c:pt idx="4277">
                  <c:v>4</c:v>
                </c:pt>
                <c:pt idx="4278">
                  <c:v>4</c:v>
                </c:pt>
                <c:pt idx="4279">
                  <c:v>21</c:v>
                </c:pt>
                <c:pt idx="4280">
                  <c:v>1</c:v>
                </c:pt>
                <c:pt idx="4281">
                  <c:v>7</c:v>
                </c:pt>
                <c:pt idx="4282">
                  <c:v>16</c:v>
                </c:pt>
                <c:pt idx="4283">
                  <c:v>7</c:v>
                </c:pt>
                <c:pt idx="4284">
                  <c:v>0</c:v>
                </c:pt>
                <c:pt idx="4285">
                  <c:v>4</c:v>
                </c:pt>
                <c:pt idx="4286">
                  <c:v>1</c:v>
                </c:pt>
                <c:pt idx="4287">
                  <c:v>0</c:v>
                </c:pt>
                <c:pt idx="4288">
                  <c:v>6</c:v>
                </c:pt>
                <c:pt idx="4289">
                  <c:v>5</c:v>
                </c:pt>
                <c:pt idx="4290">
                  <c:v>2</c:v>
                </c:pt>
                <c:pt idx="4291">
                  <c:v>1</c:v>
                </c:pt>
                <c:pt idx="4292">
                  <c:v>1</c:v>
                </c:pt>
                <c:pt idx="4293">
                  <c:v>0</c:v>
                </c:pt>
                <c:pt idx="4294">
                  <c:v>1</c:v>
                </c:pt>
                <c:pt idx="4295">
                  <c:v>2</c:v>
                </c:pt>
                <c:pt idx="4296">
                  <c:v>8</c:v>
                </c:pt>
                <c:pt idx="4297">
                  <c:v>4</c:v>
                </c:pt>
                <c:pt idx="4298">
                  <c:v>1</c:v>
                </c:pt>
                <c:pt idx="4299">
                  <c:v>3</c:v>
                </c:pt>
                <c:pt idx="4300">
                  <c:v>1</c:v>
                </c:pt>
                <c:pt idx="4301">
                  <c:v>14</c:v>
                </c:pt>
                <c:pt idx="4302">
                  <c:v>2</c:v>
                </c:pt>
                <c:pt idx="4303">
                  <c:v>1</c:v>
                </c:pt>
                <c:pt idx="4304">
                  <c:v>9</c:v>
                </c:pt>
                <c:pt idx="4305">
                  <c:v>0</c:v>
                </c:pt>
                <c:pt idx="4306">
                  <c:v>2</c:v>
                </c:pt>
                <c:pt idx="4307">
                  <c:v>1</c:v>
                </c:pt>
                <c:pt idx="4308">
                  <c:v>19</c:v>
                </c:pt>
                <c:pt idx="4309">
                  <c:v>4</c:v>
                </c:pt>
                <c:pt idx="4310">
                  <c:v>2</c:v>
                </c:pt>
                <c:pt idx="4311">
                  <c:v>4</c:v>
                </c:pt>
                <c:pt idx="4312">
                  <c:v>26</c:v>
                </c:pt>
                <c:pt idx="4313">
                  <c:v>2</c:v>
                </c:pt>
                <c:pt idx="4314">
                  <c:v>17</c:v>
                </c:pt>
                <c:pt idx="4315">
                  <c:v>1</c:v>
                </c:pt>
                <c:pt idx="4316">
                  <c:v>4</c:v>
                </c:pt>
                <c:pt idx="4317">
                  <c:v>8</c:v>
                </c:pt>
                <c:pt idx="4318">
                  <c:v>2</c:v>
                </c:pt>
                <c:pt idx="4319">
                  <c:v>2</c:v>
                </c:pt>
                <c:pt idx="4320">
                  <c:v>0</c:v>
                </c:pt>
                <c:pt idx="4321">
                  <c:v>2</c:v>
                </c:pt>
                <c:pt idx="4322">
                  <c:v>29</c:v>
                </c:pt>
                <c:pt idx="4323">
                  <c:v>1</c:v>
                </c:pt>
                <c:pt idx="4324">
                  <c:v>10</c:v>
                </c:pt>
                <c:pt idx="4325">
                  <c:v>1</c:v>
                </c:pt>
                <c:pt idx="4326">
                  <c:v>2</c:v>
                </c:pt>
                <c:pt idx="4327">
                  <c:v>4</c:v>
                </c:pt>
                <c:pt idx="4328">
                  <c:v>3</c:v>
                </c:pt>
                <c:pt idx="4329">
                  <c:v>7</c:v>
                </c:pt>
                <c:pt idx="4330">
                  <c:v>3</c:v>
                </c:pt>
                <c:pt idx="4331">
                  <c:v>2</c:v>
                </c:pt>
                <c:pt idx="4332">
                  <c:v>1</c:v>
                </c:pt>
                <c:pt idx="4333">
                  <c:v>3</c:v>
                </c:pt>
                <c:pt idx="4334">
                  <c:v>5</c:v>
                </c:pt>
                <c:pt idx="4335">
                  <c:v>0</c:v>
                </c:pt>
                <c:pt idx="4336">
                  <c:v>1</c:v>
                </c:pt>
                <c:pt idx="4337">
                  <c:v>0</c:v>
                </c:pt>
                <c:pt idx="4338">
                  <c:v>1</c:v>
                </c:pt>
                <c:pt idx="4339">
                  <c:v>10</c:v>
                </c:pt>
                <c:pt idx="4340">
                  <c:v>1</c:v>
                </c:pt>
                <c:pt idx="4341">
                  <c:v>3</c:v>
                </c:pt>
                <c:pt idx="4342">
                  <c:v>2</c:v>
                </c:pt>
                <c:pt idx="4343">
                  <c:v>6</c:v>
                </c:pt>
                <c:pt idx="4344">
                  <c:v>28</c:v>
                </c:pt>
                <c:pt idx="4345">
                  <c:v>0</c:v>
                </c:pt>
                <c:pt idx="4346">
                  <c:v>0</c:v>
                </c:pt>
                <c:pt idx="4347">
                  <c:v>16</c:v>
                </c:pt>
                <c:pt idx="4348">
                  <c:v>19</c:v>
                </c:pt>
                <c:pt idx="4349">
                  <c:v>8</c:v>
                </c:pt>
                <c:pt idx="4350">
                  <c:v>1</c:v>
                </c:pt>
                <c:pt idx="4351">
                  <c:v>1</c:v>
                </c:pt>
                <c:pt idx="4352">
                  <c:v>3</c:v>
                </c:pt>
                <c:pt idx="4353">
                  <c:v>2</c:v>
                </c:pt>
                <c:pt idx="4354">
                  <c:v>7</c:v>
                </c:pt>
                <c:pt idx="4355">
                  <c:v>0</c:v>
                </c:pt>
                <c:pt idx="4356">
                  <c:v>2</c:v>
                </c:pt>
                <c:pt idx="4357">
                  <c:v>3</c:v>
                </c:pt>
                <c:pt idx="4358">
                  <c:v>4</c:v>
                </c:pt>
                <c:pt idx="4359">
                  <c:v>7</c:v>
                </c:pt>
                <c:pt idx="4360">
                  <c:v>1</c:v>
                </c:pt>
                <c:pt idx="4361">
                  <c:v>60</c:v>
                </c:pt>
                <c:pt idx="4362">
                  <c:v>3</c:v>
                </c:pt>
                <c:pt idx="4363">
                  <c:v>0</c:v>
                </c:pt>
                <c:pt idx="4364">
                  <c:v>2</c:v>
                </c:pt>
                <c:pt idx="4365">
                  <c:v>1</c:v>
                </c:pt>
                <c:pt idx="4366">
                  <c:v>1</c:v>
                </c:pt>
                <c:pt idx="4367">
                  <c:v>34</c:v>
                </c:pt>
                <c:pt idx="4368">
                  <c:v>2</c:v>
                </c:pt>
                <c:pt idx="4369">
                  <c:v>5</c:v>
                </c:pt>
                <c:pt idx="4370">
                  <c:v>1</c:v>
                </c:pt>
                <c:pt idx="4371">
                  <c:v>6</c:v>
                </c:pt>
                <c:pt idx="4372">
                  <c:v>6</c:v>
                </c:pt>
                <c:pt idx="4373">
                  <c:v>2</c:v>
                </c:pt>
                <c:pt idx="4374">
                  <c:v>5</c:v>
                </c:pt>
                <c:pt idx="4375">
                  <c:v>0</c:v>
                </c:pt>
                <c:pt idx="4376">
                  <c:v>0</c:v>
                </c:pt>
                <c:pt idx="4377">
                  <c:v>0</c:v>
                </c:pt>
                <c:pt idx="4378">
                  <c:v>0</c:v>
                </c:pt>
                <c:pt idx="4379">
                  <c:v>0</c:v>
                </c:pt>
                <c:pt idx="4380">
                  <c:v>7</c:v>
                </c:pt>
                <c:pt idx="4381">
                  <c:v>0</c:v>
                </c:pt>
                <c:pt idx="4382">
                  <c:v>0</c:v>
                </c:pt>
                <c:pt idx="4383">
                  <c:v>0</c:v>
                </c:pt>
                <c:pt idx="4384">
                  <c:v>1</c:v>
                </c:pt>
                <c:pt idx="4385">
                  <c:v>0</c:v>
                </c:pt>
                <c:pt idx="4386">
                  <c:v>0</c:v>
                </c:pt>
                <c:pt idx="4387">
                  <c:v>0</c:v>
                </c:pt>
                <c:pt idx="4388">
                  <c:v>1</c:v>
                </c:pt>
                <c:pt idx="4389">
                  <c:v>0</c:v>
                </c:pt>
                <c:pt idx="4390">
                  <c:v>0</c:v>
                </c:pt>
                <c:pt idx="4391">
                  <c:v>0</c:v>
                </c:pt>
                <c:pt idx="4392">
                  <c:v>0</c:v>
                </c:pt>
                <c:pt idx="4393">
                  <c:v>0</c:v>
                </c:pt>
                <c:pt idx="4394">
                  <c:v>0</c:v>
                </c:pt>
                <c:pt idx="4395">
                  <c:v>3</c:v>
                </c:pt>
                <c:pt idx="4396">
                  <c:v>1</c:v>
                </c:pt>
                <c:pt idx="4397">
                  <c:v>0</c:v>
                </c:pt>
                <c:pt idx="4398">
                  <c:v>1</c:v>
                </c:pt>
                <c:pt idx="4399">
                  <c:v>0</c:v>
                </c:pt>
                <c:pt idx="4400">
                  <c:v>0</c:v>
                </c:pt>
                <c:pt idx="4401">
                  <c:v>0</c:v>
                </c:pt>
                <c:pt idx="4402">
                  <c:v>0</c:v>
                </c:pt>
                <c:pt idx="4403">
                  <c:v>0</c:v>
                </c:pt>
                <c:pt idx="4404">
                  <c:v>0</c:v>
                </c:pt>
                <c:pt idx="4405">
                  <c:v>0</c:v>
                </c:pt>
                <c:pt idx="4406">
                  <c:v>0</c:v>
                </c:pt>
                <c:pt idx="4407">
                  <c:v>0</c:v>
                </c:pt>
                <c:pt idx="4408">
                  <c:v>3</c:v>
                </c:pt>
                <c:pt idx="4409">
                  <c:v>0</c:v>
                </c:pt>
                <c:pt idx="4410">
                  <c:v>2</c:v>
                </c:pt>
                <c:pt idx="4411">
                  <c:v>1</c:v>
                </c:pt>
                <c:pt idx="4412">
                  <c:v>0</c:v>
                </c:pt>
                <c:pt idx="4413">
                  <c:v>0</c:v>
                </c:pt>
                <c:pt idx="4414">
                  <c:v>0</c:v>
                </c:pt>
                <c:pt idx="4415">
                  <c:v>0</c:v>
                </c:pt>
                <c:pt idx="4416">
                  <c:v>0</c:v>
                </c:pt>
                <c:pt idx="4417">
                  <c:v>7</c:v>
                </c:pt>
                <c:pt idx="4418">
                  <c:v>0</c:v>
                </c:pt>
                <c:pt idx="4419">
                  <c:v>0</c:v>
                </c:pt>
                <c:pt idx="4420">
                  <c:v>0</c:v>
                </c:pt>
                <c:pt idx="4421">
                  <c:v>0</c:v>
                </c:pt>
                <c:pt idx="4422">
                  <c:v>0</c:v>
                </c:pt>
                <c:pt idx="4423">
                  <c:v>0</c:v>
                </c:pt>
                <c:pt idx="4424">
                  <c:v>4</c:v>
                </c:pt>
                <c:pt idx="4425">
                  <c:v>0</c:v>
                </c:pt>
                <c:pt idx="4426">
                  <c:v>1</c:v>
                </c:pt>
                <c:pt idx="4427">
                  <c:v>0</c:v>
                </c:pt>
                <c:pt idx="4428">
                  <c:v>3</c:v>
                </c:pt>
                <c:pt idx="4429">
                  <c:v>3</c:v>
                </c:pt>
                <c:pt idx="4430">
                  <c:v>10</c:v>
                </c:pt>
                <c:pt idx="4431">
                  <c:v>1</c:v>
                </c:pt>
                <c:pt idx="4432">
                  <c:v>0</c:v>
                </c:pt>
                <c:pt idx="4433">
                  <c:v>1</c:v>
                </c:pt>
                <c:pt idx="4434">
                  <c:v>0</c:v>
                </c:pt>
                <c:pt idx="4435">
                  <c:v>0</c:v>
                </c:pt>
                <c:pt idx="4436">
                  <c:v>2</c:v>
                </c:pt>
                <c:pt idx="4437">
                  <c:v>0</c:v>
                </c:pt>
                <c:pt idx="4438">
                  <c:v>2</c:v>
                </c:pt>
                <c:pt idx="4439">
                  <c:v>0</c:v>
                </c:pt>
                <c:pt idx="4440">
                  <c:v>1</c:v>
                </c:pt>
                <c:pt idx="4441">
                  <c:v>0</c:v>
                </c:pt>
                <c:pt idx="4442">
                  <c:v>8</c:v>
                </c:pt>
                <c:pt idx="4443">
                  <c:v>0</c:v>
                </c:pt>
                <c:pt idx="4444">
                  <c:v>0</c:v>
                </c:pt>
                <c:pt idx="4445">
                  <c:v>0</c:v>
                </c:pt>
                <c:pt idx="4446">
                  <c:v>1</c:v>
                </c:pt>
                <c:pt idx="4447">
                  <c:v>0</c:v>
                </c:pt>
                <c:pt idx="4448">
                  <c:v>3</c:v>
                </c:pt>
                <c:pt idx="4449">
                  <c:v>0</c:v>
                </c:pt>
                <c:pt idx="4450">
                  <c:v>0</c:v>
                </c:pt>
                <c:pt idx="4451">
                  <c:v>0</c:v>
                </c:pt>
                <c:pt idx="4452">
                  <c:v>0</c:v>
                </c:pt>
                <c:pt idx="4453">
                  <c:v>0</c:v>
                </c:pt>
                <c:pt idx="4454">
                  <c:v>16</c:v>
                </c:pt>
                <c:pt idx="4455">
                  <c:v>1</c:v>
                </c:pt>
                <c:pt idx="4456">
                  <c:v>0</c:v>
                </c:pt>
                <c:pt idx="4457">
                  <c:v>1</c:v>
                </c:pt>
                <c:pt idx="4458">
                  <c:v>1</c:v>
                </c:pt>
                <c:pt idx="4459">
                  <c:v>0</c:v>
                </c:pt>
                <c:pt idx="4460">
                  <c:v>0</c:v>
                </c:pt>
                <c:pt idx="4461">
                  <c:v>0</c:v>
                </c:pt>
                <c:pt idx="4462">
                  <c:v>0</c:v>
                </c:pt>
                <c:pt idx="4463">
                  <c:v>3</c:v>
                </c:pt>
                <c:pt idx="4464">
                  <c:v>1</c:v>
                </c:pt>
                <c:pt idx="4465">
                  <c:v>1</c:v>
                </c:pt>
                <c:pt idx="4466">
                  <c:v>0</c:v>
                </c:pt>
                <c:pt idx="4467">
                  <c:v>2</c:v>
                </c:pt>
                <c:pt idx="4468">
                  <c:v>0</c:v>
                </c:pt>
                <c:pt idx="4469">
                  <c:v>0</c:v>
                </c:pt>
                <c:pt idx="4470">
                  <c:v>0</c:v>
                </c:pt>
                <c:pt idx="4471">
                  <c:v>2</c:v>
                </c:pt>
                <c:pt idx="4472">
                  <c:v>1</c:v>
                </c:pt>
                <c:pt idx="4473">
                  <c:v>1</c:v>
                </c:pt>
                <c:pt idx="4474">
                  <c:v>0</c:v>
                </c:pt>
                <c:pt idx="4475">
                  <c:v>2</c:v>
                </c:pt>
                <c:pt idx="4476">
                  <c:v>0</c:v>
                </c:pt>
                <c:pt idx="4477">
                  <c:v>0</c:v>
                </c:pt>
                <c:pt idx="4478">
                  <c:v>0</c:v>
                </c:pt>
                <c:pt idx="4479">
                  <c:v>5</c:v>
                </c:pt>
                <c:pt idx="4480">
                  <c:v>1</c:v>
                </c:pt>
                <c:pt idx="4481">
                  <c:v>0</c:v>
                </c:pt>
                <c:pt idx="4482">
                  <c:v>0</c:v>
                </c:pt>
                <c:pt idx="4483">
                  <c:v>2</c:v>
                </c:pt>
                <c:pt idx="4484">
                  <c:v>0</c:v>
                </c:pt>
                <c:pt idx="4485">
                  <c:v>4</c:v>
                </c:pt>
                <c:pt idx="4486">
                  <c:v>0</c:v>
                </c:pt>
                <c:pt idx="4487">
                  <c:v>0</c:v>
                </c:pt>
                <c:pt idx="4488">
                  <c:v>4</c:v>
                </c:pt>
                <c:pt idx="4489">
                  <c:v>0</c:v>
                </c:pt>
                <c:pt idx="4490">
                  <c:v>2</c:v>
                </c:pt>
                <c:pt idx="4491">
                  <c:v>0</c:v>
                </c:pt>
                <c:pt idx="4492">
                  <c:v>0</c:v>
                </c:pt>
                <c:pt idx="4493">
                  <c:v>0</c:v>
                </c:pt>
                <c:pt idx="4494">
                  <c:v>0</c:v>
                </c:pt>
                <c:pt idx="4495">
                  <c:v>0</c:v>
                </c:pt>
                <c:pt idx="4496">
                  <c:v>0</c:v>
                </c:pt>
                <c:pt idx="4497">
                  <c:v>0</c:v>
                </c:pt>
                <c:pt idx="4498">
                  <c:v>0</c:v>
                </c:pt>
                <c:pt idx="4499">
                  <c:v>5</c:v>
                </c:pt>
                <c:pt idx="4500">
                  <c:v>0</c:v>
                </c:pt>
                <c:pt idx="4501">
                  <c:v>0</c:v>
                </c:pt>
                <c:pt idx="4502">
                  <c:v>0</c:v>
                </c:pt>
                <c:pt idx="4503">
                  <c:v>0</c:v>
                </c:pt>
                <c:pt idx="4504">
                  <c:v>0</c:v>
                </c:pt>
                <c:pt idx="4505">
                  <c:v>0</c:v>
                </c:pt>
                <c:pt idx="4506">
                  <c:v>0</c:v>
                </c:pt>
                <c:pt idx="4507">
                  <c:v>0</c:v>
                </c:pt>
                <c:pt idx="4508">
                  <c:v>0</c:v>
                </c:pt>
                <c:pt idx="4509">
                  <c:v>0</c:v>
                </c:pt>
                <c:pt idx="4510">
                  <c:v>2</c:v>
                </c:pt>
                <c:pt idx="4511">
                  <c:v>0</c:v>
                </c:pt>
                <c:pt idx="4512">
                  <c:v>0</c:v>
                </c:pt>
                <c:pt idx="4513">
                  <c:v>2</c:v>
                </c:pt>
                <c:pt idx="4514">
                  <c:v>1</c:v>
                </c:pt>
                <c:pt idx="4515">
                  <c:v>0</c:v>
                </c:pt>
                <c:pt idx="4516">
                  <c:v>0</c:v>
                </c:pt>
                <c:pt idx="4517">
                  <c:v>0</c:v>
                </c:pt>
                <c:pt idx="4518">
                  <c:v>0</c:v>
                </c:pt>
                <c:pt idx="4519">
                  <c:v>5</c:v>
                </c:pt>
                <c:pt idx="4520">
                  <c:v>0</c:v>
                </c:pt>
                <c:pt idx="4521">
                  <c:v>1</c:v>
                </c:pt>
                <c:pt idx="4522">
                  <c:v>2</c:v>
                </c:pt>
                <c:pt idx="4523">
                  <c:v>2</c:v>
                </c:pt>
                <c:pt idx="4524">
                  <c:v>2</c:v>
                </c:pt>
                <c:pt idx="4525">
                  <c:v>0</c:v>
                </c:pt>
                <c:pt idx="4526">
                  <c:v>1</c:v>
                </c:pt>
                <c:pt idx="4527">
                  <c:v>0</c:v>
                </c:pt>
                <c:pt idx="4528">
                  <c:v>0</c:v>
                </c:pt>
                <c:pt idx="4529">
                  <c:v>0</c:v>
                </c:pt>
                <c:pt idx="4530">
                  <c:v>0</c:v>
                </c:pt>
                <c:pt idx="4531">
                  <c:v>0</c:v>
                </c:pt>
                <c:pt idx="4532">
                  <c:v>0</c:v>
                </c:pt>
                <c:pt idx="4533">
                  <c:v>1</c:v>
                </c:pt>
                <c:pt idx="4534">
                  <c:v>10</c:v>
                </c:pt>
                <c:pt idx="4535">
                  <c:v>0</c:v>
                </c:pt>
                <c:pt idx="4536">
                  <c:v>0</c:v>
                </c:pt>
                <c:pt idx="4537">
                  <c:v>0</c:v>
                </c:pt>
                <c:pt idx="4538">
                  <c:v>4</c:v>
                </c:pt>
                <c:pt idx="4539">
                  <c:v>0</c:v>
                </c:pt>
                <c:pt idx="4540">
                  <c:v>5</c:v>
                </c:pt>
                <c:pt idx="4541">
                  <c:v>0</c:v>
                </c:pt>
                <c:pt idx="4542">
                  <c:v>0</c:v>
                </c:pt>
                <c:pt idx="4543">
                  <c:v>0</c:v>
                </c:pt>
                <c:pt idx="4544">
                  <c:v>2</c:v>
                </c:pt>
                <c:pt idx="4545">
                  <c:v>0</c:v>
                </c:pt>
                <c:pt idx="4546">
                  <c:v>0</c:v>
                </c:pt>
                <c:pt idx="4547">
                  <c:v>0</c:v>
                </c:pt>
              </c:numCache>
            </c:numRef>
          </c:yVal>
          <c:smooth val="0"/>
          <c:extLst>
            <c:ext xmlns:c16="http://schemas.microsoft.com/office/drawing/2014/chart" uri="{C3380CC4-5D6E-409C-BE32-E72D297353CC}">
              <c16:uniqueId val="{00000000-9983-43C9-9027-D2F3013C35EC}"/>
            </c:ext>
          </c:extLst>
        </c:ser>
        <c:dLbls>
          <c:showLegendKey val="0"/>
          <c:showVal val="0"/>
          <c:showCatName val="0"/>
          <c:showSerName val="0"/>
          <c:showPercent val="0"/>
          <c:showBubbleSize val="0"/>
        </c:dLbls>
        <c:axId val="2050579424"/>
        <c:axId val="1963691391"/>
      </c:scatterChart>
      <c:valAx>
        <c:axId val="20505794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Gender Ratio</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1963691391"/>
        <c:crosses val="autoZero"/>
        <c:crossBetween val="midCat"/>
      </c:valAx>
      <c:valAx>
        <c:axId val="19636913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r>
                  <a:rPr lang="en-CA">
                    <a:latin typeface="Helvetica Neue" panose="020B0604020202020204" charset="0"/>
                  </a:rPr>
                  <a:t>Sto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Helvetica Neue" panose="020B060402020202020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Helvetica Neue" panose="020B0604020202020204" charset="0"/>
                <a:ea typeface="+mn-ea"/>
                <a:cs typeface="+mn-cs"/>
              </a:defRPr>
            </a:pPr>
            <a:endParaRPr lang="en-US"/>
          </a:p>
        </c:txPr>
        <c:crossAx val="20505794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CA"/>
              <a:t>GDP  Residual Plot</a:t>
            </a:r>
          </a:p>
        </c:rich>
      </c:tx>
      <c:overlay val="0"/>
    </c:title>
    <c:autoTitleDeleted val="0"/>
    <c:plotArea>
      <c:layout/>
      <c:scatterChart>
        <c:scatterStyle val="lineMarker"/>
        <c:varyColors val="0"/>
        <c:ser>
          <c:idx val="0"/>
          <c:order val="0"/>
          <c:spPr>
            <a:ln w="19050">
              <a:noFill/>
            </a:ln>
          </c:spPr>
          <c:xVal>
            <c:numRef>
              <c:f>city_regression_data!$H$2:$H$4549</c:f>
              <c:numCache>
                <c:formatCode>General</c:formatCode>
                <c:ptCount val="4548"/>
                <c:pt idx="0">
                  <c:v>2147483647</c:v>
                </c:pt>
                <c:pt idx="1">
                  <c:v>1741467364</c:v>
                </c:pt>
                <c:pt idx="2">
                  <c:v>806949528</c:v>
                </c:pt>
                <c:pt idx="3">
                  <c:v>17637579826</c:v>
                </c:pt>
                <c:pt idx="4">
                  <c:v>4294967294</c:v>
                </c:pt>
                <c:pt idx="5">
                  <c:v>26575673751</c:v>
                </c:pt>
                <c:pt idx="6">
                  <c:v>39766984128</c:v>
                </c:pt>
                <c:pt idx="7">
                  <c:v>41950574210</c:v>
                </c:pt>
                <c:pt idx="8">
                  <c:v>6114912948</c:v>
                </c:pt>
                <c:pt idx="9">
                  <c:v>2448351594</c:v>
                </c:pt>
                <c:pt idx="10">
                  <c:v>2069194088</c:v>
                </c:pt>
                <c:pt idx="11">
                  <c:v>5125412502</c:v>
                </c:pt>
                <c:pt idx="12">
                  <c:v>48177551874</c:v>
                </c:pt>
                <c:pt idx="13">
                  <c:v>2147483647</c:v>
                </c:pt>
                <c:pt idx="14">
                  <c:v>31998169530</c:v>
                </c:pt>
                <c:pt idx="15">
                  <c:v>13687369824</c:v>
                </c:pt>
                <c:pt idx="16">
                  <c:v>15276478289</c:v>
                </c:pt>
                <c:pt idx="17">
                  <c:v>1113764670</c:v>
                </c:pt>
                <c:pt idx="18">
                  <c:v>44174016713</c:v>
                </c:pt>
                <c:pt idx="19">
                  <c:v>15549172263</c:v>
                </c:pt>
                <c:pt idx="20">
                  <c:v>85088772202</c:v>
                </c:pt>
                <c:pt idx="21">
                  <c:v>2147483647</c:v>
                </c:pt>
                <c:pt idx="22">
                  <c:v>2385636638</c:v>
                </c:pt>
                <c:pt idx="23">
                  <c:v>22860048923</c:v>
                </c:pt>
                <c:pt idx="24">
                  <c:v>8991292080</c:v>
                </c:pt>
                <c:pt idx="25">
                  <c:v>7065403844</c:v>
                </c:pt>
                <c:pt idx="26">
                  <c:v>7256156631</c:v>
                </c:pt>
                <c:pt idx="27">
                  <c:v>10971972427</c:v>
                </c:pt>
                <c:pt idx="28">
                  <c:v>45158588825</c:v>
                </c:pt>
                <c:pt idx="29">
                  <c:v>832677560</c:v>
                </c:pt>
                <c:pt idx="30">
                  <c:v>2147483647</c:v>
                </c:pt>
                <c:pt idx="31">
                  <c:v>63071985605</c:v>
                </c:pt>
                <c:pt idx="32">
                  <c:v>3271343637</c:v>
                </c:pt>
                <c:pt idx="33">
                  <c:v>39634966821</c:v>
                </c:pt>
                <c:pt idx="34">
                  <c:v>46803702051</c:v>
                </c:pt>
                <c:pt idx="35">
                  <c:v>4294967294</c:v>
                </c:pt>
                <c:pt idx="36">
                  <c:v>4459677217</c:v>
                </c:pt>
                <c:pt idx="37">
                  <c:v>9437692553</c:v>
                </c:pt>
                <c:pt idx="38">
                  <c:v>5898088839</c:v>
                </c:pt>
                <c:pt idx="39">
                  <c:v>4184864094</c:v>
                </c:pt>
                <c:pt idx="40">
                  <c:v>50937738543</c:v>
                </c:pt>
                <c:pt idx="41">
                  <c:v>11411023591</c:v>
                </c:pt>
                <c:pt idx="42">
                  <c:v>22714930468</c:v>
                </c:pt>
                <c:pt idx="43">
                  <c:v>324507480</c:v>
                </c:pt>
                <c:pt idx="44">
                  <c:v>1845608188</c:v>
                </c:pt>
                <c:pt idx="45">
                  <c:v>2147483647</c:v>
                </c:pt>
                <c:pt idx="46">
                  <c:v>1661102517</c:v>
                </c:pt>
                <c:pt idx="47">
                  <c:v>1214028384</c:v>
                </c:pt>
                <c:pt idx="48">
                  <c:v>2810000854</c:v>
                </c:pt>
                <c:pt idx="49">
                  <c:v>2147483647</c:v>
                </c:pt>
                <c:pt idx="50">
                  <c:v>846169268</c:v>
                </c:pt>
                <c:pt idx="51">
                  <c:v>1998212130</c:v>
                </c:pt>
                <c:pt idx="52">
                  <c:v>789823536</c:v>
                </c:pt>
                <c:pt idx="53">
                  <c:v>11076506627</c:v>
                </c:pt>
                <c:pt idx="54">
                  <c:v>653207085</c:v>
                </c:pt>
                <c:pt idx="55">
                  <c:v>184934892</c:v>
                </c:pt>
                <c:pt idx="56">
                  <c:v>1470322820</c:v>
                </c:pt>
                <c:pt idx="57">
                  <c:v>3685956254</c:v>
                </c:pt>
                <c:pt idx="58">
                  <c:v>1184896848</c:v>
                </c:pt>
                <c:pt idx="59">
                  <c:v>1670883760</c:v>
                </c:pt>
                <c:pt idx="60">
                  <c:v>2995804588</c:v>
                </c:pt>
                <c:pt idx="61">
                  <c:v>548627296</c:v>
                </c:pt>
                <c:pt idx="62">
                  <c:v>1430044980</c:v>
                </c:pt>
                <c:pt idx="63">
                  <c:v>429544416</c:v>
                </c:pt>
                <c:pt idx="64">
                  <c:v>267749640</c:v>
                </c:pt>
                <c:pt idx="65">
                  <c:v>1379070516</c:v>
                </c:pt>
                <c:pt idx="66">
                  <c:v>1155252878</c:v>
                </c:pt>
                <c:pt idx="67">
                  <c:v>2038149675</c:v>
                </c:pt>
                <c:pt idx="68">
                  <c:v>1479025825</c:v>
                </c:pt>
                <c:pt idx="69">
                  <c:v>9675162960</c:v>
                </c:pt>
                <c:pt idx="70">
                  <c:v>1568987448</c:v>
                </c:pt>
                <c:pt idx="71">
                  <c:v>774749347</c:v>
                </c:pt>
                <c:pt idx="72">
                  <c:v>764277534</c:v>
                </c:pt>
                <c:pt idx="73">
                  <c:v>1922614218</c:v>
                </c:pt>
                <c:pt idx="74">
                  <c:v>1438689510</c:v>
                </c:pt>
                <c:pt idx="75">
                  <c:v>2041361874</c:v>
                </c:pt>
                <c:pt idx="76">
                  <c:v>2147483647</c:v>
                </c:pt>
                <c:pt idx="77">
                  <c:v>1519103555</c:v>
                </c:pt>
                <c:pt idx="78">
                  <c:v>4276997515</c:v>
                </c:pt>
                <c:pt idx="79">
                  <c:v>505160500</c:v>
                </c:pt>
                <c:pt idx="80">
                  <c:v>595234450</c:v>
                </c:pt>
                <c:pt idx="81">
                  <c:v>32109385</c:v>
                </c:pt>
                <c:pt idx="82">
                  <c:v>334808388</c:v>
                </c:pt>
                <c:pt idx="83">
                  <c:v>861253288</c:v>
                </c:pt>
                <c:pt idx="84">
                  <c:v>209486012</c:v>
                </c:pt>
                <c:pt idx="85">
                  <c:v>527999097</c:v>
                </c:pt>
                <c:pt idx="86">
                  <c:v>1911400654</c:v>
                </c:pt>
                <c:pt idx="87">
                  <c:v>2147483647</c:v>
                </c:pt>
                <c:pt idx="88">
                  <c:v>271066138</c:v>
                </c:pt>
                <c:pt idx="89">
                  <c:v>2593862652</c:v>
                </c:pt>
                <c:pt idx="90">
                  <c:v>4294635289</c:v>
                </c:pt>
                <c:pt idx="91">
                  <c:v>105835200</c:v>
                </c:pt>
                <c:pt idx="92">
                  <c:v>25395260</c:v>
                </c:pt>
                <c:pt idx="93">
                  <c:v>2147483647</c:v>
                </c:pt>
                <c:pt idx="94">
                  <c:v>614717320</c:v>
                </c:pt>
                <c:pt idx="95">
                  <c:v>309820992</c:v>
                </c:pt>
                <c:pt idx="96">
                  <c:v>305580756</c:v>
                </c:pt>
                <c:pt idx="97">
                  <c:v>4060016763</c:v>
                </c:pt>
                <c:pt idx="98">
                  <c:v>2147483647</c:v>
                </c:pt>
                <c:pt idx="99">
                  <c:v>2786248982</c:v>
                </c:pt>
                <c:pt idx="100">
                  <c:v>2773135886</c:v>
                </c:pt>
                <c:pt idx="101">
                  <c:v>517838835</c:v>
                </c:pt>
                <c:pt idx="102">
                  <c:v>758754123</c:v>
                </c:pt>
                <c:pt idx="103">
                  <c:v>5208110329</c:v>
                </c:pt>
                <c:pt idx="104">
                  <c:v>2147483647</c:v>
                </c:pt>
                <c:pt idx="105">
                  <c:v>929188608</c:v>
                </c:pt>
                <c:pt idx="106">
                  <c:v>2711563841</c:v>
                </c:pt>
                <c:pt idx="107">
                  <c:v>973947108</c:v>
                </c:pt>
                <c:pt idx="108">
                  <c:v>1046510976</c:v>
                </c:pt>
                <c:pt idx="109">
                  <c:v>1484753701</c:v>
                </c:pt>
                <c:pt idx="110">
                  <c:v>1004217574</c:v>
                </c:pt>
                <c:pt idx="111">
                  <c:v>2147483647</c:v>
                </c:pt>
                <c:pt idx="112">
                  <c:v>1815521156</c:v>
                </c:pt>
                <c:pt idx="113">
                  <c:v>4361911110</c:v>
                </c:pt>
                <c:pt idx="114">
                  <c:v>2147483647</c:v>
                </c:pt>
                <c:pt idx="115">
                  <c:v>2147483647</c:v>
                </c:pt>
                <c:pt idx="116">
                  <c:v>372809682</c:v>
                </c:pt>
                <c:pt idx="117">
                  <c:v>8491620533</c:v>
                </c:pt>
                <c:pt idx="118">
                  <c:v>2913628590</c:v>
                </c:pt>
                <c:pt idx="119">
                  <c:v>1826583880</c:v>
                </c:pt>
                <c:pt idx="120">
                  <c:v>574725165</c:v>
                </c:pt>
                <c:pt idx="121">
                  <c:v>4986416095</c:v>
                </c:pt>
                <c:pt idx="122">
                  <c:v>390547702</c:v>
                </c:pt>
                <c:pt idx="123">
                  <c:v>369178000</c:v>
                </c:pt>
                <c:pt idx="124">
                  <c:v>1314341910</c:v>
                </c:pt>
                <c:pt idx="125">
                  <c:v>220052604</c:v>
                </c:pt>
                <c:pt idx="126">
                  <c:v>1942871247</c:v>
                </c:pt>
                <c:pt idx="127">
                  <c:v>5450359344</c:v>
                </c:pt>
                <c:pt idx="128">
                  <c:v>238411260</c:v>
                </c:pt>
                <c:pt idx="129">
                  <c:v>326897967</c:v>
                </c:pt>
                <c:pt idx="130">
                  <c:v>8526947985</c:v>
                </c:pt>
                <c:pt idx="131">
                  <c:v>1245350456</c:v>
                </c:pt>
                <c:pt idx="132">
                  <c:v>957976800</c:v>
                </c:pt>
                <c:pt idx="133">
                  <c:v>4294967294</c:v>
                </c:pt>
                <c:pt idx="134">
                  <c:v>384140755</c:v>
                </c:pt>
                <c:pt idx="135">
                  <c:v>2666719226</c:v>
                </c:pt>
                <c:pt idx="136">
                  <c:v>262686498</c:v>
                </c:pt>
                <c:pt idx="137">
                  <c:v>2927330193</c:v>
                </c:pt>
                <c:pt idx="138">
                  <c:v>2089182924</c:v>
                </c:pt>
                <c:pt idx="139">
                  <c:v>3851687587</c:v>
                </c:pt>
                <c:pt idx="140">
                  <c:v>1838958678</c:v>
                </c:pt>
                <c:pt idx="141">
                  <c:v>4294967294</c:v>
                </c:pt>
                <c:pt idx="142">
                  <c:v>3310982568</c:v>
                </c:pt>
                <c:pt idx="143">
                  <c:v>1404931332</c:v>
                </c:pt>
                <c:pt idx="144">
                  <c:v>780878740</c:v>
                </c:pt>
                <c:pt idx="145">
                  <c:v>962440566</c:v>
                </c:pt>
                <c:pt idx="146">
                  <c:v>1916121584</c:v>
                </c:pt>
                <c:pt idx="147">
                  <c:v>561947716</c:v>
                </c:pt>
                <c:pt idx="148">
                  <c:v>770124093</c:v>
                </c:pt>
                <c:pt idx="149">
                  <c:v>3477570624</c:v>
                </c:pt>
                <c:pt idx="150">
                  <c:v>868226586</c:v>
                </c:pt>
                <c:pt idx="151">
                  <c:v>2147483647</c:v>
                </c:pt>
                <c:pt idx="152">
                  <c:v>136702929</c:v>
                </c:pt>
                <c:pt idx="153">
                  <c:v>5538761023</c:v>
                </c:pt>
                <c:pt idx="154">
                  <c:v>887059440</c:v>
                </c:pt>
                <c:pt idx="155">
                  <c:v>1650565224</c:v>
                </c:pt>
                <c:pt idx="156">
                  <c:v>2147483647</c:v>
                </c:pt>
                <c:pt idx="157">
                  <c:v>1666109228</c:v>
                </c:pt>
                <c:pt idx="158">
                  <c:v>1088963820</c:v>
                </c:pt>
                <c:pt idx="159">
                  <c:v>1184554063</c:v>
                </c:pt>
                <c:pt idx="160">
                  <c:v>6320915688</c:v>
                </c:pt>
                <c:pt idx="161">
                  <c:v>2054063956</c:v>
                </c:pt>
                <c:pt idx="162">
                  <c:v>3010017221</c:v>
                </c:pt>
                <c:pt idx="163">
                  <c:v>482676705</c:v>
                </c:pt>
                <c:pt idx="164">
                  <c:v>2455492677</c:v>
                </c:pt>
                <c:pt idx="165">
                  <c:v>1499994630</c:v>
                </c:pt>
                <c:pt idx="166">
                  <c:v>2101265032</c:v>
                </c:pt>
                <c:pt idx="167">
                  <c:v>4097586710</c:v>
                </c:pt>
                <c:pt idx="168">
                  <c:v>1860908677</c:v>
                </c:pt>
                <c:pt idx="169">
                  <c:v>506976991</c:v>
                </c:pt>
                <c:pt idx="170">
                  <c:v>144820243</c:v>
                </c:pt>
                <c:pt idx="171">
                  <c:v>2147483647</c:v>
                </c:pt>
                <c:pt idx="172">
                  <c:v>5014403020</c:v>
                </c:pt>
                <c:pt idx="173">
                  <c:v>736763693</c:v>
                </c:pt>
                <c:pt idx="174">
                  <c:v>468583392</c:v>
                </c:pt>
                <c:pt idx="175">
                  <c:v>414077272</c:v>
                </c:pt>
                <c:pt idx="176">
                  <c:v>2147483647</c:v>
                </c:pt>
                <c:pt idx="177">
                  <c:v>208358968</c:v>
                </c:pt>
                <c:pt idx="178">
                  <c:v>137450870</c:v>
                </c:pt>
                <c:pt idx="179">
                  <c:v>144564200</c:v>
                </c:pt>
                <c:pt idx="180">
                  <c:v>8589934588</c:v>
                </c:pt>
                <c:pt idx="181">
                  <c:v>13449979643</c:v>
                </c:pt>
                <c:pt idx="182">
                  <c:v>5851930176</c:v>
                </c:pt>
                <c:pt idx="183">
                  <c:v>1059894440</c:v>
                </c:pt>
                <c:pt idx="184">
                  <c:v>4673931463</c:v>
                </c:pt>
                <c:pt idx="185">
                  <c:v>2422226651</c:v>
                </c:pt>
                <c:pt idx="186">
                  <c:v>112267253</c:v>
                </c:pt>
                <c:pt idx="187">
                  <c:v>2147483647</c:v>
                </c:pt>
                <c:pt idx="188">
                  <c:v>5245103777</c:v>
                </c:pt>
                <c:pt idx="189">
                  <c:v>2235018216</c:v>
                </c:pt>
                <c:pt idx="190">
                  <c:v>207135552</c:v>
                </c:pt>
                <c:pt idx="191">
                  <c:v>2147483647</c:v>
                </c:pt>
                <c:pt idx="192">
                  <c:v>440922516</c:v>
                </c:pt>
                <c:pt idx="193">
                  <c:v>1790195794</c:v>
                </c:pt>
                <c:pt idx="194">
                  <c:v>312168058</c:v>
                </c:pt>
                <c:pt idx="195">
                  <c:v>466787241</c:v>
                </c:pt>
                <c:pt idx="196">
                  <c:v>244698336</c:v>
                </c:pt>
                <c:pt idx="197">
                  <c:v>252970861</c:v>
                </c:pt>
                <c:pt idx="198">
                  <c:v>1943804474</c:v>
                </c:pt>
                <c:pt idx="199">
                  <c:v>1040092764</c:v>
                </c:pt>
                <c:pt idx="200">
                  <c:v>1810642990</c:v>
                </c:pt>
                <c:pt idx="201">
                  <c:v>863265900</c:v>
                </c:pt>
                <c:pt idx="202">
                  <c:v>272910174</c:v>
                </c:pt>
                <c:pt idx="203">
                  <c:v>2147483647</c:v>
                </c:pt>
                <c:pt idx="204">
                  <c:v>5518901720</c:v>
                </c:pt>
                <c:pt idx="205">
                  <c:v>989396256</c:v>
                </c:pt>
                <c:pt idx="206">
                  <c:v>1774121352</c:v>
                </c:pt>
                <c:pt idx="207">
                  <c:v>1247239924</c:v>
                </c:pt>
                <c:pt idx="208">
                  <c:v>1904254988</c:v>
                </c:pt>
                <c:pt idx="209">
                  <c:v>2393954820</c:v>
                </c:pt>
                <c:pt idx="210">
                  <c:v>1799474560</c:v>
                </c:pt>
                <c:pt idx="211">
                  <c:v>237293238</c:v>
                </c:pt>
                <c:pt idx="212">
                  <c:v>1921937622</c:v>
                </c:pt>
                <c:pt idx="213">
                  <c:v>8589934588</c:v>
                </c:pt>
                <c:pt idx="214">
                  <c:v>1209861624</c:v>
                </c:pt>
                <c:pt idx="215">
                  <c:v>773113611</c:v>
                </c:pt>
                <c:pt idx="216">
                  <c:v>524059536</c:v>
                </c:pt>
                <c:pt idx="217">
                  <c:v>2969690452</c:v>
                </c:pt>
                <c:pt idx="218">
                  <c:v>3292318620</c:v>
                </c:pt>
                <c:pt idx="219">
                  <c:v>11950367083</c:v>
                </c:pt>
                <c:pt idx="220">
                  <c:v>245743245</c:v>
                </c:pt>
                <c:pt idx="221">
                  <c:v>1843926652</c:v>
                </c:pt>
                <c:pt idx="222">
                  <c:v>437858175</c:v>
                </c:pt>
                <c:pt idx="223">
                  <c:v>354432682</c:v>
                </c:pt>
                <c:pt idx="224">
                  <c:v>103750641</c:v>
                </c:pt>
                <c:pt idx="225">
                  <c:v>545068830</c:v>
                </c:pt>
                <c:pt idx="226">
                  <c:v>1786947225</c:v>
                </c:pt>
                <c:pt idx="227">
                  <c:v>1535251550</c:v>
                </c:pt>
                <c:pt idx="228">
                  <c:v>2147483647</c:v>
                </c:pt>
                <c:pt idx="229">
                  <c:v>2147483647</c:v>
                </c:pt>
                <c:pt idx="230">
                  <c:v>3079058140</c:v>
                </c:pt>
                <c:pt idx="231">
                  <c:v>1698614644</c:v>
                </c:pt>
                <c:pt idx="232">
                  <c:v>627062352</c:v>
                </c:pt>
                <c:pt idx="233">
                  <c:v>2392619931</c:v>
                </c:pt>
                <c:pt idx="234">
                  <c:v>2002652484</c:v>
                </c:pt>
                <c:pt idx="235">
                  <c:v>1507526869</c:v>
                </c:pt>
                <c:pt idx="236">
                  <c:v>2147483647</c:v>
                </c:pt>
                <c:pt idx="237">
                  <c:v>2147483647</c:v>
                </c:pt>
                <c:pt idx="238">
                  <c:v>2147483647</c:v>
                </c:pt>
                <c:pt idx="239">
                  <c:v>841980547</c:v>
                </c:pt>
                <c:pt idx="240">
                  <c:v>272970407</c:v>
                </c:pt>
                <c:pt idx="241">
                  <c:v>2285690277</c:v>
                </c:pt>
                <c:pt idx="242">
                  <c:v>2147483647</c:v>
                </c:pt>
                <c:pt idx="243">
                  <c:v>116656482</c:v>
                </c:pt>
                <c:pt idx="244">
                  <c:v>435536028</c:v>
                </c:pt>
                <c:pt idx="245">
                  <c:v>1620470752</c:v>
                </c:pt>
                <c:pt idx="246">
                  <c:v>3071798844</c:v>
                </c:pt>
                <c:pt idx="247">
                  <c:v>183414132</c:v>
                </c:pt>
                <c:pt idx="248">
                  <c:v>906828120</c:v>
                </c:pt>
                <c:pt idx="249">
                  <c:v>760196640</c:v>
                </c:pt>
                <c:pt idx="250">
                  <c:v>786831626</c:v>
                </c:pt>
                <c:pt idx="251">
                  <c:v>923706726</c:v>
                </c:pt>
                <c:pt idx="252">
                  <c:v>20410314</c:v>
                </c:pt>
                <c:pt idx="253">
                  <c:v>759804660</c:v>
                </c:pt>
                <c:pt idx="254">
                  <c:v>983013503</c:v>
                </c:pt>
                <c:pt idx="255">
                  <c:v>2147483647</c:v>
                </c:pt>
                <c:pt idx="256">
                  <c:v>306371934</c:v>
                </c:pt>
                <c:pt idx="257">
                  <c:v>258953175</c:v>
                </c:pt>
                <c:pt idx="258">
                  <c:v>2020539573</c:v>
                </c:pt>
                <c:pt idx="259">
                  <c:v>304151202</c:v>
                </c:pt>
                <c:pt idx="260">
                  <c:v>1135598490</c:v>
                </c:pt>
                <c:pt idx="261">
                  <c:v>755076140</c:v>
                </c:pt>
                <c:pt idx="262">
                  <c:v>897112125</c:v>
                </c:pt>
                <c:pt idx="263">
                  <c:v>1546253154</c:v>
                </c:pt>
                <c:pt idx="264">
                  <c:v>38319222</c:v>
                </c:pt>
                <c:pt idx="265">
                  <c:v>14563007558</c:v>
                </c:pt>
                <c:pt idx="266">
                  <c:v>861528129</c:v>
                </c:pt>
                <c:pt idx="267">
                  <c:v>1280387985</c:v>
                </c:pt>
                <c:pt idx="268">
                  <c:v>72288183867</c:v>
                </c:pt>
                <c:pt idx="269">
                  <c:v>1088065534</c:v>
                </c:pt>
                <c:pt idx="270">
                  <c:v>2955774763</c:v>
                </c:pt>
                <c:pt idx="271">
                  <c:v>604321641</c:v>
                </c:pt>
                <c:pt idx="272">
                  <c:v>135370440</c:v>
                </c:pt>
                <c:pt idx="273">
                  <c:v>1131502878</c:v>
                </c:pt>
                <c:pt idx="274">
                  <c:v>1865558676</c:v>
                </c:pt>
                <c:pt idx="275">
                  <c:v>329992542</c:v>
                </c:pt>
                <c:pt idx="276">
                  <c:v>2866238592</c:v>
                </c:pt>
                <c:pt idx="277">
                  <c:v>926105940</c:v>
                </c:pt>
                <c:pt idx="278">
                  <c:v>2147483647</c:v>
                </c:pt>
                <c:pt idx="279">
                  <c:v>2147483647</c:v>
                </c:pt>
                <c:pt idx="280">
                  <c:v>895980375</c:v>
                </c:pt>
                <c:pt idx="281">
                  <c:v>418858000</c:v>
                </c:pt>
                <c:pt idx="282">
                  <c:v>188886264</c:v>
                </c:pt>
                <c:pt idx="283">
                  <c:v>603578591</c:v>
                </c:pt>
                <c:pt idx="284">
                  <c:v>143324415</c:v>
                </c:pt>
                <c:pt idx="285">
                  <c:v>3240912379</c:v>
                </c:pt>
                <c:pt idx="286">
                  <c:v>1624901831</c:v>
                </c:pt>
                <c:pt idx="287">
                  <c:v>1479742432</c:v>
                </c:pt>
                <c:pt idx="288">
                  <c:v>2147483647</c:v>
                </c:pt>
                <c:pt idx="289">
                  <c:v>1093437370</c:v>
                </c:pt>
                <c:pt idx="290">
                  <c:v>527725968</c:v>
                </c:pt>
                <c:pt idx="291">
                  <c:v>4294967294</c:v>
                </c:pt>
                <c:pt idx="292">
                  <c:v>7568203567</c:v>
                </c:pt>
                <c:pt idx="293">
                  <c:v>111619060</c:v>
                </c:pt>
                <c:pt idx="294">
                  <c:v>1633619223</c:v>
                </c:pt>
                <c:pt idx="295">
                  <c:v>1644054588</c:v>
                </c:pt>
                <c:pt idx="296">
                  <c:v>1104937792</c:v>
                </c:pt>
                <c:pt idx="297">
                  <c:v>271541400</c:v>
                </c:pt>
                <c:pt idx="298">
                  <c:v>1814505671</c:v>
                </c:pt>
                <c:pt idx="299">
                  <c:v>1304009624</c:v>
                </c:pt>
                <c:pt idx="300">
                  <c:v>4686600443</c:v>
                </c:pt>
                <c:pt idx="301">
                  <c:v>2147483647</c:v>
                </c:pt>
                <c:pt idx="302">
                  <c:v>523396002</c:v>
                </c:pt>
                <c:pt idx="303">
                  <c:v>3461124687</c:v>
                </c:pt>
                <c:pt idx="304">
                  <c:v>2147483647</c:v>
                </c:pt>
                <c:pt idx="305">
                  <c:v>1179724557</c:v>
                </c:pt>
                <c:pt idx="306">
                  <c:v>1195249554</c:v>
                </c:pt>
                <c:pt idx="307">
                  <c:v>109430244</c:v>
                </c:pt>
                <c:pt idx="308">
                  <c:v>2147483647</c:v>
                </c:pt>
                <c:pt idx="309">
                  <c:v>2147483647</c:v>
                </c:pt>
                <c:pt idx="310">
                  <c:v>1157360320</c:v>
                </c:pt>
                <c:pt idx="311">
                  <c:v>4161142911</c:v>
                </c:pt>
                <c:pt idx="312">
                  <c:v>865882879</c:v>
                </c:pt>
                <c:pt idx="313">
                  <c:v>914905400</c:v>
                </c:pt>
                <c:pt idx="314">
                  <c:v>743656460</c:v>
                </c:pt>
                <c:pt idx="315">
                  <c:v>1702493808</c:v>
                </c:pt>
                <c:pt idx="316">
                  <c:v>5162871175</c:v>
                </c:pt>
                <c:pt idx="317">
                  <c:v>2419886785</c:v>
                </c:pt>
                <c:pt idx="318">
                  <c:v>2147483647</c:v>
                </c:pt>
                <c:pt idx="319">
                  <c:v>3551810015</c:v>
                </c:pt>
                <c:pt idx="320">
                  <c:v>959095358</c:v>
                </c:pt>
                <c:pt idx="321">
                  <c:v>1275188512</c:v>
                </c:pt>
                <c:pt idx="322">
                  <c:v>1551048012</c:v>
                </c:pt>
                <c:pt idx="323">
                  <c:v>6672176565</c:v>
                </c:pt>
                <c:pt idx="324">
                  <c:v>1002695328</c:v>
                </c:pt>
                <c:pt idx="325">
                  <c:v>62864034</c:v>
                </c:pt>
                <c:pt idx="326">
                  <c:v>4562129689</c:v>
                </c:pt>
                <c:pt idx="327">
                  <c:v>6076096315</c:v>
                </c:pt>
                <c:pt idx="328">
                  <c:v>1278449079</c:v>
                </c:pt>
                <c:pt idx="329">
                  <c:v>2147483647</c:v>
                </c:pt>
                <c:pt idx="330">
                  <c:v>404542080</c:v>
                </c:pt>
                <c:pt idx="331">
                  <c:v>1347411724</c:v>
                </c:pt>
                <c:pt idx="332">
                  <c:v>5265458237</c:v>
                </c:pt>
                <c:pt idx="333">
                  <c:v>820192543</c:v>
                </c:pt>
                <c:pt idx="334">
                  <c:v>2147483647</c:v>
                </c:pt>
                <c:pt idx="335">
                  <c:v>2066327570</c:v>
                </c:pt>
                <c:pt idx="336">
                  <c:v>2939766588</c:v>
                </c:pt>
                <c:pt idx="337">
                  <c:v>2511600664</c:v>
                </c:pt>
                <c:pt idx="338">
                  <c:v>2890315810</c:v>
                </c:pt>
                <c:pt idx="339">
                  <c:v>2147483647</c:v>
                </c:pt>
                <c:pt idx="340">
                  <c:v>2147483647</c:v>
                </c:pt>
                <c:pt idx="341">
                  <c:v>1380660741</c:v>
                </c:pt>
                <c:pt idx="342">
                  <c:v>331746354</c:v>
                </c:pt>
                <c:pt idx="343">
                  <c:v>1086032440</c:v>
                </c:pt>
                <c:pt idx="344">
                  <c:v>222792350</c:v>
                </c:pt>
                <c:pt idx="345">
                  <c:v>7933603525</c:v>
                </c:pt>
                <c:pt idx="346">
                  <c:v>1795148787</c:v>
                </c:pt>
                <c:pt idx="347">
                  <c:v>790977012</c:v>
                </c:pt>
                <c:pt idx="348">
                  <c:v>57858622</c:v>
                </c:pt>
                <c:pt idx="349">
                  <c:v>201409196</c:v>
                </c:pt>
                <c:pt idx="350">
                  <c:v>2409549550</c:v>
                </c:pt>
                <c:pt idx="351">
                  <c:v>3670644795</c:v>
                </c:pt>
                <c:pt idx="352">
                  <c:v>462880395</c:v>
                </c:pt>
                <c:pt idx="353">
                  <c:v>1595397524</c:v>
                </c:pt>
                <c:pt idx="354">
                  <c:v>840893380</c:v>
                </c:pt>
                <c:pt idx="355">
                  <c:v>2147483647</c:v>
                </c:pt>
                <c:pt idx="356">
                  <c:v>2078112299</c:v>
                </c:pt>
                <c:pt idx="357">
                  <c:v>1418903154</c:v>
                </c:pt>
                <c:pt idx="358">
                  <c:v>1228343000</c:v>
                </c:pt>
                <c:pt idx="359">
                  <c:v>2138318644</c:v>
                </c:pt>
                <c:pt idx="360">
                  <c:v>3518593209</c:v>
                </c:pt>
                <c:pt idx="361">
                  <c:v>2019904480</c:v>
                </c:pt>
                <c:pt idx="362">
                  <c:v>1543047660</c:v>
                </c:pt>
                <c:pt idx="363">
                  <c:v>2147483647</c:v>
                </c:pt>
                <c:pt idx="364">
                  <c:v>1510978553</c:v>
                </c:pt>
                <c:pt idx="365">
                  <c:v>2759290037</c:v>
                </c:pt>
                <c:pt idx="366">
                  <c:v>6715771240</c:v>
                </c:pt>
                <c:pt idx="367">
                  <c:v>1300234173</c:v>
                </c:pt>
                <c:pt idx="368">
                  <c:v>2147483647</c:v>
                </c:pt>
                <c:pt idx="369">
                  <c:v>2147483647</c:v>
                </c:pt>
                <c:pt idx="370">
                  <c:v>1084077317</c:v>
                </c:pt>
                <c:pt idx="371">
                  <c:v>3814054442</c:v>
                </c:pt>
                <c:pt idx="372">
                  <c:v>3210666455</c:v>
                </c:pt>
                <c:pt idx="373">
                  <c:v>4294967294</c:v>
                </c:pt>
                <c:pt idx="374">
                  <c:v>3679971682</c:v>
                </c:pt>
                <c:pt idx="375">
                  <c:v>622443568</c:v>
                </c:pt>
                <c:pt idx="376">
                  <c:v>295552880</c:v>
                </c:pt>
                <c:pt idx="377">
                  <c:v>2147483647</c:v>
                </c:pt>
                <c:pt idx="378">
                  <c:v>2303726009</c:v>
                </c:pt>
                <c:pt idx="379">
                  <c:v>3050941525</c:v>
                </c:pt>
                <c:pt idx="380">
                  <c:v>1225138196</c:v>
                </c:pt>
                <c:pt idx="381">
                  <c:v>477023316</c:v>
                </c:pt>
                <c:pt idx="382">
                  <c:v>446518240</c:v>
                </c:pt>
                <c:pt idx="383">
                  <c:v>797620689</c:v>
                </c:pt>
                <c:pt idx="384">
                  <c:v>698663788</c:v>
                </c:pt>
                <c:pt idx="385">
                  <c:v>10110920212</c:v>
                </c:pt>
                <c:pt idx="386">
                  <c:v>3169039981</c:v>
                </c:pt>
                <c:pt idx="387">
                  <c:v>349132938</c:v>
                </c:pt>
                <c:pt idx="388">
                  <c:v>1737940169</c:v>
                </c:pt>
                <c:pt idx="389">
                  <c:v>1328019264</c:v>
                </c:pt>
                <c:pt idx="390">
                  <c:v>5547306913</c:v>
                </c:pt>
                <c:pt idx="391">
                  <c:v>1380876840</c:v>
                </c:pt>
                <c:pt idx="392">
                  <c:v>5509210833</c:v>
                </c:pt>
                <c:pt idx="393">
                  <c:v>1391982456</c:v>
                </c:pt>
                <c:pt idx="394">
                  <c:v>4992739981</c:v>
                </c:pt>
                <c:pt idx="395">
                  <c:v>2147483647</c:v>
                </c:pt>
                <c:pt idx="396">
                  <c:v>2147483647</c:v>
                </c:pt>
                <c:pt idx="397">
                  <c:v>2028427542</c:v>
                </c:pt>
                <c:pt idx="398">
                  <c:v>50405252211</c:v>
                </c:pt>
                <c:pt idx="399">
                  <c:v>1395060425</c:v>
                </c:pt>
                <c:pt idx="400">
                  <c:v>773402742</c:v>
                </c:pt>
                <c:pt idx="401">
                  <c:v>2013469034</c:v>
                </c:pt>
                <c:pt idx="402">
                  <c:v>1157596204</c:v>
                </c:pt>
                <c:pt idx="403">
                  <c:v>1897608160</c:v>
                </c:pt>
                <c:pt idx="404">
                  <c:v>3323860365</c:v>
                </c:pt>
                <c:pt idx="405">
                  <c:v>1056677174</c:v>
                </c:pt>
                <c:pt idx="406">
                  <c:v>2192103348</c:v>
                </c:pt>
                <c:pt idx="407">
                  <c:v>2147483647</c:v>
                </c:pt>
                <c:pt idx="408">
                  <c:v>8248434925</c:v>
                </c:pt>
                <c:pt idx="409">
                  <c:v>1828384312</c:v>
                </c:pt>
                <c:pt idx="410">
                  <c:v>3199202375</c:v>
                </c:pt>
                <c:pt idx="411">
                  <c:v>4093359742</c:v>
                </c:pt>
                <c:pt idx="412">
                  <c:v>4294967294</c:v>
                </c:pt>
                <c:pt idx="413">
                  <c:v>568366848</c:v>
                </c:pt>
                <c:pt idx="414">
                  <c:v>8738902652</c:v>
                </c:pt>
                <c:pt idx="415">
                  <c:v>6802388386</c:v>
                </c:pt>
                <c:pt idx="416">
                  <c:v>6052076236</c:v>
                </c:pt>
                <c:pt idx="417">
                  <c:v>2761997308</c:v>
                </c:pt>
                <c:pt idx="418">
                  <c:v>1934118277</c:v>
                </c:pt>
                <c:pt idx="419">
                  <c:v>490673316</c:v>
                </c:pt>
                <c:pt idx="420">
                  <c:v>2846365265</c:v>
                </c:pt>
                <c:pt idx="421">
                  <c:v>855715130</c:v>
                </c:pt>
                <c:pt idx="422">
                  <c:v>8804796616</c:v>
                </c:pt>
                <c:pt idx="423">
                  <c:v>2147483647</c:v>
                </c:pt>
                <c:pt idx="424">
                  <c:v>1102749362</c:v>
                </c:pt>
                <c:pt idx="425">
                  <c:v>942037301</c:v>
                </c:pt>
                <c:pt idx="426">
                  <c:v>1485728492</c:v>
                </c:pt>
                <c:pt idx="427">
                  <c:v>943960773</c:v>
                </c:pt>
                <c:pt idx="428">
                  <c:v>1574259862</c:v>
                </c:pt>
                <c:pt idx="429">
                  <c:v>569879289</c:v>
                </c:pt>
                <c:pt idx="430">
                  <c:v>381695485</c:v>
                </c:pt>
                <c:pt idx="431">
                  <c:v>4039878536</c:v>
                </c:pt>
                <c:pt idx="432">
                  <c:v>1513472556</c:v>
                </c:pt>
                <c:pt idx="433">
                  <c:v>842700265</c:v>
                </c:pt>
                <c:pt idx="434">
                  <c:v>457395507</c:v>
                </c:pt>
                <c:pt idx="435">
                  <c:v>4294967294</c:v>
                </c:pt>
                <c:pt idx="436">
                  <c:v>354396080</c:v>
                </c:pt>
                <c:pt idx="437">
                  <c:v>828617968</c:v>
                </c:pt>
                <c:pt idx="438">
                  <c:v>336083480</c:v>
                </c:pt>
                <c:pt idx="439">
                  <c:v>552612996</c:v>
                </c:pt>
                <c:pt idx="440">
                  <c:v>262837179</c:v>
                </c:pt>
                <c:pt idx="441">
                  <c:v>2020181653</c:v>
                </c:pt>
                <c:pt idx="442">
                  <c:v>1053649296</c:v>
                </c:pt>
                <c:pt idx="443">
                  <c:v>808788210</c:v>
                </c:pt>
                <c:pt idx="444">
                  <c:v>1745155648</c:v>
                </c:pt>
                <c:pt idx="445">
                  <c:v>1333962511</c:v>
                </c:pt>
                <c:pt idx="446">
                  <c:v>1780250360</c:v>
                </c:pt>
                <c:pt idx="447">
                  <c:v>2147483647</c:v>
                </c:pt>
                <c:pt idx="448">
                  <c:v>2288948320</c:v>
                </c:pt>
                <c:pt idx="449">
                  <c:v>941536799</c:v>
                </c:pt>
                <c:pt idx="450">
                  <c:v>1169303240</c:v>
                </c:pt>
                <c:pt idx="451">
                  <c:v>8373190690</c:v>
                </c:pt>
                <c:pt idx="452">
                  <c:v>107071029</c:v>
                </c:pt>
                <c:pt idx="453">
                  <c:v>2147483647</c:v>
                </c:pt>
                <c:pt idx="454">
                  <c:v>918700128</c:v>
                </c:pt>
                <c:pt idx="455">
                  <c:v>1020281640</c:v>
                </c:pt>
                <c:pt idx="456">
                  <c:v>874742004</c:v>
                </c:pt>
                <c:pt idx="457">
                  <c:v>6015700249</c:v>
                </c:pt>
                <c:pt idx="458">
                  <c:v>390450903</c:v>
                </c:pt>
                <c:pt idx="459">
                  <c:v>2147483647</c:v>
                </c:pt>
                <c:pt idx="460">
                  <c:v>372638747</c:v>
                </c:pt>
                <c:pt idx="461">
                  <c:v>1745191580</c:v>
                </c:pt>
                <c:pt idx="462">
                  <c:v>1211794500</c:v>
                </c:pt>
                <c:pt idx="463">
                  <c:v>3980999014</c:v>
                </c:pt>
                <c:pt idx="464">
                  <c:v>1280469880</c:v>
                </c:pt>
                <c:pt idx="465">
                  <c:v>476083300</c:v>
                </c:pt>
                <c:pt idx="466">
                  <c:v>213768438</c:v>
                </c:pt>
                <c:pt idx="467">
                  <c:v>4090966727</c:v>
                </c:pt>
                <c:pt idx="468">
                  <c:v>193650177</c:v>
                </c:pt>
                <c:pt idx="469">
                  <c:v>7600998482</c:v>
                </c:pt>
                <c:pt idx="470">
                  <c:v>2147483647</c:v>
                </c:pt>
                <c:pt idx="471">
                  <c:v>3642489545</c:v>
                </c:pt>
                <c:pt idx="472">
                  <c:v>1170646364</c:v>
                </c:pt>
                <c:pt idx="473">
                  <c:v>1729203972</c:v>
                </c:pt>
                <c:pt idx="474">
                  <c:v>2410865998</c:v>
                </c:pt>
                <c:pt idx="475">
                  <c:v>3690032236</c:v>
                </c:pt>
                <c:pt idx="476">
                  <c:v>589773528</c:v>
                </c:pt>
                <c:pt idx="477">
                  <c:v>933384981</c:v>
                </c:pt>
                <c:pt idx="478">
                  <c:v>2147483647</c:v>
                </c:pt>
                <c:pt idx="479">
                  <c:v>3148793760</c:v>
                </c:pt>
                <c:pt idx="480">
                  <c:v>94402066</c:v>
                </c:pt>
                <c:pt idx="481">
                  <c:v>3993903397</c:v>
                </c:pt>
                <c:pt idx="482">
                  <c:v>3321119034</c:v>
                </c:pt>
                <c:pt idx="483">
                  <c:v>4272078992</c:v>
                </c:pt>
                <c:pt idx="484">
                  <c:v>765529334</c:v>
                </c:pt>
                <c:pt idx="485">
                  <c:v>466596950</c:v>
                </c:pt>
                <c:pt idx="486">
                  <c:v>1405186160</c:v>
                </c:pt>
                <c:pt idx="487">
                  <c:v>5087983667</c:v>
                </c:pt>
                <c:pt idx="488">
                  <c:v>2147483647</c:v>
                </c:pt>
                <c:pt idx="489">
                  <c:v>3372132457</c:v>
                </c:pt>
                <c:pt idx="490">
                  <c:v>508312095</c:v>
                </c:pt>
                <c:pt idx="491">
                  <c:v>4630252983</c:v>
                </c:pt>
                <c:pt idx="492">
                  <c:v>3862832556</c:v>
                </c:pt>
                <c:pt idx="493">
                  <c:v>1766356910</c:v>
                </c:pt>
                <c:pt idx="494">
                  <c:v>4596503118</c:v>
                </c:pt>
                <c:pt idx="495">
                  <c:v>367179122</c:v>
                </c:pt>
                <c:pt idx="496">
                  <c:v>2147483647</c:v>
                </c:pt>
                <c:pt idx="497">
                  <c:v>96472620</c:v>
                </c:pt>
                <c:pt idx="498">
                  <c:v>222384515</c:v>
                </c:pt>
                <c:pt idx="499">
                  <c:v>3583280839</c:v>
                </c:pt>
                <c:pt idx="500">
                  <c:v>1352950116</c:v>
                </c:pt>
                <c:pt idx="501">
                  <c:v>1945408234</c:v>
                </c:pt>
                <c:pt idx="502">
                  <c:v>1664351570</c:v>
                </c:pt>
                <c:pt idx="503">
                  <c:v>17773800</c:v>
                </c:pt>
                <c:pt idx="504">
                  <c:v>2147483647</c:v>
                </c:pt>
                <c:pt idx="505">
                  <c:v>5774192853</c:v>
                </c:pt>
                <c:pt idx="506">
                  <c:v>1068386248</c:v>
                </c:pt>
                <c:pt idx="507">
                  <c:v>178306300</c:v>
                </c:pt>
                <c:pt idx="508">
                  <c:v>373792936</c:v>
                </c:pt>
                <c:pt idx="509">
                  <c:v>196972710</c:v>
                </c:pt>
                <c:pt idx="510">
                  <c:v>1109135165</c:v>
                </c:pt>
                <c:pt idx="511">
                  <c:v>1390266735</c:v>
                </c:pt>
                <c:pt idx="512">
                  <c:v>1424518722</c:v>
                </c:pt>
                <c:pt idx="513">
                  <c:v>408723007</c:v>
                </c:pt>
                <c:pt idx="514">
                  <c:v>2356471623</c:v>
                </c:pt>
                <c:pt idx="515">
                  <c:v>3768364189</c:v>
                </c:pt>
                <c:pt idx="516">
                  <c:v>3480303508</c:v>
                </c:pt>
                <c:pt idx="517">
                  <c:v>18404244</c:v>
                </c:pt>
                <c:pt idx="518">
                  <c:v>281808065</c:v>
                </c:pt>
                <c:pt idx="519">
                  <c:v>1370670105</c:v>
                </c:pt>
                <c:pt idx="520">
                  <c:v>1811282544</c:v>
                </c:pt>
                <c:pt idx="521">
                  <c:v>757963360</c:v>
                </c:pt>
                <c:pt idx="522">
                  <c:v>372994596</c:v>
                </c:pt>
                <c:pt idx="523">
                  <c:v>6260906977</c:v>
                </c:pt>
                <c:pt idx="524">
                  <c:v>819329628</c:v>
                </c:pt>
                <c:pt idx="525">
                  <c:v>12669332442</c:v>
                </c:pt>
                <c:pt idx="526">
                  <c:v>470274167</c:v>
                </c:pt>
                <c:pt idx="527">
                  <c:v>249983757</c:v>
                </c:pt>
                <c:pt idx="528">
                  <c:v>296770152</c:v>
                </c:pt>
                <c:pt idx="529">
                  <c:v>461670944</c:v>
                </c:pt>
                <c:pt idx="530">
                  <c:v>3655429015</c:v>
                </c:pt>
                <c:pt idx="531">
                  <c:v>5424396757</c:v>
                </c:pt>
                <c:pt idx="532">
                  <c:v>194328652</c:v>
                </c:pt>
                <c:pt idx="533">
                  <c:v>158210010</c:v>
                </c:pt>
                <c:pt idx="534">
                  <c:v>791783616</c:v>
                </c:pt>
                <c:pt idx="535">
                  <c:v>764939568</c:v>
                </c:pt>
                <c:pt idx="536">
                  <c:v>5101383237</c:v>
                </c:pt>
                <c:pt idx="537">
                  <c:v>26429625</c:v>
                </c:pt>
                <c:pt idx="538">
                  <c:v>331175130</c:v>
                </c:pt>
                <c:pt idx="539">
                  <c:v>47528320</c:v>
                </c:pt>
                <c:pt idx="540">
                  <c:v>18197397960</c:v>
                </c:pt>
                <c:pt idx="541">
                  <c:v>1681478949</c:v>
                </c:pt>
                <c:pt idx="542">
                  <c:v>507985841</c:v>
                </c:pt>
                <c:pt idx="543">
                  <c:v>402765825</c:v>
                </c:pt>
                <c:pt idx="544">
                  <c:v>348761385</c:v>
                </c:pt>
                <c:pt idx="545">
                  <c:v>392966114</c:v>
                </c:pt>
                <c:pt idx="546">
                  <c:v>307017960</c:v>
                </c:pt>
                <c:pt idx="547">
                  <c:v>12223015</c:v>
                </c:pt>
                <c:pt idx="548">
                  <c:v>1547074176</c:v>
                </c:pt>
                <c:pt idx="549">
                  <c:v>342206808</c:v>
                </c:pt>
                <c:pt idx="550">
                  <c:v>448484720</c:v>
                </c:pt>
                <c:pt idx="551">
                  <c:v>470741249</c:v>
                </c:pt>
                <c:pt idx="552">
                  <c:v>651712824</c:v>
                </c:pt>
                <c:pt idx="553">
                  <c:v>6595457928</c:v>
                </c:pt>
                <c:pt idx="554">
                  <c:v>1732202603</c:v>
                </c:pt>
                <c:pt idx="555">
                  <c:v>523033082</c:v>
                </c:pt>
                <c:pt idx="556">
                  <c:v>478923354</c:v>
                </c:pt>
                <c:pt idx="557">
                  <c:v>1720536294</c:v>
                </c:pt>
                <c:pt idx="558">
                  <c:v>7782624627</c:v>
                </c:pt>
                <c:pt idx="559">
                  <c:v>409816458</c:v>
                </c:pt>
                <c:pt idx="560">
                  <c:v>431680984</c:v>
                </c:pt>
                <c:pt idx="561">
                  <c:v>205621743</c:v>
                </c:pt>
                <c:pt idx="562">
                  <c:v>504266835</c:v>
                </c:pt>
                <c:pt idx="563">
                  <c:v>615319390</c:v>
                </c:pt>
                <c:pt idx="564">
                  <c:v>3564968527</c:v>
                </c:pt>
                <c:pt idx="565">
                  <c:v>123743592</c:v>
                </c:pt>
                <c:pt idx="566">
                  <c:v>2164767238</c:v>
                </c:pt>
                <c:pt idx="567">
                  <c:v>3190998987</c:v>
                </c:pt>
                <c:pt idx="568">
                  <c:v>296346616</c:v>
                </c:pt>
                <c:pt idx="569">
                  <c:v>302202750</c:v>
                </c:pt>
                <c:pt idx="570">
                  <c:v>483516295</c:v>
                </c:pt>
                <c:pt idx="571">
                  <c:v>125610548</c:v>
                </c:pt>
                <c:pt idx="572">
                  <c:v>809507160</c:v>
                </c:pt>
                <c:pt idx="573">
                  <c:v>251144865</c:v>
                </c:pt>
                <c:pt idx="574">
                  <c:v>1878019616</c:v>
                </c:pt>
                <c:pt idx="575">
                  <c:v>218292380</c:v>
                </c:pt>
                <c:pt idx="576">
                  <c:v>72545346</c:v>
                </c:pt>
                <c:pt idx="577">
                  <c:v>16529027527</c:v>
                </c:pt>
                <c:pt idx="578">
                  <c:v>1447343818</c:v>
                </c:pt>
                <c:pt idx="579">
                  <c:v>5651938219</c:v>
                </c:pt>
                <c:pt idx="580">
                  <c:v>2056085406</c:v>
                </c:pt>
                <c:pt idx="581">
                  <c:v>3735283098</c:v>
                </c:pt>
                <c:pt idx="582">
                  <c:v>298895735</c:v>
                </c:pt>
                <c:pt idx="583">
                  <c:v>1097595393</c:v>
                </c:pt>
                <c:pt idx="584">
                  <c:v>1501931484</c:v>
                </c:pt>
                <c:pt idx="585">
                  <c:v>881558272</c:v>
                </c:pt>
                <c:pt idx="586">
                  <c:v>236808367</c:v>
                </c:pt>
                <c:pt idx="587">
                  <c:v>449585530</c:v>
                </c:pt>
                <c:pt idx="588">
                  <c:v>1250168677</c:v>
                </c:pt>
                <c:pt idx="589">
                  <c:v>1728608334</c:v>
                </c:pt>
                <c:pt idx="590">
                  <c:v>77680875</c:v>
                </c:pt>
                <c:pt idx="591">
                  <c:v>340711323</c:v>
                </c:pt>
                <c:pt idx="592">
                  <c:v>48396222</c:v>
                </c:pt>
                <c:pt idx="593">
                  <c:v>925100052</c:v>
                </c:pt>
                <c:pt idx="594">
                  <c:v>417698892</c:v>
                </c:pt>
                <c:pt idx="595">
                  <c:v>298145372</c:v>
                </c:pt>
                <c:pt idx="596">
                  <c:v>1331029150</c:v>
                </c:pt>
                <c:pt idx="597">
                  <c:v>318608136</c:v>
                </c:pt>
                <c:pt idx="598">
                  <c:v>374809890</c:v>
                </c:pt>
                <c:pt idx="599">
                  <c:v>2083502300</c:v>
                </c:pt>
                <c:pt idx="600">
                  <c:v>1171736552</c:v>
                </c:pt>
                <c:pt idx="601">
                  <c:v>1844602160</c:v>
                </c:pt>
                <c:pt idx="602">
                  <c:v>59608660</c:v>
                </c:pt>
                <c:pt idx="603">
                  <c:v>511451906</c:v>
                </c:pt>
                <c:pt idx="604">
                  <c:v>527752896</c:v>
                </c:pt>
                <c:pt idx="605">
                  <c:v>2013599984</c:v>
                </c:pt>
                <c:pt idx="606">
                  <c:v>229734883</c:v>
                </c:pt>
                <c:pt idx="607">
                  <c:v>1164546911</c:v>
                </c:pt>
                <c:pt idx="608">
                  <c:v>3118103503</c:v>
                </c:pt>
                <c:pt idx="609">
                  <c:v>476040222</c:v>
                </c:pt>
                <c:pt idx="610">
                  <c:v>1082387221</c:v>
                </c:pt>
                <c:pt idx="611">
                  <c:v>973223860</c:v>
                </c:pt>
                <c:pt idx="612">
                  <c:v>560939960</c:v>
                </c:pt>
                <c:pt idx="613">
                  <c:v>698612982</c:v>
                </c:pt>
                <c:pt idx="614">
                  <c:v>324040556</c:v>
                </c:pt>
                <c:pt idx="615">
                  <c:v>427380836</c:v>
                </c:pt>
                <c:pt idx="616">
                  <c:v>581242920</c:v>
                </c:pt>
                <c:pt idx="617">
                  <c:v>135272320</c:v>
                </c:pt>
                <c:pt idx="618">
                  <c:v>12559588842</c:v>
                </c:pt>
                <c:pt idx="619">
                  <c:v>255691134</c:v>
                </c:pt>
                <c:pt idx="620">
                  <c:v>1901226931</c:v>
                </c:pt>
                <c:pt idx="621">
                  <c:v>6205443354</c:v>
                </c:pt>
                <c:pt idx="622">
                  <c:v>8447829485</c:v>
                </c:pt>
                <c:pt idx="623">
                  <c:v>241603314</c:v>
                </c:pt>
                <c:pt idx="624">
                  <c:v>2764732099</c:v>
                </c:pt>
                <c:pt idx="625">
                  <c:v>140027690</c:v>
                </c:pt>
                <c:pt idx="626">
                  <c:v>1811050468</c:v>
                </c:pt>
                <c:pt idx="627">
                  <c:v>193767840</c:v>
                </c:pt>
                <c:pt idx="628">
                  <c:v>292966262</c:v>
                </c:pt>
                <c:pt idx="629">
                  <c:v>430782800</c:v>
                </c:pt>
                <c:pt idx="630">
                  <c:v>994742533</c:v>
                </c:pt>
                <c:pt idx="631">
                  <c:v>6392319778</c:v>
                </c:pt>
                <c:pt idx="632">
                  <c:v>1342571970</c:v>
                </c:pt>
                <c:pt idx="633">
                  <c:v>193700630</c:v>
                </c:pt>
                <c:pt idx="634">
                  <c:v>6133122504</c:v>
                </c:pt>
                <c:pt idx="635">
                  <c:v>622152960</c:v>
                </c:pt>
                <c:pt idx="636">
                  <c:v>2846517786</c:v>
                </c:pt>
                <c:pt idx="637">
                  <c:v>1989871439</c:v>
                </c:pt>
                <c:pt idx="638">
                  <c:v>735703920</c:v>
                </c:pt>
                <c:pt idx="639">
                  <c:v>3140506988</c:v>
                </c:pt>
                <c:pt idx="640">
                  <c:v>104838440</c:v>
                </c:pt>
                <c:pt idx="641">
                  <c:v>867519036</c:v>
                </c:pt>
                <c:pt idx="642">
                  <c:v>1567751841</c:v>
                </c:pt>
                <c:pt idx="643">
                  <c:v>89383416</c:v>
                </c:pt>
                <c:pt idx="644">
                  <c:v>536362820</c:v>
                </c:pt>
                <c:pt idx="645">
                  <c:v>544609304</c:v>
                </c:pt>
                <c:pt idx="646">
                  <c:v>1379001144</c:v>
                </c:pt>
                <c:pt idx="647">
                  <c:v>2906777080</c:v>
                </c:pt>
                <c:pt idx="648">
                  <c:v>131044595</c:v>
                </c:pt>
                <c:pt idx="649">
                  <c:v>845038236</c:v>
                </c:pt>
                <c:pt idx="650">
                  <c:v>1884253956</c:v>
                </c:pt>
                <c:pt idx="651">
                  <c:v>161836662</c:v>
                </c:pt>
                <c:pt idx="652">
                  <c:v>2180483170</c:v>
                </c:pt>
                <c:pt idx="653">
                  <c:v>6075715461</c:v>
                </c:pt>
                <c:pt idx="654">
                  <c:v>2463372855</c:v>
                </c:pt>
                <c:pt idx="655">
                  <c:v>1169445216</c:v>
                </c:pt>
                <c:pt idx="656">
                  <c:v>472411927</c:v>
                </c:pt>
                <c:pt idx="657">
                  <c:v>66328352</c:v>
                </c:pt>
                <c:pt idx="658">
                  <c:v>1438072631</c:v>
                </c:pt>
                <c:pt idx="659">
                  <c:v>330188662</c:v>
                </c:pt>
                <c:pt idx="660">
                  <c:v>150629220</c:v>
                </c:pt>
                <c:pt idx="661">
                  <c:v>172212120</c:v>
                </c:pt>
                <c:pt idx="662">
                  <c:v>419592400</c:v>
                </c:pt>
                <c:pt idx="663">
                  <c:v>1401843079</c:v>
                </c:pt>
                <c:pt idx="664">
                  <c:v>584749776</c:v>
                </c:pt>
                <c:pt idx="665">
                  <c:v>96759215</c:v>
                </c:pt>
                <c:pt idx="666">
                  <c:v>2001083762</c:v>
                </c:pt>
                <c:pt idx="667">
                  <c:v>1380394480</c:v>
                </c:pt>
                <c:pt idx="668">
                  <c:v>31635957821</c:v>
                </c:pt>
                <c:pt idx="669">
                  <c:v>180673395</c:v>
                </c:pt>
                <c:pt idx="670">
                  <c:v>9054012539</c:v>
                </c:pt>
                <c:pt idx="671">
                  <c:v>1504048579</c:v>
                </c:pt>
                <c:pt idx="672">
                  <c:v>1799472567</c:v>
                </c:pt>
                <c:pt idx="673">
                  <c:v>438155072</c:v>
                </c:pt>
                <c:pt idx="674">
                  <c:v>227433690</c:v>
                </c:pt>
                <c:pt idx="675">
                  <c:v>6213035529</c:v>
                </c:pt>
                <c:pt idx="676">
                  <c:v>425128320</c:v>
                </c:pt>
                <c:pt idx="677">
                  <c:v>888524574</c:v>
                </c:pt>
                <c:pt idx="678">
                  <c:v>837767072</c:v>
                </c:pt>
                <c:pt idx="679">
                  <c:v>1134138766</c:v>
                </c:pt>
                <c:pt idx="680">
                  <c:v>1009113959</c:v>
                </c:pt>
                <c:pt idx="681">
                  <c:v>1293598540</c:v>
                </c:pt>
                <c:pt idx="682">
                  <c:v>244580160</c:v>
                </c:pt>
                <c:pt idx="683">
                  <c:v>6671878182</c:v>
                </c:pt>
                <c:pt idx="684">
                  <c:v>1062209187</c:v>
                </c:pt>
                <c:pt idx="685">
                  <c:v>753907267</c:v>
                </c:pt>
                <c:pt idx="686">
                  <c:v>2547224949</c:v>
                </c:pt>
                <c:pt idx="687">
                  <c:v>803322406</c:v>
                </c:pt>
                <c:pt idx="688">
                  <c:v>921709464</c:v>
                </c:pt>
                <c:pt idx="689">
                  <c:v>547752786</c:v>
                </c:pt>
                <c:pt idx="690">
                  <c:v>732146879</c:v>
                </c:pt>
                <c:pt idx="691">
                  <c:v>153960804</c:v>
                </c:pt>
                <c:pt idx="692">
                  <c:v>68456552</c:v>
                </c:pt>
                <c:pt idx="693">
                  <c:v>165672379</c:v>
                </c:pt>
                <c:pt idx="694">
                  <c:v>198190653</c:v>
                </c:pt>
                <c:pt idx="695">
                  <c:v>321114136</c:v>
                </c:pt>
                <c:pt idx="696">
                  <c:v>26782985283</c:v>
                </c:pt>
                <c:pt idx="697">
                  <c:v>1688879301</c:v>
                </c:pt>
                <c:pt idx="698">
                  <c:v>4956711563</c:v>
                </c:pt>
                <c:pt idx="699">
                  <c:v>1655261696</c:v>
                </c:pt>
                <c:pt idx="700">
                  <c:v>5915884221</c:v>
                </c:pt>
                <c:pt idx="701">
                  <c:v>414456792</c:v>
                </c:pt>
                <c:pt idx="702">
                  <c:v>1035023576</c:v>
                </c:pt>
                <c:pt idx="703">
                  <c:v>194729100</c:v>
                </c:pt>
                <c:pt idx="704">
                  <c:v>276927612</c:v>
                </c:pt>
                <c:pt idx="705">
                  <c:v>912593661</c:v>
                </c:pt>
                <c:pt idx="706">
                  <c:v>2147483647</c:v>
                </c:pt>
                <c:pt idx="707">
                  <c:v>583226805</c:v>
                </c:pt>
                <c:pt idx="708">
                  <c:v>489111987</c:v>
                </c:pt>
                <c:pt idx="709">
                  <c:v>6802031506</c:v>
                </c:pt>
                <c:pt idx="710">
                  <c:v>869974632</c:v>
                </c:pt>
                <c:pt idx="711">
                  <c:v>5665827698</c:v>
                </c:pt>
                <c:pt idx="712">
                  <c:v>1570070768</c:v>
                </c:pt>
                <c:pt idx="713">
                  <c:v>3276458098</c:v>
                </c:pt>
                <c:pt idx="714">
                  <c:v>351567993</c:v>
                </c:pt>
                <c:pt idx="715">
                  <c:v>59004345</c:v>
                </c:pt>
                <c:pt idx="716">
                  <c:v>1152334774</c:v>
                </c:pt>
                <c:pt idx="717">
                  <c:v>545059676</c:v>
                </c:pt>
                <c:pt idx="718">
                  <c:v>2510283178</c:v>
                </c:pt>
                <c:pt idx="719">
                  <c:v>1052263347</c:v>
                </c:pt>
                <c:pt idx="720">
                  <c:v>2369906994</c:v>
                </c:pt>
                <c:pt idx="721">
                  <c:v>676377200</c:v>
                </c:pt>
                <c:pt idx="722">
                  <c:v>371017167</c:v>
                </c:pt>
                <c:pt idx="723">
                  <c:v>200932636</c:v>
                </c:pt>
                <c:pt idx="724">
                  <c:v>1047925125</c:v>
                </c:pt>
                <c:pt idx="725">
                  <c:v>435764636</c:v>
                </c:pt>
                <c:pt idx="726">
                  <c:v>411413192</c:v>
                </c:pt>
                <c:pt idx="727">
                  <c:v>5921898818</c:v>
                </c:pt>
                <c:pt idx="728">
                  <c:v>48887619311</c:v>
                </c:pt>
                <c:pt idx="729">
                  <c:v>5900741307</c:v>
                </c:pt>
                <c:pt idx="730">
                  <c:v>705033950</c:v>
                </c:pt>
                <c:pt idx="731">
                  <c:v>1727630100</c:v>
                </c:pt>
                <c:pt idx="732">
                  <c:v>2035165563</c:v>
                </c:pt>
                <c:pt idx="733">
                  <c:v>370274960</c:v>
                </c:pt>
                <c:pt idx="734">
                  <c:v>486331404</c:v>
                </c:pt>
                <c:pt idx="735">
                  <c:v>323419974</c:v>
                </c:pt>
                <c:pt idx="736">
                  <c:v>1073977524</c:v>
                </c:pt>
                <c:pt idx="737">
                  <c:v>1529593590</c:v>
                </c:pt>
                <c:pt idx="738">
                  <c:v>434439483</c:v>
                </c:pt>
                <c:pt idx="739">
                  <c:v>3930648916</c:v>
                </c:pt>
                <c:pt idx="740">
                  <c:v>1778184412</c:v>
                </c:pt>
                <c:pt idx="741">
                  <c:v>1439939486</c:v>
                </c:pt>
                <c:pt idx="742">
                  <c:v>1410947304</c:v>
                </c:pt>
                <c:pt idx="743">
                  <c:v>1595493864</c:v>
                </c:pt>
                <c:pt idx="744">
                  <c:v>1931937800</c:v>
                </c:pt>
                <c:pt idx="745">
                  <c:v>1437124735</c:v>
                </c:pt>
                <c:pt idx="746">
                  <c:v>812565130</c:v>
                </c:pt>
                <c:pt idx="747">
                  <c:v>4949128599</c:v>
                </c:pt>
                <c:pt idx="748">
                  <c:v>1386453294</c:v>
                </c:pt>
                <c:pt idx="749">
                  <c:v>1623675672</c:v>
                </c:pt>
                <c:pt idx="750">
                  <c:v>1031192318</c:v>
                </c:pt>
                <c:pt idx="751">
                  <c:v>250548309</c:v>
                </c:pt>
                <c:pt idx="752">
                  <c:v>910225888</c:v>
                </c:pt>
                <c:pt idx="753">
                  <c:v>736011728</c:v>
                </c:pt>
                <c:pt idx="754">
                  <c:v>727410249</c:v>
                </c:pt>
                <c:pt idx="755">
                  <c:v>1269060000</c:v>
                </c:pt>
                <c:pt idx="756">
                  <c:v>27921879182</c:v>
                </c:pt>
                <c:pt idx="757">
                  <c:v>2575650636</c:v>
                </c:pt>
                <c:pt idx="758">
                  <c:v>489974964</c:v>
                </c:pt>
                <c:pt idx="759">
                  <c:v>2147483647</c:v>
                </c:pt>
                <c:pt idx="760">
                  <c:v>557077165</c:v>
                </c:pt>
                <c:pt idx="761">
                  <c:v>2823006595</c:v>
                </c:pt>
                <c:pt idx="762">
                  <c:v>1934474956</c:v>
                </c:pt>
                <c:pt idx="763">
                  <c:v>4294967294</c:v>
                </c:pt>
                <c:pt idx="764">
                  <c:v>1825232790</c:v>
                </c:pt>
                <c:pt idx="765">
                  <c:v>3251573294</c:v>
                </c:pt>
                <c:pt idx="766">
                  <c:v>3214825066</c:v>
                </c:pt>
                <c:pt idx="767">
                  <c:v>1534992381</c:v>
                </c:pt>
                <c:pt idx="768">
                  <c:v>3290198088</c:v>
                </c:pt>
                <c:pt idx="769">
                  <c:v>545728029</c:v>
                </c:pt>
                <c:pt idx="770">
                  <c:v>7776238807</c:v>
                </c:pt>
                <c:pt idx="771">
                  <c:v>194433545</c:v>
                </c:pt>
                <c:pt idx="772">
                  <c:v>1419348405</c:v>
                </c:pt>
                <c:pt idx="773">
                  <c:v>1749340454</c:v>
                </c:pt>
                <c:pt idx="774">
                  <c:v>311808222</c:v>
                </c:pt>
                <c:pt idx="775">
                  <c:v>13532721265</c:v>
                </c:pt>
                <c:pt idx="776">
                  <c:v>1185502371</c:v>
                </c:pt>
                <c:pt idx="777">
                  <c:v>2101104528</c:v>
                </c:pt>
                <c:pt idx="778">
                  <c:v>1844624593</c:v>
                </c:pt>
                <c:pt idx="779">
                  <c:v>2509201116</c:v>
                </c:pt>
                <c:pt idx="780">
                  <c:v>1061787694</c:v>
                </c:pt>
                <c:pt idx="781">
                  <c:v>331289200</c:v>
                </c:pt>
                <c:pt idx="782">
                  <c:v>6508470245</c:v>
                </c:pt>
                <c:pt idx="783">
                  <c:v>1082269001</c:v>
                </c:pt>
                <c:pt idx="784">
                  <c:v>383730136</c:v>
                </c:pt>
                <c:pt idx="785">
                  <c:v>2637590131</c:v>
                </c:pt>
                <c:pt idx="786">
                  <c:v>1441954733</c:v>
                </c:pt>
                <c:pt idx="787">
                  <c:v>784215432</c:v>
                </c:pt>
                <c:pt idx="788">
                  <c:v>838898124</c:v>
                </c:pt>
                <c:pt idx="789">
                  <c:v>5404511364</c:v>
                </c:pt>
                <c:pt idx="790">
                  <c:v>1394192293</c:v>
                </c:pt>
                <c:pt idx="791">
                  <c:v>2147483647</c:v>
                </c:pt>
                <c:pt idx="792">
                  <c:v>13234540422</c:v>
                </c:pt>
                <c:pt idx="793">
                  <c:v>2749512546</c:v>
                </c:pt>
                <c:pt idx="794">
                  <c:v>671721804</c:v>
                </c:pt>
                <c:pt idx="795">
                  <c:v>9279401525</c:v>
                </c:pt>
                <c:pt idx="796">
                  <c:v>1236631596</c:v>
                </c:pt>
                <c:pt idx="797">
                  <c:v>1238126224</c:v>
                </c:pt>
                <c:pt idx="798">
                  <c:v>1063885586</c:v>
                </c:pt>
                <c:pt idx="799">
                  <c:v>742432524</c:v>
                </c:pt>
                <c:pt idx="800">
                  <c:v>1577585713</c:v>
                </c:pt>
                <c:pt idx="801">
                  <c:v>491598744</c:v>
                </c:pt>
                <c:pt idx="802">
                  <c:v>3585462029</c:v>
                </c:pt>
                <c:pt idx="803">
                  <c:v>335349021</c:v>
                </c:pt>
                <c:pt idx="804">
                  <c:v>2281836970</c:v>
                </c:pt>
                <c:pt idx="805">
                  <c:v>978533600</c:v>
                </c:pt>
                <c:pt idx="806">
                  <c:v>7253089723</c:v>
                </c:pt>
                <c:pt idx="807">
                  <c:v>26941970174</c:v>
                </c:pt>
                <c:pt idx="808">
                  <c:v>1069268634</c:v>
                </c:pt>
                <c:pt idx="809">
                  <c:v>793207926</c:v>
                </c:pt>
                <c:pt idx="810">
                  <c:v>256426874</c:v>
                </c:pt>
                <c:pt idx="811">
                  <c:v>3544608916</c:v>
                </c:pt>
                <c:pt idx="812">
                  <c:v>325081240</c:v>
                </c:pt>
                <c:pt idx="813">
                  <c:v>1753340383</c:v>
                </c:pt>
                <c:pt idx="814">
                  <c:v>265113810</c:v>
                </c:pt>
                <c:pt idx="815">
                  <c:v>344467942</c:v>
                </c:pt>
                <c:pt idx="816">
                  <c:v>2456701469</c:v>
                </c:pt>
                <c:pt idx="817">
                  <c:v>3834042301</c:v>
                </c:pt>
                <c:pt idx="818">
                  <c:v>4259564704</c:v>
                </c:pt>
                <c:pt idx="819">
                  <c:v>55856775</c:v>
                </c:pt>
                <c:pt idx="820">
                  <c:v>330295988</c:v>
                </c:pt>
                <c:pt idx="821">
                  <c:v>2147483647</c:v>
                </c:pt>
                <c:pt idx="822">
                  <c:v>1119917101</c:v>
                </c:pt>
                <c:pt idx="823">
                  <c:v>10963430331</c:v>
                </c:pt>
                <c:pt idx="824">
                  <c:v>319980045</c:v>
                </c:pt>
                <c:pt idx="825">
                  <c:v>375848176</c:v>
                </c:pt>
                <c:pt idx="826">
                  <c:v>698311855</c:v>
                </c:pt>
                <c:pt idx="827">
                  <c:v>2147483647</c:v>
                </c:pt>
                <c:pt idx="828">
                  <c:v>2147483647</c:v>
                </c:pt>
                <c:pt idx="829">
                  <c:v>2123036343</c:v>
                </c:pt>
                <c:pt idx="830">
                  <c:v>3413037003</c:v>
                </c:pt>
                <c:pt idx="831">
                  <c:v>1953056898</c:v>
                </c:pt>
                <c:pt idx="832">
                  <c:v>640297350</c:v>
                </c:pt>
                <c:pt idx="833">
                  <c:v>1357746404</c:v>
                </c:pt>
                <c:pt idx="834">
                  <c:v>3538263953</c:v>
                </c:pt>
                <c:pt idx="835">
                  <c:v>347239221</c:v>
                </c:pt>
                <c:pt idx="836">
                  <c:v>249281152</c:v>
                </c:pt>
                <c:pt idx="837">
                  <c:v>2205148264</c:v>
                </c:pt>
                <c:pt idx="838">
                  <c:v>200543784</c:v>
                </c:pt>
                <c:pt idx="839">
                  <c:v>7790411994</c:v>
                </c:pt>
                <c:pt idx="840">
                  <c:v>492498381</c:v>
                </c:pt>
                <c:pt idx="841">
                  <c:v>125990010</c:v>
                </c:pt>
                <c:pt idx="842">
                  <c:v>3367203370</c:v>
                </c:pt>
                <c:pt idx="843">
                  <c:v>518493584</c:v>
                </c:pt>
                <c:pt idx="844">
                  <c:v>4872079343</c:v>
                </c:pt>
                <c:pt idx="845">
                  <c:v>609401652</c:v>
                </c:pt>
                <c:pt idx="846">
                  <c:v>322961730</c:v>
                </c:pt>
                <c:pt idx="847">
                  <c:v>210113800</c:v>
                </c:pt>
                <c:pt idx="848">
                  <c:v>623363004</c:v>
                </c:pt>
                <c:pt idx="849">
                  <c:v>352718595</c:v>
                </c:pt>
                <c:pt idx="850">
                  <c:v>315076208</c:v>
                </c:pt>
                <c:pt idx="851">
                  <c:v>358702110</c:v>
                </c:pt>
                <c:pt idx="852">
                  <c:v>384722032</c:v>
                </c:pt>
                <c:pt idx="853">
                  <c:v>770220366</c:v>
                </c:pt>
                <c:pt idx="854">
                  <c:v>170605674</c:v>
                </c:pt>
                <c:pt idx="855">
                  <c:v>383656702</c:v>
                </c:pt>
                <c:pt idx="856">
                  <c:v>732397677</c:v>
                </c:pt>
                <c:pt idx="857">
                  <c:v>433021293</c:v>
                </c:pt>
                <c:pt idx="858">
                  <c:v>1021486641</c:v>
                </c:pt>
                <c:pt idx="859">
                  <c:v>3927735148</c:v>
                </c:pt>
                <c:pt idx="860">
                  <c:v>613036213</c:v>
                </c:pt>
                <c:pt idx="861">
                  <c:v>474811994</c:v>
                </c:pt>
                <c:pt idx="862">
                  <c:v>1020252792</c:v>
                </c:pt>
                <c:pt idx="863">
                  <c:v>178451703</c:v>
                </c:pt>
                <c:pt idx="864">
                  <c:v>4106453823</c:v>
                </c:pt>
                <c:pt idx="865">
                  <c:v>131072040</c:v>
                </c:pt>
                <c:pt idx="866">
                  <c:v>1726309356</c:v>
                </c:pt>
                <c:pt idx="867">
                  <c:v>1938281291</c:v>
                </c:pt>
                <c:pt idx="868">
                  <c:v>525740712</c:v>
                </c:pt>
                <c:pt idx="869">
                  <c:v>825829136</c:v>
                </c:pt>
                <c:pt idx="870">
                  <c:v>556462733</c:v>
                </c:pt>
                <c:pt idx="871">
                  <c:v>243664090</c:v>
                </c:pt>
                <c:pt idx="872">
                  <c:v>195692680</c:v>
                </c:pt>
                <c:pt idx="873">
                  <c:v>653461517</c:v>
                </c:pt>
                <c:pt idx="874">
                  <c:v>248894126</c:v>
                </c:pt>
                <c:pt idx="875">
                  <c:v>4770853525</c:v>
                </c:pt>
                <c:pt idx="876">
                  <c:v>471677725</c:v>
                </c:pt>
                <c:pt idx="877">
                  <c:v>1865902441</c:v>
                </c:pt>
                <c:pt idx="878">
                  <c:v>469377062</c:v>
                </c:pt>
                <c:pt idx="879">
                  <c:v>277171950</c:v>
                </c:pt>
                <c:pt idx="880">
                  <c:v>2569327588</c:v>
                </c:pt>
                <c:pt idx="881">
                  <c:v>5624493905</c:v>
                </c:pt>
                <c:pt idx="882">
                  <c:v>1895585328</c:v>
                </c:pt>
                <c:pt idx="883">
                  <c:v>811250640</c:v>
                </c:pt>
                <c:pt idx="884">
                  <c:v>1535474130</c:v>
                </c:pt>
                <c:pt idx="885">
                  <c:v>1806900599</c:v>
                </c:pt>
                <c:pt idx="886">
                  <c:v>136489215</c:v>
                </c:pt>
                <c:pt idx="887">
                  <c:v>143888000</c:v>
                </c:pt>
                <c:pt idx="888">
                  <c:v>1050426836</c:v>
                </c:pt>
                <c:pt idx="889">
                  <c:v>6295352879</c:v>
                </c:pt>
                <c:pt idx="890">
                  <c:v>605304010</c:v>
                </c:pt>
                <c:pt idx="891">
                  <c:v>3218776283</c:v>
                </c:pt>
                <c:pt idx="892">
                  <c:v>26781562</c:v>
                </c:pt>
                <c:pt idx="893">
                  <c:v>666407104</c:v>
                </c:pt>
                <c:pt idx="894">
                  <c:v>4294967294</c:v>
                </c:pt>
                <c:pt idx="895">
                  <c:v>290284200</c:v>
                </c:pt>
                <c:pt idx="896">
                  <c:v>770472150</c:v>
                </c:pt>
                <c:pt idx="897">
                  <c:v>341403531</c:v>
                </c:pt>
                <c:pt idx="898">
                  <c:v>1245495048</c:v>
                </c:pt>
                <c:pt idx="899">
                  <c:v>593652969</c:v>
                </c:pt>
                <c:pt idx="900">
                  <c:v>2006288270</c:v>
                </c:pt>
                <c:pt idx="901">
                  <c:v>1191963118</c:v>
                </c:pt>
                <c:pt idx="902">
                  <c:v>2856982452</c:v>
                </c:pt>
                <c:pt idx="903">
                  <c:v>367599708</c:v>
                </c:pt>
                <c:pt idx="904">
                  <c:v>1395537738</c:v>
                </c:pt>
                <c:pt idx="905">
                  <c:v>185134320</c:v>
                </c:pt>
                <c:pt idx="906">
                  <c:v>508653350</c:v>
                </c:pt>
                <c:pt idx="907">
                  <c:v>494368644</c:v>
                </c:pt>
                <c:pt idx="908">
                  <c:v>176637360</c:v>
                </c:pt>
                <c:pt idx="909">
                  <c:v>414759795</c:v>
                </c:pt>
                <c:pt idx="910">
                  <c:v>3325640427</c:v>
                </c:pt>
                <c:pt idx="911">
                  <c:v>279048980</c:v>
                </c:pt>
                <c:pt idx="912">
                  <c:v>411072929</c:v>
                </c:pt>
                <c:pt idx="913">
                  <c:v>944419278</c:v>
                </c:pt>
                <c:pt idx="914">
                  <c:v>659061720</c:v>
                </c:pt>
                <c:pt idx="915">
                  <c:v>2159143713</c:v>
                </c:pt>
                <c:pt idx="916">
                  <c:v>1194739260</c:v>
                </c:pt>
                <c:pt idx="917">
                  <c:v>1332491888</c:v>
                </c:pt>
                <c:pt idx="918">
                  <c:v>394230925</c:v>
                </c:pt>
                <c:pt idx="919">
                  <c:v>214857940</c:v>
                </c:pt>
                <c:pt idx="920">
                  <c:v>282256800</c:v>
                </c:pt>
                <c:pt idx="921">
                  <c:v>986469100</c:v>
                </c:pt>
                <c:pt idx="922">
                  <c:v>258490181</c:v>
                </c:pt>
                <c:pt idx="923">
                  <c:v>933406636</c:v>
                </c:pt>
                <c:pt idx="924">
                  <c:v>745374400</c:v>
                </c:pt>
                <c:pt idx="925">
                  <c:v>201683952</c:v>
                </c:pt>
                <c:pt idx="926">
                  <c:v>970588798</c:v>
                </c:pt>
                <c:pt idx="927">
                  <c:v>634204116</c:v>
                </c:pt>
                <c:pt idx="928">
                  <c:v>915229696</c:v>
                </c:pt>
                <c:pt idx="929">
                  <c:v>937522794</c:v>
                </c:pt>
                <c:pt idx="930">
                  <c:v>545495098</c:v>
                </c:pt>
                <c:pt idx="931">
                  <c:v>1405605040</c:v>
                </c:pt>
                <c:pt idx="932">
                  <c:v>4206620862</c:v>
                </c:pt>
                <c:pt idx="933">
                  <c:v>669689800</c:v>
                </c:pt>
                <c:pt idx="934">
                  <c:v>395048520</c:v>
                </c:pt>
                <c:pt idx="935">
                  <c:v>1383906176</c:v>
                </c:pt>
                <c:pt idx="936">
                  <c:v>118145763</c:v>
                </c:pt>
                <c:pt idx="937">
                  <c:v>248273614</c:v>
                </c:pt>
                <c:pt idx="938">
                  <c:v>5305808984</c:v>
                </c:pt>
                <c:pt idx="939">
                  <c:v>826608068</c:v>
                </c:pt>
                <c:pt idx="940">
                  <c:v>2096560545</c:v>
                </c:pt>
                <c:pt idx="941">
                  <c:v>687407525</c:v>
                </c:pt>
                <c:pt idx="942">
                  <c:v>2628185517</c:v>
                </c:pt>
                <c:pt idx="943">
                  <c:v>901541925</c:v>
                </c:pt>
                <c:pt idx="944">
                  <c:v>2147483647</c:v>
                </c:pt>
                <c:pt idx="945">
                  <c:v>110453760</c:v>
                </c:pt>
                <c:pt idx="946">
                  <c:v>254182544</c:v>
                </c:pt>
                <c:pt idx="947">
                  <c:v>1820390870</c:v>
                </c:pt>
                <c:pt idx="948">
                  <c:v>4428444718</c:v>
                </c:pt>
                <c:pt idx="949">
                  <c:v>474074050</c:v>
                </c:pt>
                <c:pt idx="950">
                  <c:v>112353212</c:v>
                </c:pt>
                <c:pt idx="951">
                  <c:v>12392777384</c:v>
                </c:pt>
                <c:pt idx="952">
                  <c:v>135392973</c:v>
                </c:pt>
                <c:pt idx="953">
                  <c:v>115072762</c:v>
                </c:pt>
                <c:pt idx="954">
                  <c:v>3543284774</c:v>
                </c:pt>
                <c:pt idx="955">
                  <c:v>215892905</c:v>
                </c:pt>
                <c:pt idx="956">
                  <c:v>561322915</c:v>
                </c:pt>
                <c:pt idx="957">
                  <c:v>254129855</c:v>
                </c:pt>
                <c:pt idx="958">
                  <c:v>1162031808</c:v>
                </c:pt>
                <c:pt idx="959">
                  <c:v>141941902</c:v>
                </c:pt>
                <c:pt idx="960">
                  <c:v>670980065</c:v>
                </c:pt>
                <c:pt idx="961">
                  <c:v>118673828</c:v>
                </c:pt>
                <c:pt idx="962">
                  <c:v>135183912</c:v>
                </c:pt>
                <c:pt idx="963">
                  <c:v>509706303</c:v>
                </c:pt>
                <c:pt idx="964">
                  <c:v>483205176</c:v>
                </c:pt>
                <c:pt idx="965">
                  <c:v>211494225</c:v>
                </c:pt>
                <c:pt idx="966">
                  <c:v>3510078659</c:v>
                </c:pt>
                <c:pt idx="967">
                  <c:v>1783303013</c:v>
                </c:pt>
                <c:pt idx="968">
                  <c:v>234154424</c:v>
                </c:pt>
                <c:pt idx="969">
                  <c:v>348484752</c:v>
                </c:pt>
                <c:pt idx="970">
                  <c:v>2024646870</c:v>
                </c:pt>
                <c:pt idx="971">
                  <c:v>1572299475</c:v>
                </c:pt>
                <c:pt idx="972">
                  <c:v>196179752</c:v>
                </c:pt>
                <c:pt idx="973">
                  <c:v>689485896</c:v>
                </c:pt>
                <c:pt idx="974">
                  <c:v>1046237570</c:v>
                </c:pt>
                <c:pt idx="975">
                  <c:v>816358671</c:v>
                </c:pt>
                <c:pt idx="976">
                  <c:v>34610948</c:v>
                </c:pt>
                <c:pt idx="977">
                  <c:v>2147483647</c:v>
                </c:pt>
                <c:pt idx="978">
                  <c:v>211546470</c:v>
                </c:pt>
                <c:pt idx="979">
                  <c:v>113738611</c:v>
                </c:pt>
                <c:pt idx="980">
                  <c:v>180451583</c:v>
                </c:pt>
                <c:pt idx="981">
                  <c:v>400671726</c:v>
                </c:pt>
                <c:pt idx="982">
                  <c:v>40994957</c:v>
                </c:pt>
                <c:pt idx="983">
                  <c:v>1275119085</c:v>
                </c:pt>
                <c:pt idx="984">
                  <c:v>770877452</c:v>
                </c:pt>
                <c:pt idx="985">
                  <c:v>1375735872</c:v>
                </c:pt>
                <c:pt idx="986">
                  <c:v>1418076627</c:v>
                </c:pt>
                <c:pt idx="987">
                  <c:v>413623311</c:v>
                </c:pt>
                <c:pt idx="988">
                  <c:v>2104280304</c:v>
                </c:pt>
                <c:pt idx="989">
                  <c:v>643847946</c:v>
                </c:pt>
                <c:pt idx="990">
                  <c:v>4294967294</c:v>
                </c:pt>
                <c:pt idx="991">
                  <c:v>183654310</c:v>
                </c:pt>
                <c:pt idx="992">
                  <c:v>673519464</c:v>
                </c:pt>
                <c:pt idx="993">
                  <c:v>1050885073</c:v>
                </c:pt>
                <c:pt idx="994">
                  <c:v>220579850</c:v>
                </c:pt>
                <c:pt idx="995">
                  <c:v>6919843240</c:v>
                </c:pt>
                <c:pt idx="996">
                  <c:v>673330120</c:v>
                </c:pt>
                <c:pt idx="997">
                  <c:v>1028038592</c:v>
                </c:pt>
                <c:pt idx="998">
                  <c:v>3605788623</c:v>
                </c:pt>
                <c:pt idx="999">
                  <c:v>2750982996</c:v>
                </c:pt>
                <c:pt idx="1000">
                  <c:v>34286175</c:v>
                </c:pt>
                <c:pt idx="1001">
                  <c:v>1520376625</c:v>
                </c:pt>
                <c:pt idx="1002">
                  <c:v>2008737750</c:v>
                </c:pt>
                <c:pt idx="1003">
                  <c:v>3421889203</c:v>
                </c:pt>
                <c:pt idx="1004">
                  <c:v>291544038</c:v>
                </c:pt>
                <c:pt idx="1005">
                  <c:v>2147483647</c:v>
                </c:pt>
                <c:pt idx="1006">
                  <c:v>296290750</c:v>
                </c:pt>
                <c:pt idx="1007">
                  <c:v>242519739</c:v>
                </c:pt>
                <c:pt idx="1008">
                  <c:v>316581888</c:v>
                </c:pt>
                <c:pt idx="1009">
                  <c:v>508924350</c:v>
                </c:pt>
                <c:pt idx="1010">
                  <c:v>550060126</c:v>
                </c:pt>
                <c:pt idx="1011">
                  <c:v>1001268807</c:v>
                </c:pt>
                <c:pt idx="1012">
                  <c:v>410936500</c:v>
                </c:pt>
                <c:pt idx="1013">
                  <c:v>897006852</c:v>
                </c:pt>
                <c:pt idx="1014">
                  <c:v>488595555</c:v>
                </c:pt>
                <c:pt idx="1015">
                  <c:v>152800461</c:v>
                </c:pt>
                <c:pt idx="1016">
                  <c:v>217219350</c:v>
                </c:pt>
                <c:pt idx="1017">
                  <c:v>1386755528</c:v>
                </c:pt>
                <c:pt idx="1018">
                  <c:v>545301173</c:v>
                </c:pt>
                <c:pt idx="1019">
                  <c:v>2047222889</c:v>
                </c:pt>
                <c:pt idx="1020">
                  <c:v>464217914</c:v>
                </c:pt>
                <c:pt idx="1021">
                  <c:v>122183061</c:v>
                </c:pt>
                <c:pt idx="1022">
                  <c:v>1219505364</c:v>
                </c:pt>
                <c:pt idx="1023">
                  <c:v>2527495812</c:v>
                </c:pt>
                <c:pt idx="1024">
                  <c:v>186466410</c:v>
                </c:pt>
                <c:pt idx="1025">
                  <c:v>708052355</c:v>
                </c:pt>
                <c:pt idx="1026">
                  <c:v>428974156</c:v>
                </c:pt>
                <c:pt idx="1027">
                  <c:v>229265680</c:v>
                </c:pt>
                <c:pt idx="1028">
                  <c:v>1243672378</c:v>
                </c:pt>
                <c:pt idx="1029">
                  <c:v>3908142469</c:v>
                </c:pt>
                <c:pt idx="1030">
                  <c:v>69233875</c:v>
                </c:pt>
                <c:pt idx="1031">
                  <c:v>1796491116</c:v>
                </c:pt>
                <c:pt idx="1032">
                  <c:v>2147483647</c:v>
                </c:pt>
                <c:pt idx="1033">
                  <c:v>1607330844</c:v>
                </c:pt>
                <c:pt idx="1034">
                  <c:v>107858202</c:v>
                </c:pt>
                <c:pt idx="1035">
                  <c:v>810301128</c:v>
                </c:pt>
                <c:pt idx="1036">
                  <c:v>2147483647</c:v>
                </c:pt>
                <c:pt idx="1037">
                  <c:v>568717380</c:v>
                </c:pt>
                <c:pt idx="1038">
                  <c:v>2147483647</c:v>
                </c:pt>
                <c:pt idx="1039">
                  <c:v>722238540</c:v>
                </c:pt>
                <c:pt idx="1040">
                  <c:v>2067009945</c:v>
                </c:pt>
                <c:pt idx="1041">
                  <c:v>524248230</c:v>
                </c:pt>
                <c:pt idx="1042">
                  <c:v>124125274</c:v>
                </c:pt>
                <c:pt idx="1043">
                  <c:v>1313777356</c:v>
                </c:pt>
                <c:pt idx="1044">
                  <c:v>240176587</c:v>
                </c:pt>
                <c:pt idx="1045">
                  <c:v>966506976</c:v>
                </c:pt>
                <c:pt idx="1046">
                  <c:v>118782960</c:v>
                </c:pt>
                <c:pt idx="1047">
                  <c:v>492741185</c:v>
                </c:pt>
                <c:pt idx="1048">
                  <c:v>795205389</c:v>
                </c:pt>
                <c:pt idx="1049">
                  <c:v>2147483647</c:v>
                </c:pt>
                <c:pt idx="1050">
                  <c:v>1453683994</c:v>
                </c:pt>
                <c:pt idx="1051">
                  <c:v>1214277528</c:v>
                </c:pt>
                <c:pt idx="1052">
                  <c:v>1195343632</c:v>
                </c:pt>
                <c:pt idx="1053">
                  <c:v>1060952138</c:v>
                </c:pt>
                <c:pt idx="1054">
                  <c:v>284996024</c:v>
                </c:pt>
                <c:pt idx="1055">
                  <c:v>2147483647</c:v>
                </c:pt>
                <c:pt idx="1056">
                  <c:v>1218013966</c:v>
                </c:pt>
                <c:pt idx="1057">
                  <c:v>92185472</c:v>
                </c:pt>
                <c:pt idx="1058">
                  <c:v>144174800</c:v>
                </c:pt>
                <c:pt idx="1059">
                  <c:v>1566489147</c:v>
                </c:pt>
                <c:pt idx="1060">
                  <c:v>666286950</c:v>
                </c:pt>
                <c:pt idx="1061">
                  <c:v>146697996</c:v>
                </c:pt>
                <c:pt idx="1062">
                  <c:v>912717036</c:v>
                </c:pt>
                <c:pt idx="1063">
                  <c:v>200962692</c:v>
                </c:pt>
                <c:pt idx="1064">
                  <c:v>1081355030</c:v>
                </c:pt>
                <c:pt idx="1065">
                  <c:v>114822048</c:v>
                </c:pt>
                <c:pt idx="1066">
                  <c:v>3613084777</c:v>
                </c:pt>
                <c:pt idx="1067">
                  <c:v>6405394434</c:v>
                </c:pt>
                <c:pt idx="1068">
                  <c:v>2147483647</c:v>
                </c:pt>
                <c:pt idx="1069">
                  <c:v>1848295360</c:v>
                </c:pt>
                <c:pt idx="1070">
                  <c:v>1452422400</c:v>
                </c:pt>
                <c:pt idx="1071">
                  <c:v>172170819</c:v>
                </c:pt>
                <c:pt idx="1072">
                  <c:v>256977570</c:v>
                </c:pt>
                <c:pt idx="1073">
                  <c:v>3246222697</c:v>
                </c:pt>
                <c:pt idx="1074">
                  <c:v>463756368</c:v>
                </c:pt>
                <c:pt idx="1075">
                  <c:v>1059414653</c:v>
                </c:pt>
                <c:pt idx="1076">
                  <c:v>621092214</c:v>
                </c:pt>
                <c:pt idx="1077">
                  <c:v>314240001</c:v>
                </c:pt>
                <c:pt idx="1078">
                  <c:v>158933953</c:v>
                </c:pt>
                <c:pt idx="1079">
                  <c:v>1785991680</c:v>
                </c:pt>
                <c:pt idx="1080">
                  <c:v>387423244</c:v>
                </c:pt>
                <c:pt idx="1081">
                  <c:v>1140230432</c:v>
                </c:pt>
                <c:pt idx="1082">
                  <c:v>3322700768</c:v>
                </c:pt>
                <c:pt idx="1083">
                  <c:v>554999886</c:v>
                </c:pt>
                <c:pt idx="1084">
                  <c:v>2773333995</c:v>
                </c:pt>
                <c:pt idx="1085">
                  <c:v>28737840</c:v>
                </c:pt>
                <c:pt idx="1086">
                  <c:v>893528625</c:v>
                </c:pt>
                <c:pt idx="1087">
                  <c:v>243732602</c:v>
                </c:pt>
                <c:pt idx="1088">
                  <c:v>197881143</c:v>
                </c:pt>
                <c:pt idx="1089">
                  <c:v>264501730</c:v>
                </c:pt>
                <c:pt idx="1090">
                  <c:v>430409793</c:v>
                </c:pt>
                <c:pt idx="1091">
                  <c:v>43206880</c:v>
                </c:pt>
                <c:pt idx="1092">
                  <c:v>216458586</c:v>
                </c:pt>
                <c:pt idx="1093">
                  <c:v>820545624</c:v>
                </c:pt>
                <c:pt idx="1094">
                  <c:v>2147483647</c:v>
                </c:pt>
                <c:pt idx="1095">
                  <c:v>873254272</c:v>
                </c:pt>
                <c:pt idx="1096">
                  <c:v>278327357</c:v>
                </c:pt>
                <c:pt idx="1097">
                  <c:v>843898930</c:v>
                </c:pt>
                <c:pt idx="1098">
                  <c:v>489169566</c:v>
                </c:pt>
                <c:pt idx="1099">
                  <c:v>552852126</c:v>
                </c:pt>
                <c:pt idx="1100">
                  <c:v>221950209</c:v>
                </c:pt>
                <c:pt idx="1101">
                  <c:v>240424363</c:v>
                </c:pt>
                <c:pt idx="1102">
                  <c:v>209415666</c:v>
                </c:pt>
                <c:pt idx="1103">
                  <c:v>1675678404</c:v>
                </c:pt>
                <c:pt idx="1104">
                  <c:v>1095608452</c:v>
                </c:pt>
                <c:pt idx="1105">
                  <c:v>362083328</c:v>
                </c:pt>
                <c:pt idx="1106">
                  <c:v>1290467430</c:v>
                </c:pt>
                <c:pt idx="1107">
                  <c:v>134147904</c:v>
                </c:pt>
                <c:pt idx="1108">
                  <c:v>485291785</c:v>
                </c:pt>
                <c:pt idx="1109">
                  <c:v>3068762723</c:v>
                </c:pt>
                <c:pt idx="1110">
                  <c:v>554347768</c:v>
                </c:pt>
                <c:pt idx="1111">
                  <c:v>621036213</c:v>
                </c:pt>
                <c:pt idx="1112">
                  <c:v>652196450</c:v>
                </c:pt>
                <c:pt idx="1113">
                  <c:v>107958830</c:v>
                </c:pt>
                <c:pt idx="1114">
                  <c:v>178398099</c:v>
                </c:pt>
                <c:pt idx="1115">
                  <c:v>1203089158</c:v>
                </c:pt>
                <c:pt idx="1116">
                  <c:v>357816544</c:v>
                </c:pt>
                <c:pt idx="1117">
                  <c:v>1696027885</c:v>
                </c:pt>
                <c:pt idx="1118">
                  <c:v>652067892</c:v>
                </c:pt>
                <c:pt idx="1119">
                  <c:v>287580678</c:v>
                </c:pt>
                <c:pt idx="1120">
                  <c:v>361396854</c:v>
                </c:pt>
                <c:pt idx="1121">
                  <c:v>1131752300</c:v>
                </c:pt>
                <c:pt idx="1122">
                  <c:v>683960332</c:v>
                </c:pt>
                <c:pt idx="1123">
                  <c:v>469755084</c:v>
                </c:pt>
                <c:pt idx="1124">
                  <c:v>547880446</c:v>
                </c:pt>
                <c:pt idx="1125">
                  <c:v>333957162</c:v>
                </c:pt>
                <c:pt idx="1126">
                  <c:v>683528983</c:v>
                </c:pt>
                <c:pt idx="1127">
                  <c:v>2697477075</c:v>
                </c:pt>
                <c:pt idx="1128">
                  <c:v>1027589196</c:v>
                </c:pt>
                <c:pt idx="1129">
                  <c:v>1189954134</c:v>
                </c:pt>
                <c:pt idx="1130">
                  <c:v>2015807562</c:v>
                </c:pt>
                <c:pt idx="1131">
                  <c:v>2147483647</c:v>
                </c:pt>
                <c:pt idx="1132">
                  <c:v>1056384784</c:v>
                </c:pt>
                <c:pt idx="1133">
                  <c:v>2989265107</c:v>
                </c:pt>
                <c:pt idx="1134">
                  <c:v>672665547</c:v>
                </c:pt>
                <c:pt idx="1135">
                  <c:v>489889155</c:v>
                </c:pt>
                <c:pt idx="1136">
                  <c:v>3248535382</c:v>
                </c:pt>
                <c:pt idx="1137">
                  <c:v>241020546</c:v>
                </c:pt>
                <c:pt idx="1138">
                  <c:v>786596580</c:v>
                </c:pt>
                <c:pt idx="1139">
                  <c:v>138579531</c:v>
                </c:pt>
                <c:pt idx="1140">
                  <c:v>619333441</c:v>
                </c:pt>
                <c:pt idx="1141">
                  <c:v>820001706</c:v>
                </c:pt>
                <c:pt idx="1142">
                  <c:v>380089433</c:v>
                </c:pt>
                <c:pt idx="1143">
                  <c:v>187858398</c:v>
                </c:pt>
                <c:pt idx="1144">
                  <c:v>1469109904</c:v>
                </c:pt>
                <c:pt idx="1145">
                  <c:v>688259147</c:v>
                </c:pt>
                <c:pt idx="1146">
                  <c:v>150470082</c:v>
                </c:pt>
                <c:pt idx="1147">
                  <c:v>547889132</c:v>
                </c:pt>
                <c:pt idx="1148">
                  <c:v>188795149</c:v>
                </c:pt>
                <c:pt idx="1149">
                  <c:v>4175308810</c:v>
                </c:pt>
                <c:pt idx="1150">
                  <c:v>1381940350</c:v>
                </c:pt>
                <c:pt idx="1151">
                  <c:v>2147483647</c:v>
                </c:pt>
                <c:pt idx="1152">
                  <c:v>1373790891</c:v>
                </c:pt>
                <c:pt idx="1153">
                  <c:v>160827069</c:v>
                </c:pt>
                <c:pt idx="1154">
                  <c:v>4046525503</c:v>
                </c:pt>
                <c:pt idx="1155">
                  <c:v>726730190</c:v>
                </c:pt>
                <c:pt idx="1156">
                  <c:v>239622611</c:v>
                </c:pt>
                <c:pt idx="1157">
                  <c:v>562890704</c:v>
                </c:pt>
                <c:pt idx="1158">
                  <c:v>95830624</c:v>
                </c:pt>
                <c:pt idx="1159">
                  <c:v>227154924</c:v>
                </c:pt>
                <c:pt idx="1160">
                  <c:v>591211085</c:v>
                </c:pt>
                <c:pt idx="1161">
                  <c:v>664009790</c:v>
                </c:pt>
                <c:pt idx="1162">
                  <c:v>200662236</c:v>
                </c:pt>
                <c:pt idx="1163">
                  <c:v>401405229</c:v>
                </c:pt>
                <c:pt idx="1164">
                  <c:v>244693440</c:v>
                </c:pt>
                <c:pt idx="1165">
                  <c:v>1531488608</c:v>
                </c:pt>
                <c:pt idx="1166">
                  <c:v>483348735</c:v>
                </c:pt>
                <c:pt idx="1167">
                  <c:v>209842588</c:v>
                </c:pt>
                <c:pt idx="1168">
                  <c:v>819626444</c:v>
                </c:pt>
                <c:pt idx="1169">
                  <c:v>314993052</c:v>
                </c:pt>
                <c:pt idx="1170">
                  <c:v>778589220</c:v>
                </c:pt>
                <c:pt idx="1171">
                  <c:v>469063410</c:v>
                </c:pt>
                <c:pt idx="1172">
                  <c:v>1770076992</c:v>
                </c:pt>
                <c:pt idx="1173">
                  <c:v>287647854</c:v>
                </c:pt>
                <c:pt idx="1174">
                  <c:v>138398736</c:v>
                </c:pt>
                <c:pt idx="1175">
                  <c:v>144699096</c:v>
                </c:pt>
                <c:pt idx="1176">
                  <c:v>310840426</c:v>
                </c:pt>
                <c:pt idx="1177">
                  <c:v>50772084</c:v>
                </c:pt>
                <c:pt idx="1178">
                  <c:v>2147483647</c:v>
                </c:pt>
                <c:pt idx="1179">
                  <c:v>1067311674</c:v>
                </c:pt>
                <c:pt idx="1180">
                  <c:v>1010826476</c:v>
                </c:pt>
                <c:pt idx="1181">
                  <c:v>3127906405</c:v>
                </c:pt>
                <c:pt idx="1182">
                  <c:v>622262664</c:v>
                </c:pt>
                <c:pt idx="1183">
                  <c:v>1081134135</c:v>
                </c:pt>
                <c:pt idx="1184">
                  <c:v>1725219576</c:v>
                </c:pt>
                <c:pt idx="1185">
                  <c:v>264416928</c:v>
                </c:pt>
                <c:pt idx="1186">
                  <c:v>1828346114</c:v>
                </c:pt>
                <c:pt idx="1187">
                  <c:v>28333888</c:v>
                </c:pt>
                <c:pt idx="1188">
                  <c:v>969138170</c:v>
                </c:pt>
                <c:pt idx="1189">
                  <c:v>1017923280</c:v>
                </c:pt>
                <c:pt idx="1190">
                  <c:v>330809920</c:v>
                </c:pt>
                <c:pt idx="1191">
                  <c:v>360083372</c:v>
                </c:pt>
                <c:pt idx="1192">
                  <c:v>458010532</c:v>
                </c:pt>
                <c:pt idx="1193">
                  <c:v>925935360</c:v>
                </c:pt>
                <c:pt idx="1194">
                  <c:v>134482135</c:v>
                </c:pt>
                <c:pt idx="1195">
                  <c:v>366252768</c:v>
                </c:pt>
                <c:pt idx="1196">
                  <c:v>369439952</c:v>
                </c:pt>
                <c:pt idx="1197">
                  <c:v>435337448</c:v>
                </c:pt>
                <c:pt idx="1198">
                  <c:v>693062754</c:v>
                </c:pt>
                <c:pt idx="1199">
                  <c:v>2147483647</c:v>
                </c:pt>
                <c:pt idx="1200">
                  <c:v>212430240</c:v>
                </c:pt>
                <c:pt idx="1201">
                  <c:v>229819780</c:v>
                </c:pt>
                <c:pt idx="1202">
                  <c:v>1991000620</c:v>
                </c:pt>
                <c:pt idx="1203">
                  <c:v>2064357014</c:v>
                </c:pt>
                <c:pt idx="1204">
                  <c:v>1039353832</c:v>
                </c:pt>
                <c:pt idx="1205">
                  <c:v>709499826</c:v>
                </c:pt>
                <c:pt idx="1206">
                  <c:v>127780290</c:v>
                </c:pt>
                <c:pt idx="1207">
                  <c:v>1240529260</c:v>
                </c:pt>
                <c:pt idx="1208">
                  <c:v>333526358</c:v>
                </c:pt>
                <c:pt idx="1209">
                  <c:v>305727680</c:v>
                </c:pt>
                <c:pt idx="1210">
                  <c:v>671921158</c:v>
                </c:pt>
                <c:pt idx="1211">
                  <c:v>707361055</c:v>
                </c:pt>
                <c:pt idx="1212">
                  <c:v>402856720</c:v>
                </c:pt>
                <c:pt idx="1213">
                  <c:v>147611673</c:v>
                </c:pt>
                <c:pt idx="1214">
                  <c:v>2896573399</c:v>
                </c:pt>
                <c:pt idx="1215">
                  <c:v>358052910</c:v>
                </c:pt>
                <c:pt idx="1216">
                  <c:v>886616874</c:v>
                </c:pt>
                <c:pt idx="1217">
                  <c:v>320844589</c:v>
                </c:pt>
                <c:pt idx="1218">
                  <c:v>110052900</c:v>
                </c:pt>
                <c:pt idx="1219">
                  <c:v>1757536610</c:v>
                </c:pt>
                <c:pt idx="1220">
                  <c:v>687701168</c:v>
                </c:pt>
                <c:pt idx="1221">
                  <c:v>300457326</c:v>
                </c:pt>
                <c:pt idx="1222">
                  <c:v>772176204</c:v>
                </c:pt>
                <c:pt idx="1223">
                  <c:v>2050643637</c:v>
                </c:pt>
                <c:pt idx="1224">
                  <c:v>1174909008</c:v>
                </c:pt>
                <c:pt idx="1225">
                  <c:v>1547717256</c:v>
                </c:pt>
                <c:pt idx="1226">
                  <c:v>2147483647</c:v>
                </c:pt>
                <c:pt idx="1227">
                  <c:v>910404344</c:v>
                </c:pt>
                <c:pt idx="1228">
                  <c:v>202197438</c:v>
                </c:pt>
                <c:pt idx="1229">
                  <c:v>169378344</c:v>
                </c:pt>
                <c:pt idx="1230">
                  <c:v>202227016</c:v>
                </c:pt>
                <c:pt idx="1231">
                  <c:v>1213585032</c:v>
                </c:pt>
                <c:pt idx="1232">
                  <c:v>121021856</c:v>
                </c:pt>
                <c:pt idx="1233">
                  <c:v>2147483647</c:v>
                </c:pt>
                <c:pt idx="1234">
                  <c:v>540647868</c:v>
                </c:pt>
                <c:pt idx="1235">
                  <c:v>661205776</c:v>
                </c:pt>
                <c:pt idx="1236">
                  <c:v>638310380</c:v>
                </c:pt>
                <c:pt idx="1237">
                  <c:v>1536292926</c:v>
                </c:pt>
                <c:pt idx="1238">
                  <c:v>257051243</c:v>
                </c:pt>
                <c:pt idx="1239">
                  <c:v>1235292410</c:v>
                </c:pt>
                <c:pt idx="1240">
                  <c:v>2147483647</c:v>
                </c:pt>
                <c:pt idx="1241">
                  <c:v>725518752</c:v>
                </c:pt>
                <c:pt idx="1242">
                  <c:v>318669000</c:v>
                </c:pt>
                <c:pt idx="1243">
                  <c:v>697283480</c:v>
                </c:pt>
                <c:pt idx="1244">
                  <c:v>450585129</c:v>
                </c:pt>
                <c:pt idx="1245">
                  <c:v>578109126</c:v>
                </c:pt>
                <c:pt idx="1246">
                  <c:v>438242922</c:v>
                </c:pt>
                <c:pt idx="1247">
                  <c:v>181568160</c:v>
                </c:pt>
                <c:pt idx="1248">
                  <c:v>457322160</c:v>
                </c:pt>
                <c:pt idx="1249">
                  <c:v>878256759</c:v>
                </c:pt>
                <c:pt idx="1250">
                  <c:v>217949688</c:v>
                </c:pt>
                <c:pt idx="1251">
                  <c:v>241397850</c:v>
                </c:pt>
                <c:pt idx="1252">
                  <c:v>319071024</c:v>
                </c:pt>
                <c:pt idx="1253">
                  <c:v>750612220</c:v>
                </c:pt>
                <c:pt idx="1254">
                  <c:v>662551605</c:v>
                </c:pt>
                <c:pt idx="1255">
                  <c:v>561314250</c:v>
                </c:pt>
                <c:pt idx="1256">
                  <c:v>38414646</c:v>
                </c:pt>
                <c:pt idx="1257">
                  <c:v>152240418</c:v>
                </c:pt>
                <c:pt idx="1258">
                  <c:v>2405511632</c:v>
                </c:pt>
                <c:pt idx="1259">
                  <c:v>1138304289</c:v>
                </c:pt>
                <c:pt idx="1260">
                  <c:v>288644964</c:v>
                </c:pt>
                <c:pt idx="1261">
                  <c:v>555414896</c:v>
                </c:pt>
                <c:pt idx="1262">
                  <c:v>284288535</c:v>
                </c:pt>
                <c:pt idx="1263">
                  <c:v>432049626</c:v>
                </c:pt>
                <c:pt idx="1264">
                  <c:v>416450265</c:v>
                </c:pt>
                <c:pt idx="1265">
                  <c:v>598022096</c:v>
                </c:pt>
                <c:pt idx="1266">
                  <c:v>1183192664</c:v>
                </c:pt>
                <c:pt idx="1267">
                  <c:v>1406414432</c:v>
                </c:pt>
                <c:pt idx="1268">
                  <c:v>428315685</c:v>
                </c:pt>
                <c:pt idx="1269">
                  <c:v>308687360</c:v>
                </c:pt>
                <c:pt idx="1270">
                  <c:v>883436160</c:v>
                </c:pt>
                <c:pt idx="1271">
                  <c:v>297273714</c:v>
                </c:pt>
                <c:pt idx="1272">
                  <c:v>794661056</c:v>
                </c:pt>
                <c:pt idx="1273">
                  <c:v>241296570</c:v>
                </c:pt>
                <c:pt idx="1274">
                  <c:v>781301808</c:v>
                </c:pt>
                <c:pt idx="1275">
                  <c:v>1017087360</c:v>
                </c:pt>
                <c:pt idx="1276">
                  <c:v>272134640</c:v>
                </c:pt>
                <c:pt idx="1277">
                  <c:v>2147483647</c:v>
                </c:pt>
                <c:pt idx="1278">
                  <c:v>95398765</c:v>
                </c:pt>
                <c:pt idx="1279">
                  <c:v>686081280</c:v>
                </c:pt>
                <c:pt idx="1280">
                  <c:v>1562246595</c:v>
                </c:pt>
                <c:pt idx="1281">
                  <c:v>429598600</c:v>
                </c:pt>
                <c:pt idx="1282">
                  <c:v>8558313793</c:v>
                </c:pt>
                <c:pt idx="1283">
                  <c:v>182312130</c:v>
                </c:pt>
                <c:pt idx="1284">
                  <c:v>182470162</c:v>
                </c:pt>
                <c:pt idx="1285">
                  <c:v>1608951936</c:v>
                </c:pt>
                <c:pt idx="1286">
                  <c:v>1096924832</c:v>
                </c:pt>
                <c:pt idx="1287">
                  <c:v>1717181378</c:v>
                </c:pt>
                <c:pt idx="1288">
                  <c:v>787938272</c:v>
                </c:pt>
                <c:pt idx="1289">
                  <c:v>310467852</c:v>
                </c:pt>
                <c:pt idx="1290">
                  <c:v>1500843218</c:v>
                </c:pt>
                <c:pt idx="1291">
                  <c:v>781525110</c:v>
                </c:pt>
                <c:pt idx="1292">
                  <c:v>998209860</c:v>
                </c:pt>
                <c:pt idx="1293">
                  <c:v>2068014592</c:v>
                </c:pt>
                <c:pt idx="1294">
                  <c:v>3249683058</c:v>
                </c:pt>
                <c:pt idx="1295">
                  <c:v>78509662</c:v>
                </c:pt>
                <c:pt idx="1296">
                  <c:v>144940536</c:v>
                </c:pt>
                <c:pt idx="1297">
                  <c:v>352488213</c:v>
                </c:pt>
                <c:pt idx="1298">
                  <c:v>214472556</c:v>
                </c:pt>
                <c:pt idx="1299">
                  <c:v>44744680</c:v>
                </c:pt>
                <c:pt idx="1300">
                  <c:v>257184180</c:v>
                </c:pt>
                <c:pt idx="1301">
                  <c:v>2939628510</c:v>
                </c:pt>
                <c:pt idx="1302">
                  <c:v>1718863734</c:v>
                </c:pt>
                <c:pt idx="1303">
                  <c:v>811736704</c:v>
                </c:pt>
                <c:pt idx="1304">
                  <c:v>3494914579</c:v>
                </c:pt>
                <c:pt idx="1305">
                  <c:v>636104700</c:v>
                </c:pt>
                <c:pt idx="1306">
                  <c:v>670286342</c:v>
                </c:pt>
                <c:pt idx="1307">
                  <c:v>549836856</c:v>
                </c:pt>
                <c:pt idx="1308">
                  <c:v>188986508</c:v>
                </c:pt>
                <c:pt idx="1309">
                  <c:v>335575385</c:v>
                </c:pt>
                <c:pt idx="1310">
                  <c:v>2147483647</c:v>
                </c:pt>
                <c:pt idx="1311">
                  <c:v>1235481130</c:v>
                </c:pt>
                <c:pt idx="1312">
                  <c:v>3869372181</c:v>
                </c:pt>
                <c:pt idx="1313">
                  <c:v>223750254</c:v>
                </c:pt>
                <c:pt idx="1314">
                  <c:v>361610462</c:v>
                </c:pt>
                <c:pt idx="1315">
                  <c:v>174860970</c:v>
                </c:pt>
                <c:pt idx="1316">
                  <c:v>139459488</c:v>
                </c:pt>
                <c:pt idx="1317">
                  <c:v>4136347449</c:v>
                </c:pt>
                <c:pt idx="1318">
                  <c:v>428863920</c:v>
                </c:pt>
                <c:pt idx="1319">
                  <c:v>391648368</c:v>
                </c:pt>
                <c:pt idx="1320">
                  <c:v>107895820</c:v>
                </c:pt>
                <c:pt idx="1321">
                  <c:v>382136447</c:v>
                </c:pt>
                <c:pt idx="1322">
                  <c:v>1633637102</c:v>
                </c:pt>
                <c:pt idx="1323">
                  <c:v>304499292</c:v>
                </c:pt>
                <c:pt idx="1324">
                  <c:v>236556519</c:v>
                </c:pt>
                <c:pt idx="1325">
                  <c:v>186351822</c:v>
                </c:pt>
                <c:pt idx="1326">
                  <c:v>386110920</c:v>
                </c:pt>
                <c:pt idx="1327">
                  <c:v>936539712</c:v>
                </c:pt>
                <c:pt idx="1328">
                  <c:v>282443436</c:v>
                </c:pt>
                <c:pt idx="1329">
                  <c:v>471059625</c:v>
                </c:pt>
                <c:pt idx="1330">
                  <c:v>808967772</c:v>
                </c:pt>
                <c:pt idx="1331">
                  <c:v>307707620</c:v>
                </c:pt>
                <c:pt idx="1332">
                  <c:v>420031000</c:v>
                </c:pt>
                <c:pt idx="1333">
                  <c:v>394691045</c:v>
                </c:pt>
                <c:pt idx="1334">
                  <c:v>1018110661</c:v>
                </c:pt>
                <c:pt idx="1335">
                  <c:v>4271494843</c:v>
                </c:pt>
                <c:pt idx="1336">
                  <c:v>887218027</c:v>
                </c:pt>
                <c:pt idx="1337">
                  <c:v>1208787282</c:v>
                </c:pt>
                <c:pt idx="1338">
                  <c:v>827697360</c:v>
                </c:pt>
                <c:pt idx="1339">
                  <c:v>1045031078</c:v>
                </c:pt>
                <c:pt idx="1340">
                  <c:v>1884747264</c:v>
                </c:pt>
                <c:pt idx="1341">
                  <c:v>3359046280</c:v>
                </c:pt>
                <c:pt idx="1342">
                  <c:v>325303986</c:v>
                </c:pt>
                <c:pt idx="1343">
                  <c:v>383624710</c:v>
                </c:pt>
                <c:pt idx="1344">
                  <c:v>121850714</c:v>
                </c:pt>
                <c:pt idx="1345">
                  <c:v>327648285</c:v>
                </c:pt>
                <c:pt idx="1346">
                  <c:v>220674212</c:v>
                </c:pt>
                <c:pt idx="1347">
                  <c:v>816718560</c:v>
                </c:pt>
                <c:pt idx="1348">
                  <c:v>279625554</c:v>
                </c:pt>
                <c:pt idx="1349">
                  <c:v>2325636592</c:v>
                </c:pt>
                <c:pt idx="1350">
                  <c:v>348885852</c:v>
                </c:pt>
                <c:pt idx="1351">
                  <c:v>1092600366</c:v>
                </c:pt>
                <c:pt idx="1352">
                  <c:v>641267880</c:v>
                </c:pt>
                <c:pt idx="1353">
                  <c:v>187238736</c:v>
                </c:pt>
                <c:pt idx="1354">
                  <c:v>414875111</c:v>
                </c:pt>
                <c:pt idx="1355">
                  <c:v>168094764</c:v>
                </c:pt>
                <c:pt idx="1356">
                  <c:v>4982056873</c:v>
                </c:pt>
                <c:pt idx="1357">
                  <c:v>268502040</c:v>
                </c:pt>
                <c:pt idx="1358">
                  <c:v>663729584</c:v>
                </c:pt>
                <c:pt idx="1359">
                  <c:v>91358634</c:v>
                </c:pt>
                <c:pt idx="1360">
                  <c:v>1274011356</c:v>
                </c:pt>
                <c:pt idx="1361">
                  <c:v>528044300</c:v>
                </c:pt>
                <c:pt idx="1362">
                  <c:v>620672148</c:v>
                </c:pt>
                <c:pt idx="1363">
                  <c:v>255369338</c:v>
                </c:pt>
                <c:pt idx="1364">
                  <c:v>259320900</c:v>
                </c:pt>
                <c:pt idx="1365">
                  <c:v>782268223</c:v>
                </c:pt>
                <c:pt idx="1366">
                  <c:v>418731929</c:v>
                </c:pt>
                <c:pt idx="1367">
                  <c:v>73134217</c:v>
                </c:pt>
                <c:pt idx="1368">
                  <c:v>2743249704</c:v>
                </c:pt>
                <c:pt idx="1369">
                  <c:v>605527215</c:v>
                </c:pt>
                <c:pt idx="1370">
                  <c:v>206063091</c:v>
                </c:pt>
                <c:pt idx="1371">
                  <c:v>1234430040</c:v>
                </c:pt>
                <c:pt idx="1372">
                  <c:v>75928842</c:v>
                </c:pt>
                <c:pt idx="1373">
                  <c:v>209466673</c:v>
                </c:pt>
                <c:pt idx="1374">
                  <c:v>1451597952</c:v>
                </c:pt>
                <c:pt idx="1375">
                  <c:v>85285660</c:v>
                </c:pt>
                <c:pt idx="1376">
                  <c:v>1093262924</c:v>
                </c:pt>
                <c:pt idx="1377">
                  <c:v>393199290</c:v>
                </c:pt>
                <c:pt idx="1378">
                  <c:v>565906679</c:v>
                </c:pt>
                <c:pt idx="1379">
                  <c:v>945816208</c:v>
                </c:pt>
                <c:pt idx="1380">
                  <c:v>683008864</c:v>
                </c:pt>
                <c:pt idx="1381">
                  <c:v>183843590</c:v>
                </c:pt>
                <c:pt idx="1382">
                  <c:v>702437940</c:v>
                </c:pt>
                <c:pt idx="1383">
                  <c:v>2393657025</c:v>
                </c:pt>
                <c:pt idx="1384">
                  <c:v>1202775537</c:v>
                </c:pt>
                <c:pt idx="1385">
                  <c:v>271071132</c:v>
                </c:pt>
                <c:pt idx="1386">
                  <c:v>764861658</c:v>
                </c:pt>
                <c:pt idx="1387">
                  <c:v>1168049410</c:v>
                </c:pt>
                <c:pt idx="1388">
                  <c:v>1086154876</c:v>
                </c:pt>
                <c:pt idx="1389">
                  <c:v>3330367731</c:v>
                </c:pt>
                <c:pt idx="1390">
                  <c:v>1437430676</c:v>
                </c:pt>
                <c:pt idx="1391">
                  <c:v>88874717</c:v>
                </c:pt>
                <c:pt idx="1392">
                  <c:v>267089750</c:v>
                </c:pt>
                <c:pt idx="1393">
                  <c:v>2072727800</c:v>
                </c:pt>
                <c:pt idx="1394">
                  <c:v>2147483647</c:v>
                </c:pt>
                <c:pt idx="1395">
                  <c:v>400878478</c:v>
                </c:pt>
                <c:pt idx="1396">
                  <c:v>659736816</c:v>
                </c:pt>
                <c:pt idx="1397">
                  <c:v>256752306</c:v>
                </c:pt>
                <c:pt idx="1398">
                  <c:v>2147483647</c:v>
                </c:pt>
                <c:pt idx="1399">
                  <c:v>504683136</c:v>
                </c:pt>
                <c:pt idx="1400">
                  <c:v>319454226</c:v>
                </c:pt>
                <c:pt idx="1401">
                  <c:v>1416533520</c:v>
                </c:pt>
                <c:pt idx="1402">
                  <c:v>1242111760</c:v>
                </c:pt>
                <c:pt idx="1403">
                  <c:v>106330224</c:v>
                </c:pt>
                <c:pt idx="1404">
                  <c:v>303935786</c:v>
                </c:pt>
                <c:pt idx="1405">
                  <c:v>1135239624</c:v>
                </c:pt>
                <c:pt idx="1406">
                  <c:v>875442988</c:v>
                </c:pt>
                <c:pt idx="1407">
                  <c:v>198072302</c:v>
                </c:pt>
                <c:pt idx="1408">
                  <c:v>1035571354</c:v>
                </c:pt>
                <c:pt idx="1409">
                  <c:v>223939392</c:v>
                </c:pt>
                <c:pt idx="1410">
                  <c:v>917641527</c:v>
                </c:pt>
                <c:pt idx="1411">
                  <c:v>204018165</c:v>
                </c:pt>
                <c:pt idx="1412">
                  <c:v>57169980</c:v>
                </c:pt>
                <c:pt idx="1413">
                  <c:v>230952640</c:v>
                </c:pt>
                <c:pt idx="1414">
                  <c:v>601804350</c:v>
                </c:pt>
                <c:pt idx="1415">
                  <c:v>667480275</c:v>
                </c:pt>
                <c:pt idx="1416">
                  <c:v>2448684576</c:v>
                </c:pt>
                <c:pt idx="1417">
                  <c:v>382851886</c:v>
                </c:pt>
                <c:pt idx="1418">
                  <c:v>815872288</c:v>
                </c:pt>
                <c:pt idx="1419">
                  <c:v>361299939</c:v>
                </c:pt>
                <c:pt idx="1420">
                  <c:v>206036748</c:v>
                </c:pt>
                <c:pt idx="1421">
                  <c:v>683514108</c:v>
                </c:pt>
                <c:pt idx="1422">
                  <c:v>194044650</c:v>
                </c:pt>
                <c:pt idx="1423">
                  <c:v>294730895</c:v>
                </c:pt>
                <c:pt idx="1424">
                  <c:v>143626326</c:v>
                </c:pt>
                <c:pt idx="1425">
                  <c:v>295326855</c:v>
                </c:pt>
                <c:pt idx="1426">
                  <c:v>109852600</c:v>
                </c:pt>
                <c:pt idx="1427">
                  <c:v>368879898</c:v>
                </c:pt>
                <c:pt idx="1428">
                  <c:v>686585198</c:v>
                </c:pt>
                <c:pt idx="1429">
                  <c:v>1042370475</c:v>
                </c:pt>
                <c:pt idx="1430">
                  <c:v>1003213719</c:v>
                </c:pt>
                <c:pt idx="1431">
                  <c:v>168132910</c:v>
                </c:pt>
                <c:pt idx="1432">
                  <c:v>450084845</c:v>
                </c:pt>
                <c:pt idx="1433">
                  <c:v>684373599</c:v>
                </c:pt>
                <c:pt idx="1434">
                  <c:v>315164802</c:v>
                </c:pt>
                <c:pt idx="1435">
                  <c:v>143622759</c:v>
                </c:pt>
                <c:pt idx="1436">
                  <c:v>145567208</c:v>
                </c:pt>
                <c:pt idx="1437">
                  <c:v>1857793070</c:v>
                </c:pt>
                <c:pt idx="1438">
                  <c:v>118048493</c:v>
                </c:pt>
                <c:pt idx="1439">
                  <c:v>923324070</c:v>
                </c:pt>
                <c:pt idx="1440">
                  <c:v>162698121</c:v>
                </c:pt>
                <c:pt idx="1441">
                  <c:v>220748332</c:v>
                </c:pt>
                <c:pt idx="1442">
                  <c:v>187249568</c:v>
                </c:pt>
                <c:pt idx="1443">
                  <c:v>1862289914</c:v>
                </c:pt>
                <c:pt idx="1444">
                  <c:v>778563990</c:v>
                </c:pt>
                <c:pt idx="1445">
                  <c:v>1753480624</c:v>
                </c:pt>
                <c:pt idx="1446">
                  <c:v>441920520</c:v>
                </c:pt>
                <c:pt idx="1447">
                  <c:v>1924062930</c:v>
                </c:pt>
                <c:pt idx="1448">
                  <c:v>86680666</c:v>
                </c:pt>
                <c:pt idx="1449">
                  <c:v>1680221270</c:v>
                </c:pt>
                <c:pt idx="1450">
                  <c:v>770090386</c:v>
                </c:pt>
                <c:pt idx="1451">
                  <c:v>64917472</c:v>
                </c:pt>
                <c:pt idx="1452">
                  <c:v>288788396</c:v>
                </c:pt>
                <c:pt idx="1453">
                  <c:v>205506522</c:v>
                </c:pt>
                <c:pt idx="1454">
                  <c:v>250571984</c:v>
                </c:pt>
                <c:pt idx="1455">
                  <c:v>338790910</c:v>
                </c:pt>
                <c:pt idx="1456">
                  <c:v>169813632</c:v>
                </c:pt>
                <c:pt idx="1457">
                  <c:v>84990924</c:v>
                </c:pt>
                <c:pt idx="1458">
                  <c:v>32028305</c:v>
                </c:pt>
                <c:pt idx="1459">
                  <c:v>529432890</c:v>
                </c:pt>
                <c:pt idx="1460">
                  <c:v>424691596</c:v>
                </c:pt>
                <c:pt idx="1461">
                  <c:v>719780600</c:v>
                </c:pt>
                <c:pt idx="1462">
                  <c:v>1004232036</c:v>
                </c:pt>
                <c:pt idx="1463">
                  <c:v>234102456</c:v>
                </c:pt>
                <c:pt idx="1464">
                  <c:v>1125571632</c:v>
                </c:pt>
                <c:pt idx="1465">
                  <c:v>125342640</c:v>
                </c:pt>
                <c:pt idx="1466">
                  <c:v>1030670997</c:v>
                </c:pt>
                <c:pt idx="1467">
                  <c:v>81117234</c:v>
                </c:pt>
                <c:pt idx="1468">
                  <c:v>244574070</c:v>
                </c:pt>
                <c:pt idx="1469">
                  <c:v>211537368</c:v>
                </c:pt>
                <c:pt idx="1470">
                  <c:v>798660525</c:v>
                </c:pt>
                <c:pt idx="1471">
                  <c:v>409039575</c:v>
                </c:pt>
                <c:pt idx="1472">
                  <c:v>636451816</c:v>
                </c:pt>
                <c:pt idx="1473">
                  <c:v>686747216</c:v>
                </c:pt>
                <c:pt idx="1474">
                  <c:v>286661034</c:v>
                </c:pt>
                <c:pt idx="1475">
                  <c:v>123067870</c:v>
                </c:pt>
                <c:pt idx="1476">
                  <c:v>339160040</c:v>
                </c:pt>
                <c:pt idx="1477">
                  <c:v>11879979190</c:v>
                </c:pt>
                <c:pt idx="1478">
                  <c:v>180235510</c:v>
                </c:pt>
                <c:pt idx="1479">
                  <c:v>1046526499</c:v>
                </c:pt>
                <c:pt idx="1480">
                  <c:v>240540828</c:v>
                </c:pt>
                <c:pt idx="1481">
                  <c:v>667504836</c:v>
                </c:pt>
                <c:pt idx="1482">
                  <c:v>271115304</c:v>
                </c:pt>
                <c:pt idx="1483">
                  <c:v>192917999</c:v>
                </c:pt>
                <c:pt idx="1484">
                  <c:v>48022500</c:v>
                </c:pt>
                <c:pt idx="1485">
                  <c:v>581624414</c:v>
                </c:pt>
                <c:pt idx="1486">
                  <c:v>389452735</c:v>
                </c:pt>
                <c:pt idx="1487">
                  <c:v>199189064</c:v>
                </c:pt>
                <c:pt idx="1488">
                  <c:v>170131506</c:v>
                </c:pt>
                <c:pt idx="1489">
                  <c:v>422842779</c:v>
                </c:pt>
                <c:pt idx="1490">
                  <c:v>546850005</c:v>
                </c:pt>
                <c:pt idx="1491">
                  <c:v>161473180</c:v>
                </c:pt>
                <c:pt idx="1492">
                  <c:v>205507023</c:v>
                </c:pt>
                <c:pt idx="1493">
                  <c:v>523114196</c:v>
                </c:pt>
                <c:pt idx="1494">
                  <c:v>220007524</c:v>
                </c:pt>
                <c:pt idx="1495">
                  <c:v>727535016</c:v>
                </c:pt>
                <c:pt idx="1496">
                  <c:v>152040554</c:v>
                </c:pt>
                <c:pt idx="1497">
                  <c:v>729982050</c:v>
                </c:pt>
                <c:pt idx="1498">
                  <c:v>1260337148</c:v>
                </c:pt>
                <c:pt idx="1499">
                  <c:v>1586507540</c:v>
                </c:pt>
                <c:pt idx="1500">
                  <c:v>169936800</c:v>
                </c:pt>
                <c:pt idx="1501">
                  <c:v>250746111</c:v>
                </c:pt>
                <c:pt idx="1502">
                  <c:v>2689303891</c:v>
                </c:pt>
                <c:pt idx="1503">
                  <c:v>179433920</c:v>
                </c:pt>
                <c:pt idx="1504">
                  <c:v>216829860</c:v>
                </c:pt>
                <c:pt idx="1505">
                  <c:v>1849149328</c:v>
                </c:pt>
                <c:pt idx="1506">
                  <c:v>129305386</c:v>
                </c:pt>
                <c:pt idx="1507">
                  <c:v>551036703</c:v>
                </c:pt>
                <c:pt idx="1508">
                  <c:v>611729910</c:v>
                </c:pt>
                <c:pt idx="1509">
                  <c:v>146371148</c:v>
                </c:pt>
                <c:pt idx="1510">
                  <c:v>230282285</c:v>
                </c:pt>
                <c:pt idx="1511">
                  <c:v>311358130</c:v>
                </c:pt>
                <c:pt idx="1512">
                  <c:v>1792975452</c:v>
                </c:pt>
                <c:pt idx="1513">
                  <c:v>98459388</c:v>
                </c:pt>
                <c:pt idx="1514">
                  <c:v>584997114</c:v>
                </c:pt>
                <c:pt idx="1515">
                  <c:v>1917750628</c:v>
                </c:pt>
                <c:pt idx="1516">
                  <c:v>189697597</c:v>
                </c:pt>
                <c:pt idx="1517">
                  <c:v>254466744</c:v>
                </c:pt>
                <c:pt idx="1518">
                  <c:v>376058716</c:v>
                </c:pt>
                <c:pt idx="1519">
                  <c:v>208006344</c:v>
                </c:pt>
                <c:pt idx="1520">
                  <c:v>29662325</c:v>
                </c:pt>
                <c:pt idx="1521">
                  <c:v>60452570</c:v>
                </c:pt>
                <c:pt idx="1522">
                  <c:v>388941876</c:v>
                </c:pt>
                <c:pt idx="1523">
                  <c:v>992866220</c:v>
                </c:pt>
                <c:pt idx="1524">
                  <c:v>1110055912</c:v>
                </c:pt>
                <c:pt idx="1525">
                  <c:v>262250400</c:v>
                </c:pt>
                <c:pt idx="1526">
                  <c:v>173494200</c:v>
                </c:pt>
                <c:pt idx="1527">
                  <c:v>14335290</c:v>
                </c:pt>
                <c:pt idx="1528">
                  <c:v>50932614</c:v>
                </c:pt>
                <c:pt idx="1529">
                  <c:v>255929270</c:v>
                </c:pt>
                <c:pt idx="1530">
                  <c:v>306631314</c:v>
                </c:pt>
                <c:pt idx="1531">
                  <c:v>144872546</c:v>
                </c:pt>
                <c:pt idx="1532">
                  <c:v>595988241</c:v>
                </c:pt>
                <c:pt idx="1533">
                  <c:v>196932820</c:v>
                </c:pt>
                <c:pt idx="1534">
                  <c:v>129310976</c:v>
                </c:pt>
                <c:pt idx="1535">
                  <c:v>818658126</c:v>
                </c:pt>
                <c:pt idx="1536">
                  <c:v>96554544</c:v>
                </c:pt>
                <c:pt idx="1537">
                  <c:v>478615147</c:v>
                </c:pt>
                <c:pt idx="1538">
                  <c:v>200649900</c:v>
                </c:pt>
                <c:pt idx="1539">
                  <c:v>178706816</c:v>
                </c:pt>
                <c:pt idx="1540">
                  <c:v>56977440</c:v>
                </c:pt>
                <c:pt idx="1541">
                  <c:v>331298720</c:v>
                </c:pt>
                <c:pt idx="1542">
                  <c:v>173141136</c:v>
                </c:pt>
                <c:pt idx="1543">
                  <c:v>1187708340</c:v>
                </c:pt>
                <c:pt idx="1544">
                  <c:v>643669242</c:v>
                </c:pt>
                <c:pt idx="1545">
                  <c:v>1208998818</c:v>
                </c:pt>
                <c:pt idx="1546">
                  <c:v>370671771</c:v>
                </c:pt>
                <c:pt idx="1547">
                  <c:v>85445204</c:v>
                </c:pt>
                <c:pt idx="1548">
                  <c:v>487909983</c:v>
                </c:pt>
                <c:pt idx="1549">
                  <c:v>349440048</c:v>
                </c:pt>
                <c:pt idx="1550">
                  <c:v>12272982296</c:v>
                </c:pt>
                <c:pt idx="1551">
                  <c:v>347496990</c:v>
                </c:pt>
                <c:pt idx="1552">
                  <c:v>2189026729</c:v>
                </c:pt>
                <c:pt idx="1553">
                  <c:v>71766240</c:v>
                </c:pt>
                <c:pt idx="1554">
                  <c:v>631751624</c:v>
                </c:pt>
                <c:pt idx="1555">
                  <c:v>630114030</c:v>
                </c:pt>
                <c:pt idx="1556">
                  <c:v>98777644</c:v>
                </c:pt>
                <c:pt idx="1557">
                  <c:v>593269295</c:v>
                </c:pt>
                <c:pt idx="1558">
                  <c:v>530504315</c:v>
                </c:pt>
                <c:pt idx="1559">
                  <c:v>166097525</c:v>
                </c:pt>
                <c:pt idx="1560">
                  <c:v>134050917</c:v>
                </c:pt>
                <c:pt idx="1561">
                  <c:v>2363775047</c:v>
                </c:pt>
                <c:pt idx="1562">
                  <c:v>393973023</c:v>
                </c:pt>
                <c:pt idx="1563">
                  <c:v>267289610</c:v>
                </c:pt>
                <c:pt idx="1564">
                  <c:v>1668359594</c:v>
                </c:pt>
                <c:pt idx="1565">
                  <c:v>181976440</c:v>
                </c:pt>
                <c:pt idx="1566">
                  <c:v>761050207</c:v>
                </c:pt>
                <c:pt idx="1567">
                  <c:v>510443232</c:v>
                </c:pt>
                <c:pt idx="1568">
                  <c:v>199983480</c:v>
                </c:pt>
                <c:pt idx="1569">
                  <c:v>407705620</c:v>
                </c:pt>
                <c:pt idx="1570">
                  <c:v>232677778</c:v>
                </c:pt>
                <c:pt idx="1571">
                  <c:v>275885811</c:v>
                </c:pt>
                <c:pt idx="1572">
                  <c:v>484004052</c:v>
                </c:pt>
                <c:pt idx="1573">
                  <c:v>105277863</c:v>
                </c:pt>
                <c:pt idx="1574">
                  <c:v>50469272</c:v>
                </c:pt>
                <c:pt idx="1575">
                  <c:v>1637536678</c:v>
                </c:pt>
                <c:pt idx="1576">
                  <c:v>83301504</c:v>
                </c:pt>
                <c:pt idx="1577">
                  <c:v>17325216</c:v>
                </c:pt>
                <c:pt idx="1578">
                  <c:v>238255962</c:v>
                </c:pt>
                <c:pt idx="1579">
                  <c:v>80437408</c:v>
                </c:pt>
                <c:pt idx="1580">
                  <c:v>1564755000</c:v>
                </c:pt>
                <c:pt idx="1581">
                  <c:v>1267232008</c:v>
                </c:pt>
                <c:pt idx="1582">
                  <c:v>1312951068</c:v>
                </c:pt>
                <c:pt idx="1583">
                  <c:v>543654394</c:v>
                </c:pt>
                <c:pt idx="1584">
                  <c:v>114211650</c:v>
                </c:pt>
                <c:pt idx="1585">
                  <c:v>2454545646</c:v>
                </c:pt>
                <c:pt idx="1586">
                  <c:v>287524472</c:v>
                </c:pt>
                <c:pt idx="1587">
                  <c:v>180554796</c:v>
                </c:pt>
                <c:pt idx="1588">
                  <c:v>432140292</c:v>
                </c:pt>
                <c:pt idx="1589">
                  <c:v>140789934</c:v>
                </c:pt>
                <c:pt idx="1590">
                  <c:v>2167982453</c:v>
                </c:pt>
                <c:pt idx="1591">
                  <c:v>146201700</c:v>
                </c:pt>
                <c:pt idx="1592">
                  <c:v>1039139640</c:v>
                </c:pt>
                <c:pt idx="1593">
                  <c:v>5570575547</c:v>
                </c:pt>
                <c:pt idx="1594">
                  <c:v>3514164206</c:v>
                </c:pt>
                <c:pt idx="1595">
                  <c:v>541212270</c:v>
                </c:pt>
                <c:pt idx="1596">
                  <c:v>87046632</c:v>
                </c:pt>
                <c:pt idx="1597">
                  <c:v>74195487</c:v>
                </c:pt>
                <c:pt idx="1598">
                  <c:v>2150999990</c:v>
                </c:pt>
                <c:pt idx="1599">
                  <c:v>154046265</c:v>
                </c:pt>
                <c:pt idx="1600">
                  <c:v>92510280</c:v>
                </c:pt>
                <c:pt idx="1601">
                  <c:v>178475409</c:v>
                </c:pt>
                <c:pt idx="1602">
                  <c:v>243531288</c:v>
                </c:pt>
                <c:pt idx="1603">
                  <c:v>1378212114</c:v>
                </c:pt>
                <c:pt idx="1604">
                  <c:v>3525018</c:v>
                </c:pt>
                <c:pt idx="1605">
                  <c:v>145312635</c:v>
                </c:pt>
                <c:pt idx="1606">
                  <c:v>5430996256</c:v>
                </c:pt>
                <c:pt idx="1607">
                  <c:v>341560626</c:v>
                </c:pt>
                <c:pt idx="1608">
                  <c:v>1669528378</c:v>
                </c:pt>
                <c:pt idx="1609">
                  <c:v>476577760</c:v>
                </c:pt>
                <c:pt idx="1610">
                  <c:v>555392695</c:v>
                </c:pt>
                <c:pt idx="1611">
                  <c:v>854005724</c:v>
                </c:pt>
                <c:pt idx="1612">
                  <c:v>12401438216</c:v>
                </c:pt>
                <c:pt idx="1613">
                  <c:v>163293542</c:v>
                </c:pt>
                <c:pt idx="1614">
                  <c:v>144569266</c:v>
                </c:pt>
                <c:pt idx="1615">
                  <c:v>174490416</c:v>
                </c:pt>
                <c:pt idx="1616">
                  <c:v>27054234</c:v>
                </c:pt>
                <c:pt idx="1617">
                  <c:v>397399212</c:v>
                </c:pt>
                <c:pt idx="1618">
                  <c:v>1015885255</c:v>
                </c:pt>
                <c:pt idx="1619">
                  <c:v>425911084</c:v>
                </c:pt>
                <c:pt idx="1620">
                  <c:v>916016929</c:v>
                </c:pt>
                <c:pt idx="1621">
                  <c:v>454724160</c:v>
                </c:pt>
                <c:pt idx="1622">
                  <c:v>90691050</c:v>
                </c:pt>
                <c:pt idx="1623">
                  <c:v>1922739790</c:v>
                </c:pt>
                <c:pt idx="1624">
                  <c:v>405674080</c:v>
                </c:pt>
                <c:pt idx="1625">
                  <c:v>407848400</c:v>
                </c:pt>
                <c:pt idx="1626">
                  <c:v>236306538</c:v>
                </c:pt>
                <c:pt idx="1627">
                  <c:v>38492784</c:v>
                </c:pt>
                <c:pt idx="1628">
                  <c:v>759917424</c:v>
                </c:pt>
                <c:pt idx="1629">
                  <c:v>327922280</c:v>
                </c:pt>
                <c:pt idx="1630">
                  <c:v>485583553</c:v>
                </c:pt>
                <c:pt idx="1631">
                  <c:v>195432200</c:v>
                </c:pt>
                <c:pt idx="1632">
                  <c:v>274639404</c:v>
                </c:pt>
                <c:pt idx="1633">
                  <c:v>4246245182</c:v>
                </c:pt>
                <c:pt idx="1634">
                  <c:v>2912766612</c:v>
                </c:pt>
                <c:pt idx="1635">
                  <c:v>118862926</c:v>
                </c:pt>
                <c:pt idx="1636">
                  <c:v>91799670</c:v>
                </c:pt>
                <c:pt idx="1637">
                  <c:v>750095843</c:v>
                </c:pt>
                <c:pt idx="1638">
                  <c:v>146968956</c:v>
                </c:pt>
                <c:pt idx="1639">
                  <c:v>1446408838</c:v>
                </c:pt>
                <c:pt idx="1640">
                  <c:v>384762510</c:v>
                </c:pt>
                <c:pt idx="1641">
                  <c:v>1063743746</c:v>
                </c:pt>
                <c:pt idx="1642">
                  <c:v>238401279</c:v>
                </c:pt>
                <c:pt idx="1643">
                  <c:v>665146740</c:v>
                </c:pt>
                <c:pt idx="1644">
                  <c:v>219624150</c:v>
                </c:pt>
                <c:pt idx="1645">
                  <c:v>277600080</c:v>
                </c:pt>
                <c:pt idx="1646">
                  <c:v>937390164</c:v>
                </c:pt>
                <c:pt idx="1647">
                  <c:v>1041289830</c:v>
                </c:pt>
                <c:pt idx="1648">
                  <c:v>248487327</c:v>
                </c:pt>
                <c:pt idx="1649">
                  <c:v>49848682</c:v>
                </c:pt>
                <c:pt idx="1650">
                  <c:v>816578826</c:v>
                </c:pt>
                <c:pt idx="1651">
                  <c:v>786538456</c:v>
                </c:pt>
                <c:pt idx="1652">
                  <c:v>1401967640</c:v>
                </c:pt>
                <c:pt idx="1653">
                  <c:v>429821616</c:v>
                </c:pt>
                <c:pt idx="1654">
                  <c:v>311104916</c:v>
                </c:pt>
                <c:pt idx="1655">
                  <c:v>93117640</c:v>
                </c:pt>
                <c:pt idx="1656">
                  <c:v>806040783</c:v>
                </c:pt>
                <c:pt idx="1657">
                  <c:v>92677160</c:v>
                </c:pt>
                <c:pt idx="1658">
                  <c:v>70557300</c:v>
                </c:pt>
                <c:pt idx="1659">
                  <c:v>268847334</c:v>
                </c:pt>
                <c:pt idx="1660">
                  <c:v>184541245</c:v>
                </c:pt>
                <c:pt idx="1661">
                  <c:v>827775952</c:v>
                </c:pt>
                <c:pt idx="1662">
                  <c:v>145093104</c:v>
                </c:pt>
                <c:pt idx="1663">
                  <c:v>295366400</c:v>
                </c:pt>
                <c:pt idx="1664">
                  <c:v>56638880</c:v>
                </c:pt>
                <c:pt idx="1665">
                  <c:v>21292935</c:v>
                </c:pt>
                <c:pt idx="1666">
                  <c:v>261597217</c:v>
                </c:pt>
                <c:pt idx="1667">
                  <c:v>129036800</c:v>
                </c:pt>
                <c:pt idx="1668">
                  <c:v>71075776</c:v>
                </c:pt>
                <c:pt idx="1669">
                  <c:v>50160000</c:v>
                </c:pt>
                <c:pt idx="1670">
                  <c:v>64235850</c:v>
                </c:pt>
                <c:pt idx="1671">
                  <c:v>134757610</c:v>
                </c:pt>
                <c:pt idx="1672">
                  <c:v>70357504</c:v>
                </c:pt>
                <c:pt idx="1673">
                  <c:v>125139795</c:v>
                </c:pt>
                <c:pt idx="1674">
                  <c:v>87678150</c:v>
                </c:pt>
                <c:pt idx="1675">
                  <c:v>105913598</c:v>
                </c:pt>
                <c:pt idx="1676">
                  <c:v>279170240</c:v>
                </c:pt>
                <c:pt idx="1677">
                  <c:v>491783684</c:v>
                </c:pt>
                <c:pt idx="1678">
                  <c:v>882801300</c:v>
                </c:pt>
                <c:pt idx="1679">
                  <c:v>283918590</c:v>
                </c:pt>
                <c:pt idx="1680">
                  <c:v>390725978</c:v>
                </c:pt>
                <c:pt idx="1681">
                  <c:v>409083920</c:v>
                </c:pt>
                <c:pt idx="1682">
                  <c:v>699044816</c:v>
                </c:pt>
                <c:pt idx="1683">
                  <c:v>343990648</c:v>
                </c:pt>
                <c:pt idx="1684">
                  <c:v>418783447</c:v>
                </c:pt>
                <c:pt idx="1685">
                  <c:v>234621036</c:v>
                </c:pt>
                <c:pt idx="1686">
                  <c:v>170676698</c:v>
                </c:pt>
                <c:pt idx="1687">
                  <c:v>270527040</c:v>
                </c:pt>
                <c:pt idx="1688">
                  <c:v>145031872</c:v>
                </c:pt>
                <c:pt idx="1689">
                  <c:v>533180074</c:v>
                </c:pt>
                <c:pt idx="1690">
                  <c:v>351885930</c:v>
                </c:pt>
                <c:pt idx="1691">
                  <c:v>362891988</c:v>
                </c:pt>
                <c:pt idx="1692">
                  <c:v>214311240</c:v>
                </c:pt>
                <c:pt idx="1693">
                  <c:v>1005675408</c:v>
                </c:pt>
                <c:pt idx="1694">
                  <c:v>132405300</c:v>
                </c:pt>
                <c:pt idx="1695">
                  <c:v>145608344</c:v>
                </c:pt>
                <c:pt idx="1696">
                  <c:v>100565500</c:v>
                </c:pt>
                <c:pt idx="1697">
                  <c:v>64087199</c:v>
                </c:pt>
                <c:pt idx="1698">
                  <c:v>147477108</c:v>
                </c:pt>
                <c:pt idx="1699">
                  <c:v>43005436</c:v>
                </c:pt>
                <c:pt idx="1700">
                  <c:v>89779644</c:v>
                </c:pt>
                <c:pt idx="1701">
                  <c:v>165669590</c:v>
                </c:pt>
                <c:pt idx="1702">
                  <c:v>187458944</c:v>
                </c:pt>
                <c:pt idx="1703">
                  <c:v>379077539</c:v>
                </c:pt>
                <c:pt idx="1704">
                  <c:v>284961600</c:v>
                </c:pt>
                <c:pt idx="1705">
                  <c:v>173837600</c:v>
                </c:pt>
                <c:pt idx="1706">
                  <c:v>52844377</c:v>
                </c:pt>
                <c:pt idx="1707">
                  <c:v>85051764</c:v>
                </c:pt>
                <c:pt idx="1708">
                  <c:v>213160832</c:v>
                </c:pt>
                <c:pt idx="1709">
                  <c:v>2765847149</c:v>
                </c:pt>
                <c:pt idx="1710">
                  <c:v>250367796</c:v>
                </c:pt>
                <c:pt idx="1711">
                  <c:v>226678668</c:v>
                </c:pt>
                <c:pt idx="1712">
                  <c:v>94198384</c:v>
                </c:pt>
                <c:pt idx="1713">
                  <c:v>206201814</c:v>
                </c:pt>
                <c:pt idx="1714">
                  <c:v>148610576</c:v>
                </c:pt>
                <c:pt idx="1715">
                  <c:v>236543482</c:v>
                </c:pt>
                <c:pt idx="1716">
                  <c:v>816777423</c:v>
                </c:pt>
                <c:pt idx="1717">
                  <c:v>520667761</c:v>
                </c:pt>
                <c:pt idx="1718">
                  <c:v>1226605743</c:v>
                </c:pt>
                <c:pt idx="1719">
                  <c:v>80306226</c:v>
                </c:pt>
                <c:pt idx="1720">
                  <c:v>281767112</c:v>
                </c:pt>
                <c:pt idx="1721">
                  <c:v>321000372</c:v>
                </c:pt>
                <c:pt idx="1722">
                  <c:v>171649575</c:v>
                </c:pt>
                <c:pt idx="1723">
                  <c:v>127186013</c:v>
                </c:pt>
                <c:pt idx="1724">
                  <c:v>1101928660</c:v>
                </c:pt>
                <c:pt idx="1725">
                  <c:v>174236832</c:v>
                </c:pt>
                <c:pt idx="1726">
                  <c:v>251284160</c:v>
                </c:pt>
                <c:pt idx="1727">
                  <c:v>77780220</c:v>
                </c:pt>
                <c:pt idx="1728">
                  <c:v>349258640</c:v>
                </c:pt>
                <c:pt idx="1729">
                  <c:v>38625648</c:v>
                </c:pt>
                <c:pt idx="1730">
                  <c:v>175770595</c:v>
                </c:pt>
                <c:pt idx="1731">
                  <c:v>718714328</c:v>
                </c:pt>
                <c:pt idx="1732">
                  <c:v>460976000</c:v>
                </c:pt>
                <c:pt idx="1733">
                  <c:v>714075048</c:v>
                </c:pt>
                <c:pt idx="1734">
                  <c:v>94582908</c:v>
                </c:pt>
                <c:pt idx="1735">
                  <c:v>738456432</c:v>
                </c:pt>
                <c:pt idx="1736">
                  <c:v>198354164</c:v>
                </c:pt>
                <c:pt idx="1737">
                  <c:v>153308690</c:v>
                </c:pt>
                <c:pt idx="1738">
                  <c:v>110028676</c:v>
                </c:pt>
                <c:pt idx="1739">
                  <c:v>478835936</c:v>
                </c:pt>
                <c:pt idx="1740">
                  <c:v>756792113</c:v>
                </c:pt>
                <c:pt idx="1741">
                  <c:v>1527102372</c:v>
                </c:pt>
                <c:pt idx="1742">
                  <c:v>411257700</c:v>
                </c:pt>
                <c:pt idx="1743">
                  <c:v>267500688</c:v>
                </c:pt>
                <c:pt idx="1744">
                  <c:v>640547493</c:v>
                </c:pt>
                <c:pt idx="1745">
                  <c:v>699109164</c:v>
                </c:pt>
                <c:pt idx="1746">
                  <c:v>827259246</c:v>
                </c:pt>
                <c:pt idx="1747">
                  <c:v>1040297210</c:v>
                </c:pt>
                <c:pt idx="1748">
                  <c:v>2147483647</c:v>
                </c:pt>
                <c:pt idx="1749">
                  <c:v>3143948799</c:v>
                </c:pt>
                <c:pt idx="1750">
                  <c:v>1103331888</c:v>
                </c:pt>
                <c:pt idx="1751">
                  <c:v>190713635</c:v>
                </c:pt>
                <c:pt idx="1752">
                  <c:v>406695350</c:v>
                </c:pt>
                <c:pt idx="1753">
                  <c:v>1809380412</c:v>
                </c:pt>
                <c:pt idx="1754">
                  <c:v>727417152</c:v>
                </c:pt>
                <c:pt idx="1755">
                  <c:v>592295080</c:v>
                </c:pt>
                <c:pt idx="1756">
                  <c:v>191324832</c:v>
                </c:pt>
                <c:pt idx="1757">
                  <c:v>413444160</c:v>
                </c:pt>
                <c:pt idx="1758">
                  <c:v>147448294</c:v>
                </c:pt>
                <c:pt idx="1759">
                  <c:v>186903735</c:v>
                </c:pt>
                <c:pt idx="1760">
                  <c:v>1058705080</c:v>
                </c:pt>
                <c:pt idx="1761">
                  <c:v>671425658</c:v>
                </c:pt>
                <c:pt idx="1762">
                  <c:v>753975000</c:v>
                </c:pt>
                <c:pt idx="1763">
                  <c:v>2147483647</c:v>
                </c:pt>
                <c:pt idx="1764">
                  <c:v>180404088</c:v>
                </c:pt>
                <c:pt idx="1765">
                  <c:v>94070919</c:v>
                </c:pt>
                <c:pt idx="1766">
                  <c:v>2010767255</c:v>
                </c:pt>
                <c:pt idx="1767">
                  <c:v>1537350192</c:v>
                </c:pt>
                <c:pt idx="1768">
                  <c:v>398615230</c:v>
                </c:pt>
                <c:pt idx="1769">
                  <c:v>50299942</c:v>
                </c:pt>
                <c:pt idx="1770">
                  <c:v>368461638</c:v>
                </c:pt>
                <c:pt idx="1771">
                  <c:v>28016955</c:v>
                </c:pt>
                <c:pt idx="1772">
                  <c:v>373850380</c:v>
                </c:pt>
                <c:pt idx="1773">
                  <c:v>287009996</c:v>
                </c:pt>
                <c:pt idx="1774">
                  <c:v>2030100224</c:v>
                </c:pt>
                <c:pt idx="1775">
                  <c:v>507009205</c:v>
                </c:pt>
                <c:pt idx="1776">
                  <c:v>1106719537</c:v>
                </c:pt>
                <c:pt idx="1777">
                  <c:v>2033358600</c:v>
                </c:pt>
                <c:pt idx="1778">
                  <c:v>3141972800</c:v>
                </c:pt>
                <c:pt idx="1779">
                  <c:v>4061486647</c:v>
                </c:pt>
                <c:pt idx="1780">
                  <c:v>1557289342</c:v>
                </c:pt>
                <c:pt idx="1781">
                  <c:v>550314000</c:v>
                </c:pt>
                <c:pt idx="1782">
                  <c:v>1446741400</c:v>
                </c:pt>
                <c:pt idx="1783">
                  <c:v>421480640</c:v>
                </c:pt>
                <c:pt idx="1784">
                  <c:v>572415784</c:v>
                </c:pt>
                <c:pt idx="1785">
                  <c:v>1651233494</c:v>
                </c:pt>
                <c:pt idx="1786">
                  <c:v>564203208</c:v>
                </c:pt>
                <c:pt idx="1787">
                  <c:v>298763768</c:v>
                </c:pt>
                <c:pt idx="1788">
                  <c:v>1479466725</c:v>
                </c:pt>
                <c:pt idx="1789">
                  <c:v>1044487155</c:v>
                </c:pt>
                <c:pt idx="1790">
                  <c:v>124584549</c:v>
                </c:pt>
                <c:pt idx="1791">
                  <c:v>1569996580</c:v>
                </c:pt>
                <c:pt idx="1792">
                  <c:v>1644201275</c:v>
                </c:pt>
                <c:pt idx="1793">
                  <c:v>612314845</c:v>
                </c:pt>
                <c:pt idx="1794">
                  <c:v>767045136</c:v>
                </c:pt>
                <c:pt idx="1795">
                  <c:v>1504994322</c:v>
                </c:pt>
                <c:pt idx="1796">
                  <c:v>280211544</c:v>
                </c:pt>
                <c:pt idx="1797">
                  <c:v>1378799748</c:v>
                </c:pt>
                <c:pt idx="1798">
                  <c:v>1446383232</c:v>
                </c:pt>
                <c:pt idx="1799">
                  <c:v>126338752</c:v>
                </c:pt>
                <c:pt idx="1800">
                  <c:v>50790600</c:v>
                </c:pt>
                <c:pt idx="1801">
                  <c:v>2826962176</c:v>
                </c:pt>
                <c:pt idx="1802">
                  <c:v>1777881465</c:v>
                </c:pt>
                <c:pt idx="1803">
                  <c:v>458647046</c:v>
                </c:pt>
                <c:pt idx="1804">
                  <c:v>771791624</c:v>
                </c:pt>
                <c:pt idx="1805">
                  <c:v>1342123900</c:v>
                </c:pt>
                <c:pt idx="1806">
                  <c:v>368227106</c:v>
                </c:pt>
                <c:pt idx="1807">
                  <c:v>211708368</c:v>
                </c:pt>
                <c:pt idx="1808">
                  <c:v>1127684028</c:v>
                </c:pt>
                <c:pt idx="1809">
                  <c:v>1671885350</c:v>
                </c:pt>
                <c:pt idx="1810">
                  <c:v>710215840</c:v>
                </c:pt>
                <c:pt idx="1811">
                  <c:v>930257046</c:v>
                </c:pt>
                <c:pt idx="1812">
                  <c:v>219114720</c:v>
                </c:pt>
                <c:pt idx="1813">
                  <c:v>745440113</c:v>
                </c:pt>
                <c:pt idx="1814">
                  <c:v>267884396</c:v>
                </c:pt>
                <c:pt idx="1815">
                  <c:v>272664778</c:v>
                </c:pt>
                <c:pt idx="1816">
                  <c:v>157662608</c:v>
                </c:pt>
                <c:pt idx="1817">
                  <c:v>635213282</c:v>
                </c:pt>
                <c:pt idx="1818">
                  <c:v>257951475</c:v>
                </c:pt>
                <c:pt idx="1819">
                  <c:v>189642090</c:v>
                </c:pt>
                <c:pt idx="1820">
                  <c:v>1502623629</c:v>
                </c:pt>
                <c:pt idx="1821">
                  <c:v>788204656</c:v>
                </c:pt>
                <c:pt idx="1822">
                  <c:v>2634647194</c:v>
                </c:pt>
                <c:pt idx="1823">
                  <c:v>497842218</c:v>
                </c:pt>
                <c:pt idx="1824">
                  <c:v>566973814</c:v>
                </c:pt>
                <c:pt idx="1825">
                  <c:v>128273920</c:v>
                </c:pt>
                <c:pt idx="1826">
                  <c:v>1236998415</c:v>
                </c:pt>
                <c:pt idx="1827">
                  <c:v>1054266382</c:v>
                </c:pt>
                <c:pt idx="1828">
                  <c:v>3461804484</c:v>
                </c:pt>
                <c:pt idx="1829">
                  <c:v>1808405494</c:v>
                </c:pt>
                <c:pt idx="1830">
                  <c:v>637375032</c:v>
                </c:pt>
                <c:pt idx="1831">
                  <c:v>468631345</c:v>
                </c:pt>
                <c:pt idx="1832">
                  <c:v>1387591168</c:v>
                </c:pt>
                <c:pt idx="1833">
                  <c:v>430027104</c:v>
                </c:pt>
                <c:pt idx="1834">
                  <c:v>300981450</c:v>
                </c:pt>
                <c:pt idx="1835">
                  <c:v>372085714</c:v>
                </c:pt>
                <c:pt idx="1836">
                  <c:v>557984700</c:v>
                </c:pt>
                <c:pt idx="1837">
                  <c:v>728076720</c:v>
                </c:pt>
                <c:pt idx="1838">
                  <c:v>343065744</c:v>
                </c:pt>
                <c:pt idx="1839">
                  <c:v>269555860</c:v>
                </c:pt>
                <c:pt idx="1840">
                  <c:v>327310300</c:v>
                </c:pt>
                <c:pt idx="1841">
                  <c:v>222727680</c:v>
                </c:pt>
                <c:pt idx="1842">
                  <c:v>868854112</c:v>
                </c:pt>
                <c:pt idx="1843">
                  <c:v>529351900</c:v>
                </c:pt>
                <c:pt idx="1844">
                  <c:v>365118528</c:v>
                </c:pt>
                <c:pt idx="1845">
                  <c:v>442702300</c:v>
                </c:pt>
                <c:pt idx="1846">
                  <c:v>105337344</c:v>
                </c:pt>
                <c:pt idx="1847">
                  <c:v>2426330610</c:v>
                </c:pt>
                <c:pt idx="1848">
                  <c:v>2147483647</c:v>
                </c:pt>
                <c:pt idx="1849">
                  <c:v>457574700</c:v>
                </c:pt>
                <c:pt idx="1850">
                  <c:v>850755258</c:v>
                </c:pt>
                <c:pt idx="1851">
                  <c:v>958376708</c:v>
                </c:pt>
                <c:pt idx="1852">
                  <c:v>962401552</c:v>
                </c:pt>
                <c:pt idx="1853">
                  <c:v>271664776</c:v>
                </c:pt>
                <c:pt idx="1854">
                  <c:v>1580992512</c:v>
                </c:pt>
                <c:pt idx="1855">
                  <c:v>971359185</c:v>
                </c:pt>
                <c:pt idx="1856">
                  <c:v>635082480</c:v>
                </c:pt>
                <c:pt idx="1857">
                  <c:v>546081338</c:v>
                </c:pt>
                <c:pt idx="1858">
                  <c:v>1361587608</c:v>
                </c:pt>
                <c:pt idx="1859">
                  <c:v>920213760</c:v>
                </c:pt>
                <c:pt idx="1860">
                  <c:v>2147483647</c:v>
                </c:pt>
                <c:pt idx="1861">
                  <c:v>137874640</c:v>
                </c:pt>
                <c:pt idx="1862">
                  <c:v>662528352</c:v>
                </c:pt>
                <c:pt idx="1863">
                  <c:v>537576406</c:v>
                </c:pt>
                <c:pt idx="1864">
                  <c:v>336542951</c:v>
                </c:pt>
                <c:pt idx="1865">
                  <c:v>1880569779</c:v>
                </c:pt>
                <c:pt idx="1866">
                  <c:v>218734728</c:v>
                </c:pt>
                <c:pt idx="1867">
                  <c:v>215471200</c:v>
                </c:pt>
                <c:pt idx="1868">
                  <c:v>234604812</c:v>
                </c:pt>
                <c:pt idx="1869">
                  <c:v>1718356024</c:v>
                </c:pt>
                <c:pt idx="1870">
                  <c:v>3259762029</c:v>
                </c:pt>
                <c:pt idx="1871">
                  <c:v>590942592</c:v>
                </c:pt>
                <c:pt idx="1872">
                  <c:v>1027777035</c:v>
                </c:pt>
                <c:pt idx="1873">
                  <c:v>3467163785</c:v>
                </c:pt>
                <c:pt idx="1874">
                  <c:v>791453728</c:v>
                </c:pt>
                <c:pt idx="1875">
                  <c:v>520379046</c:v>
                </c:pt>
                <c:pt idx="1876">
                  <c:v>2902273604</c:v>
                </c:pt>
                <c:pt idx="1877">
                  <c:v>874718181</c:v>
                </c:pt>
                <c:pt idx="1878">
                  <c:v>2147483647</c:v>
                </c:pt>
                <c:pt idx="1879">
                  <c:v>450698560</c:v>
                </c:pt>
                <c:pt idx="1880">
                  <c:v>1300468813</c:v>
                </c:pt>
                <c:pt idx="1881">
                  <c:v>1659905075</c:v>
                </c:pt>
                <c:pt idx="1882">
                  <c:v>319808738</c:v>
                </c:pt>
                <c:pt idx="1883">
                  <c:v>1844605672</c:v>
                </c:pt>
                <c:pt idx="1884">
                  <c:v>1328977254</c:v>
                </c:pt>
                <c:pt idx="1885">
                  <c:v>371139256</c:v>
                </c:pt>
                <c:pt idx="1886">
                  <c:v>705801273</c:v>
                </c:pt>
                <c:pt idx="1887">
                  <c:v>765999290</c:v>
                </c:pt>
                <c:pt idx="1888">
                  <c:v>437837862</c:v>
                </c:pt>
                <c:pt idx="1889">
                  <c:v>587051535</c:v>
                </c:pt>
                <c:pt idx="1890">
                  <c:v>1124132126</c:v>
                </c:pt>
                <c:pt idx="1891">
                  <c:v>2147483647</c:v>
                </c:pt>
                <c:pt idx="1892">
                  <c:v>864629784</c:v>
                </c:pt>
                <c:pt idx="1893">
                  <c:v>1711261740</c:v>
                </c:pt>
                <c:pt idx="1894">
                  <c:v>319498476</c:v>
                </c:pt>
                <c:pt idx="1895">
                  <c:v>286154403</c:v>
                </c:pt>
                <c:pt idx="1896">
                  <c:v>2028953448</c:v>
                </c:pt>
                <c:pt idx="1897">
                  <c:v>1048200974</c:v>
                </c:pt>
                <c:pt idx="1898">
                  <c:v>584962896</c:v>
                </c:pt>
                <c:pt idx="1899">
                  <c:v>1230085395</c:v>
                </c:pt>
                <c:pt idx="1900">
                  <c:v>612563835</c:v>
                </c:pt>
                <c:pt idx="1901">
                  <c:v>23417124</c:v>
                </c:pt>
                <c:pt idx="1902">
                  <c:v>440058582</c:v>
                </c:pt>
                <c:pt idx="1903">
                  <c:v>341063010</c:v>
                </c:pt>
                <c:pt idx="1904">
                  <c:v>2147483647</c:v>
                </c:pt>
                <c:pt idx="1905">
                  <c:v>1820079160</c:v>
                </c:pt>
                <c:pt idx="1906">
                  <c:v>935984900</c:v>
                </c:pt>
                <c:pt idx="1907">
                  <c:v>2736670494</c:v>
                </c:pt>
                <c:pt idx="1908">
                  <c:v>236778689</c:v>
                </c:pt>
                <c:pt idx="1909">
                  <c:v>1205603446</c:v>
                </c:pt>
                <c:pt idx="1910">
                  <c:v>887350070</c:v>
                </c:pt>
                <c:pt idx="1911">
                  <c:v>1683171112</c:v>
                </c:pt>
                <c:pt idx="1912">
                  <c:v>588469716</c:v>
                </c:pt>
                <c:pt idx="1913">
                  <c:v>90877304</c:v>
                </c:pt>
                <c:pt idx="1914">
                  <c:v>211210160</c:v>
                </c:pt>
                <c:pt idx="1915">
                  <c:v>697600896</c:v>
                </c:pt>
                <c:pt idx="1916">
                  <c:v>573245169</c:v>
                </c:pt>
                <c:pt idx="1917">
                  <c:v>479603960</c:v>
                </c:pt>
                <c:pt idx="1918">
                  <c:v>1794504528</c:v>
                </c:pt>
                <c:pt idx="1919">
                  <c:v>1360578450</c:v>
                </c:pt>
                <c:pt idx="1920">
                  <c:v>465822956</c:v>
                </c:pt>
                <c:pt idx="1921">
                  <c:v>449551475</c:v>
                </c:pt>
                <c:pt idx="1922">
                  <c:v>755202661</c:v>
                </c:pt>
                <c:pt idx="1923">
                  <c:v>712728978</c:v>
                </c:pt>
                <c:pt idx="1924">
                  <c:v>150533696</c:v>
                </c:pt>
                <c:pt idx="1925">
                  <c:v>333402396</c:v>
                </c:pt>
                <c:pt idx="1926">
                  <c:v>65355642</c:v>
                </c:pt>
                <c:pt idx="1927">
                  <c:v>1002528488</c:v>
                </c:pt>
                <c:pt idx="1928">
                  <c:v>366110976</c:v>
                </c:pt>
                <c:pt idx="1929">
                  <c:v>721948540</c:v>
                </c:pt>
                <c:pt idx="1930">
                  <c:v>1151412996</c:v>
                </c:pt>
                <c:pt idx="1931">
                  <c:v>295744815</c:v>
                </c:pt>
                <c:pt idx="1932">
                  <c:v>861927381</c:v>
                </c:pt>
                <c:pt idx="1933">
                  <c:v>732879387</c:v>
                </c:pt>
                <c:pt idx="1934">
                  <c:v>1692275310</c:v>
                </c:pt>
                <c:pt idx="1935">
                  <c:v>209896059</c:v>
                </c:pt>
                <c:pt idx="1936">
                  <c:v>392016317</c:v>
                </c:pt>
                <c:pt idx="1937">
                  <c:v>246131022</c:v>
                </c:pt>
                <c:pt idx="1938">
                  <c:v>449846400</c:v>
                </c:pt>
                <c:pt idx="1939">
                  <c:v>315574188</c:v>
                </c:pt>
                <c:pt idx="1940">
                  <c:v>237409176</c:v>
                </c:pt>
                <c:pt idx="1941">
                  <c:v>2147483647</c:v>
                </c:pt>
                <c:pt idx="1942">
                  <c:v>977658195</c:v>
                </c:pt>
                <c:pt idx="1943">
                  <c:v>565298830</c:v>
                </c:pt>
                <c:pt idx="1944">
                  <c:v>1616191808</c:v>
                </c:pt>
                <c:pt idx="1945">
                  <c:v>499215248</c:v>
                </c:pt>
                <c:pt idx="1946">
                  <c:v>2147483647</c:v>
                </c:pt>
                <c:pt idx="1947">
                  <c:v>4061511945</c:v>
                </c:pt>
                <c:pt idx="1948">
                  <c:v>1359978592</c:v>
                </c:pt>
                <c:pt idx="1949">
                  <c:v>699966000</c:v>
                </c:pt>
                <c:pt idx="1950">
                  <c:v>1517121648</c:v>
                </c:pt>
                <c:pt idx="1951">
                  <c:v>554644686</c:v>
                </c:pt>
                <c:pt idx="1952">
                  <c:v>1961346357</c:v>
                </c:pt>
                <c:pt idx="1953">
                  <c:v>681748878</c:v>
                </c:pt>
                <c:pt idx="1954">
                  <c:v>378150265</c:v>
                </c:pt>
                <c:pt idx="1955">
                  <c:v>1451346300</c:v>
                </c:pt>
                <c:pt idx="1956">
                  <c:v>374572062</c:v>
                </c:pt>
                <c:pt idx="1957">
                  <c:v>704736927</c:v>
                </c:pt>
                <c:pt idx="1958">
                  <c:v>337602315</c:v>
                </c:pt>
                <c:pt idx="1959">
                  <c:v>413610092</c:v>
                </c:pt>
                <c:pt idx="1960">
                  <c:v>160775172</c:v>
                </c:pt>
                <c:pt idx="1961">
                  <c:v>1865652892</c:v>
                </c:pt>
                <c:pt idx="1962">
                  <c:v>455061705</c:v>
                </c:pt>
                <c:pt idx="1963">
                  <c:v>527807245</c:v>
                </c:pt>
                <c:pt idx="1964">
                  <c:v>1201165701</c:v>
                </c:pt>
                <c:pt idx="1965">
                  <c:v>1412571548</c:v>
                </c:pt>
                <c:pt idx="1966">
                  <c:v>741242358</c:v>
                </c:pt>
                <c:pt idx="1967">
                  <c:v>1300691840</c:v>
                </c:pt>
                <c:pt idx="1968">
                  <c:v>415219080</c:v>
                </c:pt>
                <c:pt idx="1969">
                  <c:v>297078670</c:v>
                </c:pt>
                <c:pt idx="1970">
                  <c:v>2010058176</c:v>
                </c:pt>
                <c:pt idx="1971">
                  <c:v>669448164</c:v>
                </c:pt>
                <c:pt idx="1972">
                  <c:v>4598523853</c:v>
                </c:pt>
                <c:pt idx="1973">
                  <c:v>2147483647</c:v>
                </c:pt>
                <c:pt idx="1974">
                  <c:v>628620102</c:v>
                </c:pt>
                <c:pt idx="1975">
                  <c:v>272617155</c:v>
                </c:pt>
                <c:pt idx="1976">
                  <c:v>268372320</c:v>
                </c:pt>
                <c:pt idx="1977">
                  <c:v>624279852</c:v>
                </c:pt>
                <c:pt idx="1978">
                  <c:v>812917024</c:v>
                </c:pt>
                <c:pt idx="1979">
                  <c:v>381975500</c:v>
                </c:pt>
                <c:pt idx="1980">
                  <c:v>74504224</c:v>
                </c:pt>
                <c:pt idx="1981">
                  <c:v>891476271</c:v>
                </c:pt>
                <c:pt idx="1982">
                  <c:v>388552534</c:v>
                </c:pt>
                <c:pt idx="1983">
                  <c:v>294828738</c:v>
                </c:pt>
                <c:pt idx="1984">
                  <c:v>792874616</c:v>
                </c:pt>
                <c:pt idx="1985">
                  <c:v>491465226</c:v>
                </c:pt>
                <c:pt idx="1986">
                  <c:v>412063488</c:v>
                </c:pt>
                <c:pt idx="1987">
                  <c:v>465687242</c:v>
                </c:pt>
                <c:pt idx="1988">
                  <c:v>3174570087</c:v>
                </c:pt>
                <c:pt idx="1989">
                  <c:v>472083808</c:v>
                </c:pt>
                <c:pt idx="1990">
                  <c:v>71779040</c:v>
                </c:pt>
                <c:pt idx="1991">
                  <c:v>1253883484</c:v>
                </c:pt>
                <c:pt idx="1992">
                  <c:v>1290438387</c:v>
                </c:pt>
                <c:pt idx="1993">
                  <c:v>447102558</c:v>
                </c:pt>
                <c:pt idx="1994">
                  <c:v>311190300</c:v>
                </c:pt>
                <c:pt idx="1995">
                  <c:v>1619561664</c:v>
                </c:pt>
                <c:pt idx="1996">
                  <c:v>124092010</c:v>
                </c:pt>
                <c:pt idx="1997">
                  <c:v>511015512</c:v>
                </c:pt>
                <c:pt idx="1998">
                  <c:v>956003761</c:v>
                </c:pt>
                <c:pt idx="1999">
                  <c:v>743536992</c:v>
                </c:pt>
                <c:pt idx="2000">
                  <c:v>1696035000</c:v>
                </c:pt>
                <c:pt idx="2001">
                  <c:v>185019918</c:v>
                </c:pt>
                <c:pt idx="2002">
                  <c:v>1543664361</c:v>
                </c:pt>
                <c:pt idx="2003">
                  <c:v>365565030</c:v>
                </c:pt>
                <c:pt idx="2004">
                  <c:v>332605697</c:v>
                </c:pt>
                <c:pt idx="2005">
                  <c:v>620186007</c:v>
                </c:pt>
                <c:pt idx="2006">
                  <c:v>448461717</c:v>
                </c:pt>
                <c:pt idx="2007">
                  <c:v>672469826</c:v>
                </c:pt>
                <c:pt idx="2008">
                  <c:v>650363663</c:v>
                </c:pt>
                <c:pt idx="2009">
                  <c:v>1559774865</c:v>
                </c:pt>
                <c:pt idx="2010">
                  <c:v>1162726854</c:v>
                </c:pt>
                <c:pt idx="2011">
                  <c:v>3120818782</c:v>
                </c:pt>
                <c:pt idx="2012">
                  <c:v>339961878</c:v>
                </c:pt>
                <c:pt idx="2013">
                  <c:v>425544336</c:v>
                </c:pt>
                <c:pt idx="2014">
                  <c:v>79231220</c:v>
                </c:pt>
                <c:pt idx="2015">
                  <c:v>2147483647</c:v>
                </c:pt>
                <c:pt idx="2016">
                  <c:v>647197716</c:v>
                </c:pt>
                <c:pt idx="2017">
                  <c:v>1107747803</c:v>
                </c:pt>
                <c:pt idx="2018">
                  <c:v>1713475152</c:v>
                </c:pt>
                <c:pt idx="2019">
                  <c:v>159293036</c:v>
                </c:pt>
                <c:pt idx="2020">
                  <c:v>244408247</c:v>
                </c:pt>
                <c:pt idx="2021">
                  <c:v>119105524</c:v>
                </c:pt>
                <c:pt idx="2022">
                  <c:v>333308832</c:v>
                </c:pt>
                <c:pt idx="2023">
                  <c:v>343666820</c:v>
                </c:pt>
                <c:pt idx="2024">
                  <c:v>185100240</c:v>
                </c:pt>
                <c:pt idx="2025">
                  <c:v>1089712272</c:v>
                </c:pt>
                <c:pt idx="2026">
                  <c:v>1578075135</c:v>
                </c:pt>
                <c:pt idx="2027">
                  <c:v>1105234796</c:v>
                </c:pt>
                <c:pt idx="2028">
                  <c:v>168571800</c:v>
                </c:pt>
                <c:pt idx="2029">
                  <c:v>49646240</c:v>
                </c:pt>
                <c:pt idx="2030">
                  <c:v>328933198</c:v>
                </c:pt>
                <c:pt idx="2031">
                  <c:v>1263194100</c:v>
                </c:pt>
                <c:pt idx="2032">
                  <c:v>1524136808</c:v>
                </c:pt>
                <c:pt idx="2033">
                  <c:v>1522345760</c:v>
                </c:pt>
                <c:pt idx="2034">
                  <c:v>384027854</c:v>
                </c:pt>
                <c:pt idx="2035">
                  <c:v>1246329357</c:v>
                </c:pt>
                <c:pt idx="2036">
                  <c:v>721036050</c:v>
                </c:pt>
                <c:pt idx="2037">
                  <c:v>1210083552</c:v>
                </c:pt>
                <c:pt idx="2038">
                  <c:v>759334875</c:v>
                </c:pt>
                <c:pt idx="2039">
                  <c:v>409747545</c:v>
                </c:pt>
                <c:pt idx="2040">
                  <c:v>604499084</c:v>
                </c:pt>
                <c:pt idx="2041">
                  <c:v>790172373</c:v>
                </c:pt>
                <c:pt idx="2042">
                  <c:v>291999015</c:v>
                </c:pt>
                <c:pt idx="2043">
                  <c:v>1290924152</c:v>
                </c:pt>
                <c:pt idx="2044">
                  <c:v>353101842</c:v>
                </c:pt>
                <c:pt idx="2045">
                  <c:v>2061501424</c:v>
                </c:pt>
                <c:pt idx="2046">
                  <c:v>932755382</c:v>
                </c:pt>
                <c:pt idx="2047">
                  <c:v>2045167344</c:v>
                </c:pt>
                <c:pt idx="2048">
                  <c:v>6063130009</c:v>
                </c:pt>
                <c:pt idx="2049">
                  <c:v>746305280</c:v>
                </c:pt>
                <c:pt idx="2050">
                  <c:v>1482424075</c:v>
                </c:pt>
                <c:pt idx="2051">
                  <c:v>997215840</c:v>
                </c:pt>
                <c:pt idx="2052">
                  <c:v>280223588</c:v>
                </c:pt>
                <c:pt idx="2053">
                  <c:v>502264218</c:v>
                </c:pt>
                <c:pt idx="2054">
                  <c:v>1014868860</c:v>
                </c:pt>
                <c:pt idx="2055">
                  <c:v>599604390</c:v>
                </c:pt>
                <c:pt idx="2056">
                  <c:v>323237409</c:v>
                </c:pt>
                <c:pt idx="2057">
                  <c:v>199132160</c:v>
                </c:pt>
                <c:pt idx="2058">
                  <c:v>604692572</c:v>
                </c:pt>
                <c:pt idx="2059">
                  <c:v>213785180</c:v>
                </c:pt>
                <c:pt idx="2060">
                  <c:v>1011255855</c:v>
                </c:pt>
                <c:pt idx="2061">
                  <c:v>183773952</c:v>
                </c:pt>
                <c:pt idx="2062">
                  <c:v>114830170</c:v>
                </c:pt>
                <c:pt idx="2063">
                  <c:v>2526987188</c:v>
                </c:pt>
                <c:pt idx="2064">
                  <c:v>1839187024</c:v>
                </c:pt>
                <c:pt idx="2065">
                  <c:v>294364350</c:v>
                </c:pt>
                <c:pt idx="2066">
                  <c:v>142613050</c:v>
                </c:pt>
                <c:pt idx="2067">
                  <c:v>1558286926</c:v>
                </c:pt>
                <c:pt idx="2068">
                  <c:v>442680576</c:v>
                </c:pt>
                <c:pt idx="2069">
                  <c:v>680688151</c:v>
                </c:pt>
                <c:pt idx="2070">
                  <c:v>46263308</c:v>
                </c:pt>
                <c:pt idx="2071">
                  <c:v>315107908</c:v>
                </c:pt>
                <c:pt idx="2072">
                  <c:v>448056894</c:v>
                </c:pt>
                <c:pt idx="2073">
                  <c:v>301629300</c:v>
                </c:pt>
                <c:pt idx="2074">
                  <c:v>2058817860</c:v>
                </c:pt>
                <c:pt idx="2075">
                  <c:v>151791030</c:v>
                </c:pt>
                <c:pt idx="2076">
                  <c:v>4266123148</c:v>
                </c:pt>
                <c:pt idx="2077">
                  <c:v>333739854</c:v>
                </c:pt>
                <c:pt idx="2078">
                  <c:v>103577770</c:v>
                </c:pt>
                <c:pt idx="2079">
                  <c:v>180193572</c:v>
                </c:pt>
                <c:pt idx="2080">
                  <c:v>2347011658</c:v>
                </c:pt>
                <c:pt idx="2081">
                  <c:v>152748656</c:v>
                </c:pt>
                <c:pt idx="2082">
                  <c:v>467678520</c:v>
                </c:pt>
                <c:pt idx="2083">
                  <c:v>296456348</c:v>
                </c:pt>
                <c:pt idx="2084">
                  <c:v>637308808</c:v>
                </c:pt>
                <c:pt idx="2085">
                  <c:v>1011073980</c:v>
                </c:pt>
                <c:pt idx="2086">
                  <c:v>652371589</c:v>
                </c:pt>
                <c:pt idx="2087">
                  <c:v>1044974730</c:v>
                </c:pt>
                <c:pt idx="2088">
                  <c:v>4243098239</c:v>
                </c:pt>
                <c:pt idx="2089">
                  <c:v>132847786</c:v>
                </c:pt>
                <c:pt idx="2090">
                  <c:v>329416004</c:v>
                </c:pt>
                <c:pt idx="2091">
                  <c:v>95796660</c:v>
                </c:pt>
                <c:pt idx="2092">
                  <c:v>149278915</c:v>
                </c:pt>
                <c:pt idx="2093">
                  <c:v>288344800</c:v>
                </c:pt>
                <c:pt idx="2094">
                  <c:v>568779133</c:v>
                </c:pt>
                <c:pt idx="2095">
                  <c:v>82476454</c:v>
                </c:pt>
                <c:pt idx="2096">
                  <c:v>360880000</c:v>
                </c:pt>
                <c:pt idx="2097">
                  <c:v>649602096</c:v>
                </c:pt>
                <c:pt idx="2098">
                  <c:v>371079930</c:v>
                </c:pt>
                <c:pt idx="2099">
                  <c:v>645168750</c:v>
                </c:pt>
                <c:pt idx="2100">
                  <c:v>207129000</c:v>
                </c:pt>
                <c:pt idx="2101">
                  <c:v>248074862</c:v>
                </c:pt>
                <c:pt idx="2102">
                  <c:v>2241829265</c:v>
                </c:pt>
                <c:pt idx="2103">
                  <c:v>167187900</c:v>
                </c:pt>
                <c:pt idx="2104">
                  <c:v>3524933789</c:v>
                </c:pt>
                <c:pt idx="2105">
                  <c:v>655049232</c:v>
                </c:pt>
                <c:pt idx="2106">
                  <c:v>662930472</c:v>
                </c:pt>
                <c:pt idx="2107">
                  <c:v>285488895</c:v>
                </c:pt>
                <c:pt idx="2108">
                  <c:v>514362827</c:v>
                </c:pt>
                <c:pt idx="2109">
                  <c:v>136700784</c:v>
                </c:pt>
                <c:pt idx="2110">
                  <c:v>281491182</c:v>
                </c:pt>
                <c:pt idx="2111">
                  <c:v>164201529</c:v>
                </c:pt>
                <c:pt idx="2112">
                  <c:v>1125995148</c:v>
                </c:pt>
                <c:pt idx="2113">
                  <c:v>2099649201</c:v>
                </c:pt>
                <c:pt idx="2114">
                  <c:v>1577614876</c:v>
                </c:pt>
                <c:pt idx="2115">
                  <c:v>151649250</c:v>
                </c:pt>
                <c:pt idx="2116">
                  <c:v>757091790</c:v>
                </c:pt>
                <c:pt idx="2117">
                  <c:v>893235519</c:v>
                </c:pt>
                <c:pt idx="2118">
                  <c:v>438170617</c:v>
                </c:pt>
                <c:pt idx="2119">
                  <c:v>325057506</c:v>
                </c:pt>
                <c:pt idx="2120">
                  <c:v>262207002</c:v>
                </c:pt>
                <c:pt idx="2121">
                  <c:v>90828522</c:v>
                </c:pt>
                <c:pt idx="2122">
                  <c:v>229185285</c:v>
                </c:pt>
                <c:pt idx="2123">
                  <c:v>1797273946</c:v>
                </c:pt>
                <c:pt idx="2124">
                  <c:v>831860757</c:v>
                </c:pt>
                <c:pt idx="2125">
                  <c:v>518795769</c:v>
                </c:pt>
                <c:pt idx="2126">
                  <c:v>78313438</c:v>
                </c:pt>
                <c:pt idx="2127">
                  <c:v>392139342</c:v>
                </c:pt>
                <c:pt idx="2128">
                  <c:v>453902901</c:v>
                </c:pt>
                <c:pt idx="2129">
                  <c:v>116460960</c:v>
                </c:pt>
                <c:pt idx="2130">
                  <c:v>4430902323</c:v>
                </c:pt>
                <c:pt idx="2131">
                  <c:v>1731195294</c:v>
                </c:pt>
                <c:pt idx="2132">
                  <c:v>965736195</c:v>
                </c:pt>
                <c:pt idx="2133">
                  <c:v>816312500</c:v>
                </c:pt>
                <c:pt idx="2134">
                  <c:v>2408680881</c:v>
                </c:pt>
                <c:pt idx="2135">
                  <c:v>917648949</c:v>
                </c:pt>
                <c:pt idx="2136">
                  <c:v>454249929</c:v>
                </c:pt>
                <c:pt idx="2137">
                  <c:v>349438936</c:v>
                </c:pt>
                <c:pt idx="2138">
                  <c:v>1125890145</c:v>
                </c:pt>
                <c:pt idx="2139">
                  <c:v>496573657</c:v>
                </c:pt>
                <c:pt idx="2140">
                  <c:v>504707805</c:v>
                </c:pt>
                <c:pt idx="2141">
                  <c:v>304470986</c:v>
                </c:pt>
                <c:pt idx="2142">
                  <c:v>274372473</c:v>
                </c:pt>
                <c:pt idx="2143">
                  <c:v>252140670</c:v>
                </c:pt>
                <c:pt idx="2144">
                  <c:v>773657193</c:v>
                </c:pt>
                <c:pt idx="2145">
                  <c:v>623975517</c:v>
                </c:pt>
                <c:pt idx="2146">
                  <c:v>11185828</c:v>
                </c:pt>
                <c:pt idx="2147">
                  <c:v>295956628</c:v>
                </c:pt>
                <c:pt idx="2148">
                  <c:v>436952505</c:v>
                </c:pt>
                <c:pt idx="2149">
                  <c:v>2147483647</c:v>
                </c:pt>
                <c:pt idx="2150">
                  <c:v>937547436</c:v>
                </c:pt>
                <c:pt idx="2151">
                  <c:v>12462024406</c:v>
                </c:pt>
                <c:pt idx="2152">
                  <c:v>1069726770</c:v>
                </c:pt>
                <c:pt idx="2153">
                  <c:v>216524305</c:v>
                </c:pt>
                <c:pt idx="2154">
                  <c:v>369057078</c:v>
                </c:pt>
                <c:pt idx="2155">
                  <c:v>265205147</c:v>
                </c:pt>
                <c:pt idx="2156">
                  <c:v>489324030</c:v>
                </c:pt>
                <c:pt idx="2157">
                  <c:v>631446731</c:v>
                </c:pt>
                <c:pt idx="2158">
                  <c:v>3136460324</c:v>
                </c:pt>
                <c:pt idx="2159">
                  <c:v>351191680</c:v>
                </c:pt>
                <c:pt idx="2160">
                  <c:v>248095309</c:v>
                </c:pt>
                <c:pt idx="2161">
                  <c:v>1014808790</c:v>
                </c:pt>
                <c:pt idx="2162">
                  <c:v>153181545</c:v>
                </c:pt>
                <c:pt idx="2163">
                  <c:v>120801197</c:v>
                </c:pt>
                <c:pt idx="2164">
                  <c:v>270907572</c:v>
                </c:pt>
                <c:pt idx="2165">
                  <c:v>575684940</c:v>
                </c:pt>
                <c:pt idx="2166">
                  <c:v>588909444</c:v>
                </c:pt>
                <c:pt idx="2167">
                  <c:v>405713655</c:v>
                </c:pt>
                <c:pt idx="2168">
                  <c:v>207910782</c:v>
                </c:pt>
                <c:pt idx="2169">
                  <c:v>706809847</c:v>
                </c:pt>
                <c:pt idx="2170">
                  <c:v>395070325</c:v>
                </c:pt>
                <c:pt idx="2171">
                  <c:v>367051986</c:v>
                </c:pt>
                <c:pt idx="2172">
                  <c:v>3294603298</c:v>
                </c:pt>
                <c:pt idx="2173">
                  <c:v>825897848</c:v>
                </c:pt>
                <c:pt idx="2174">
                  <c:v>804130250</c:v>
                </c:pt>
                <c:pt idx="2175">
                  <c:v>198689715</c:v>
                </c:pt>
                <c:pt idx="2176">
                  <c:v>212869973</c:v>
                </c:pt>
                <c:pt idx="2177">
                  <c:v>1802848410</c:v>
                </c:pt>
                <c:pt idx="2178">
                  <c:v>146699399</c:v>
                </c:pt>
                <c:pt idx="2179">
                  <c:v>1505444645</c:v>
                </c:pt>
                <c:pt idx="2180">
                  <c:v>277190096</c:v>
                </c:pt>
                <c:pt idx="2181">
                  <c:v>149060493</c:v>
                </c:pt>
                <c:pt idx="2182">
                  <c:v>461420883</c:v>
                </c:pt>
                <c:pt idx="2183">
                  <c:v>440178700</c:v>
                </c:pt>
                <c:pt idx="2184">
                  <c:v>160136496</c:v>
                </c:pt>
                <c:pt idx="2185">
                  <c:v>216802528</c:v>
                </c:pt>
                <c:pt idx="2186">
                  <c:v>350032384</c:v>
                </c:pt>
                <c:pt idx="2187">
                  <c:v>157379670</c:v>
                </c:pt>
                <c:pt idx="2188">
                  <c:v>2794208110</c:v>
                </c:pt>
                <c:pt idx="2189">
                  <c:v>960988750</c:v>
                </c:pt>
                <c:pt idx="2190">
                  <c:v>155912692</c:v>
                </c:pt>
                <c:pt idx="2191">
                  <c:v>5142901653</c:v>
                </c:pt>
                <c:pt idx="2192">
                  <c:v>202307525</c:v>
                </c:pt>
                <c:pt idx="2193">
                  <c:v>168894044</c:v>
                </c:pt>
                <c:pt idx="2194">
                  <c:v>231436764</c:v>
                </c:pt>
                <c:pt idx="2195">
                  <c:v>161016945</c:v>
                </c:pt>
                <c:pt idx="2196">
                  <c:v>203215122</c:v>
                </c:pt>
                <c:pt idx="2197">
                  <c:v>170559904</c:v>
                </c:pt>
                <c:pt idx="2198">
                  <c:v>1125201200</c:v>
                </c:pt>
                <c:pt idx="2199">
                  <c:v>117089200</c:v>
                </c:pt>
                <c:pt idx="2200">
                  <c:v>422690301</c:v>
                </c:pt>
                <c:pt idx="2201">
                  <c:v>4387538755</c:v>
                </c:pt>
                <c:pt idx="2202">
                  <c:v>936630080</c:v>
                </c:pt>
                <c:pt idx="2203">
                  <c:v>203718852</c:v>
                </c:pt>
                <c:pt idx="2204">
                  <c:v>942732404</c:v>
                </c:pt>
                <c:pt idx="2205">
                  <c:v>606773259</c:v>
                </c:pt>
                <c:pt idx="2206">
                  <c:v>3800660774</c:v>
                </c:pt>
                <c:pt idx="2207">
                  <c:v>651459600</c:v>
                </c:pt>
                <c:pt idx="2208">
                  <c:v>566049792</c:v>
                </c:pt>
                <c:pt idx="2209">
                  <c:v>31415008</c:v>
                </c:pt>
                <c:pt idx="2210">
                  <c:v>20401346</c:v>
                </c:pt>
                <c:pt idx="2211">
                  <c:v>3509498607</c:v>
                </c:pt>
                <c:pt idx="2212">
                  <c:v>1009205236</c:v>
                </c:pt>
                <c:pt idx="2213">
                  <c:v>174008124</c:v>
                </c:pt>
                <c:pt idx="2214">
                  <c:v>413487942</c:v>
                </c:pt>
                <c:pt idx="2215">
                  <c:v>234143250</c:v>
                </c:pt>
                <c:pt idx="2216">
                  <c:v>124826492</c:v>
                </c:pt>
                <c:pt idx="2217">
                  <c:v>981416814</c:v>
                </c:pt>
                <c:pt idx="2218">
                  <c:v>564244434</c:v>
                </c:pt>
                <c:pt idx="2219">
                  <c:v>333822012</c:v>
                </c:pt>
                <c:pt idx="2220">
                  <c:v>721462812</c:v>
                </c:pt>
                <c:pt idx="2221">
                  <c:v>246055320</c:v>
                </c:pt>
                <c:pt idx="2222">
                  <c:v>357370720</c:v>
                </c:pt>
                <c:pt idx="2223">
                  <c:v>1330117676</c:v>
                </c:pt>
                <c:pt idx="2224">
                  <c:v>481977960</c:v>
                </c:pt>
                <c:pt idx="2225">
                  <c:v>1108516929</c:v>
                </c:pt>
                <c:pt idx="2226">
                  <c:v>90286586</c:v>
                </c:pt>
                <c:pt idx="2227">
                  <c:v>1727728798</c:v>
                </c:pt>
                <c:pt idx="2228">
                  <c:v>215051298</c:v>
                </c:pt>
                <c:pt idx="2229">
                  <c:v>417093154</c:v>
                </c:pt>
                <c:pt idx="2230">
                  <c:v>447827124</c:v>
                </c:pt>
                <c:pt idx="2231">
                  <c:v>1076477280</c:v>
                </c:pt>
                <c:pt idx="2232">
                  <c:v>3386489142</c:v>
                </c:pt>
                <c:pt idx="2233">
                  <c:v>243601067</c:v>
                </c:pt>
                <c:pt idx="2234">
                  <c:v>2153221344</c:v>
                </c:pt>
                <c:pt idx="2235">
                  <c:v>189610569</c:v>
                </c:pt>
                <c:pt idx="2236">
                  <c:v>227791395</c:v>
                </c:pt>
                <c:pt idx="2237">
                  <c:v>346730987</c:v>
                </c:pt>
                <c:pt idx="2238">
                  <c:v>349751872</c:v>
                </c:pt>
                <c:pt idx="2239">
                  <c:v>106428985</c:v>
                </c:pt>
                <c:pt idx="2240">
                  <c:v>1127882002</c:v>
                </c:pt>
                <c:pt idx="2241">
                  <c:v>3264502280</c:v>
                </c:pt>
                <c:pt idx="2242">
                  <c:v>3282207454</c:v>
                </c:pt>
                <c:pt idx="2243">
                  <c:v>915517706</c:v>
                </c:pt>
                <c:pt idx="2244">
                  <c:v>1210597168</c:v>
                </c:pt>
                <c:pt idx="2245">
                  <c:v>543246913</c:v>
                </c:pt>
                <c:pt idx="2246">
                  <c:v>129105390</c:v>
                </c:pt>
                <c:pt idx="2247">
                  <c:v>298369858</c:v>
                </c:pt>
                <c:pt idx="2248">
                  <c:v>147504704</c:v>
                </c:pt>
                <c:pt idx="2249">
                  <c:v>785685825</c:v>
                </c:pt>
                <c:pt idx="2250">
                  <c:v>1100289177</c:v>
                </c:pt>
                <c:pt idx="2251">
                  <c:v>393147405</c:v>
                </c:pt>
                <c:pt idx="2252">
                  <c:v>205075992</c:v>
                </c:pt>
                <c:pt idx="2253">
                  <c:v>721427190</c:v>
                </c:pt>
                <c:pt idx="2254">
                  <c:v>898626339</c:v>
                </c:pt>
                <c:pt idx="2255">
                  <c:v>190297136</c:v>
                </c:pt>
                <c:pt idx="2256">
                  <c:v>513392796</c:v>
                </c:pt>
                <c:pt idx="2257">
                  <c:v>2147483647</c:v>
                </c:pt>
                <c:pt idx="2258">
                  <c:v>974356655</c:v>
                </c:pt>
                <c:pt idx="2259">
                  <c:v>1040951786</c:v>
                </c:pt>
                <c:pt idx="2260">
                  <c:v>1908757221</c:v>
                </c:pt>
                <c:pt idx="2261">
                  <c:v>130004245</c:v>
                </c:pt>
                <c:pt idx="2262">
                  <c:v>122473050</c:v>
                </c:pt>
                <c:pt idx="2263">
                  <c:v>166597298</c:v>
                </c:pt>
                <c:pt idx="2264">
                  <c:v>97580439</c:v>
                </c:pt>
                <c:pt idx="2265">
                  <c:v>1022783892</c:v>
                </c:pt>
                <c:pt idx="2266">
                  <c:v>179614248</c:v>
                </c:pt>
                <c:pt idx="2267">
                  <c:v>350277100</c:v>
                </c:pt>
                <c:pt idx="2268">
                  <c:v>114023600</c:v>
                </c:pt>
                <c:pt idx="2269">
                  <c:v>553428260</c:v>
                </c:pt>
                <c:pt idx="2270">
                  <c:v>5548177846</c:v>
                </c:pt>
                <c:pt idx="2271">
                  <c:v>1658905248</c:v>
                </c:pt>
                <c:pt idx="2272">
                  <c:v>451976772</c:v>
                </c:pt>
                <c:pt idx="2273">
                  <c:v>130508504</c:v>
                </c:pt>
                <c:pt idx="2274">
                  <c:v>859855675</c:v>
                </c:pt>
                <c:pt idx="2275">
                  <c:v>345879045</c:v>
                </c:pt>
                <c:pt idx="2276">
                  <c:v>53230782</c:v>
                </c:pt>
                <c:pt idx="2277">
                  <c:v>1338028100</c:v>
                </c:pt>
                <c:pt idx="2278">
                  <c:v>3113547876</c:v>
                </c:pt>
                <c:pt idx="2279">
                  <c:v>3517042828</c:v>
                </c:pt>
                <c:pt idx="2280">
                  <c:v>172869810</c:v>
                </c:pt>
                <c:pt idx="2281">
                  <c:v>523551600</c:v>
                </c:pt>
                <c:pt idx="2282">
                  <c:v>1438229430</c:v>
                </c:pt>
                <c:pt idx="2283">
                  <c:v>595653288</c:v>
                </c:pt>
                <c:pt idx="2284">
                  <c:v>1091409920</c:v>
                </c:pt>
                <c:pt idx="2285">
                  <c:v>177980250</c:v>
                </c:pt>
                <c:pt idx="2286">
                  <c:v>1052251564</c:v>
                </c:pt>
                <c:pt idx="2287">
                  <c:v>167560659</c:v>
                </c:pt>
                <c:pt idx="2288">
                  <c:v>264075192</c:v>
                </c:pt>
                <c:pt idx="2289">
                  <c:v>510208794</c:v>
                </c:pt>
                <c:pt idx="2290">
                  <c:v>229056768</c:v>
                </c:pt>
                <c:pt idx="2291">
                  <c:v>107829772</c:v>
                </c:pt>
                <c:pt idx="2292">
                  <c:v>187891920</c:v>
                </c:pt>
                <c:pt idx="2293">
                  <c:v>267164412</c:v>
                </c:pt>
                <c:pt idx="2294">
                  <c:v>459209620</c:v>
                </c:pt>
                <c:pt idx="2295">
                  <c:v>1933890623</c:v>
                </c:pt>
                <c:pt idx="2296">
                  <c:v>2759876702</c:v>
                </c:pt>
                <c:pt idx="2297">
                  <c:v>947614626</c:v>
                </c:pt>
                <c:pt idx="2298">
                  <c:v>468377508</c:v>
                </c:pt>
                <c:pt idx="2299">
                  <c:v>86948550</c:v>
                </c:pt>
                <c:pt idx="2300">
                  <c:v>879193575</c:v>
                </c:pt>
                <c:pt idx="2301">
                  <c:v>122913638</c:v>
                </c:pt>
                <c:pt idx="2302">
                  <c:v>158183382</c:v>
                </c:pt>
                <c:pt idx="2303">
                  <c:v>4400375812</c:v>
                </c:pt>
                <c:pt idx="2304">
                  <c:v>484456682</c:v>
                </c:pt>
                <c:pt idx="2305">
                  <c:v>213192913</c:v>
                </c:pt>
                <c:pt idx="2306">
                  <c:v>502097040</c:v>
                </c:pt>
                <c:pt idx="2307">
                  <c:v>795961832</c:v>
                </c:pt>
                <c:pt idx="2308">
                  <c:v>1695808045</c:v>
                </c:pt>
                <c:pt idx="2309">
                  <c:v>488277642</c:v>
                </c:pt>
                <c:pt idx="2310">
                  <c:v>53839566</c:v>
                </c:pt>
                <c:pt idx="2311">
                  <c:v>529541484</c:v>
                </c:pt>
                <c:pt idx="2312">
                  <c:v>700257049</c:v>
                </c:pt>
                <c:pt idx="2313">
                  <c:v>1546759764</c:v>
                </c:pt>
                <c:pt idx="2314">
                  <c:v>4366241251</c:v>
                </c:pt>
                <c:pt idx="2315">
                  <c:v>323289750</c:v>
                </c:pt>
                <c:pt idx="2316">
                  <c:v>3537526508</c:v>
                </c:pt>
                <c:pt idx="2317">
                  <c:v>225449726</c:v>
                </c:pt>
                <c:pt idx="2318">
                  <c:v>65879801</c:v>
                </c:pt>
                <c:pt idx="2319">
                  <c:v>1014741728</c:v>
                </c:pt>
                <c:pt idx="2320">
                  <c:v>3809142050</c:v>
                </c:pt>
                <c:pt idx="2321">
                  <c:v>1181445846</c:v>
                </c:pt>
                <c:pt idx="2322">
                  <c:v>2674371654</c:v>
                </c:pt>
                <c:pt idx="2323">
                  <c:v>151041396</c:v>
                </c:pt>
                <c:pt idx="2324">
                  <c:v>413633745</c:v>
                </c:pt>
                <c:pt idx="2325">
                  <c:v>444780850</c:v>
                </c:pt>
                <c:pt idx="2326">
                  <c:v>197228064</c:v>
                </c:pt>
                <c:pt idx="2327">
                  <c:v>2926079297</c:v>
                </c:pt>
                <c:pt idx="2328">
                  <c:v>290612098</c:v>
                </c:pt>
                <c:pt idx="2329">
                  <c:v>2418125294</c:v>
                </c:pt>
                <c:pt idx="2330">
                  <c:v>1272580540</c:v>
                </c:pt>
                <c:pt idx="2331">
                  <c:v>189865858</c:v>
                </c:pt>
                <c:pt idx="2332">
                  <c:v>323334990</c:v>
                </c:pt>
                <c:pt idx="2333">
                  <c:v>559319104</c:v>
                </c:pt>
                <c:pt idx="2334">
                  <c:v>589244800</c:v>
                </c:pt>
                <c:pt idx="2335">
                  <c:v>796382496</c:v>
                </c:pt>
                <c:pt idx="2336">
                  <c:v>789212798</c:v>
                </c:pt>
                <c:pt idx="2337">
                  <c:v>1465964630</c:v>
                </c:pt>
                <c:pt idx="2338">
                  <c:v>3377646019</c:v>
                </c:pt>
                <c:pt idx="2339">
                  <c:v>1163328120</c:v>
                </c:pt>
                <c:pt idx="2340">
                  <c:v>248189455</c:v>
                </c:pt>
                <c:pt idx="2341">
                  <c:v>656199042</c:v>
                </c:pt>
                <c:pt idx="2342">
                  <c:v>496658996</c:v>
                </c:pt>
                <c:pt idx="2343">
                  <c:v>1045513392</c:v>
                </c:pt>
                <c:pt idx="2344">
                  <c:v>2147483647</c:v>
                </c:pt>
                <c:pt idx="2345">
                  <c:v>287483420</c:v>
                </c:pt>
                <c:pt idx="2346">
                  <c:v>839220756</c:v>
                </c:pt>
                <c:pt idx="2347">
                  <c:v>197429551</c:v>
                </c:pt>
                <c:pt idx="2348">
                  <c:v>77254102</c:v>
                </c:pt>
                <c:pt idx="2349">
                  <c:v>271913148</c:v>
                </c:pt>
                <c:pt idx="2350">
                  <c:v>335530962</c:v>
                </c:pt>
                <c:pt idx="2351">
                  <c:v>358823550</c:v>
                </c:pt>
                <c:pt idx="2352">
                  <c:v>1038536542</c:v>
                </c:pt>
                <c:pt idx="2353">
                  <c:v>832067720</c:v>
                </c:pt>
                <c:pt idx="2354">
                  <c:v>144590446</c:v>
                </c:pt>
                <c:pt idx="2355">
                  <c:v>930623148</c:v>
                </c:pt>
                <c:pt idx="2356">
                  <c:v>1013407830</c:v>
                </c:pt>
                <c:pt idx="2357">
                  <c:v>2395225416</c:v>
                </c:pt>
                <c:pt idx="2358">
                  <c:v>399323090</c:v>
                </c:pt>
                <c:pt idx="2359">
                  <c:v>528070329</c:v>
                </c:pt>
                <c:pt idx="2360">
                  <c:v>315506283</c:v>
                </c:pt>
                <c:pt idx="2361">
                  <c:v>1049626225</c:v>
                </c:pt>
                <c:pt idx="2362">
                  <c:v>1302043428</c:v>
                </c:pt>
                <c:pt idx="2363">
                  <c:v>1366307540</c:v>
                </c:pt>
                <c:pt idx="2364">
                  <c:v>264088008</c:v>
                </c:pt>
                <c:pt idx="2365">
                  <c:v>1118810160</c:v>
                </c:pt>
                <c:pt idx="2366">
                  <c:v>527542375</c:v>
                </c:pt>
                <c:pt idx="2367">
                  <c:v>71204987</c:v>
                </c:pt>
                <c:pt idx="2368">
                  <c:v>1560684895</c:v>
                </c:pt>
                <c:pt idx="2369">
                  <c:v>261874698</c:v>
                </c:pt>
                <c:pt idx="2370">
                  <c:v>407611413</c:v>
                </c:pt>
                <c:pt idx="2371">
                  <c:v>701310804</c:v>
                </c:pt>
                <c:pt idx="2372">
                  <c:v>1930230325</c:v>
                </c:pt>
                <c:pt idx="2373">
                  <c:v>340305490</c:v>
                </c:pt>
                <c:pt idx="2374">
                  <c:v>748520050</c:v>
                </c:pt>
                <c:pt idx="2375">
                  <c:v>1681154180</c:v>
                </c:pt>
                <c:pt idx="2376">
                  <c:v>1604315296</c:v>
                </c:pt>
                <c:pt idx="2377">
                  <c:v>403887601</c:v>
                </c:pt>
                <c:pt idx="2378">
                  <c:v>927809664</c:v>
                </c:pt>
                <c:pt idx="2379">
                  <c:v>1417288084</c:v>
                </c:pt>
                <c:pt idx="2380">
                  <c:v>645629460</c:v>
                </c:pt>
                <c:pt idx="2381">
                  <c:v>245772978</c:v>
                </c:pt>
                <c:pt idx="2382">
                  <c:v>1093119885</c:v>
                </c:pt>
                <c:pt idx="2383">
                  <c:v>644827694</c:v>
                </c:pt>
                <c:pt idx="2384">
                  <c:v>666888170</c:v>
                </c:pt>
                <c:pt idx="2385">
                  <c:v>1212221868</c:v>
                </c:pt>
                <c:pt idx="2386">
                  <c:v>523630296</c:v>
                </c:pt>
                <c:pt idx="2387">
                  <c:v>127939770</c:v>
                </c:pt>
                <c:pt idx="2388">
                  <c:v>2518564396</c:v>
                </c:pt>
                <c:pt idx="2389">
                  <c:v>1104958800</c:v>
                </c:pt>
                <c:pt idx="2390">
                  <c:v>715936200</c:v>
                </c:pt>
                <c:pt idx="2391">
                  <c:v>1675159275</c:v>
                </c:pt>
                <c:pt idx="2392">
                  <c:v>485905515</c:v>
                </c:pt>
                <c:pt idx="2393">
                  <c:v>405931125</c:v>
                </c:pt>
                <c:pt idx="2394">
                  <c:v>883839558</c:v>
                </c:pt>
                <c:pt idx="2395">
                  <c:v>2147483647</c:v>
                </c:pt>
                <c:pt idx="2396">
                  <c:v>331445448</c:v>
                </c:pt>
                <c:pt idx="2397">
                  <c:v>318533240</c:v>
                </c:pt>
                <c:pt idx="2398">
                  <c:v>455944128</c:v>
                </c:pt>
                <c:pt idx="2399">
                  <c:v>649057357</c:v>
                </c:pt>
                <c:pt idx="2400">
                  <c:v>197370602</c:v>
                </c:pt>
                <c:pt idx="2401">
                  <c:v>215825770</c:v>
                </c:pt>
                <c:pt idx="2402">
                  <c:v>1504472585</c:v>
                </c:pt>
                <c:pt idx="2403">
                  <c:v>2147483647</c:v>
                </c:pt>
                <c:pt idx="2404">
                  <c:v>497261472</c:v>
                </c:pt>
                <c:pt idx="2405">
                  <c:v>83332368</c:v>
                </c:pt>
                <c:pt idx="2406">
                  <c:v>1292356520</c:v>
                </c:pt>
                <c:pt idx="2407">
                  <c:v>241018076</c:v>
                </c:pt>
                <c:pt idx="2408">
                  <c:v>657270500</c:v>
                </c:pt>
                <c:pt idx="2409">
                  <c:v>1393044235</c:v>
                </c:pt>
                <c:pt idx="2410">
                  <c:v>82626774</c:v>
                </c:pt>
                <c:pt idx="2411">
                  <c:v>288029115</c:v>
                </c:pt>
                <c:pt idx="2412">
                  <c:v>252937785</c:v>
                </c:pt>
                <c:pt idx="2413">
                  <c:v>526934860</c:v>
                </c:pt>
                <c:pt idx="2414">
                  <c:v>571417524</c:v>
                </c:pt>
                <c:pt idx="2415">
                  <c:v>536992155</c:v>
                </c:pt>
                <c:pt idx="2416">
                  <c:v>812939094</c:v>
                </c:pt>
                <c:pt idx="2417">
                  <c:v>71049011</c:v>
                </c:pt>
                <c:pt idx="2418">
                  <c:v>1884565020</c:v>
                </c:pt>
                <c:pt idx="2419">
                  <c:v>1100208992</c:v>
                </c:pt>
                <c:pt idx="2420">
                  <c:v>328572032</c:v>
                </c:pt>
                <c:pt idx="2421">
                  <c:v>206315552</c:v>
                </c:pt>
                <c:pt idx="2422">
                  <c:v>222202296</c:v>
                </c:pt>
                <c:pt idx="2423">
                  <c:v>288564442</c:v>
                </c:pt>
                <c:pt idx="2424">
                  <c:v>191424761</c:v>
                </c:pt>
                <c:pt idx="2425">
                  <c:v>563861560</c:v>
                </c:pt>
                <c:pt idx="2426">
                  <c:v>1940239428</c:v>
                </c:pt>
                <c:pt idx="2427">
                  <c:v>659026137</c:v>
                </c:pt>
                <c:pt idx="2428">
                  <c:v>188006521</c:v>
                </c:pt>
                <c:pt idx="2429">
                  <c:v>252967260</c:v>
                </c:pt>
                <c:pt idx="2430">
                  <c:v>4976723459</c:v>
                </c:pt>
                <c:pt idx="2431">
                  <c:v>785590522</c:v>
                </c:pt>
                <c:pt idx="2432">
                  <c:v>1481926216</c:v>
                </c:pt>
                <c:pt idx="2433">
                  <c:v>1799830715</c:v>
                </c:pt>
                <c:pt idx="2434">
                  <c:v>267699711</c:v>
                </c:pt>
                <c:pt idx="2435">
                  <c:v>180918808</c:v>
                </c:pt>
                <c:pt idx="2436">
                  <c:v>319435920</c:v>
                </c:pt>
                <c:pt idx="2437">
                  <c:v>794266962</c:v>
                </c:pt>
                <c:pt idx="2438">
                  <c:v>31314935531</c:v>
                </c:pt>
                <c:pt idx="2439">
                  <c:v>422687580</c:v>
                </c:pt>
                <c:pt idx="2440">
                  <c:v>265133700</c:v>
                </c:pt>
                <c:pt idx="2441">
                  <c:v>1508043908</c:v>
                </c:pt>
                <c:pt idx="2442">
                  <c:v>1983912339</c:v>
                </c:pt>
                <c:pt idx="2443">
                  <c:v>148944150</c:v>
                </c:pt>
                <c:pt idx="2444">
                  <c:v>1959828642</c:v>
                </c:pt>
                <c:pt idx="2445">
                  <c:v>436188726</c:v>
                </c:pt>
                <c:pt idx="2446">
                  <c:v>610393896</c:v>
                </c:pt>
                <c:pt idx="2447">
                  <c:v>193651675</c:v>
                </c:pt>
                <c:pt idx="2448">
                  <c:v>199947260</c:v>
                </c:pt>
                <c:pt idx="2449">
                  <c:v>423214626</c:v>
                </c:pt>
                <c:pt idx="2450">
                  <c:v>1583823679</c:v>
                </c:pt>
                <c:pt idx="2451">
                  <c:v>654663072</c:v>
                </c:pt>
                <c:pt idx="2452">
                  <c:v>192423000</c:v>
                </c:pt>
                <c:pt idx="2453">
                  <c:v>1006531960</c:v>
                </c:pt>
                <c:pt idx="2454">
                  <c:v>360623312</c:v>
                </c:pt>
                <c:pt idx="2455">
                  <c:v>440641126</c:v>
                </c:pt>
                <c:pt idx="2456">
                  <c:v>201627258</c:v>
                </c:pt>
                <c:pt idx="2457">
                  <c:v>1405897684</c:v>
                </c:pt>
                <c:pt idx="2458">
                  <c:v>563230630</c:v>
                </c:pt>
                <c:pt idx="2459">
                  <c:v>482915232</c:v>
                </c:pt>
                <c:pt idx="2460">
                  <c:v>488740340</c:v>
                </c:pt>
                <c:pt idx="2461">
                  <c:v>2002791420</c:v>
                </c:pt>
                <c:pt idx="2462">
                  <c:v>794015136</c:v>
                </c:pt>
                <c:pt idx="2463">
                  <c:v>516093956</c:v>
                </c:pt>
                <c:pt idx="2464">
                  <c:v>453342510</c:v>
                </c:pt>
                <c:pt idx="2465">
                  <c:v>1022834713</c:v>
                </c:pt>
                <c:pt idx="2466">
                  <c:v>2147483647</c:v>
                </c:pt>
                <c:pt idx="2467">
                  <c:v>2147483647</c:v>
                </c:pt>
                <c:pt idx="2468">
                  <c:v>899137630</c:v>
                </c:pt>
                <c:pt idx="2469">
                  <c:v>614765748</c:v>
                </c:pt>
                <c:pt idx="2470">
                  <c:v>373645413</c:v>
                </c:pt>
                <c:pt idx="2471">
                  <c:v>1298197152</c:v>
                </c:pt>
                <c:pt idx="2472">
                  <c:v>378962504</c:v>
                </c:pt>
                <c:pt idx="2473">
                  <c:v>1224029752</c:v>
                </c:pt>
                <c:pt idx="2474">
                  <c:v>287152320</c:v>
                </c:pt>
                <c:pt idx="2475">
                  <c:v>1144448126</c:v>
                </c:pt>
                <c:pt idx="2476">
                  <c:v>955644279</c:v>
                </c:pt>
                <c:pt idx="2477">
                  <c:v>557170632</c:v>
                </c:pt>
                <c:pt idx="2478">
                  <c:v>772159220</c:v>
                </c:pt>
                <c:pt idx="2479">
                  <c:v>387853004</c:v>
                </c:pt>
                <c:pt idx="2480">
                  <c:v>1519706028</c:v>
                </c:pt>
                <c:pt idx="2481">
                  <c:v>443668635</c:v>
                </c:pt>
                <c:pt idx="2482">
                  <c:v>2147483647</c:v>
                </c:pt>
                <c:pt idx="2483">
                  <c:v>381820224</c:v>
                </c:pt>
                <c:pt idx="2484">
                  <c:v>815588910</c:v>
                </c:pt>
                <c:pt idx="2485">
                  <c:v>829501992</c:v>
                </c:pt>
                <c:pt idx="2486">
                  <c:v>539763024</c:v>
                </c:pt>
                <c:pt idx="2487">
                  <c:v>3033124460</c:v>
                </c:pt>
                <c:pt idx="2488">
                  <c:v>1022651244</c:v>
                </c:pt>
                <c:pt idx="2489">
                  <c:v>2147483647</c:v>
                </c:pt>
                <c:pt idx="2490">
                  <c:v>676923537</c:v>
                </c:pt>
                <c:pt idx="2491">
                  <c:v>688359414</c:v>
                </c:pt>
                <c:pt idx="2492">
                  <c:v>58741200</c:v>
                </c:pt>
                <c:pt idx="2493">
                  <c:v>1353691278</c:v>
                </c:pt>
                <c:pt idx="2494">
                  <c:v>1043943789</c:v>
                </c:pt>
                <c:pt idx="2495">
                  <c:v>1804583256</c:v>
                </c:pt>
                <c:pt idx="2496">
                  <c:v>502487042</c:v>
                </c:pt>
                <c:pt idx="2497">
                  <c:v>703919387</c:v>
                </c:pt>
                <c:pt idx="2498">
                  <c:v>730806948</c:v>
                </c:pt>
                <c:pt idx="2499">
                  <c:v>681896086</c:v>
                </c:pt>
                <c:pt idx="2500">
                  <c:v>277612184</c:v>
                </c:pt>
                <c:pt idx="2501">
                  <c:v>756659368</c:v>
                </c:pt>
                <c:pt idx="2502">
                  <c:v>761352183</c:v>
                </c:pt>
                <c:pt idx="2503">
                  <c:v>1914309862</c:v>
                </c:pt>
                <c:pt idx="2504">
                  <c:v>3892359865</c:v>
                </c:pt>
                <c:pt idx="2505">
                  <c:v>615969750</c:v>
                </c:pt>
                <c:pt idx="2506">
                  <c:v>810450836</c:v>
                </c:pt>
                <c:pt idx="2507">
                  <c:v>291220779</c:v>
                </c:pt>
                <c:pt idx="2508">
                  <c:v>1555390350</c:v>
                </c:pt>
                <c:pt idx="2509">
                  <c:v>1224554760</c:v>
                </c:pt>
                <c:pt idx="2510">
                  <c:v>3416562668</c:v>
                </c:pt>
                <c:pt idx="2511">
                  <c:v>318236533</c:v>
                </c:pt>
                <c:pt idx="2512">
                  <c:v>590140204</c:v>
                </c:pt>
                <c:pt idx="2513">
                  <c:v>972987015</c:v>
                </c:pt>
                <c:pt idx="2514">
                  <c:v>814700877</c:v>
                </c:pt>
                <c:pt idx="2515">
                  <c:v>851273280</c:v>
                </c:pt>
                <c:pt idx="2516">
                  <c:v>163230717</c:v>
                </c:pt>
                <c:pt idx="2517">
                  <c:v>522685520</c:v>
                </c:pt>
                <c:pt idx="2518">
                  <c:v>678369790</c:v>
                </c:pt>
                <c:pt idx="2519">
                  <c:v>1555660584</c:v>
                </c:pt>
                <c:pt idx="2520">
                  <c:v>339077648</c:v>
                </c:pt>
                <c:pt idx="2521">
                  <c:v>574899996</c:v>
                </c:pt>
                <c:pt idx="2522">
                  <c:v>464291064</c:v>
                </c:pt>
                <c:pt idx="2523">
                  <c:v>1188279200</c:v>
                </c:pt>
                <c:pt idx="2524">
                  <c:v>798870039</c:v>
                </c:pt>
                <c:pt idx="2525">
                  <c:v>882417550</c:v>
                </c:pt>
                <c:pt idx="2526">
                  <c:v>615253056</c:v>
                </c:pt>
                <c:pt idx="2527">
                  <c:v>2147483647</c:v>
                </c:pt>
                <c:pt idx="2528">
                  <c:v>601687808</c:v>
                </c:pt>
                <c:pt idx="2529">
                  <c:v>1769561288</c:v>
                </c:pt>
                <c:pt idx="2530">
                  <c:v>445727700</c:v>
                </c:pt>
                <c:pt idx="2531">
                  <c:v>1182282700</c:v>
                </c:pt>
                <c:pt idx="2532">
                  <c:v>1108154576</c:v>
                </c:pt>
                <c:pt idx="2533">
                  <c:v>4812418059</c:v>
                </c:pt>
                <c:pt idx="2534">
                  <c:v>522653014</c:v>
                </c:pt>
                <c:pt idx="2535">
                  <c:v>1608830227</c:v>
                </c:pt>
                <c:pt idx="2536">
                  <c:v>2579160144</c:v>
                </c:pt>
                <c:pt idx="2537">
                  <c:v>589531296</c:v>
                </c:pt>
                <c:pt idx="2538">
                  <c:v>696640309</c:v>
                </c:pt>
                <c:pt idx="2539">
                  <c:v>408700552</c:v>
                </c:pt>
                <c:pt idx="2540">
                  <c:v>1659557280</c:v>
                </c:pt>
                <c:pt idx="2541">
                  <c:v>2147483647</c:v>
                </c:pt>
                <c:pt idx="2542">
                  <c:v>583240954</c:v>
                </c:pt>
                <c:pt idx="2543">
                  <c:v>1913981724</c:v>
                </c:pt>
                <c:pt idx="2544">
                  <c:v>436314384</c:v>
                </c:pt>
                <c:pt idx="2545">
                  <c:v>512811519</c:v>
                </c:pt>
                <c:pt idx="2546">
                  <c:v>523039650</c:v>
                </c:pt>
                <c:pt idx="2547">
                  <c:v>354498675</c:v>
                </c:pt>
                <c:pt idx="2548">
                  <c:v>317751434</c:v>
                </c:pt>
                <c:pt idx="2549">
                  <c:v>694003608</c:v>
                </c:pt>
                <c:pt idx="2550">
                  <c:v>1852465516</c:v>
                </c:pt>
                <c:pt idx="2551">
                  <c:v>716091931</c:v>
                </c:pt>
                <c:pt idx="2552">
                  <c:v>524284997</c:v>
                </c:pt>
                <c:pt idx="2553">
                  <c:v>953204856</c:v>
                </c:pt>
                <c:pt idx="2554">
                  <c:v>2147483647</c:v>
                </c:pt>
                <c:pt idx="2555">
                  <c:v>223578630</c:v>
                </c:pt>
                <c:pt idx="2556">
                  <c:v>1052650763</c:v>
                </c:pt>
                <c:pt idx="2557">
                  <c:v>425135656</c:v>
                </c:pt>
                <c:pt idx="2558">
                  <c:v>379938044</c:v>
                </c:pt>
                <c:pt idx="2559">
                  <c:v>2147483647</c:v>
                </c:pt>
                <c:pt idx="2560">
                  <c:v>1044183312</c:v>
                </c:pt>
                <c:pt idx="2561">
                  <c:v>202631056</c:v>
                </c:pt>
                <c:pt idx="2562">
                  <c:v>86145942</c:v>
                </c:pt>
                <c:pt idx="2563">
                  <c:v>658765680</c:v>
                </c:pt>
                <c:pt idx="2564">
                  <c:v>776040272</c:v>
                </c:pt>
                <c:pt idx="2565">
                  <c:v>830057580</c:v>
                </c:pt>
                <c:pt idx="2566">
                  <c:v>190932738</c:v>
                </c:pt>
                <c:pt idx="2567">
                  <c:v>359809608</c:v>
                </c:pt>
                <c:pt idx="2568">
                  <c:v>1791172095</c:v>
                </c:pt>
                <c:pt idx="2569">
                  <c:v>1423964264</c:v>
                </c:pt>
                <c:pt idx="2570">
                  <c:v>401316518</c:v>
                </c:pt>
                <c:pt idx="2571">
                  <c:v>1237661140</c:v>
                </c:pt>
                <c:pt idx="2572">
                  <c:v>893469655</c:v>
                </c:pt>
                <c:pt idx="2573">
                  <c:v>444076897</c:v>
                </c:pt>
                <c:pt idx="2574">
                  <c:v>899126022</c:v>
                </c:pt>
                <c:pt idx="2575">
                  <c:v>234009510</c:v>
                </c:pt>
                <c:pt idx="2576">
                  <c:v>803397287</c:v>
                </c:pt>
                <c:pt idx="2577">
                  <c:v>544799016</c:v>
                </c:pt>
                <c:pt idx="2578">
                  <c:v>197113155</c:v>
                </c:pt>
                <c:pt idx="2579">
                  <c:v>975414100</c:v>
                </c:pt>
                <c:pt idx="2580">
                  <c:v>808668000</c:v>
                </c:pt>
                <c:pt idx="2581">
                  <c:v>406468791</c:v>
                </c:pt>
                <c:pt idx="2582">
                  <c:v>735928870</c:v>
                </c:pt>
                <c:pt idx="2583">
                  <c:v>1373224050</c:v>
                </c:pt>
                <c:pt idx="2584">
                  <c:v>2147483647</c:v>
                </c:pt>
                <c:pt idx="2585">
                  <c:v>650946186</c:v>
                </c:pt>
                <c:pt idx="2586">
                  <c:v>769746213</c:v>
                </c:pt>
                <c:pt idx="2587">
                  <c:v>2147483647</c:v>
                </c:pt>
                <c:pt idx="2588">
                  <c:v>491669052</c:v>
                </c:pt>
                <c:pt idx="2589">
                  <c:v>1764892558</c:v>
                </c:pt>
                <c:pt idx="2590">
                  <c:v>1436857600</c:v>
                </c:pt>
                <c:pt idx="2591">
                  <c:v>813537970</c:v>
                </c:pt>
                <c:pt idx="2592">
                  <c:v>2147483647</c:v>
                </c:pt>
                <c:pt idx="2593">
                  <c:v>10588699218</c:v>
                </c:pt>
                <c:pt idx="2594">
                  <c:v>449572272</c:v>
                </c:pt>
                <c:pt idx="2595">
                  <c:v>1326054380</c:v>
                </c:pt>
                <c:pt idx="2596">
                  <c:v>819843198</c:v>
                </c:pt>
                <c:pt idx="2597">
                  <c:v>310055965</c:v>
                </c:pt>
                <c:pt idx="2598">
                  <c:v>841334350</c:v>
                </c:pt>
                <c:pt idx="2599">
                  <c:v>216409020</c:v>
                </c:pt>
                <c:pt idx="2600">
                  <c:v>433141120</c:v>
                </c:pt>
                <c:pt idx="2601">
                  <c:v>456789092</c:v>
                </c:pt>
                <c:pt idx="2602">
                  <c:v>2147483647</c:v>
                </c:pt>
                <c:pt idx="2603">
                  <c:v>310897052</c:v>
                </c:pt>
                <c:pt idx="2604">
                  <c:v>308222892</c:v>
                </c:pt>
                <c:pt idx="2605">
                  <c:v>109014406</c:v>
                </c:pt>
                <c:pt idx="2606">
                  <c:v>1564356640</c:v>
                </c:pt>
                <c:pt idx="2607">
                  <c:v>656278980</c:v>
                </c:pt>
                <c:pt idx="2608">
                  <c:v>167142320</c:v>
                </c:pt>
                <c:pt idx="2609">
                  <c:v>552201920</c:v>
                </c:pt>
                <c:pt idx="2610">
                  <c:v>495145731</c:v>
                </c:pt>
                <c:pt idx="2611">
                  <c:v>472161030</c:v>
                </c:pt>
                <c:pt idx="2612">
                  <c:v>1511710900</c:v>
                </c:pt>
                <c:pt idx="2613">
                  <c:v>1331181799</c:v>
                </c:pt>
                <c:pt idx="2614">
                  <c:v>440480070</c:v>
                </c:pt>
                <c:pt idx="2615">
                  <c:v>2147483647</c:v>
                </c:pt>
                <c:pt idx="2616">
                  <c:v>925707165</c:v>
                </c:pt>
                <c:pt idx="2617">
                  <c:v>1167641517</c:v>
                </c:pt>
                <c:pt idx="2618">
                  <c:v>868877598</c:v>
                </c:pt>
                <c:pt idx="2619">
                  <c:v>645286383</c:v>
                </c:pt>
                <c:pt idx="2620">
                  <c:v>1282563070</c:v>
                </c:pt>
                <c:pt idx="2621">
                  <c:v>177792678</c:v>
                </c:pt>
                <c:pt idx="2622">
                  <c:v>1465874640</c:v>
                </c:pt>
                <c:pt idx="2623">
                  <c:v>55974592</c:v>
                </c:pt>
                <c:pt idx="2624">
                  <c:v>1183920368</c:v>
                </c:pt>
                <c:pt idx="2625">
                  <c:v>1030028135</c:v>
                </c:pt>
                <c:pt idx="2626">
                  <c:v>1272356888</c:v>
                </c:pt>
                <c:pt idx="2627">
                  <c:v>413034000</c:v>
                </c:pt>
                <c:pt idx="2628">
                  <c:v>706330889</c:v>
                </c:pt>
                <c:pt idx="2629">
                  <c:v>1697136360</c:v>
                </c:pt>
                <c:pt idx="2630">
                  <c:v>413667342</c:v>
                </c:pt>
                <c:pt idx="2631">
                  <c:v>1304155208</c:v>
                </c:pt>
                <c:pt idx="2632">
                  <c:v>2147483647</c:v>
                </c:pt>
                <c:pt idx="2633">
                  <c:v>199014852</c:v>
                </c:pt>
                <c:pt idx="2634">
                  <c:v>387247616</c:v>
                </c:pt>
                <c:pt idx="2635">
                  <c:v>1754397994</c:v>
                </c:pt>
                <c:pt idx="2636">
                  <c:v>1115721982</c:v>
                </c:pt>
                <c:pt idx="2637">
                  <c:v>441486615</c:v>
                </c:pt>
                <c:pt idx="2638">
                  <c:v>1756522656</c:v>
                </c:pt>
                <c:pt idx="2639">
                  <c:v>961823632</c:v>
                </c:pt>
                <c:pt idx="2640">
                  <c:v>772702975</c:v>
                </c:pt>
                <c:pt idx="2641">
                  <c:v>1017144513</c:v>
                </c:pt>
                <c:pt idx="2642">
                  <c:v>603514286</c:v>
                </c:pt>
                <c:pt idx="2643">
                  <c:v>1606703267</c:v>
                </c:pt>
                <c:pt idx="2644">
                  <c:v>434229984</c:v>
                </c:pt>
                <c:pt idx="2645">
                  <c:v>637451900</c:v>
                </c:pt>
                <c:pt idx="2646">
                  <c:v>748573449</c:v>
                </c:pt>
                <c:pt idx="2647">
                  <c:v>374763708</c:v>
                </c:pt>
                <c:pt idx="2648">
                  <c:v>1395537525</c:v>
                </c:pt>
                <c:pt idx="2649">
                  <c:v>165499614</c:v>
                </c:pt>
                <c:pt idx="2650">
                  <c:v>1026975774</c:v>
                </c:pt>
                <c:pt idx="2651">
                  <c:v>2147483647</c:v>
                </c:pt>
                <c:pt idx="2652">
                  <c:v>3117749864</c:v>
                </c:pt>
                <c:pt idx="2653">
                  <c:v>546223960</c:v>
                </c:pt>
                <c:pt idx="2654">
                  <c:v>1594336380</c:v>
                </c:pt>
                <c:pt idx="2655">
                  <c:v>1412498824</c:v>
                </c:pt>
                <c:pt idx="2656">
                  <c:v>1275612786</c:v>
                </c:pt>
                <c:pt idx="2657">
                  <c:v>2147483647</c:v>
                </c:pt>
                <c:pt idx="2658">
                  <c:v>1036444224</c:v>
                </c:pt>
                <c:pt idx="2659">
                  <c:v>2147483647</c:v>
                </c:pt>
                <c:pt idx="2660">
                  <c:v>954700862</c:v>
                </c:pt>
                <c:pt idx="2661">
                  <c:v>1635298617</c:v>
                </c:pt>
                <c:pt idx="2662">
                  <c:v>168050718</c:v>
                </c:pt>
                <c:pt idx="2663">
                  <c:v>1161300008</c:v>
                </c:pt>
                <c:pt idx="2664">
                  <c:v>798256480</c:v>
                </c:pt>
                <c:pt idx="2665">
                  <c:v>920008700</c:v>
                </c:pt>
                <c:pt idx="2666">
                  <c:v>5779134314</c:v>
                </c:pt>
                <c:pt idx="2667">
                  <c:v>179550765</c:v>
                </c:pt>
                <c:pt idx="2668">
                  <c:v>1294227720</c:v>
                </c:pt>
                <c:pt idx="2669">
                  <c:v>737515080</c:v>
                </c:pt>
                <c:pt idx="2670">
                  <c:v>2147483647</c:v>
                </c:pt>
                <c:pt idx="2671">
                  <c:v>1999764096</c:v>
                </c:pt>
                <c:pt idx="2672">
                  <c:v>376244916</c:v>
                </c:pt>
                <c:pt idx="2673">
                  <c:v>268448852</c:v>
                </c:pt>
                <c:pt idx="2674">
                  <c:v>317237782</c:v>
                </c:pt>
                <c:pt idx="2675">
                  <c:v>1548123934</c:v>
                </c:pt>
                <c:pt idx="2676">
                  <c:v>580584834</c:v>
                </c:pt>
                <c:pt idx="2677">
                  <c:v>716786682</c:v>
                </c:pt>
                <c:pt idx="2678">
                  <c:v>493960680</c:v>
                </c:pt>
                <c:pt idx="2679">
                  <c:v>704454800</c:v>
                </c:pt>
                <c:pt idx="2680">
                  <c:v>191427264</c:v>
                </c:pt>
                <c:pt idx="2681">
                  <c:v>276633507</c:v>
                </c:pt>
                <c:pt idx="2682">
                  <c:v>88623324</c:v>
                </c:pt>
                <c:pt idx="2683">
                  <c:v>1869550287</c:v>
                </c:pt>
                <c:pt idx="2684">
                  <c:v>803449800</c:v>
                </c:pt>
                <c:pt idx="2685">
                  <c:v>726198560</c:v>
                </c:pt>
                <c:pt idx="2686">
                  <c:v>299600208</c:v>
                </c:pt>
                <c:pt idx="2687">
                  <c:v>1336180530</c:v>
                </c:pt>
                <c:pt idx="2688">
                  <c:v>576538290</c:v>
                </c:pt>
                <c:pt idx="2689">
                  <c:v>959883777</c:v>
                </c:pt>
                <c:pt idx="2690">
                  <c:v>1544386635</c:v>
                </c:pt>
                <c:pt idx="2691">
                  <c:v>1422912894</c:v>
                </c:pt>
                <c:pt idx="2692">
                  <c:v>2892029371</c:v>
                </c:pt>
                <c:pt idx="2693">
                  <c:v>293858213</c:v>
                </c:pt>
                <c:pt idx="2694">
                  <c:v>240569904</c:v>
                </c:pt>
                <c:pt idx="2695">
                  <c:v>830409700</c:v>
                </c:pt>
                <c:pt idx="2696">
                  <c:v>318211470</c:v>
                </c:pt>
                <c:pt idx="2697">
                  <c:v>505237594</c:v>
                </c:pt>
                <c:pt idx="2698">
                  <c:v>430021998</c:v>
                </c:pt>
                <c:pt idx="2699">
                  <c:v>1341707930</c:v>
                </c:pt>
                <c:pt idx="2700">
                  <c:v>1056544230</c:v>
                </c:pt>
                <c:pt idx="2701">
                  <c:v>344289033</c:v>
                </c:pt>
                <c:pt idx="2702">
                  <c:v>2147483647</c:v>
                </c:pt>
                <c:pt idx="2703">
                  <c:v>2096091726</c:v>
                </c:pt>
                <c:pt idx="2704">
                  <c:v>1294652504</c:v>
                </c:pt>
                <c:pt idx="2705">
                  <c:v>452926134</c:v>
                </c:pt>
                <c:pt idx="2706">
                  <c:v>1411084120</c:v>
                </c:pt>
                <c:pt idx="2707">
                  <c:v>500159616</c:v>
                </c:pt>
                <c:pt idx="2708">
                  <c:v>656423808</c:v>
                </c:pt>
                <c:pt idx="2709">
                  <c:v>202171648</c:v>
                </c:pt>
                <c:pt idx="2710">
                  <c:v>154304568</c:v>
                </c:pt>
                <c:pt idx="2711">
                  <c:v>2307295554</c:v>
                </c:pt>
                <c:pt idx="2712">
                  <c:v>1166341256</c:v>
                </c:pt>
                <c:pt idx="2713">
                  <c:v>1080405000</c:v>
                </c:pt>
                <c:pt idx="2714">
                  <c:v>1717822082</c:v>
                </c:pt>
                <c:pt idx="2715">
                  <c:v>1708079988</c:v>
                </c:pt>
                <c:pt idx="2716">
                  <c:v>462639744</c:v>
                </c:pt>
                <c:pt idx="2717">
                  <c:v>520140585</c:v>
                </c:pt>
                <c:pt idx="2718">
                  <c:v>2147483647</c:v>
                </c:pt>
                <c:pt idx="2719">
                  <c:v>655632600</c:v>
                </c:pt>
                <c:pt idx="2720">
                  <c:v>162300996</c:v>
                </c:pt>
                <c:pt idx="2721">
                  <c:v>795206144</c:v>
                </c:pt>
                <c:pt idx="2722">
                  <c:v>215304603</c:v>
                </c:pt>
                <c:pt idx="2723">
                  <c:v>1209491844</c:v>
                </c:pt>
                <c:pt idx="2724">
                  <c:v>1011254400</c:v>
                </c:pt>
                <c:pt idx="2725">
                  <c:v>986505070</c:v>
                </c:pt>
                <c:pt idx="2726">
                  <c:v>307222920</c:v>
                </c:pt>
                <c:pt idx="2727">
                  <c:v>429359756</c:v>
                </c:pt>
                <c:pt idx="2728">
                  <c:v>685937645</c:v>
                </c:pt>
                <c:pt idx="2729">
                  <c:v>552243276</c:v>
                </c:pt>
                <c:pt idx="2730">
                  <c:v>1086770495</c:v>
                </c:pt>
                <c:pt idx="2731">
                  <c:v>270843842</c:v>
                </c:pt>
                <c:pt idx="2732">
                  <c:v>957835200</c:v>
                </c:pt>
                <c:pt idx="2733">
                  <c:v>663272210</c:v>
                </c:pt>
                <c:pt idx="2734">
                  <c:v>1295372000</c:v>
                </c:pt>
                <c:pt idx="2735">
                  <c:v>280985296</c:v>
                </c:pt>
                <c:pt idx="2736">
                  <c:v>1769667116</c:v>
                </c:pt>
                <c:pt idx="2737">
                  <c:v>316464200</c:v>
                </c:pt>
                <c:pt idx="2738">
                  <c:v>171094576</c:v>
                </c:pt>
                <c:pt idx="2739">
                  <c:v>1162144000</c:v>
                </c:pt>
                <c:pt idx="2740">
                  <c:v>131135012</c:v>
                </c:pt>
                <c:pt idx="2741">
                  <c:v>1944025600</c:v>
                </c:pt>
                <c:pt idx="2742">
                  <c:v>268495358</c:v>
                </c:pt>
                <c:pt idx="2743">
                  <c:v>1824251151</c:v>
                </c:pt>
                <c:pt idx="2744">
                  <c:v>374082850</c:v>
                </c:pt>
                <c:pt idx="2745">
                  <c:v>364640085</c:v>
                </c:pt>
                <c:pt idx="2746">
                  <c:v>2147483647</c:v>
                </c:pt>
                <c:pt idx="2747">
                  <c:v>1246364158</c:v>
                </c:pt>
                <c:pt idx="2748">
                  <c:v>909665116</c:v>
                </c:pt>
                <c:pt idx="2749">
                  <c:v>98870475</c:v>
                </c:pt>
                <c:pt idx="2750">
                  <c:v>1270837520</c:v>
                </c:pt>
                <c:pt idx="2751">
                  <c:v>1036144832</c:v>
                </c:pt>
                <c:pt idx="2752">
                  <c:v>574456740</c:v>
                </c:pt>
                <c:pt idx="2753">
                  <c:v>1296234480</c:v>
                </c:pt>
                <c:pt idx="2754">
                  <c:v>329197820</c:v>
                </c:pt>
                <c:pt idx="2755">
                  <c:v>607377414</c:v>
                </c:pt>
                <c:pt idx="2756">
                  <c:v>975865968</c:v>
                </c:pt>
                <c:pt idx="2757">
                  <c:v>363003949</c:v>
                </c:pt>
                <c:pt idx="2758">
                  <c:v>359703124</c:v>
                </c:pt>
                <c:pt idx="2759">
                  <c:v>147260872</c:v>
                </c:pt>
                <c:pt idx="2760">
                  <c:v>2147483647</c:v>
                </c:pt>
                <c:pt idx="2761">
                  <c:v>707402104</c:v>
                </c:pt>
                <c:pt idx="2762">
                  <c:v>952019280</c:v>
                </c:pt>
                <c:pt idx="2763">
                  <c:v>2147483647</c:v>
                </c:pt>
                <c:pt idx="2764">
                  <c:v>339687132</c:v>
                </c:pt>
                <c:pt idx="2765">
                  <c:v>4633123871</c:v>
                </c:pt>
                <c:pt idx="2766">
                  <c:v>507027369</c:v>
                </c:pt>
                <c:pt idx="2767">
                  <c:v>605984280</c:v>
                </c:pt>
                <c:pt idx="2768">
                  <c:v>6790649658</c:v>
                </c:pt>
                <c:pt idx="2769">
                  <c:v>990875470</c:v>
                </c:pt>
                <c:pt idx="2770">
                  <c:v>2147483647</c:v>
                </c:pt>
                <c:pt idx="2771">
                  <c:v>1898189892</c:v>
                </c:pt>
                <c:pt idx="2772">
                  <c:v>93425452</c:v>
                </c:pt>
                <c:pt idx="2773">
                  <c:v>400310078</c:v>
                </c:pt>
                <c:pt idx="2774">
                  <c:v>306823770</c:v>
                </c:pt>
                <c:pt idx="2775">
                  <c:v>1039216608</c:v>
                </c:pt>
                <c:pt idx="2776">
                  <c:v>1070362287</c:v>
                </c:pt>
                <c:pt idx="2777">
                  <c:v>1192894164</c:v>
                </c:pt>
                <c:pt idx="2778">
                  <c:v>1826590318</c:v>
                </c:pt>
                <c:pt idx="2779">
                  <c:v>514302360</c:v>
                </c:pt>
                <c:pt idx="2780">
                  <c:v>486714162</c:v>
                </c:pt>
                <c:pt idx="2781">
                  <c:v>1514617500</c:v>
                </c:pt>
                <c:pt idx="2782">
                  <c:v>598948680</c:v>
                </c:pt>
                <c:pt idx="2783">
                  <c:v>437122296</c:v>
                </c:pt>
                <c:pt idx="2784">
                  <c:v>2147483647</c:v>
                </c:pt>
                <c:pt idx="2785">
                  <c:v>1132155205</c:v>
                </c:pt>
                <c:pt idx="2786">
                  <c:v>200141295</c:v>
                </c:pt>
                <c:pt idx="2787">
                  <c:v>380788488</c:v>
                </c:pt>
                <c:pt idx="2788">
                  <c:v>712608375</c:v>
                </c:pt>
                <c:pt idx="2789">
                  <c:v>2147483647</c:v>
                </c:pt>
                <c:pt idx="2790">
                  <c:v>2147483647</c:v>
                </c:pt>
                <c:pt idx="2791">
                  <c:v>2147483647</c:v>
                </c:pt>
                <c:pt idx="2792">
                  <c:v>342927618</c:v>
                </c:pt>
                <c:pt idx="2793">
                  <c:v>1849397564</c:v>
                </c:pt>
                <c:pt idx="2794">
                  <c:v>498271200</c:v>
                </c:pt>
                <c:pt idx="2795">
                  <c:v>582358010</c:v>
                </c:pt>
                <c:pt idx="2796">
                  <c:v>652271130</c:v>
                </c:pt>
                <c:pt idx="2797">
                  <c:v>590602095</c:v>
                </c:pt>
                <c:pt idx="2798">
                  <c:v>1609777176</c:v>
                </c:pt>
                <c:pt idx="2799">
                  <c:v>1021699377</c:v>
                </c:pt>
                <c:pt idx="2800">
                  <c:v>1379034440</c:v>
                </c:pt>
                <c:pt idx="2801">
                  <c:v>446387935</c:v>
                </c:pt>
                <c:pt idx="2802">
                  <c:v>1347772564</c:v>
                </c:pt>
                <c:pt idx="2803">
                  <c:v>148044000</c:v>
                </c:pt>
                <c:pt idx="2804">
                  <c:v>353144974</c:v>
                </c:pt>
                <c:pt idx="2805">
                  <c:v>4803928132</c:v>
                </c:pt>
                <c:pt idx="2806">
                  <c:v>413025030</c:v>
                </c:pt>
                <c:pt idx="2807">
                  <c:v>301048776</c:v>
                </c:pt>
                <c:pt idx="2808">
                  <c:v>333254880</c:v>
                </c:pt>
                <c:pt idx="2809">
                  <c:v>201687135</c:v>
                </c:pt>
                <c:pt idx="2810">
                  <c:v>1027133496</c:v>
                </c:pt>
                <c:pt idx="2811">
                  <c:v>764789682</c:v>
                </c:pt>
                <c:pt idx="2812">
                  <c:v>284511204</c:v>
                </c:pt>
                <c:pt idx="2813">
                  <c:v>302983582</c:v>
                </c:pt>
                <c:pt idx="2814">
                  <c:v>194622872</c:v>
                </c:pt>
                <c:pt idx="2815">
                  <c:v>467855790</c:v>
                </c:pt>
                <c:pt idx="2816">
                  <c:v>613649020</c:v>
                </c:pt>
                <c:pt idx="2817">
                  <c:v>6756206865</c:v>
                </c:pt>
                <c:pt idx="2818">
                  <c:v>1253514966</c:v>
                </c:pt>
                <c:pt idx="2819">
                  <c:v>269017826</c:v>
                </c:pt>
                <c:pt idx="2820">
                  <c:v>133334628</c:v>
                </c:pt>
                <c:pt idx="2821">
                  <c:v>1621872582</c:v>
                </c:pt>
                <c:pt idx="2822">
                  <c:v>1472028492</c:v>
                </c:pt>
                <c:pt idx="2823">
                  <c:v>868353325</c:v>
                </c:pt>
                <c:pt idx="2824">
                  <c:v>1503641876</c:v>
                </c:pt>
                <c:pt idx="2825">
                  <c:v>88316702</c:v>
                </c:pt>
                <c:pt idx="2826">
                  <c:v>710180435</c:v>
                </c:pt>
                <c:pt idx="2827">
                  <c:v>297398256</c:v>
                </c:pt>
                <c:pt idx="2828">
                  <c:v>2147483647</c:v>
                </c:pt>
                <c:pt idx="2829">
                  <c:v>446621742</c:v>
                </c:pt>
                <c:pt idx="2830">
                  <c:v>2358549162</c:v>
                </c:pt>
                <c:pt idx="2831">
                  <c:v>796041904</c:v>
                </c:pt>
                <c:pt idx="2832">
                  <c:v>377670272</c:v>
                </c:pt>
                <c:pt idx="2833">
                  <c:v>772778656</c:v>
                </c:pt>
                <c:pt idx="2834">
                  <c:v>2077439442</c:v>
                </c:pt>
                <c:pt idx="2835">
                  <c:v>420284480</c:v>
                </c:pt>
                <c:pt idx="2836">
                  <c:v>57690288</c:v>
                </c:pt>
                <c:pt idx="2837">
                  <c:v>129955878</c:v>
                </c:pt>
                <c:pt idx="2838">
                  <c:v>1112342766</c:v>
                </c:pt>
                <c:pt idx="2839">
                  <c:v>2260596907</c:v>
                </c:pt>
                <c:pt idx="2840">
                  <c:v>211853070</c:v>
                </c:pt>
                <c:pt idx="2841">
                  <c:v>192739800</c:v>
                </c:pt>
                <c:pt idx="2842">
                  <c:v>432674340</c:v>
                </c:pt>
                <c:pt idx="2843">
                  <c:v>21793100</c:v>
                </c:pt>
                <c:pt idx="2844">
                  <c:v>189930500</c:v>
                </c:pt>
                <c:pt idx="2845">
                  <c:v>1899857826</c:v>
                </c:pt>
                <c:pt idx="2846">
                  <c:v>294190265</c:v>
                </c:pt>
                <c:pt idx="2847">
                  <c:v>983366622</c:v>
                </c:pt>
                <c:pt idx="2848">
                  <c:v>1079112832</c:v>
                </c:pt>
                <c:pt idx="2849">
                  <c:v>76971428</c:v>
                </c:pt>
                <c:pt idx="2850">
                  <c:v>124413319</c:v>
                </c:pt>
                <c:pt idx="2851">
                  <c:v>527601762</c:v>
                </c:pt>
                <c:pt idx="2852">
                  <c:v>32619353028</c:v>
                </c:pt>
                <c:pt idx="2853">
                  <c:v>1915468356</c:v>
                </c:pt>
                <c:pt idx="2854">
                  <c:v>74997987397</c:v>
                </c:pt>
                <c:pt idx="2855">
                  <c:v>113778280</c:v>
                </c:pt>
                <c:pt idx="2856">
                  <c:v>16141379605</c:v>
                </c:pt>
                <c:pt idx="2857">
                  <c:v>204195900</c:v>
                </c:pt>
                <c:pt idx="2858">
                  <c:v>129988170</c:v>
                </c:pt>
                <c:pt idx="2859">
                  <c:v>95491191</c:v>
                </c:pt>
                <c:pt idx="2860">
                  <c:v>68628504</c:v>
                </c:pt>
                <c:pt idx="2861">
                  <c:v>286322386</c:v>
                </c:pt>
                <c:pt idx="2862">
                  <c:v>790290235</c:v>
                </c:pt>
                <c:pt idx="2863">
                  <c:v>190759128</c:v>
                </c:pt>
                <c:pt idx="2864">
                  <c:v>679020144</c:v>
                </c:pt>
                <c:pt idx="2865">
                  <c:v>1235245212</c:v>
                </c:pt>
                <c:pt idx="2866">
                  <c:v>355457484</c:v>
                </c:pt>
                <c:pt idx="2867">
                  <c:v>304397520</c:v>
                </c:pt>
                <c:pt idx="2868">
                  <c:v>247655998</c:v>
                </c:pt>
                <c:pt idx="2869">
                  <c:v>1184073186</c:v>
                </c:pt>
                <c:pt idx="2870">
                  <c:v>304038294</c:v>
                </c:pt>
                <c:pt idx="2871">
                  <c:v>30848414</c:v>
                </c:pt>
                <c:pt idx="2872">
                  <c:v>329721746</c:v>
                </c:pt>
                <c:pt idx="2873">
                  <c:v>119817009</c:v>
                </c:pt>
                <c:pt idx="2874">
                  <c:v>308992023</c:v>
                </c:pt>
                <c:pt idx="2875">
                  <c:v>357942375</c:v>
                </c:pt>
                <c:pt idx="2876">
                  <c:v>386347775</c:v>
                </c:pt>
                <c:pt idx="2877">
                  <c:v>374281713</c:v>
                </c:pt>
                <c:pt idx="2878">
                  <c:v>1194558000</c:v>
                </c:pt>
                <c:pt idx="2879">
                  <c:v>1022966196</c:v>
                </c:pt>
                <c:pt idx="2880">
                  <c:v>368958786</c:v>
                </c:pt>
                <c:pt idx="2881">
                  <c:v>76934585</c:v>
                </c:pt>
                <c:pt idx="2882">
                  <c:v>85070400</c:v>
                </c:pt>
                <c:pt idx="2883">
                  <c:v>1419333886</c:v>
                </c:pt>
                <c:pt idx="2884">
                  <c:v>79403402</c:v>
                </c:pt>
                <c:pt idx="2885">
                  <c:v>615206130</c:v>
                </c:pt>
                <c:pt idx="2886">
                  <c:v>362995230</c:v>
                </c:pt>
                <c:pt idx="2887">
                  <c:v>273242798</c:v>
                </c:pt>
                <c:pt idx="2888">
                  <c:v>718560880</c:v>
                </c:pt>
                <c:pt idx="2889">
                  <c:v>492392592</c:v>
                </c:pt>
                <c:pt idx="2890">
                  <c:v>2147483647</c:v>
                </c:pt>
                <c:pt idx="2891">
                  <c:v>183806333</c:v>
                </c:pt>
                <c:pt idx="2892">
                  <c:v>413461477</c:v>
                </c:pt>
                <c:pt idx="2893">
                  <c:v>223584606</c:v>
                </c:pt>
                <c:pt idx="2894">
                  <c:v>844963210</c:v>
                </c:pt>
                <c:pt idx="2895">
                  <c:v>748015408</c:v>
                </c:pt>
                <c:pt idx="2896">
                  <c:v>1756723480</c:v>
                </c:pt>
                <c:pt idx="2897">
                  <c:v>463285248</c:v>
                </c:pt>
                <c:pt idx="2898">
                  <c:v>728056406</c:v>
                </c:pt>
                <c:pt idx="2899">
                  <c:v>1187205348</c:v>
                </c:pt>
                <c:pt idx="2900">
                  <c:v>199545519</c:v>
                </c:pt>
                <c:pt idx="2901">
                  <c:v>768193944</c:v>
                </c:pt>
                <c:pt idx="2902">
                  <c:v>262564496</c:v>
                </c:pt>
                <c:pt idx="2903">
                  <c:v>2147483647</c:v>
                </c:pt>
                <c:pt idx="2904">
                  <c:v>811935810</c:v>
                </c:pt>
                <c:pt idx="2905">
                  <c:v>1158952147</c:v>
                </c:pt>
                <c:pt idx="2906">
                  <c:v>127008785</c:v>
                </c:pt>
                <c:pt idx="2907">
                  <c:v>82189088</c:v>
                </c:pt>
                <c:pt idx="2908">
                  <c:v>851019400</c:v>
                </c:pt>
                <c:pt idx="2909">
                  <c:v>146304180</c:v>
                </c:pt>
                <c:pt idx="2910">
                  <c:v>29492390</c:v>
                </c:pt>
                <c:pt idx="2911">
                  <c:v>20391504</c:v>
                </c:pt>
                <c:pt idx="2912">
                  <c:v>304890875</c:v>
                </c:pt>
                <c:pt idx="2913">
                  <c:v>1106552880</c:v>
                </c:pt>
                <c:pt idx="2914">
                  <c:v>159840468</c:v>
                </c:pt>
                <c:pt idx="2915">
                  <c:v>147997456</c:v>
                </c:pt>
                <c:pt idx="2916">
                  <c:v>875505587</c:v>
                </c:pt>
                <c:pt idx="2917">
                  <c:v>204059769</c:v>
                </c:pt>
                <c:pt idx="2918">
                  <c:v>714929164</c:v>
                </c:pt>
                <c:pt idx="2919">
                  <c:v>155274042</c:v>
                </c:pt>
                <c:pt idx="2920">
                  <c:v>164588788</c:v>
                </c:pt>
                <c:pt idx="2921">
                  <c:v>85357935</c:v>
                </c:pt>
                <c:pt idx="2922">
                  <c:v>375793803</c:v>
                </c:pt>
                <c:pt idx="2923">
                  <c:v>1043859056</c:v>
                </c:pt>
                <c:pt idx="2924">
                  <c:v>824966162</c:v>
                </c:pt>
                <c:pt idx="2925">
                  <c:v>1517660246</c:v>
                </c:pt>
                <c:pt idx="2926">
                  <c:v>548132088</c:v>
                </c:pt>
                <c:pt idx="2927">
                  <c:v>1610601888</c:v>
                </c:pt>
                <c:pt idx="2928">
                  <c:v>728201934</c:v>
                </c:pt>
                <c:pt idx="2929">
                  <c:v>1819530144</c:v>
                </c:pt>
                <c:pt idx="2930">
                  <c:v>1751308060</c:v>
                </c:pt>
                <c:pt idx="2931">
                  <c:v>224908267</c:v>
                </c:pt>
                <c:pt idx="2932">
                  <c:v>1262743286</c:v>
                </c:pt>
                <c:pt idx="2933">
                  <c:v>522788949</c:v>
                </c:pt>
                <c:pt idx="2934">
                  <c:v>669655620</c:v>
                </c:pt>
                <c:pt idx="2935">
                  <c:v>105982540</c:v>
                </c:pt>
                <c:pt idx="2936">
                  <c:v>180065104</c:v>
                </c:pt>
                <c:pt idx="2937">
                  <c:v>2147483647</c:v>
                </c:pt>
                <c:pt idx="2938">
                  <c:v>986300178</c:v>
                </c:pt>
                <c:pt idx="2939">
                  <c:v>1583340213</c:v>
                </c:pt>
                <c:pt idx="2940">
                  <c:v>440687875</c:v>
                </c:pt>
                <c:pt idx="2941">
                  <c:v>1473641820</c:v>
                </c:pt>
                <c:pt idx="2942">
                  <c:v>123391744</c:v>
                </c:pt>
                <c:pt idx="2943">
                  <c:v>2147483647</c:v>
                </c:pt>
                <c:pt idx="2944">
                  <c:v>2266504627</c:v>
                </c:pt>
                <c:pt idx="2945">
                  <c:v>1656816675</c:v>
                </c:pt>
                <c:pt idx="2946">
                  <c:v>443990781</c:v>
                </c:pt>
                <c:pt idx="2947">
                  <c:v>757287630</c:v>
                </c:pt>
                <c:pt idx="2948">
                  <c:v>778508337</c:v>
                </c:pt>
                <c:pt idx="2949">
                  <c:v>637554871</c:v>
                </c:pt>
                <c:pt idx="2950">
                  <c:v>1357812768</c:v>
                </c:pt>
                <c:pt idx="2951">
                  <c:v>159604560</c:v>
                </c:pt>
                <c:pt idx="2952">
                  <c:v>6256768197</c:v>
                </c:pt>
                <c:pt idx="2953">
                  <c:v>83186635</c:v>
                </c:pt>
                <c:pt idx="2954">
                  <c:v>2147483647</c:v>
                </c:pt>
                <c:pt idx="2955">
                  <c:v>114055252</c:v>
                </c:pt>
                <c:pt idx="2956">
                  <c:v>335324660</c:v>
                </c:pt>
                <c:pt idx="2957">
                  <c:v>43475333</c:v>
                </c:pt>
                <c:pt idx="2958">
                  <c:v>133029911</c:v>
                </c:pt>
                <c:pt idx="2959">
                  <c:v>253174812</c:v>
                </c:pt>
                <c:pt idx="2960">
                  <c:v>1171750254</c:v>
                </c:pt>
                <c:pt idx="2961">
                  <c:v>409405496</c:v>
                </c:pt>
                <c:pt idx="2962">
                  <c:v>1754006717</c:v>
                </c:pt>
                <c:pt idx="2963">
                  <c:v>179723832</c:v>
                </c:pt>
                <c:pt idx="2964">
                  <c:v>2009384249</c:v>
                </c:pt>
                <c:pt idx="2965">
                  <c:v>733368310</c:v>
                </c:pt>
                <c:pt idx="2966">
                  <c:v>758326212</c:v>
                </c:pt>
                <c:pt idx="2967">
                  <c:v>2147483647</c:v>
                </c:pt>
                <c:pt idx="2968">
                  <c:v>308766352</c:v>
                </c:pt>
                <c:pt idx="2969">
                  <c:v>214985446</c:v>
                </c:pt>
                <c:pt idx="2970">
                  <c:v>277489009</c:v>
                </c:pt>
                <c:pt idx="2971">
                  <c:v>612387542</c:v>
                </c:pt>
                <c:pt idx="2972">
                  <c:v>388487190</c:v>
                </c:pt>
                <c:pt idx="2973">
                  <c:v>1177554897</c:v>
                </c:pt>
                <c:pt idx="2974">
                  <c:v>1218958000</c:v>
                </c:pt>
                <c:pt idx="2975">
                  <c:v>641870724</c:v>
                </c:pt>
                <c:pt idx="2976">
                  <c:v>375452300</c:v>
                </c:pt>
                <c:pt idx="2977">
                  <c:v>496574406</c:v>
                </c:pt>
                <c:pt idx="2978">
                  <c:v>575402128</c:v>
                </c:pt>
                <c:pt idx="2979">
                  <c:v>190948604</c:v>
                </c:pt>
                <c:pt idx="2980">
                  <c:v>580747080</c:v>
                </c:pt>
                <c:pt idx="2981">
                  <c:v>211012362</c:v>
                </c:pt>
                <c:pt idx="2982">
                  <c:v>156377304</c:v>
                </c:pt>
                <c:pt idx="2983">
                  <c:v>966495200</c:v>
                </c:pt>
                <c:pt idx="2984">
                  <c:v>180631594</c:v>
                </c:pt>
                <c:pt idx="2985">
                  <c:v>1998043092</c:v>
                </c:pt>
                <c:pt idx="2986">
                  <c:v>534045722</c:v>
                </c:pt>
                <c:pt idx="2987">
                  <c:v>129878400</c:v>
                </c:pt>
                <c:pt idx="2988">
                  <c:v>227304022</c:v>
                </c:pt>
                <c:pt idx="2989">
                  <c:v>211917401</c:v>
                </c:pt>
                <c:pt idx="2990">
                  <c:v>206227350</c:v>
                </c:pt>
                <c:pt idx="2991">
                  <c:v>1796003098</c:v>
                </c:pt>
                <c:pt idx="2992">
                  <c:v>171707760</c:v>
                </c:pt>
                <c:pt idx="2993">
                  <c:v>870090264</c:v>
                </c:pt>
                <c:pt idx="2994">
                  <c:v>66021480</c:v>
                </c:pt>
                <c:pt idx="2995">
                  <c:v>1029582854</c:v>
                </c:pt>
                <c:pt idx="2996">
                  <c:v>987100225</c:v>
                </c:pt>
                <c:pt idx="2997">
                  <c:v>838510479</c:v>
                </c:pt>
                <c:pt idx="2998">
                  <c:v>1755592992</c:v>
                </c:pt>
                <c:pt idx="2999">
                  <c:v>307436611</c:v>
                </c:pt>
                <c:pt idx="3000">
                  <c:v>546555453</c:v>
                </c:pt>
                <c:pt idx="3001">
                  <c:v>1843835805</c:v>
                </c:pt>
                <c:pt idx="3002">
                  <c:v>538653675</c:v>
                </c:pt>
                <c:pt idx="3003">
                  <c:v>207248640</c:v>
                </c:pt>
                <c:pt idx="3004">
                  <c:v>623874960</c:v>
                </c:pt>
                <c:pt idx="3005">
                  <c:v>66163500</c:v>
                </c:pt>
                <c:pt idx="3006">
                  <c:v>1244921356</c:v>
                </c:pt>
                <c:pt idx="3007">
                  <c:v>973761156</c:v>
                </c:pt>
                <c:pt idx="3008">
                  <c:v>602348160</c:v>
                </c:pt>
                <c:pt idx="3009">
                  <c:v>271215357</c:v>
                </c:pt>
                <c:pt idx="3010">
                  <c:v>459149244</c:v>
                </c:pt>
                <c:pt idx="3011">
                  <c:v>171468649</c:v>
                </c:pt>
                <c:pt idx="3012">
                  <c:v>1346038476</c:v>
                </c:pt>
                <c:pt idx="3013">
                  <c:v>346374020</c:v>
                </c:pt>
                <c:pt idx="3014">
                  <c:v>754698816</c:v>
                </c:pt>
                <c:pt idx="3015">
                  <c:v>1306317460</c:v>
                </c:pt>
                <c:pt idx="3016">
                  <c:v>622165280</c:v>
                </c:pt>
                <c:pt idx="3017">
                  <c:v>20204343</c:v>
                </c:pt>
                <c:pt idx="3018">
                  <c:v>2147483647</c:v>
                </c:pt>
                <c:pt idx="3019">
                  <c:v>2147483647</c:v>
                </c:pt>
                <c:pt idx="3020">
                  <c:v>527412039</c:v>
                </c:pt>
                <c:pt idx="3021">
                  <c:v>71817124</c:v>
                </c:pt>
                <c:pt idx="3022">
                  <c:v>356518657</c:v>
                </c:pt>
                <c:pt idx="3023">
                  <c:v>135013451</c:v>
                </c:pt>
                <c:pt idx="3024">
                  <c:v>667698896</c:v>
                </c:pt>
                <c:pt idx="3025">
                  <c:v>472393753</c:v>
                </c:pt>
                <c:pt idx="3026">
                  <c:v>2147483647</c:v>
                </c:pt>
                <c:pt idx="3027">
                  <c:v>7082804576</c:v>
                </c:pt>
                <c:pt idx="3028">
                  <c:v>943060118</c:v>
                </c:pt>
                <c:pt idx="3029">
                  <c:v>1047479655</c:v>
                </c:pt>
                <c:pt idx="3030">
                  <c:v>391228488</c:v>
                </c:pt>
                <c:pt idx="3031">
                  <c:v>921798416</c:v>
                </c:pt>
                <c:pt idx="3032">
                  <c:v>926266756</c:v>
                </c:pt>
                <c:pt idx="3033">
                  <c:v>914693155</c:v>
                </c:pt>
                <c:pt idx="3034">
                  <c:v>1188332536</c:v>
                </c:pt>
                <c:pt idx="3035">
                  <c:v>105164614</c:v>
                </c:pt>
                <c:pt idx="3036">
                  <c:v>151696106</c:v>
                </c:pt>
                <c:pt idx="3037">
                  <c:v>446836500</c:v>
                </c:pt>
                <c:pt idx="3038">
                  <c:v>543989104</c:v>
                </c:pt>
                <c:pt idx="3039">
                  <c:v>195884000</c:v>
                </c:pt>
                <c:pt idx="3040">
                  <c:v>1621517130</c:v>
                </c:pt>
                <c:pt idx="3041">
                  <c:v>1905432815</c:v>
                </c:pt>
                <c:pt idx="3042">
                  <c:v>828647064</c:v>
                </c:pt>
                <c:pt idx="3043">
                  <c:v>289896880</c:v>
                </c:pt>
                <c:pt idx="3044">
                  <c:v>2002806432</c:v>
                </c:pt>
                <c:pt idx="3045">
                  <c:v>193441395</c:v>
                </c:pt>
                <c:pt idx="3046">
                  <c:v>1755064271</c:v>
                </c:pt>
                <c:pt idx="3047">
                  <c:v>229344136</c:v>
                </c:pt>
                <c:pt idx="3048">
                  <c:v>856912996</c:v>
                </c:pt>
                <c:pt idx="3049">
                  <c:v>1985783029</c:v>
                </c:pt>
                <c:pt idx="3050">
                  <c:v>206342603</c:v>
                </c:pt>
                <c:pt idx="3051">
                  <c:v>74017405</c:v>
                </c:pt>
                <c:pt idx="3052">
                  <c:v>1722428655</c:v>
                </c:pt>
                <c:pt idx="3053">
                  <c:v>2147483647</c:v>
                </c:pt>
                <c:pt idx="3054">
                  <c:v>2060654316</c:v>
                </c:pt>
                <c:pt idx="3055">
                  <c:v>266997234</c:v>
                </c:pt>
                <c:pt idx="3056">
                  <c:v>1250001935</c:v>
                </c:pt>
                <c:pt idx="3057">
                  <c:v>179597876</c:v>
                </c:pt>
                <c:pt idx="3058">
                  <c:v>380030000</c:v>
                </c:pt>
                <c:pt idx="3059">
                  <c:v>1238750968</c:v>
                </c:pt>
                <c:pt idx="3060">
                  <c:v>355816950</c:v>
                </c:pt>
                <c:pt idx="3061">
                  <c:v>1393336080</c:v>
                </c:pt>
                <c:pt idx="3062">
                  <c:v>45277074</c:v>
                </c:pt>
                <c:pt idx="3063">
                  <c:v>2063109448</c:v>
                </c:pt>
                <c:pt idx="3064">
                  <c:v>936873828</c:v>
                </c:pt>
                <c:pt idx="3065">
                  <c:v>618960623</c:v>
                </c:pt>
                <c:pt idx="3066">
                  <c:v>180634239</c:v>
                </c:pt>
                <c:pt idx="3067">
                  <c:v>57088324</c:v>
                </c:pt>
                <c:pt idx="3068">
                  <c:v>310731665</c:v>
                </c:pt>
                <c:pt idx="3069">
                  <c:v>1333649040</c:v>
                </c:pt>
                <c:pt idx="3070">
                  <c:v>2147483647</c:v>
                </c:pt>
                <c:pt idx="3071">
                  <c:v>1216890834</c:v>
                </c:pt>
                <c:pt idx="3072">
                  <c:v>507120312</c:v>
                </c:pt>
                <c:pt idx="3073">
                  <c:v>534602265</c:v>
                </c:pt>
                <c:pt idx="3074">
                  <c:v>455079408</c:v>
                </c:pt>
                <c:pt idx="3075">
                  <c:v>244693974</c:v>
                </c:pt>
                <c:pt idx="3076">
                  <c:v>58642805</c:v>
                </c:pt>
                <c:pt idx="3077">
                  <c:v>791744289</c:v>
                </c:pt>
                <c:pt idx="3078">
                  <c:v>1085795100</c:v>
                </c:pt>
                <c:pt idx="3079">
                  <c:v>308892336</c:v>
                </c:pt>
                <c:pt idx="3080">
                  <c:v>1276669350</c:v>
                </c:pt>
                <c:pt idx="3081">
                  <c:v>2084678228</c:v>
                </c:pt>
                <c:pt idx="3082">
                  <c:v>238868214</c:v>
                </c:pt>
                <c:pt idx="3083">
                  <c:v>562666100</c:v>
                </c:pt>
                <c:pt idx="3084">
                  <c:v>1556802135</c:v>
                </c:pt>
                <c:pt idx="3085">
                  <c:v>2248797972</c:v>
                </c:pt>
                <c:pt idx="3086">
                  <c:v>40923306</c:v>
                </c:pt>
                <c:pt idx="3087">
                  <c:v>619828640</c:v>
                </c:pt>
                <c:pt idx="3088">
                  <c:v>1152379908</c:v>
                </c:pt>
                <c:pt idx="3089">
                  <c:v>42092588</c:v>
                </c:pt>
                <c:pt idx="3090">
                  <c:v>385127154</c:v>
                </c:pt>
                <c:pt idx="3091">
                  <c:v>1491400240</c:v>
                </c:pt>
                <c:pt idx="3092">
                  <c:v>958294792</c:v>
                </c:pt>
                <c:pt idx="3093">
                  <c:v>425458974</c:v>
                </c:pt>
                <c:pt idx="3094">
                  <c:v>332181666</c:v>
                </c:pt>
                <c:pt idx="3095">
                  <c:v>64505454</c:v>
                </c:pt>
                <c:pt idx="3096">
                  <c:v>159294846</c:v>
                </c:pt>
                <c:pt idx="3097">
                  <c:v>1008965780</c:v>
                </c:pt>
                <c:pt idx="3098">
                  <c:v>154065408</c:v>
                </c:pt>
                <c:pt idx="3099">
                  <c:v>593744256</c:v>
                </c:pt>
                <c:pt idx="3100">
                  <c:v>1045605264</c:v>
                </c:pt>
                <c:pt idx="3101">
                  <c:v>1409812634</c:v>
                </c:pt>
                <c:pt idx="3102">
                  <c:v>750908452</c:v>
                </c:pt>
                <c:pt idx="3103">
                  <c:v>1732228680</c:v>
                </c:pt>
                <c:pt idx="3104">
                  <c:v>134104410</c:v>
                </c:pt>
                <c:pt idx="3105">
                  <c:v>792403340</c:v>
                </c:pt>
                <c:pt idx="3106">
                  <c:v>2147483647</c:v>
                </c:pt>
                <c:pt idx="3107">
                  <c:v>656735208</c:v>
                </c:pt>
                <c:pt idx="3108">
                  <c:v>3910589555</c:v>
                </c:pt>
                <c:pt idx="3109">
                  <c:v>1134848604</c:v>
                </c:pt>
                <c:pt idx="3110">
                  <c:v>95190875</c:v>
                </c:pt>
                <c:pt idx="3111">
                  <c:v>378930112</c:v>
                </c:pt>
                <c:pt idx="3112">
                  <c:v>1745954798</c:v>
                </c:pt>
                <c:pt idx="3113">
                  <c:v>1360095316</c:v>
                </c:pt>
                <c:pt idx="3114">
                  <c:v>722995950</c:v>
                </c:pt>
                <c:pt idx="3115">
                  <c:v>1582963650</c:v>
                </c:pt>
                <c:pt idx="3116">
                  <c:v>1512019824</c:v>
                </c:pt>
                <c:pt idx="3117">
                  <c:v>418241376</c:v>
                </c:pt>
                <c:pt idx="3118">
                  <c:v>929936346</c:v>
                </c:pt>
                <c:pt idx="3119">
                  <c:v>465450000</c:v>
                </c:pt>
                <c:pt idx="3120">
                  <c:v>1501113600</c:v>
                </c:pt>
                <c:pt idx="3121">
                  <c:v>1543900636</c:v>
                </c:pt>
                <c:pt idx="3122">
                  <c:v>376575440</c:v>
                </c:pt>
                <c:pt idx="3123">
                  <c:v>270166560</c:v>
                </c:pt>
                <c:pt idx="3124">
                  <c:v>504964005</c:v>
                </c:pt>
                <c:pt idx="3125">
                  <c:v>406594526</c:v>
                </c:pt>
                <c:pt idx="3126">
                  <c:v>566248144</c:v>
                </c:pt>
                <c:pt idx="3127">
                  <c:v>496238344</c:v>
                </c:pt>
                <c:pt idx="3128">
                  <c:v>281704572</c:v>
                </c:pt>
                <c:pt idx="3129">
                  <c:v>1514230144</c:v>
                </c:pt>
                <c:pt idx="3130">
                  <c:v>1024001961</c:v>
                </c:pt>
                <c:pt idx="3131">
                  <c:v>89011226</c:v>
                </c:pt>
                <c:pt idx="3132">
                  <c:v>418697904</c:v>
                </c:pt>
                <c:pt idx="3133">
                  <c:v>796339215</c:v>
                </c:pt>
                <c:pt idx="3134">
                  <c:v>1607770659</c:v>
                </c:pt>
                <c:pt idx="3135">
                  <c:v>427072750</c:v>
                </c:pt>
                <c:pt idx="3136">
                  <c:v>39567268</c:v>
                </c:pt>
                <c:pt idx="3137">
                  <c:v>373505881</c:v>
                </c:pt>
                <c:pt idx="3138">
                  <c:v>100132914</c:v>
                </c:pt>
                <c:pt idx="3139">
                  <c:v>2042094789</c:v>
                </c:pt>
                <c:pt idx="3140">
                  <c:v>248951736</c:v>
                </c:pt>
                <c:pt idx="3141">
                  <c:v>786163198</c:v>
                </c:pt>
                <c:pt idx="3142">
                  <c:v>986965056</c:v>
                </c:pt>
                <c:pt idx="3143">
                  <c:v>1123740310</c:v>
                </c:pt>
                <c:pt idx="3144">
                  <c:v>927537408</c:v>
                </c:pt>
                <c:pt idx="3145">
                  <c:v>355488000</c:v>
                </c:pt>
                <c:pt idx="3146">
                  <c:v>280650184</c:v>
                </c:pt>
                <c:pt idx="3147">
                  <c:v>494161536</c:v>
                </c:pt>
                <c:pt idx="3148">
                  <c:v>2147483647</c:v>
                </c:pt>
                <c:pt idx="3149">
                  <c:v>2063576280</c:v>
                </c:pt>
                <c:pt idx="3150">
                  <c:v>1118610857</c:v>
                </c:pt>
                <c:pt idx="3151">
                  <c:v>429798792</c:v>
                </c:pt>
                <c:pt idx="3152">
                  <c:v>881225592</c:v>
                </c:pt>
                <c:pt idx="3153">
                  <c:v>495162108</c:v>
                </c:pt>
                <c:pt idx="3154">
                  <c:v>125920581</c:v>
                </c:pt>
                <c:pt idx="3155">
                  <c:v>1960783866</c:v>
                </c:pt>
                <c:pt idx="3156">
                  <c:v>98256634</c:v>
                </c:pt>
                <c:pt idx="3157">
                  <c:v>597459456</c:v>
                </c:pt>
                <c:pt idx="3158">
                  <c:v>1028697570</c:v>
                </c:pt>
                <c:pt idx="3159">
                  <c:v>412549273</c:v>
                </c:pt>
                <c:pt idx="3160">
                  <c:v>2147483647</c:v>
                </c:pt>
                <c:pt idx="3161">
                  <c:v>391300800</c:v>
                </c:pt>
                <c:pt idx="3162">
                  <c:v>3371185196</c:v>
                </c:pt>
                <c:pt idx="3163">
                  <c:v>320522355</c:v>
                </c:pt>
                <c:pt idx="3164">
                  <c:v>226853088</c:v>
                </c:pt>
                <c:pt idx="3165">
                  <c:v>276609669</c:v>
                </c:pt>
                <c:pt idx="3166">
                  <c:v>2311011652</c:v>
                </c:pt>
                <c:pt idx="3167">
                  <c:v>1311111683</c:v>
                </c:pt>
                <c:pt idx="3168">
                  <c:v>33307020</c:v>
                </c:pt>
                <c:pt idx="3169">
                  <c:v>199136306</c:v>
                </c:pt>
                <c:pt idx="3170">
                  <c:v>208464930</c:v>
                </c:pt>
                <c:pt idx="3171">
                  <c:v>502775872</c:v>
                </c:pt>
                <c:pt idx="3172">
                  <c:v>1982933790</c:v>
                </c:pt>
                <c:pt idx="3173">
                  <c:v>900592560</c:v>
                </c:pt>
                <c:pt idx="3174">
                  <c:v>499126400</c:v>
                </c:pt>
                <c:pt idx="3175">
                  <c:v>98898800</c:v>
                </c:pt>
                <c:pt idx="3176">
                  <c:v>1142325600</c:v>
                </c:pt>
                <c:pt idx="3177">
                  <c:v>560663928</c:v>
                </c:pt>
                <c:pt idx="3178">
                  <c:v>2147483647</c:v>
                </c:pt>
                <c:pt idx="3179">
                  <c:v>1076779410</c:v>
                </c:pt>
                <c:pt idx="3180">
                  <c:v>13562973135</c:v>
                </c:pt>
                <c:pt idx="3181">
                  <c:v>103522752</c:v>
                </c:pt>
                <c:pt idx="3182">
                  <c:v>951384256</c:v>
                </c:pt>
                <c:pt idx="3183">
                  <c:v>1935380220</c:v>
                </c:pt>
                <c:pt idx="3184">
                  <c:v>556796799</c:v>
                </c:pt>
                <c:pt idx="3185">
                  <c:v>1232465930</c:v>
                </c:pt>
                <c:pt idx="3186">
                  <c:v>1511676936</c:v>
                </c:pt>
                <c:pt idx="3187">
                  <c:v>530555278</c:v>
                </c:pt>
                <c:pt idx="3188">
                  <c:v>1132006089</c:v>
                </c:pt>
                <c:pt idx="3189">
                  <c:v>1303596624</c:v>
                </c:pt>
                <c:pt idx="3190">
                  <c:v>1017637984</c:v>
                </c:pt>
                <c:pt idx="3191">
                  <c:v>2147483647</c:v>
                </c:pt>
                <c:pt idx="3192">
                  <c:v>1267944000</c:v>
                </c:pt>
                <c:pt idx="3193">
                  <c:v>1029972516</c:v>
                </c:pt>
                <c:pt idx="3194">
                  <c:v>150227394</c:v>
                </c:pt>
                <c:pt idx="3195">
                  <c:v>248106235</c:v>
                </c:pt>
                <c:pt idx="3196">
                  <c:v>264736800</c:v>
                </c:pt>
                <c:pt idx="3197">
                  <c:v>2043043504</c:v>
                </c:pt>
                <c:pt idx="3198">
                  <c:v>760763610</c:v>
                </c:pt>
                <c:pt idx="3199">
                  <c:v>909285666</c:v>
                </c:pt>
                <c:pt idx="3200">
                  <c:v>2147483647</c:v>
                </c:pt>
                <c:pt idx="3201">
                  <c:v>5192823154</c:v>
                </c:pt>
                <c:pt idx="3202">
                  <c:v>162748098</c:v>
                </c:pt>
                <c:pt idx="3203">
                  <c:v>41404800</c:v>
                </c:pt>
                <c:pt idx="3204">
                  <c:v>467963440</c:v>
                </c:pt>
                <c:pt idx="3205">
                  <c:v>1258482694</c:v>
                </c:pt>
                <c:pt idx="3206">
                  <c:v>921928163</c:v>
                </c:pt>
                <c:pt idx="3207">
                  <c:v>344879084</c:v>
                </c:pt>
                <c:pt idx="3208">
                  <c:v>1156732445</c:v>
                </c:pt>
                <c:pt idx="3209">
                  <c:v>147717302</c:v>
                </c:pt>
                <c:pt idx="3210">
                  <c:v>87943786</c:v>
                </c:pt>
                <c:pt idx="3211">
                  <c:v>550292238</c:v>
                </c:pt>
                <c:pt idx="3212">
                  <c:v>156280900</c:v>
                </c:pt>
                <c:pt idx="3213">
                  <c:v>1993071680</c:v>
                </c:pt>
                <c:pt idx="3214">
                  <c:v>533463162</c:v>
                </c:pt>
                <c:pt idx="3215">
                  <c:v>286203687</c:v>
                </c:pt>
                <c:pt idx="3216">
                  <c:v>1466217240</c:v>
                </c:pt>
                <c:pt idx="3217">
                  <c:v>1309872128</c:v>
                </c:pt>
                <c:pt idx="3218">
                  <c:v>1275504660</c:v>
                </c:pt>
                <c:pt idx="3219">
                  <c:v>418637205</c:v>
                </c:pt>
                <c:pt idx="3220">
                  <c:v>785976056</c:v>
                </c:pt>
                <c:pt idx="3221">
                  <c:v>1564956394</c:v>
                </c:pt>
                <c:pt idx="3222">
                  <c:v>1519231711</c:v>
                </c:pt>
                <c:pt idx="3223">
                  <c:v>278672658</c:v>
                </c:pt>
                <c:pt idx="3224">
                  <c:v>17085294798</c:v>
                </c:pt>
                <c:pt idx="3225">
                  <c:v>145526952</c:v>
                </c:pt>
                <c:pt idx="3226">
                  <c:v>743967130</c:v>
                </c:pt>
                <c:pt idx="3227">
                  <c:v>607496127</c:v>
                </c:pt>
                <c:pt idx="3228">
                  <c:v>1178316405</c:v>
                </c:pt>
                <c:pt idx="3229">
                  <c:v>1146560688</c:v>
                </c:pt>
                <c:pt idx="3230">
                  <c:v>1957368600</c:v>
                </c:pt>
                <c:pt idx="3231">
                  <c:v>5398314582</c:v>
                </c:pt>
                <c:pt idx="3232">
                  <c:v>1461684556</c:v>
                </c:pt>
                <c:pt idx="3233">
                  <c:v>300713952</c:v>
                </c:pt>
                <c:pt idx="3234">
                  <c:v>160793277</c:v>
                </c:pt>
                <c:pt idx="3235">
                  <c:v>1427701293</c:v>
                </c:pt>
                <c:pt idx="3236">
                  <c:v>2220176340</c:v>
                </c:pt>
                <c:pt idx="3237">
                  <c:v>646269084</c:v>
                </c:pt>
                <c:pt idx="3238">
                  <c:v>245441694</c:v>
                </c:pt>
                <c:pt idx="3239">
                  <c:v>173759468</c:v>
                </c:pt>
                <c:pt idx="3240">
                  <c:v>767494550</c:v>
                </c:pt>
                <c:pt idx="3241">
                  <c:v>1827494543</c:v>
                </c:pt>
                <c:pt idx="3242">
                  <c:v>326977244</c:v>
                </c:pt>
                <c:pt idx="3243">
                  <c:v>2893897207</c:v>
                </c:pt>
                <c:pt idx="3244">
                  <c:v>105837520</c:v>
                </c:pt>
                <c:pt idx="3245">
                  <c:v>1023176479</c:v>
                </c:pt>
                <c:pt idx="3246">
                  <c:v>862319199</c:v>
                </c:pt>
                <c:pt idx="3247">
                  <c:v>493563684</c:v>
                </c:pt>
                <c:pt idx="3248">
                  <c:v>379345476</c:v>
                </c:pt>
                <c:pt idx="3249">
                  <c:v>620567784</c:v>
                </c:pt>
                <c:pt idx="3250">
                  <c:v>157060872</c:v>
                </c:pt>
                <c:pt idx="3251">
                  <c:v>1759136838</c:v>
                </c:pt>
                <c:pt idx="3252">
                  <c:v>1627309777</c:v>
                </c:pt>
                <c:pt idx="3253">
                  <c:v>87932979</c:v>
                </c:pt>
                <c:pt idx="3254">
                  <c:v>137598450</c:v>
                </c:pt>
                <c:pt idx="3255">
                  <c:v>200397435</c:v>
                </c:pt>
                <c:pt idx="3256">
                  <c:v>1110674186</c:v>
                </c:pt>
                <c:pt idx="3257">
                  <c:v>379086670</c:v>
                </c:pt>
                <c:pt idx="3258">
                  <c:v>267698634</c:v>
                </c:pt>
                <c:pt idx="3259">
                  <c:v>317102400</c:v>
                </c:pt>
                <c:pt idx="3260">
                  <c:v>1174247550</c:v>
                </c:pt>
                <c:pt idx="3261">
                  <c:v>650937168</c:v>
                </c:pt>
                <c:pt idx="3262">
                  <c:v>138827096</c:v>
                </c:pt>
                <c:pt idx="3263">
                  <c:v>2147483647</c:v>
                </c:pt>
                <c:pt idx="3264">
                  <c:v>189330649</c:v>
                </c:pt>
                <c:pt idx="3265">
                  <c:v>313139352</c:v>
                </c:pt>
                <c:pt idx="3266">
                  <c:v>1600225920</c:v>
                </c:pt>
                <c:pt idx="3267">
                  <c:v>64684011</c:v>
                </c:pt>
                <c:pt idx="3268">
                  <c:v>684821523</c:v>
                </c:pt>
                <c:pt idx="3269">
                  <c:v>127549796</c:v>
                </c:pt>
                <c:pt idx="3270">
                  <c:v>1095037592</c:v>
                </c:pt>
                <c:pt idx="3271">
                  <c:v>1332150347</c:v>
                </c:pt>
                <c:pt idx="3272">
                  <c:v>440344992</c:v>
                </c:pt>
                <c:pt idx="3273">
                  <c:v>2125523140</c:v>
                </c:pt>
                <c:pt idx="3274">
                  <c:v>136712059</c:v>
                </c:pt>
                <c:pt idx="3275">
                  <c:v>263224122</c:v>
                </c:pt>
                <c:pt idx="3276">
                  <c:v>35611804</c:v>
                </c:pt>
                <c:pt idx="3277">
                  <c:v>3466361488</c:v>
                </c:pt>
                <c:pt idx="3278">
                  <c:v>453328120</c:v>
                </c:pt>
                <c:pt idx="3279">
                  <c:v>1775600736</c:v>
                </c:pt>
                <c:pt idx="3280">
                  <c:v>109494970</c:v>
                </c:pt>
                <c:pt idx="3281">
                  <c:v>306861944</c:v>
                </c:pt>
                <c:pt idx="3282">
                  <c:v>616805226</c:v>
                </c:pt>
                <c:pt idx="3283">
                  <c:v>155709528</c:v>
                </c:pt>
                <c:pt idx="3284">
                  <c:v>147994308</c:v>
                </c:pt>
                <c:pt idx="3285">
                  <c:v>826326450</c:v>
                </c:pt>
                <c:pt idx="3286">
                  <c:v>1188324900</c:v>
                </c:pt>
                <c:pt idx="3287">
                  <c:v>2147483647</c:v>
                </c:pt>
                <c:pt idx="3288">
                  <c:v>290288737</c:v>
                </c:pt>
                <c:pt idx="3289">
                  <c:v>6692816483</c:v>
                </c:pt>
                <c:pt idx="3290">
                  <c:v>1725780738</c:v>
                </c:pt>
                <c:pt idx="3291">
                  <c:v>56140480</c:v>
                </c:pt>
                <c:pt idx="3292">
                  <c:v>158055516</c:v>
                </c:pt>
                <c:pt idx="3293">
                  <c:v>19714400</c:v>
                </c:pt>
                <c:pt idx="3294">
                  <c:v>6252702417</c:v>
                </c:pt>
                <c:pt idx="3295">
                  <c:v>907594844</c:v>
                </c:pt>
                <c:pt idx="3296">
                  <c:v>726074330</c:v>
                </c:pt>
                <c:pt idx="3297">
                  <c:v>817928496</c:v>
                </c:pt>
                <c:pt idx="3298">
                  <c:v>90430236</c:v>
                </c:pt>
                <c:pt idx="3299">
                  <c:v>218023106</c:v>
                </c:pt>
                <c:pt idx="3300">
                  <c:v>915597800</c:v>
                </c:pt>
                <c:pt idx="3301">
                  <c:v>754747227</c:v>
                </c:pt>
                <c:pt idx="3302">
                  <c:v>397267340</c:v>
                </c:pt>
                <c:pt idx="3303">
                  <c:v>772549799</c:v>
                </c:pt>
                <c:pt idx="3304">
                  <c:v>1198353520</c:v>
                </c:pt>
                <c:pt idx="3305">
                  <c:v>38198448</c:v>
                </c:pt>
                <c:pt idx="3306">
                  <c:v>1243107124</c:v>
                </c:pt>
                <c:pt idx="3307">
                  <c:v>1219750056</c:v>
                </c:pt>
                <c:pt idx="3308">
                  <c:v>1210446255</c:v>
                </c:pt>
                <c:pt idx="3309">
                  <c:v>168723975</c:v>
                </c:pt>
                <c:pt idx="3310">
                  <c:v>1274543820</c:v>
                </c:pt>
                <c:pt idx="3311">
                  <c:v>2147483647</c:v>
                </c:pt>
                <c:pt idx="3312">
                  <c:v>929666440</c:v>
                </c:pt>
                <c:pt idx="3313">
                  <c:v>192513492</c:v>
                </c:pt>
                <c:pt idx="3314">
                  <c:v>554624004</c:v>
                </c:pt>
                <c:pt idx="3315">
                  <c:v>588709331</c:v>
                </c:pt>
                <c:pt idx="3316">
                  <c:v>407355216</c:v>
                </c:pt>
                <c:pt idx="3317">
                  <c:v>217612768</c:v>
                </c:pt>
                <c:pt idx="3318">
                  <c:v>98971092</c:v>
                </c:pt>
                <c:pt idx="3319">
                  <c:v>524375766</c:v>
                </c:pt>
                <c:pt idx="3320">
                  <c:v>316137272</c:v>
                </c:pt>
                <c:pt idx="3321">
                  <c:v>1235599953</c:v>
                </c:pt>
                <c:pt idx="3322">
                  <c:v>253903410</c:v>
                </c:pt>
                <c:pt idx="3323">
                  <c:v>209888592</c:v>
                </c:pt>
                <c:pt idx="3324">
                  <c:v>178407768</c:v>
                </c:pt>
                <c:pt idx="3325">
                  <c:v>952728436</c:v>
                </c:pt>
                <c:pt idx="3326">
                  <c:v>809938689</c:v>
                </c:pt>
                <c:pt idx="3327">
                  <c:v>1046027800</c:v>
                </c:pt>
                <c:pt idx="3328">
                  <c:v>526061838</c:v>
                </c:pt>
                <c:pt idx="3329">
                  <c:v>408225120</c:v>
                </c:pt>
                <c:pt idx="3330">
                  <c:v>1644658510</c:v>
                </c:pt>
                <c:pt idx="3331">
                  <c:v>459572122</c:v>
                </c:pt>
                <c:pt idx="3332">
                  <c:v>74350612</c:v>
                </c:pt>
                <c:pt idx="3333">
                  <c:v>501210000</c:v>
                </c:pt>
                <c:pt idx="3334">
                  <c:v>178362096</c:v>
                </c:pt>
                <c:pt idx="3335">
                  <c:v>107768934</c:v>
                </c:pt>
                <c:pt idx="3336">
                  <c:v>132680268</c:v>
                </c:pt>
                <c:pt idx="3337">
                  <c:v>192870916</c:v>
                </c:pt>
                <c:pt idx="3338">
                  <c:v>524503518</c:v>
                </c:pt>
                <c:pt idx="3339">
                  <c:v>178066460</c:v>
                </c:pt>
                <c:pt idx="3340">
                  <c:v>512993291</c:v>
                </c:pt>
                <c:pt idx="3341">
                  <c:v>1381667625</c:v>
                </c:pt>
                <c:pt idx="3342">
                  <c:v>1042420192</c:v>
                </c:pt>
                <c:pt idx="3343">
                  <c:v>3125523794</c:v>
                </c:pt>
                <c:pt idx="3344">
                  <c:v>215802648</c:v>
                </c:pt>
                <c:pt idx="3345">
                  <c:v>178074162</c:v>
                </c:pt>
                <c:pt idx="3346">
                  <c:v>292079860</c:v>
                </c:pt>
                <c:pt idx="3347">
                  <c:v>618649135</c:v>
                </c:pt>
                <c:pt idx="3348">
                  <c:v>2662586999</c:v>
                </c:pt>
                <c:pt idx="3349">
                  <c:v>1048126720</c:v>
                </c:pt>
                <c:pt idx="3350">
                  <c:v>507653270</c:v>
                </c:pt>
                <c:pt idx="3351">
                  <c:v>1493972402</c:v>
                </c:pt>
                <c:pt idx="3352">
                  <c:v>26891261075</c:v>
                </c:pt>
                <c:pt idx="3353">
                  <c:v>677893935</c:v>
                </c:pt>
                <c:pt idx="3354">
                  <c:v>169133952</c:v>
                </c:pt>
                <c:pt idx="3355">
                  <c:v>19989147464</c:v>
                </c:pt>
                <c:pt idx="3356">
                  <c:v>532082000</c:v>
                </c:pt>
                <c:pt idx="3357">
                  <c:v>345334311</c:v>
                </c:pt>
                <c:pt idx="3358">
                  <c:v>288059749</c:v>
                </c:pt>
                <c:pt idx="3359">
                  <c:v>190653888</c:v>
                </c:pt>
                <c:pt idx="3360">
                  <c:v>368894296</c:v>
                </c:pt>
                <c:pt idx="3361">
                  <c:v>27266416930</c:v>
                </c:pt>
                <c:pt idx="3362">
                  <c:v>404863060</c:v>
                </c:pt>
                <c:pt idx="3363">
                  <c:v>612263392</c:v>
                </c:pt>
                <c:pt idx="3364">
                  <c:v>462517083</c:v>
                </c:pt>
                <c:pt idx="3365">
                  <c:v>196881256</c:v>
                </c:pt>
                <c:pt idx="3366">
                  <c:v>1708426533</c:v>
                </c:pt>
                <c:pt idx="3367">
                  <c:v>13808048321</c:v>
                </c:pt>
                <c:pt idx="3368">
                  <c:v>956109000</c:v>
                </c:pt>
                <c:pt idx="3369">
                  <c:v>2147483647</c:v>
                </c:pt>
                <c:pt idx="3370">
                  <c:v>328425720</c:v>
                </c:pt>
                <c:pt idx="3371">
                  <c:v>618309801</c:v>
                </c:pt>
                <c:pt idx="3372">
                  <c:v>119675908</c:v>
                </c:pt>
                <c:pt idx="3373">
                  <c:v>4294967294</c:v>
                </c:pt>
                <c:pt idx="3374">
                  <c:v>541695574</c:v>
                </c:pt>
                <c:pt idx="3375">
                  <c:v>174384540</c:v>
                </c:pt>
                <c:pt idx="3376">
                  <c:v>1073299878</c:v>
                </c:pt>
                <c:pt idx="3377">
                  <c:v>485878239</c:v>
                </c:pt>
                <c:pt idx="3378">
                  <c:v>1667212848</c:v>
                </c:pt>
                <c:pt idx="3379">
                  <c:v>748652980</c:v>
                </c:pt>
                <c:pt idx="3380">
                  <c:v>735883274</c:v>
                </c:pt>
                <c:pt idx="3381">
                  <c:v>1219989000</c:v>
                </c:pt>
                <c:pt idx="3382">
                  <c:v>1556817801</c:v>
                </c:pt>
                <c:pt idx="3383">
                  <c:v>1903640685</c:v>
                </c:pt>
                <c:pt idx="3384">
                  <c:v>473890244</c:v>
                </c:pt>
                <c:pt idx="3385">
                  <c:v>988224808</c:v>
                </c:pt>
                <c:pt idx="3386">
                  <c:v>808811895</c:v>
                </c:pt>
                <c:pt idx="3387">
                  <c:v>804245472</c:v>
                </c:pt>
                <c:pt idx="3388">
                  <c:v>465376191</c:v>
                </c:pt>
                <c:pt idx="3389">
                  <c:v>390202920</c:v>
                </c:pt>
                <c:pt idx="3390">
                  <c:v>1058298232</c:v>
                </c:pt>
                <c:pt idx="3391">
                  <c:v>244331164</c:v>
                </c:pt>
                <c:pt idx="3392">
                  <c:v>293851424</c:v>
                </c:pt>
                <c:pt idx="3393">
                  <c:v>376415766</c:v>
                </c:pt>
                <c:pt idx="3394">
                  <c:v>143404166</c:v>
                </c:pt>
                <c:pt idx="3395">
                  <c:v>218368710</c:v>
                </c:pt>
                <c:pt idx="3396">
                  <c:v>290872269</c:v>
                </c:pt>
                <c:pt idx="3397">
                  <c:v>413200620</c:v>
                </c:pt>
                <c:pt idx="3398">
                  <c:v>353586106</c:v>
                </c:pt>
                <c:pt idx="3399">
                  <c:v>426297699</c:v>
                </c:pt>
                <c:pt idx="3400">
                  <c:v>221302396</c:v>
                </c:pt>
                <c:pt idx="3401">
                  <c:v>624755880</c:v>
                </c:pt>
                <c:pt idx="3402">
                  <c:v>2147483647</c:v>
                </c:pt>
                <c:pt idx="3403">
                  <c:v>479256696</c:v>
                </c:pt>
                <c:pt idx="3404">
                  <c:v>4016332375</c:v>
                </c:pt>
                <c:pt idx="3405">
                  <c:v>845726867</c:v>
                </c:pt>
                <c:pt idx="3406">
                  <c:v>331891510</c:v>
                </c:pt>
                <c:pt idx="3407">
                  <c:v>620856594</c:v>
                </c:pt>
                <c:pt idx="3408">
                  <c:v>199640640</c:v>
                </c:pt>
                <c:pt idx="3409">
                  <c:v>136047890</c:v>
                </c:pt>
                <c:pt idx="3410">
                  <c:v>2147483647</c:v>
                </c:pt>
                <c:pt idx="3411">
                  <c:v>546677160</c:v>
                </c:pt>
                <c:pt idx="3412">
                  <c:v>456391362</c:v>
                </c:pt>
                <c:pt idx="3413">
                  <c:v>1721845620</c:v>
                </c:pt>
                <c:pt idx="3414">
                  <c:v>509940886</c:v>
                </c:pt>
                <c:pt idx="3415">
                  <c:v>917979472</c:v>
                </c:pt>
                <c:pt idx="3416">
                  <c:v>473954998</c:v>
                </c:pt>
                <c:pt idx="3417">
                  <c:v>433239270</c:v>
                </c:pt>
                <c:pt idx="3418">
                  <c:v>231498595</c:v>
                </c:pt>
                <c:pt idx="3419">
                  <c:v>265243360</c:v>
                </c:pt>
                <c:pt idx="3420">
                  <c:v>56017074</c:v>
                </c:pt>
                <c:pt idx="3421">
                  <c:v>597467375</c:v>
                </c:pt>
                <c:pt idx="3422">
                  <c:v>1230343968</c:v>
                </c:pt>
                <c:pt idx="3423">
                  <c:v>340777198</c:v>
                </c:pt>
                <c:pt idx="3424">
                  <c:v>234469728</c:v>
                </c:pt>
                <c:pt idx="3425">
                  <c:v>2063225367</c:v>
                </c:pt>
                <c:pt idx="3426">
                  <c:v>1812326723</c:v>
                </c:pt>
                <c:pt idx="3427">
                  <c:v>1618837704</c:v>
                </c:pt>
                <c:pt idx="3428">
                  <c:v>1711292730</c:v>
                </c:pt>
                <c:pt idx="3429">
                  <c:v>26436885</c:v>
                </c:pt>
                <c:pt idx="3430">
                  <c:v>2275903129</c:v>
                </c:pt>
                <c:pt idx="3431">
                  <c:v>280822035</c:v>
                </c:pt>
                <c:pt idx="3432">
                  <c:v>510797410</c:v>
                </c:pt>
                <c:pt idx="3433">
                  <c:v>649295274</c:v>
                </c:pt>
                <c:pt idx="3434">
                  <c:v>1174928456</c:v>
                </c:pt>
                <c:pt idx="3435">
                  <c:v>148310440</c:v>
                </c:pt>
                <c:pt idx="3436">
                  <c:v>633786624</c:v>
                </c:pt>
                <c:pt idx="3437">
                  <c:v>2147483647</c:v>
                </c:pt>
                <c:pt idx="3438">
                  <c:v>586641151</c:v>
                </c:pt>
                <c:pt idx="3439">
                  <c:v>606271017</c:v>
                </c:pt>
                <c:pt idx="3440">
                  <c:v>93518670</c:v>
                </c:pt>
                <c:pt idx="3441">
                  <c:v>1417717775</c:v>
                </c:pt>
                <c:pt idx="3442">
                  <c:v>58366328</c:v>
                </c:pt>
                <c:pt idx="3443">
                  <c:v>2397268909</c:v>
                </c:pt>
                <c:pt idx="3444">
                  <c:v>267210879</c:v>
                </c:pt>
                <c:pt idx="3445">
                  <c:v>572342244</c:v>
                </c:pt>
                <c:pt idx="3446">
                  <c:v>866936878</c:v>
                </c:pt>
                <c:pt idx="3447">
                  <c:v>1343915880</c:v>
                </c:pt>
                <c:pt idx="3448">
                  <c:v>1275311475</c:v>
                </c:pt>
                <c:pt idx="3449">
                  <c:v>2147483647</c:v>
                </c:pt>
                <c:pt idx="3450">
                  <c:v>2041820853</c:v>
                </c:pt>
                <c:pt idx="3451">
                  <c:v>1318897148</c:v>
                </c:pt>
                <c:pt idx="3452">
                  <c:v>123931197</c:v>
                </c:pt>
                <c:pt idx="3453">
                  <c:v>120783840</c:v>
                </c:pt>
                <c:pt idx="3454">
                  <c:v>121963008</c:v>
                </c:pt>
                <c:pt idx="3455">
                  <c:v>2147483647</c:v>
                </c:pt>
                <c:pt idx="3456">
                  <c:v>2147483647</c:v>
                </c:pt>
                <c:pt idx="3457">
                  <c:v>1272446313</c:v>
                </c:pt>
                <c:pt idx="3458">
                  <c:v>347348025</c:v>
                </c:pt>
                <c:pt idx="3459">
                  <c:v>2615212940</c:v>
                </c:pt>
                <c:pt idx="3460">
                  <c:v>116142176</c:v>
                </c:pt>
                <c:pt idx="3461">
                  <c:v>1382306400</c:v>
                </c:pt>
                <c:pt idx="3462">
                  <c:v>511320881</c:v>
                </c:pt>
                <c:pt idx="3463">
                  <c:v>128848134</c:v>
                </c:pt>
                <c:pt idx="3464">
                  <c:v>309708420</c:v>
                </c:pt>
                <c:pt idx="3465">
                  <c:v>217279124</c:v>
                </c:pt>
                <c:pt idx="3466">
                  <c:v>449580956</c:v>
                </c:pt>
                <c:pt idx="3467">
                  <c:v>445177834</c:v>
                </c:pt>
                <c:pt idx="3468">
                  <c:v>199061577</c:v>
                </c:pt>
                <c:pt idx="3469">
                  <c:v>273408161</c:v>
                </c:pt>
                <c:pt idx="3470">
                  <c:v>239417872</c:v>
                </c:pt>
                <c:pt idx="3471">
                  <c:v>875783325</c:v>
                </c:pt>
                <c:pt idx="3472">
                  <c:v>177498972</c:v>
                </c:pt>
                <c:pt idx="3473">
                  <c:v>457835590</c:v>
                </c:pt>
                <c:pt idx="3474">
                  <c:v>295953197</c:v>
                </c:pt>
                <c:pt idx="3475">
                  <c:v>149644370</c:v>
                </c:pt>
                <c:pt idx="3476">
                  <c:v>2049837056</c:v>
                </c:pt>
                <c:pt idx="3477">
                  <c:v>182319894</c:v>
                </c:pt>
                <c:pt idx="3478">
                  <c:v>187954786</c:v>
                </c:pt>
                <c:pt idx="3479">
                  <c:v>136914336</c:v>
                </c:pt>
                <c:pt idx="3480">
                  <c:v>760136593</c:v>
                </c:pt>
                <c:pt idx="3481">
                  <c:v>386654632</c:v>
                </c:pt>
                <c:pt idx="3482">
                  <c:v>1722962362</c:v>
                </c:pt>
                <c:pt idx="3483">
                  <c:v>194897664</c:v>
                </c:pt>
                <c:pt idx="3484">
                  <c:v>290479900</c:v>
                </c:pt>
                <c:pt idx="3485">
                  <c:v>526808537</c:v>
                </c:pt>
                <c:pt idx="3486">
                  <c:v>105225318</c:v>
                </c:pt>
                <c:pt idx="3487">
                  <c:v>1686661928</c:v>
                </c:pt>
                <c:pt idx="3488">
                  <c:v>107155830</c:v>
                </c:pt>
                <c:pt idx="3489">
                  <c:v>115913054</c:v>
                </c:pt>
                <c:pt idx="3490">
                  <c:v>1230149441</c:v>
                </c:pt>
                <c:pt idx="3491">
                  <c:v>1326349156</c:v>
                </c:pt>
                <c:pt idx="3492">
                  <c:v>1389612300</c:v>
                </c:pt>
                <c:pt idx="3493">
                  <c:v>857460992</c:v>
                </c:pt>
                <c:pt idx="3494">
                  <c:v>268891581</c:v>
                </c:pt>
                <c:pt idx="3495">
                  <c:v>694189412</c:v>
                </c:pt>
                <c:pt idx="3496">
                  <c:v>256278182</c:v>
                </c:pt>
                <c:pt idx="3497">
                  <c:v>157571440</c:v>
                </c:pt>
                <c:pt idx="3498">
                  <c:v>324122084</c:v>
                </c:pt>
                <c:pt idx="3499">
                  <c:v>721095205</c:v>
                </c:pt>
                <c:pt idx="3500">
                  <c:v>412503840</c:v>
                </c:pt>
                <c:pt idx="3501">
                  <c:v>366617784</c:v>
                </c:pt>
                <c:pt idx="3502">
                  <c:v>9737224</c:v>
                </c:pt>
                <c:pt idx="3503">
                  <c:v>611423188</c:v>
                </c:pt>
                <c:pt idx="3504">
                  <c:v>2121075080</c:v>
                </c:pt>
                <c:pt idx="3505">
                  <c:v>1158254113</c:v>
                </c:pt>
                <c:pt idx="3506">
                  <c:v>168235298</c:v>
                </c:pt>
                <c:pt idx="3507">
                  <c:v>160989726</c:v>
                </c:pt>
                <c:pt idx="3508">
                  <c:v>2045091920</c:v>
                </c:pt>
                <c:pt idx="3509">
                  <c:v>1887895620</c:v>
                </c:pt>
                <c:pt idx="3510">
                  <c:v>686001142</c:v>
                </c:pt>
                <c:pt idx="3511">
                  <c:v>812195576</c:v>
                </c:pt>
                <c:pt idx="3512">
                  <c:v>548867340</c:v>
                </c:pt>
                <c:pt idx="3513">
                  <c:v>572115002</c:v>
                </c:pt>
                <c:pt idx="3514">
                  <c:v>2147483647</c:v>
                </c:pt>
                <c:pt idx="3515">
                  <c:v>939188397</c:v>
                </c:pt>
                <c:pt idx="3516">
                  <c:v>1793783706</c:v>
                </c:pt>
                <c:pt idx="3517">
                  <c:v>449933832</c:v>
                </c:pt>
                <c:pt idx="3518">
                  <c:v>102999265</c:v>
                </c:pt>
                <c:pt idx="3519">
                  <c:v>1303839144</c:v>
                </c:pt>
                <c:pt idx="3520">
                  <c:v>56589533</c:v>
                </c:pt>
                <c:pt idx="3521">
                  <c:v>450756208</c:v>
                </c:pt>
                <c:pt idx="3522">
                  <c:v>400936704</c:v>
                </c:pt>
                <c:pt idx="3523">
                  <c:v>746968530</c:v>
                </c:pt>
                <c:pt idx="3524">
                  <c:v>1150529770</c:v>
                </c:pt>
                <c:pt idx="3525">
                  <c:v>59226081</c:v>
                </c:pt>
                <c:pt idx="3526">
                  <c:v>256669950</c:v>
                </c:pt>
                <c:pt idx="3527">
                  <c:v>461501003</c:v>
                </c:pt>
                <c:pt idx="3528">
                  <c:v>371011689</c:v>
                </c:pt>
                <c:pt idx="3529">
                  <c:v>907998819</c:v>
                </c:pt>
                <c:pt idx="3530">
                  <c:v>1444298208</c:v>
                </c:pt>
                <c:pt idx="3531">
                  <c:v>279009198</c:v>
                </c:pt>
                <c:pt idx="3532">
                  <c:v>274220096</c:v>
                </c:pt>
                <c:pt idx="3533">
                  <c:v>1245906522</c:v>
                </c:pt>
                <c:pt idx="3534">
                  <c:v>2393264239</c:v>
                </c:pt>
                <c:pt idx="3535">
                  <c:v>759354716</c:v>
                </c:pt>
                <c:pt idx="3536">
                  <c:v>1613772600</c:v>
                </c:pt>
                <c:pt idx="3537">
                  <c:v>136070963</c:v>
                </c:pt>
                <c:pt idx="3538">
                  <c:v>603143000</c:v>
                </c:pt>
                <c:pt idx="3539">
                  <c:v>2191842623</c:v>
                </c:pt>
                <c:pt idx="3540">
                  <c:v>250085664</c:v>
                </c:pt>
                <c:pt idx="3541">
                  <c:v>622498135</c:v>
                </c:pt>
                <c:pt idx="3542">
                  <c:v>456011668</c:v>
                </c:pt>
                <c:pt idx="3543">
                  <c:v>1645763469</c:v>
                </c:pt>
                <c:pt idx="3544">
                  <c:v>657899632</c:v>
                </c:pt>
                <c:pt idx="3545">
                  <c:v>106978755</c:v>
                </c:pt>
                <c:pt idx="3546">
                  <c:v>828245656</c:v>
                </c:pt>
                <c:pt idx="3547">
                  <c:v>884567976</c:v>
                </c:pt>
                <c:pt idx="3548">
                  <c:v>7359993730</c:v>
                </c:pt>
                <c:pt idx="3549">
                  <c:v>248088966</c:v>
                </c:pt>
                <c:pt idx="3550">
                  <c:v>1287187187</c:v>
                </c:pt>
                <c:pt idx="3551">
                  <c:v>1035087582</c:v>
                </c:pt>
                <c:pt idx="3552">
                  <c:v>172721565</c:v>
                </c:pt>
                <c:pt idx="3553">
                  <c:v>1150807160</c:v>
                </c:pt>
                <c:pt idx="3554">
                  <c:v>338535688</c:v>
                </c:pt>
                <c:pt idx="3555">
                  <c:v>608959120</c:v>
                </c:pt>
                <c:pt idx="3556">
                  <c:v>123528852</c:v>
                </c:pt>
                <c:pt idx="3557">
                  <c:v>51154238</c:v>
                </c:pt>
                <c:pt idx="3558">
                  <c:v>428593194</c:v>
                </c:pt>
                <c:pt idx="3559">
                  <c:v>540015578</c:v>
                </c:pt>
                <c:pt idx="3560">
                  <c:v>684750042</c:v>
                </c:pt>
                <c:pt idx="3561">
                  <c:v>50706460</c:v>
                </c:pt>
                <c:pt idx="3562">
                  <c:v>1311684032</c:v>
                </c:pt>
                <c:pt idx="3563">
                  <c:v>585590070</c:v>
                </c:pt>
                <c:pt idx="3564">
                  <c:v>1833030566</c:v>
                </c:pt>
                <c:pt idx="3565">
                  <c:v>586322452</c:v>
                </c:pt>
                <c:pt idx="3566">
                  <c:v>75019769</c:v>
                </c:pt>
                <c:pt idx="3567">
                  <c:v>369733050</c:v>
                </c:pt>
                <c:pt idx="3568">
                  <c:v>383439798</c:v>
                </c:pt>
                <c:pt idx="3569">
                  <c:v>437752564</c:v>
                </c:pt>
                <c:pt idx="3570">
                  <c:v>80463901</c:v>
                </c:pt>
                <c:pt idx="3571">
                  <c:v>558650050</c:v>
                </c:pt>
                <c:pt idx="3572">
                  <c:v>316493637</c:v>
                </c:pt>
                <c:pt idx="3573">
                  <c:v>185148068</c:v>
                </c:pt>
                <c:pt idx="3574">
                  <c:v>185794215</c:v>
                </c:pt>
                <c:pt idx="3575">
                  <c:v>2147483647</c:v>
                </c:pt>
                <c:pt idx="3576">
                  <c:v>221185181</c:v>
                </c:pt>
                <c:pt idx="3577">
                  <c:v>177948024</c:v>
                </c:pt>
                <c:pt idx="3578">
                  <c:v>226684568</c:v>
                </c:pt>
                <c:pt idx="3579">
                  <c:v>86096010</c:v>
                </c:pt>
                <c:pt idx="3580">
                  <c:v>3960470101</c:v>
                </c:pt>
                <c:pt idx="3581">
                  <c:v>1973381384</c:v>
                </c:pt>
                <c:pt idx="3582">
                  <c:v>345927374</c:v>
                </c:pt>
                <c:pt idx="3583">
                  <c:v>591139742</c:v>
                </c:pt>
                <c:pt idx="3584">
                  <c:v>282873618</c:v>
                </c:pt>
                <c:pt idx="3585">
                  <c:v>1584296560</c:v>
                </c:pt>
                <c:pt idx="3586">
                  <c:v>659981630</c:v>
                </c:pt>
                <c:pt idx="3587">
                  <c:v>165480448</c:v>
                </c:pt>
                <c:pt idx="3588">
                  <c:v>122003544</c:v>
                </c:pt>
                <c:pt idx="3589">
                  <c:v>111035340</c:v>
                </c:pt>
                <c:pt idx="3590">
                  <c:v>1379978236</c:v>
                </c:pt>
                <c:pt idx="3591">
                  <c:v>1371234690</c:v>
                </c:pt>
                <c:pt idx="3592">
                  <c:v>3587084466</c:v>
                </c:pt>
                <c:pt idx="3593">
                  <c:v>1525627727</c:v>
                </c:pt>
                <c:pt idx="3594">
                  <c:v>2104185315</c:v>
                </c:pt>
                <c:pt idx="3595">
                  <c:v>1159024400</c:v>
                </c:pt>
                <c:pt idx="3596">
                  <c:v>585769057</c:v>
                </c:pt>
                <c:pt idx="3597">
                  <c:v>211027012</c:v>
                </c:pt>
                <c:pt idx="3598">
                  <c:v>356038462</c:v>
                </c:pt>
                <c:pt idx="3599">
                  <c:v>8042177614</c:v>
                </c:pt>
                <c:pt idx="3600">
                  <c:v>2332762751</c:v>
                </c:pt>
                <c:pt idx="3601">
                  <c:v>356159046</c:v>
                </c:pt>
                <c:pt idx="3602">
                  <c:v>517924108</c:v>
                </c:pt>
                <c:pt idx="3603">
                  <c:v>90819872</c:v>
                </c:pt>
                <c:pt idx="3604">
                  <c:v>879981600</c:v>
                </c:pt>
                <c:pt idx="3605">
                  <c:v>1045142614</c:v>
                </c:pt>
                <c:pt idx="3606">
                  <c:v>844786878</c:v>
                </c:pt>
                <c:pt idx="3607">
                  <c:v>850608540</c:v>
                </c:pt>
                <c:pt idx="3608">
                  <c:v>491988105</c:v>
                </c:pt>
                <c:pt idx="3609">
                  <c:v>2451684230</c:v>
                </c:pt>
                <c:pt idx="3610">
                  <c:v>494947716</c:v>
                </c:pt>
                <c:pt idx="3611">
                  <c:v>783207180</c:v>
                </c:pt>
                <c:pt idx="3612">
                  <c:v>625536520</c:v>
                </c:pt>
                <c:pt idx="3613">
                  <c:v>517512996</c:v>
                </c:pt>
                <c:pt idx="3614">
                  <c:v>32996855</c:v>
                </c:pt>
                <c:pt idx="3615">
                  <c:v>7287494863</c:v>
                </c:pt>
                <c:pt idx="3616">
                  <c:v>438503364</c:v>
                </c:pt>
                <c:pt idx="3617">
                  <c:v>543487372</c:v>
                </c:pt>
                <c:pt idx="3618">
                  <c:v>515221650</c:v>
                </c:pt>
                <c:pt idx="3619">
                  <c:v>2173423823</c:v>
                </c:pt>
                <c:pt idx="3620">
                  <c:v>2714385471</c:v>
                </c:pt>
                <c:pt idx="3621">
                  <c:v>1490496057</c:v>
                </c:pt>
                <c:pt idx="3622">
                  <c:v>754975270</c:v>
                </c:pt>
                <c:pt idx="3623">
                  <c:v>2147483647</c:v>
                </c:pt>
                <c:pt idx="3624">
                  <c:v>248421912</c:v>
                </c:pt>
                <c:pt idx="3625">
                  <c:v>533052429</c:v>
                </c:pt>
                <c:pt idx="3626">
                  <c:v>823354056</c:v>
                </c:pt>
                <c:pt idx="3627">
                  <c:v>460273677</c:v>
                </c:pt>
                <c:pt idx="3628">
                  <c:v>327663626</c:v>
                </c:pt>
                <c:pt idx="3629">
                  <c:v>888145005</c:v>
                </c:pt>
                <c:pt idx="3630">
                  <c:v>329142440</c:v>
                </c:pt>
                <c:pt idx="3631">
                  <c:v>1198733044</c:v>
                </c:pt>
                <c:pt idx="3632">
                  <c:v>2928730823</c:v>
                </c:pt>
                <c:pt idx="3633">
                  <c:v>293504547</c:v>
                </c:pt>
                <c:pt idx="3634">
                  <c:v>543353583</c:v>
                </c:pt>
                <c:pt idx="3635">
                  <c:v>1252099440</c:v>
                </c:pt>
                <c:pt idx="3636">
                  <c:v>325031058</c:v>
                </c:pt>
                <c:pt idx="3637">
                  <c:v>514952000</c:v>
                </c:pt>
                <c:pt idx="3638">
                  <c:v>122130018</c:v>
                </c:pt>
                <c:pt idx="3639">
                  <c:v>360480140</c:v>
                </c:pt>
                <c:pt idx="3640">
                  <c:v>2147483647</c:v>
                </c:pt>
                <c:pt idx="3641">
                  <c:v>579970639</c:v>
                </c:pt>
                <c:pt idx="3642">
                  <c:v>356426884</c:v>
                </c:pt>
                <c:pt idx="3643">
                  <c:v>112894771</c:v>
                </c:pt>
                <c:pt idx="3644">
                  <c:v>612557520</c:v>
                </c:pt>
                <c:pt idx="3645">
                  <c:v>1329659650</c:v>
                </c:pt>
                <c:pt idx="3646">
                  <c:v>1524042758</c:v>
                </c:pt>
                <c:pt idx="3647">
                  <c:v>7236992393</c:v>
                </c:pt>
                <c:pt idx="3648">
                  <c:v>470889188</c:v>
                </c:pt>
                <c:pt idx="3649">
                  <c:v>1263091726</c:v>
                </c:pt>
                <c:pt idx="3650">
                  <c:v>562213050</c:v>
                </c:pt>
                <c:pt idx="3651">
                  <c:v>2261574749</c:v>
                </c:pt>
                <c:pt idx="3652">
                  <c:v>312280584</c:v>
                </c:pt>
                <c:pt idx="3653">
                  <c:v>399305244</c:v>
                </c:pt>
                <c:pt idx="3654">
                  <c:v>670496789</c:v>
                </c:pt>
                <c:pt idx="3655">
                  <c:v>378655214</c:v>
                </c:pt>
                <c:pt idx="3656">
                  <c:v>651969486</c:v>
                </c:pt>
                <c:pt idx="3657">
                  <c:v>1312971696</c:v>
                </c:pt>
                <c:pt idx="3658">
                  <c:v>1924267932</c:v>
                </c:pt>
                <c:pt idx="3659">
                  <c:v>1116666345</c:v>
                </c:pt>
                <c:pt idx="3660">
                  <c:v>813952672</c:v>
                </c:pt>
                <c:pt idx="3661">
                  <c:v>670812900</c:v>
                </c:pt>
                <c:pt idx="3662">
                  <c:v>130357500</c:v>
                </c:pt>
                <c:pt idx="3663">
                  <c:v>113818190</c:v>
                </c:pt>
                <c:pt idx="3664">
                  <c:v>234204279</c:v>
                </c:pt>
                <c:pt idx="3665">
                  <c:v>1126547170</c:v>
                </c:pt>
                <c:pt idx="3666">
                  <c:v>5060824822</c:v>
                </c:pt>
                <c:pt idx="3667">
                  <c:v>1281756896</c:v>
                </c:pt>
                <c:pt idx="3668">
                  <c:v>1663514176</c:v>
                </c:pt>
                <c:pt idx="3669">
                  <c:v>1963818850</c:v>
                </c:pt>
                <c:pt idx="3670">
                  <c:v>376821322</c:v>
                </c:pt>
                <c:pt idx="3671">
                  <c:v>442177400</c:v>
                </c:pt>
                <c:pt idx="3672">
                  <c:v>213479006</c:v>
                </c:pt>
                <c:pt idx="3673">
                  <c:v>867777120</c:v>
                </c:pt>
                <c:pt idx="3674">
                  <c:v>866823966</c:v>
                </c:pt>
                <c:pt idx="3675">
                  <c:v>191168928</c:v>
                </c:pt>
                <c:pt idx="3676">
                  <c:v>597661668</c:v>
                </c:pt>
                <c:pt idx="3677">
                  <c:v>757988451</c:v>
                </c:pt>
                <c:pt idx="3678">
                  <c:v>607298356</c:v>
                </c:pt>
                <c:pt idx="3679">
                  <c:v>409672224</c:v>
                </c:pt>
                <c:pt idx="3680">
                  <c:v>613180665</c:v>
                </c:pt>
                <c:pt idx="3681">
                  <c:v>916106659</c:v>
                </c:pt>
                <c:pt idx="3682">
                  <c:v>131234450</c:v>
                </c:pt>
                <c:pt idx="3683">
                  <c:v>327630672</c:v>
                </c:pt>
                <c:pt idx="3684">
                  <c:v>553921515</c:v>
                </c:pt>
                <c:pt idx="3685">
                  <c:v>908007708</c:v>
                </c:pt>
                <c:pt idx="3686">
                  <c:v>2147483647</c:v>
                </c:pt>
                <c:pt idx="3687">
                  <c:v>89300320</c:v>
                </c:pt>
                <c:pt idx="3688">
                  <c:v>253643124</c:v>
                </c:pt>
                <c:pt idx="3689">
                  <c:v>550275924</c:v>
                </c:pt>
                <c:pt idx="3690">
                  <c:v>1026531094</c:v>
                </c:pt>
                <c:pt idx="3691">
                  <c:v>1459716960</c:v>
                </c:pt>
                <c:pt idx="3692">
                  <c:v>3669337186</c:v>
                </c:pt>
                <c:pt idx="3693">
                  <c:v>519622272</c:v>
                </c:pt>
                <c:pt idx="3694">
                  <c:v>272854902</c:v>
                </c:pt>
                <c:pt idx="3695">
                  <c:v>386869640</c:v>
                </c:pt>
                <c:pt idx="3696">
                  <c:v>815284224</c:v>
                </c:pt>
                <c:pt idx="3697">
                  <c:v>1472789058</c:v>
                </c:pt>
                <c:pt idx="3698">
                  <c:v>634421016</c:v>
                </c:pt>
                <c:pt idx="3699">
                  <c:v>449037082</c:v>
                </c:pt>
                <c:pt idx="3700">
                  <c:v>32448306</c:v>
                </c:pt>
                <c:pt idx="3701">
                  <c:v>787860384</c:v>
                </c:pt>
                <c:pt idx="3702">
                  <c:v>738748386</c:v>
                </c:pt>
                <c:pt idx="3703">
                  <c:v>138236619</c:v>
                </c:pt>
                <c:pt idx="3704">
                  <c:v>85618710</c:v>
                </c:pt>
                <c:pt idx="3705">
                  <c:v>589968938</c:v>
                </c:pt>
                <c:pt idx="3706">
                  <c:v>285066611</c:v>
                </c:pt>
                <c:pt idx="3707">
                  <c:v>1075189802</c:v>
                </c:pt>
                <c:pt idx="3708">
                  <c:v>1652215488</c:v>
                </c:pt>
                <c:pt idx="3709">
                  <c:v>224380310</c:v>
                </c:pt>
                <c:pt idx="3710">
                  <c:v>1959896918</c:v>
                </c:pt>
                <c:pt idx="3711">
                  <c:v>1372169754</c:v>
                </c:pt>
                <c:pt idx="3712">
                  <c:v>2066577520</c:v>
                </c:pt>
                <c:pt idx="3713">
                  <c:v>446352444</c:v>
                </c:pt>
                <c:pt idx="3714">
                  <c:v>2193113971</c:v>
                </c:pt>
                <c:pt idx="3715">
                  <c:v>763631250</c:v>
                </c:pt>
                <c:pt idx="3716">
                  <c:v>551708304</c:v>
                </c:pt>
                <c:pt idx="3717">
                  <c:v>1123151544</c:v>
                </c:pt>
                <c:pt idx="3718">
                  <c:v>2036165922</c:v>
                </c:pt>
                <c:pt idx="3719">
                  <c:v>321518439</c:v>
                </c:pt>
                <c:pt idx="3720">
                  <c:v>1320766512</c:v>
                </c:pt>
                <c:pt idx="3721">
                  <c:v>328755042</c:v>
                </c:pt>
                <c:pt idx="3722">
                  <c:v>212148674</c:v>
                </c:pt>
                <c:pt idx="3723">
                  <c:v>1053770692</c:v>
                </c:pt>
                <c:pt idx="3724">
                  <c:v>391766491</c:v>
                </c:pt>
                <c:pt idx="3725">
                  <c:v>772580556</c:v>
                </c:pt>
                <c:pt idx="3726">
                  <c:v>187323678</c:v>
                </c:pt>
                <c:pt idx="3727">
                  <c:v>2030890080</c:v>
                </c:pt>
                <c:pt idx="3728">
                  <c:v>2147483647</c:v>
                </c:pt>
                <c:pt idx="3729">
                  <c:v>550681272</c:v>
                </c:pt>
                <c:pt idx="3730">
                  <c:v>520474890</c:v>
                </c:pt>
                <c:pt idx="3731">
                  <c:v>1190481210</c:v>
                </c:pt>
                <c:pt idx="3732">
                  <c:v>790042808</c:v>
                </c:pt>
                <c:pt idx="3733">
                  <c:v>1814349522</c:v>
                </c:pt>
                <c:pt idx="3734">
                  <c:v>304660944</c:v>
                </c:pt>
                <c:pt idx="3735">
                  <c:v>167326768</c:v>
                </c:pt>
                <c:pt idx="3736">
                  <c:v>33079986</c:v>
                </c:pt>
                <c:pt idx="3737">
                  <c:v>1781359975</c:v>
                </c:pt>
                <c:pt idx="3738">
                  <c:v>128315990</c:v>
                </c:pt>
                <c:pt idx="3739">
                  <c:v>264189819</c:v>
                </c:pt>
                <c:pt idx="3740">
                  <c:v>76431012</c:v>
                </c:pt>
                <c:pt idx="3741">
                  <c:v>691502448</c:v>
                </c:pt>
                <c:pt idx="3742">
                  <c:v>701672190</c:v>
                </c:pt>
                <c:pt idx="3743">
                  <c:v>451547616</c:v>
                </c:pt>
                <c:pt idx="3744">
                  <c:v>24094715</c:v>
                </c:pt>
                <c:pt idx="3745">
                  <c:v>220041010</c:v>
                </c:pt>
                <c:pt idx="3746">
                  <c:v>510020688</c:v>
                </c:pt>
                <c:pt idx="3747">
                  <c:v>632268910</c:v>
                </c:pt>
                <c:pt idx="3748">
                  <c:v>726412308</c:v>
                </c:pt>
                <c:pt idx="3749">
                  <c:v>13779559</c:v>
                </c:pt>
                <c:pt idx="3750">
                  <c:v>650098330</c:v>
                </c:pt>
                <c:pt idx="3751">
                  <c:v>966114216</c:v>
                </c:pt>
                <c:pt idx="3752">
                  <c:v>2147483647</c:v>
                </c:pt>
                <c:pt idx="3753">
                  <c:v>3064177384</c:v>
                </c:pt>
                <c:pt idx="3754">
                  <c:v>610398702</c:v>
                </c:pt>
                <c:pt idx="3755">
                  <c:v>1235999634</c:v>
                </c:pt>
                <c:pt idx="3756">
                  <c:v>366678270</c:v>
                </c:pt>
                <c:pt idx="3757">
                  <c:v>583011720</c:v>
                </c:pt>
                <c:pt idx="3758">
                  <c:v>435004491</c:v>
                </c:pt>
                <c:pt idx="3759">
                  <c:v>211529074</c:v>
                </c:pt>
                <c:pt idx="3760">
                  <c:v>174848388</c:v>
                </c:pt>
                <c:pt idx="3761">
                  <c:v>1516517600</c:v>
                </c:pt>
                <c:pt idx="3762">
                  <c:v>3596987557</c:v>
                </c:pt>
                <c:pt idx="3763">
                  <c:v>315343180</c:v>
                </c:pt>
                <c:pt idx="3764">
                  <c:v>336431404</c:v>
                </c:pt>
                <c:pt idx="3765">
                  <c:v>260568000</c:v>
                </c:pt>
                <c:pt idx="3766">
                  <c:v>1099506639</c:v>
                </c:pt>
                <c:pt idx="3767">
                  <c:v>98482140</c:v>
                </c:pt>
                <c:pt idx="3768">
                  <c:v>537791196</c:v>
                </c:pt>
                <c:pt idx="3769">
                  <c:v>271270188</c:v>
                </c:pt>
                <c:pt idx="3770">
                  <c:v>149914196</c:v>
                </c:pt>
                <c:pt idx="3771">
                  <c:v>12127712</c:v>
                </c:pt>
                <c:pt idx="3772">
                  <c:v>717697695</c:v>
                </c:pt>
                <c:pt idx="3773">
                  <c:v>694242764</c:v>
                </c:pt>
                <c:pt idx="3774">
                  <c:v>1086498675</c:v>
                </c:pt>
                <c:pt idx="3775">
                  <c:v>3660759963</c:v>
                </c:pt>
                <c:pt idx="3776">
                  <c:v>400069768</c:v>
                </c:pt>
                <c:pt idx="3777">
                  <c:v>227591622</c:v>
                </c:pt>
                <c:pt idx="3778">
                  <c:v>486681656</c:v>
                </c:pt>
                <c:pt idx="3779">
                  <c:v>1178117998</c:v>
                </c:pt>
                <c:pt idx="3780">
                  <c:v>469652115</c:v>
                </c:pt>
                <c:pt idx="3781">
                  <c:v>1175385078</c:v>
                </c:pt>
                <c:pt idx="3782">
                  <c:v>563850720</c:v>
                </c:pt>
                <c:pt idx="3783">
                  <c:v>318202938</c:v>
                </c:pt>
                <c:pt idx="3784">
                  <c:v>145716016</c:v>
                </c:pt>
                <c:pt idx="3785">
                  <c:v>424786986</c:v>
                </c:pt>
                <c:pt idx="3786">
                  <c:v>154181677</c:v>
                </c:pt>
                <c:pt idx="3787">
                  <c:v>460697434</c:v>
                </c:pt>
                <c:pt idx="3788">
                  <c:v>195166560</c:v>
                </c:pt>
                <c:pt idx="3789">
                  <c:v>699763293</c:v>
                </c:pt>
                <c:pt idx="3790">
                  <c:v>1010563796</c:v>
                </c:pt>
                <c:pt idx="3791">
                  <c:v>1765480233</c:v>
                </c:pt>
                <c:pt idx="3792">
                  <c:v>761915790</c:v>
                </c:pt>
                <c:pt idx="3793">
                  <c:v>291923016</c:v>
                </c:pt>
                <c:pt idx="3794">
                  <c:v>1213214205</c:v>
                </c:pt>
                <c:pt idx="3795">
                  <c:v>440070144</c:v>
                </c:pt>
                <c:pt idx="3796">
                  <c:v>429665544</c:v>
                </c:pt>
                <c:pt idx="3797">
                  <c:v>1518994152</c:v>
                </c:pt>
                <c:pt idx="3798">
                  <c:v>158214238</c:v>
                </c:pt>
                <c:pt idx="3799">
                  <c:v>750227134</c:v>
                </c:pt>
                <c:pt idx="3800">
                  <c:v>2065751975</c:v>
                </c:pt>
                <c:pt idx="3801">
                  <c:v>466832325</c:v>
                </c:pt>
                <c:pt idx="3802">
                  <c:v>62006574</c:v>
                </c:pt>
                <c:pt idx="3803">
                  <c:v>430636200</c:v>
                </c:pt>
                <c:pt idx="3804">
                  <c:v>262983812</c:v>
                </c:pt>
                <c:pt idx="3805">
                  <c:v>87446166</c:v>
                </c:pt>
                <c:pt idx="3806">
                  <c:v>421028400</c:v>
                </c:pt>
                <c:pt idx="3807">
                  <c:v>1820072779</c:v>
                </c:pt>
                <c:pt idx="3808">
                  <c:v>1429197112</c:v>
                </c:pt>
                <c:pt idx="3809">
                  <c:v>5253071022</c:v>
                </c:pt>
                <c:pt idx="3810">
                  <c:v>929302085</c:v>
                </c:pt>
                <c:pt idx="3811">
                  <c:v>835404768</c:v>
                </c:pt>
                <c:pt idx="3812">
                  <c:v>600565406</c:v>
                </c:pt>
                <c:pt idx="3813">
                  <c:v>1774223000</c:v>
                </c:pt>
                <c:pt idx="3814">
                  <c:v>406281414</c:v>
                </c:pt>
                <c:pt idx="3815">
                  <c:v>966823811</c:v>
                </c:pt>
                <c:pt idx="3816">
                  <c:v>504875000</c:v>
                </c:pt>
                <c:pt idx="3817">
                  <c:v>600368405</c:v>
                </c:pt>
                <c:pt idx="3818">
                  <c:v>648510940</c:v>
                </c:pt>
                <c:pt idx="3819">
                  <c:v>545516439</c:v>
                </c:pt>
                <c:pt idx="3820">
                  <c:v>91355879</c:v>
                </c:pt>
                <c:pt idx="3821">
                  <c:v>548762550</c:v>
                </c:pt>
                <c:pt idx="3822">
                  <c:v>351201666</c:v>
                </c:pt>
                <c:pt idx="3823">
                  <c:v>749753220</c:v>
                </c:pt>
                <c:pt idx="3824">
                  <c:v>1220297472</c:v>
                </c:pt>
                <c:pt idx="3825">
                  <c:v>83997270</c:v>
                </c:pt>
                <c:pt idx="3826">
                  <c:v>402593916</c:v>
                </c:pt>
                <c:pt idx="3827">
                  <c:v>1227076008</c:v>
                </c:pt>
                <c:pt idx="3828">
                  <c:v>929964228</c:v>
                </c:pt>
                <c:pt idx="3829">
                  <c:v>1858628350</c:v>
                </c:pt>
                <c:pt idx="3830">
                  <c:v>605304160</c:v>
                </c:pt>
                <c:pt idx="3831">
                  <c:v>628695173</c:v>
                </c:pt>
                <c:pt idx="3832">
                  <c:v>1152409960</c:v>
                </c:pt>
                <c:pt idx="3833">
                  <c:v>334615500</c:v>
                </c:pt>
                <c:pt idx="3834">
                  <c:v>279151301</c:v>
                </c:pt>
                <c:pt idx="3835">
                  <c:v>1291752287</c:v>
                </c:pt>
                <c:pt idx="3836">
                  <c:v>244587252</c:v>
                </c:pt>
                <c:pt idx="3837">
                  <c:v>1331580257</c:v>
                </c:pt>
                <c:pt idx="3838">
                  <c:v>1410314510</c:v>
                </c:pt>
                <c:pt idx="3839">
                  <c:v>957288860</c:v>
                </c:pt>
                <c:pt idx="3840">
                  <c:v>88496749</c:v>
                </c:pt>
                <c:pt idx="3841">
                  <c:v>529099737</c:v>
                </c:pt>
                <c:pt idx="3842">
                  <c:v>264836437</c:v>
                </c:pt>
                <c:pt idx="3843">
                  <c:v>406732672</c:v>
                </c:pt>
                <c:pt idx="3844">
                  <c:v>417440349</c:v>
                </c:pt>
                <c:pt idx="3845">
                  <c:v>5813181149</c:v>
                </c:pt>
                <c:pt idx="3846">
                  <c:v>1547431464</c:v>
                </c:pt>
                <c:pt idx="3847">
                  <c:v>2147483647</c:v>
                </c:pt>
                <c:pt idx="3848">
                  <c:v>894007590</c:v>
                </c:pt>
                <c:pt idx="3849">
                  <c:v>894349720</c:v>
                </c:pt>
                <c:pt idx="3850">
                  <c:v>2098731673</c:v>
                </c:pt>
                <c:pt idx="3851">
                  <c:v>316107792</c:v>
                </c:pt>
                <c:pt idx="3852">
                  <c:v>254079070</c:v>
                </c:pt>
                <c:pt idx="3853">
                  <c:v>632413773</c:v>
                </c:pt>
                <c:pt idx="3854">
                  <c:v>259553712</c:v>
                </c:pt>
                <c:pt idx="3855">
                  <c:v>327291560</c:v>
                </c:pt>
                <c:pt idx="3856">
                  <c:v>1272322309</c:v>
                </c:pt>
                <c:pt idx="3857">
                  <c:v>622429386</c:v>
                </c:pt>
                <c:pt idx="3858">
                  <c:v>534762768</c:v>
                </c:pt>
                <c:pt idx="3859">
                  <c:v>66667060</c:v>
                </c:pt>
                <c:pt idx="3860">
                  <c:v>78133574</c:v>
                </c:pt>
                <c:pt idx="3861">
                  <c:v>2060722026</c:v>
                </c:pt>
                <c:pt idx="3862">
                  <c:v>378911248</c:v>
                </c:pt>
                <c:pt idx="3863">
                  <c:v>147380240</c:v>
                </c:pt>
                <c:pt idx="3864">
                  <c:v>79620817</c:v>
                </c:pt>
                <c:pt idx="3865">
                  <c:v>1248080130</c:v>
                </c:pt>
                <c:pt idx="3866">
                  <c:v>2072318436</c:v>
                </c:pt>
                <c:pt idx="3867">
                  <c:v>796510584</c:v>
                </c:pt>
                <c:pt idx="3868">
                  <c:v>173143676</c:v>
                </c:pt>
                <c:pt idx="3869">
                  <c:v>695442105</c:v>
                </c:pt>
                <c:pt idx="3870">
                  <c:v>1101634680</c:v>
                </c:pt>
                <c:pt idx="3871">
                  <c:v>170867418</c:v>
                </c:pt>
                <c:pt idx="3872">
                  <c:v>141094764</c:v>
                </c:pt>
                <c:pt idx="3873">
                  <c:v>3072006</c:v>
                </c:pt>
                <c:pt idx="3874">
                  <c:v>787354040</c:v>
                </c:pt>
                <c:pt idx="3875">
                  <c:v>423766640</c:v>
                </c:pt>
                <c:pt idx="3876">
                  <c:v>825866845</c:v>
                </c:pt>
                <c:pt idx="3877">
                  <c:v>3805649615</c:v>
                </c:pt>
                <c:pt idx="3878">
                  <c:v>2147483647</c:v>
                </c:pt>
                <c:pt idx="3879">
                  <c:v>251944140</c:v>
                </c:pt>
                <c:pt idx="3880">
                  <c:v>478076517</c:v>
                </c:pt>
                <c:pt idx="3881">
                  <c:v>180694071</c:v>
                </c:pt>
                <c:pt idx="3882">
                  <c:v>249681767</c:v>
                </c:pt>
                <c:pt idx="3883">
                  <c:v>830512866</c:v>
                </c:pt>
                <c:pt idx="3884">
                  <c:v>344184351</c:v>
                </c:pt>
                <c:pt idx="3885">
                  <c:v>220089584</c:v>
                </c:pt>
                <c:pt idx="3886">
                  <c:v>586787773</c:v>
                </c:pt>
                <c:pt idx="3887">
                  <c:v>194642352</c:v>
                </c:pt>
                <c:pt idx="3888">
                  <c:v>137607115</c:v>
                </c:pt>
                <c:pt idx="3889">
                  <c:v>332318881</c:v>
                </c:pt>
                <c:pt idx="3890">
                  <c:v>489568046</c:v>
                </c:pt>
                <c:pt idx="3891">
                  <c:v>391138275</c:v>
                </c:pt>
                <c:pt idx="3892">
                  <c:v>377339468</c:v>
                </c:pt>
                <c:pt idx="3893">
                  <c:v>1069584960</c:v>
                </c:pt>
                <c:pt idx="3894">
                  <c:v>16354896</c:v>
                </c:pt>
                <c:pt idx="3895">
                  <c:v>265119620</c:v>
                </c:pt>
                <c:pt idx="3896">
                  <c:v>232737648</c:v>
                </c:pt>
                <c:pt idx="3897">
                  <c:v>236777989</c:v>
                </c:pt>
                <c:pt idx="3898">
                  <c:v>2147483647</c:v>
                </c:pt>
                <c:pt idx="3899">
                  <c:v>491079564</c:v>
                </c:pt>
                <c:pt idx="3900">
                  <c:v>168618120</c:v>
                </c:pt>
                <c:pt idx="3901">
                  <c:v>787744168</c:v>
                </c:pt>
                <c:pt idx="3902">
                  <c:v>454186773</c:v>
                </c:pt>
                <c:pt idx="3903">
                  <c:v>113595625</c:v>
                </c:pt>
                <c:pt idx="3904">
                  <c:v>118775106</c:v>
                </c:pt>
                <c:pt idx="3905">
                  <c:v>655456610</c:v>
                </c:pt>
                <c:pt idx="3906">
                  <c:v>333316025</c:v>
                </c:pt>
                <c:pt idx="3907">
                  <c:v>795261600</c:v>
                </c:pt>
                <c:pt idx="3908">
                  <c:v>406173534</c:v>
                </c:pt>
                <c:pt idx="3909">
                  <c:v>1069070870</c:v>
                </c:pt>
                <c:pt idx="3910">
                  <c:v>118814274</c:v>
                </c:pt>
                <c:pt idx="3911">
                  <c:v>84895108</c:v>
                </c:pt>
                <c:pt idx="3912">
                  <c:v>1383703034</c:v>
                </c:pt>
                <c:pt idx="3913">
                  <c:v>693226824</c:v>
                </c:pt>
                <c:pt idx="3914">
                  <c:v>351718660</c:v>
                </c:pt>
                <c:pt idx="3915">
                  <c:v>463359840</c:v>
                </c:pt>
                <c:pt idx="3916">
                  <c:v>1302272840</c:v>
                </c:pt>
                <c:pt idx="3917">
                  <c:v>1176281120</c:v>
                </c:pt>
                <c:pt idx="3918">
                  <c:v>102878156</c:v>
                </c:pt>
                <c:pt idx="3919">
                  <c:v>417662784</c:v>
                </c:pt>
                <c:pt idx="3920">
                  <c:v>147498435</c:v>
                </c:pt>
                <c:pt idx="3921">
                  <c:v>112838205</c:v>
                </c:pt>
                <c:pt idx="3922">
                  <c:v>218987990</c:v>
                </c:pt>
                <c:pt idx="3923">
                  <c:v>232847742</c:v>
                </c:pt>
                <c:pt idx="3924">
                  <c:v>2147483647</c:v>
                </c:pt>
                <c:pt idx="3925">
                  <c:v>1475497856</c:v>
                </c:pt>
                <c:pt idx="3926">
                  <c:v>3322517300</c:v>
                </c:pt>
                <c:pt idx="3927">
                  <c:v>410820280</c:v>
                </c:pt>
                <c:pt idx="3928">
                  <c:v>351783036</c:v>
                </c:pt>
                <c:pt idx="3929">
                  <c:v>1553820246</c:v>
                </c:pt>
                <c:pt idx="3930">
                  <c:v>742587225</c:v>
                </c:pt>
                <c:pt idx="3931">
                  <c:v>210155611</c:v>
                </c:pt>
                <c:pt idx="3932">
                  <c:v>523559069</c:v>
                </c:pt>
                <c:pt idx="3933">
                  <c:v>400918376</c:v>
                </c:pt>
                <c:pt idx="3934">
                  <c:v>296408248</c:v>
                </c:pt>
                <c:pt idx="3935">
                  <c:v>197102080</c:v>
                </c:pt>
                <c:pt idx="3936">
                  <c:v>296091499</c:v>
                </c:pt>
                <c:pt idx="3937">
                  <c:v>417859848</c:v>
                </c:pt>
                <c:pt idx="3938">
                  <c:v>585019846</c:v>
                </c:pt>
                <c:pt idx="3939">
                  <c:v>392819544</c:v>
                </c:pt>
                <c:pt idx="3940">
                  <c:v>826671651</c:v>
                </c:pt>
                <c:pt idx="3941">
                  <c:v>463959336</c:v>
                </c:pt>
                <c:pt idx="3942">
                  <c:v>283166498</c:v>
                </c:pt>
                <c:pt idx="3943">
                  <c:v>222445407</c:v>
                </c:pt>
                <c:pt idx="3944">
                  <c:v>455862480</c:v>
                </c:pt>
                <c:pt idx="3945">
                  <c:v>1308183910</c:v>
                </c:pt>
                <c:pt idx="3946">
                  <c:v>112755726</c:v>
                </c:pt>
                <c:pt idx="3947">
                  <c:v>236973048</c:v>
                </c:pt>
                <c:pt idx="3948">
                  <c:v>2147483647</c:v>
                </c:pt>
                <c:pt idx="3949">
                  <c:v>312550429</c:v>
                </c:pt>
                <c:pt idx="3950">
                  <c:v>20740039951</c:v>
                </c:pt>
                <c:pt idx="3951">
                  <c:v>661091222</c:v>
                </c:pt>
                <c:pt idx="3952">
                  <c:v>247696568</c:v>
                </c:pt>
                <c:pt idx="3953">
                  <c:v>849907729</c:v>
                </c:pt>
                <c:pt idx="3954">
                  <c:v>35915877</c:v>
                </c:pt>
                <c:pt idx="3955">
                  <c:v>186621625</c:v>
                </c:pt>
                <c:pt idx="3956">
                  <c:v>101627664</c:v>
                </c:pt>
                <c:pt idx="3957">
                  <c:v>10546375</c:v>
                </c:pt>
                <c:pt idx="3958">
                  <c:v>2532107950</c:v>
                </c:pt>
                <c:pt idx="3959">
                  <c:v>638807096</c:v>
                </c:pt>
                <c:pt idx="3960">
                  <c:v>242843709</c:v>
                </c:pt>
                <c:pt idx="3961">
                  <c:v>1407475120</c:v>
                </c:pt>
                <c:pt idx="3962">
                  <c:v>367494372</c:v>
                </c:pt>
                <c:pt idx="3963">
                  <c:v>6585443226</c:v>
                </c:pt>
                <c:pt idx="3964">
                  <c:v>833707440</c:v>
                </c:pt>
                <c:pt idx="3965">
                  <c:v>705020904</c:v>
                </c:pt>
                <c:pt idx="3966">
                  <c:v>161216976</c:v>
                </c:pt>
                <c:pt idx="3967">
                  <c:v>164957702</c:v>
                </c:pt>
                <c:pt idx="3968">
                  <c:v>1197913320</c:v>
                </c:pt>
                <c:pt idx="3969">
                  <c:v>86347170</c:v>
                </c:pt>
                <c:pt idx="3970">
                  <c:v>415248033</c:v>
                </c:pt>
                <c:pt idx="3971">
                  <c:v>457551360</c:v>
                </c:pt>
                <c:pt idx="3972">
                  <c:v>349926408</c:v>
                </c:pt>
                <c:pt idx="3973">
                  <c:v>24633106</c:v>
                </c:pt>
                <c:pt idx="3974">
                  <c:v>400540199</c:v>
                </c:pt>
                <c:pt idx="3975">
                  <c:v>951175984</c:v>
                </c:pt>
                <c:pt idx="3976">
                  <c:v>2017980597</c:v>
                </c:pt>
                <c:pt idx="3977">
                  <c:v>445388925</c:v>
                </c:pt>
                <c:pt idx="3978">
                  <c:v>519622520</c:v>
                </c:pt>
                <c:pt idx="3979">
                  <c:v>1519553070</c:v>
                </c:pt>
                <c:pt idx="3980">
                  <c:v>209572716</c:v>
                </c:pt>
                <c:pt idx="3981">
                  <c:v>293020728</c:v>
                </c:pt>
                <c:pt idx="3982">
                  <c:v>233598768</c:v>
                </c:pt>
                <c:pt idx="3983">
                  <c:v>418852375</c:v>
                </c:pt>
                <c:pt idx="3984">
                  <c:v>844769500</c:v>
                </c:pt>
                <c:pt idx="3985">
                  <c:v>257319462</c:v>
                </c:pt>
                <c:pt idx="3986">
                  <c:v>367736556</c:v>
                </c:pt>
                <c:pt idx="3987">
                  <c:v>327953484</c:v>
                </c:pt>
                <c:pt idx="3988">
                  <c:v>422565628</c:v>
                </c:pt>
                <c:pt idx="3989">
                  <c:v>558734800</c:v>
                </c:pt>
                <c:pt idx="3990">
                  <c:v>1819562645</c:v>
                </c:pt>
                <c:pt idx="3991">
                  <c:v>1194290173</c:v>
                </c:pt>
                <c:pt idx="3992">
                  <c:v>2318769816</c:v>
                </c:pt>
                <c:pt idx="3993">
                  <c:v>928476422</c:v>
                </c:pt>
                <c:pt idx="3994">
                  <c:v>437858244</c:v>
                </c:pt>
                <c:pt idx="3995">
                  <c:v>541472347</c:v>
                </c:pt>
                <c:pt idx="3996">
                  <c:v>41844032</c:v>
                </c:pt>
                <c:pt idx="3997">
                  <c:v>335283075</c:v>
                </c:pt>
                <c:pt idx="3998">
                  <c:v>120614944</c:v>
                </c:pt>
                <c:pt idx="3999">
                  <c:v>301062800</c:v>
                </c:pt>
                <c:pt idx="4000">
                  <c:v>295425526</c:v>
                </c:pt>
                <c:pt idx="4001">
                  <c:v>93716695</c:v>
                </c:pt>
                <c:pt idx="4002">
                  <c:v>255451068</c:v>
                </c:pt>
                <c:pt idx="4003">
                  <c:v>470629918</c:v>
                </c:pt>
                <c:pt idx="4004">
                  <c:v>82970327</c:v>
                </c:pt>
                <c:pt idx="4005">
                  <c:v>237674496</c:v>
                </c:pt>
                <c:pt idx="4006">
                  <c:v>21701328</c:v>
                </c:pt>
                <c:pt idx="4007">
                  <c:v>114018490</c:v>
                </c:pt>
                <c:pt idx="4008">
                  <c:v>421904000</c:v>
                </c:pt>
                <c:pt idx="4009">
                  <c:v>207314093</c:v>
                </c:pt>
                <c:pt idx="4010">
                  <c:v>875728064</c:v>
                </c:pt>
                <c:pt idx="4011">
                  <c:v>1073544336</c:v>
                </c:pt>
                <c:pt idx="4012">
                  <c:v>581379964</c:v>
                </c:pt>
                <c:pt idx="4013">
                  <c:v>746133740</c:v>
                </c:pt>
                <c:pt idx="4014">
                  <c:v>274948407</c:v>
                </c:pt>
                <c:pt idx="4015">
                  <c:v>1822284256</c:v>
                </c:pt>
                <c:pt idx="4016">
                  <c:v>528147180</c:v>
                </c:pt>
                <c:pt idx="4017">
                  <c:v>30130423</c:v>
                </c:pt>
                <c:pt idx="4018">
                  <c:v>1187003988</c:v>
                </c:pt>
                <c:pt idx="4019">
                  <c:v>1703084760</c:v>
                </c:pt>
                <c:pt idx="4020">
                  <c:v>397369530</c:v>
                </c:pt>
                <c:pt idx="4021">
                  <c:v>2147483647</c:v>
                </c:pt>
                <c:pt idx="4022">
                  <c:v>876804726</c:v>
                </c:pt>
                <c:pt idx="4023">
                  <c:v>359478137</c:v>
                </c:pt>
                <c:pt idx="4024">
                  <c:v>310653135</c:v>
                </c:pt>
                <c:pt idx="4025">
                  <c:v>337919120</c:v>
                </c:pt>
                <c:pt idx="4026">
                  <c:v>4294967294</c:v>
                </c:pt>
                <c:pt idx="4027">
                  <c:v>584584276</c:v>
                </c:pt>
                <c:pt idx="4028">
                  <c:v>1698114968</c:v>
                </c:pt>
                <c:pt idx="4029">
                  <c:v>147960035</c:v>
                </c:pt>
                <c:pt idx="4030">
                  <c:v>955748148</c:v>
                </c:pt>
                <c:pt idx="4031">
                  <c:v>2003328497</c:v>
                </c:pt>
                <c:pt idx="4032">
                  <c:v>323518582</c:v>
                </c:pt>
                <c:pt idx="4033">
                  <c:v>795587310</c:v>
                </c:pt>
                <c:pt idx="4034">
                  <c:v>187169083</c:v>
                </c:pt>
                <c:pt idx="4035">
                  <c:v>311030265</c:v>
                </c:pt>
                <c:pt idx="4036">
                  <c:v>198131205</c:v>
                </c:pt>
                <c:pt idx="4037">
                  <c:v>164310651</c:v>
                </c:pt>
                <c:pt idx="4038">
                  <c:v>131252644</c:v>
                </c:pt>
                <c:pt idx="4039">
                  <c:v>420176992</c:v>
                </c:pt>
                <c:pt idx="4040">
                  <c:v>1290056760</c:v>
                </c:pt>
                <c:pt idx="4041">
                  <c:v>5922530918</c:v>
                </c:pt>
                <c:pt idx="4042">
                  <c:v>98417322</c:v>
                </c:pt>
                <c:pt idx="4043">
                  <c:v>1725121097</c:v>
                </c:pt>
                <c:pt idx="4044">
                  <c:v>659176632</c:v>
                </c:pt>
                <c:pt idx="4045">
                  <c:v>693088488</c:v>
                </c:pt>
                <c:pt idx="4046">
                  <c:v>1909373406</c:v>
                </c:pt>
                <c:pt idx="4047">
                  <c:v>143005041</c:v>
                </c:pt>
                <c:pt idx="4048">
                  <c:v>2147483647</c:v>
                </c:pt>
                <c:pt idx="4049">
                  <c:v>1026523190</c:v>
                </c:pt>
                <c:pt idx="4050">
                  <c:v>128028285</c:v>
                </c:pt>
                <c:pt idx="4051">
                  <c:v>890075906</c:v>
                </c:pt>
                <c:pt idx="4052">
                  <c:v>2147483647</c:v>
                </c:pt>
                <c:pt idx="4053">
                  <c:v>586936755</c:v>
                </c:pt>
                <c:pt idx="4054">
                  <c:v>214745256</c:v>
                </c:pt>
                <c:pt idx="4055">
                  <c:v>1578323725</c:v>
                </c:pt>
                <c:pt idx="4056">
                  <c:v>1628338176</c:v>
                </c:pt>
                <c:pt idx="4057">
                  <c:v>2147483647</c:v>
                </c:pt>
                <c:pt idx="4058">
                  <c:v>369918000</c:v>
                </c:pt>
                <c:pt idx="4059">
                  <c:v>1674737689</c:v>
                </c:pt>
                <c:pt idx="4060">
                  <c:v>726106180</c:v>
                </c:pt>
                <c:pt idx="4061">
                  <c:v>1215537498</c:v>
                </c:pt>
                <c:pt idx="4062">
                  <c:v>319487256</c:v>
                </c:pt>
                <c:pt idx="4063">
                  <c:v>6430578920</c:v>
                </c:pt>
                <c:pt idx="4064">
                  <c:v>2691212798</c:v>
                </c:pt>
                <c:pt idx="4065">
                  <c:v>1966728971</c:v>
                </c:pt>
                <c:pt idx="4066">
                  <c:v>1502876899</c:v>
                </c:pt>
                <c:pt idx="4067">
                  <c:v>298779360</c:v>
                </c:pt>
                <c:pt idx="4068">
                  <c:v>1437475724</c:v>
                </c:pt>
                <c:pt idx="4069">
                  <c:v>1848462672</c:v>
                </c:pt>
                <c:pt idx="4070">
                  <c:v>334777392</c:v>
                </c:pt>
                <c:pt idx="4071">
                  <c:v>1088365392</c:v>
                </c:pt>
                <c:pt idx="4072">
                  <c:v>2887900952</c:v>
                </c:pt>
                <c:pt idx="4073">
                  <c:v>13587279363</c:v>
                </c:pt>
                <c:pt idx="4074">
                  <c:v>3083531062</c:v>
                </c:pt>
                <c:pt idx="4075">
                  <c:v>385266606</c:v>
                </c:pt>
                <c:pt idx="4076">
                  <c:v>1738631784</c:v>
                </c:pt>
                <c:pt idx="4077">
                  <c:v>1130163520</c:v>
                </c:pt>
                <c:pt idx="4078">
                  <c:v>1573176908</c:v>
                </c:pt>
                <c:pt idx="4079">
                  <c:v>370715178</c:v>
                </c:pt>
                <c:pt idx="4080">
                  <c:v>751974678</c:v>
                </c:pt>
                <c:pt idx="4081">
                  <c:v>475766769</c:v>
                </c:pt>
                <c:pt idx="4082">
                  <c:v>1032272025</c:v>
                </c:pt>
                <c:pt idx="4083">
                  <c:v>3767631280</c:v>
                </c:pt>
                <c:pt idx="4084">
                  <c:v>3212127262</c:v>
                </c:pt>
                <c:pt idx="4085">
                  <c:v>584194980</c:v>
                </c:pt>
                <c:pt idx="4086">
                  <c:v>929919663</c:v>
                </c:pt>
                <c:pt idx="4087">
                  <c:v>18335111797</c:v>
                </c:pt>
                <c:pt idx="4088">
                  <c:v>310396800</c:v>
                </c:pt>
                <c:pt idx="4089">
                  <c:v>331275280</c:v>
                </c:pt>
                <c:pt idx="4090">
                  <c:v>2147483647</c:v>
                </c:pt>
                <c:pt idx="4091">
                  <c:v>257595284</c:v>
                </c:pt>
                <c:pt idx="4092">
                  <c:v>13130294005</c:v>
                </c:pt>
                <c:pt idx="4093">
                  <c:v>4294967294</c:v>
                </c:pt>
                <c:pt idx="4094">
                  <c:v>689329080</c:v>
                </c:pt>
                <c:pt idx="4095">
                  <c:v>247123007</c:v>
                </c:pt>
                <c:pt idx="4096">
                  <c:v>250042232</c:v>
                </c:pt>
                <c:pt idx="4097">
                  <c:v>40286820</c:v>
                </c:pt>
                <c:pt idx="4098">
                  <c:v>308176825</c:v>
                </c:pt>
                <c:pt idx="4099">
                  <c:v>575348004</c:v>
                </c:pt>
                <c:pt idx="4100">
                  <c:v>361490805</c:v>
                </c:pt>
                <c:pt idx="4101">
                  <c:v>262660678</c:v>
                </c:pt>
                <c:pt idx="4102">
                  <c:v>1497364640</c:v>
                </c:pt>
                <c:pt idx="4103">
                  <c:v>227722446</c:v>
                </c:pt>
                <c:pt idx="4104">
                  <c:v>99629597</c:v>
                </c:pt>
                <c:pt idx="4105">
                  <c:v>121117248</c:v>
                </c:pt>
                <c:pt idx="4106">
                  <c:v>62010985</c:v>
                </c:pt>
                <c:pt idx="4107">
                  <c:v>286585600</c:v>
                </c:pt>
                <c:pt idx="4108">
                  <c:v>766820028</c:v>
                </c:pt>
                <c:pt idx="4109">
                  <c:v>1592367191</c:v>
                </c:pt>
                <c:pt idx="4110">
                  <c:v>2147483647</c:v>
                </c:pt>
                <c:pt idx="4111">
                  <c:v>167307106</c:v>
                </c:pt>
                <c:pt idx="4112">
                  <c:v>417280565</c:v>
                </c:pt>
                <c:pt idx="4113">
                  <c:v>50608883</c:v>
                </c:pt>
                <c:pt idx="4114">
                  <c:v>117530386</c:v>
                </c:pt>
                <c:pt idx="4115">
                  <c:v>142340652</c:v>
                </c:pt>
                <c:pt idx="4116">
                  <c:v>3406835263</c:v>
                </c:pt>
                <c:pt idx="4117">
                  <c:v>3249320848</c:v>
                </c:pt>
                <c:pt idx="4118">
                  <c:v>3962045088</c:v>
                </c:pt>
                <c:pt idx="4119">
                  <c:v>229349211</c:v>
                </c:pt>
                <c:pt idx="4120">
                  <c:v>8448516480</c:v>
                </c:pt>
                <c:pt idx="4121">
                  <c:v>1871086600</c:v>
                </c:pt>
                <c:pt idx="4122">
                  <c:v>1396319075</c:v>
                </c:pt>
                <c:pt idx="4123">
                  <c:v>143798526</c:v>
                </c:pt>
                <c:pt idx="4124">
                  <c:v>144231444</c:v>
                </c:pt>
                <c:pt idx="4125">
                  <c:v>1010828918</c:v>
                </c:pt>
                <c:pt idx="4126">
                  <c:v>151308849</c:v>
                </c:pt>
                <c:pt idx="4127">
                  <c:v>107818711</c:v>
                </c:pt>
                <c:pt idx="4128">
                  <c:v>131213544</c:v>
                </c:pt>
                <c:pt idx="4129">
                  <c:v>148284036</c:v>
                </c:pt>
                <c:pt idx="4130">
                  <c:v>907736400</c:v>
                </c:pt>
                <c:pt idx="4131">
                  <c:v>364190108</c:v>
                </c:pt>
                <c:pt idx="4132">
                  <c:v>1268257100</c:v>
                </c:pt>
                <c:pt idx="4133">
                  <c:v>168671660</c:v>
                </c:pt>
                <c:pt idx="4134">
                  <c:v>754267815</c:v>
                </c:pt>
                <c:pt idx="4135">
                  <c:v>129403300</c:v>
                </c:pt>
                <c:pt idx="4136">
                  <c:v>249941808</c:v>
                </c:pt>
                <c:pt idx="4137">
                  <c:v>90762012</c:v>
                </c:pt>
                <c:pt idx="4138">
                  <c:v>304930942</c:v>
                </c:pt>
                <c:pt idx="4139">
                  <c:v>100650165</c:v>
                </c:pt>
                <c:pt idx="4140">
                  <c:v>1648577589</c:v>
                </c:pt>
                <c:pt idx="4141">
                  <c:v>318253352</c:v>
                </c:pt>
                <c:pt idx="4142">
                  <c:v>311997312</c:v>
                </c:pt>
                <c:pt idx="4143">
                  <c:v>106256205</c:v>
                </c:pt>
                <c:pt idx="4144">
                  <c:v>8178848230</c:v>
                </c:pt>
                <c:pt idx="4145">
                  <c:v>1497378378</c:v>
                </c:pt>
                <c:pt idx="4146">
                  <c:v>58275558</c:v>
                </c:pt>
                <c:pt idx="4147">
                  <c:v>6593197093</c:v>
                </c:pt>
                <c:pt idx="4148">
                  <c:v>414391968</c:v>
                </c:pt>
                <c:pt idx="4149">
                  <c:v>215931571</c:v>
                </c:pt>
                <c:pt idx="4150">
                  <c:v>1095917445</c:v>
                </c:pt>
                <c:pt idx="4151">
                  <c:v>274927468</c:v>
                </c:pt>
                <c:pt idx="4152">
                  <c:v>353667100</c:v>
                </c:pt>
                <c:pt idx="4153">
                  <c:v>7314249527</c:v>
                </c:pt>
                <c:pt idx="4154">
                  <c:v>1148703606</c:v>
                </c:pt>
                <c:pt idx="4155">
                  <c:v>1817321080</c:v>
                </c:pt>
                <c:pt idx="4156">
                  <c:v>504951912</c:v>
                </c:pt>
                <c:pt idx="4157">
                  <c:v>207450840</c:v>
                </c:pt>
                <c:pt idx="4158">
                  <c:v>3709506407</c:v>
                </c:pt>
                <c:pt idx="4159">
                  <c:v>844265604</c:v>
                </c:pt>
                <c:pt idx="4160">
                  <c:v>71045197</c:v>
                </c:pt>
                <c:pt idx="4161">
                  <c:v>1839285096</c:v>
                </c:pt>
                <c:pt idx="4162">
                  <c:v>68301708</c:v>
                </c:pt>
                <c:pt idx="4163">
                  <c:v>180560610</c:v>
                </c:pt>
                <c:pt idx="4164">
                  <c:v>131450520</c:v>
                </c:pt>
                <c:pt idx="4165">
                  <c:v>142048737</c:v>
                </c:pt>
                <c:pt idx="4166">
                  <c:v>298288452</c:v>
                </c:pt>
                <c:pt idx="4167">
                  <c:v>3813909566</c:v>
                </c:pt>
                <c:pt idx="4168">
                  <c:v>1963261515</c:v>
                </c:pt>
                <c:pt idx="4169">
                  <c:v>412885375</c:v>
                </c:pt>
                <c:pt idx="4170">
                  <c:v>1711309320</c:v>
                </c:pt>
                <c:pt idx="4171">
                  <c:v>6732293100</c:v>
                </c:pt>
                <c:pt idx="4172">
                  <c:v>4294967294</c:v>
                </c:pt>
                <c:pt idx="4173">
                  <c:v>190278540</c:v>
                </c:pt>
                <c:pt idx="4174">
                  <c:v>129006080</c:v>
                </c:pt>
                <c:pt idx="4175">
                  <c:v>152043915</c:v>
                </c:pt>
                <c:pt idx="4176">
                  <c:v>1048240128</c:v>
                </c:pt>
                <c:pt idx="4177">
                  <c:v>74040369</c:v>
                </c:pt>
                <c:pt idx="4178">
                  <c:v>217654994</c:v>
                </c:pt>
                <c:pt idx="4179">
                  <c:v>2147483647</c:v>
                </c:pt>
                <c:pt idx="4180">
                  <c:v>497349447</c:v>
                </c:pt>
                <c:pt idx="4181">
                  <c:v>633318626</c:v>
                </c:pt>
                <c:pt idx="4182">
                  <c:v>1766370392</c:v>
                </c:pt>
                <c:pt idx="4183">
                  <c:v>447451306</c:v>
                </c:pt>
                <c:pt idx="4184">
                  <c:v>34829568</c:v>
                </c:pt>
                <c:pt idx="4185">
                  <c:v>322499466</c:v>
                </c:pt>
                <c:pt idx="4186">
                  <c:v>2558885039</c:v>
                </c:pt>
                <c:pt idx="4187">
                  <c:v>193457880</c:v>
                </c:pt>
                <c:pt idx="4188">
                  <c:v>459032488</c:v>
                </c:pt>
                <c:pt idx="4189">
                  <c:v>479356400</c:v>
                </c:pt>
                <c:pt idx="4190">
                  <c:v>4650935715</c:v>
                </c:pt>
                <c:pt idx="4191">
                  <c:v>362514944</c:v>
                </c:pt>
                <c:pt idx="4192">
                  <c:v>429595411</c:v>
                </c:pt>
                <c:pt idx="4193">
                  <c:v>723030665</c:v>
                </c:pt>
                <c:pt idx="4194">
                  <c:v>183488928</c:v>
                </c:pt>
                <c:pt idx="4195">
                  <c:v>71563327</c:v>
                </c:pt>
                <c:pt idx="4196">
                  <c:v>122529656</c:v>
                </c:pt>
                <c:pt idx="4197">
                  <c:v>1571800881</c:v>
                </c:pt>
                <c:pt idx="4198">
                  <c:v>155210088</c:v>
                </c:pt>
                <c:pt idx="4199">
                  <c:v>5100817734</c:v>
                </c:pt>
                <c:pt idx="4200">
                  <c:v>120226680</c:v>
                </c:pt>
                <c:pt idx="4201">
                  <c:v>26078895</c:v>
                </c:pt>
                <c:pt idx="4202">
                  <c:v>133479593</c:v>
                </c:pt>
                <c:pt idx="4203">
                  <c:v>5569002974</c:v>
                </c:pt>
                <c:pt idx="4204">
                  <c:v>454731666</c:v>
                </c:pt>
                <c:pt idx="4205">
                  <c:v>6720552465</c:v>
                </c:pt>
                <c:pt idx="4206">
                  <c:v>155226246</c:v>
                </c:pt>
                <c:pt idx="4207">
                  <c:v>122290300</c:v>
                </c:pt>
                <c:pt idx="4208">
                  <c:v>1602654104</c:v>
                </c:pt>
                <c:pt idx="4209">
                  <c:v>155486950</c:v>
                </c:pt>
                <c:pt idx="4210">
                  <c:v>305011325</c:v>
                </c:pt>
                <c:pt idx="4211">
                  <c:v>821108090</c:v>
                </c:pt>
                <c:pt idx="4212">
                  <c:v>84371581</c:v>
                </c:pt>
                <c:pt idx="4213">
                  <c:v>1645910271</c:v>
                </c:pt>
                <c:pt idx="4214">
                  <c:v>556602435</c:v>
                </c:pt>
                <c:pt idx="4215">
                  <c:v>2639302178</c:v>
                </c:pt>
                <c:pt idx="4216">
                  <c:v>90675186</c:v>
                </c:pt>
                <c:pt idx="4217">
                  <c:v>1116918296</c:v>
                </c:pt>
                <c:pt idx="4218">
                  <c:v>404579814</c:v>
                </c:pt>
                <c:pt idx="4219">
                  <c:v>1065702980</c:v>
                </c:pt>
                <c:pt idx="4220">
                  <c:v>101464916</c:v>
                </c:pt>
                <c:pt idx="4221">
                  <c:v>311365152</c:v>
                </c:pt>
                <c:pt idx="4222">
                  <c:v>597498823</c:v>
                </c:pt>
                <c:pt idx="4223">
                  <c:v>60620247</c:v>
                </c:pt>
                <c:pt idx="4224">
                  <c:v>129068485</c:v>
                </c:pt>
                <c:pt idx="4225">
                  <c:v>13814089328</c:v>
                </c:pt>
                <c:pt idx="4226">
                  <c:v>178956134</c:v>
                </c:pt>
                <c:pt idx="4227">
                  <c:v>114109632</c:v>
                </c:pt>
                <c:pt idx="4228">
                  <c:v>4808492910</c:v>
                </c:pt>
                <c:pt idx="4229">
                  <c:v>477009400</c:v>
                </c:pt>
                <c:pt idx="4230">
                  <c:v>372375432</c:v>
                </c:pt>
                <c:pt idx="4231">
                  <c:v>138754355</c:v>
                </c:pt>
                <c:pt idx="4232">
                  <c:v>263379492</c:v>
                </c:pt>
                <c:pt idx="4233">
                  <c:v>628050510</c:v>
                </c:pt>
                <c:pt idx="4234">
                  <c:v>1345219512</c:v>
                </c:pt>
                <c:pt idx="4235">
                  <c:v>87312416</c:v>
                </c:pt>
                <c:pt idx="4236">
                  <c:v>20904378</c:v>
                </c:pt>
                <c:pt idx="4237">
                  <c:v>796946368</c:v>
                </c:pt>
                <c:pt idx="4238">
                  <c:v>340979508</c:v>
                </c:pt>
                <c:pt idx="4239">
                  <c:v>226205928</c:v>
                </c:pt>
                <c:pt idx="4240">
                  <c:v>4601322217</c:v>
                </c:pt>
                <c:pt idx="4241">
                  <c:v>3508300897</c:v>
                </c:pt>
                <c:pt idx="4242">
                  <c:v>1211374480</c:v>
                </c:pt>
                <c:pt idx="4243">
                  <c:v>803941515</c:v>
                </c:pt>
                <c:pt idx="4244">
                  <c:v>4461996825</c:v>
                </c:pt>
                <c:pt idx="4245">
                  <c:v>44108368</c:v>
                </c:pt>
                <c:pt idx="4246">
                  <c:v>301662480</c:v>
                </c:pt>
                <c:pt idx="4247">
                  <c:v>3193007695</c:v>
                </c:pt>
                <c:pt idx="4248">
                  <c:v>165300500</c:v>
                </c:pt>
                <c:pt idx="4249">
                  <c:v>134437930</c:v>
                </c:pt>
                <c:pt idx="4250">
                  <c:v>327671992</c:v>
                </c:pt>
                <c:pt idx="4251">
                  <c:v>258497120</c:v>
                </c:pt>
                <c:pt idx="4252">
                  <c:v>152873372</c:v>
                </c:pt>
                <c:pt idx="4253">
                  <c:v>68742576</c:v>
                </c:pt>
                <c:pt idx="4254">
                  <c:v>120521648</c:v>
                </c:pt>
                <c:pt idx="4255">
                  <c:v>4112911397</c:v>
                </c:pt>
                <c:pt idx="4256">
                  <c:v>16113758976</c:v>
                </c:pt>
                <c:pt idx="4257">
                  <c:v>10988107</c:v>
                </c:pt>
                <c:pt idx="4258">
                  <c:v>1729567922</c:v>
                </c:pt>
                <c:pt idx="4259">
                  <c:v>199481580</c:v>
                </c:pt>
                <c:pt idx="4260">
                  <c:v>134857100</c:v>
                </c:pt>
                <c:pt idx="4261">
                  <c:v>1035873820</c:v>
                </c:pt>
                <c:pt idx="4262">
                  <c:v>4061211967</c:v>
                </c:pt>
                <c:pt idx="4263">
                  <c:v>2797476200</c:v>
                </c:pt>
                <c:pt idx="4264">
                  <c:v>203790300</c:v>
                </c:pt>
                <c:pt idx="4265">
                  <c:v>6442450941</c:v>
                </c:pt>
                <c:pt idx="4266">
                  <c:v>208299912</c:v>
                </c:pt>
                <c:pt idx="4267">
                  <c:v>97507918</c:v>
                </c:pt>
                <c:pt idx="4268">
                  <c:v>311250696</c:v>
                </c:pt>
                <c:pt idx="4269">
                  <c:v>413802200</c:v>
                </c:pt>
                <c:pt idx="4270">
                  <c:v>1903052888</c:v>
                </c:pt>
                <c:pt idx="4271">
                  <c:v>559515216</c:v>
                </c:pt>
                <c:pt idx="4272">
                  <c:v>126304310</c:v>
                </c:pt>
                <c:pt idx="4273">
                  <c:v>1100582925</c:v>
                </c:pt>
                <c:pt idx="4274">
                  <c:v>1875429059</c:v>
                </c:pt>
                <c:pt idx="4275">
                  <c:v>2393497524</c:v>
                </c:pt>
                <c:pt idx="4276">
                  <c:v>1898625536</c:v>
                </c:pt>
                <c:pt idx="4277">
                  <c:v>1335819898</c:v>
                </c:pt>
                <c:pt idx="4278">
                  <c:v>414901496</c:v>
                </c:pt>
                <c:pt idx="4279">
                  <c:v>4761447841</c:v>
                </c:pt>
                <c:pt idx="4280">
                  <c:v>706810194</c:v>
                </c:pt>
                <c:pt idx="4281">
                  <c:v>2147483647</c:v>
                </c:pt>
                <c:pt idx="4282">
                  <c:v>5561615717</c:v>
                </c:pt>
                <c:pt idx="4283">
                  <c:v>3068018470</c:v>
                </c:pt>
                <c:pt idx="4284">
                  <c:v>87861928</c:v>
                </c:pt>
                <c:pt idx="4285">
                  <c:v>576292232</c:v>
                </c:pt>
                <c:pt idx="4286">
                  <c:v>464809100</c:v>
                </c:pt>
                <c:pt idx="4287">
                  <c:v>290321733</c:v>
                </c:pt>
                <c:pt idx="4288">
                  <c:v>702519587</c:v>
                </c:pt>
                <c:pt idx="4289">
                  <c:v>830977702</c:v>
                </c:pt>
                <c:pt idx="4290">
                  <c:v>647796864</c:v>
                </c:pt>
                <c:pt idx="4291">
                  <c:v>311632408</c:v>
                </c:pt>
                <c:pt idx="4292">
                  <c:v>361178954</c:v>
                </c:pt>
                <c:pt idx="4293">
                  <c:v>414905400</c:v>
                </c:pt>
                <c:pt idx="4294">
                  <c:v>484534492</c:v>
                </c:pt>
                <c:pt idx="4295">
                  <c:v>633773043</c:v>
                </c:pt>
                <c:pt idx="4296">
                  <c:v>3464712077</c:v>
                </c:pt>
                <c:pt idx="4297">
                  <c:v>1051045877</c:v>
                </c:pt>
                <c:pt idx="4298">
                  <c:v>290525052</c:v>
                </c:pt>
                <c:pt idx="4299">
                  <c:v>1073983833</c:v>
                </c:pt>
                <c:pt idx="4300">
                  <c:v>389018455</c:v>
                </c:pt>
                <c:pt idx="4301">
                  <c:v>3427711288</c:v>
                </c:pt>
                <c:pt idx="4302">
                  <c:v>904143024</c:v>
                </c:pt>
                <c:pt idx="4303">
                  <c:v>401799690</c:v>
                </c:pt>
                <c:pt idx="4304">
                  <c:v>2708665768</c:v>
                </c:pt>
                <c:pt idx="4305">
                  <c:v>215470080</c:v>
                </c:pt>
                <c:pt idx="4306">
                  <c:v>1166875248</c:v>
                </c:pt>
                <c:pt idx="4307">
                  <c:v>294038300</c:v>
                </c:pt>
                <c:pt idx="4308">
                  <c:v>4121674847</c:v>
                </c:pt>
                <c:pt idx="4309">
                  <c:v>778193899</c:v>
                </c:pt>
                <c:pt idx="4310">
                  <c:v>1437054674</c:v>
                </c:pt>
                <c:pt idx="4311">
                  <c:v>1367386384</c:v>
                </c:pt>
                <c:pt idx="4312">
                  <c:v>6180617737</c:v>
                </c:pt>
                <c:pt idx="4313">
                  <c:v>428659420</c:v>
                </c:pt>
                <c:pt idx="4314">
                  <c:v>4294967294</c:v>
                </c:pt>
                <c:pt idx="4315">
                  <c:v>1438206995</c:v>
                </c:pt>
                <c:pt idx="4316">
                  <c:v>2014546668</c:v>
                </c:pt>
                <c:pt idx="4317">
                  <c:v>2123844005</c:v>
                </c:pt>
                <c:pt idx="4318">
                  <c:v>316462336</c:v>
                </c:pt>
                <c:pt idx="4319">
                  <c:v>569843750</c:v>
                </c:pt>
                <c:pt idx="4320">
                  <c:v>1568315295</c:v>
                </c:pt>
                <c:pt idx="4321">
                  <c:v>788704068</c:v>
                </c:pt>
                <c:pt idx="4322">
                  <c:v>4358904961</c:v>
                </c:pt>
                <c:pt idx="4323">
                  <c:v>1827185500</c:v>
                </c:pt>
                <c:pt idx="4324">
                  <c:v>3075456417</c:v>
                </c:pt>
                <c:pt idx="4325">
                  <c:v>261521592</c:v>
                </c:pt>
                <c:pt idx="4326">
                  <c:v>2147483647</c:v>
                </c:pt>
                <c:pt idx="4327">
                  <c:v>1183637147</c:v>
                </c:pt>
                <c:pt idx="4328">
                  <c:v>1297580156</c:v>
                </c:pt>
                <c:pt idx="4329">
                  <c:v>968358132</c:v>
                </c:pt>
                <c:pt idx="4330">
                  <c:v>918267432</c:v>
                </c:pt>
                <c:pt idx="4331">
                  <c:v>1208041008</c:v>
                </c:pt>
                <c:pt idx="4332">
                  <c:v>284724850</c:v>
                </c:pt>
                <c:pt idx="4333">
                  <c:v>881416304</c:v>
                </c:pt>
                <c:pt idx="4334">
                  <c:v>1353544757</c:v>
                </c:pt>
                <c:pt idx="4335">
                  <c:v>217027811</c:v>
                </c:pt>
                <c:pt idx="4336">
                  <c:v>124881750</c:v>
                </c:pt>
                <c:pt idx="4337">
                  <c:v>377455318</c:v>
                </c:pt>
                <c:pt idx="4338">
                  <c:v>97927698</c:v>
                </c:pt>
                <c:pt idx="4339">
                  <c:v>2553897632</c:v>
                </c:pt>
                <c:pt idx="4340">
                  <c:v>659623262</c:v>
                </c:pt>
                <c:pt idx="4341">
                  <c:v>1455529449</c:v>
                </c:pt>
                <c:pt idx="4342">
                  <c:v>371502568</c:v>
                </c:pt>
                <c:pt idx="4343">
                  <c:v>789540478</c:v>
                </c:pt>
                <c:pt idx="4344">
                  <c:v>5805402306</c:v>
                </c:pt>
                <c:pt idx="4345">
                  <c:v>280714883</c:v>
                </c:pt>
                <c:pt idx="4346">
                  <c:v>206277290</c:v>
                </c:pt>
                <c:pt idx="4347">
                  <c:v>4076550455</c:v>
                </c:pt>
                <c:pt idx="4348">
                  <c:v>7247277617</c:v>
                </c:pt>
                <c:pt idx="4349">
                  <c:v>2613399896</c:v>
                </c:pt>
                <c:pt idx="4350">
                  <c:v>1017775246</c:v>
                </c:pt>
                <c:pt idx="4351">
                  <c:v>73147944</c:v>
                </c:pt>
                <c:pt idx="4352">
                  <c:v>462217590</c:v>
                </c:pt>
                <c:pt idx="4353">
                  <c:v>494523965</c:v>
                </c:pt>
                <c:pt idx="4354">
                  <c:v>4294967294</c:v>
                </c:pt>
                <c:pt idx="4355">
                  <c:v>907830618</c:v>
                </c:pt>
                <c:pt idx="4356">
                  <c:v>1213204692</c:v>
                </c:pt>
                <c:pt idx="4357">
                  <c:v>1091415425</c:v>
                </c:pt>
                <c:pt idx="4358">
                  <c:v>1050261250</c:v>
                </c:pt>
                <c:pt idx="4359">
                  <c:v>3442539033</c:v>
                </c:pt>
                <c:pt idx="4360">
                  <c:v>1679011856</c:v>
                </c:pt>
                <c:pt idx="4361">
                  <c:v>12160447961</c:v>
                </c:pt>
                <c:pt idx="4362">
                  <c:v>1042956000</c:v>
                </c:pt>
                <c:pt idx="4363">
                  <c:v>210292344</c:v>
                </c:pt>
                <c:pt idx="4364">
                  <c:v>428174250</c:v>
                </c:pt>
                <c:pt idx="4365">
                  <c:v>227188130</c:v>
                </c:pt>
                <c:pt idx="4366">
                  <c:v>623723796</c:v>
                </c:pt>
                <c:pt idx="4367">
                  <c:v>12323448420</c:v>
                </c:pt>
                <c:pt idx="4368">
                  <c:v>527156080</c:v>
                </c:pt>
                <c:pt idx="4369">
                  <c:v>1316637468</c:v>
                </c:pt>
                <c:pt idx="4370">
                  <c:v>1040435382</c:v>
                </c:pt>
                <c:pt idx="4371">
                  <c:v>1458950100</c:v>
                </c:pt>
                <c:pt idx="4372">
                  <c:v>2834348892</c:v>
                </c:pt>
                <c:pt idx="4373">
                  <c:v>506133265</c:v>
                </c:pt>
                <c:pt idx="4374">
                  <c:v>2378753742</c:v>
                </c:pt>
                <c:pt idx="4375">
                  <c:v>186229680</c:v>
                </c:pt>
                <c:pt idx="4376">
                  <c:v>74026162</c:v>
                </c:pt>
                <c:pt idx="4377">
                  <c:v>107737524</c:v>
                </c:pt>
                <c:pt idx="4378">
                  <c:v>261196959</c:v>
                </c:pt>
                <c:pt idx="4379">
                  <c:v>377667722</c:v>
                </c:pt>
                <c:pt idx="4380">
                  <c:v>5014690079</c:v>
                </c:pt>
                <c:pt idx="4381">
                  <c:v>152947195</c:v>
                </c:pt>
                <c:pt idx="4382">
                  <c:v>319296324</c:v>
                </c:pt>
                <c:pt idx="4383">
                  <c:v>221553505</c:v>
                </c:pt>
                <c:pt idx="4384">
                  <c:v>714666848</c:v>
                </c:pt>
                <c:pt idx="4385">
                  <c:v>146168134</c:v>
                </c:pt>
                <c:pt idx="4386">
                  <c:v>830243085</c:v>
                </c:pt>
                <c:pt idx="4387">
                  <c:v>131731110</c:v>
                </c:pt>
                <c:pt idx="4388">
                  <c:v>1311165345</c:v>
                </c:pt>
                <c:pt idx="4389">
                  <c:v>269204617</c:v>
                </c:pt>
                <c:pt idx="4390">
                  <c:v>301727542</c:v>
                </c:pt>
                <c:pt idx="4391">
                  <c:v>203083643</c:v>
                </c:pt>
                <c:pt idx="4392">
                  <c:v>50664776</c:v>
                </c:pt>
                <c:pt idx="4393">
                  <c:v>181026225</c:v>
                </c:pt>
                <c:pt idx="4394">
                  <c:v>220557528</c:v>
                </c:pt>
                <c:pt idx="4395">
                  <c:v>2678792431</c:v>
                </c:pt>
                <c:pt idx="4396">
                  <c:v>1263235740</c:v>
                </c:pt>
                <c:pt idx="4397">
                  <c:v>70035840</c:v>
                </c:pt>
                <c:pt idx="4398">
                  <c:v>908152800</c:v>
                </c:pt>
                <c:pt idx="4399">
                  <c:v>260588988</c:v>
                </c:pt>
                <c:pt idx="4400">
                  <c:v>1207139804</c:v>
                </c:pt>
                <c:pt idx="4401">
                  <c:v>267665860</c:v>
                </c:pt>
                <c:pt idx="4402">
                  <c:v>92335865</c:v>
                </c:pt>
                <c:pt idx="4403">
                  <c:v>309958242</c:v>
                </c:pt>
                <c:pt idx="4404">
                  <c:v>480504285</c:v>
                </c:pt>
                <c:pt idx="4405">
                  <c:v>170887025</c:v>
                </c:pt>
                <c:pt idx="4406">
                  <c:v>626040358</c:v>
                </c:pt>
                <c:pt idx="4407">
                  <c:v>136017676</c:v>
                </c:pt>
                <c:pt idx="4408">
                  <c:v>2033963876</c:v>
                </c:pt>
                <c:pt idx="4409">
                  <c:v>637418208</c:v>
                </c:pt>
                <c:pt idx="4410">
                  <c:v>441528624</c:v>
                </c:pt>
                <c:pt idx="4411">
                  <c:v>515300786</c:v>
                </c:pt>
                <c:pt idx="4412">
                  <c:v>222632520</c:v>
                </c:pt>
                <c:pt idx="4413">
                  <c:v>257870969</c:v>
                </c:pt>
                <c:pt idx="4414">
                  <c:v>143305610</c:v>
                </c:pt>
                <c:pt idx="4415">
                  <c:v>317596755</c:v>
                </c:pt>
                <c:pt idx="4416">
                  <c:v>451668600</c:v>
                </c:pt>
                <c:pt idx="4417">
                  <c:v>2862903626</c:v>
                </c:pt>
                <c:pt idx="4418">
                  <c:v>436330559</c:v>
                </c:pt>
                <c:pt idx="4419">
                  <c:v>171331200</c:v>
                </c:pt>
                <c:pt idx="4420">
                  <c:v>163419529</c:v>
                </c:pt>
                <c:pt idx="4421">
                  <c:v>685291326</c:v>
                </c:pt>
                <c:pt idx="4422">
                  <c:v>257251518</c:v>
                </c:pt>
                <c:pt idx="4423">
                  <c:v>334498890</c:v>
                </c:pt>
                <c:pt idx="4424">
                  <c:v>2042177511</c:v>
                </c:pt>
                <c:pt idx="4425">
                  <c:v>700237842</c:v>
                </c:pt>
                <c:pt idx="4426">
                  <c:v>1569539457</c:v>
                </c:pt>
                <c:pt idx="4427">
                  <c:v>114735036</c:v>
                </c:pt>
                <c:pt idx="4428">
                  <c:v>910988350</c:v>
                </c:pt>
                <c:pt idx="4429">
                  <c:v>834954480</c:v>
                </c:pt>
                <c:pt idx="4430">
                  <c:v>6269990997</c:v>
                </c:pt>
                <c:pt idx="4431">
                  <c:v>599704770</c:v>
                </c:pt>
                <c:pt idx="4432">
                  <c:v>478056693</c:v>
                </c:pt>
                <c:pt idx="4433">
                  <c:v>296619468</c:v>
                </c:pt>
                <c:pt idx="4434">
                  <c:v>863734360</c:v>
                </c:pt>
                <c:pt idx="4435">
                  <c:v>449826195</c:v>
                </c:pt>
                <c:pt idx="4436">
                  <c:v>1736381898</c:v>
                </c:pt>
                <c:pt idx="4437">
                  <c:v>390368058</c:v>
                </c:pt>
                <c:pt idx="4438">
                  <c:v>2366913854</c:v>
                </c:pt>
                <c:pt idx="4439">
                  <c:v>396865076</c:v>
                </c:pt>
                <c:pt idx="4440">
                  <c:v>161233485</c:v>
                </c:pt>
                <c:pt idx="4441">
                  <c:v>1026526884</c:v>
                </c:pt>
                <c:pt idx="4442">
                  <c:v>3561145117</c:v>
                </c:pt>
                <c:pt idx="4443">
                  <c:v>321403335</c:v>
                </c:pt>
                <c:pt idx="4444">
                  <c:v>233887808</c:v>
                </c:pt>
                <c:pt idx="4445">
                  <c:v>218002140</c:v>
                </c:pt>
                <c:pt idx="4446">
                  <c:v>2041309140</c:v>
                </c:pt>
                <c:pt idx="4447">
                  <c:v>155959647</c:v>
                </c:pt>
                <c:pt idx="4448">
                  <c:v>751334100</c:v>
                </c:pt>
                <c:pt idx="4449">
                  <c:v>327781464</c:v>
                </c:pt>
                <c:pt idx="4450">
                  <c:v>188184870</c:v>
                </c:pt>
                <c:pt idx="4451">
                  <c:v>276391920</c:v>
                </c:pt>
                <c:pt idx="4452">
                  <c:v>113030189</c:v>
                </c:pt>
                <c:pt idx="4453">
                  <c:v>257003768</c:v>
                </c:pt>
                <c:pt idx="4454">
                  <c:v>12290814636</c:v>
                </c:pt>
                <c:pt idx="4455">
                  <c:v>1269345548</c:v>
                </c:pt>
                <c:pt idx="4456">
                  <c:v>155978816</c:v>
                </c:pt>
                <c:pt idx="4457">
                  <c:v>487953680</c:v>
                </c:pt>
                <c:pt idx="4458">
                  <c:v>971713974</c:v>
                </c:pt>
                <c:pt idx="4459">
                  <c:v>227797582</c:v>
                </c:pt>
                <c:pt idx="4460">
                  <c:v>215250984</c:v>
                </c:pt>
                <c:pt idx="4461">
                  <c:v>600327715</c:v>
                </c:pt>
                <c:pt idx="4462">
                  <c:v>329996126</c:v>
                </c:pt>
                <c:pt idx="4463">
                  <c:v>1984499992</c:v>
                </c:pt>
                <c:pt idx="4464">
                  <c:v>729116936</c:v>
                </c:pt>
                <c:pt idx="4465">
                  <c:v>1843853386</c:v>
                </c:pt>
                <c:pt idx="4466">
                  <c:v>591883270</c:v>
                </c:pt>
                <c:pt idx="4467">
                  <c:v>1614305052</c:v>
                </c:pt>
                <c:pt idx="4468">
                  <c:v>519490972</c:v>
                </c:pt>
                <c:pt idx="4469">
                  <c:v>756964610</c:v>
                </c:pt>
                <c:pt idx="4470">
                  <c:v>433818154</c:v>
                </c:pt>
                <c:pt idx="4471">
                  <c:v>906974640</c:v>
                </c:pt>
                <c:pt idx="4472">
                  <c:v>1179785848</c:v>
                </c:pt>
                <c:pt idx="4473">
                  <c:v>1766234300</c:v>
                </c:pt>
                <c:pt idx="4474">
                  <c:v>291301528</c:v>
                </c:pt>
                <c:pt idx="4475">
                  <c:v>1985284244</c:v>
                </c:pt>
                <c:pt idx="4476">
                  <c:v>157097379</c:v>
                </c:pt>
                <c:pt idx="4477">
                  <c:v>553183911</c:v>
                </c:pt>
                <c:pt idx="4478">
                  <c:v>681106320</c:v>
                </c:pt>
                <c:pt idx="4479">
                  <c:v>1494073490</c:v>
                </c:pt>
                <c:pt idx="4480">
                  <c:v>1898103500</c:v>
                </c:pt>
                <c:pt idx="4481">
                  <c:v>224287650</c:v>
                </c:pt>
                <c:pt idx="4482">
                  <c:v>244398700</c:v>
                </c:pt>
                <c:pt idx="4483">
                  <c:v>1114859302</c:v>
                </c:pt>
                <c:pt idx="4484">
                  <c:v>849768714</c:v>
                </c:pt>
                <c:pt idx="4485">
                  <c:v>1863352575</c:v>
                </c:pt>
                <c:pt idx="4486">
                  <c:v>147267186</c:v>
                </c:pt>
                <c:pt idx="4487">
                  <c:v>136588492</c:v>
                </c:pt>
                <c:pt idx="4488">
                  <c:v>1559082448</c:v>
                </c:pt>
                <c:pt idx="4489">
                  <c:v>393591926</c:v>
                </c:pt>
                <c:pt idx="4490">
                  <c:v>736939472</c:v>
                </c:pt>
                <c:pt idx="4491">
                  <c:v>526412040</c:v>
                </c:pt>
                <c:pt idx="4492">
                  <c:v>519069492</c:v>
                </c:pt>
                <c:pt idx="4493">
                  <c:v>463012200</c:v>
                </c:pt>
                <c:pt idx="4494">
                  <c:v>459881090</c:v>
                </c:pt>
                <c:pt idx="4495">
                  <c:v>228642434</c:v>
                </c:pt>
                <c:pt idx="4496">
                  <c:v>214161165</c:v>
                </c:pt>
                <c:pt idx="4497">
                  <c:v>274835700</c:v>
                </c:pt>
                <c:pt idx="4498">
                  <c:v>291377680</c:v>
                </c:pt>
                <c:pt idx="4499">
                  <c:v>4034798224</c:v>
                </c:pt>
                <c:pt idx="4500">
                  <c:v>461751264</c:v>
                </c:pt>
                <c:pt idx="4501">
                  <c:v>680069581</c:v>
                </c:pt>
                <c:pt idx="4502">
                  <c:v>500289501</c:v>
                </c:pt>
                <c:pt idx="4503">
                  <c:v>165497740</c:v>
                </c:pt>
                <c:pt idx="4504">
                  <c:v>286879270</c:v>
                </c:pt>
                <c:pt idx="4505">
                  <c:v>331178452</c:v>
                </c:pt>
                <c:pt idx="4506">
                  <c:v>852492870</c:v>
                </c:pt>
                <c:pt idx="4507">
                  <c:v>179519904</c:v>
                </c:pt>
                <c:pt idx="4508">
                  <c:v>389774498</c:v>
                </c:pt>
                <c:pt idx="4509">
                  <c:v>227819826</c:v>
                </c:pt>
                <c:pt idx="4510">
                  <c:v>684974536</c:v>
                </c:pt>
                <c:pt idx="4511">
                  <c:v>246883721</c:v>
                </c:pt>
                <c:pt idx="4512">
                  <c:v>518885378</c:v>
                </c:pt>
                <c:pt idx="4513">
                  <c:v>1257168040</c:v>
                </c:pt>
                <c:pt idx="4514">
                  <c:v>413699582</c:v>
                </c:pt>
                <c:pt idx="4515">
                  <c:v>635238344</c:v>
                </c:pt>
                <c:pt idx="4516">
                  <c:v>536878764</c:v>
                </c:pt>
                <c:pt idx="4517">
                  <c:v>197335059</c:v>
                </c:pt>
                <c:pt idx="4518">
                  <c:v>122071584</c:v>
                </c:pt>
                <c:pt idx="4519">
                  <c:v>1208364849</c:v>
                </c:pt>
                <c:pt idx="4520">
                  <c:v>845949000</c:v>
                </c:pt>
                <c:pt idx="4521">
                  <c:v>694649358</c:v>
                </c:pt>
                <c:pt idx="4522">
                  <c:v>235158388</c:v>
                </c:pt>
                <c:pt idx="4523">
                  <c:v>1811990201</c:v>
                </c:pt>
                <c:pt idx="4524">
                  <c:v>904047480</c:v>
                </c:pt>
                <c:pt idx="4525">
                  <c:v>115976942</c:v>
                </c:pt>
                <c:pt idx="4526">
                  <c:v>532359890</c:v>
                </c:pt>
                <c:pt idx="4527">
                  <c:v>338649564</c:v>
                </c:pt>
                <c:pt idx="4528">
                  <c:v>90523772</c:v>
                </c:pt>
                <c:pt idx="4529">
                  <c:v>342888804</c:v>
                </c:pt>
                <c:pt idx="4530">
                  <c:v>1548269564</c:v>
                </c:pt>
                <c:pt idx="4531">
                  <c:v>240968480</c:v>
                </c:pt>
                <c:pt idx="4532">
                  <c:v>823105412</c:v>
                </c:pt>
                <c:pt idx="4533">
                  <c:v>899133048</c:v>
                </c:pt>
                <c:pt idx="4534">
                  <c:v>3824907970</c:v>
                </c:pt>
                <c:pt idx="4535">
                  <c:v>1071289632</c:v>
                </c:pt>
                <c:pt idx="4536">
                  <c:v>589287150</c:v>
                </c:pt>
                <c:pt idx="4537">
                  <c:v>404303663</c:v>
                </c:pt>
                <c:pt idx="4538">
                  <c:v>1103761972</c:v>
                </c:pt>
                <c:pt idx="4539">
                  <c:v>216390853</c:v>
                </c:pt>
                <c:pt idx="4540">
                  <c:v>1906986274</c:v>
                </c:pt>
                <c:pt idx="4541">
                  <c:v>100584936</c:v>
                </c:pt>
                <c:pt idx="4542">
                  <c:v>431987288</c:v>
                </c:pt>
                <c:pt idx="4543">
                  <c:v>159146335</c:v>
                </c:pt>
                <c:pt idx="4544">
                  <c:v>346399287</c:v>
                </c:pt>
                <c:pt idx="4545">
                  <c:v>914773008</c:v>
                </c:pt>
                <c:pt idx="4546">
                  <c:v>85090851</c:v>
                </c:pt>
                <c:pt idx="4547">
                  <c:v>172587338</c:v>
                </c:pt>
              </c:numCache>
            </c:numRef>
          </c:xVal>
          <c:yVal>
            <c:numRef>
              <c:f>Sheet1!$C$25:$C$4572</c:f>
              <c:numCache>
                <c:formatCode>General</c:formatCode>
                <c:ptCount val="4548"/>
                <c:pt idx="0">
                  <c:v>6.5179927691759634</c:v>
                </c:pt>
                <c:pt idx="1">
                  <c:v>1.4995660810786804</c:v>
                </c:pt>
                <c:pt idx="2">
                  <c:v>2.7588295779436063</c:v>
                </c:pt>
                <c:pt idx="3">
                  <c:v>-26.930419141221833</c:v>
                </c:pt>
                <c:pt idx="4">
                  <c:v>6.3262979433733388</c:v>
                </c:pt>
                <c:pt idx="5">
                  <c:v>39.461101535647671</c:v>
                </c:pt>
                <c:pt idx="6">
                  <c:v>-5.4298318018425391</c:v>
                </c:pt>
                <c:pt idx="7">
                  <c:v>-14.708816508538817</c:v>
                </c:pt>
                <c:pt idx="8">
                  <c:v>2.9264495681303817</c:v>
                </c:pt>
                <c:pt idx="9">
                  <c:v>2.7906230563160461</c:v>
                </c:pt>
                <c:pt idx="10">
                  <c:v>2.7072633598705567</c:v>
                </c:pt>
                <c:pt idx="11">
                  <c:v>5.3186374447664395</c:v>
                </c:pt>
                <c:pt idx="12">
                  <c:v>11.23702102380291</c:v>
                </c:pt>
                <c:pt idx="13">
                  <c:v>4.5179927691759634</c:v>
                </c:pt>
                <c:pt idx="14">
                  <c:v>3.3518313821362966</c:v>
                </c:pt>
                <c:pt idx="15">
                  <c:v>-11.380504823193419</c:v>
                </c:pt>
                <c:pt idx="16">
                  <c:v>-22.222287836025671</c:v>
                </c:pt>
                <c:pt idx="17">
                  <c:v>2.0170820971539207</c:v>
                </c:pt>
                <c:pt idx="18">
                  <c:v>6.9158527156386498</c:v>
                </c:pt>
                <c:pt idx="19">
                  <c:v>25.118455039562171</c:v>
                </c:pt>
                <c:pt idx="20">
                  <c:v>41.00151422092469</c:v>
                </c:pt>
                <c:pt idx="21">
                  <c:v>7.5179927691759634</c:v>
                </c:pt>
                <c:pt idx="22">
                  <c:v>3.9422409338353894</c:v>
                </c:pt>
                <c:pt idx="23">
                  <c:v>1.4438894703077239</c:v>
                </c:pt>
                <c:pt idx="24">
                  <c:v>28.972597939265782</c:v>
                </c:pt>
                <c:pt idx="25">
                  <c:v>-2.3714299401160943</c:v>
                </c:pt>
                <c:pt idx="26">
                  <c:v>-2.8325884027934691</c:v>
                </c:pt>
                <c:pt idx="27">
                  <c:v>-11.815838016208971</c:v>
                </c:pt>
                <c:pt idx="28">
                  <c:v>-27.464420562176898</c:v>
                </c:pt>
                <c:pt idx="29">
                  <c:v>2.6966302262516471</c:v>
                </c:pt>
                <c:pt idx="30">
                  <c:v>-1.4820072308240366</c:v>
                </c:pt>
                <c:pt idx="31">
                  <c:v>127.22866555040136</c:v>
                </c:pt>
                <c:pt idx="32">
                  <c:v>1.8009811154850848</c:v>
                </c:pt>
                <c:pt idx="33">
                  <c:v>25.889329450270267</c:v>
                </c:pt>
                <c:pt idx="34">
                  <c:v>-30.441599077699095</c:v>
                </c:pt>
                <c:pt idx="35">
                  <c:v>-1.6737020566266612</c:v>
                </c:pt>
                <c:pt idx="36">
                  <c:v>-7.1900038805496891E-2</c:v>
                </c:pt>
                <c:pt idx="37">
                  <c:v>32.893392968765745</c:v>
                </c:pt>
                <c:pt idx="38">
                  <c:v>5.4506373105502721</c:v>
                </c:pt>
                <c:pt idx="39">
                  <c:v>1.5924802794031656</c:v>
                </c:pt>
                <c:pt idx="40">
                  <c:v>47.564072958416929</c:v>
                </c:pt>
                <c:pt idx="41">
                  <c:v>15.122724491782307</c:v>
                </c:pt>
                <c:pt idx="42">
                  <c:v>-12.205276318216683</c:v>
                </c:pt>
                <c:pt idx="43">
                  <c:v>-7.4832374337038043E-2</c:v>
                </c:pt>
                <c:pt idx="44">
                  <c:v>-0.75220178587151754</c:v>
                </c:pt>
                <c:pt idx="45">
                  <c:v>1.5179927691759634</c:v>
                </c:pt>
                <c:pt idx="46">
                  <c:v>-1.3061461715248806</c:v>
                </c:pt>
                <c:pt idx="47">
                  <c:v>-1.2253125799448963</c:v>
                </c:pt>
                <c:pt idx="48">
                  <c:v>0.9163101857522653</c:v>
                </c:pt>
                <c:pt idx="49">
                  <c:v>2.5179927691759634</c:v>
                </c:pt>
                <c:pt idx="50">
                  <c:v>1.6640130602431</c:v>
                </c:pt>
                <c:pt idx="51">
                  <c:v>-4.1211326958625092</c:v>
                </c:pt>
                <c:pt idx="52">
                  <c:v>0.80023288463576558</c:v>
                </c:pt>
                <c:pt idx="53">
                  <c:v>13.931443102314297</c:v>
                </c:pt>
                <c:pt idx="54">
                  <c:v>2.1305128952738244</c:v>
                </c:pt>
                <c:pt idx="55">
                  <c:v>1.2625943082622737</c:v>
                </c:pt>
                <c:pt idx="56">
                  <c:v>-1.8449226520038997</c:v>
                </c:pt>
                <c:pt idx="57">
                  <c:v>-1.2013744467556116</c:v>
                </c:pt>
                <c:pt idx="58">
                  <c:v>-0.15488501467325122</c:v>
                </c:pt>
                <c:pt idx="59">
                  <c:v>-1.3297930238508391</c:v>
                </c:pt>
                <c:pt idx="60">
                  <c:v>0.46711641155510719</c:v>
                </c:pt>
                <c:pt idx="61">
                  <c:v>-0.61665800859158204</c:v>
                </c:pt>
                <c:pt idx="62">
                  <c:v>-1.7475481021140182</c:v>
                </c:pt>
                <c:pt idx="63">
                  <c:v>1.6712333440626508</c:v>
                </c:pt>
                <c:pt idx="64">
                  <c:v>6.2383750527699178E-2</c:v>
                </c:pt>
                <c:pt idx="65">
                  <c:v>2.3756862989332563</c:v>
                </c:pt>
                <c:pt idx="66">
                  <c:v>0.91678139632840994</c:v>
                </c:pt>
                <c:pt idx="67">
                  <c:v>7.7823154416721279</c:v>
                </c:pt>
                <c:pt idx="68">
                  <c:v>-2.8659627870897033</c:v>
                </c:pt>
                <c:pt idx="69">
                  <c:v>6.3192913289113761</c:v>
                </c:pt>
                <c:pt idx="70">
                  <c:v>1.9165485753123468</c:v>
                </c:pt>
                <c:pt idx="71">
                  <c:v>5.8366758112879893</c:v>
                </c:pt>
                <c:pt idx="72">
                  <c:v>1.8619921658245286</c:v>
                </c:pt>
                <c:pt idx="73">
                  <c:v>6.1630646303179049E-2</c:v>
                </c:pt>
                <c:pt idx="74">
                  <c:v>2.231553130281771</c:v>
                </c:pt>
                <c:pt idx="75">
                  <c:v>-1.2254502784305821</c:v>
                </c:pt>
                <c:pt idx="76">
                  <c:v>-0.48200723082403663</c:v>
                </c:pt>
                <c:pt idx="77">
                  <c:v>-1.9628535567873384</c:v>
                </c:pt>
                <c:pt idx="78">
                  <c:v>-2.630258834702504</c:v>
                </c:pt>
                <c:pt idx="79">
                  <c:v>1.4884260697913525</c:v>
                </c:pt>
                <c:pt idx="80">
                  <c:v>0.27066587366232264</c:v>
                </c:pt>
                <c:pt idx="81">
                  <c:v>1.6320608674376893</c:v>
                </c:pt>
                <c:pt idx="82">
                  <c:v>1.9002644461489395</c:v>
                </c:pt>
                <c:pt idx="83">
                  <c:v>-0.37245363355254479</c:v>
                </c:pt>
                <c:pt idx="84">
                  <c:v>0.20324022524063035</c:v>
                </c:pt>
                <c:pt idx="85">
                  <c:v>1.4332121332199923</c:v>
                </c:pt>
                <c:pt idx="86">
                  <c:v>8.0887402367668528</c:v>
                </c:pt>
                <c:pt idx="87">
                  <c:v>2.5179927691759634</c:v>
                </c:pt>
                <c:pt idx="88">
                  <c:v>2.0543658801562819</c:v>
                </c:pt>
                <c:pt idx="89">
                  <c:v>4.4388396990965324</c:v>
                </c:pt>
                <c:pt idx="90">
                  <c:v>-0.67289941086819383</c:v>
                </c:pt>
                <c:pt idx="91">
                  <c:v>0.45382345324443391</c:v>
                </c:pt>
                <c:pt idx="92">
                  <c:v>1.6482927433222798</c:v>
                </c:pt>
                <c:pt idx="93">
                  <c:v>-1.4820072308240366</c:v>
                </c:pt>
                <c:pt idx="94">
                  <c:v>0.22356464636679063</c:v>
                </c:pt>
                <c:pt idx="95">
                  <c:v>-3.9326742494239508E-2</c:v>
                </c:pt>
                <c:pt idx="96">
                  <c:v>1.9709243303519428</c:v>
                </c:pt>
                <c:pt idx="97">
                  <c:v>4.8943076033380652</c:v>
                </c:pt>
                <c:pt idx="98">
                  <c:v>1.5179927691759634</c:v>
                </c:pt>
                <c:pt idx="99">
                  <c:v>-1.0262679702500908</c:v>
                </c:pt>
                <c:pt idx="100">
                  <c:v>-1.9945661257454494</c:v>
                </c:pt>
                <c:pt idx="101">
                  <c:v>2.4577752910013744</c:v>
                </c:pt>
                <c:pt idx="102">
                  <c:v>-0.12465459428023817</c:v>
                </c:pt>
                <c:pt idx="103">
                  <c:v>-2.8812904481145161</c:v>
                </c:pt>
                <c:pt idx="104">
                  <c:v>0.51799276917596337</c:v>
                </c:pt>
                <c:pt idx="105">
                  <c:v>-0.53669211323827426</c:v>
                </c:pt>
                <c:pt idx="106">
                  <c:v>5.1542886829452472</c:v>
                </c:pt>
                <c:pt idx="107">
                  <c:v>1.3551010218641482</c:v>
                </c:pt>
                <c:pt idx="108">
                  <c:v>1.1796726973867488</c:v>
                </c:pt>
                <c:pt idx="109">
                  <c:v>-0.87981033570018141</c:v>
                </c:pt>
                <c:pt idx="110">
                  <c:v>-1.7180799878848099</c:v>
                </c:pt>
                <c:pt idx="111">
                  <c:v>4.5179927691759634</c:v>
                </c:pt>
                <c:pt idx="112">
                  <c:v>2.3205357591041427</c:v>
                </c:pt>
                <c:pt idx="113">
                  <c:v>5.1644564952988876</c:v>
                </c:pt>
                <c:pt idx="114">
                  <c:v>5.5179927691759634</c:v>
                </c:pt>
                <c:pt idx="115">
                  <c:v>2.5179927691759634</c:v>
                </c:pt>
                <c:pt idx="116">
                  <c:v>0.80839360852499897</c:v>
                </c:pt>
                <c:pt idx="117">
                  <c:v>14.180589529229536</c:v>
                </c:pt>
                <c:pt idx="118">
                  <c:v>0.66578274562371131</c:v>
                </c:pt>
                <c:pt idx="119">
                  <c:v>0.293790835094911</c:v>
                </c:pt>
                <c:pt idx="120">
                  <c:v>0.32024853240068341</c:v>
                </c:pt>
                <c:pt idx="121">
                  <c:v>3.6546711687182647</c:v>
                </c:pt>
                <c:pt idx="122">
                  <c:v>3.7655106805070688</c:v>
                </c:pt>
                <c:pt idx="123">
                  <c:v>0.81717345868809577</c:v>
                </c:pt>
                <c:pt idx="124">
                  <c:v>3.53217231889484</c:v>
                </c:pt>
                <c:pt idx="125">
                  <c:v>0.17769473571413086</c:v>
                </c:pt>
                <c:pt idx="126">
                  <c:v>1.0126578344299189</c:v>
                </c:pt>
                <c:pt idx="127">
                  <c:v>0.53305528649061351</c:v>
                </c:pt>
                <c:pt idx="128">
                  <c:v>0.13331137591670461</c:v>
                </c:pt>
                <c:pt idx="129">
                  <c:v>0.91938845290586735</c:v>
                </c:pt>
                <c:pt idx="130">
                  <c:v>-4.9048171047224471</c:v>
                </c:pt>
                <c:pt idx="131">
                  <c:v>-1.3010359221752257</c:v>
                </c:pt>
                <c:pt idx="132">
                  <c:v>2.3937103800894839</c:v>
                </c:pt>
                <c:pt idx="133">
                  <c:v>8.3262979433733388</c:v>
                </c:pt>
                <c:pt idx="134">
                  <c:v>0.78099993167578396</c:v>
                </c:pt>
                <c:pt idx="135">
                  <c:v>0.26270373699506777</c:v>
                </c:pt>
                <c:pt idx="136">
                  <c:v>7.4624257299625185E-2</c:v>
                </c:pt>
                <c:pt idx="137">
                  <c:v>5.6326581434877765</c:v>
                </c:pt>
                <c:pt idx="138">
                  <c:v>0.65893892369615781</c:v>
                </c:pt>
                <c:pt idx="139">
                  <c:v>-2.6020417604329342</c:v>
                </c:pt>
                <c:pt idx="140">
                  <c:v>1.2638738786437163</c:v>
                </c:pt>
                <c:pt idx="141">
                  <c:v>-3.6737020566266612</c:v>
                </c:pt>
                <c:pt idx="142">
                  <c:v>1.7051511736550093</c:v>
                </c:pt>
                <c:pt idx="143">
                  <c:v>2.313165932454194</c:v>
                </c:pt>
                <c:pt idx="144">
                  <c:v>0.82185756670304655</c:v>
                </c:pt>
                <c:pt idx="145">
                  <c:v>1.3829189075312796</c:v>
                </c:pt>
                <c:pt idx="146">
                  <c:v>-0.92267294809637779</c:v>
                </c:pt>
                <c:pt idx="147">
                  <c:v>0.35113892635219424</c:v>
                </c:pt>
                <c:pt idx="148">
                  <c:v>1.8478576925998067</c:v>
                </c:pt>
                <c:pt idx="149">
                  <c:v>3.3024126710433919</c:v>
                </c:pt>
                <c:pt idx="150">
                  <c:v>1.6106879213571026</c:v>
                </c:pt>
                <c:pt idx="151">
                  <c:v>9.5179927691759634</c:v>
                </c:pt>
                <c:pt idx="152">
                  <c:v>0.37919851760990536</c:v>
                </c:pt>
                <c:pt idx="153">
                  <c:v>-2.6806620752679819</c:v>
                </c:pt>
                <c:pt idx="154">
                  <c:v>4.5651581540857729</c:v>
                </c:pt>
                <c:pt idx="155">
                  <c:v>-2.2806715144198129</c:v>
                </c:pt>
                <c:pt idx="156">
                  <c:v>2.5179927691759634</c:v>
                </c:pt>
                <c:pt idx="157">
                  <c:v>1.6817497476690546</c:v>
                </c:pt>
                <c:pt idx="158">
                  <c:v>3.0770399202555683</c:v>
                </c:pt>
                <c:pt idx="159">
                  <c:v>-1.1540563074962029</c:v>
                </c:pt>
                <c:pt idx="160">
                  <c:v>-5.5715767432006711</c:v>
                </c:pt>
                <c:pt idx="161">
                  <c:v>0.74384153271384967</c:v>
                </c:pt>
                <c:pt idx="162">
                  <c:v>-0.56724364204074273</c:v>
                </c:pt>
                <c:pt idx="163">
                  <c:v>0.54278224723138813</c:v>
                </c:pt>
                <c:pt idx="164">
                  <c:v>3.7733589790256232</c:v>
                </c:pt>
                <c:pt idx="165">
                  <c:v>1.0833436318095302</c:v>
                </c:pt>
                <c:pt idx="166">
                  <c:v>3.629729566187887</c:v>
                </c:pt>
                <c:pt idx="167">
                  <c:v>4.8034795778403794</c:v>
                </c:pt>
                <c:pt idx="168">
                  <c:v>-1.7891918089082566</c:v>
                </c:pt>
                <c:pt idx="169">
                  <c:v>0.484034573288461</c:v>
                </c:pt>
                <c:pt idx="170">
                  <c:v>0.35957433227462343</c:v>
                </c:pt>
                <c:pt idx="171">
                  <c:v>5.5179927691759634</c:v>
                </c:pt>
                <c:pt idx="172">
                  <c:v>-3.4129892178535304</c:v>
                </c:pt>
                <c:pt idx="173">
                  <c:v>0.92850883809684426</c:v>
                </c:pt>
                <c:pt idx="174">
                  <c:v>0.57685383622007813</c:v>
                </c:pt>
                <c:pt idx="175">
                  <c:v>0.70862626744389412</c:v>
                </c:pt>
                <c:pt idx="176">
                  <c:v>0.51799276917596337</c:v>
                </c:pt>
                <c:pt idx="177">
                  <c:v>1.2059649344655066</c:v>
                </c:pt>
                <c:pt idx="178">
                  <c:v>0.37739031691644248</c:v>
                </c:pt>
                <c:pt idx="179">
                  <c:v>2.3601933344822257</c:v>
                </c:pt>
                <c:pt idx="180">
                  <c:v>-5.7091708231908456E-2</c:v>
                </c:pt>
                <c:pt idx="181">
                  <c:v>16.193402864586076</c:v>
                </c:pt>
                <c:pt idx="182">
                  <c:v>4.5622291693277965</c:v>
                </c:pt>
                <c:pt idx="183">
                  <c:v>0.14731721896567551</c:v>
                </c:pt>
                <c:pt idx="184">
                  <c:v>6.4101250458006795</c:v>
                </c:pt>
                <c:pt idx="185">
                  <c:v>-1.1462180313509238</c:v>
                </c:pt>
                <c:pt idx="186">
                  <c:v>1.4382735065307357</c:v>
                </c:pt>
                <c:pt idx="187">
                  <c:v>2.5179927691759634</c:v>
                </c:pt>
                <c:pt idx="188">
                  <c:v>5.0292752538229575</c:v>
                </c:pt>
                <c:pt idx="189">
                  <c:v>-0.69362829233527368</c:v>
                </c:pt>
                <c:pt idx="190">
                  <c:v>1.2089226298714193</c:v>
                </c:pt>
                <c:pt idx="191">
                  <c:v>-0.48200723082403663</c:v>
                </c:pt>
                <c:pt idx="192">
                  <c:v>-0.35627402391194929</c:v>
                </c:pt>
                <c:pt idx="193">
                  <c:v>-0.6182383726380678</c:v>
                </c:pt>
                <c:pt idx="194">
                  <c:v>0.95499905811195374</c:v>
                </c:pt>
                <c:pt idx="195">
                  <c:v>0.58119615932278812</c:v>
                </c:pt>
                <c:pt idx="196">
                  <c:v>1.1181119214369342</c:v>
                </c:pt>
                <c:pt idx="197">
                  <c:v>1.0981125024430707</c:v>
                </c:pt>
                <c:pt idx="198">
                  <c:v>-0.9895983083788833</c:v>
                </c:pt>
                <c:pt idx="199">
                  <c:v>-0.80481081750387506</c:v>
                </c:pt>
                <c:pt idx="200">
                  <c:v>4.3323290732078314</c:v>
                </c:pt>
                <c:pt idx="201">
                  <c:v>0.62268073344422126</c:v>
                </c:pt>
                <c:pt idx="202">
                  <c:v>1.0499077916520139</c:v>
                </c:pt>
                <c:pt idx="203">
                  <c:v>1.5179927691759634</c:v>
                </c:pt>
                <c:pt idx="204">
                  <c:v>-0.63265079435639926</c:v>
                </c:pt>
                <c:pt idx="205">
                  <c:v>3.3177516050959657</c:v>
                </c:pt>
                <c:pt idx="206">
                  <c:v>1.4206227369567115</c:v>
                </c:pt>
                <c:pt idx="207">
                  <c:v>0.69439615422134038</c:v>
                </c:pt>
                <c:pt idx="208">
                  <c:v>-0.8939846062134702</c:v>
                </c:pt>
                <c:pt idx="209">
                  <c:v>1.9221311357888187</c:v>
                </c:pt>
                <c:pt idx="210">
                  <c:v>-1.6406704509914141</c:v>
                </c:pt>
                <c:pt idx="211">
                  <c:v>0.13601427381333919</c:v>
                </c:pt>
                <c:pt idx="212">
                  <c:v>-0.93673363462754367</c:v>
                </c:pt>
                <c:pt idx="213">
                  <c:v>5.9429082917680915</c:v>
                </c:pt>
                <c:pt idx="214">
                  <c:v>-0.21523914056733373</c:v>
                </c:pt>
                <c:pt idx="215">
                  <c:v>-0.15936968030891174</c:v>
                </c:pt>
                <c:pt idx="216">
                  <c:v>0.44273630281644372</c:v>
                </c:pt>
                <c:pt idx="217">
                  <c:v>-0.46975080280487003</c:v>
                </c:pt>
                <c:pt idx="218">
                  <c:v>2.7502725986288459</c:v>
                </c:pt>
                <c:pt idx="219">
                  <c:v>19.818823146289681</c:v>
                </c:pt>
                <c:pt idx="220">
                  <c:v>2.1155857794305382</c:v>
                </c:pt>
                <c:pt idx="221">
                  <c:v>-2.7481365527030155</c:v>
                </c:pt>
                <c:pt idx="222">
                  <c:v>0.65113423893392608</c:v>
                </c:pt>
                <c:pt idx="223">
                  <c:v>0.85282131625029778</c:v>
                </c:pt>
                <c:pt idx="224">
                  <c:v>1.4588630232497743</c:v>
                </c:pt>
                <c:pt idx="225">
                  <c:v>0.39194483667143221</c:v>
                </c:pt>
                <c:pt idx="226">
                  <c:v>3.3896152745327139</c:v>
                </c:pt>
                <c:pt idx="227">
                  <c:v>0.99810751399627229</c:v>
                </c:pt>
                <c:pt idx="228">
                  <c:v>0.51799276917596337</c:v>
                </c:pt>
                <c:pt idx="229">
                  <c:v>2.5179927691759634</c:v>
                </c:pt>
                <c:pt idx="230">
                  <c:v>6.2658450138651158</c:v>
                </c:pt>
                <c:pt idx="231">
                  <c:v>0.60316558694982714</c:v>
                </c:pt>
                <c:pt idx="232">
                  <c:v>1.1937196513428225</c:v>
                </c:pt>
                <c:pt idx="233">
                  <c:v>0.92535832511992311</c:v>
                </c:pt>
                <c:pt idx="234">
                  <c:v>-1.1318675682415087</c:v>
                </c:pt>
                <c:pt idx="235">
                  <c:v>-0.93486609299914925</c:v>
                </c:pt>
                <c:pt idx="236">
                  <c:v>-3.4820072308240366</c:v>
                </c:pt>
                <c:pt idx="237">
                  <c:v>-0.48200723082403663</c:v>
                </c:pt>
                <c:pt idx="238">
                  <c:v>-0.48200723082403663</c:v>
                </c:pt>
                <c:pt idx="239">
                  <c:v>1.6741395919039164</c:v>
                </c:pt>
                <c:pt idx="240">
                  <c:v>4.9762174080080657E-2</c:v>
                </c:pt>
                <c:pt idx="241">
                  <c:v>2.1838683874303841</c:v>
                </c:pt>
                <c:pt idx="242">
                  <c:v>1.5179927691759634</c:v>
                </c:pt>
                <c:pt idx="243">
                  <c:v>1.4276622324842969</c:v>
                </c:pt>
                <c:pt idx="244">
                  <c:v>0.65674819486858227</c:v>
                </c:pt>
                <c:pt idx="245">
                  <c:v>-1.2079159827137023</c:v>
                </c:pt>
                <c:pt idx="246">
                  <c:v>5.2833948795112731</c:v>
                </c:pt>
                <c:pt idx="247">
                  <c:v>0.26627085398792671</c:v>
                </c:pt>
                <c:pt idx="248">
                  <c:v>1.5173659607378402</c:v>
                </c:pt>
                <c:pt idx="249">
                  <c:v>-0.12814198197489857</c:v>
                </c:pt>
                <c:pt idx="250">
                  <c:v>1.8074660403750265</c:v>
                </c:pt>
                <c:pt idx="251">
                  <c:v>0.47656072733856503</c:v>
                </c:pt>
                <c:pt idx="252">
                  <c:v>0.66034420568906427</c:v>
                </c:pt>
                <c:pt idx="253">
                  <c:v>0.8728056576221066</c:v>
                </c:pt>
                <c:pt idx="254">
                  <c:v>2.333182365544721</c:v>
                </c:pt>
                <c:pt idx="255">
                  <c:v>-0.48200723082403663</c:v>
                </c:pt>
                <c:pt idx="256">
                  <c:v>1.9690116011283108</c:v>
                </c:pt>
                <c:pt idx="257">
                  <c:v>8.3649831826922094E-2</c:v>
                </c:pt>
                <c:pt idx="258">
                  <c:v>2.8248891188048857</c:v>
                </c:pt>
                <c:pt idx="259">
                  <c:v>0.97438037906987984</c:v>
                </c:pt>
                <c:pt idx="260">
                  <c:v>1.964297280617664</c:v>
                </c:pt>
                <c:pt idx="261">
                  <c:v>-0.11576280814851825</c:v>
                </c:pt>
                <c:pt idx="262">
                  <c:v>1.5408550713718099</c:v>
                </c:pt>
                <c:pt idx="263">
                  <c:v>-2.8489648055285866E-2</c:v>
                </c:pt>
                <c:pt idx="264">
                  <c:v>0.61704814374732919</c:v>
                </c:pt>
                <c:pt idx="265">
                  <c:v>7.50257852450234</c:v>
                </c:pt>
                <c:pt idx="266">
                  <c:v>2.6268819187346115</c:v>
                </c:pt>
                <c:pt idx="267">
                  <c:v>3.6142583533959405</c:v>
                </c:pt>
                <c:pt idx="268">
                  <c:v>19.947849164563451</c:v>
                </c:pt>
                <c:pt idx="269">
                  <c:v>3.0792115907056812</c:v>
                </c:pt>
                <c:pt idx="270">
                  <c:v>-2.4361086325002415</c:v>
                </c:pt>
                <c:pt idx="271">
                  <c:v>0.24869694153020294</c:v>
                </c:pt>
                <c:pt idx="272">
                  <c:v>0.38241990476989751</c:v>
                </c:pt>
                <c:pt idx="273">
                  <c:v>-2.5801285367413662E-2</c:v>
                </c:pt>
                <c:pt idx="274">
                  <c:v>4.1995664869781812</c:v>
                </c:pt>
                <c:pt idx="275">
                  <c:v>2.9119070972093981</c:v>
                </c:pt>
                <c:pt idx="276">
                  <c:v>0.78035144455424899</c:v>
                </c:pt>
                <c:pt idx="277">
                  <c:v>3.4707604564367616</c:v>
                </c:pt>
                <c:pt idx="278">
                  <c:v>0.51799276917596337</c:v>
                </c:pt>
                <c:pt idx="279">
                  <c:v>0.51799276917596337</c:v>
                </c:pt>
                <c:pt idx="280">
                  <c:v>-0.45640884231278989</c:v>
                </c:pt>
                <c:pt idx="281">
                  <c:v>0.69706851665224412</c:v>
                </c:pt>
                <c:pt idx="282">
                  <c:v>0.25304158473123328</c:v>
                </c:pt>
                <c:pt idx="283">
                  <c:v>0.25049331788245199</c:v>
                </c:pt>
                <c:pt idx="284">
                  <c:v>0.36319060311269918</c:v>
                </c:pt>
                <c:pt idx="285">
                  <c:v>-1.1254491486419669</c:v>
                </c:pt>
                <c:pt idx="286">
                  <c:v>2.7813715678810786</c:v>
                </c:pt>
                <c:pt idx="287">
                  <c:v>0.13230476439585459</c:v>
                </c:pt>
                <c:pt idx="288">
                  <c:v>5.5179927691759634</c:v>
                </c:pt>
                <c:pt idx="289">
                  <c:v>4.066224794179794</c:v>
                </c:pt>
                <c:pt idx="290">
                  <c:v>2.4338724420507756</c:v>
                </c:pt>
                <c:pt idx="291">
                  <c:v>-3.6737020566266612</c:v>
                </c:pt>
                <c:pt idx="292">
                  <c:v>8.4130158814105371</c:v>
                </c:pt>
                <c:pt idx="293">
                  <c:v>0.43984055932246369</c:v>
                </c:pt>
                <c:pt idx="294">
                  <c:v>6.7602966511970246</c:v>
                </c:pt>
                <c:pt idx="295">
                  <c:v>0.7350684122991189</c:v>
                </c:pt>
                <c:pt idx="296">
                  <c:v>1.0384217040489996</c:v>
                </c:pt>
                <c:pt idx="297">
                  <c:v>2.0532169003865182</c:v>
                </c:pt>
                <c:pt idx="298">
                  <c:v>2.322990766492695</c:v>
                </c:pt>
                <c:pt idx="299">
                  <c:v>-0.44284864303897953</c:v>
                </c:pt>
                <c:pt idx="300">
                  <c:v>-0.6205031166098145</c:v>
                </c:pt>
                <c:pt idx="301">
                  <c:v>2.5179927691759634</c:v>
                </c:pt>
                <c:pt idx="302">
                  <c:v>0.44434044356943914</c:v>
                </c:pt>
                <c:pt idx="303">
                  <c:v>-3.6578281037128431</c:v>
                </c:pt>
                <c:pt idx="304">
                  <c:v>5.5179927691759634</c:v>
                </c:pt>
                <c:pt idx="305">
                  <c:v>0.85761936758817336</c:v>
                </c:pt>
                <c:pt idx="306">
                  <c:v>2.8200865804546833</c:v>
                </c:pt>
                <c:pt idx="307">
                  <c:v>0.44513217805851735</c:v>
                </c:pt>
                <c:pt idx="308">
                  <c:v>0.51799276917596337</c:v>
                </c:pt>
                <c:pt idx="309">
                  <c:v>0.51799276917596337</c:v>
                </c:pt>
                <c:pt idx="310">
                  <c:v>0.91168650503907989</c:v>
                </c:pt>
                <c:pt idx="311">
                  <c:v>0.64982793055527566</c:v>
                </c:pt>
                <c:pt idx="312">
                  <c:v>0.6163540001289225</c:v>
                </c:pt>
                <c:pt idx="313">
                  <c:v>1.4978385604518629</c:v>
                </c:pt>
                <c:pt idx="314">
                  <c:v>0.91184508244061169</c:v>
                </c:pt>
                <c:pt idx="315">
                  <c:v>1.5937874314070015</c:v>
                </c:pt>
                <c:pt idx="316">
                  <c:v>-1.7719215679027425</c:v>
                </c:pt>
                <c:pt idx="317">
                  <c:v>9.8594387615295442</c:v>
                </c:pt>
                <c:pt idx="318">
                  <c:v>2.5179927691759634</c:v>
                </c:pt>
                <c:pt idx="319">
                  <c:v>0.12293365025369951</c:v>
                </c:pt>
                <c:pt idx="320">
                  <c:v>-0.60899381362536564</c:v>
                </c:pt>
                <c:pt idx="321">
                  <c:v>-0.37317154991963974</c:v>
                </c:pt>
                <c:pt idx="322">
                  <c:v>-2.0400815591293626</c:v>
                </c:pt>
                <c:pt idx="323">
                  <c:v>-2.4207749572012229</c:v>
                </c:pt>
                <c:pt idx="324">
                  <c:v>0.28560015035179065</c:v>
                </c:pt>
                <c:pt idx="325">
                  <c:v>6.5577093107654276</c:v>
                </c:pt>
                <c:pt idx="326">
                  <c:v>4.6804138055787678</c:v>
                </c:pt>
                <c:pt idx="327">
                  <c:v>3.0202915459180613</c:v>
                </c:pt>
                <c:pt idx="328">
                  <c:v>1.6189457968891561</c:v>
                </c:pt>
                <c:pt idx="329">
                  <c:v>-1.4820072308240366</c:v>
                </c:pt>
                <c:pt idx="330">
                  <c:v>0.73167827393464924</c:v>
                </c:pt>
                <c:pt idx="331">
                  <c:v>0.45222368577071803</c:v>
                </c:pt>
                <c:pt idx="332">
                  <c:v>4.9800668955606575</c:v>
                </c:pt>
                <c:pt idx="333">
                  <c:v>-0.27318635500637156</c:v>
                </c:pt>
                <c:pt idx="334">
                  <c:v>-1.4820072308240366</c:v>
                </c:pt>
                <c:pt idx="335">
                  <c:v>-3.2858066284902581</c:v>
                </c:pt>
                <c:pt idx="336">
                  <c:v>5.6025922718973993</c:v>
                </c:pt>
                <c:pt idx="337">
                  <c:v>-1.3622860798790324</c:v>
                </c:pt>
                <c:pt idx="338">
                  <c:v>4.7221430534054054</c:v>
                </c:pt>
                <c:pt idx="339">
                  <c:v>-0.48200723082403663</c:v>
                </c:pt>
                <c:pt idx="340">
                  <c:v>0.51799276917596337</c:v>
                </c:pt>
                <c:pt idx="341">
                  <c:v>-0.62815818338254381</c:v>
                </c:pt>
                <c:pt idx="342">
                  <c:v>0.90766713165783242</c:v>
                </c:pt>
                <c:pt idx="343">
                  <c:v>2.0841267404042205</c:v>
                </c:pt>
                <c:pt idx="344">
                  <c:v>1.1710712044234111</c:v>
                </c:pt>
                <c:pt idx="345">
                  <c:v>7.5296354310181712</c:v>
                </c:pt>
                <c:pt idx="346">
                  <c:v>3.3697874136508013</c:v>
                </c:pt>
                <c:pt idx="347">
                  <c:v>0.79744427416636654</c:v>
                </c:pt>
                <c:pt idx="348">
                  <c:v>2.569810251146377</c:v>
                </c:pt>
                <c:pt idx="349">
                  <c:v>1.2227665037735256</c:v>
                </c:pt>
                <c:pt idx="350">
                  <c:v>0.88442976415607344</c:v>
                </c:pt>
                <c:pt idx="351">
                  <c:v>6.8356420970382565</c:v>
                </c:pt>
                <c:pt idx="352">
                  <c:v>-0.40935876192574239</c:v>
                </c:pt>
                <c:pt idx="353">
                  <c:v>0.85270033362268416</c:v>
                </c:pt>
                <c:pt idx="354">
                  <c:v>-0.32323210436181871</c:v>
                </c:pt>
                <c:pt idx="355">
                  <c:v>-0.48200723082403663</c:v>
                </c:pt>
                <c:pt idx="356">
                  <c:v>0.68570294893620698</c:v>
                </c:pt>
                <c:pt idx="357">
                  <c:v>1.27938805661995</c:v>
                </c:pt>
                <c:pt idx="358">
                  <c:v>0.74008081528566994</c:v>
                </c:pt>
                <c:pt idx="359">
                  <c:v>3.5401498173658474</c:v>
                </c:pt>
                <c:pt idx="360">
                  <c:v>0.20323764701791269</c:v>
                </c:pt>
                <c:pt idx="361">
                  <c:v>-1.1735754985873772</c:v>
                </c:pt>
                <c:pt idx="362">
                  <c:v>1.9792598622318773</c:v>
                </c:pt>
                <c:pt idx="363">
                  <c:v>3.5179927691759634</c:v>
                </c:pt>
                <c:pt idx="364">
                  <c:v>-0.94321078516392509</c:v>
                </c:pt>
                <c:pt idx="365">
                  <c:v>6.0389072013797946</c:v>
                </c:pt>
                <c:pt idx="366">
                  <c:v>-2.5261681921840466</c:v>
                </c:pt>
                <c:pt idx="367">
                  <c:v>1.5662787789319181</c:v>
                </c:pt>
                <c:pt idx="368">
                  <c:v>0.51799276917596337</c:v>
                </c:pt>
                <c:pt idx="369">
                  <c:v>0.51799276917596337</c:v>
                </c:pt>
                <c:pt idx="370">
                  <c:v>1.0888533896511601</c:v>
                </c:pt>
                <c:pt idx="371">
                  <c:v>1.4889390507355795</c:v>
                </c:pt>
                <c:pt idx="372">
                  <c:v>5.9476725290722188</c:v>
                </c:pt>
                <c:pt idx="373">
                  <c:v>-3.6737020566266612</c:v>
                </c:pt>
                <c:pt idx="374">
                  <c:v>-0.18690631726347284</c:v>
                </c:pt>
                <c:pt idx="375">
                  <c:v>0.20488589096834819</c:v>
                </c:pt>
                <c:pt idx="376">
                  <c:v>0.99516743553959786</c:v>
                </c:pt>
                <c:pt idx="377">
                  <c:v>-1.4820072308240366</c:v>
                </c:pt>
                <c:pt idx="378">
                  <c:v>-0.85973428057352397</c:v>
                </c:pt>
                <c:pt idx="379">
                  <c:v>-0.66618106474158001</c:v>
                </c:pt>
                <c:pt idx="380">
                  <c:v>-0.25217134255136164</c:v>
                </c:pt>
                <c:pt idx="381">
                  <c:v>0.55644971820866518</c:v>
                </c:pt>
                <c:pt idx="382">
                  <c:v>-0.36980208564038364</c:v>
                </c:pt>
                <c:pt idx="383">
                  <c:v>0.78138271134450821</c:v>
                </c:pt>
                <c:pt idx="384">
                  <c:v>2.0206180748439548</c:v>
                </c:pt>
                <c:pt idx="385">
                  <c:v>-2.7341828959912462</c:v>
                </c:pt>
                <c:pt idx="386">
                  <c:v>2.0483074978106828</c:v>
                </c:pt>
                <c:pt idx="387">
                  <c:v>0.86563382522624088</c:v>
                </c:pt>
                <c:pt idx="388">
                  <c:v>3.5080933264696652</c:v>
                </c:pt>
                <c:pt idx="389">
                  <c:v>2.4991063404452865</c:v>
                </c:pt>
                <c:pt idx="390">
                  <c:v>16.298677626360544</c:v>
                </c:pt>
                <c:pt idx="391">
                  <c:v>0.37131938187774161</c:v>
                </c:pt>
                <c:pt idx="392">
                  <c:v>23.390777615897445</c:v>
                </c:pt>
                <c:pt idx="393">
                  <c:v>-1.6555292365995613</c:v>
                </c:pt>
                <c:pt idx="394">
                  <c:v>-2.3606172765609497</c:v>
                </c:pt>
                <c:pt idx="395">
                  <c:v>0.51799276917596337</c:v>
                </c:pt>
                <c:pt idx="396">
                  <c:v>-1.4820072308240366</c:v>
                </c:pt>
                <c:pt idx="397">
                  <c:v>-1.1941806086412816</c:v>
                </c:pt>
                <c:pt idx="398">
                  <c:v>28.851396630714504</c:v>
                </c:pt>
                <c:pt idx="399">
                  <c:v>6.3370295538929273</c:v>
                </c:pt>
                <c:pt idx="400">
                  <c:v>-0.16006867511558998</c:v>
                </c:pt>
                <c:pt idx="401">
                  <c:v>-2.1580173490542682</c:v>
                </c:pt>
                <c:pt idx="402">
                  <c:v>0.91111623865125413</c:v>
                </c:pt>
                <c:pt idx="403">
                  <c:v>0.12208457437554543</c:v>
                </c:pt>
                <c:pt idx="404">
                  <c:v>-2.3259818187410133</c:v>
                </c:pt>
                <c:pt idx="405">
                  <c:v>0.15509518890214746</c:v>
                </c:pt>
                <c:pt idx="406">
                  <c:v>11.410121460756841</c:v>
                </c:pt>
                <c:pt idx="407">
                  <c:v>8.5179927691759634</c:v>
                </c:pt>
                <c:pt idx="408">
                  <c:v>-2.2314919250218068</c:v>
                </c:pt>
                <c:pt idx="409">
                  <c:v>-0.71056183763052161</c:v>
                </c:pt>
                <c:pt idx="410">
                  <c:v>-3.0246122401730631</c:v>
                </c:pt>
                <c:pt idx="411">
                  <c:v>-1.1863014256494075</c:v>
                </c:pt>
                <c:pt idx="412">
                  <c:v>2.3262979433733388</c:v>
                </c:pt>
                <c:pt idx="413">
                  <c:v>2.3356202170772247</c:v>
                </c:pt>
                <c:pt idx="414">
                  <c:v>0.58276737606935569</c:v>
                </c:pt>
                <c:pt idx="415">
                  <c:v>-1.735571318183263</c:v>
                </c:pt>
                <c:pt idx="416">
                  <c:v>6.0783617994605645</c:v>
                </c:pt>
                <c:pt idx="417">
                  <c:v>4.0323621807169454</c:v>
                </c:pt>
                <c:pt idx="418">
                  <c:v>-2.966181236534422</c:v>
                </c:pt>
                <c:pt idx="419">
                  <c:v>3.5234498700043702</c:v>
                </c:pt>
                <c:pt idx="420">
                  <c:v>5.8283966294857015</c:v>
                </c:pt>
                <c:pt idx="421">
                  <c:v>0.64093525826660569</c:v>
                </c:pt>
                <c:pt idx="422">
                  <c:v>11.423464020056223</c:v>
                </c:pt>
                <c:pt idx="423">
                  <c:v>1.5179927691759634</c:v>
                </c:pt>
                <c:pt idx="424">
                  <c:v>1.0437123896025327</c:v>
                </c:pt>
                <c:pt idx="425">
                  <c:v>2.4322452553607303</c:v>
                </c:pt>
                <c:pt idx="426">
                  <c:v>1.1178330375576273</c:v>
                </c:pt>
                <c:pt idx="427">
                  <c:v>4.4275951246629131</c:v>
                </c:pt>
                <c:pt idx="428">
                  <c:v>-1.0961978614400487</c:v>
                </c:pt>
                <c:pt idx="429">
                  <c:v>1.3319637831271915</c:v>
                </c:pt>
                <c:pt idx="430">
                  <c:v>-0.21308845375875696</c:v>
                </c:pt>
                <c:pt idx="431">
                  <c:v>3.9429932029060968</c:v>
                </c:pt>
                <c:pt idx="432">
                  <c:v>1.0507597847685983</c:v>
                </c:pt>
                <c:pt idx="433">
                  <c:v>-0.32760037767483086</c:v>
                </c:pt>
                <c:pt idx="434">
                  <c:v>0.60390134587041566</c:v>
                </c:pt>
                <c:pt idx="435">
                  <c:v>1.3262979433733388</c:v>
                </c:pt>
                <c:pt idx="436">
                  <c:v>0.85290980419491125</c:v>
                </c:pt>
                <c:pt idx="437">
                  <c:v>0.70644457934845084</c:v>
                </c:pt>
                <c:pt idx="438">
                  <c:v>1.8971818203286821</c:v>
                </c:pt>
                <c:pt idx="439">
                  <c:v>1.3737062774898936</c:v>
                </c:pt>
                <c:pt idx="440">
                  <c:v>2.0742599752390189</c:v>
                </c:pt>
                <c:pt idx="441">
                  <c:v>-2.1742455840764849</c:v>
                </c:pt>
                <c:pt idx="442">
                  <c:v>1.1624152998458195</c:v>
                </c:pt>
                <c:pt idx="443">
                  <c:v>1.754384433116063</c:v>
                </c:pt>
                <c:pt idx="444">
                  <c:v>0.49064939154502962</c:v>
                </c:pt>
                <c:pt idx="445">
                  <c:v>1.4847381170869984</c:v>
                </c:pt>
                <c:pt idx="446">
                  <c:v>2.4058054231367185</c:v>
                </c:pt>
                <c:pt idx="447">
                  <c:v>3.5179927691759634</c:v>
                </c:pt>
                <c:pt idx="448">
                  <c:v>1.1759918361891337</c:v>
                </c:pt>
                <c:pt idx="449">
                  <c:v>-0.56654474536996968</c:v>
                </c:pt>
                <c:pt idx="450">
                  <c:v>0.88281364444449828</c:v>
                </c:pt>
                <c:pt idx="451">
                  <c:v>-0.53309788162331984</c:v>
                </c:pt>
                <c:pt idx="452">
                  <c:v>1.4508357485260115</c:v>
                </c:pt>
                <c:pt idx="453">
                  <c:v>-1.4820072308240366</c:v>
                </c:pt>
                <c:pt idx="454">
                  <c:v>0.48866453495907258</c:v>
                </c:pt>
                <c:pt idx="455">
                  <c:v>-0.7569160127598118</c:v>
                </c:pt>
                <c:pt idx="456">
                  <c:v>-0.40506356618777151</c:v>
                </c:pt>
                <c:pt idx="457">
                  <c:v>0.16630334153246196</c:v>
                </c:pt>
                <c:pt idx="458">
                  <c:v>1.7657446989910488</c:v>
                </c:pt>
                <c:pt idx="459">
                  <c:v>-1.4820072308240366</c:v>
                </c:pt>
                <c:pt idx="460">
                  <c:v>1.8088068560746549</c:v>
                </c:pt>
                <c:pt idx="461">
                  <c:v>-0.5094374766268146</c:v>
                </c:pt>
                <c:pt idx="462">
                  <c:v>-0.21991200610562833</c:v>
                </c:pt>
                <c:pt idx="463">
                  <c:v>4.0853386452754332</c:v>
                </c:pt>
                <c:pt idx="464">
                  <c:v>-0.38593963360542904</c:v>
                </c:pt>
                <c:pt idx="465">
                  <c:v>2.5587222739090025</c:v>
                </c:pt>
                <c:pt idx="466">
                  <c:v>1.1928871550614271</c:v>
                </c:pt>
                <c:pt idx="467">
                  <c:v>3.8194838587279261</c:v>
                </c:pt>
                <c:pt idx="468">
                  <c:v>2.2415244854009426</c:v>
                </c:pt>
                <c:pt idx="469">
                  <c:v>13.333731836218391</c:v>
                </c:pt>
                <c:pt idx="470">
                  <c:v>1.5179927691759634</c:v>
                </c:pt>
                <c:pt idx="471">
                  <c:v>0.90370942129862009</c:v>
                </c:pt>
                <c:pt idx="472">
                  <c:v>3.8795665464137623</c:v>
                </c:pt>
                <c:pt idx="473">
                  <c:v>0.52921370558195946</c:v>
                </c:pt>
                <c:pt idx="474">
                  <c:v>7.8812471572572571</c:v>
                </c:pt>
                <c:pt idx="475">
                  <c:v>2.7887715761540282</c:v>
                </c:pt>
                <c:pt idx="476">
                  <c:v>1.2838680419447766</c:v>
                </c:pt>
                <c:pt idx="477">
                  <c:v>1.4531628558453447</c:v>
                </c:pt>
                <c:pt idx="478">
                  <c:v>1.5179927691759634</c:v>
                </c:pt>
                <c:pt idx="479">
                  <c:v>-0.90274581942663534</c:v>
                </c:pt>
                <c:pt idx="480">
                  <c:v>0.48146386983779393</c:v>
                </c:pt>
                <c:pt idx="481">
                  <c:v>5.0541413793289074</c:v>
                </c:pt>
                <c:pt idx="482">
                  <c:v>6.6806455444002122</c:v>
                </c:pt>
                <c:pt idx="483">
                  <c:v>-2.6183679546739818</c:v>
                </c:pt>
                <c:pt idx="484">
                  <c:v>0.85896585007492154</c:v>
                </c:pt>
                <c:pt idx="485">
                  <c:v>0.5816562013824691</c:v>
                </c:pt>
                <c:pt idx="486">
                  <c:v>-0.68745013240428277</c:v>
                </c:pt>
                <c:pt idx="487">
                  <c:v>-0.59087567805674013</c:v>
                </c:pt>
                <c:pt idx="488">
                  <c:v>-1.4820072308240366</c:v>
                </c:pt>
                <c:pt idx="489">
                  <c:v>10.557316957192777</c:v>
                </c:pt>
                <c:pt idx="490">
                  <c:v>-0.51919313582047266</c:v>
                </c:pt>
                <c:pt idx="491">
                  <c:v>3.5157208853460524</c:v>
                </c:pt>
                <c:pt idx="492">
                  <c:v>3.37101448240651</c:v>
                </c:pt>
                <c:pt idx="493">
                  <c:v>1.4393938290732722</c:v>
                </c:pt>
                <c:pt idx="494">
                  <c:v>0.59731359024828379</c:v>
                </c:pt>
                <c:pt idx="495">
                  <c:v>0.82200588876713632</c:v>
                </c:pt>
                <c:pt idx="496">
                  <c:v>0.51799276917596337</c:v>
                </c:pt>
                <c:pt idx="497">
                  <c:v>1.4764581579184681</c:v>
                </c:pt>
                <c:pt idx="498">
                  <c:v>1.1720571746133306</c:v>
                </c:pt>
                <c:pt idx="499">
                  <c:v>-0.95314931054220509</c:v>
                </c:pt>
                <c:pt idx="500">
                  <c:v>-0.56116577176011617</c:v>
                </c:pt>
                <c:pt idx="501">
                  <c:v>-0.99347551252218835</c:v>
                </c:pt>
                <c:pt idx="502">
                  <c:v>0.68599901119982931</c:v>
                </c:pt>
                <c:pt idx="503">
                  <c:v>0.6667181662596503</c:v>
                </c:pt>
                <c:pt idx="504">
                  <c:v>3.5179927691759634</c:v>
                </c:pt>
                <c:pt idx="505">
                  <c:v>-2.2498353098803907</c:v>
                </c:pt>
                <c:pt idx="506">
                  <c:v>1.1267876676850883</c:v>
                </c:pt>
                <c:pt idx="507">
                  <c:v>1.2786194020211163</c:v>
                </c:pt>
                <c:pt idx="508">
                  <c:v>0.80601652187692086</c:v>
                </c:pt>
                <c:pt idx="509">
                  <c:v>1.2334920249867476</c:v>
                </c:pt>
                <c:pt idx="510">
                  <c:v>-1.9717257444386784</c:v>
                </c:pt>
                <c:pt idx="511">
                  <c:v>2.3486186412437293</c:v>
                </c:pt>
                <c:pt idx="512">
                  <c:v>-0.73418797939330238</c:v>
                </c:pt>
                <c:pt idx="513">
                  <c:v>0.72157058482452185</c:v>
                </c:pt>
                <c:pt idx="514">
                  <c:v>1.0127494369764873</c:v>
                </c:pt>
                <c:pt idx="515">
                  <c:v>8.5993984949418678</c:v>
                </c:pt>
                <c:pt idx="516">
                  <c:v>-0.70419427087308861</c:v>
                </c:pt>
                <c:pt idx="517">
                  <c:v>2.6651940229408733</c:v>
                </c:pt>
                <c:pt idx="518">
                  <c:v>1.0283965057664197</c:v>
                </c:pt>
                <c:pt idx="519">
                  <c:v>1.3959948914500102</c:v>
                </c:pt>
                <c:pt idx="520">
                  <c:v>-1.6692170941854618</c:v>
                </c:pt>
                <c:pt idx="521">
                  <c:v>-0.12274286834869441</c:v>
                </c:pt>
                <c:pt idx="522">
                  <c:v>1.8079465657461822</c:v>
                </c:pt>
                <c:pt idx="523">
                  <c:v>0.57349859408397563</c:v>
                </c:pt>
                <c:pt idx="524">
                  <c:v>-0.27110019647060524</c:v>
                </c:pt>
                <c:pt idx="525">
                  <c:v>5.0806731308210757</c:v>
                </c:pt>
                <c:pt idx="526">
                  <c:v>3.5727662671103628</c:v>
                </c:pt>
                <c:pt idx="527">
                  <c:v>2.1053340393346782</c:v>
                </c:pt>
                <c:pt idx="528">
                  <c:v>3.9922245936917342</c:v>
                </c:pt>
                <c:pt idx="529">
                  <c:v>0.59356517209700721</c:v>
                </c:pt>
                <c:pt idx="530">
                  <c:v>4.8724273300279961</c:v>
                </c:pt>
                <c:pt idx="531">
                  <c:v>6.5958216916181449</c:v>
                </c:pt>
                <c:pt idx="532">
                  <c:v>0.23988422371519835</c:v>
                </c:pt>
                <c:pt idx="533">
                  <c:v>0.3272036159016653</c:v>
                </c:pt>
                <c:pt idx="534">
                  <c:v>0.79549425148790665</c:v>
                </c:pt>
                <c:pt idx="535">
                  <c:v>-0.13960834857152138</c:v>
                </c:pt>
                <c:pt idx="536">
                  <c:v>-1.6232700938811231</c:v>
                </c:pt>
                <c:pt idx="537">
                  <c:v>1.6457920921876399</c:v>
                </c:pt>
                <c:pt idx="538">
                  <c:v>1.9090481064044003</c:v>
                </c:pt>
                <c:pt idx="539">
                  <c:v>0.59478449275110379</c:v>
                </c:pt>
                <c:pt idx="540">
                  <c:v>14.716180606469621</c:v>
                </c:pt>
                <c:pt idx="541">
                  <c:v>3.6445923513362812</c:v>
                </c:pt>
                <c:pt idx="542">
                  <c:v>2.4815956064854645</c:v>
                </c:pt>
                <c:pt idx="543">
                  <c:v>0.73597249703883383</c:v>
                </c:pt>
                <c:pt idx="544">
                  <c:v>0.86653208109436186</c:v>
                </c:pt>
                <c:pt idx="545">
                  <c:v>-0.24033600292849511</c:v>
                </c:pt>
                <c:pt idx="546">
                  <c:v>2.9674497872135834</c:v>
                </c:pt>
                <c:pt idx="547">
                  <c:v>3.6801375847515683</c:v>
                </c:pt>
                <c:pt idx="548">
                  <c:v>-1.0304745272767062</c:v>
                </c:pt>
                <c:pt idx="549">
                  <c:v>0.8823782383136558</c:v>
                </c:pt>
                <c:pt idx="550">
                  <c:v>-0.37455619124454365</c:v>
                </c:pt>
                <c:pt idx="551">
                  <c:v>4.5716370630738083</c:v>
                </c:pt>
                <c:pt idx="552">
                  <c:v>0.13412537777767786</c:v>
                </c:pt>
                <c:pt idx="553">
                  <c:v>11.764697817556316</c:v>
                </c:pt>
                <c:pt idx="554">
                  <c:v>-1.4780356986539882</c:v>
                </c:pt>
                <c:pt idx="555">
                  <c:v>1.4452178285445529</c:v>
                </c:pt>
                <c:pt idx="556">
                  <c:v>-0.44814375912337812</c:v>
                </c:pt>
                <c:pt idx="557">
                  <c:v>0.55016843512655367</c:v>
                </c:pt>
                <c:pt idx="558">
                  <c:v>-0.10536231872163171</c:v>
                </c:pt>
                <c:pt idx="559">
                  <c:v>0.71892708907222624</c:v>
                </c:pt>
                <c:pt idx="560">
                  <c:v>0.6660680385917237</c:v>
                </c:pt>
                <c:pt idx="561">
                  <c:v>2.2125823710589865</c:v>
                </c:pt>
                <c:pt idx="562">
                  <c:v>0.49058656864450212</c:v>
                </c:pt>
                <c:pt idx="563">
                  <c:v>3.2221090992159951</c:v>
                </c:pt>
                <c:pt idx="564">
                  <c:v>9.1122009331032316E-2</c:v>
                </c:pt>
                <c:pt idx="565">
                  <c:v>1.4105286387694882</c:v>
                </c:pt>
                <c:pt idx="566">
                  <c:v>7.4762084556649659</c:v>
                </c:pt>
                <c:pt idx="567">
                  <c:v>6.9952200351940386</c:v>
                </c:pt>
                <c:pt idx="568">
                  <c:v>0.99324852216858794</c:v>
                </c:pt>
                <c:pt idx="569">
                  <c:v>-2.0909099301302914E-2</c:v>
                </c:pt>
                <c:pt idx="570">
                  <c:v>1.5407524785461248</c:v>
                </c:pt>
                <c:pt idx="571">
                  <c:v>4.4060151395310925</c:v>
                </c:pt>
                <c:pt idx="572">
                  <c:v>-1.2473536797679281</c:v>
                </c:pt>
                <c:pt idx="573">
                  <c:v>0.1025269779611403</c:v>
                </c:pt>
                <c:pt idx="574">
                  <c:v>2.1694412761003186</c:v>
                </c:pt>
                <c:pt idx="575">
                  <c:v>0.18195020273285301</c:v>
                </c:pt>
                <c:pt idx="576">
                  <c:v>0.53430404875675208</c:v>
                </c:pt>
                <c:pt idx="577">
                  <c:v>0.74958507808382535</c:v>
                </c:pt>
                <c:pt idx="578">
                  <c:v>4.2106307236654184</c:v>
                </c:pt>
                <c:pt idx="579">
                  <c:v>9.0457239842054449</c:v>
                </c:pt>
                <c:pt idx="580">
                  <c:v>2.7389545332154928</c:v>
                </c:pt>
                <c:pt idx="581">
                  <c:v>-4.3206256089824926</c:v>
                </c:pt>
                <c:pt idx="582">
                  <c:v>-1.2914154758495111E-2</c:v>
                </c:pt>
                <c:pt idx="583">
                  <c:v>4.0561724771226526</c:v>
                </c:pt>
                <c:pt idx="584">
                  <c:v>2.0786611491726159</c:v>
                </c:pt>
                <c:pt idx="585">
                  <c:v>-1.4215423800573537</c:v>
                </c:pt>
                <c:pt idx="586">
                  <c:v>0.13718648402569555</c:v>
                </c:pt>
                <c:pt idx="587">
                  <c:v>0.62278252209598617</c:v>
                </c:pt>
                <c:pt idx="588">
                  <c:v>-1.3126843149675147</c:v>
                </c:pt>
                <c:pt idx="589">
                  <c:v>-1.4693462970858269</c:v>
                </c:pt>
                <c:pt idx="590">
                  <c:v>0.52188854125134876</c:v>
                </c:pt>
                <c:pt idx="591">
                  <c:v>0.88599367992477673</c:v>
                </c:pt>
                <c:pt idx="592">
                  <c:v>2.5926862777872794</c:v>
                </c:pt>
                <c:pt idx="593">
                  <c:v>1.4731922623935763</c:v>
                </c:pt>
                <c:pt idx="594">
                  <c:v>-0.30012925711681215</c:v>
                </c:pt>
                <c:pt idx="595">
                  <c:v>1.9888999012926492</c:v>
                </c:pt>
                <c:pt idx="596">
                  <c:v>3.4918297264443905</c:v>
                </c:pt>
                <c:pt idx="597">
                  <c:v>0.93942971038859702</c:v>
                </c:pt>
                <c:pt idx="598">
                  <c:v>6.8035579630761331</c:v>
                </c:pt>
                <c:pt idx="599">
                  <c:v>2.672672237227709</c:v>
                </c:pt>
                <c:pt idx="600">
                  <c:v>1.8769309391966091</c:v>
                </c:pt>
                <c:pt idx="601">
                  <c:v>-0.74976964145472103</c:v>
                </c:pt>
                <c:pt idx="602">
                  <c:v>3.565579409508886</c:v>
                </c:pt>
                <c:pt idx="603">
                  <c:v>1.473216147227866</c:v>
                </c:pt>
                <c:pt idx="604">
                  <c:v>-0.56619265830911059</c:v>
                </c:pt>
                <c:pt idx="605">
                  <c:v>-1.1583339300156128</c:v>
                </c:pt>
                <c:pt idx="606">
                  <c:v>0.15428713591401122</c:v>
                </c:pt>
                <c:pt idx="607">
                  <c:v>-2.1056875910859274</c:v>
                </c:pt>
                <c:pt idx="608">
                  <c:v>-6.8285499350053307</c:v>
                </c:pt>
                <c:pt idx="609">
                  <c:v>-0.44117358195466427</c:v>
                </c:pt>
                <c:pt idx="610">
                  <c:v>-1.9070606827700352</c:v>
                </c:pt>
                <c:pt idx="611">
                  <c:v>-1.6431504745304264</c:v>
                </c:pt>
                <c:pt idx="612">
                  <c:v>-0.64642475166780833</c:v>
                </c:pt>
                <c:pt idx="613">
                  <c:v>2.0740901971271208E-2</c:v>
                </c:pt>
                <c:pt idx="614">
                  <c:v>-7.3703552276749296E-2</c:v>
                </c:pt>
                <c:pt idx="615">
                  <c:v>-0.32353604703054728</c:v>
                </c:pt>
                <c:pt idx="616">
                  <c:v>-0.69550860500831169</c:v>
                </c:pt>
                <c:pt idx="617">
                  <c:v>0.38265711686556092</c:v>
                </c:pt>
                <c:pt idx="618">
                  <c:v>-18.654013891787507</c:v>
                </c:pt>
                <c:pt idx="619">
                  <c:v>9.1536048518217838E-2</c:v>
                </c:pt>
                <c:pt idx="620">
                  <c:v>-2.8866640625245354</c:v>
                </c:pt>
                <c:pt idx="621">
                  <c:v>-5.2924141429226008</c:v>
                </c:pt>
                <c:pt idx="622">
                  <c:v>-13.713542490059332</c:v>
                </c:pt>
                <c:pt idx="623">
                  <c:v>0.12559435778777328</c:v>
                </c:pt>
                <c:pt idx="624">
                  <c:v>-3.9742493715079972</c:v>
                </c:pt>
                <c:pt idx="625">
                  <c:v>0.37116067084686072</c:v>
                </c:pt>
                <c:pt idx="626">
                  <c:v>-1.6686560339091345</c:v>
                </c:pt>
                <c:pt idx="627">
                  <c:v>2.2412400267094217</c:v>
                </c:pt>
                <c:pt idx="628">
                  <c:v>1.4207689727477879E-3</c:v>
                </c:pt>
                <c:pt idx="629">
                  <c:v>-0.33176053755043555</c:v>
                </c:pt>
                <c:pt idx="630">
                  <c:v>-1.6951734007251416</c:v>
                </c:pt>
                <c:pt idx="631">
                  <c:v>-10.744201221674357</c:v>
                </c:pt>
                <c:pt idx="632">
                  <c:v>0.46392413612574579</c:v>
                </c:pt>
                <c:pt idx="633">
                  <c:v>0.24140251167629417</c:v>
                </c:pt>
                <c:pt idx="634">
                  <c:v>-5.1175733317866605</c:v>
                </c:pt>
                <c:pt idx="635">
                  <c:v>2.2055884565278321</c:v>
                </c:pt>
                <c:pt idx="636">
                  <c:v>-3.1719721009060908</c:v>
                </c:pt>
                <c:pt idx="637">
                  <c:v>-4.1009684807036137</c:v>
                </c:pt>
                <c:pt idx="638">
                  <c:v>-1.068929085117001</c:v>
                </c:pt>
                <c:pt idx="639">
                  <c:v>-3.8827119572945028</c:v>
                </c:pt>
                <c:pt idx="640">
                  <c:v>0.45623319161044956</c:v>
                </c:pt>
                <c:pt idx="641">
                  <c:v>-1.3876015260716925</c:v>
                </c:pt>
                <c:pt idx="642">
                  <c:v>-2.0804642566700586</c:v>
                </c:pt>
                <c:pt idx="643">
                  <c:v>0.49359681402757305</c:v>
                </c:pt>
                <c:pt idx="644">
                  <c:v>0.41299223655898354</c:v>
                </c:pt>
                <c:pt idx="645">
                  <c:v>14.393055773539265</c:v>
                </c:pt>
                <c:pt idx="646">
                  <c:v>-1.6241459893107271</c:v>
                </c:pt>
                <c:pt idx="647">
                  <c:v>-1.3176532404590571</c:v>
                </c:pt>
                <c:pt idx="648">
                  <c:v>0.39287794347724614</c:v>
                </c:pt>
                <c:pt idx="649">
                  <c:v>-1.3332525892576914</c:v>
                </c:pt>
                <c:pt idx="650">
                  <c:v>0.15436931466046744</c:v>
                </c:pt>
                <c:pt idx="651">
                  <c:v>0.31843592612219257</c:v>
                </c:pt>
                <c:pt idx="652">
                  <c:v>-4.5617859304441204</c:v>
                </c:pt>
                <c:pt idx="653">
                  <c:v>-7.9787877123831858</c:v>
                </c:pt>
                <c:pt idx="654">
                  <c:v>-5.2456919131225686</c:v>
                </c:pt>
                <c:pt idx="655">
                  <c:v>-1.1175295926579669</c:v>
                </c:pt>
                <c:pt idx="656">
                  <c:v>-0.43240192010555045</c:v>
                </c:pt>
                <c:pt idx="657">
                  <c:v>0.54933407500488485</c:v>
                </c:pt>
                <c:pt idx="658">
                  <c:v>-2.7669555207540957</c:v>
                </c:pt>
                <c:pt idx="659">
                  <c:v>-8.8567036873373084E-2</c:v>
                </c:pt>
                <c:pt idx="660">
                  <c:v>0.34553071621438602</c:v>
                </c:pt>
                <c:pt idx="661">
                  <c:v>0.29335251666797735</c:v>
                </c:pt>
                <c:pt idx="662">
                  <c:v>1.695293052291714</c:v>
                </c:pt>
                <c:pt idx="663">
                  <c:v>-2.6793679957350767</c:v>
                </c:pt>
                <c:pt idx="664">
                  <c:v>-0.70398667941668691</c:v>
                </c:pt>
                <c:pt idx="665">
                  <c:v>0.47576529407259938</c:v>
                </c:pt>
                <c:pt idx="666">
                  <c:v>-0.12807507096130788</c:v>
                </c:pt>
                <c:pt idx="667">
                  <c:v>2.3724855215685712</c:v>
                </c:pt>
                <c:pt idx="668">
                  <c:v>-18.77249598674149</c:v>
                </c:pt>
                <c:pt idx="669">
                  <c:v>0.27289678109180177</c:v>
                </c:pt>
                <c:pt idx="670">
                  <c:v>-7.1790332421484138</c:v>
                </c:pt>
                <c:pt idx="671">
                  <c:v>-0.92645707893244467</c:v>
                </c:pt>
                <c:pt idx="672">
                  <c:v>0.3593343672281808</c:v>
                </c:pt>
                <c:pt idx="673">
                  <c:v>-0.34958353073144477</c:v>
                </c:pt>
                <c:pt idx="674">
                  <c:v>0.15985043405970989</c:v>
                </c:pt>
                <c:pt idx="675">
                  <c:v>1.6892312327154624</c:v>
                </c:pt>
                <c:pt idx="676">
                  <c:v>-0.31809042900287365</c:v>
                </c:pt>
                <c:pt idx="677">
                  <c:v>-1.4383839118189123</c:v>
                </c:pt>
                <c:pt idx="678">
                  <c:v>-1.315674031875381</c:v>
                </c:pt>
                <c:pt idx="679">
                  <c:v>-1.0321737325383675</c:v>
                </c:pt>
                <c:pt idx="680">
                  <c:v>-1.729917347719959</c:v>
                </c:pt>
                <c:pt idx="681">
                  <c:v>-0.41767910518973661</c:v>
                </c:pt>
                <c:pt idx="682">
                  <c:v>0.11839762034253054</c:v>
                </c:pt>
                <c:pt idx="683">
                  <c:v>-10.420053595024905</c:v>
                </c:pt>
                <c:pt idx="684">
                  <c:v>-1.8582788469413827</c:v>
                </c:pt>
                <c:pt idx="685">
                  <c:v>-1.1129369743338589</c:v>
                </c:pt>
                <c:pt idx="686">
                  <c:v>-4.4484103287718195</c:v>
                </c:pt>
                <c:pt idx="687">
                  <c:v>-1.2324015960184111</c:v>
                </c:pt>
                <c:pt idx="688">
                  <c:v>-1.51861074937761</c:v>
                </c:pt>
                <c:pt idx="689">
                  <c:v>-0.61454381831662697</c:v>
                </c:pt>
                <c:pt idx="690">
                  <c:v>-1.060329684893085</c:v>
                </c:pt>
                <c:pt idx="691">
                  <c:v>0.33747637436238176</c:v>
                </c:pt>
                <c:pt idx="692">
                  <c:v>0.54418899977057134</c:v>
                </c:pt>
                <c:pt idx="693">
                  <c:v>1.3091628067995087</c:v>
                </c:pt>
                <c:pt idx="694">
                  <c:v>0.23054756094854373</c:v>
                </c:pt>
                <c:pt idx="695">
                  <c:v>-6.6628723281729973E-2</c:v>
                </c:pt>
                <c:pt idx="696">
                  <c:v>-22.040088873656345</c:v>
                </c:pt>
                <c:pt idx="697">
                  <c:v>-2.3732985272467486</c:v>
                </c:pt>
                <c:pt idx="698">
                  <c:v>-7.273516007327185</c:v>
                </c:pt>
                <c:pt idx="699">
                  <c:v>-1.2920255703242614</c:v>
                </c:pt>
                <c:pt idx="700">
                  <c:v>-9.5923842941923976</c:v>
                </c:pt>
                <c:pt idx="701">
                  <c:v>-0.29229124921475025</c:v>
                </c:pt>
                <c:pt idx="702">
                  <c:v>0.20744430590411289</c:v>
                </c:pt>
                <c:pt idx="703">
                  <c:v>0.23891611212445013</c:v>
                </c:pt>
                <c:pt idx="704">
                  <c:v>4.019534885566467E-2</c:v>
                </c:pt>
                <c:pt idx="705">
                  <c:v>-0.49657264569554016</c:v>
                </c:pt>
                <c:pt idx="706">
                  <c:v>-0.48200723082403663</c:v>
                </c:pt>
                <c:pt idx="707">
                  <c:v>-0.70030478844089616</c:v>
                </c:pt>
                <c:pt idx="708">
                  <c:v>-0.47277550582002803</c:v>
                </c:pt>
                <c:pt idx="709">
                  <c:v>-10.734708535338781</c:v>
                </c:pt>
                <c:pt idx="710">
                  <c:v>-0.39353810447836457</c:v>
                </c:pt>
                <c:pt idx="711">
                  <c:v>-9.987854821555489</c:v>
                </c:pt>
                <c:pt idx="712">
                  <c:v>-3.0860704280251388</c:v>
                </c:pt>
                <c:pt idx="713">
                  <c:v>-2.2113834586282328</c:v>
                </c:pt>
                <c:pt idx="714">
                  <c:v>-0.14025309384841911</c:v>
                </c:pt>
                <c:pt idx="715">
                  <c:v>0.56704038410724344</c:v>
                </c:pt>
                <c:pt idx="716">
                  <c:v>-2.0761638791994765</c:v>
                </c:pt>
                <c:pt idx="717">
                  <c:v>-0.60803303288091493</c:v>
                </c:pt>
                <c:pt idx="718">
                  <c:v>-0.35910096354121013</c:v>
                </c:pt>
                <c:pt idx="719">
                  <c:v>-1.8342340696326498</c:v>
                </c:pt>
                <c:pt idx="720">
                  <c:v>-5.0197315303179</c:v>
                </c:pt>
                <c:pt idx="721">
                  <c:v>7.449749030121966E-2</c:v>
                </c:pt>
                <c:pt idx="722">
                  <c:v>0.81272714133847312</c:v>
                </c:pt>
                <c:pt idx="723">
                  <c:v>0.22391862155083259</c:v>
                </c:pt>
                <c:pt idx="724">
                  <c:v>-0.82374610864535791</c:v>
                </c:pt>
                <c:pt idx="725">
                  <c:v>-0.34380448127048635</c:v>
                </c:pt>
                <c:pt idx="726">
                  <c:v>-0.28493312921514635</c:v>
                </c:pt>
                <c:pt idx="727">
                  <c:v>-4.606925011262728</c:v>
                </c:pt>
                <c:pt idx="728">
                  <c:v>-12.479617630835392</c:v>
                </c:pt>
                <c:pt idx="729">
                  <c:v>-6.5557752199527872</c:v>
                </c:pt>
                <c:pt idx="730">
                  <c:v>5.2177540354003682E-3</c:v>
                </c:pt>
                <c:pt idx="731">
                  <c:v>-3.4669813466456603</c:v>
                </c:pt>
                <c:pt idx="732">
                  <c:v>-4.2104702548095858</c:v>
                </c:pt>
                <c:pt idx="733">
                  <c:v>-0.18547852032188106</c:v>
                </c:pt>
                <c:pt idx="734">
                  <c:v>0.53394675182974805</c:v>
                </c:pt>
                <c:pt idx="735">
                  <c:v>-7.2203251046103256E-2</c:v>
                </c:pt>
                <c:pt idx="736">
                  <c:v>0.11327035931378315</c:v>
                </c:pt>
                <c:pt idx="737">
                  <c:v>-2.9882139643080521</c:v>
                </c:pt>
                <c:pt idx="738">
                  <c:v>-0.34060082941352898</c:v>
                </c:pt>
                <c:pt idx="739">
                  <c:v>-1.7929364029977251</c:v>
                </c:pt>
                <c:pt idx="740">
                  <c:v>-3.5892000002773505</c:v>
                </c:pt>
                <c:pt idx="741">
                  <c:v>-1.7714687758177901</c:v>
                </c:pt>
                <c:pt idx="742">
                  <c:v>-1.70137810877667</c:v>
                </c:pt>
                <c:pt idx="743">
                  <c:v>-3.1475325751960703</c:v>
                </c:pt>
                <c:pt idx="744">
                  <c:v>-0.96090977792541388</c:v>
                </c:pt>
                <c:pt idx="745">
                  <c:v>-1.7646639145919378</c:v>
                </c:pt>
                <c:pt idx="746">
                  <c:v>-1.2547465402670701</c:v>
                </c:pt>
                <c:pt idx="747">
                  <c:v>-3.2551836512144643</c:v>
                </c:pt>
                <c:pt idx="748">
                  <c:v>-1.6421620932517991</c:v>
                </c:pt>
                <c:pt idx="749">
                  <c:v>-1.2156641053149411</c:v>
                </c:pt>
                <c:pt idx="750">
                  <c:v>-1.7832933547236167</c:v>
                </c:pt>
                <c:pt idx="751">
                  <c:v>0.10396919462380416</c:v>
                </c:pt>
                <c:pt idx="752">
                  <c:v>0.5091516143471142</c:v>
                </c:pt>
                <c:pt idx="753">
                  <c:v>-6.9673232902793591E-2</c:v>
                </c:pt>
                <c:pt idx="754">
                  <c:v>0.95112145583950913</c:v>
                </c:pt>
                <c:pt idx="755">
                  <c:v>-0.35835543521500979</c:v>
                </c:pt>
                <c:pt idx="756">
                  <c:v>14.206553925772397</c:v>
                </c:pt>
                <c:pt idx="757">
                  <c:v>-4.5171314537610359</c:v>
                </c:pt>
                <c:pt idx="758">
                  <c:v>-0.47486181424521479</c:v>
                </c:pt>
                <c:pt idx="759">
                  <c:v>-2.4820072308240366</c:v>
                </c:pt>
                <c:pt idx="760">
                  <c:v>-0.63708616934954376</c:v>
                </c:pt>
                <c:pt idx="761">
                  <c:v>-5.1151321203857849</c:v>
                </c:pt>
                <c:pt idx="762">
                  <c:v>-1.9670435334470708</c:v>
                </c:pt>
                <c:pt idx="763">
                  <c:v>-3.6737020566266612</c:v>
                </c:pt>
                <c:pt idx="764">
                  <c:v>-2.7029428085014011</c:v>
                </c:pt>
                <c:pt idx="765">
                  <c:v>-4.1512226707459154</c:v>
                </c:pt>
                <c:pt idx="766">
                  <c:v>-4.0623812095168441</c:v>
                </c:pt>
                <c:pt idx="767">
                  <c:v>-2.0012659264682511</c:v>
                </c:pt>
                <c:pt idx="768">
                  <c:v>-4.2446008640735462</c:v>
                </c:pt>
                <c:pt idx="769">
                  <c:v>0.39035117609000936</c:v>
                </c:pt>
                <c:pt idx="770">
                  <c:v>-2.0899241435817046</c:v>
                </c:pt>
                <c:pt idx="771">
                  <c:v>0.23963063740914026</c:v>
                </c:pt>
                <c:pt idx="772">
                  <c:v>-2.7216883694176186</c:v>
                </c:pt>
                <c:pt idx="773">
                  <c:v>0.48053232467584106</c:v>
                </c:pt>
                <c:pt idx="774">
                  <c:v>-4.41310127028125E-2</c:v>
                </c:pt>
                <c:pt idx="775">
                  <c:v>-22.00663090582983</c:v>
                </c:pt>
                <c:pt idx="776">
                  <c:v>-1.1563489096977353</c:v>
                </c:pt>
                <c:pt idx="777">
                  <c:v>-3.3698824039486563</c:v>
                </c:pt>
                <c:pt idx="778">
                  <c:v>-1.7498238748316277</c:v>
                </c:pt>
                <c:pt idx="779">
                  <c:v>-3.3564850015084158</c:v>
                </c:pt>
                <c:pt idx="780">
                  <c:v>-0.85725985756268885</c:v>
                </c:pt>
                <c:pt idx="781">
                  <c:v>-9.1227665953450665E-2</c:v>
                </c:pt>
                <c:pt idx="782">
                  <c:v>-9.0250032568287875</c:v>
                </c:pt>
                <c:pt idx="783">
                  <c:v>-0.90677487749130137</c:v>
                </c:pt>
                <c:pt idx="784">
                  <c:v>-0.21800736761580586</c:v>
                </c:pt>
                <c:pt idx="785">
                  <c:v>-4.6668745990248226</c:v>
                </c:pt>
                <c:pt idx="786">
                  <c:v>-0.77634077912139166</c:v>
                </c:pt>
                <c:pt idx="787">
                  <c:v>-1.1862091241031429</c:v>
                </c:pt>
                <c:pt idx="788">
                  <c:v>-0.31840843072601599</c:v>
                </c:pt>
                <c:pt idx="789">
                  <c:v>-6.3561039530351344</c:v>
                </c:pt>
                <c:pt idx="790">
                  <c:v>-1.6608716751018497</c:v>
                </c:pt>
                <c:pt idx="791">
                  <c:v>-2.4820072308240366</c:v>
                </c:pt>
                <c:pt idx="792">
                  <c:v>-18.285757458472418</c:v>
                </c:pt>
                <c:pt idx="793">
                  <c:v>2.0625449829782463</c:v>
                </c:pt>
                <c:pt idx="794">
                  <c:v>-0.91424775795292823</c:v>
                </c:pt>
                <c:pt idx="795">
                  <c:v>-6.7239271853659943</c:v>
                </c:pt>
                <c:pt idx="796">
                  <c:v>-2.2799574564965077</c:v>
                </c:pt>
                <c:pt idx="797">
                  <c:v>-2.2835708262490271</c:v>
                </c:pt>
                <c:pt idx="798">
                  <c:v>-1.8623316610461322</c:v>
                </c:pt>
                <c:pt idx="799">
                  <c:v>-1.0851959650164014</c:v>
                </c:pt>
                <c:pt idx="800">
                  <c:v>-1.104238343355807</c:v>
                </c:pt>
                <c:pt idx="801">
                  <c:v>-0.47878741816588644</c:v>
                </c:pt>
                <c:pt idx="802">
                  <c:v>-4.9584224928795475</c:v>
                </c:pt>
                <c:pt idx="803">
                  <c:v>-0.10104257267408134</c:v>
                </c:pt>
                <c:pt idx="804">
                  <c:v>-4.8068159681678173</c:v>
                </c:pt>
                <c:pt idx="805">
                  <c:v>-1.6559871495490546</c:v>
                </c:pt>
                <c:pt idx="806">
                  <c:v>-7.825173934042077</c:v>
                </c:pt>
                <c:pt idx="807">
                  <c:v>-5.4244461827974675</c:v>
                </c:pt>
                <c:pt idx="808">
                  <c:v>0.12465443661859776</c:v>
                </c:pt>
                <c:pt idx="809">
                  <c:v>-1.2079491194861489</c:v>
                </c:pt>
                <c:pt idx="810">
                  <c:v>8.9757344612149903E-2</c:v>
                </c:pt>
                <c:pt idx="811">
                  <c:v>-4.8596571794969172</c:v>
                </c:pt>
                <c:pt idx="812">
                  <c:v>-7.6219480044415144E-2</c:v>
                </c:pt>
                <c:pt idx="813">
                  <c:v>-0.52913778886466911</c:v>
                </c:pt>
                <c:pt idx="814">
                  <c:v>6.8756057479517962E-2</c:v>
                </c:pt>
                <c:pt idx="815">
                  <c:v>-0.12308821434345552</c:v>
                </c:pt>
                <c:pt idx="816">
                  <c:v>-3.2295633618176414</c:v>
                </c:pt>
                <c:pt idx="817">
                  <c:v>-6.5593830234716624</c:v>
                </c:pt>
                <c:pt idx="818">
                  <c:v>-8.5881137712025666</c:v>
                </c:pt>
                <c:pt idx="819">
                  <c:v>0.57464985899459819</c:v>
                </c:pt>
                <c:pt idx="820">
                  <c:v>-8.8826505130396805E-2</c:v>
                </c:pt>
                <c:pt idx="821">
                  <c:v>0.51799276917596337</c:v>
                </c:pt>
                <c:pt idx="822">
                  <c:v>-0.99779184343856286</c:v>
                </c:pt>
                <c:pt idx="823">
                  <c:v>-5.7951868901029968</c:v>
                </c:pt>
                <c:pt idx="824">
                  <c:v>-6.3886977431923619E-2</c:v>
                </c:pt>
                <c:pt idx="825">
                  <c:v>-0.19895216735556231</c:v>
                </c:pt>
                <c:pt idx="826">
                  <c:v>-0.97853110203677174</c:v>
                </c:pt>
                <c:pt idx="827">
                  <c:v>-3.4820072308240366</c:v>
                </c:pt>
                <c:pt idx="828">
                  <c:v>-1.4820072308240366</c:v>
                </c:pt>
                <c:pt idx="829">
                  <c:v>-2.4229041303841639</c:v>
                </c:pt>
                <c:pt idx="830">
                  <c:v>-0.54157269913437389</c:v>
                </c:pt>
                <c:pt idx="831">
                  <c:v>-3.0119667030691231</c:v>
                </c:pt>
                <c:pt idx="832">
                  <c:v>1.1617231000619326</c:v>
                </c:pt>
                <c:pt idx="833">
                  <c:v>-2.5727611399611474</c:v>
                </c:pt>
                <c:pt idx="834">
                  <c:v>-1.8443177790674756</c:v>
                </c:pt>
                <c:pt idx="835">
                  <c:v>-0.12978797890988414</c:v>
                </c:pt>
                <c:pt idx="836">
                  <c:v>0.10703263701581955</c:v>
                </c:pt>
                <c:pt idx="837">
                  <c:v>-1.62141555373677</c:v>
                </c:pt>
                <c:pt idx="838">
                  <c:v>0.22485869898482058</c:v>
                </c:pt>
                <c:pt idx="839">
                  <c:v>-2.1241888336601775</c:v>
                </c:pt>
                <c:pt idx="840">
                  <c:v>-0.48096235475482185</c:v>
                </c:pt>
                <c:pt idx="841">
                  <c:v>0.40509776309158363</c:v>
                </c:pt>
                <c:pt idx="842">
                  <c:v>0.56923337644448146</c:v>
                </c:pt>
                <c:pt idx="843">
                  <c:v>-0.54380761138777678</c:v>
                </c:pt>
                <c:pt idx="844">
                  <c:v>0.93108841854772351</c:v>
                </c:pt>
                <c:pt idx="845">
                  <c:v>-0.76358434725193258</c:v>
                </c:pt>
                <c:pt idx="846">
                  <c:v>-7.1095413504672633E-2</c:v>
                </c:pt>
                <c:pt idx="847">
                  <c:v>0.20172250299121808</c:v>
                </c:pt>
                <c:pt idx="848">
                  <c:v>1.2026630888853034</c:v>
                </c:pt>
                <c:pt idx="849">
                  <c:v>0.85696524378208938</c:v>
                </c:pt>
                <c:pt idx="850">
                  <c:v>-5.2031601855468956E-2</c:v>
                </c:pt>
                <c:pt idx="851">
                  <c:v>0.84249966966281309</c:v>
                </c:pt>
                <c:pt idx="852">
                  <c:v>-0.22040534691503277</c:v>
                </c:pt>
                <c:pt idx="853">
                  <c:v>-0.15237505424167108</c:v>
                </c:pt>
                <c:pt idx="854">
                  <c:v>0.29723621440778664</c:v>
                </c:pt>
                <c:pt idx="855">
                  <c:v>1.7821701643148193</c:v>
                </c:pt>
                <c:pt idx="856">
                  <c:v>-6.0936006939234622E-2</c:v>
                </c:pt>
                <c:pt idx="857">
                  <c:v>0.6628277460241887</c:v>
                </c:pt>
                <c:pt idx="858">
                  <c:v>2.2401708114097105</c:v>
                </c:pt>
                <c:pt idx="859">
                  <c:v>-0.78589216111475579</c:v>
                </c:pt>
                <c:pt idx="860">
                  <c:v>-0.7723711576027934</c:v>
                </c:pt>
                <c:pt idx="861">
                  <c:v>-0.43820425319567047</c:v>
                </c:pt>
                <c:pt idx="862">
                  <c:v>1.2431537293369646</c:v>
                </c:pt>
                <c:pt idx="863">
                  <c:v>0.27826787990181617</c:v>
                </c:pt>
                <c:pt idx="864">
                  <c:v>-0.21795730003583458</c:v>
                </c:pt>
                <c:pt idx="865">
                  <c:v>0.39281159323299947</c:v>
                </c:pt>
                <c:pt idx="866">
                  <c:v>4.5362116461394484</c:v>
                </c:pt>
                <c:pt idx="867">
                  <c:v>5.0237543803100939</c:v>
                </c:pt>
                <c:pt idx="868">
                  <c:v>-0.56132806002639191</c:v>
                </c:pt>
                <c:pt idx="869">
                  <c:v>-0.28681322045614377</c:v>
                </c:pt>
                <c:pt idx="870">
                  <c:v>-0.63560073618237456</c:v>
                </c:pt>
                <c:pt idx="871">
                  <c:v>0.12061228488058973</c:v>
                </c:pt>
                <c:pt idx="872">
                  <c:v>1.2365865887740695</c:v>
                </c:pt>
                <c:pt idx="873">
                  <c:v>0.12989778777358163</c:v>
                </c:pt>
                <c:pt idx="874">
                  <c:v>0.10796829996461921</c:v>
                </c:pt>
                <c:pt idx="875">
                  <c:v>-5.8241909493383144</c:v>
                </c:pt>
                <c:pt idx="876">
                  <c:v>3.5693730655758626</c:v>
                </c:pt>
                <c:pt idx="877">
                  <c:v>0.19873541058126154</c:v>
                </c:pt>
                <c:pt idx="878">
                  <c:v>-0.42506491759122622</c:v>
                </c:pt>
                <c:pt idx="879">
                  <c:v>1.0396046443200939</c:v>
                </c:pt>
                <c:pt idx="880">
                  <c:v>-5.5018450344065695</c:v>
                </c:pt>
                <c:pt idx="881">
                  <c:v>-3.8879274300018078</c:v>
                </c:pt>
                <c:pt idx="882">
                  <c:v>-1.8730250850425652</c:v>
                </c:pt>
                <c:pt idx="883">
                  <c:v>-0.25156866697285296</c:v>
                </c:pt>
                <c:pt idx="884">
                  <c:v>-2.0024305890230183</c:v>
                </c:pt>
                <c:pt idx="885">
                  <c:v>-0.6586234297283502</c:v>
                </c:pt>
                <c:pt idx="886">
                  <c:v>0.3797151864420763</c:v>
                </c:pt>
                <c:pt idx="887">
                  <c:v>0.36182809619326933</c:v>
                </c:pt>
                <c:pt idx="888">
                  <c:v>0.17020582664760786</c:v>
                </c:pt>
                <c:pt idx="889">
                  <c:v>-9.5097768298911181</c:v>
                </c:pt>
                <c:pt idx="890">
                  <c:v>-0.75367800556727738</c:v>
                </c:pt>
                <c:pt idx="891">
                  <c:v>-4.071933558324333</c:v>
                </c:pt>
                <c:pt idx="892">
                  <c:v>0.64494125939808133</c:v>
                </c:pt>
                <c:pt idx="893">
                  <c:v>1.0986009082193331</c:v>
                </c:pt>
                <c:pt idx="894">
                  <c:v>-2.6737020566266612</c:v>
                </c:pt>
                <c:pt idx="895">
                  <c:v>7.9048450807703841E-3</c:v>
                </c:pt>
                <c:pt idx="896">
                  <c:v>-1.1529837600131194</c:v>
                </c:pt>
                <c:pt idx="897">
                  <c:v>0.88432021773241054</c:v>
                </c:pt>
                <c:pt idx="898">
                  <c:v>-2.301385483644204</c:v>
                </c:pt>
                <c:pt idx="899">
                  <c:v>1.2744892167347019</c:v>
                </c:pt>
                <c:pt idx="900">
                  <c:v>-1.1406573401172082</c:v>
                </c:pt>
                <c:pt idx="901">
                  <c:v>-2.17196822620223</c:v>
                </c:pt>
                <c:pt idx="902">
                  <c:v>-2.1972711770605713</c:v>
                </c:pt>
                <c:pt idx="903">
                  <c:v>-0.17901090787439122</c:v>
                </c:pt>
                <c:pt idx="904">
                  <c:v>1.3358756156844338</c:v>
                </c:pt>
                <c:pt idx="905">
                  <c:v>0.26211217685365201</c:v>
                </c:pt>
                <c:pt idx="906">
                  <c:v>-0.52001814411343661</c:v>
                </c:pt>
                <c:pt idx="907">
                  <c:v>-0.48548384890149654</c:v>
                </c:pt>
                <c:pt idx="908">
                  <c:v>0.28265418346156163</c:v>
                </c:pt>
                <c:pt idx="909">
                  <c:v>-0.29302378057046052</c:v>
                </c:pt>
                <c:pt idx="910">
                  <c:v>0.66971475446087325</c:v>
                </c:pt>
                <c:pt idx="911">
                  <c:v>3.5066790468452291E-2</c:v>
                </c:pt>
                <c:pt idx="912">
                  <c:v>0.71588948084709081</c:v>
                </c:pt>
                <c:pt idx="913">
                  <c:v>-1.5735133438646267</c:v>
                </c:pt>
                <c:pt idx="914">
                  <c:v>-0.88364110225669212</c:v>
                </c:pt>
                <c:pt idx="915">
                  <c:v>0.48980372829302876</c:v>
                </c:pt>
                <c:pt idx="916">
                  <c:v>-0.17867974741787629</c:v>
                </c:pt>
                <c:pt idx="917">
                  <c:v>-1.5117065469594673</c:v>
                </c:pt>
                <c:pt idx="918">
                  <c:v>0.75660622630175234</c:v>
                </c:pt>
                <c:pt idx="919">
                  <c:v>0.19025320629818332</c:v>
                </c:pt>
                <c:pt idx="920">
                  <c:v>2.7311656910452231E-2</c:v>
                </c:pt>
                <c:pt idx="921">
                  <c:v>-1.6751717865765405</c:v>
                </c:pt>
                <c:pt idx="922">
                  <c:v>1.0847691528320138</c:v>
                </c:pt>
                <c:pt idx="923">
                  <c:v>0.45311050333890757</c:v>
                </c:pt>
                <c:pt idx="924">
                  <c:v>0.90769184000661274</c:v>
                </c:pt>
                <c:pt idx="925">
                  <c:v>0.22210226155424223</c:v>
                </c:pt>
                <c:pt idx="926">
                  <c:v>-1.6367800242733637</c:v>
                </c:pt>
                <c:pt idx="927">
                  <c:v>-0.82354607231365362</c:v>
                </c:pt>
                <c:pt idx="928">
                  <c:v>0.49705455175052515</c:v>
                </c:pt>
                <c:pt idx="929">
                  <c:v>-0.55684060209588315</c:v>
                </c:pt>
                <c:pt idx="930">
                  <c:v>-0.60908569661020495</c:v>
                </c:pt>
                <c:pt idx="931">
                  <c:v>-2.6884628046691774</c:v>
                </c:pt>
                <c:pt idx="932">
                  <c:v>5.539881741570488</c:v>
                </c:pt>
                <c:pt idx="933">
                  <c:v>9.06647565928973E-2</c:v>
                </c:pt>
                <c:pt idx="934">
                  <c:v>-0.24537036790283306</c:v>
                </c:pt>
                <c:pt idx="935">
                  <c:v>-1.6360042538848814</c:v>
                </c:pt>
                <c:pt idx="936">
                  <c:v>0.42406178948550277</c:v>
                </c:pt>
                <c:pt idx="937">
                  <c:v>0.10946843196527445</c:v>
                </c:pt>
                <c:pt idx="938">
                  <c:v>1.8825160878002247</c:v>
                </c:pt>
                <c:pt idx="939">
                  <c:v>-1.2886963441016726</c:v>
                </c:pt>
                <c:pt idx="940">
                  <c:v>-3.3588970010737187</c:v>
                </c:pt>
                <c:pt idx="941">
                  <c:v>-0.95216910681556</c:v>
                </c:pt>
                <c:pt idx="942">
                  <c:v>-5.6441382741588892</c:v>
                </c:pt>
                <c:pt idx="943">
                  <c:v>0.53014571404027988</c:v>
                </c:pt>
                <c:pt idx="944">
                  <c:v>-2.4820072308240366</c:v>
                </c:pt>
                <c:pt idx="945">
                  <c:v>0.44265775515487871</c:v>
                </c:pt>
                <c:pt idx="946">
                  <c:v>1.0951831724011862</c:v>
                </c:pt>
                <c:pt idx="947">
                  <c:v>-3.6912371216869442</c:v>
                </c:pt>
                <c:pt idx="948">
                  <c:v>-6.9963932456889548</c:v>
                </c:pt>
                <c:pt idx="949">
                  <c:v>0.56357977903753609</c:v>
                </c:pt>
                <c:pt idx="950">
                  <c:v>0.43806569451961536</c:v>
                </c:pt>
                <c:pt idx="951">
                  <c:v>-11.250735298912993</c:v>
                </c:pt>
                <c:pt idx="952">
                  <c:v>0.38236542963586184</c:v>
                </c:pt>
                <c:pt idx="953">
                  <c:v>0.43149098849881024</c:v>
                </c:pt>
                <c:pt idx="954">
                  <c:v>-4.8564559718045412</c:v>
                </c:pt>
                <c:pt idx="955">
                  <c:v>0.18775110462076516</c:v>
                </c:pt>
                <c:pt idx="956">
                  <c:v>1.3526494273161422</c:v>
                </c:pt>
                <c:pt idx="957">
                  <c:v>9.5310551815254718E-2</c:v>
                </c:pt>
                <c:pt idx="958">
                  <c:v>-9.9607150264083621E-2</c:v>
                </c:pt>
                <c:pt idx="959">
                  <c:v>0.36653292685925337</c:v>
                </c:pt>
                <c:pt idx="960">
                  <c:v>-0.91245455103664952</c:v>
                </c:pt>
                <c:pt idx="961">
                  <c:v>0.422785154698543</c:v>
                </c:pt>
                <c:pt idx="962">
                  <c:v>0.38287084950878769</c:v>
                </c:pt>
                <c:pt idx="963">
                  <c:v>-0.52256373306334547</c:v>
                </c:pt>
                <c:pt idx="964">
                  <c:v>0.54150463091048184</c:v>
                </c:pt>
                <c:pt idx="965">
                  <c:v>0.19838522713353213</c:v>
                </c:pt>
                <c:pt idx="966">
                  <c:v>2.2238221787049373</c:v>
                </c:pt>
                <c:pt idx="967">
                  <c:v>1.3984254168641623</c:v>
                </c:pt>
                <c:pt idx="968">
                  <c:v>1.1436025804464172</c:v>
                </c:pt>
                <c:pt idx="969">
                  <c:v>-0.13279913890503026</c:v>
                </c:pt>
                <c:pt idx="970">
                  <c:v>-0.18504056453064166</c:v>
                </c:pt>
                <c:pt idx="971">
                  <c:v>-9.1458486097801384E-2</c:v>
                </c:pt>
                <c:pt idx="972">
                  <c:v>0.23540905748728841</c:v>
                </c:pt>
                <c:pt idx="973">
                  <c:v>4.2806283110285559E-2</c:v>
                </c:pt>
                <c:pt idx="974">
                  <c:v>-0.81966632411521889</c:v>
                </c:pt>
                <c:pt idx="975">
                  <c:v>1.7360823038972693</c:v>
                </c:pt>
                <c:pt idx="976">
                  <c:v>0.62601316053120715</c:v>
                </c:pt>
                <c:pt idx="977">
                  <c:v>-2.4820072308240366</c:v>
                </c:pt>
                <c:pt idx="978">
                  <c:v>0.19825892112111942</c:v>
                </c:pt>
                <c:pt idx="979">
                  <c:v>0.43471639366229803</c:v>
                </c:pt>
                <c:pt idx="980">
                  <c:v>0.27343302741633591</c:v>
                </c:pt>
                <c:pt idx="981">
                  <c:v>-0.25896486932565221</c:v>
                </c:pt>
                <c:pt idx="982">
                  <c:v>0.61057936361290288</c:v>
                </c:pt>
                <c:pt idx="983">
                  <c:v>-2.3730037051972017</c:v>
                </c:pt>
                <c:pt idx="984">
                  <c:v>0.84603639350505655</c:v>
                </c:pt>
                <c:pt idx="985">
                  <c:v>-2.6162519614465705</c:v>
                </c:pt>
                <c:pt idx="986">
                  <c:v>-2.7186137554286396</c:v>
                </c:pt>
                <c:pt idx="987">
                  <c:v>-0.29027624947254038</c:v>
                </c:pt>
                <c:pt idx="988">
                  <c:v>-0.37756006885201465</c:v>
                </c:pt>
                <c:pt idx="989">
                  <c:v>-0.84686071891497416</c:v>
                </c:pt>
                <c:pt idx="990">
                  <c:v>5.3262979433733388</c:v>
                </c:pt>
                <c:pt idx="991">
                  <c:v>0.26569020654895154</c:v>
                </c:pt>
                <c:pt idx="992">
                  <c:v>-0.91859372917072557</c:v>
                </c:pt>
                <c:pt idx="993">
                  <c:v>-0.83090199397082376</c:v>
                </c:pt>
                <c:pt idx="994">
                  <c:v>0.17642008091806338</c:v>
                </c:pt>
                <c:pt idx="995">
                  <c:v>0.98047319809090538</c:v>
                </c:pt>
                <c:pt idx="996">
                  <c:v>-0.91813597655106305</c:v>
                </c:pt>
                <c:pt idx="997">
                  <c:v>2.2243310027326424</c:v>
                </c:pt>
                <c:pt idx="998">
                  <c:v>-7.5634831000854774E-3</c:v>
                </c:pt>
                <c:pt idx="999">
                  <c:v>-2.9410099347354537</c:v>
                </c:pt>
                <c:pt idx="1000">
                  <c:v>0.62679832241405353</c:v>
                </c:pt>
                <c:pt idx="1001">
                  <c:v>3.0340687057215669</c:v>
                </c:pt>
                <c:pt idx="1002">
                  <c:v>-3.1465791326578278</c:v>
                </c:pt>
                <c:pt idx="1003">
                  <c:v>-6.5629735237698359</c:v>
                </c:pt>
                <c:pt idx="1004">
                  <c:v>4.8590968930778411E-3</c:v>
                </c:pt>
                <c:pt idx="1005">
                  <c:v>-1.4820072308240366</c:v>
                </c:pt>
                <c:pt idx="1006">
                  <c:v>-6.6164177933327739E-3</c:v>
                </c:pt>
                <c:pt idx="1007">
                  <c:v>0.12337883501190361</c:v>
                </c:pt>
                <c:pt idx="1008">
                  <c:v>-5.5671690605962998E-2</c:v>
                </c:pt>
                <c:pt idx="1009">
                  <c:v>0.47932669406507156</c:v>
                </c:pt>
                <c:pt idx="1010">
                  <c:v>0.37987802272691162</c:v>
                </c:pt>
                <c:pt idx="1011">
                  <c:v>0.28904886657598405</c:v>
                </c:pt>
                <c:pt idx="1012">
                  <c:v>-0.28378069231842828</c:v>
                </c:pt>
                <c:pt idx="1013">
                  <c:v>0.54110957635496115</c:v>
                </c:pt>
                <c:pt idx="1014">
                  <c:v>0.5284730053600335</c:v>
                </c:pt>
                <c:pt idx="1015">
                  <c:v>0.34028158629387745</c:v>
                </c:pt>
                <c:pt idx="1016">
                  <c:v>0.18454432926169217</c:v>
                </c:pt>
                <c:pt idx="1017">
                  <c:v>0.35710723450481785</c:v>
                </c:pt>
                <c:pt idx="1018">
                  <c:v>-0.60861686909643087</c:v>
                </c:pt>
                <c:pt idx="1019">
                  <c:v>0.76038029993402656</c:v>
                </c:pt>
                <c:pt idx="1020">
                  <c:v>0.58740769053064135</c:v>
                </c:pt>
                <c:pt idx="1021">
                  <c:v>0.41430133372319478</c:v>
                </c:pt>
                <c:pt idx="1022">
                  <c:v>-1.2385535695872374</c:v>
                </c:pt>
                <c:pt idx="1023">
                  <c:v>-2.4007137334456852</c:v>
                </c:pt>
                <c:pt idx="1024">
                  <c:v>0.25889175430460737</c:v>
                </c:pt>
                <c:pt idx="1025">
                  <c:v>2.9979205447446251</c:v>
                </c:pt>
                <c:pt idx="1026">
                  <c:v>-0.32738801172951182</c:v>
                </c:pt>
                <c:pt idx="1027">
                  <c:v>0.15542146761928599</c:v>
                </c:pt>
                <c:pt idx="1028">
                  <c:v>-0.29697904896826843</c:v>
                </c:pt>
                <c:pt idx="1029">
                  <c:v>-4.7385254627326692</c:v>
                </c:pt>
                <c:pt idx="1030">
                  <c:v>0.54230976599725933</c:v>
                </c:pt>
                <c:pt idx="1031">
                  <c:v>-2.633457762410754</c:v>
                </c:pt>
                <c:pt idx="1032">
                  <c:v>-2.4820072308240366</c:v>
                </c:pt>
                <c:pt idx="1033">
                  <c:v>-2.1761493182874458</c:v>
                </c:pt>
                <c:pt idx="1034">
                  <c:v>1.4489327016754241</c:v>
                </c:pt>
                <c:pt idx="1035">
                  <c:v>9.7507268459845218</c:v>
                </c:pt>
                <c:pt idx="1036">
                  <c:v>-0.48200723082403663</c:v>
                </c:pt>
                <c:pt idx="1037">
                  <c:v>0.33477278097533847</c:v>
                </c:pt>
                <c:pt idx="1038">
                  <c:v>-2.4820072308240366</c:v>
                </c:pt>
                <c:pt idx="1039">
                  <c:v>-3.6375568925561597E-2</c:v>
                </c:pt>
                <c:pt idx="1040">
                  <c:v>4.7125436812959398</c:v>
                </c:pt>
                <c:pt idx="1041">
                  <c:v>-0.55771987838187598</c:v>
                </c:pt>
                <c:pt idx="1042">
                  <c:v>0.40960589532169966</c:v>
                </c:pt>
                <c:pt idx="1043">
                  <c:v>3.5335371684408567</c:v>
                </c:pt>
                <c:pt idx="1044">
                  <c:v>1.1290435720316538</c:v>
                </c:pt>
                <c:pt idx="1045">
                  <c:v>5.3730880714333722</c:v>
                </c:pt>
                <c:pt idx="1046">
                  <c:v>0.4225213203077568</c:v>
                </c:pt>
                <c:pt idx="1047">
                  <c:v>2.5184506492639773</c:v>
                </c:pt>
                <c:pt idx="1048">
                  <c:v>-0.21277812870180446</c:v>
                </c:pt>
                <c:pt idx="1049">
                  <c:v>-2.4820072308240366</c:v>
                </c:pt>
                <c:pt idx="1050">
                  <c:v>-1.804697103850224</c:v>
                </c:pt>
                <c:pt idx="1051">
                  <c:v>-0.22591490332812025</c:v>
                </c:pt>
                <c:pt idx="1052">
                  <c:v>-1.1801408598177976</c:v>
                </c:pt>
                <c:pt idx="1053">
                  <c:v>2.1447601586399623</c:v>
                </c:pt>
                <c:pt idx="1054">
                  <c:v>2.0689387591949493E-2</c:v>
                </c:pt>
                <c:pt idx="1055">
                  <c:v>0.51799276917596337</c:v>
                </c:pt>
                <c:pt idx="1056">
                  <c:v>-0.23494800859000753</c:v>
                </c:pt>
                <c:pt idx="1057">
                  <c:v>0.48682264386933616</c:v>
                </c:pt>
                <c:pt idx="1058">
                  <c:v>0.36113473674528457</c:v>
                </c:pt>
                <c:pt idx="1059">
                  <c:v>0.9225883961012582</c:v>
                </c:pt>
                <c:pt idx="1060">
                  <c:v>1.0988913890809549</c:v>
                </c:pt>
                <c:pt idx="1061">
                  <c:v>0.35503473051893408</c:v>
                </c:pt>
                <c:pt idx="1062">
                  <c:v>-1.4968709135543099</c:v>
                </c:pt>
                <c:pt idx="1063">
                  <c:v>0.22384595902792942</c:v>
                </c:pt>
                <c:pt idx="1064">
                  <c:v>9.5434712564605118E-2</c:v>
                </c:pt>
                <c:pt idx="1065">
                  <c:v>0.43209710746897079</c:v>
                </c:pt>
                <c:pt idx="1066">
                  <c:v>-1.0252024555891079</c:v>
                </c:pt>
                <c:pt idx="1067">
                  <c:v>-7.7758101347383395</c:v>
                </c:pt>
                <c:pt idx="1068">
                  <c:v>4.5179927691759634</c:v>
                </c:pt>
                <c:pt idx="1069">
                  <c:v>-2.7586982157688684</c:v>
                </c:pt>
                <c:pt idx="1070">
                  <c:v>0.1983528895926665</c:v>
                </c:pt>
                <c:pt idx="1071">
                  <c:v>0.29345236478011544</c:v>
                </c:pt>
                <c:pt idx="1072">
                  <c:v>8.8425997769167264E-2</c:v>
                </c:pt>
                <c:pt idx="1073">
                  <c:v>-2.1382872210168049</c:v>
                </c:pt>
                <c:pt idx="1074">
                  <c:v>-0.41147648910750512</c:v>
                </c:pt>
                <c:pt idx="1075">
                  <c:v>1.1484771382455579</c:v>
                </c:pt>
                <c:pt idx="1076">
                  <c:v>0.20815288561085876</c:v>
                </c:pt>
                <c:pt idx="1077">
                  <c:v>-5.0010011813903521E-2</c:v>
                </c:pt>
                <c:pt idx="1078">
                  <c:v>0.32545343208418825</c:v>
                </c:pt>
                <c:pt idx="1079">
                  <c:v>-2.608074627302277</c:v>
                </c:pt>
                <c:pt idx="1080">
                  <c:v>-0.2269357195133932</c:v>
                </c:pt>
                <c:pt idx="1081">
                  <c:v>1.9530992305890122</c:v>
                </c:pt>
                <c:pt idx="1082">
                  <c:v>18.676821589682294</c:v>
                </c:pt>
                <c:pt idx="1083">
                  <c:v>-0.63206419926324564</c:v>
                </c:pt>
                <c:pt idx="1084">
                  <c:v>-3.9950450683775305</c:v>
                </c:pt>
                <c:pt idx="1085">
                  <c:v>0.64021181785629366</c:v>
                </c:pt>
                <c:pt idx="1086">
                  <c:v>4.5495184381146743</c:v>
                </c:pt>
                <c:pt idx="1087">
                  <c:v>3.1204466522358887</c:v>
                </c:pt>
                <c:pt idx="1088">
                  <c:v>0.23129582344068378</c:v>
                </c:pt>
                <c:pt idx="1089">
                  <c:v>7.0235804518996692E-2</c:v>
                </c:pt>
                <c:pt idx="1090">
                  <c:v>0.66914123346635113</c:v>
                </c:pt>
                <c:pt idx="1091">
                  <c:v>0.60523188205688905</c:v>
                </c:pt>
                <c:pt idx="1092">
                  <c:v>2.1863835304718968</c:v>
                </c:pt>
                <c:pt idx="1093">
                  <c:v>-0.27403995349749399</c:v>
                </c:pt>
                <c:pt idx="1094">
                  <c:v>-0.48200723082403663</c:v>
                </c:pt>
                <c:pt idx="1095">
                  <c:v>-1.4014668680069167</c:v>
                </c:pt>
                <c:pt idx="1096">
                  <c:v>3.6811365520520334E-2</c:v>
                </c:pt>
                <c:pt idx="1097">
                  <c:v>-0.33049823577357085</c:v>
                </c:pt>
                <c:pt idx="1098">
                  <c:v>0.52708529284226091</c:v>
                </c:pt>
                <c:pt idx="1099">
                  <c:v>3.3731281636656378</c:v>
                </c:pt>
                <c:pt idx="1100">
                  <c:v>0.17310714033305319</c:v>
                </c:pt>
                <c:pt idx="1101">
                  <c:v>0.12844455588596382</c:v>
                </c:pt>
                <c:pt idx="1102">
                  <c:v>0.20341029171109037</c:v>
                </c:pt>
                <c:pt idx="1103">
                  <c:v>-1.3413844175646581</c:v>
                </c:pt>
                <c:pt idx="1104">
                  <c:v>6.0976048653121229E-2</c:v>
                </c:pt>
                <c:pt idx="1105">
                  <c:v>-0.16567466592294733</c:v>
                </c:pt>
                <c:pt idx="1106">
                  <c:v>-1.4101094235259306</c:v>
                </c:pt>
                <c:pt idx="1107">
                  <c:v>0.38537547271306866</c:v>
                </c:pt>
                <c:pt idx="1108">
                  <c:v>-0.46353989511601745</c:v>
                </c:pt>
                <c:pt idx="1109">
                  <c:v>15.290734918495147</c:v>
                </c:pt>
                <c:pt idx="1110">
                  <c:v>-0.6304876575041769</c:v>
                </c:pt>
                <c:pt idx="1111">
                  <c:v>0.20828827202106304</c:v>
                </c:pt>
                <c:pt idx="1112">
                  <c:v>-0.86704382255841361</c:v>
                </c:pt>
                <c:pt idx="1113">
                  <c:v>0.44868942631094771</c:v>
                </c:pt>
                <c:pt idx="1114">
                  <c:v>0.27839747139362153</c:v>
                </c:pt>
                <c:pt idx="1115">
                  <c:v>-2.1988662211557037</c:v>
                </c:pt>
                <c:pt idx="1116">
                  <c:v>-0.15535941139397191</c:v>
                </c:pt>
                <c:pt idx="1117">
                  <c:v>-1.3905807387394704</c:v>
                </c:pt>
                <c:pt idx="1118">
                  <c:v>1.1332669755723883</c:v>
                </c:pt>
                <c:pt idx="1119">
                  <c:v>1.4440802268826936E-2</c:v>
                </c:pt>
                <c:pt idx="1120">
                  <c:v>-0.16401506608439831</c:v>
                </c:pt>
                <c:pt idx="1121">
                  <c:v>-1.0264042808354583</c:v>
                </c:pt>
                <c:pt idx="1122">
                  <c:v>-0.94383527196347883</c:v>
                </c:pt>
                <c:pt idx="1123">
                  <c:v>-0.42597881272806748</c:v>
                </c:pt>
                <c:pt idx="1124">
                  <c:v>-0.61485244546840412</c:v>
                </c:pt>
                <c:pt idx="1125">
                  <c:v>0.90232234569381475</c:v>
                </c:pt>
                <c:pt idx="1126">
                  <c:v>-0.94279245500208142</c:v>
                </c:pt>
                <c:pt idx="1127">
                  <c:v>1.188344444094656</c:v>
                </c:pt>
                <c:pt idx="1128">
                  <c:v>-0.77458255039676294</c:v>
                </c:pt>
                <c:pt idx="1129">
                  <c:v>-1.1671113641476616</c:v>
                </c:pt>
                <c:pt idx="1130">
                  <c:v>-1.1636709072243407</c:v>
                </c:pt>
                <c:pt idx="1131">
                  <c:v>-3.4820072308240366</c:v>
                </c:pt>
                <c:pt idx="1132">
                  <c:v>5.1558020625736827</c:v>
                </c:pt>
                <c:pt idx="1133">
                  <c:v>39.482926073118101</c:v>
                </c:pt>
                <c:pt idx="1134">
                  <c:v>-0.91652932394148978</c:v>
                </c:pt>
                <c:pt idx="1135">
                  <c:v>-0.47465436486978896</c:v>
                </c:pt>
                <c:pt idx="1136">
                  <c:v>0.85612169810815075</c:v>
                </c:pt>
                <c:pt idx="1137">
                  <c:v>0.12700324097739379</c:v>
                </c:pt>
                <c:pt idx="1138">
                  <c:v>1.8080342808381054</c:v>
                </c:pt>
                <c:pt idx="1139">
                  <c:v>0.37466169847877889</c:v>
                </c:pt>
                <c:pt idx="1140">
                  <c:v>0.21240484473362886</c:v>
                </c:pt>
                <c:pt idx="1141">
                  <c:v>0.72727500704723735</c:v>
                </c:pt>
                <c:pt idx="1142">
                  <c:v>-0.20920570854203868</c:v>
                </c:pt>
                <c:pt idx="1143">
                  <c:v>1.255526524070014</c:v>
                </c:pt>
                <c:pt idx="1144">
                  <c:v>2.1580096589033939</c:v>
                </c:pt>
                <c:pt idx="1145">
                  <c:v>4.5772036281330974E-2</c:v>
                </c:pt>
                <c:pt idx="1146">
                  <c:v>0.34591544367545085</c:v>
                </c:pt>
                <c:pt idx="1147">
                  <c:v>0.38512655550731001</c:v>
                </c:pt>
                <c:pt idx="1148">
                  <c:v>0.25326186173996107</c:v>
                </c:pt>
                <c:pt idx="1149">
                  <c:v>-3.3844191402635797</c:v>
                </c:pt>
                <c:pt idx="1150">
                  <c:v>1.3687482706276501</c:v>
                </c:pt>
                <c:pt idx="1151">
                  <c:v>-0.48200723082403663</c:v>
                </c:pt>
                <c:pt idx="1152">
                  <c:v>-1.611549831207725</c:v>
                </c:pt>
                <c:pt idx="1153">
                  <c:v>0.32087668918066281</c:v>
                </c:pt>
                <c:pt idx="1154">
                  <c:v>-2.0730763137253287</c:v>
                </c:pt>
                <c:pt idx="1155">
                  <c:v>1.9527655469581877</c:v>
                </c:pt>
                <c:pt idx="1156">
                  <c:v>0.13038284850849058</c:v>
                </c:pt>
                <c:pt idx="1157">
                  <c:v>2.3488591856299621</c:v>
                </c:pt>
                <c:pt idx="1158">
                  <c:v>0.47801022902086854</c:v>
                </c:pt>
                <c:pt idx="1159">
                  <c:v>0.16052437073989434</c:v>
                </c:pt>
                <c:pt idx="1160">
                  <c:v>-0.71960735459625069</c:v>
                </c:pt>
                <c:pt idx="1161">
                  <c:v>-0.89560341426432766</c:v>
                </c:pt>
                <c:pt idx="1162">
                  <c:v>0.22457233282954625</c:v>
                </c:pt>
                <c:pt idx="1163">
                  <c:v>-0.26073816512472869</c:v>
                </c:pt>
                <c:pt idx="1164">
                  <c:v>1.1181237578660044</c:v>
                </c:pt>
                <c:pt idx="1165">
                  <c:v>-0.99279530543218453</c:v>
                </c:pt>
                <c:pt idx="1166">
                  <c:v>0.54115756679265314</c:v>
                </c:pt>
                <c:pt idx="1167">
                  <c:v>0.20237817733782493</c:v>
                </c:pt>
                <c:pt idx="1168">
                  <c:v>-0.27181777031270093</c:v>
                </c:pt>
                <c:pt idx="1169">
                  <c:v>-5.1830566296694136E-2</c:v>
                </c:pt>
                <c:pt idx="1170">
                  <c:v>1.827392644538995</c:v>
                </c:pt>
                <c:pt idx="1171">
                  <c:v>-0.42430664151877395</c:v>
                </c:pt>
                <c:pt idx="1172">
                  <c:v>2.4304002656075188</c:v>
                </c:pt>
                <c:pt idx="1173">
                  <c:v>1.4278399499378369E-2</c:v>
                </c:pt>
                <c:pt idx="1174">
                  <c:v>0.37509878328142326</c:v>
                </c:pt>
                <c:pt idx="1175">
                  <c:v>0.35986721378454328</c:v>
                </c:pt>
                <c:pt idx="1176">
                  <c:v>-4.1791296871843686E-2</c:v>
                </c:pt>
                <c:pt idx="1177">
                  <c:v>0.58694246201040368</c:v>
                </c:pt>
                <c:pt idx="1178">
                  <c:v>-0.48200723082403663</c:v>
                </c:pt>
                <c:pt idx="1179">
                  <c:v>-0.87061447305598971</c:v>
                </c:pt>
                <c:pt idx="1180">
                  <c:v>-0.73405747966481449</c:v>
                </c:pt>
                <c:pt idx="1181">
                  <c:v>2.1477508504919891</c:v>
                </c:pt>
                <c:pt idx="1182">
                  <c:v>-0.79467676071373594</c:v>
                </c:pt>
                <c:pt idx="1183">
                  <c:v>-1.90403125802374</c:v>
                </c:pt>
                <c:pt idx="1184">
                  <c:v>-1.4611537330124875</c:v>
                </c:pt>
                <c:pt idx="1185">
                  <c:v>7.0440819400126364E-2</c:v>
                </c:pt>
                <c:pt idx="1186">
                  <c:v>4.2895305087578821</c:v>
                </c:pt>
                <c:pt idx="1187">
                  <c:v>0.64118840061686666</c:v>
                </c:pt>
                <c:pt idx="1188">
                  <c:v>-1.6332730276579133</c:v>
                </c:pt>
                <c:pt idx="1189">
                  <c:v>-0.75121450931577627</c:v>
                </c:pt>
                <c:pt idx="1190">
                  <c:v>-9.0068972382215895E-2</c:v>
                </c:pt>
                <c:pt idx="1191">
                  <c:v>-0.16083962970204857</c:v>
                </c:pt>
                <c:pt idx="1192">
                  <c:v>-0.39758552091653265</c:v>
                </c:pt>
                <c:pt idx="1193">
                  <c:v>1.4711728457486068</c:v>
                </c:pt>
                <c:pt idx="1194">
                  <c:v>0.38456744544089505</c:v>
                </c:pt>
                <c:pt idx="1195">
                  <c:v>-0.17575458439158587</c:v>
                </c:pt>
                <c:pt idx="1196">
                  <c:v>-0.18345982894830071</c:v>
                </c:pt>
                <c:pt idx="1197">
                  <c:v>-0.34277172382325571</c:v>
                </c:pt>
                <c:pt idx="1198">
                  <c:v>-0.96584102612402356</c:v>
                </c:pt>
                <c:pt idx="1199">
                  <c:v>-0.48200723082403663</c:v>
                </c:pt>
                <c:pt idx="1200">
                  <c:v>0.19612234413595386</c:v>
                </c:pt>
                <c:pt idx="1201">
                  <c:v>1.1540818913636084</c:v>
                </c:pt>
                <c:pt idx="1202">
                  <c:v>-2.1036983562783513</c:v>
                </c:pt>
                <c:pt idx="1203">
                  <c:v>3.7189573311345088</c:v>
                </c:pt>
                <c:pt idx="1204">
                  <c:v>1.1969756032897729</c:v>
                </c:pt>
                <c:pt idx="1205">
                  <c:v>1.9944211804017591</c:v>
                </c:pt>
                <c:pt idx="1206">
                  <c:v>0.40076963354995832</c:v>
                </c:pt>
                <c:pt idx="1207">
                  <c:v>0.71061966289167211</c:v>
                </c:pt>
                <c:pt idx="1208">
                  <c:v>0.90336384507885525</c:v>
                </c:pt>
                <c:pt idx="1209">
                  <c:v>-2.9430868893300377E-2</c:v>
                </c:pt>
                <c:pt idx="1210">
                  <c:v>1.0852702895387261</c:v>
                </c:pt>
                <c:pt idx="1211">
                  <c:v>-1.0004081882177465</c:v>
                </c:pt>
                <c:pt idx="1212">
                  <c:v>-0.26424724810420863</c:v>
                </c:pt>
                <c:pt idx="1213">
                  <c:v>0.35282585122898863</c:v>
                </c:pt>
                <c:pt idx="1214">
                  <c:v>-2.2929851141495297</c:v>
                </c:pt>
                <c:pt idx="1215">
                  <c:v>-0.15593084305116289</c:v>
                </c:pt>
                <c:pt idx="1216">
                  <c:v>4.5662280889444089</c:v>
                </c:pt>
                <c:pt idx="1217">
                  <c:v>-6.5977074191332696E-2</c:v>
                </c:pt>
                <c:pt idx="1218">
                  <c:v>0.44362686278500135</c:v>
                </c:pt>
                <c:pt idx="1219">
                  <c:v>2.4607175331843596</c:v>
                </c:pt>
                <c:pt idx="1220">
                  <c:v>-0.95287900970393014</c:v>
                </c:pt>
                <c:pt idx="1221">
                  <c:v>1.9833105876622232</c:v>
                </c:pt>
                <c:pt idx="1222">
                  <c:v>0.8428965679479119</c:v>
                </c:pt>
                <c:pt idx="1223">
                  <c:v>0.75211039775489485</c:v>
                </c:pt>
                <c:pt idx="1224">
                  <c:v>-1.1307386993700432</c:v>
                </c:pt>
                <c:pt idx="1225">
                  <c:v>-1.0320292190263922</c:v>
                </c:pt>
                <c:pt idx="1226">
                  <c:v>0.51799276917596337</c:v>
                </c:pt>
                <c:pt idx="1227">
                  <c:v>-1.4912798157562666</c:v>
                </c:pt>
                <c:pt idx="1228">
                  <c:v>0.22086087253922171</c:v>
                </c:pt>
                <c:pt idx="1229">
                  <c:v>0.30020337218775567</c:v>
                </c:pt>
                <c:pt idx="1230">
                  <c:v>0.22078936561539847</c:v>
                </c:pt>
                <c:pt idx="1231">
                  <c:v>-0.22424074487522061</c:v>
                </c:pt>
                <c:pt idx="1232">
                  <c:v>0.41710862960114853</c:v>
                </c:pt>
                <c:pt idx="1233">
                  <c:v>-0.48200723082403663</c:v>
                </c:pt>
                <c:pt idx="1234">
                  <c:v>-0.59736717249216076</c:v>
                </c:pt>
                <c:pt idx="1235">
                  <c:v>1.1111754894985089</c:v>
                </c:pt>
                <c:pt idx="1236">
                  <c:v>2.1665267417019685</c:v>
                </c:pt>
                <c:pt idx="1237">
                  <c:v>-2.0044100867307311</c:v>
                </c:pt>
                <c:pt idx="1238">
                  <c:v>8.8247888039002076E-2</c:v>
                </c:pt>
                <c:pt idx="1239">
                  <c:v>-1.2767198788615395</c:v>
                </c:pt>
                <c:pt idx="1240">
                  <c:v>-2.4820072308240366</c:v>
                </c:pt>
                <c:pt idx="1241">
                  <c:v>-4.4305715304895354E-2</c:v>
                </c:pt>
                <c:pt idx="1242">
                  <c:v>0.93928256732917526</c:v>
                </c:pt>
                <c:pt idx="1243">
                  <c:v>1.0239550678457991</c:v>
                </c:pt>
                <c:pt idx="1244">
                  <c:v>1.6203659202450582</c:v>
                </c:pt>
                <c:pt idx="1245">
                  <c:v>-0.68793243458314479</c:v>
                </c:pt>
                <c:pt idx="1246">
                  <c:v>-0.34979591436988766</c:v>
                </c:pt>
                <c:pt idx="1247">
                  <c:v>1.2707336229102255</c:v>
                </c:pt>
                <c:pt idx="1248">
                  <c:v>-0.39592133252766182</c:v>
                </c:pt>
                <c:pt idx="1249">
                  <c:v>1.5864392630081783</c:v>
                </c:pt>
                <c:pt idx="1250">
                  <c:v>0.18277868507577066</c:v>
                </c:pt>
                <c:pt idx="1251">
                  <c:v>0.12609108165674376</c:v>
                </c:pt>
                <c:pt idx="1252">
                  <c:v>-6.1689354353937076E-2</c:v>
                </c:pt>
                <c:pt idx="1253">
                  <c:v>-0.10497096328433386</c:v>
                </c:pt>
                <c:pt idx="1254">
                  <c:v>0.10792185193741433</c:v>
                </c:pt>
                <c:pt idx="1255">
                  <c:v>-0.64732962442856912</c:v>
                </c:pt>
                <c:pt idx="1256">
                  <c:v>0.6168174494238825</c:v>
                </c:pt>
                <c:pt idx="1257">
                  <c:v>0.34163553017577325</c:v>
                </c:pt>
                <c:pt idx="1258">
                  <c:v>1.8941917188125856</c:v>
                </c:pt>
                <c:pt idx="1259">
                  <c:v>0.95775581861976411</c:v>
                </c:pt>
                <c:pt idx="1260">
                  <c:v>1.1867814983408831E-2</c:v>
                </c:pt>
                <c:pt idx="1261">
                  <c:v>-0.63306751552722096</c:v>
                </c:pt>
                <c:pt idx="1262">
                  <c:v>2.2399792691305431E-2</c:v>
                </c:pt>
                <c:pt idx="1263">
                  <c:v>-0.33482317972635167</c:v>
                </c:pt>
                <c:pt idx="1264">
                  <c:v>0.70288938767906961</c:v>
                </c:pt>
                <c:pt idx="1265">
                  <c:v>-0.7360734592935243</c:v>
                </c:pt>
                <c:pt idx="1266">
                  <c:v>-0.15076502835001371</c:v>
                </c:pt>
                <c:pt idx="1267">
                  <c:v>2.3095804324635867</c:v>
                </c:pt>
                <c:pt idx="1268">
                  <c:v>-0.32579611113999318</c:v>
                </c:pt>
                <c:pt idx="1269">
                  <c:v>-3.6586106309658528E-2</c:v>
                </c:pt>
                <c:pt idx="1270">
                  <c:v>-0.42608230818516812</c:v>
                </c:pt>
                <c:pt idx="1271">
                  <c:v>-8.9928033457347123E-3</c:v>
                </c:pt>
                <c:pt idx="1272">
                  <c:v>0.78853783513501541</c:v>
                </c:pt>
                <c:pt idx="1273">
                  <c:v>0.12633593327770576</c:v>
                </c:pt>
                <c:pt idx="1274">
                  <c:v>-0.1791652303504403</c:v>
                </c:pt>
                <c:pt idx="1275">
                  <c:v>0.25080638688282697</c:v>
                </c:pt>
                <c:pt idx="1276">
                  <c:v>5.1782700390275438E-2</c:v>
                </c:pt>
                <c:pt idx="1277">
                  <c:v>-2.4820072308240366</c:v>
                </c:pt>
                <c:pt idx="1278">
                  <c:v>0.47905427894362745</c:v>
                </c:pt>
                <c:pt idx="1279">
                  <c:v>1.0510371850292537</c:v>
                </c:pt>
                <c:pt idx="1280">
                  <c:v>-6.7154931957435604E-2</c:v>
                </c:pt>
                <c:pt idx="1281">
                  <c:v>-0.32889764962050694</c:v>
                </c:pt>
                <c:pt idx="1282">
                  <c:v>-4.9806461818510215</c:v>
                </c:pt>
                <c:pt idx="1283">
                  <c:v>0.26893502239238309</c:v>
                </c:pt>
                <c:pt idx="1284">
                  <c:v>0.26855296876517271</c:v>
                </c:pt>
                <c:pt idx="1285">
                  <c:v>1.8199315762235289</c:v>
                </c:pt>
                <c:pt idx="1286">
                  <c:v>1.0577936061491529</c:v>
                </c:pt>
                <c:pt idx="1287">
                  <c:v>11.55827918375206</c:v>
                </c:pt>
                <c:pt idx="1288">
                  <c:v>-0.19520935523053318</c:v>
                </c:pt>
                <c:pt idx="1289">
                  <c:v>-4.0890572663428548E-2</c:v>
                </c:pt>
                <c:pt idx="1290">
                  <c:v>8.1292109817736158E-2</c:v>
                </c:pt>
                <c:pt idx="1291">
                  <c:v>4.8202949211437929</c:v>
                </c:pt>
                <c:pt idx="1292">
                  <c:v>-0.70355591095771697</c:v>
                </c:pt>
                <c:pt idx="1293">
                  <c:v>-1.2898851244548961</c:v>
                </c:pt>
                <c:pt idx="1294">
                  <c:v>-3.1466528904477249</c:v>
                </c:pt>
                <c:pt idx="1295">
                  <c:v>0.51988488958880719</c:v>
                </c:pt>
                <c:pt idx="1296">
                  <c:v>0.35928351537059128</c:v>
                </c:pt>
                <c:pt idx="1297">
                  <c:v>-0.14247779130736093</c:v>
                </c:pt>
                <c:pt idx="1298">
                  <c:v>0.19118489959491336</c:v>
                </c:pt>
                <c:pt idx="1299">
                  <c:v>0.60151414091633482</c:v>
                </c:pt>
                <c:pt idx="1300">
                  <c:v>8.7926503363490394E-2</c:v>
                </c:pt>
                <c:pt idx="1301">
                  <c:v>2.6029260853069482</c:v>
                </c:pt>
                <c:pt idx="1302">
                  <c:v>-0.44578803182490567</c:v>
                </c:pt>
                <c:pt idx="1303">
                  <c:v>-0.25274376134776655</c:v>
                </c:pt>
                <c:pt idx="1304">
                  <c:v>0.2604824232586207</c:v>
                </c:pt>
                <c:pt idx="1305">
                  <c:v>0.17185913036037492</c:v>
                </c:pt>
                <c:pt idx="1306">
                  <c:v>-0.91077742622376823</c:v>
                </c:pt>
                <c:pt idx="1307">
                  <c:v>-0.61958220612960302</c:v>
                </c:pt>
                <c:pt idx="1308">
                  <c:v>0.25279923771413498</c:v>
                </c:pt>
                <c:pt idx="1309">
                  <c:v>-0.10158982378315951</c:v>
                </c:pt>
                <c:pt idx="1310">
                  <c:v>-2.4820072308240366</c:v>
                </c:pt>
                <c:pt idx="1311">
                  <c:v>-1.2771761229167127</c:v>
                </c:pt>
                <c:pt idx="1312">
                  <c:v>2.3552044727132504</c:v>
                </c:pt>
                <c:pt idx="1313">
                  <c:v>0.16875540320771254</c:v>
                </c:pt>
                <c:pt idx="1314">
                  <c:v>2.8354685213459883</c:v>
                </c:pt>
                <c:pt idx="1315">
                  <c:v>0.28694873293787132</c:v>
                </c:pt>
                <c:pt idx="1316">
                  <c:v>0.3725343396929689</c:v>
                </c:pt>
                <c:pt idx="1317">
                  <c:v>-1.2902272722172246</c:v>
                </c:pt>
                <c:pt idx="1318">
                  <c:v>-0.32712150834001386</c:v>
                </c:pt>
                <c:pt idx="1319">
                  <c:v>-0.23715025802213485</c:v>
                </c:pt>
                <c:pt idx="1320">
                  <c:v>0.44884175747837279</c:v>
                </c:pt>
                <c:pt idx="1321">
                  <c:v>-0.21415451083303261</c:v>
                </c:pt>
                <c:pt idx="1322">
                  <c:v>2.7602534274398054</c:v>
                </c:pt>
                <c:pt idx="1323">
                  <c:v>-2.6461153322899111E-2</c:v>
                </c:pt>
                <c:pt idx="1324">
                  <c:v>0.13779534452170694</c:v>
                </c:pt>
                <c:pt idx="1325">
                  <c:v>0.25916877896439006</c:v>
                </c:pt>
                <c:pt idx="1326">
                  <c:v>-0.22376308267860545</c:v>
                </c:pt>
                <c:pt idx="1327">
                  <c:v>-0.55446393127006788</c:v>
                </c:pt>
                <c:pt idx="1328">
                  <c:v>2.0268604510738619</c:v>
                </c:pt>
                <c:pt idx="1329">
                  <c:v>-0.42913263360545062</c:v>
                </c:pt>
                <c:pt idx="1330">
                  <c:v>-0.24604967082117213</c:v>
                </c:pt>
                <c:pt idx="1331">
                  <c:v>-3.4217515007118116E-2</c:v>
                </c:pt>
                <c:pt idx="1332">
                  <c:v>-0.30576729447915807</c:v>
                </c:pt>
                <c:pt idx="1333">
                  <c:v>-0.24450614660343162</c:v>
                </c:pt>
                <c:pt idx="1334">
                  <c:v>-0.75166751624298289</c:v>
                </c:pt>
                <c:pt idx="1335">
                  <c:v>-0.61695573281840055</c:v>
                </c:pt>
                <c:pt idx="1336">
                  <c:v>0.56477475870649263</c:v>
                </c:pt>
                <c:pt idx="1337">
                  <c:v>-1.212641842184953</c:v>
                </c:pt>
                <c:pt idx="1338">
                  <c:v>-1.2913297851749439</c:v>
                </c:pt>
                <c:pt idx="1339">
                  <c:v>-0.81674954368593689</c:v>
                </c:pt>
                <c:pt idx="1340">
                  <c:v>-2.8468232926009218</c:v>
                </c:pt>
                <c:pt idx="1341">
                  <c:v>-2.4110462769043277</c:v>
                </c:pt>
                <c:pt idx="1342">
                  <c:v>-7.67579843805406E-2</c:v>
                </c:pt>
                <c:pt idx="1343">
                  <c:v>-0.21775249274424646</c:v>
                </c:pt>
                <c:pt idx="1344">
                  <c:v>0.41510480629104479</c:v>
                </c:pt>
                <c:pt idx="1345">
                  <c:v>0.91757450564543142</c:v>
                </c:pt>
                <c:pt idx="1346">
                  <c:v>0.17619195405533417</c:v>
                </c:pt>
                <c:pt idx="1347">
                  <c:v>-0.26478775341924332</c:v>
                </c:pt>
                <c:pt idx="1348">
                  <c:v>1.0336728817154455</c:v>
                </c:pt>
                <c:pt idx="1349">
                  <c:v>-1.9127046771352534</c:v>
                </c:pt>
                <c:pt idx="1350">
                  <c:v>-0.13376882675226409</c:v>
                </c:pt>
                <c:pt idx="1351">
                  <c:v>-0.93175168897431737</c:v>
                </c:pt>
                <c:pt idx="1352">
                  <c:v>2.1593767745910375</c:v>
                </c:pt>
                <c:pt idx="1353">
                  <c:v>0.25702460113506664</c:v>
                </c:pt>
                <c:pt idx="1354">
                  <c:v>0.70669743477785252</c:v>
                </c:pt>
                <c:pt idx="1355">
                  <c:v>0.30330651835318195</c:v>
                </c:pt>
                <c:pt idx="1356">
                  <c:v>-1.334790101297207</c:v>
                </c:pt>
                <c:pt idx="1357">
                  <c:v>6.0564769883822867E-2</c:v>
                </c:pt>
                <c:pt idx="1358">
                  <c:v>0.10507400371852449</c:v>
                </c:pt>
                <c:pt idx="1359">
                  <c:v>0.48882158368541984</c:v>
                </c:pt>
                <c:pt idx="1360">
                  <c:v>-0.3703256913619275</c:v>
                </c:pt>
                <c:pt idx="1361">
                  <c:v>0.43310285174465313</c:v>
                </c:pt>
                <c:pt idx="1362">
                  <c:v>0.20916842511531186</c:v>
                </c:pt>
                <c:pt idx="1363">
                  <c:v>9.2314013291313057E-2</c:v>
                </c:pt>
                <c:pt idx="1364">
                  <c:v>8.2760830421726217E-2</c:v>
                </c:pt>
                <c:pt idx="1365">
                  <c:v>2.8184983924845524</c:v>
                </c:pt>
                <c:pt idx="1366">
                  <c:v>0.69737330228323047</c:v>
                </c:pt>
                <c:pt idx="1367">
                  <c:v>2.532880411129506</c:v>
                </c:pt>
                <c:pt idx="1368">
                  <c:v>-2.9223141499647953</c:v>
                </c:pt>
                <c:pt idx="1369">
                  <c:v>-0.75421761956862832</c:v>
                </c:pt>
                <c:pt idx="1370">
                  <c:v>0.21151538080219034</c:v>
                </c:pt>
                <c:pt idx="1371">
                  <c:v>13.725364962097871</c:v>
                </c:pt>
                <c:pt idx="1372">
                  <c:v>0.52612420594357701</c:v>
                </c:pt>
                <c:pt idx="1373">
                  <c:v>0.20328697865194345</c:v>
                </c:pt>
                <c:pt idx="1374">
                  <c:v>-0.79965394858664984</c:v>
                </c:pt>
                <c:pt idx="1375">
                  <c:v>0.50350343131535613</c:v>
                </c:pt>
                <c:pt idx="1376">
                  <c:v>6.6646529822273148E-2</c:v>
                </c:pt>
                <c:pt idx="1377">
                  <c:v>-0.24089972253324854</c:v>
                </c:pt>
                <c:pt idx="1378">
                  <c:v>0.34156785103743803</c:v>
                </c:pt>
                <c:pt idx="1379">
                  <c:v>-1.5768905217365696</c:v>
                </c:pt>
                <c:pt idx="1380">
                  <c:v>-0.94153503023664764</c:v>
                </c:pt>
                <c:pt idx="1381">
                  <c:v>0.26523260865385195</c:v>
                </c:pt>
                <c:pt idx="1382">
                  <c:v>-0.98850620670182798</c:v>
                </c:pt>
                <c:pt idx="1383">
                  <c:v>-2.0771489235667859</c:v>
                </c:pt>
                <c:pt idx="1384">
                  <c:v>-0.19810802002796146</c:v>
                </c:pt>
                <c:pt idx="1385">
                  <c:v>5.4353806805224392E-2</c:v>
                </c:pt>
                <c:pt idx="1386">
                  <c:v>0.86058000440822946</c:v>
                </c:pt>
                <c:pt idx="1387">
                  <c:v>1.8858448678638382</c:v>
                </c:pt>
                <c:pt idx="1388">
                  <c:v>1.0838307426448988</c:v>
                </c:pt>
                <c:pt idx="1389">
                  <c:v>-0.3417138400018036</c:v>
                </c:pt>
                <c:pt idx="1390">
                  <c:v>-0.76540354877211847</c:v>
                </c:pt>
                <c:pt idx="1391">
                  <c:v>0.4948266301287948</c:v>
                </c:pt>
                <c:pt idx="1392">
                  <c:v>6.3979081650888281E-2</c:v>
                </c:pt>
                <c:pt idx="1393">
                  <c:v>-0.30127964083257108</c:v>
                </c:pt>
                <c:pt idx="1394">
                  <c:v>-2.4820072308240366</c:v>
                </c:pt>
                <c:pt idx="1395">
                  <c:v>-0.25946470702645319</c:v>
                </c:pt>
                <c:pt idx="1396">
                  <c:v>-0.88527319496902379</c:v>
                </c:pt>
                <c:pt idx="1397">
                  <c:v>8.8970589549818735E-2</c:v>
                </c:pt>
                <c:pt idx="1398">
                  <c:v>-1.4820072308240366</c:v>
                </c:pt>
                <c:pt idx="1399">
                  <c:v>0.48958013129598221</c:v>
                </c:pt>
                <c:pt idx="1400">
                  <c:v>-6.2615772510096979E-2</c:v>
                </c:pt>
                <c:pt idx="1401">
                  <c:v>1.2851168157627879</c:v>
                </c:pt>
                <c:pt idx="1402">
                  <c:v>-0.29320614368585884</c:v>
                </c:pt>
                <c:pt idx="1403">
                  <c:v>0.45262669743069889</c:v>
                </c:pt>
                <c:pt idx="1404">
                  <c:v>-2.509883739160168E-2</c:v>
                </c:pt>
                <c:pt idx="1405">
                  <c:v>-3.483513524126014E-2</c:v>
                </c:pt>
                <c:pt idx="1406">
                  <c:v>-1.4067582449858405</c:v>
                </c:pt>
                <c:pt idx="1407">
                  <c:v>0.2308336829291171</c:v>
                </c:pt>
                <c:pt idx="1408">
                  <c:v>-0.79387998646582503</c:v>
                </c:pt>
                <c:pt idx="1409">
                  <c:v>0.16829814860773706</c:v>
                </c:pt>
                <c:pt idx="1410">
                  <c:v>-0.50877622164833269</c:v>
                </c:pt>
                <c:pt idx="1411">
                  <c:v>0.21645913520431609</c:v>
                </c:pt>
                <c:pt idx="1412">
                  <c:v>0.57147509227949778</c:v>
                </c:pt>
                <c:pt idx="1413">
                  <c:v>0.15134312154406859</c:v>
                </c:pt>
                <c:pt idx="1414">
                  <c:v>-0.74521732800195561</c:v>
                </c:pt>
                <c:pt idx="1415">
                  <c:v>-0.90399355918705893</c:v>
                </c:pt>
                <c:pt idx="1416">
                  <c:v>7.7898180485904227</c:v>
                </c:pt>
                <c:pt idx="1417">
                  <c:v>-0.21588413562419984</c:v>
                </c:pt>
                <c:pt idx="1418">
                  <c:v>-0.26274183052257327</c:v>
                </c:pt>
                <c:pt idx="1419">
                  <c:v>-0.16378076716214773</c:v>
                </c:pt>
                <c:pt idx="1420">
                  <c:v>0.21157906688286771</c:v>
                </c:pt>
                <c:pt idx="1421">
                  <c:v>-0.94275649362903824</c:v>
                </c:pt>
                <c:pt idx="1422">
                  <c:v>0.24057081879869407</c:v>
                </c:pt>
                <c:pt idx="1423">
                  <c:v>-2.8453571178228554E-3</c:v>
                </c:pt>
                <c:pt idx="1424">
                  <c:v>0.36246071174484523</c:v>
                </c:pt>
                <c:pt idx="1425">
                  <c:v>-4.2861329079937338E-3</c:v>
                </c:pt>
                <c:pt idx="1426">
                  <c:v>0.44411110231579404</c:v>
                </c:pt>
                <c:pt idx="1427">
                  <c:v>-0.18210585847312066</c:v>
                </c:pt>
                <c:pt idx="1428">
                  <c:v>-0.95018107266359708</c:v>
                </c:pt>
                <c:pt idx="1429">
                  <c:v>-1.8103173462403772</c:v>
                </c:pt>
                <c:pt idx="1430">
                  <c:v>-0.71565309685044198</c:v>
                </c:pt>
                <c:pt idx="1431">
                  <c:v>0.3032142976784859</c:v>
                </c:pt>
                <c:pt idx="1432">
                  <c:v>-0.37842460751618434</c:v>
                </c:pt>
                <c:pt idx="1433">
                  <c:v>5.5165625599316481E-2</c:v>
                </c:pt>
                <c:pt idx="1434">
                  <c:v>0.94775421583304298</c:v>
                </c:pt>
                <c:pt idx="1435">
                  <c:v>0.36246933522166169</c:v>
                </c:pt>
                <c:pt idx="1436">
                  <c:v>0.35776849113074644</c:v>
                </c:pt>
                <c:pt idx="1437">
                  <c:v>0.21834039314773168</c:v>
                </c:pt>
                <c:pt idx="1438">
                  <c:v>0.42429694664556372</c:v>
                </c:pt>
                <c:pt idx="1439">
                  <c:v>0.47748582550079677</c:v>
                </c:pt>
                <c:pt idx="1440">
                  <c:v>0.31635328757023479</c:v>
                </c:pt>
                <c:pt idx="1441">
                  <c:v>0.17601276367079921</c:v>
                </c:pt>
                <c:pt idx="1442">
                  <c:v>0.25699841400277734</c:v>
                </c:pt>
                <c:pt idx="1443">
                  <c:v>2.2074689521661641</c:v>
                </c:pt>
                <c:pt idx="1444">
                  <c:v>-0.17254636013718128</c:v>
                </c:pt>
                <c:pt idx="1445">
                  <c:v>-0.52947683148093372</c:v>
                </c:pt>
                <c:pt idx="1446">
                  <c:v>-0.35868676973665825</c:v>
                </c:pt>
                <c:pt idx="1447">
                  <c:v>-1.9418717182456664</c:v>
                </c:pt>
                <c:pt idx="1448">
                  <c:v>0.50013090485058831</c:v>
                </c:pt>
                <c:pt idx="1449">
                  <c:v>0.64763287998754304</c:v>
                </c:pt>
                <c:pt idx="1450">
                  <c:v>-1.1520608183244847</c:v>
                </c:pt>
                <c:pt idx="1451">
                  <c:v>1.5527449779964215</c:v>
                </c:pt>
                <c:pt idx="1452">
                  <c:v>1.1521057897134979E-2</c:v>
                </c:pt>
                <c:pt idx="1453">
                  <c:v>0.21286092604140033</c:v>
                </c:pt>
                <c:pt idx="1454">
                  <c:v>0.10391195862334723</c:v>
                </c:pt>
                <c:pt idx="1455">
                  <c:v>-0.10936358472800312</c:v>
                </c:pt>
                <c:pt idx="1456">
                  <c:v>0.29915103241301932</c:v>
                </c:pt>
                <c:pt idx="1457">
                  <c:v>0.50421597660915407</c:v>
                </c:pt>
                <c:pt idx="1458">
                  <c:v>0.63225688411845149</c:v>
                </c:pt>
                <c:pt idx="1459">
                  <c:v>-0.570254163582673</c:v>
                </c:pt>
                <c:pt idx="1460">
                  <c:v>1.6829653824042454</c:v>
                </c:pt>
                <c:pt idx="1461">
                  <c:v>-3.0433323731769324E-2</c:v>
                </c:pt>
                <c:pt idx="1462">
                  <c:v>-0.71811495080090726</c:v>
                </c:pt>
                <c:pt idx="1463">
                  <c:v>0.14372821679158065</c:v>
                </c:pt>
                <c:pt idx="1464">
                  <c:v>-1.0114620752822612</c:v>
                </c:pt>
                <c:pt idx="1465">
                  <c:v>0.40666282622213412</c:v>
                </c:pt>
                <c:pt idx="1466">
                  <c:v>-0.7820330240374842</c:v>
                </c:pt>
                <c:pt idx="1467">
                  <c:v>0.51358089836669951</c:v>
                </c:pt>
                <c:pt idx="1468">
                  <c:v>0.11841234335172934</c:v>
                </c:pt>
                <c:pt idx="1469">
                  <c:v>0.19828092585506485</c:v>
                </c:pt>
                <c:pt idx="1470">
                  <c:v>-0.2211311663226978</c:v>
                </c:pt>
                <c:pt idx="1471">
                  <c:v>-0.27919474088583252</c:v>
                </c:pt>
                <c:pt idx="1472">
                  <c:v>-0.82898004731796071</c:v>
                </c:pt>
                <c:pt idx="1473">
                  <c:v>-0.95057276272999736</c:v>
                </c:pt>
                <c:pt idx="1474">
                  <c:v>1.6664107206701639E-2</c:v>
                </c:pt>
                <c:pt idx="1475">
                  <c:v>0.41216224488145164</c:v>
                </c:pt>
                <c:pt idx="1476">
                  <c:v>-0.11025598282087135</c:v>
                </c:pt>
                <c:pt idx="1477">
                  <c:v>-5.0110091039359475</c:v>
                </c:pt>
                <c:pt idx="1478">
                  <c:v>0.27395539929919649</c:v>
                </c:pt>
                <c:pt idx="1479">
                  <c:v>0.17963516942750513</c:v>
                </c:pt>
                <c:pt idx="1480">
                  <c:v>0.1281629934448566</c:v>
                </c:pt>
                <c:pt idx="1481">
                  <c:v>-0.90405293715568513</c:v>
                </c:pt>
                <c:pt idx="1482">
                  <c:v>5.4247017845892476E-2</c:v>
                </c:pt>
                <c:pt idx="1483">
                  <c:v>0.24329457791805059</c:v>
                </c:pt>
                <c:pt idx="1484">
                  <c:v>0.59358977736754348</c:v>
                </c:pt>
                <c:pt idx="1485">
                  <c:v>-0.69643089395269642</c:v>
                </c:pt>
                <c:pt idx="1486">
                  <c:v>-0.23184215870254943</c:v>
                </c:pt>
                <c:pt idx="1487">
                  <c:v>1.2281338311723169</c:v>
                </c:pt>
                <c:pt idx="1488">
                  <c:v>0.298382549354551</c:v>
                </c:pt>
                <c:pt idx="1489">
                  <c:v>-0.31256497068311595</c:v>
                </c:pt>
                <c:pt idx="1490">
                  <c:v>2.3876387191164663</c:v>
                </c:pt>
                <c:pt idx="1491">
                  <c:v>0.31931466977237527</c:v>
                </c:pt>
                <c:pt idx="1492">
                  <c:v>0.21285971483818056</c:v>
                </c:pt>
                <c:pt idx="1493">
                  <c:v>-0.55497827033363345</c:v>
                </c:pt>
                <c:pt idx="1494">
                  <c:v>0.17780371982820042</c:v>
                </c:pt>
                <c:pt idx="1495">
                  <c:v>-1.0491801772785061</c:v>
                </c:pt>
                <c:pt idx="1496">
                  <c:v>0.34211871564548046</c:v>
                </c:pt>
                <c:pt idx="1497">
                  <c:v>0.94490394356026708</c:v>
                </c:pt>
                <c:pt idx="1498">
                  <c:v>3.6627326814083259</c:v>
                </c:pt>
                <c:pt idx="1499">
                  <c:v>-2.1258074962279667</c:v>
                </c:pt>
                <c:pt idx="1500">
                  <c:v>1.2988532649915081</c:v>
                </c:pt>
                <c:pt idx="1501">
                  <c:v>0.10349099418611141</c:v>
                </c:pt>
                <c:pt idx="1502">
                  <c:v>-0.79189630086169771</c:v>
                </c:pt>
                <c:pt idx="1503">
                  <c:v>0.27589330027517311</c:v>
                </c:pt>
                <c:pt idx="1504">
                  <c:v>0.18548594910616767</c:v>
                </c:pt>
                <c:pt idx="1505">
                  <c:v>-1.7607627442942402</c:v>
                </c:pt>
                <c:pt idx="1506">
                  <c:v>0.39708260523516142</c:v>
                </c:pt>
                <c:pt idx="1507">
                  <c:v>-0.62248292179761622</c:v>
                </c:pt>
                <c:pt idx="1508">
                  <c:v>1.2307869230352151</c:v>
                </c:pt>
                <c:pt idx="1509">
                  <c:v>0.35582490886222179</c:v>
                </c:pt>
                <c:pt idx="1510">
                  <c:v>1.1529637525508809</c:v>
                </c:pt>
                <c:pt idx="1511">
                  <c:v>-4.3042883202595084E-2</c:v>
                </c:pt>
                <c:pt idx="1512">
                  <c:v>-2.6249583940343948</c:v>
                </c:pt>
                <c:pt idx="1513">
                  <c:v>0.4716550046278345</c:v>
                </c:pt>
                <c:pt idx="1514">
                  <c:v>-0.70458463666614879</c:v>
                </c:pt>
                <c:pt idx="1515">
                  <c:v>7.3388721887642561E-2</c:v>
                </c:pt>
                <c:pt idx="1516">
                  <c:v>0.2510801293581098</c:v>
                </c:pt>
                <c:pt idx="1517">
                  <c:v>9.4496098638573667E-2</c:v>
                </c:pt>
                <c:pt idx="1518">
                  <c:v>-0.19946116281643644</c:v>
                </c:pt>
                <c:pt idx="1519">
                  <c:v>0.20681742812654635</c:v>
                </c:pt>
                <c:pt idx="1520">
                  <c:v>0.63797680945576996</c:v>
                </c:pt>
                <c:pt idx="1521">
                  <c:v>0.5635391969156196</c:v>
                </c:pt>
                <c:pt idx="1522">
                  <c:v>-0.23060712064732614</c:v>
                </c:pt>
                <c:pt idx="1523">
                  <c:v>-0.6906372802721199</c:v>
                </c:pt>
                <c:pt idx="1524">
                  <c:v>-0.97395171595769359</c:v>
                </c:pt>
                <c:pt idx="1525">
                  <c:v>7.5678555307112094E-2</c:v>
                </c:pt>
                <c:pt idx="1526">
                  <c:v>0.29025299685949657</c:v>
                </c:pt>
                <c:pt idx="1527">
                  <c:v>0.67503100934015947</c:v>
                </c:pt>
                <c:pt idx="1528">
                  <c:v>0.58655436929009341</c:v>
                </c:pt>
                <c:pt idx="1529">
                  <c:v>9.0960337759831145E-2</c:v>
                </c:pt>
                <c:pt idx="1530">
                  <c:v>-3.1615468514709866E-2</c:v>
                </c:pt>
                <c:pt idx="1531">
                  <c:v>0.35944788604307548</c:v>
                </c:pt>
                <c:pt idx="1532">
                  <c:v>-0.73115646982322779</c:v>
                </c:pt>
                <c:pt idx="1533">
                  <c:v>0.23358846190578569</c:v>
                </c:pt>
                <c:pt idx="1534">
                  <c:v>0.39706909101161109</c:v>
                </c:pt>
                <c:pt idx="1535">
                  <c:v>0.73052320749048483</c:v>
                </c:pt>
                <c:pt idx="1536">
                  <c:v>0.47626010080753134</c:v>
                </c:pt>
                <c:pt idx="1537">
                  <c:v>0.5526013532733618</c:v>
                </c:pt>
                <c:pt idx="1538">
                  <c:v>0.22460215598906624</c:v>
                </c:pt>
                <c:pt idx="1539">
                  <c:v>0.27765112603552006</c:v>
                </c:pt>
                <c:pt idx="1540">
                  <c:v>0.57194057145702559</c:v>
                </c:pt>
                <c:pt idx="1541">
                  <c:v>-9.1250681232198261E-2</c:v>
                </c:pt>
                <c:pt idx="1542">
                  <c:v>1.2911065542519069</c:v>
                </c:pt>
                <c:pt idx="1543">
                  <c:v>-0.16168199703424646</c:v>
                </c:pt>
                <c:pt idx="1544">
                  <c:v>-0.8464286892539119</c:v>
                </c:pt>
                <c:pt idx="1545">
                  <c:v>3.7868467544531614</c:v>
                </c:pt>
                <c:pt idx="1546">
                  <c:v>-0.18643783920582213</c:v>
                </c:pt>
                <c:pt idx="1547">
                  <c:v>0.50311772232034468</c:v>
                </c:pt>
                <c:pt idx="1548">
                  <c:v>-0.46986957545072738</c:v>
                </c:pt>
                <c:pt idx="1549">
                  <c:v>-0.13510863509478632</c:v>
                </c:pt>
                <c:pt idx="1550">
                  <c:v>-10.961122132640455</c:v>
                </c:pt>
                <c:pt idx="1551">
                  <c:v>-0.13041115384554514</c:v>
                </c:pt>
                <c:pt idx="1552">
                  <c:v>-0.58244059345689969</c:v>
                </c:pt>
                <c:pt idx="1553">
                  <c:v>0.53618759305968655</c:v>
                </c:pt>
                <c:pt idx="1554">
                  <c:v>-0.81761699804828747</c:v>
                </c:pt>
                <c:pt idx="1555">
                  <c:v>0.18634200220228148</c:v>
                </c:pt>
                <c:pt idx="1556">
                  <c:v>0.47088559805713071</c:v>
                </c:pt>
                <c:pt idx="1557">
                  <c:v>-0.72458322401548592</c:v>
                </c:pt>
                <c:pt idx="1558">
                  <c:v>-0.57284440990958041</c:v>
                </c:pt>
                <c:pt idx="1559">
                  <c:v>0.30813498603286676</c:v>
                </c:pt>
                <c:pt idx="1560">
                  <c:v>0.38560994570045254</c:v>
                </c:pt>
                <c:pt idx="1561">
                  <c:v>-2.0049071112558643</c:v>
                </c:pt>
                <c:pt idx="1562">
                  <c:v>-0.24277027722560418</c:v>
                </c:pt>
                <c:pt idx="1563">
                  <c:v>6.349590585146625E-2</c:v>
                </c:pt>
                <c:pt idx="1564">
                  <c:v>-0.32369067258033013</c:v>
                </c:pt>
                <c:pt idx="1565">
                  <c:v>0.269746576901079</c:v>
                </c:pt>
                <c:pt idx="1566">
                  <c:v>-1.1302055410541803</c:v>
                </c:pt>
                <c:pt idx="1567">
                  <c:v>-0.52434531146168561</c:v>
                </c:pt>
                <c:pt idx="1568">
                  <c:v>0.22621327385282497</c:v>
                </c:pt>
                <c:pt idx="1569">
                  <c:v>-0.27596980956631889</c:v>
                </c:pt>
                <c:pt idx="1570">
                  <c:v>0.14717247743187367</c:v>
                </c:pt>
                <c:pt idx="1571">
                  <c:v>4.2713977050469309E-2</c:v>
                </c:pt>
                <c:pt idx="1572">
                  <c:v>-0.46042670877699465</c:v>
                </c:pt>
                <c:pt idx="1573">
                  <c:v>0.4551708551784</c:v>
                </c:pt>
                <c:pt idx="1574">
                  <c:v>0.58767453160999628</c:v>
                </c:pt>
                <c:pt idx="1575">
                  <c:v>-2.2491740755683347</c:v>
                </c:pt>
                <c:pt idx="1576">
                  <c:v>0.50830026990976207</c:v>
                </c:pt>
                <c:pt idx="1577">
                  <c:v>0.66780265006235184</c:v>
                </c:pt>
                <c:pt idx="1578">
                  <c:v>0.1336868199039889</c:v>
                </c:pt>
                <c:pt idx="1579">
                  <c:v>0.51522442619126596</c:v>
                </c:pt>
                <c:pt idx="1580">
                  <c:v>-1.0732191798867321</c:v>
                </c:pt>
                <c:pt idx="1581">
                  <c:v>5.6460638657753686</c:v>
                </c:pt>
                <c:pt idx="1582">
                  <c:v>1.5355347785927274</c:v>
                </c:pt>
                <c:pt idx="1583">
                  <c:v>-0.60463566345349884</c:v>
                </c:pt>
                <c:pt idx="1584">
                  <c:v>0.43357278815352795</c:v>
                </c:pt>
                <c:pt idx="1585">
                  <c:v>-3.2243515060113905</c:v>
                </c:pt>
                <c:pt idx="1586">
                  <c:v>1.4576684281147112E-2</c:v>
                </c:pt>
                <c:pt idx="1587">
                  <c:v>0.27318350263005681</c:v>
                </c:pt>
                <c:pt idx="1588">
                  <c:v>-0.33504237124556702</c:v>
                </c:pt>
                <c:pt idx="1589">
                  <c:v>0.36931789163113654</c:v>
                </c:pt>
                <c:pt idx="1590">
                  <c:v>5.4684354441672243</c:v>
                </c:pt>
                <c:pt idx="1591">
                  <c:v>2.3562345614833591</c:v>
                </c:pt>
                <c:pt idx="1592">
                  <c:v>-1.8025065722789764</c:v>
                </c:pt>
                <c:pt idx="1593">
                  <c:v>-1.7575759553186696</c:v>
                </c:pt>
                <c:pt idx="1594">
                  <c:v>-3.7860549224548805</c:v>
                </c:pt>
                <c:pt idx="1595">
                  <c:v>0.40126834543265977</c:v>
                </c:pt>
                <c:pt idx="1596">
                  <c:v>0.49924615595330385</c:v>
                </c:pt>
                <c:pt idx="1597">
                  <c:v>0.53031471523911955</c:v>
                </c:pt>
                <c:pt idx="1598">
                  <c:v>-1.4905082407313062</c:v>
                </c:pt>
                <c:pt idx="1599">
                  <c:v>0.3372697663017673</c:v>
                </c:pt>
                <c:pt idx="1600">
                  <c:v>0.48603739737149432</c:v>
                </c:pt>
                <c:pt idx="1601">
                  <c:v>0.27821056895664908</c:v>
                </c:pt>
                <c:pt idx="1602">
                  <c:v>0.12093334318397631</c:v>
                </c:pt>
                <c:pt idx="1603">
                  <c:v>-1.6222384530302407</c:v>
                </c:pt>
                <c:pt idx="1604">
                  <c:v>0.70116561264031629</c:v>
                </c:pt>
                <c:pt idx="1605">
                  <c:v>0.35838393950854219</c:v>
                </c:pt>
                <c:pt idx="1606">
                  <c:v>-2.4201330677389539</c:v>
                </c:pt>
                <c:pt idx="1607">
                  <c:v>-0.11605957063049455</c:v>
                </c:pt>
                <c:pt idx="1608">
                  <c:v>1.6734837087688561</c:v>
                </c:pt>
                <c:pt idx="1609">
                  <c:v>-0.44247311839452075</c:v>
                </c:pt>
                <c:pt idx="1610">
                  <c:v>-0.63301384302685593</c:v>
                </c:pt>
                <c:pt idx="1611">
                  <c:v>-0.35493213085284436</c:v>
                </c:pt>
                <c:pt idx="1612">
                  <c:v>-9.2716734777644874</c:v>
                </c:pt>
                <c:pt idx="1613">
                  <c:v>0.31491381485099307</c:v>
                </c:pt>
                <c:pt idx="1614">
                  <c:v>0.36018108706603513</c:v>
                </c:pt>
                <c:pt idx="1615">
                  <c:v>0.28784457365226651</c:v>
                </c:pt>
                <c:pt idx="1616">
                  <c:v>0.64428205539738082</c:v>
                </c:pt>
                <c:pt idx="1617">
                  <c:v>-0.25105333341016278</c:v>
                </c:pt>
                <c:pt idx="1618">
                  <c:v>0.25371256142682874</c:v>
                </c:pt>
                <c:pt idx="1619">
                  <c:v>-0.31998281678161256</c:v>
                </c:pt>
                <c:pt idx="1620">
                  <c:v>-1.5048486401543402</c:v>
                </c:pt>
                <c:pt idx="1621">
                  <c:v>-0.38964048229800929</c:v>
                </c:pt>
                <c:pt idx="1622">
                  <c:v>0.4904355156021683</c:v>
                </c:pt>
                <c:pt idx="1623">
                  <c:v>-2.9386729329597303</c:v>
                </c:pt>
                <c:pt idx="1624">
                  <c:v>-0.27105841677357512</c:v>
                </c:pt>
                <c:pt idx="1625">
                  <c:v>-0.27631499039610719</c:v>
                </c:pt>
                <c:pt idx="1626">
                  <c:v>0.13839969141210673</c:v>
                </c:pt>
                <c:pt idx="1627">
                  <c:v>0.61662854523787614</c:v>
                </c:pt>
                <c:pt idx="1628">
                  <c:v>-0.12746695738763036</c:v>
                </c:pt>
                <c:pt idx="1629">
                  <c:v>-8.308789680209494E-2</c:v>
                </c:pt>
                <c:pt idx="1630">
                  <c:v>-0.46424526505820585</c:v>
                </c:pt>
                <c:pt idx="1631">
                  <c:v>0.23721631774551677</c:v>
                </c:pt>
                <c:pt idx="1632">
                  <c:v>4.5727254838071607E-2</c:v>
                </c:pt>
                <c:pt idx="1633">
                  <c:v>-4.5559128771253672</c:v>
                </c:pt>
                <c:pt idx="1634">
                  <c:v>-1.3321333611048276</c:v>
                </c:pt>
                <c:pt idx="1635">
                  <c:v>0.42232799680141947</c:v>
                </c:pt>
                <c:pt idx="1636">
                  <c:v>0.48775534771086826</c:v>
                </c:pt>
                <c:pt idx="1637">
                  <c:v>-0.10372258507069354</c:v>
                </c:pt>
                <c:pt idx="1638">
                  <c:v>0.35437966540029409</c:v>
                </c:pt>
                <c:pt idx="1639">
                  <c:v>-1.7871088955232959</c:v>
                </c:pt>
                <c:pt idx="1640">
                  <c:v>-0.22050320536599344</c:v>
                </c:pt>
                <c:pt idx="1641">
                  <c:v>-1.8619887527333634</c:v>
                </c:pt>
                <c:pt idx="1642">
                  <c:v>1.1333355056958201</c:v>
                </c:pt>
                <c:pt idx="1643">
                  <c:v>0.10164792804952771</c:v>
                </c:pt>
                <c:pt idx="1644">
                  <c:v>0.17873055380662339</c:v>
                </c:pt>
                <c:pt idx="1645">
                  <c:v>3.8569609520701653E-2</c:v>
                </c:pt>
                <c:pt idx="1646">
                  <c:v>-1.5565199596147594</c:v>
                </c:pt>
                <c:pt idx="1647">
                  <c:v>-1.8077048099061113</c:v>
                </c:pt>
                <c:pt idx="1648">
                  <c:v>0.10895176555067476</c:v>
                </c:pt>
                <c:pt idx="1649">
                  <c:v>0.58917485218121268</c:v>
                </c:pt>
                <c:pt idx="1650">
                  <c:v>0.73555006348837426</c:v>
                </c:pt>
                <c:pt idx="1651">
                  <c:v>0.80817479975217332</c:v>
                </c:pt>
                <c:pt idx="1652">
                  <c:v>-0.67966913083340419</c:v>
                </c:pt>
                <c:pt idx="1653">
                  <c:v>-0.3294368067008826</c:v>
                </c:pt>
                <c:pt idx="1654">
                  <c:v>-4.2430720304192038E-2</c:v>
                </c:pt>
                <c:pt idx="1655">
                  <c:v>0.48456906126853749</c:v>
                </c:pt>
                <c:pt idx="1656">
                  <c:v>1.7610265337719151</c:v>
                </c:pt>
                <c:pt idx="1657">
                  <c:v>0.48563395307344798</c:v>
                </c:pt>
                <c:pt idx="1658">
                  <c:v>0.53911029170350344</c:v>
                </c:pt>
                <c:pt idx="1659">
                  <c:v>5.972999702039028E-2</c:v>
                </c:pt>
                <c:pt idx="1660">
                  <c:v>0.26354597795063089</c:v>
                </c:pt>
                <c:pt idx="1661">
                  <c:v>1.708480213061681</c:v>
                </c:pt>
                <c:pt idx="1662">
                  <c:v>0.3589146713529478</c:v>
                </c:pt>
                <c:pt idx="1663">
                  <c:v>-4.3817357649342803E-3</c:v>
                </c:pt>
                <c:pt idx="1664">
                  <c:v>0.57275906439534396</c:v>
                </c:pt>
                <c:pt idx="1665">
                  <c:v>0.65821040649331908</c:v>
                </c:pt>
                <c:pt idx="1666">
                  <c:v>7.725767177961218E-2</c:v>
                </c:pt>
                <c:pt idx="1667">
                  <c:v>0.3977319310395423</c:v>
                </c:pt>
                <c:pt idx="1668">
                  <c:v>0.53785683900771075</c:v>
                </c:pt>
                <c:pt idx="1669">
                  <c:v>0.58842221872016764</c:v>
                </c:pt>
                <c:pt idx="1670">
                  <c:v>0.55439284777903752</c:v>
                </c:pt>
                <c:pt idx="1671">
                  <c:v>0.38390146498784905</c:v>
                </c:pt>
                <c:pt idx="1672">
                  <c:v>0.53959331277836242</c:v>
                </c:pt>
                <c:pt idx="1673">
                  <c:v>0.40715321847187774</c:v>
                </c:pt>
                <c:pt idx="1674">
                  <c:v>0.49771941616295368</c:v>
                </c:pt>
                <c:pt idx="1675">
                  <c:v>0.45363392048989032</c:v>
                </c:pt>
                <c:pt idx="1676">
                  <c:v>3.4773635772975986E-2</c:v>
                </c:pt>
                <c:pt idx="1677">
                  <c:v>-0.47923452380155696</c:v>
                </c:pt>
                <c:pt idx="1678">
                  <c:v>-0.42454748887154325</c:v>
                </c:pt>
                <c:pt idx="1679">
                  <c:v>2.3294161104780775E-2</c:v>
                </c:pt>
                <c:pt idx="1680">
                  <c:v>0.76507968556652151</c:v>
                </c:pt>
                <c:pt idx="1681">
                  <c:v>1.7206980519150012</c:v>
                </c:pt>
                <c:pt idx="1682">
                  <c:v>-0.98030308751220518</c:v>
                </c:pt>
                <c:pt idx="1683">
                  <c:v>-0.12193432206881671</c:v>
                </c:pt>
                <c:pt idx="1684">
                  <c:v>-0.30275124615484938</c:v>
                </c:pt>
                <c:pt idx="1685">
                  <c:v>0.14247451266837308</c:v>
                </c:pt>
                <c:pt idx="1686">
                  <c:v>0.29706450882398722</c:v>
                </c:pt>
                <c:pt idx="1687">
                  <c:v>5.5669188007361425E-2</c:v>
                </c:pt>
                <c:pt idx="1688">
                  <c:v>0.3590627040786068</c:v>
                </c:pt>
                <c:pt idx="1689">
                  <c:v>3.4206867519342818</c:v>
                </c:pt>
                <c:pt idx="1690">
                  <c:v>3.8589782707861211</c:v>
                </c:pt>
                <c:pt idx="1691">
                  <c:v>0.83237034087200612</c:v>
                </c:pt>
                <c:pt idx="1692">
                  <c:v>0.19157489252626303</c:v>
                </c:pt>
                <c:pt idx="1693">
                  <c:v>-1.7216044055190265</c:v>
                </c:pt>
                <c:pt idx="1694">
                  <c:v>0.38958834212553733</c:v>
                </c:pt>
                <c:pt idx="1695">
                  <c:v>0.3576690419178723</c:v>
                </c:pt>
                <c:pt idx="1696">
                  <c:v>0.46656332870832939</c:v>
                </c:pt>
                <c:pt idx="1697">
                  <c:v>0.5547522221699106</c:v>
                </c:pt>
                <c:pt idx="1698">
                  <c:v>0.35315117171057187</c:v>
                </c:pt>
                <c:pt idx="1699">
                  <c:v>0.6057188872892455</c:v>
                </c:pt>
                <c:pt idx="1700">
                  <c:v>0.49263890458769821</c:v>
                </c:pt>
                <c:pt idx="1701">
                  <c:v>0.30916954940585617</c:v>
                </c:pt>
                <c:pt idx="1702">
                  <c:v>0.25649223259489295</c:v>
                </c:pt>
                <c:pt idx="1703">
                  <c:v>-0.2067593826520141</c:v>
                </c:pt>
                <c:pt idx="1704">
                  <c:v>2.0772610066278063E-2</c:v>
                </c:pt>
                <c:pt idx="1705">
                  <c:v>0.28942280287610056</c:v>
                </c:pt>
                <c:pt idx="1706">
                  <c:v>0.58193254593459243</c:v>
                </c:pt>
                <c:pt idx="1707">
                  <c:v>0.50406889157144341</c:v>
                </c:pt>
                <c:pt idx="1708">
                  <c:v>0.19435608588692288</c:v>
                </c:pt>
                <c:pt idx="1709">
                  <c:v>1.023054915617263</c:v>
                </c:pt>
                <c:pt idx="1710">
                  <c:v>0.10440559767134272</c:v>
                </c:pt>
                <c:pt idx="1711">
                  <c:v>0.16167575357552699</c:v>
                </c:pt>
                <c:pt idx="1712">
                  <c:v>0.48195628559471315</c:v>
                </c:pt>
                <c:pt idx="1713">
                  <c:v>0.21118000805915416</c:v>
                </c:pt>
                <c:pt idx="1714">
                  <c:v>0.35041093200768353</c:v>
                </c:pt>
                <c:pt idx="1715">
                  <c:v>0.13782686239870612</c:v>
                </c:pt>
                <c:pt idx="1716">
                  <c:v>-0.26493005891849974</c:v>
                </c:pt>
                <c:pt idx="1717">
                  <c:v>-0.54906383929761327</c:v>
                </c:pt>
                <c:pt idx="1718">
                  <c:v>4.7442807579444128</c:v>
                </c:pt>
                <c:pt idx="1719">
                  <c:v>0.51554156802915141</c:v>
                </c:pt>
                <c:pt idx="1720">
                  <c:v>2.8495512563746384E-2</c:v>
                </c:pt>
                <c:pt idx="1721">
                  <c:v>-6.6353690700696077E-2</c:v>
                </c:pt>
                <c:pt idx="1722">
                  <c:v>0.29471250931325826</c:v>
                </c:pt>
                <c:pt idx="1723">
                  <c:v>0.40220634056763627</c:v>
                </c:pt>
                <c:pt idx="1724">
                  <c:v>1.0456964952011378</c:v>
                </c:pt>
                <c:pt idx="1725">
                  <c:v>0.28845763105204952</c:v>
                </c:pt>
                <c:pt idx="1726">
                  <c:v>0.10219022236732223</c:v>
                </c:pt>
                <c:pt idx="1727">
                  <c:v>0.52164836763084654</c:v>
                </c:pt>
                <c:pt idx="1728">
                  <c:v>1.8653299316790632</c:v>
                </c:pt>
                <c:pt idx="1729">
                  <c:v>0.61630733704506913</c:v>
                </c:pt>
                <c:pt idx="1730">
                  <c:v>0.28474964964682137</c:v>
                </c:pt>
                <c:pt idx="1731">
                  <c:v>-2.7855535149755362E-2</c:v>
                </c:pt>
                <c:pt idx="1732">
                  <c:v>-0.40475475123555782</c:v>
                </c:pt>
                <c:pt idx="1733">
                  <c:v>-1.0166397449829259</c:v>
                </c:pt>
                <c:pt idx="1734">
                  <c:v>0.48102667140929861</c:v>
                </c:pt>
                <c:pt idx="1735">
                  <c:v>-1.0755834791228986</c:v>
                </c:pt>
                <c:pt idx="1736">
                  <c:v>0.23015226144819706</c:v>
                </c:pt>
                <c:pt idx="1737">
                  <c:v>0.33905290645116531</c:v>
                </c:pt>
                <c:pt idx="1738">
                  <c:v>0.44368542603210026</c:v>
                </c:pt>
                <c:pt idx="1739">
                  <c:v>-0.44793241987573551</c:v>
                </c:pt>
                <c:pt idx="1740">
                  <c:v>-0.11991129521977584</c:v>
                </c:pt>
                <c:pt idx="1741">
                  <c:v>-1.982191267176638</c:v>
                </c:pt>
                <c:pt idx="1742">
                  <c:v>-0.28455721621903041</c:v>
                </c:pt>
                <c:pt idx="1743">
                  <c:v>6.2985609737234327E-2</c:v>
                </c:pt>
                <c:pt idx="1744">
                  <c:v>-0.83888163847501729</c:v>
                </c:pt>
                <c:pt idx="1745">
                  <c:v>2.0195413466099743</c:v>
                </c:pt>
                <c:pt idx="1746">
                  <c:v>-1.2902706133437223</c:v>
                </c:pt>
                <c:pt idx="1747">
                  <c:v>-0.80530508028526526</c:v>
                </c:pt>
                <c:pt idx="1748">
                  <c:v>-1.4820072308240366</c:v>
                </c:pt>
                <c:pt idx="1749">
                  <c:v>-5.8910327807778637</c:v>
                </c:pt>
                <c:pt idx="1750">
                  <c:v>-1.9576959085348338</c:v>
                </c:pt>
                <c:pt idx="1751">
                  <c:v>0.24862378505263028</c:v>
                </c:pt>
                <c:pt idx="1752">
                  <c:v>0.72647259018791943</c:v>
                </c:pt>
                <c:pt idx="1753">
                  <c:v>-3.6646185544591221</c:v>
                </c:pt>
                <c:pt idx="1754">
                  <c:v>-4.8895232655154386E-2</c:v>
                </c:pt>
                <c:pt idx="1755">
                  <c:v>0.27777201020563824</c:v>
                </c:pt>
                <c:pt idx="1756">
                  <c:v>0.24714617272860684</c:v>
                </c:pt>
                <c:pt idx="1757">
                  <c:v>-0.28984313915710835</c:v>
                </c:pt>
                <c:pt idx="1758">
                  <c:v>0.35322083160992412</c:v>
                </c:pt>
                <c:pt idx="1759">
                  <c:v>0.25783448993713898</c:v>
                </c:pt>
                <c:pt idx="1760">
                  <c:v>-0.84980741843650298</c:v>
                </c:pt>
                <c:pt idx="1761">
                  <c:v>-0.91353180388360156</c:v>
                </c:pt>
                <c:pt idx="1762">
                  <c:v>-1.1131007236905197</c:v>
                </c:pt>
                <c:pt idx="1763">
                  <c:v>-1.4820072308240366</c:v>
                </c:pt>
                <c:pt idx="1764">
                  <c:v>0.2735478499650878</c:v>
                </c:pt>
                <c:pt idx="1765">
                  <c:v>0.4822644413200875</c:v>
                </c:pt>
                <c:pt idx="1766">
                  <c:v>0.84851439430701792</c:v>
                </c:pt>
                <c:pt idx="1767">
                  <c:v>-3.0069661026656442</c:v>
                </c:pt>
                <c:pt idx="1768">
                  <c:v>-0.25399314362361991</c:v>
                </c:pt>
                <c:pt idx="1769">
                  <c:v>0.58808389895772029</c:v>
                </c:pt>
                <c:pt idx="1770">
                  <c:v>-0.18109468510242988</c:v>
                </c:pt>
                <c:pt idx="1771">
                  <c:v>0.64195460874074439</c:v>
                </c:pt>
                <c:pt idx="1772">
                  <c:v>-0.19412235308866499</c:v>
                </c:pt>
                <c:pt idx="1773">
                  <c:v>1.5820466691751744E-2</c:v>
                </c:pt>
                <c:pt idx="1774">
                  <c:v>-0.19822443663352018</c:v>
                </c:pt>
                <c:pt idx="1775">
                  <c:v>-0.51604330635330098</c:v>
                </c:pt>
                <c:pt idx="1776">
                  <c:v>-1.9658857915216057</c:v>
                </c:pt>
                <c:pt idx="1777">
                  <c:v>-2.2061017929260123</c:v>
                </c:pt>
                <c:pt idx="1778">
                  <c:v>-4.8862556623125277</c:v>
                </c:pt>
                <c:pt idx="1779">
                  <c:v>-5.1092459460302813</c:v>
                </c:pt>
                <c:pt idx="1780">
                  <c:v>1.9448295806074203</c:v>
                </c:pt>
                <c:pt idx="1781">
                  <c:v>0.37926426423145254</c:v>
                </c:pt>
                <c:pt idx="1782">
                  <c:v>-2.7879128878689747</c:v>
                </c:pt>
                <c:pt idx="1783">
                  <c:v>-0.30927190253416703</c:v>
                </c:pt>
                <c:pt idx="1784">
                  <c:v>-0.6741683743798379</c:v>
                </c:pt>
                <c:pt idx="1785">
                  <c:v>-2.2822871047904711</c:v>
                </c:pt>
                <c:pt idx="1786">
                  <c:v>-0.65431388636765941</c:v>
                </c:pt>
                <c:pt idx="1787">
                  <c:v>-1.259511512714151E-2</c:v>
                </c:pt>
                <c:pt idx="1788">
                  <c:v>-1.8670286942745586</c:v>
                </c:pt>
                <c:pt idx="1789">
                  <c:v>0.18456542894665073</c:v>
                </c:pt>
                <c:pt idx="1790">
                  <c:v>0.40849556526426173</c:v>
                </c:pt>
                <c:pt idx="1791">
                  <c:v>0.9141089267542446</c:v>
                </c:pt>
                <c:pt idx="1792">
                  <c:v>-1.2652862139817267</c:v>
                </c:pt>
                <c:pt idx="1793">
                  <c:v>-0.7706271990314062</c:v>
                </c:pt>
                <c:pt idx="1794">
                  <c:v>-0.14469870933224072</c:v>
                </c:pt>
                <c:pt idx="1795">
                  <c:v>-1.9287434800636003</c:v>
                </c:pt>
                <c:pt idx="1796">
                  <c:v>2.032256209111106</c:v>
                </c:pt>
                <c:pt idx="1797">
                  <c:v>-0.6236591001217926</c:v>
                </c:pt>
                <c:pt idx="1798">
                  <c:v>-0.78704699119266452</c:v>
                </c:pt>
                <c:pt idx="1799">
                  <c:v>0.40425465444231895</c:v>
                </c:pt>
                <c:pt idx="1800">
                  <c:v>0.58689769826026805</c:v>
                </c:pt>
                <c:pt idx="1801">
                  <c:v>-4.1246950194744141</c:v>
                </c:pt>
                <c:pt idx="1802">
                  <c:v>-3.5884676043056327</c:v>
                </c:pt>
                <c:pt idx="1803">
                  <c:v>-0.39912433889308274</c:v>
                </c:pt>
                <c:pt idx="1804">
                  <c:v>-1.1561736824826809</c:v>
                </c:pt>
                <c:pt idx="1805">
                  <c:v>-1.5349926227031996</c:v>
                </c:pt>
                <c:pt idx="1806">
                  <c:v>-0.18052768727099766</c:v>
                </c:pt>
                <c:pt idx="1807">
                  <c:v>0.19786752116327477</c:v>
                </c:pt>
                <c:pt idx="1808">
                  <c:v>-1.0165689432197969</c:v>
                </c:pt>
                <c:pt idx="1809">
                  <c:v>21.667785560913781</c:v>
                </c:pt>
                <c:pt idx="1810">
                  <c:v>-1.0073098344929039</c:v>
                </c:pt>
                <c:pt idx="1811">
                  <c:v>-1.5392751382797174</c:v>
                </c:pt>
                <c:pt idx="1812">
                  <c:v>0.17996213715246334</c:v>
                </c:pt>
                <c:pt idx="1813">
                  <c:v>-9.2467025856028284E-2</c:v>
                </c:pt>
                <c:pt idx="1814">
                  <c:v>6.2057968289998211E-2</c:v>
                </c:pt>
                <c:pt idx="1815">
                  <c:v>5.0501053978016963E-2</c:v>
                </c:pt>
                <c:pt idx="1816">
                  <c:v>0.32852699926479551</c:v>
                </c:pt>
                <c:pt idx="1817">
                  <c:v>-0.82598580306918001</c:v>
                </c:pt>
                <c:pt idx="1818">
                  <c:v>8.6071512995145039E-2</c:v>
                </c:pt>
                <c:pt idx="1819">
                  <c:v>0.25121432148809336</c:v>
                </c:pt>
                <c:pt idx="1820">
                  <c:v>-0.9230121607127586</c:v>
                </c:pt>
                <c:pt idx="1821">
                  <c:v>-1.195853357542918</c:v>
                </c:pt>
                <c:pt idx="1822">
                  <c:v>-4.6597598390046908</c:v>
                </c:pt>
                <c:pt idx="1823">
                  <c:v>0.50611853829803555</c:v>
                </c:pt>
                <c:pt idx="1824">
                  <c:v>-0.66101202390860525</c:v>
                </c:pt>
                <c:pt idx="1825">
                  <c:v>0.39957624783061135</c:v>
                </c:pt>
                <c:pt idx="1826">
                  <c:v>-2.2808442675821086</c:v>
                </c:pt>
                <c:pt idx="1827">
                  <c:v>0.16092345044442791</c:v>
                </c:pt>
                <c:pt idx="1828">
                  <c:v>-1.6594715614278428</c:v>
                </c:pt>
                <c:pt idx="1829">
                  <c:v>-0.66226162068537597</c:v>
                </c:pt>
                <c:pt idx="1830">
                  <c:v>-0.83121198782050842</c:v>
                </c:pt>
                <c:pt idx="1831">
                  <c:v>-0.42326209357632782</c:v>
                </c:pt>
                <c:pt idx="1832">
                  <c:v>-0.6449129847738222</c:v>
                </c:pt>
                <c:pt idx="1833">
                  <c:v>-0.32993358859156441</c:v>
                </c:pt>
                <c:pt idx="1834">
                  <c:v>-1.7956519476254873E-2</c:v>
                </c:pt>
                <c:pt idx="1835">
                  <c:v>-0.18985614721824151</c:v>
                </c:pt>
                <c:pt idx="1836">
                  <c:v>-0.63928019991658291</c:v>
                </c:pt>
                <c:pt idx="1837">
                  <c:v>-1.0504897853203858</c:v>
                </c:pt>
                <c:pt idx="1838">
                  <c:v>-0.11969830070591958</c:v>
                </c:pt>
                <c:pt idx="1839">
                  <c:v>2.0580170848995993</c:v>
                </c:pt>
                <c:pt idx="1840">
                  <c:v>-8.1608391519745971E-2</c:v>
                </c:pt>
                <c:pt idx="1841">
                  <c:v>0.17122754875918933</c:v>
                </c:pt>
                <c:pt idx="1842">
                  <c:v>1.6091708325113698</c:v>
                </c:pt>
                <c:pt idx="1843">
                  <c:v>-0.57005836448332747</c:v>
                </c:pt>
                <c:pt idx="1844">
                  <c:v>-0.17301247832365618</c:v>
                </c:pt>
                <c:pt idx="1845">
                  <c:v>0.63942322137475904</c:v>
                </c:pt>
                <c:pt idx="1846">
                  <c:v>0.45502705562008211</c:v>
                </c:pt>
                <c:pt idx="1847">
                  <c:v>-2.1561396448334627</c:v>
                </c:pt>
                <c:pt idx="1848">
                  <c:v>-2.4820072308240366</c:v>
                </c:pt>
                <c:pt idx="1849">
                  <c:v>-0.39653186598301082</c:v>
                </c:pt>
                <c:pt idx="1850">
                  <c:v>-1.3470738975493113</c:v>
                </c:pt>
                <c:pt idx="1851">
                  <c:v>-1.6072564260127638</c:v>
                </c:pt>
                <c:pt idx="1852">
                  <c:v>-1.6169867733421386</c:v>
                </c:pt>
                <c:pt idx="1853">
                  <c:v>5.29186301101775E-2</c:v>
                </c:pt>
                <c:pt idx="1854">
                  <c:v>-1.1124745228329167</c:v>
                </c:pt>
                <c:pt idx="1855">
                  <c:v>-1.6386424897721596</c:v>
                </c:pt>
                <c:pt idx="1856">
                  <c:v>-0.82566957990838752</c:v>
                </c:pt>
                <c:pt idx="1857">
                  <c:v>2.3894970263926312</c:v>
                </c:pt>
                <c:pt idx="1858">
                  <c:v>-2.582047524497538</c:v>
                </c:pt>
                <c:pt idx="1859">
                  <c:v>-1.5149947783183753</c:v>
                </c:pt>
                <c:pt idx="1860">
                  <c:v>-4.4820072308240366</c:v>
                </c:pt>
                <c:pt idx="1861">
                  <c:v>0.3763658227279052</c:v>
                </c:pt>
                <c:pt idx="1862">
                  <c:v>1.107978067722784</c:v>
                </c:pt>
                <c:pt idx="1863">
                  <c:v>-0.58994169412107933</c:v>
                </c:pt>
                <c:pt idx="1864">
                  <c:v>-0.10392898357272995</c:v>
                </c:pt>
                <c:pt idx="1865">
                  <c:v>-2.8367239247711993</c:v>
                </c:pt>
                <c:pt idx="1866">
                  <c:v>0.18088079490475972</c:v>
                </c:pt>
                <c:pt idx="1867">
                  <c:v>0.18877060652457411</c:v>
                </c:pt>
                <c:pt idx="1868">
                  <c:v>0.14251373534509593</c:v>
                </c:pt>
                <c:pt idx="1869">
                  <c:v>-1.4445606067016969</c:v>
                </c:pt>
                <c:pt idx="1870">
                  <c:v>-1.1710195214408019</c:v>
                </c:pt>
                <c:pt idx="1871">
                  <c:v>0.28104174637399959</c:v>
                </c:pt>
                <c:pt idx="1872">
                  <c:v>-0.77503666457162357</c:v>
                </c:pt>
                <c:pt idx="1873">
                  <c:v>-3.6724280536975211</c:v>
                </c:pt>
                <c:pt idx="1874">
                  <c:v>3.7962917792479374</c:v>
                </c:pt>
                <c:pt idx="1875">
                  <c:v>-0.54836585020059481</c:v>
                </c:pt>
                <c:pt idx="1876">
                  <c:v>-6.3067657661446477</c:v>
                </c:pt>
                <c:pt idx="1877">
                  <c:v>-0.40500597238676272</c:v>
                </c:pt>
                <c:pt idx="1878">
                  <c:v>-4.4820072308240366</c:v>
                </c:pt>
                <c:pt idx="1879">
                  <c:v>-0.37990830728473379</c:v>
                </c:pt>
                <c:pt idx="1880">
                  <c:v>-1.434288479997214</c:v>
                </c:pt>
                <c:pt idx="1881">
                  <c:v>-2.3032512701158367</c:v>
                </c:pt>
                <c:pt idx="1882">
                  <c:v>-6.3472830545745373E-2</c:v>
                </c:pt>
                <c:pt idx="1883">
                  <c:v>0.25022186803488378</c:v>
                </c:pt>
                <c:pt idx="1884">
                  <c:v>1.4967903313184565</c:v>
                </c:pt>
                <c:pt idx="1885">
                  <c:v>-0.18756801752360852</c:v>
                </c:pt>
                <c:pt idx="1886">
                  <c:v>3.3626959750587826E-3</c:v>
                </c:pt>
                <c:pt idx="1887">
                  <c:v>-1.1421703020615397</c:v>
                </c:pt>
                <c:pt idx="1888">
                  <c:v>-0.34881665294031761</c:v>
                </c:pt>
                <c:pt idx="1889">
                  <c:v>-0.70955134590773961</c:v>
                </c:pt>
                <c:pt idx="1890">
                  <c:v>-1.0079819668947758</c:v>
                </c:pt>
                <c:pt idx="1891">
                  <c:v>-2.4820072308240366</c:v>
                </c:pt>
                <c:pt idx="1892">
                  <c:v>-0.3806165533666408</c:v>
                </c:pt>
                <c:pt idx="1893">
                  <c:v>-2.4274096693304035</c:v>
                </c:pt>
                <c:pt idx="1894">
                  <c:v>-6.272275003998995E-2</c:v>
                </c:pt>
                <c:pt idx="1895">
                  <c:v>1.7888923770481124E-2</c:v>
                </c:pt>
                <c:pt idx="1896">
                  <c:v>-2.1954520238918107</c:v>
                </c:pt>
                <c:pt idx="1897">
                  <c:v>-1.824412993270069</c:v>
                </c:pt>
                <c:pt idx="1898">
                  <c:v>0.29549808778849251</c:v>
                </c:pt>
                <c:pt idx="1899">
                  <c:v>0.73586845114560262</c:v>
                </c:pt>
                <c:pt idx="1900">
                  <c:v>-0.77122915010865079</c:v>
                </c:pt>
                <c:pt idx="1901">
                  <c:v>0.65307502813747775</c:v>
                </c:pt>
                <c:pt idx="1902">
                  <c:v>-0.35418540187103131</c:v>
                </c:pt>
                <c:pt idx="1903">
                  <c:v>-0.11485654847195759</c:v>
                </c:pt>
                <c:pt idx="1904">
                  <c:v>-0.48200723082403663</c:v>
                </c:pt>
                <c:pt idx="1905">
                  <c:v>-2.6904835405379499</c:v>
                </c:pt>
                <c:pt idx="1906">
                  <c:v>-0.55312263370362702</c:v>
                </c:pt>
                <c:pt idx="1907">
                  <c:v>-5.9064084407117416</c:v>
                </c:pt>
                <c:pt idx="1908">
                  <c:v>0.1372582327066485</c:v>
                </c:pt>
                <c:pt idx="1909">
                  <c:v>-1.2049446916569404</c:v>
                </c:pt>
                <c:pt idx="1910">
                  <c:v>-0.4355444646602793</c:v>
                </c:pt>
                <c:pt idx="1911">
                  <c:v>0.64050142663760568</c:v>
                </c:pt>
                <c:pt idx="1912">
                  <c:v>0.287020100412684</c:v>
                </c:pt>
                <c:pt idx="1913">
                  <c:v>1.4899852332778134</c:v>
                </c:pt>
                <c:pt idx="1914">
                  <c:v>1.1990719745240195</c:v>
                </c:pt>
                <c:pt idx="1915">
                  <c:v>2.3187692034984941E-2</c:v>
                </c:pt>
                <c:pt idx="1916">
                  <c:v>-0.67617347175001519</c:v>
                </c:pt>
                <c:pt idx="1917">
                  <c:v>-0.44978917265355634</c:v>
                </c:pt>
                <c:pt idx="1918">
                  <c:v>-2.6286550442829535</c:v>
                </c:pt>
                <c:pt idx="1919">
                  <c:v>-1.5796078130825819</c:v>
                </c:pt>
                <c:pt idx="1920">
                  <c:v>0.58352738706093321</c:v>
                </c:pt>
                <c:pt idx="1921">
                  <c:v>-0.37713514751349386</c:v>
                </c:pt>
                <c:pt idx="1922">
                  <c:v>0.88393131831341187</c:v>
                </c:pt>
                <c:pt idx="1923">
                  <c:v>-1.0133855247871491</c:v>
                </c:pt>
                <c:pt idx="1924">
                  <c:v>0.34576165229496236</c:v>
                </c:pt>
                <c:pt idx="1925">
                  <c:v>-9.6336467948023752E-2</c:v>
                </c:pt>
                <c:pt idx="1926">
                  <c:v>0.55168567078120723</c:v>
                </c:pt>
                <c:pt idx="1927">
                  <c:v>-0.71399650205301501</c:v>
                </c:pt>
                <c:pt idx="1928">
                  <c:v>-0.17541179212223912</c:v>
                </c:pt>
                <c:pt idx="1929">
                  <c:v>3.9643255267505735</c:v>
                </c:pt>
                <c:pt idx="1930">
                  <c:v>-2.073935415164454</c:v>
                </c:pt>
                <c:pt idx="1931">
                  <c:v>-5.2965810072953534E-3</c:v>
                </c:pt>
                <c:pt idx="1932">
                  <c:v>-1.3740833014408658</c:v>
                </c:pt>
                <c:pt idx="1933">
                  <c:v>0.93789942479127886</c:v>
                </c:pt>
                <c:pt idx="1934">
                  <c:v>-2.3815086211295631</c:v>
                </c:pt>
                <c:pt idx="1935">
                  <c:v>0.20224890738300205</c:v>
                </c:pt>
                <c:pt idx="1936">
                  <c:v>-0.23803980096330135</c:v>
                </c:pt>
                <c:pt idx="1937">
                  <c:v>0.11464830088569467</c:v>
                </c:pt>
                <c:pt idx="1938">
                  <c:v>-0.37784814972826686</c:v>
                </c:pt>
                <c:pt idx="1939">
                  <c:v>-5.3235504009958023E-2</c:v>
                </c:pt>
                <c:pt idx="1940">
                  <c:v>0.13573398543230553</c:v>
                </c:pt>
                <c:pt idx="1941">
                  <c:v>1.5179927691759634</c:v>
                </c:pt>
                <c:pt idx="1942">
                  <c:v>-1.6538707955477885</c:v>
                </c:pt>
                <c:pt idx="1943">
                  <c:v>-0.65696263066724092</c:v>
                </c:pt>
                <c:pt idx="1944">
                  <c:v>-2.1975713305177553</c:v>
                </c:pt>
                <c:pt idx="1945">
                  <c:v>1.5027991403800911</c:v>
                </c:pt>
                <c:pt idx="1946">
                  <c:v>-4.4820072308240366</c:v>
                </c:pt>
                <c:pt idx="1947">
                  <c:v>-1.1093071057489521</c:v>
                </c:pt>
                <c:pt idx="1948">
                  <c:v>-2.5781576135994957</c:v>
                </c:pt>
                <c:pt idx="1949">
                  <c:v>-0.98253011550987734</c:v>
                </c:pt>
                <c:pt idx="1950">
                  <c:v>-0.95806215531077976</c:v>
                </c:pt>
                <c:pt idx="1951">
                  <c:v>-0.63120547793854498</c:v>
                </c:pt>
                <c:pt idx="1952">
                  <c:v>-3.0320070612153307</c:v>
                </c:pt>
                <c:pt idx="1953">
                  <c:v>6.1511075751596866E-2</c:v>
                </c:pt>
                <c:pt idx="1954">
                  <c:v>-0.20451763164514303</c:v>
                </c:pt>
                <c:pt idx="1955">
                  <c:v>-2.7990455619346126</c:v>
                </c:pt>
                <c:pt idx="1956">
                  <c:v>-0.19586707077743948</c:v>
                </c:pt>
                <c:pt idx="1957">
                  <c:v>-0.99406417168524541</c:v>
                </c:pt>
                <c:pt idx="1958">
                  <c:v>-0.10649007157222412</c:v>
                </c:pt>
                <c:pt idx="1959">
                  <c:v>-0.29024429159756504</c:v>
                </c:pt>
                <c:pt idx="1960">
                  <c:v>0.32100215387826414</c:v>
                </c:pt>
                <c:pt idx="1961">
                  <c:v>-0.80066128691913896</c:v>
                </c:pt>
                <c:pt idx="1962">
                  <c:v>-0.39045652140146125</c:v>
                </c:pt>
                <c:pt idx="1963">
                  <c:v>-0.56632405089153215</c:v>
                </c:pt>
                <c:pt idx="1964">
                  <c:v>1.8057838732785445</c:v>
                </c:pt>
                <c:pt idx="1965">
                  <c:v>-2.7053048344504234</c:v>
                </c:pt>
                <c:pt idx="1966">
                  <c:v>-1.0823186538561147</c:v>
                </c:pt>
                <c:pt idx="1967">
                  <c:v>-1.4348276636708741</c:v>
                </c:pt>
                <c:pt idx="1968">
                  <c:v>-0.2941341348036115</c:v>
                </c:pt>
                <c:pt idx="1969">
                  <c:v>-8.5212705696792179E-3</c:v>
                </c:pt>
                <c:pt idx="1970">
                  <c:v>-1.1497713566552639</c:v>
                </c:pt>
                <c:pt idx="1971">
                  <c:v>-0.90875107114917641</c:v>
                </c:pt>
                <c:pt idx="1972">
                  <c:v>-7.4075716806865959</c:v>
                </c:pt>
                <c:pt idx="1973">
                  <c:v>-3.4820072308240366</c:v>
                </c:pt>
                <c:pt idx="1974">
                  <c:v>-0.81004632034510715</c:v>
                </c:pt>
                <c:pt idx="1975">
                  <c:v>5.061618597589479E-2</c:v>
                </c:pt>
                <c:pt idx="1976">
                  <c:v>1.0608783772324721</c:v>
                </c:pt>
                <c:pt idx="1977">
                  <c:v>1.200446543476775</c:v>
                </c:pt>
                <c:pt idx="1978">
                  <c:v>-1.2555972691010628</c:v>
                </c:pt>
                <c:pt idx="1979">
                  <c:v>-0.21376540998549143</c:v>
                </c:pt>
                <c:pt idx="1980">
                  <c:v>0.5295683215295921</c:v>
                </c:pt>
                <c:pt idx="1981">
                  <c:v>-0.44551984976360615</c:v>
                </c:pt>
                <c:pt idx="1982">
                  <c:v>-0.22966585860340261</c:v>
                </c:pt>
                <c:pt idx="1983">
                  <c:v>-3.0818995462370546E-3</c:v>
                </c:pt>
                <c:pt idx="1984">
                  <c:v>-0.20714331879713987</c:v>
                </c:pt>
                <c:pt idx="1985">
                  <c:v>-0.47846462888145136</c:v>
                </c:pt>
                <c:pt idx="1986">
                  <c:v>-0.28650526615931193</c:v>
                </c:pt>
                <c:pt idx="1987">
                  <c:v>-0.41614451466806335</c:v>
                </c:pt>
                <c:pt idx="1988">
                  <c:v>-2.9650619277243839</c:v>
                </c:pt>
                <c:pt idx="1989">
                  <c:v>-0.4316086690291443</c:v>
                </c:pt>
                <c:pt idx="1990">
                  <c:v>0.53615664814708475</c:v>
                </c:pt>
                <c:pt idx="1991">
                  <c:v>-2.3216651257446763</c:v>
                </c:pt>
                <c:pt idx="1992">
                  <c:v>-2.4100392100027515</c:v>
                </c:pt>
                <c:pt idx="1993">
                  <c:v>-0.37121471606551459</c:v>
                </c:pt>
                <c:pt idx="1994">
                  <c:v>-4.2637142211816581E-2</c:v>
                </c:pt>
                <c:pt idx="1995">
                  <c:v>-2.205718197658439</c:v>
                </c:pt>
                <c:pt idx="1996">
                  <c:v>0.40968631341332368</c:v>
                </c:pt>
                <c:pt idx="1997">
                  <c:v>1.4742711608364569</c:v>
                </c:pt>
                <c:pt idx="1998">
                  <c:v>0.39848034254378106</c:v>
                </c:pt>
                <c:pt idx="1999">
                  <c:v>-8.7866095151676094E-2</c:v>
                </c:pt>
                <c:pt idx="2000">
                  <c:v>-3.3905979397592487</c:v>
                </c:pt>
                <c:pt idx="2001">
                  <c:v>0.26238875184517341</c:v>
                </c:pt>
                <c:pt idx="2002">
                  <c:v>-3.0222310564045647</c:v>
                </c:pt>
                <c:pt idx="2003">
                  <c:v>-0.17409192874291735</c:v>
                </c:pt>
                <c:pt idx="2004">
                  <c:v>-9.44103913132609E-2</c:v>
                </c:pt>
                <c:pt idx="2005">
                  <c:v>-0.78965629435678464</c:v>
                </c:pt>
                <c:pt idx="2006">
                  <c:v>-0.37450057985199825</c:v>
                </c:pt>
                <c:pt idx="2007">
                  <c:v>-0.91605615446966615</c:v>
                </c:pt>
                <c:pt idx="2008">
                  <c:v>0.13738707068633405</c:v>
                </c:pt>
                <c:pt idx="2009">
                  <c:v>-3.0611793484554575</c:v>
                </c:pt>
                <c:pt idx="2010">
                  <c:v>-1.101287473523791</c:v>
                </c:pt>
                <c:pt idx="2011">
                  <c:v>-6.8351143155791263</c:v>
                </c:pt>
                <c:pt idx="2012">
                  <c:v>-0.11219448335452964</c:v>
                </c:pt>
                <c:pt idx="2013">
                  <c:v>-0.31909617734357387</c:v>
                </c:pt>
                <c:pt idx="2014">
                  <c:v>0.51814047167887345</c:v>
                </c:pt>
                <c:pt idx="2015">
                  <c:v>-0.48200723082403663</c:v>
                </c:pt>
                <c:pt idx="2016">
                  <c:v>0.14504097328141397</c:v>
                </c:pt>
                <c:pt idx="2017">
                  <c:v>3.1628302111094797E-2</c:v>
                </c:pt>
                <c:pt idx="2018">
                  <c:v>-1.4327607506500781</c:v>
                </c:pt>
                <c:pt idx="2019">
                  <c:v>0.32458532333014117</c:v>
                </c:pt>
                <c:pt idx="2020">
                  <c:v>2.1188132322769149</c:v>
                </c:pt>
                <c:pt idx="2021">
                  <c:v>0.42174149883990553</c:v>
                </c:pt>
                <c:pt idx="2022">
                  <c:v>-9.6110270307189549E-2</c:v>
                </c:pt>
                <c:pt idx="2023">
                  <c:v>-0.12115144479084594</c:v>
                </c:pt>
                <c:pt idx="2024">
                  <c:v>0.26219456768345434</c:v>
                </c:pt>
                <c:pt idx="2025">
                  <c:v>-1.9247695158168274</c:v>
                </c:pt>
                <c:pt idx="2026">
                  <c:v>-1.1054215559351364</c:v>
                </c:pt>
                <c:pt idx="2027">
                  <c:v>-0.96229632429649969</c:v>
                </c:pt>
                <c:pt idx="2028">
                  <c:v>2.3021532498119379</c:v>
                </c:pt>
                <c:pt idx="2029">
                  <c:v>0.58966427014972356</c:v>
                </c:pt>
                <c:pt idx="2030">
                  <c:v>-8.5531863142533804E-2</c:v>
                </c:pt>
                <c:pt idx="2031">
                  <c:v>0.65582579625616777</c:v>
                </c:pt>
                <c:pt idx="2032">
                  <c:v>-1.9750218047707682</c:v>
                </c:pt>
                <c:pt idx="2033">
                  <c:v>-0.97069181853438646</c:v>
                </c:pt>
                <c:pt idx="2034">
                  <c:v>-0.21872712210721146</c:v>
                </c:pt>
                <c:pt idx="2035">
                  <c:v>-2.303402485135448</c:v>
                </c:pt>
                <c:pt idx="2036">
                  <c:v>-1.0334684636166105</c:v>
                </c:pt>
                <c:pt idx="2037">
                  <c:v>0.78422433266986191</c:v>
                </c:pt>
                <c:pt idx="2038">
                  <c:v>-1.126058603646124</c:v>
                </c:pt>
                <c:pt idx="2039">
                  <c:v>-0.28090630883698231</c:v>
                </c:pt>
                <c:pt idx="2040">
                  <c:v>-0.75173203957345391</c:v>
                </c:pt>
                <c:pt idx="2041">
                  <c:v>-1.2006104536827722</c:v>
                </c:pt>
                <c:pt idx="2042">
                  <c:v>3.7591575570744551E-3</c:v>
                </c:pt>
                <c:pt idx="2043">
                  <c:v>-0.41121358152384735</c:v>
                </c:pt>
                <c:pt idx="2044">
                  <c:v>-0.14396128316477885</c:v>
                </c:pt>
                <c:pt idx="2045">
                  <c:v>-3.2741390764454401</c:v>
                </c:pt>
                <c:pt idx="2046">
                  <c:v>-1.5453150436836243</c:v>
                </c:pt>
                <c:pt idx="2047">
                  <c:v>-3.2346502734742453</c:v>
                </c:pt>
                <c:pt idx="2048">
                  <c:v>-10.948361484867988</c:v>
                </c:pt>
                <c:pt idx="2049">
                  <c:v>-9.4558628762355212E-2</c:v>
                </c:pt>
                <c:pt idx="2050">
                  <c:v>-1.8741782987497948</c:v>
                </c:pt>
                <c:pt idx="2051">
                  <c:v>-0.701152796737055</c:v>
                </c:pt>
                <c:pt idx="2052">
                  <c:v>3.222709188240469E-2</c:v>
                </c:pt>
                <c:pt idx="2053">
                  <c:v>-0.50457196197737764</c:v>
                </c:pt>
                <c:pt idx="2054">
                  <c:v>1.2561697688052611</c:v>
                </c:pt>
                <c:pt idx="2055">
                  <c:v>0.26010123214863201</c:v>
                </c:pt>
                <c:pt idx="2056">
                  <c:v>0.92823811285773683</c:v>
                </c:pt>
                <c:pt idx="2057">
                  <c:v>0.22827140064940227</c:v>
                </c:pt>
                <c:pt idx="2058">
                  <c:v>-0.75219981060857122</c:v>
                </c:pt>
                <c:pt idx="2059">
                  <c:v>0.19284668008277228</c:v>
                </c:pt>
                <c:pt idx="2060">
                  <c:v>-0.73509553401075634</c:v>
                </c:pt>
                <c:pt idx="2061">
                  <c:v>0.26540096348383369</c:v>
                </c:pt>
                <c:pt idx="2062">
                  <c:v>0.43207747195489637</c:v>
                </c:pt>
                <c:pt idx="2063">
                  <c:v>-4.3994840986623105</c:v>
                </c:pt>
                <c:pt idx="2064">
                  <c:v>-2.7366781640916731</c:v>
                </c:pt>
                <c:pt idx="2065">
                  <c:v>-1.9592084467574544E-3</c:v>
                </c:pt>
                <c:pt idx="2066">
                  <c:v>0.36491037871840237</c:v>
                </c:pt>
                <c:pt idx="2067">
                  <c:v>-2.0575821498373439</c:v>
                </c:pt>
                <c:pt idx="2068">
                  <c:v>0.63947574069361535</c:v>
                </c:pt>
                <c:pt idx="2069">
                  <c:v>-0.93592454109923118</c:v>
                </c:pt>
                <c:pt idx="2070">
                  <c:v>0.59784274945268712</c:v>
                </c:pt>
                <c:pt idx="2071">
                  <c:v>-5.2108238865584466E-2</c:v>
                </c:pt>
                <c:pt idx="2072">
                  <c:v>1.6264781086131745</c:v>
                </c:pt>
                <c:pt idx="2073">
                  <c:v>0.98047725695897203</c:v>
                </c:pt>
                <c:pt idx="2074">
                  <c:v>-2.2676513691453293</c:v>
                </c:pt>
                <c:pt idx="2075">
                  <c:v>0.34272195770579755</c:v>
                </c:pt>
                <c:pt idx="2076">
                  <c:v>-3.6039692771700658</c:v>
                </c:pt>
                <c:pt idx="2077">
                  <c:v>0.90284770327722719</c:v>
                </c:pt>
                <c:pt idx="2078">
                  <c:v>0.45928095121746115</c:v>
                </c:pt>
                <c:pt idx="2079">
                  <c:v>0.27405678740425082</c:v>
                </c:pt>
                <c:pt idx="2080">
                  <c:v>3.0356195768312819</c:v>
                </c:pt>
                <c:pt idx="2081">
                  <c:v>0.3404068285749195</c:v>
                </c:pt>
                <c:pt idx="2082">
                  <c:v>-0.4209585712052466</c:v>
                </c:pt>
                <c:pt idx="2083">
                  <c:v>-7.0167627649764253E-3</c:v>
                </c:pt>
                <c:pt idx="2084">
                  <c:v>0.1689481134210653</c:v>
                </c:pt>
                <c:pt idx="2085">
                  <c:v>1.2653441617688888</c:v>
                </c:pt>
                <c:pt idx="2086">
                  <c:v>0.1325327664221978</c:v>
                </c:pt>
                <c:pt idx="2087">
                  <c:v>-0.81661331837849271</c:v>
                </c:pt>
                <c:pt idx="2088">
                  <c:v>-1.5483049180552158</c:v>
                </c:pt>
                <c:pt idx="2089">
                  <c:v>0.38851860067260507</c:v>
                </c:pt>
                <c:pt idx="2090">
                  <c:v>-8.6699081070161776E-2</c:v>
                </c:pt>
                <c:pt idx="2091">
                  <c:v>0.47809233941240048</c:v>
                </c:pt>
                <c:pt idx="2092">
                  <c:v>0.34879517482460581</c:v>
                </c:pt>
                <c:pt idx="2093">
                  <c:v>1.2593482854206917E-2</c:v>
                </c:pt>
                <c:pt idx="2094">
                  <c:v>-0.66537651130496633</c:v>
                </c:pt>
                <c:pt idx="2095">
                  <c:v>0.51029488710836679</c:v>
                </c:pt>
                <c:pt idx="2096">
                  <c:v>-0.16276553468924937</c:v>
                </c:pt>
                <c:pt idx="2097">
                  <c:v>-0.86077178679370991</c:v>
                </c:pt>
                <c:pt idx="2098">
                  <c:v>-0.1874245926888416</c:v>
                </c:pt>
                <c:pt idx="2099">
                  <c:v>-0.85005385675436074</c:v>
                </c:pt>
                <c:pt idx="2100">
                  <c:v>0.20893846979855724</c:v>
                </c:pt>
                <c:pt idx="2101">
                  <c:v>0.10994892909569931</c:v>
                </c:pt>
                <c:pt idx="2102">
                  <c:v>-1.7100944889002561</c:v>
                </c:pt>
                <c:pt idx="2103">
                  <c:v>0.30549892672988083</c:v>
                </c:pt>
                <c:pt idx="2104">
                  <c:v>-4.8120911571965337</c:v>
                </c:pt>
                <c:pt idx="2105">
                  <c:v>-0.8739406264382632</c:v>
                </c:pt>
                <c:pt idx="2106">
                  <c:v>-0.89299408604717279</c:v>
                </c:pt>
                <c:pt idx="2107">
                  <c:v>1.9497836809217017E-2</c:v>
                </c:pt>
                <c:pt idx="2108">
                  <c:v>-0.53382121182962083</c:v>
                </c:pt>
                <c:pt idx="2109">
                  <c:v>0.37920370330033748</c:v>
                </c:pt>
                <c:pt idx="2110">
                  <c:v>2.9162593011732518E-2</c:v>
                </c:pt>
                <c:pt idx="2111">
                  <c:v>0.3127186915417276</c:v>
                </c:pt>
                <c:pt idx="2112">
                  <c:v>-1.0124859554076888</c:v>
                </c:pt>
                <c:pt idx="2113">
                  <c:v>-2.3663640471656811</c:v>
                </c:pt>
                <c:pt idx="2114">
                  <c:v>0.89569115301245805</c:v>
                </c:pt>
                <c:pt idx="2115">
                  <c:v>0.34306472096428881</c:v>
                </c:pt>
                <c:pt idx="2116">
                  <c:v>-1.1206357857333524</c:v>
                </c:pt>
                <c:pt idx="2117">
                  <c:v>0.55022704276725731</c:v>
                </c:pt>
                <c:pt idx="2118">
                  <c:v>-0.34962111187725675</c:v>
                </c:pt>
                <c:pt idx="2119">
                  <c:v>-7.6162101407251659E-2</c:v>
                </c:pt>
                <c:pt idx="2120">
                  <c:v>7.5783473066260099E-2</c:v>
                </c:pt>
                <c:pt idx="2121">
                  <c:v>0.49010316724082464</c:v>
                </c:pt>
                <c:pt idx="2122">
                  <c:v>0.15561582826370979</c:v>
                </c:pt>
                <c:pt idx="2123">
                  <c:v>1.3646496902508014</c:v>
                </c:pt>
                <c:pt idx="2124">
                  <c:v>-1.3013950942602346</c:v>
                </c:pt>
                <c:pt idx="2125">
                  <c:v>-0.54453816517016618</c:v>
                </c:pt>
                <c:pt idx="2126">
                  <c:v>0.52035927509899316</c:v>
                </c:pt>
                <c:pt idx="2127">
                  <c:v>-0.23833722267211699</c:v>
                </c:pt>
                <c:pt idx="2128">
                  <c:v>1.6123449698878085</c:v>
                </c:pt>
                <c:pt idx="2129">
                  <c:v>0.4281349208594325</c:v>
                </c:pt>
                <c:pt idx="2130">
                  <c:v>-2.0023346809963627</c:v>
                </c:pt>
                <c:pt idx="2131">
                  <c:v>0.52439954267163902</c:v>
                </c:pt>
                <c:pt idx="2132">
                  <c:v>-0.62504851054474031</c:v>
                </c:pt>
                <c:pt idx="2133">
                  <c:v>-1.2638060744183761</c:v>
                </c:pt>
                <c:pt idx="2134">
                  <c:v>-3.1134701666029168</c:v>
                </c:pt>
                <c:pt idx="2135">
                  <c:v>-1.5087941648624992</c:v>
                </c:pt>
                <c:pt idx="2136">
                  <c:v>-0.38849399504425319</c:v>
                </c:pt>
                <c:pt idx="2137">
                  <c:v>-0.13510594675550402</c:v>
                </c:pt>
                <c:pt idx="2138">
                  <c:v>-1.0122321031687882</c:v>
                </c:pt>
                <c:pt idx="2139">
                  <c:v>1.509185374960152</c:v>
                </c:pt>
                <c:pt idx="2140">
                  <c:v>-0.5104795077703439</c:v>
                </c:pt>
                <c:pt idx="2141">
                  <c:v>0.97360727845023431</c:v>
                </c:pt>
                <c:pt idx="2142">
                  <c:v>4.637257956195584E-2</c:v>
                </c:pt>
                <c:pt idx="2143">
                  <c:v>0.10011954837571335</c:v>
                </c:pt>
                <c:pt idx="2144">
                  <c:v>-1.1606838285496874</c:v>
                </c:pt>
                <c:pt idx="2145">
                  <c:v>1.2011822950374529</c:v>
                </c:pt>
                <c:pt idx="2146">
                  <c:v>0.68264505827240818</c:v>
                </c:pt>
                <c:pt idx="2147">
                  <c:v>-5.808654036430605E-3</c:v>
                </c:pt>
                <c:pt idx="2148">
                  <c:v>-0.34667623926950375</c:v>
                </c:pt>
                <c:pt idx="2149">
                  <c:v>-1.4820072308240366</c:v>
                </c:pt>
                <c:pt idx="2150">
                  <c:v>-1.5569001758877841</c:v>
                </c:pt>
                <c:pt idx="2151">
                  <c:v>9.5818550882958391</c:v>
                </c:pt>
                <c:pt idx="2152">
                  <c:v>3.123546860174867</c:v>
                </c:pt>
                <c:pt idx="2153">
                  <c:v>0.18622465010382805</c:v>
                </c:pt>
                <c:pt idx="2154">
                  <c:v>-0.18253420375552631</c:v>
                </c:pt>
                <c:pt idx="2155">
                  <c:v>1.0685352437699622</c:v>
                </c:pt>
                <c:pt idx="2156">
                  <c:v>-0.47328813489056154</c:v>
                </c:pt>
                <c:pt idx="2157">
                  <c:v>0.18312010251717425</c:v>
                </c:pt>
                <c:pt idx="2158">
                  <c:v>-3.872928858559427</c:v>
                </c:pt>
                <c:pt idx="2159">
                  <c:v>-0.13934333034092439</c:v>
                </c:pt>
                <c:pt idx="2160">
                  <c:v>0.10989949701538915</c:v>
                </c:pt>
                <c:pt idx="2161">
                  <c:v>-1.7436850076869268</c:v>
                </c:pt>
                <c:pt idx="2162">
                  <c:v>0.33936028855372469</c:v>
                </c:pt>
                <c:pt idx="2163">
                  <c:v>0.41764208846597722</c:v>
                </c:pt>
                <c:pt idx="2164">
                  <c:v>5.474922476656463E-2</c:v>
                </c:pt>
                <c:pt idx="2165">
                  <c:v>-0.68207179209091184</c:v>
                </c:pt>
                <c:pt idx="2166">
                  <c:v>0.28595702662138911</c:v>
                </c:pt>
                <c:pt idx="2167">
                  <c:v>-0.27115409215765462</c:v>
                </c:pt>
                <c:pt idx="2168">
                  <c:v>0.20704845607483202</c:v>
                </c:pt>
                <c:pt idx="2169">
                  <c:v>-0.99907560357825975</c:v>
                </c:pt>
                <c:pt idx="2170">
                  <c:v>-0.24542308304496452</c:v>
                </c:pt>
                <c:pt idx="2171">
                  <c:v>-0.17768675088844599</c:v>
                </c:pt>
                <c:pt idx="2172">
                  <c:v>1.7447492266731173</c:v>
                </c:pt>
                <c:pt idx="2173">
                  <c:v>-1.2869793366151046</c:v>
                </c:pt>
                <c:pt idx="2174">
                  <c:v>-0.23435461648527922</c:v>
                </c:pt>
                <c:pt idx="2175">
                  <c:v>0.22934104298191138</c:v>
                </c:pt>
                <c:pt idx="2176">
                  <c:v>0.19505925825680226</c:v>
                </c:pt>
                <c:pt idx="2177">
                  <c:v>-3.6488269739118584</c:v>
                </c:pt>
                <c:pt idx="2178">
                  <c:v>0.35503133866640435</c:v>
                </c:pt>
                <c:pt idx="2179">
                  <c:v>-0.92983216802278701</c:v>
                </c:pt>
                <c:pt idx="2180">
                  <c:v>3.9560775071338261E-2</c:v>
                </c:pt>
                <c:pt idx="2181">
                  <c:v>0.34932322558244305</c:v>
                </c:pt>
                <c:pt idx="2182">
                  <c:v>-0.40583028760688911</c:v>
                </c:pt>
                <c:pt idx="2183">
                  <c:v>-0.35447579570008658</c:v>
                </c:pt>
                <c:pt idx="2184">
                  <c:v>0.32254619864395839</c:v>
                </c:pt>
                <c:pt idx="2185">
                  <c:v>0.18555202616485778</c:v>
                </c:pt>
                <c:pt idx="2186">
                  <c:v>-0.13654064960657675</c:v>
                </c:pt>
                <c:pt idx="2187">
                  <c:v>0.32921102205243119</c:v>
                </c:pt>
                <c:pt idx="2188">
                  <c:v>-3.0455097296521823</c:v>
                </c:pt>
                <c:pt idx="2189">
                  <c:v>-1.6135712237785693</c:v>
                </c:pt>
                <c:pt idx="2190">
                  <c:v>0.33275754595858797</c:v>
                </c:pt>
                <c:pt idx="2191">
                  <c:v>-0.72364382470037292</c:v>
                </c:pt>
                <c:pt idx="2192">
                  <c:v>0.22059472936784685</c:v>
                </c:pt>
                <c:pt idx="2193">
                  <c:v>0.30137420196690146</c:v>
                </c:pt>
                <c:pt idx="2194">
                  <c:v>0.15017271725747106</c:v>
                </c:pt>
                <c:pt idx="2195">
                  <c:v>0.32041765041307024</c:v>
                </c:pt>
                <c:pt idx="2196">
                  <c:v>0.21840054891138727</c:v>
                </c:pt>
                <c:pt idx="2197">
                  <c:v>0.29734686664605114</c:v>
                </c:pt>
                <c:pt idx="2198">
                  <c:v>1.9894334704884358</c:v>
                </c:pt>
                <c:pt idx="2199">
                  <c:v>0.42661610586779392</c:v>
                </c:pt>
                <c:pt idx="2200">
                  <c:v>0.68780365575311087</c:v>
                </c:pt>
                <c:pt idx="2201">
                  <c:v>-4.8975001636632776</c:v>
                </c:pt>
                <c:pt idx="2202">
                  <c:v>-0.55468240235303679</c:v>
                </c:pt>
                <c:pt idx="2203">
                  <c:v>0.21718274572194041</c:v>
                </c:pt>
                <c:pt idx="2204">
                  <c:v>0.43056479429945949</c:v>
                </c:pt>
                <c:pt idx="2205">
                  <c:v>-0.75723001977784965</c:v>
                </c:pt>
                <c:pt idx="2206">
                  <c:v>-6.4786808019458313</c:v>
                </c:pt>
                <c:pt idx="2207">
                  <c:v>-0.86526243514820611</c:v>
                </c:pt>
                <c:pt idx="2208">
                  <c:v>0.34122186515640784</c:v>
                </c:pt>
                <c:pt idx="2209">
                  <c:v>3.6337395733421989</c:v>
                </c:pt>
                <c:pt idx="2210">
                  <c:v>3.6603658864684561</c:v>
                </c:pt>
                <c:pt idx="2211">
                  <c:v>-3.7747755042290851</c:v>
                </c:pt>
                <c:pt idx="2212">
                  <c:v>2.2698619836247631</c:v>
                </c:pt>
                <c:pt idx="2213">
                  <c:v>0.2890105489482479</c:v>
                </c:pt>
                <c:pt idx="2214">
                  <c:v>-0.28994898526363433</c:v>
                </c:pt>
                <c:pt idx="2215">
                  <c:v>0.14362959438809009</c:v>
                </c:pt>
                <c:pt idx="2216">
                  <c:v>0.40791065081194733</c:v>
                </c:pt>
                <c:pt idx="2217">
                  <c:v>4.3370424750413852</c:v>
                </c:pt>
                <c:pt idx="2218">
                  <c:v>0.34558644683804962</c:v>
                </c:pt>
                <c:pt idx="2219">
                  <c:v>0.90264908045460679</c:v>
                </c:pt>
                <c:pt idx="2220">
                  <c:v>-1.0345001911784684</c:v>
                </c:pt>
                <c:pt idx="2221">
                  <c:v>0.11483131586802153</c:v>
                </c:pt>
                <c:pt idx="2222">
                  <c:v>-0.15428160008805025</c:v>
                </c:pt>
                <c:pt idx="2223">
                  <c:v>-1.5059667201752314</c:v>
                </c:pt>
                <c:pt idx="2224">
                  <c:v>-0.455528486912677</c:v>
                </c:pt>
                <c:pt idx="2225">
                  <c:v>2.0297688851697049</c:v>
                </c:pt>
                <c:pt idx="2226">
                  <c:v>0.49141333615924537</c:v>
                </c:pt>
                <c:pt idx="2227">
                  <c:v>-1.4672199560975336</c:v>
                </c:pt>
                <c:pt idx="2228">
                  <c:v>0.18978574954733451</c:v>
                </c:pt>
                <c:pt idx="2229">
                  <c:v>-0.29866484231449908</c:v>
                </c:pt>
                <c:pt idx="2230">
                  <c:v>-0.37296640602990982</c:v>
                </c:pt>
                <c:pt idx="2231">
                  <c:v>2.1072270209586348</c:v>
                </c:pt>
                <c:pt idx="2232">
                  <c:v>-5.4773913523835525</c:v>
                </c:pt>
                <c:pt idx="2233">
                  <c:v>0.12076464747644178</c:v>
                </c:pt>
                <c:pt idx="2234">
                  <c:v>-2.4958785224022222</c:v>
                </c:pt>
                <c:pt idx="2235">
                  <c:v>1.2512905257529467</c:v>
                </c:pt>
                <c:pt idx="2236">
                  <c:v>0.15898565671891007</c:v>
                </c:pt>
                <c:pt idx="2237">
                  <c:v>0.87144071302068449</c:v>
                </c:pt>
                <c:pt idx="2238">
                  <c:v>-0.13586249184690757</c:v>
                </c:pt>
                <c:pt idx="2239">
                  <c:v>0.45238793567183411</c:v>
                </c:pt>
                <c:pt idx="2240">
                  <c:v>-1.0170475594797526</c:v>
                </c:pt>
                <c:pt idx="2241">
                  <c:v>-5.1824794161990626</c:v>
                </c:pt>
                <c:pt idx="2242">
                  <c:v>1.7747170633298293</c:v>
                </c:pt>
                <c:pt idx="2243">
                  <c:v>-0.50364173295872883</c:v>
                </c:pt>
                <c:pt idx="2244">
                  <c:v>-0.21701737062942739</c:v>
                </c:pt>
                <c:pt idx="2245">
                  <c:v>-0.60365054908381865</c:v>
                </c:pt>
                <c:pt idx="2246">
                  <c:v>0.39756610982427981</c:v>
                </c:pt>
                <c:pt idx="2247">
                  <c:v>0.98835719038246683</c:v>
                </c:pt>
                <c:pt idx="2248">
                  <c:v>0.35308445641305936</c:v>
                </c:pt>
                <c:pt idx="2249">
                  <c:v>-1.189763904015279</c:v>
                </c:pt>
                <c:pt idx="2250">
                  <c:v>-1.9503399377561133</c:v>
                </c:pt>
                <c:pt idx="2251">
                  <c:v>0.75922571315349718</c:v>
                </c:pt>
                <c:pt idx="2252">
                  <c:v>0.2139017630119055</c:v>
                </c:pt>
                <c:pt idx="2253">
                  <c:v>0.96558592754627393</c:v>
                </c:pt>
                <c:pt idx="2254">
                  <c:v>-0.46280564893213283</c:v>
                </c:pt>
                <c:pt idx="2255">
                  <c:v>0.24963070108026697</c:v>
                </c:pt>
                <c:pt idx="2256">
                  <c:v>0.46852390727319682</c:v>
                </c:pt>
                <c:pt idx="2257">
                  <c:v>-2.4820072308240366</c:v>
                </c:pt>
                <c:pt idx="2258">
                  <c:v>-0.645889087207832</c:v>
                </c:pt>
                <c:pt idx="2259">
                  <c:v>-1.8068875644345819</c:v>
                </c:pt>
                <c:pt idx="2260">
                  <c:v>9.5130924513243009E-2</c:v>
                </c:pt>
                <c:pt idx="2261">
                  <c:v>0.39539306377609879</c:v>
                </c:pt>
                <c:pt idx="2262">
                  <c:v>0.41360026464034383</c:v>
                </c:pt>
                <c:pt idx="2263">
                  <c:v>0.30692674917304225</c:v>
                </c:pt>
                <c:pt idx="2264">
                  <c:v>0.47377992650177714</c:v>
                </c:pt>
                <c:pt idx="2265">
                  <c:v>1.2370346146270825</c:v>
                </c:pt>
                <c:pt idx="2266">
                  <c:v>0.27545734447832443</c:v>
                </c:pt>
                <c:pt idx="2267">
                  <c:v>-0.13713226798409772</c:v>
                </c:pt>
                <c:pt idx="2268">
                  <c:v>0.43402741243593218</c:v>
                </c:pt>
                <c:pt idx="2269">
                  <c:v>0.37173531864400156</c:v>
                </c:pt>
                <c:pt idx="2270">
                  <c:v>-4.7034279162618802</c:v>
                </c:pt>
                <c:pt idx="2271">
                  <c:v>-2.3008341170586535</c:v>
                </c:pt>
                <c:pt idx="2272">
                  <c:v>0.61700152407256237</c:v>
                </c:pt>
                <c:pt idx="2273">
                  <c:v>0.3941739816914358</c:v>
                </c:pt>
                <c:pt idx="2274">
                  <c:v>6.6309251955205948</c:v>
                </c:pt>
                <c:pt idx="2275">
                  <c:v>-0.12649965645339145</c:v>
                </c:pt>
                <c:pt idx="2276">
                  <c:v>0.58099838429756823</c:v>
                </c:pt>
                <c:pt idx="2277">
                  <c:v>-1.5250907341848734</c:v>
                </c:pt>
                <c:pt idx="2278">
                  <c:v>-2.8175363819302106</c:v>
                </c:pt>
                <c:pt idx="2279">
                  <c:v>-2.7930141963770456</c:v>
                </c:pt>
                <c:pt idx="2280">
                  <c:v>0.29176250420164157</c:v>
                </c:pt>
                <c:pt idx="2281">
                  <c:v>-0.55603572568923432</c:v>
                </c:pt>
                <c:pt idx="2282">
                  <c:v>1.2326654064841032</c:v>
                </c:pt>
                <c:pt idx="2283">
                  <c:v>-0.73034669706457778</c:v>
                </c:pt>
                <c:pt idx="2284">
                  <c:v>-0.92887370089406751</c:v>
                </c:pt>
                <c:pt idx="2285">
                  <c:v>0.27940765114250921</c:v>
                </c:pt>
                <c:pt idx="2286">
                  <c:v>-1.834205583390057</c:v>
                </c:pt>
                <c:pt idx="2287">
                  <c:v>0.30459775527077571</c:v>
                </c:pt>
                <c:pt idx="2288">
                  <c:v>7.1266990544884168E-2</c:v>
                </c:pt>
                <c:pt idx="2289">
                  <c:v>0.4762214591180447</c:v>
                </c:pt>
                <c:pt idx="2290">
                  <c:v>0.15592652727408862</c:v>
                </c:pt>
                <c:pt idx="2291">
                  <c:v>0.44900143322739822</c:v>
                </c:pt>
                <c:pt idx="2292">
                  <c:v>2.2554454822449954</c:v>
                </c:pt>
                <c:pt idx="2293">
                  <c:v>6.3798580942710292E-2</c:v>
                </c:pt>
                <c:pt idx="2294">
                  <c:v>-0.40048440164793142</c:v>
                </c:pt>
                <c:pt idx="2295">
                  <c:v>-3.9656308667583708</c:v>
                </c:pt>
                <c:pt idx="2296">
                  <c:v>1.0374888969148301</c:v>
                </c:pt>
                <c:pt idx="2297">
                  <c:v>-1.5812383254734104</c:v>
                </c:pt>
                <c:pt idx="2298">
                  <c:v>0.57735157546899329</c:v>
                </c:pt>
                <c:pt idx="2299">
                  <c:v>0.49948327618125798</c:v>
                </c:pt>
                <c:pt idx="2300">
                  <c:v>-1.415825556464009</c:v>
                </c:pt>
                <c:pt idx="2301">
                  <c:v>0.41253511173773333</c:v>
                </c:pt>
                <c:pt idx="2302">
                  <c:v>0.32726799099016229</c:v>
                </c:pt>
                <c:pt idx="2303">
                  <c:v>-4.9285346642046601</c:v>
                </c:pt>
                <c:pt idx="2304">
                  <c:v>0.53847902592683616</c:v>
                </c:pt>
                <c:pt idx="2305">
                  <c:v>0.19427852778214327</c:v>
                </c:pt>
                <c:pt idx="2306">
                  <c:v>-0.50416779724308491</c:v>
                </c:pt>
                <c:pt idx="2307">
                  <c:v>-1.2146068835864345</c:v>
                </c:pt>
                <c:pt idx="2308">
                  <c:v>0.60995074013446615</c:v>
                </c:pt>
                <c:pt idx="2309">
                  <c:v>0.52924158270378241</c:v>
                </c:pt>
                <c:pt idx="2310">
                  <c:v>0.57952660557308444</c:v>
                </c:pt>
                <c:pt idx="2311">
                  <c:v>0.42948330267989876</c:v>
                </c:pt>
                <c:pt idx="2312">
                  <c:v>1.0167662527816967</c:v>
                </c:pt>
                <c:pt idx="2313">
                  <c:v>-1.0297144138500682</c:v>
                </c:pt>
                <c:pt idx="2314">
                  <c:v>9.1539880707052479</c:v>
                </c:pt>
                <c:pt idx="2315">
                  <c:v>-7.1888425241520393E-2</c:v>
                </c:pt>
                <c:pt idx="2316">
                  <c:v>-1.8425349532023461</c:v>
                </c:pt>
                <c:pt idx="2317">
                  <c:v>0.16464680848042679</c:v>
                </c:pt>
                <c:pt idx="2318">
                  <c:v>0.55041847902773355</c:v>
                </c:pt>
                <c:pt idx="2319">
                  <c:v>-0.74352288052060622</c:v>
                </c:pt>
                <c:pt idx="2320">
                  <c:v>-3.4991848913655197</c:v>
                </c:pt>
                <c:pt idx="2321">
                  <c:v>-0.14654197129209967</c:v>
                </c:pt>
                <c:pt idx="2322">
                  <c:v>-4.755796553290228</c:v>
                </c:pt>
                <c:pt idx="2323">
                  <c:v>0.34453425134746635</c:v>
                </c:pt>
                <c:pt idx="2324">
                  <c:v>-0.29030147441145349</c:v>
                </c:pt>
                <c:pt idx="2325">
                  <c:v>-0.36560182144465769</c:v>
                </c:pt>
                <c:pt idx="2326">
                  <c:v>0.23287468848576898</c:v>
                </c:pt>
                <c:pt idx="2327">
                  <c:v>-3.3643177262470694</c:v>
                </c:pt>
                <c:pt idx="2328">
                  <c:v>7.1121282876207559E-3</c:v>
                </c:pt>
                <c:pt idx="2329">
                  <c:v>-3.1363027083889001</c:v>
                </c:pt>
                <c:pt idx="2330">
                  <c:v>0.63313340833098675</c:v>
                </c:pt>
                <c:pt idx="2331">
                  <c:v>0.25067334639410227</c:v>
                </c:pt>
                <c:pt idx="2332">
                  <c:v>-7.199779616699753E-2</c:v>
                </c:pt>
                <c:pt idx="2333">
                  <c:v>-0.64250621672560881</c:v>
                </c:pt>
                <c:pt idx="2334">
                  <c:v>0.28514627958150629</c:v>
                </c:pt>
                <c:pt idx="2335">
                  <c:v>-0.21562386879852324</c:v>
                </c:pt>
                <c:pt idx="2336">
                  <c:v>-1.1982906127054362</c:v>
                </c:pt>
                <c:pt idx="2337">
                  <c:v>-0.83438641695294891</c:v>
                </c:pt>
                <c:pt idx="2338">
                  <c:v>-2.4560124720427527</c:v>
                </c:pt>
                <c:pt idx="2339">
                  <c:v>-1.1027410769472636</c:v>
                </c:pt>
                <c:pt idx="2340">
                  <c:v>0.10967189234806018</c:v>
                </c:pt>
                <c:pt idx="2341">
                  <c:v>-0.87672037409128745</c:v>
                </c:pt>
                <c:pt idx="2342">
                  <c:v>0.50897906184323571</c:v>
                </c:pt>
                <c:pt idx="2343">
                  <c:v>0.18208442783151302</c:v>
                </c:pt>
                <c:pt idx="2344">
                  <c:v>-3.4820072308240366</c:v>
                </c:pt>
                <c:pt idx="2345">
                  <c:v>1.4675930418032279E-2</c:v>
                </c:pt>
                <c:pt idx="2346">
                  <c:v>-1.3191884165887156</c:v>
                </c:pt>
                <c:pt idx="2347">
                  <c:v>0.2323875792978467</c:v>
                </c:pt>
                <c:pt idx="2348">
                  <c:v>0.52292029540649099</c:v>
                </c:pt>
                <c:pt idx="2349">
                  <c:v>5.2318173091994491E-2</c:v>
                </c:pt>
                <c:pt idx="2350">
                  <c:v>-0.1014824280134321</c:v>
                </c:pt>
                <c:pt idx="2351">
                  <c:v>-0.15779392019549676</c:v>
                </c:pt>
                <c:pt idx="2352">
                  <c:v>0.19895146013511278</c:v>
                </c:pt>
                <c:pt idx="2353">
                  <c:v>-1.3018954420685791</c:v>
                </c:pt>
                <c:pt idx="2354">
                  <c:v>0.36012988290596426</c:v>
                </c:pt>
                <c:pt idx="2355">
                  <c:v>1.4598397840333015</c:v>
                </c:pt>
                <c:pt idx="2356">
                  <c:v>-0.74029808700265676</c:v>
                </c:pt>
                <c:pt idx="2357">
                  <c:v>-8.0940620630887139E-2</c:v>
                </c:pt>
                <c:pt idx="2358">
                  <c:v>-0.25570444564192707</c:v>
                </c:pt>
                <c:pt idx="2359">
                  <c:v>0.43303992478136322</c:v>
                </c:pt>
                <c:pt idx="2360">
                  <c:v>-5.3071338831033987E-2</c:v>
                </c:pt>
                <c:pt idx="2361">
                  <c:v>0.17214136082128473</c:v>
                </c:pt>
                <c:pt idx="2362">
                  <c:v>-0.43809522402506795</c:v>
                </c:pt>
                <c:pt idx="2363">
                  <c:v>-0.59345829662461469</c:v>
                </c:pt>
                <c:pt idx="2364">
                  <c:v>7.1236006951141517E-2</c:v>
                </c:pt>
                <c:pt idx="2365">
                  <c:v>-0.99511573464947078</c:v>
                </c:pt>
                <c:pt idx="2366">
                  <c:v>-0.56568370878209095</c:v>
                </c:pt>
                <c:pt idx="2367">
                  <c:v>0.53754446220285179</c:v>
                </c:pt>
                <c:pt idx="2368">
                  <c:v>-6.3379410862882679E-2</c:v>
                </c:pt>
                <c:pt idx="2369">
                  <c:v>7.6586841678544348E-2</c:v>
                </c:pt>
                <c:pt idx="2370">
                  <c:v>-0.27574205742714075</c:v>
                </c:pt>
                <c:pt idx="2371">
                  <c:v>-0.98578127506039226</c:v>
                </c:pt>
                <c:pt idx="2372">
                  <c:v>-0.95678183537503791</c:v>
                </c:pt>
                <c:pt idx="2373">
                  <c:v>-0.11302518986304055</c:v>
                </c:pt>
                <c:pt idx="2374">
                  <c:v>1.9000870068561482</c:v>
                </c:pt>
                <c:pt idx="2375">
                  <c:v>-1.3546224964511575</c:v>
                </c:pt>
                <c:pt idx="2376">
                  <c:v>-2.168859015997866</c:v>
                </c:pt>
                <c:pt idx="2377">
                  <c:v>-0.26673947642044982</c:v>
                </c:pt>
                <c:pt idx="2378">
                  <c:v>-1.533358417803679</c:v>
                </c:pt>
                <c:pt idx="2379">
                  <c:v>-2.7167073965053752</c:v>
                </c:pt>
                <c:pt idx="2380">
                  <c:v>-0.85116765602660971</c:v>
                </c:pt>
                <c:pt idx="2381">
                  <c:v>0.11551389778316423</c:v>
                </c:pt>
                <c:pt idx="2382">
                  <c:v>1.0669923368030272</c:v>
                </c:pt>
                <c:pt idx="2383">
                  <c:v>0.15077067044191517</c:v>
                </c:pt>
                <c:pt idx="2384">
                  <c:v>1.0974378968657619</c:v>
                </c:pt>
                <c:pt idx="2385">
                  <c:v>-2.2209451987156923</c:v>
                </c:pt>
                <c:pt idx="2386">
                  <c:v>-0.55622597888002434</c:v>
                </c:pt>
                <c:pt idx="2387">
                  <c:v>0.40038407927950992</c:v>
                </c:pt>
                <c:pt idx="2388">
                  <c:v>-0.37912139848235782</c:v>
                </c:pt>
                <c:pt idx="2389">
                  <c:v>-1.9616290842888082</c:v>
                </c:pt>
                <c:pt idx="2390">
                  <c:v>-2.1139212637513394E-2</c:v>
                </c:pt>
                <c:pt idx="2391">
                  <c:v>-2.3401293861948087</c:v>
                </c:pt>
                <c:pt idx="2392">
                  <c:v>-0.46502363114813638</c:v>
                </c:pt>
                <c:pt idx="2393">
                  <c:v>-0.27167984138761703</c:v>
                </c:pt>
                <c:pt idx="2394">
                  <c:v>0.57294244838875752</c:v>
                </c:pt>
                <c:pt idx="2395">
                  <c:v>-2.4820072308240366</c:v>
                </c:pt>
                <c:pt idx="2396">
                  <c:v>-9.1605406633467057E-2</c:v>
                </c:pt>
                <c:pt idx="2397">
                  <c:v>-6.0389223191541608E-2</c:v>
                </c:pt>
                <c:pt idx="2398">
                  <c:v>-0.39258984191808954</c:v>
                </c:pt>
                <c:pt idx="2399">
                  <c:v>-0.8594548414229437</c:v>
                </c:pt>
                <c:pt idx="2400">
                  <c:v>0.2325300927082346</c:v>
                </c:pt>
                <c:pt idx="2401">
                  <c:v>0.18791340826979042</c:v>
                </c:pt>
                <c:pt idx="2402">
                  <c:v>7.251785633219221E-2</c:v>
                </c:pt>
                <c:pt idx="2403">
                  <c:v>-1.4820072308240366</c:v>
                </c:pt>
                <c:pt idx="2404">
                  <c:v>0.50752253315849361</c:v>
                </c:pt>
                <c:pt idx="2405">
                  <c:v>0.5082256539892509</c:v>
                </c:pt>
                <c:pt idx="2406">
                  <c:v>-1.4146764332874144</c:v>
                </c:pt>
                <c:pt idx="2407">
                  <c:v>0.12700921237849738</c:v>
                </c:pt>
                <c:pt idx="2408">
                  <c:v>0.12068929980195242</c:v>
                </c:pt>
                <c:pt idx="2409">
                  <c:v>-0.65809616303373808</c:v>
                </c:pt>
                <c:pt idx="2410">
                  <c:v>0.50993147779099901</c:v>
                </c:pt>
                <c:pt idx="2411">
                  <c:v>1.3356673849106104E-2</c:v>
                </c:pt>
                <c:pt idx="2412">
                  <c:v>9.8192466031290948E-2</c:v>
                </c:pt>
                <c:pt idx="2413">
                  <c:v>-0.56421499795558328</c:v>
                </c:pt>
                <c:pt idx="2414">
                  <c:v>-0.67175500965687673</c:v>
                </c:pt>
                <c:pt idx="2415">
                  <c:v>-0.5885292256732253</c:v>
                </c:pt>
                <c:pt idx="2416">
                  <c:v>0.74434937510041199</c:v>
                </c:pt>
                <c:pt idx="2417">
                  <c:v>0.53792154530347536</c:v>
                </c:pt>
                <c:pt idx="2418">
                  <c:v>-0.84638270473746857</c:v>
                </c:pt>
                <c:pt idx="2419">
                  <c:v>1.0498539151983382</c:v>
                </c:pt>
                <c:pt idx="2420">
                  <c:v>-8.4658718587474979E-2</c:v>
                </c:pt>
                <c:pt idx="2421">
                  <c:v>0.21090503833497393</c:v>
                </c:pt>
                <c:pt idx="2422">
                  <c:v>0.17249770203750181</c:v>
                </c:pt>
                <c:pt idx="2423">
                  <c:v>1.2062482659387364E-2</c:v>
                </c:pt>
                <c:pt idx="2424">
                  <c:v>0.24690458724646713</c:v>
                </c:pt>
                <c:pt idx="2425">
                  <c:v>-0.65348792796917587</c:v>
                </c:pt>
                <c:pt idx="2426">
                  <c:v>-3.9809795554967344</c:v>
                </c:pt>
                <c:pt idx="2427">
                  <c:v>0.11644492218276969</c:v>
                </c:pt>
                <c:pt idx="2428">
                  <c:v>0.25516842615678575</c:v>
                </c:pt>
                <c:pt idx="2429">
                  <c:v>9.8121208117311287E-2</c:v>
                </c:pt>
                <c:pt idx="2430">
                  <c:v>-2.3218961926956929</c:v>
                </c:pt>
                <c:pt idx="2431">
                  <c:v>0.81046649778204061</c:v>
                </c:pt>
                <c:pt idx="2432">
                  <c:v>-1.8729746891214325</c:v>
                </c:pt>
                <c:pt idx="2433">
                  <c:v>2.3584685189032966</c:v>
                </c:pt>
                <c:pt idx="2434">
                  <c:v>6.2504457444987893E-2</c:v>
                </c:pt>
                <c:pt idx="2435">
                  <c:v>0.27230347766708674</c:v>
                </c:pt>
                <c:pt idx="2436">
                  <c:v>-6.2571516449933751E-2</c:v>
                </c:pt>
                <c:pt idx="2437">
                  <c:v>-0.21050941452225769</c:v>
                </c:pt>
                <c:pt idx="2438">
                  <c:v>-22.996401712734524</c:v>
                </c:pt>
                <c:pt idx="2439">
                  <c:v>0.68781023396460994</c:v>
                </c:pt>
                <c:pt idx="2440">
                  <c:v>6.8707971986420313E-2</c:v>
                </c:pt>
                <c:pt idx="2441">
                  <c:v>1.0638839283550121</c:v>
                </c:pt>
                <c:pt idx="2442">
                  <c:v>-1.0865619315875543</c:v>
                </c:pt>
                <c:pt idx="2443">
                  <c:v>0.34960449307985203</c:v>
                </c:pt>
                <c:pt idx="2444">
                  <c:v>-1.0283378769942768</c:v>
                </c:pt>
                <c:pt idx="2445">
                  <c:v>-0.34482974908183861</c:v>
                </c:pt>
                <c:pt idx="2446">
                  <c:v>1.2340168321340292</c:v>
                </c:pt>
                <c:pt idx="2447">
                  <c:v>0.24152086387913968</c:v>
                </c:pt>
                <c:pt idx="2448">
                  <c:v>2.2263008382852028</c:v>
                </c:pt>
                <c:pt idx="2449">
                  <c:v>-0.31346393731719813</c:v>
                </c:pt>
                <c:pt idx="2450">
                  <c:v>-2.1193190709091811</c:v>
                </c:pt>
                <c:pt idx="2451">
                  <c:v>1.1269929428937933</c:v>
                </c:pt>
                <c:pt idx="2452">
                  <c:v>0.2444912732925032</c:v>
                </c:pt>
                <c:pt idx="2453">
                  <c:v>-0.72367518104862993</c:v>
                </c:pt>
                <c:pt idx="2454">
                  <c:v>0.83785502685183955</c:v>
                </c:pt>
                <c:pt idx="2455">
                  <c:v>-0.35559374352468143</c:v>
                </c:pt>
                <c:pt idx="2456">
                  <c:v>0.22223932334135538</c:v>
                </c:pt>
                <c:pt idx="2457">
                  <c:v>-2.6891702924038219</c:v>
                </c:pt>
                <c:pt idx="2458">
                  <c:v>0.34803739028925174</c:v>
                </c:pt>
                <c:pt idx="2459">
                  <c:v>-0.45779440879737554</c:v>
                </c:pt>
                <c:pt idx="2460">
                  <c:v>-0.47187702270020515</c:v>
                </c:pt>
                <c:pt idx="2461">
                  <c:v>-1.1322034559272307</c:v>
                </c:pt>
                <c:pt idx="2462">
                  <c:v>4.7900993927871856</c:v>
                </c:pt>
                <c:pt idx="2463">
                  <c:v>-0.53800633961145605</c:v>
                </c:pt>
                <c:pt idx="2464">
                  <c:v>-0.38630024491548443</c:v>
                </c:pt>
                <c:pt idx="2465">
                  <c:v>1.2369117512361969</c:v>
                </c:pt>
                <c:pt idx="2466">
                  <c:v>-2.4820072308240366</c:v>
                </c:pt>
                <c:pt idx="2467">
                  <c:v>-2.4820072308240366</c:v>
                </c:pt>
                <c:pt idx="2468">
                  <c:v>-1.4640417313781562</c:v>
                </c:pt>
                <c:pt idx="2469">
                  <c:v>0.22344756822401868</c:v>
                </c:pt>
                <c:pt idx="2470">
                  <c:v>-0.1936268307526291</c:v>
                </c:pt>
                <c:pt idx="2471">
                  <c:v>-2.4287965775670588</c:v>
                </c:pt>
                <c:pt idx="2472">
                  <c:v>-0.20648127733786159</c:v>
                </c:pt>
                <c:pt idx="2473">
                  <c:v>-0.24949160015260974</c:v>
                </c:pt>
                <c:pt idx="2474">
                  <c:v>1.547638827447495E-2</c:v>
                </c:pt>
                <c:pt idx="2475">
                  <c:v>-2.0570973453649928</c:v>
                </c:pt>
                <c:pt idx="2476">
                  <c:v>0.39934941590877582</c:v>
                </c:pt>
                <c:pt idx="2477">
                  <c:v>-0.63731213248596208</c:v>
                </c:pt>
                <c:pt idx="2478">
                  <c:v>-0.15706237202117945</c:v>
                </c:pt>
                <c:pt idx="2479">
                  <c:v>-0.22797469495399969</c:v>
                </c:pt>
                <c:pt idx="2480">
                  <c:v>1.0356899217806332</c:v>
                </c:pt>
                <c:pt idx="2481">
                  <c:v>-0.36291296238454485</c:v>
                </c:pt>
                <c:pt idx="2482">
                  <c:v>-3.4820072308240366</c:v>
                </c:pt>
                <c:pt idx="2483">
                  <c:v>-0.21339001918477574</c:v>
                </c:pt>
                <c:pt idx="2484">
                  <c:v>-0.26205674400356704</c:v>
                </c:pt>
                <c:pt idx="2485">
                  <c:v>-0.29569261169982397</c:v>
                </c:pt>
                <c:pt idx="2486">
                  <c:v>-0.59522799903542212</c:v>
                </c:pt>
                <c:pt idx="2487">
                  <c:v>-6.6231070398004768</c:v>
                </c:pt>
                <c:pt idx="2488">
                  <c:v>-1.7626446993755107</c:v>
                </c:pt>
                <c:pt idx="2489">
                  <c:v>-0.48200723082403663</c:v>
                </c:pt>
                <c:pt idx="2490">
                  <c:v>-0.92682331834847931</c:v>
                </c:pt>
                <c:pt idx="2491">
                  <c:v>-0.95447036633990701</c:v>
                </c:pt>
                <c:pt idx="2492">
                  <c:v>0.56767655590619714</c:v>
                </c:pt>
                <c:pt idx="2493">
                  <c:v>-0.56295758373775628</c:v>
                </c:pt>
                <c:pt idx="2494">
                  <c:v>-1.8141209450079736</c:v>
                </c:pt>
                <c:pt idx="2495">
                  <c:v>-2.6530210878062048</c:v>
                </c:pt>
                <c:pt idx="2496">
                  <c:v>-0.50511065488406448</c:v>
                </c:pt>
                <c:pt idx="2497">
                  <c:v>2.0079122895529187</c:v>
                </c:pt>
                <c:pt idx="2498">
                  <c:v>-1.0570903061675005</c:v>
                </c:pt>
                <c:pt idx="2499">
                  <c:v>-0.93884481008389464</c:v>
                </c:pt>
                <c:pt idx="2500">
                  <c:v>3.8540347237722594E-2</c:v>
                </c:pt>
                <c:pt idx="2501">
                  <c:v>-1.1195903747179532</c:v>
                </c:pt>
                <c:pt idx="2502">
                  <c:v>-1.1309355895641686</c:v>
                </c:pt>
                <c:pt idx="2503">
                  <c:v>-1.9182929809910023</c:v>
                </c:pt>
                <c:pt idx="2504">
                  <c:v>0.29963010768993037</c:v>
                </c:pt>
                <c:pt idx="2505">
                  <c:v>1.2205368075472665</c:v>
                </c:pt>
                <c:pt idx="2506">
                  <c:v>-0.24963508377921273</c:v>
                </c:pt>
                <c:pt idx="2507">
                  <c:v>5.6405985729806041E-3</c:v>
                </c:pt>
                <c:pt idx="2508">
                  <c:v>-3.050579470840113</c:v>
                </c:pt>
                <c:pt idx="2509">
                  <c:v>-2.2507608444241147</c:v>
                </c:pt>
                <c:pt idx="2510">
                  <c:v>-5.5500962456412744</c:v>
                </c:pt>
                <c:pt idx="2511">
                  <c:v>-5.9671912864717291E-2</c:v>
                </c:pt>
                <c:pt idx="2512">
                  <c:v>1.2829815765718713</c:v>
                </c:pt>
                <c:pt idx="2513">
                  <c:v>-0.64257788485658418</c:v>
                </c:pt>
                <c:pt idx="2514">
                  <c:v>-1.2599098609119621</c:v>
                </c:pt>
                <c:pt idx="2515">
                  <c:v>-1.3483262526677353</c:v>
                </c:pt>
                <c:pt idx="2516">
                  <c:v>6.3150656987677278</c:v>
                </c:pt>
                <c:pt idx="2517">
                  <c:v>-0.55394191554031291</c:v>
                </c:pt>
                <c:pt idx="2518">
                  <c:v>3.0696802619104946</c:v>
                </c:pt>
                <c:pt idx="2519">
                  <c:v>-1.0512327808019912</c:v>
                </c:pt>
                <c:pt idx="2520">
                  <c:v>-0.11005679428656745</c:v>
                </c:pt>
                <c:pt idx="2521">
                  <c:v>-0.68017413400674553</c:v>
                </c:pt>
                <c:pt idx="2522">
                  <c:v>-0.41276915480973542</c:v>
                </c:pt>
                <c:pt idx="2523">
                  <c:v>-0.16306209178486242</c:v>
                </c:pt>
                <c:pt idx="2524">
                  <c:v>2.7783623186445787</c:v>
                </c:pt>
                <c:pt idx="2525">
                  <c:v>-1.4236197458863127</c:v>
                </c:pt>
                <c:pt idx="2526">
                  <c:v>0.22226946639041145</c:v>
                </c:pt>
                <c:pt idx="2527">
                  <c:v>0.51799276917596337</c:v>
                </c:pt>
                <c:pt idx="2528">
                  <c:v>0.25506442059214152</c:v>
                </c:pt>
                <c:pt idx="2529">
                  <c:v>-3.5683529832043233</c:v>
                </c:pt>
                <c:pt idx="2530">
                  <c:v>3.6321091011727606</c:v>
                </c:pt>
                <c:pt idx="2531">
                  <c:v>-1.1485651255022944</c:v>
                </c:pt>
                <c:pt idx="2532">
                  <c:v>-1.9693551006181069</c:v>
                </c:pt>
                <c:pt idx="2533">
                  <c:v>-7.9246761737106404</c:v>
                </c:pt>
                <c:pt idx="2534">
                  <c:v>-0.55386332996773202</c:v>
                </c:pt>
                <c:pt idx="2535">
                  <c:v>-1.1797741835914826</c:v>
                </c:pt>
                <c:pt idx="2536">
                  <c:v>-2.5256159395684907</c:v>
                </c:pt>
                <c:pt idx="2537">
                  <c:v>-0.71554634492480429</c:v>
                </c:pt>
                <c:pt idx="2538">
                  <c:v>-0.97449002040552646</c:v>
                </c:pt>
                <c:pt idx="2539">
                  <c:v>0.72162487138799636</c:v>
                </c:pt>
                <c:pt idx="2540">
                  <c:v>-2.3024104509065912</c:v>
                </c:pt>
                <c:pt idx="2541">
                  <c:v>-0.48200723082403663</c:v>
                </c:pt>
                <c:pt idx="2542">
                  <c:v>-0.70033899465717764</c:v>
                </c:pt>
                <c:pt idx="2543">
                  <c:v>-2.9174996839807408</c:v>
                </c:pt>
                <c:pt idx="2544">
                  <c:v>0.65486646374412061</c:v>
                </c:pt>
                <c:pt idx="2545">
                  <c:v>-0.53007081413598645</c:v>
                </c:pt>
                <c:pt idx="2546">
                  <c:v>-0.55479805006372596</c:v>
                </c:pt>
                <c:pt idx="2547">
                  <c:v>-0.14733822653230633</c:v>
                </c:pt>
                <c:pt idx="2548">
                  <c:v>-5.849915144610518E-2</c:v>
                </c:pt>
                <c:pt idx="2549">
                  <c:v>-0.96811560774910799</c:v>
                </c:pt>
                <c:pt idx="2550">
                  <c:v>-2.7687798652185549</c:v>
                </c:pt>
                <c:pt idx="2551">
                  <c:v>-2.1515703433169442E-2</c:v>
                </c:pt>
                <c:pt idx="2552">
                  <c:v>-0.55780876522575329</c:v>
                </c:pt>
                <c:pt idx="2553">
                  <c:v>-0.59475310506513912</c:v>
                </c:pt>
                <c:pt idx="2554">
                  <c:v>-0.48200723082403663</c:v>
                </c:pt>
                <c:pt idx="2555">
                  <c:v>1.1691703164639919</c:v>
                </c:pt>
                <c:pt idx="2556">
                  <c:v>-0.83517067543425538</c:v>
                </c:pt>
                <c:pt idx="2557">
                  <c:v>0.68189183569409151</c:v>
                </c:pt>
                <c:pt idx="2558">
                  <c:v>-0.20883971484095443</c:v>
                </c:pt>
                <c:pt idx="2559">
                  <c:v>0.51799276917596337</c:v>
                </c:pt>
                <c:pt idx="2560">
                  <c:v>-1.8147000089377494</c:v>
                </c:pt>
                <c:pt idx="2561">
                  <c:v>0.21981257010855138</c:v>
                </c:pt>
                <c:pt idx="2562">
                  <c:v>0.50142363824481495</c:v>
                </c:pt>
                <c:pt idx="2563">
                  <c:v>-0.88292540444992285</c:v>
                </c:pt>
                <c:pt idx="2564">
                  <c:v>-0.16644509193861357</c:v>
                </c:pt>
                <c:pt idx="2565">
                  <c:v>-0.29703578530159147</c:v>
                </c:pt>
                <c:pt idx="2566">
                  <c:v>0.24809408792873977</c:v>
                </c:pt>
                <c:pt idx="2567">
                  <c:v>-0.16017778571349173</c:v>
                </c:pt>
                <c:pt idx="2568">
                  <c:v>-1.6205986499129184</c:v>
                </c:pt>
                <c:pt idx="2569">
                  <c:v>-0.73284753764710064</c:v>
                </c:pt>
                <c:pt idx="2570">
                  <c:v>-0.26052369995739899</c:v>
                </c:pt>
                <c:pt idx="2571">
                  <c:v>0.71755354748007516</c:v>
                </c:pt>
                <c:pt idx="2572">
                  <c:v>-1.4503389977059409</c:v>
                </c:pt>
                <c:pt idx="2573">
                  <c:v>0.63610003512259206</c:v>
                </c:pt>
                <c:pt idx="2574">
                  <c:v>0.53598633178945931</c:v>
                </c:pt>
                <c:pt idx="2575">
                  <c:v>0.14395292037335328</c:v>
                </c:pt>
                <c:pt idx="2576">
                  <c:v>-1.232582626174703</c:v>
                </c:pt>
                <c:pt idx="2577">
                  <c:v>0.39259713125336582</c:v>
                </c:pt>
                <c:pt idx="2578">
                  <c:v>0.23315248918593801</c:v>
                </c:pt>
                <c:pt idx="2579">
                  <c:v>-1.648445535888007</c:v>
                </c:pt>
                <c:pt idx="2580">
                  <c:v>-0.24532495063832238</c:v>
                </c:pt>
                <c:pt idx="2581">
                  <c:v>-0.27297968727659949</c:v>
                </c:pt>
                <c:pt idx="2582">
                  <c:v>-1.0694729177802653</c:v>
                </c:pt>
                <c:pt idx="2583">
                  <c:v>-1.6101794526761521</c:v>
                </c:pt>
                <c:pt idx="2584">
                  <c:v>-3.4820072308240366</c:v>
                </c:pt>
                <c:pt idx="2585">
                  <c:v>0.13597877980168116</c:v>
                </c:pt>
                <c:pt idx="2586">
                  <c:v>-0.15122875555847615</c:v>
                </c:pt>
                <c:pt idx="2587">
                  <c:v>1.5179927691759634</c:v>
                </c:pt>
                <c:pt idx="2588">
                  <c:v>-0.47895739276863725</c:v>
                </c:pt>
                <c:pt idx="2589">
                  <c:v>0.44293400443720277</c:v>
                </c:pt>
                <c:pt idx="2590">
                  <c:v>-2.7640180966835088</c:v>
                </c:pt>
                <c:pt idx="2591">
                  <c:v>-1.257098450327661</c:v>
                </c:pt>
                <c:pt idx="2592">
                  <c:v>-4.4820072308240366</c:v>
                </c:pt>
                <c:pt idx="2593">
                  <c:v>-14.889247707214608</c:v>
                </c:pt>
                <c:pt idx="2594">
                  <c:v>-0.37718542574375813</c:v>
                </c:pt>
                <c:pt idx="2595">
                  <c:v>-2.4961434123943436</c:v>
                </c:pt>
                <c:pt idx="2596">
                  <c:v>-0.27234178856161484</c:v>
                </c:pt>
                <c:pt idx="2597">
                  <c:v>0.96010519352538626</c:v>
                </c:pt>
                <c:pt idx="2598">
                  <c:v>-1.3242981807766649</c:v>
                </c:pt>
                <c:pt idx="2599">
                  <c:v>2.1865033598108048</c:v>
                </c:pt>
                <c:pt idx="2600">
                  <c:v>-0.33746194429161891</c:v>
                </c:pt>
                <c:pt idx="2601">
                  <c:v>-0.39463260263150302</c:v>
                </c:pt>
                <c:pt idx="2602">
                  <c:v>-2.4820072308240366</c:v>
                </c:pt>
                <c:pt idx="2603">
                  <c:v>-4.1928194264108654E-2</c:v>
                </c:pt>
                <c:pt idx="2604">
                  <c:v>-3.5463221804475142E-2</c:v>
                </c:pt>
                <c:pt idx="2605">
                  <c:v>0.4461374960715267</c:v>
                </c:pt>
                <c:pt idx="2606">
                  <c:v>2.9277438838151482</c:v>
                </c:pt>
                <c:pt idx="2607">
                  <c:v>-0.87691362990562838</c:v>
                </c:pt>
                <c:pt idx="2608">
                  <c:v>1.3056091196295989</c:v>
                </c:pt>
                <c:pt idx="2609">
                  <c:v>0.37470008302838642</c:v>
                </c:pt>
                <c:pt idx="2610">
                  <c:v>-0.48736251212798232</c:v>
                </c:pt>
                <c:pt idx="2611">
                  <c:v>0.56820464128015735</c:v>
                </c:pt>
                <c:pt idx="2612">
                  <c:v>-1.9449812862505822</c:v>
                </c:pt>
                <c:pt idx="2613">
                  <c:v>-2.5085393133965281</c:v>
                </c:pt>
                <c:pt idx="2614">
                  <c:v>0.64479562083813113</c:v>
                </c:pt>
                <c:pt idx="2615">
                  <c:v>-1.4820072308240366</c:v>
                </c:pt>
                <c:pt idx="2616">
                  <c:v>-1.5282754765692701</c:v>
                </c:pt>
                <c:pt idx="2617">
                  <c:v>-2.1131690217271069</c:v>
                </c:pt>
                <c:pt idx="2618">
                  <c:v>-1.3908859465681118</c:v>
                </c:pt>
                <c:pt idx="2619">
                  <c:v>1.1496617570812573</c:v>
                </c:pt>
                <c:pt idx="2620">
                  <c:v>-1.391000069668634</c:v>
                </c:pt>
                <c:pt idx="2621">
                  <c:v>0.27986111982583345</c:v>
                </c:pt>
                <c:pt idx="2622">
                  <c:v>1.1658311402880694</c:v>
                </c:pt>
                <c:pt idx="2623">
                  <c:v>0.57436502799709743</c:v>
                </c:pt>
                <c:pt idx="2624">
                  <c:v>-0.15252430465313882</c:v>
                </c:pt>
                <c:pt idx="2625">
                  <c:v>-1.7804788593183405</c:v>
                </c:pt>
                <c:pt idx="2626">
                  <c:v>-2.3663258970132928</c:v>
                </c:pt>
                <c:pt idx="2627">
                  <c:v>-0.28885154811392344</c:v>
                </c:pt>
                <c:pt idx="2628">
                  <c:v>-0.99791768846498274</c:v>
                </c:pt>
                <c:pt idx="2629">
                  <c:v>-0.39326055608293231</c:v>
                </c:pt>
                <c:pt idx="2630">
                  <c:v>0.70961730244568066</c:v>
                </c:pt>
                <c:pt idx="2631">
                  <c:v>-2.4432006027386843</c:v>
                </c:pt>
                <c:pt idx="2632">
                  <c:v>-1.4820072308240366</c:v>
                </c:pt>
                <c:pt idx="2633">
                  <c:v>0.22855500110311283</c:v>
                </c:pt>
                <c:pt idx="2634">
                  <c:v>-0.22651112630164061</c:v>
                </c:pt>
                <c:pt idx="2635">
                  <c:v>-1.531694638861679</c:v>
                </c:pt>
                <c:pt idx="2636">
                  <c:v>1.0123501558434116</c:v>
                </c:pt>
                <c:pt idx="2637">
                  <c:v>0.64236222653697417</c:v>
                </c:pt>
                <c:pt idx="2638">
                  <c:v>-1.5368311607287435</c:v>
                </c:pt>
                <c:pt idx="2639">
                  <c:v>-1.6155896105381662</c:v>
                </c:pt>
                <c:pt idx="2640">
                  <c:v>-0.15837693850178947</c:v>
                </c:pt>
                <c:pt idx="2641">
                  <c:v>-1.7493317845695118</c:v>
                </c:pt>
                <c:pt idx="2642">
                  <c:v>-0.74935122019529321</c:v>
                </c:pt>
                <c:pt idx="2643">
                  <c:v>-1.1746321061455771</c:v>
                </c:pt>
                <c:pt idx="2644">
                  <c:v>0.65990564935562479</c:v>
                </c:pt>
                <c:pt idx="2645">
                  <c:v>0.16860217830903235</c:v>
                </c:pt>
                <c:pt idx="2646">
                  <c:v>-1.1000420890335412</c:v>
                </c:pt>
                <c:pt idx="2647">
                  <c:v>0.80366961135377224</c:v>
                </c:pt>
                <c:pt idx="2648">
                  <c:v>-0.66412386937287993</c:v>
                </c:pt>
                <c:pt idx="2649">
                  <c:v>0.3095804785046381</c:v>
                </c:pt>
                <c:pt idx="2650">
                  <c:v>-0.77309955897660343</c:v>
                </c:pt>
                <c:pt idx="2651">
                  <c:v>0.51799276917596337</c:v>
                </c:pt>
                <c:pt idx="2652">
                  <c:v>-4.8276949875094246</c:v>
                </c:pt>
                <c:pt idx="2653">
                  <c:v>2.3891522275391077</c:v>
                </c:pt>
                <c:pt idx="2654">
                  <c:v>-1.1447342751009129</c:v>
                </c:pt>
                <c:pt idx="2655">
                  <c:v>-2.7051290189954189</c:v>
                </c:pt>
                <c:pt idx="2656">
                  <c:v>-0.37419726256411101</c:v>
                </c:pt>
                <c:pt idx="2657">
                  <c:v>-1.4820072308240366</c:v>
                </c:pt>
                <c:pt idx="2658">
                  <c:v>2.2040097880761467</c:v>
                </c:pt>
                <c:pt idx="2659">
                  <c:v>-1.4820072308240366</c:v>
                </c:pt>
                <c:pt idx="2660">
                  <c:v>-1.5983698062309055</c:v>
                </c:pt>
                <c:pt idx="2661">
                  <c:v>2.7562365964662403</c:v>
                </c:pt>
                <c:pt idx="2662">
                  <c:v>0.30341300269853039</c:v>
                </c:pt>
                <c:pt idx="2663">
                  <c:v>0.90216202841107407</c:v>
                </c:pt>
                <c:pt idx="2664">
                  <c:v>-1.2201543587279942</c:v>
                </c:pt>
                <c:pt idx="2665">
                  <c:v>-0.51449903114820872</c:v>
                </c:pt>
                <c:pt idx="2666">
                  <c:v>2.7382183558406759</c:v>
                </c:pt>
                <c:pt idx="2667">
                  <c:v>0.27561081915697305</c:v>
                </c:pt>
                <c:pt idx="2668">
                  <c:v>-2.4192001926983946</c:v>
                </c:pt>
                <c:pt idx="2669">
                  <c:v>-1.073307693547308</c:v>
                </c:pt>
                <c:pt idx="2670">
                  <c:v>-1.4820072308240366</c:v>
                </c:pt>
                <c:pt idx="2671">
                  <c:v>-2.1248846843180571</c:v>
                </c:pt>
                <c:pt idx="2672">
                  <c:v>-0.19991131459194122</c:v>
                </c:pt>
                <c:pt idx="2673">
                  <c:v>3.0606933556659683</c:v>
                </c:pt>
                <c:pt idx="2674">
                  <c:v>-5.7257361114249283E-2</c:v>
                </c:pt>
                <c:pt idx="2675">
                  <c:v>-2.033012392086321</c:v>
                </c:pt>
                <c:pt idx="2676">
                  <c:v>-0.69391763518374239</c:v>
                </c:pt>
                <c:pt idx="2677">
                  <c:v>-2.3195313509343896E-2</c:v>
                </c:pt>
                <c:pt idx="2678">
                  <c:v>-0.48449756684487988</c:v>
                </c:pt>
                <c:pt idx="2679">
                  <c:v>6.6178904520683979E-3</c:v>
                </c:pt>
                <c:pt idx="2680">
                  <c:v>0.24689853606551065</c:v>
                </c:pt>
                <c:pt idx="2681">
                  <c:v>4.0906368661974168E-2</c:v>
                </c:pt>
                <c:pt idx="2682">
                  <c:v>0.49543439062986605</c:v>
                </c:pt>
                <c:pt idx="2683">
                  <c:v>-2.81008351720428</c:v>
                </c:pt>
                <c:pt idx="2684">
                  <c:v>-1.2327095800962233</c:v>
                </c:pt>
                <c:pt idx="2685">
                  <c:v>-1.0459491996131787</c:v>
                </c:pt>
                <c:pt idx="2686">
                  <c:v>-1.4617268462819188E-2</c:v>
                </c:pt>
                <c:pt idx="2687">
                  <c:v>1.4793758980163583</c:v>
                </c:pt>
                <c:pt idx="2688">
                  <c:v>0.31586517344277776</c:v>
                </c:pt>
                <c:pt idx="2689">
                  <c:v>1.3891001272302108</c:v>
                </c:pt>
                <c:pt idx="2690">
                  <c:v>-1.0239772052955471</c:v>
                </c:pt>
                <c:pt idx="2691">
                  <c:v>-2.7303057757125546</c:v>
                </c:pt>
                <c:pt idx="2692">
                  <c:v>-6.281999602483884</c:v>
                </c:pt>
                <c:pt idx="2693">
                  <c:v>-7.3558616319868708E-4</c:v>
                </c:pt>
                <c:pt idx="2694">
                  <c:v>0.1280927001418245</c:v>
                </c:pt>
                <c:pt idx="2695">
                  <c:v>-0.29788706050669767</c:v>
                </c:pt>
                <c:pt idx="2696">
                  <c:v>-5.9611321275300111E-2</c:v>
                </c:pt>
                <c:pt idx="2697">
                  <c:v>-0.51176031045021975</c:v>
                </c:pt>
                <c:pt idx="2698">
                  <c:v>-0.32992124447252169</c:v>
                </c:pt>
                <c:pt idx="2699">
                  <c:v>-2.5339869855707788</c:v>
                </c:pt>
                <c:pt idx="2700">
                  <c:v>1.1554165905006584</c:v>
                </c:pt>
                <c:pt idx="2701">
                  <c:v>-0.12265568908027735</c:v>
                </c:pt>
                <c:pt idx="2702">
                  <c:v>4.5179927691759634</c:v>
                </c:pt>
                <c:pt idx="2703">
                  <c:v>-4.357763597715822</c:v>
                </c:pt>
                <c:pt idx="2704">
                  <c:v>-2.4202271383042269</c:v>
                </c:pt>
                <c:pt idx="2705">
                  <c:v>-0.38529362624911734</c:v>
                </c:pt>
                <c:pt idx="2706">
                  <c:v>-2.7017088712112427</c:v>
                </c:pt>
                <c:pt idx="2707">
                  <c:v>0.50051606340946875</c:v>
                </c:pt>
                <c:pt idx="2708">
                  <c:v>-0.87726376192143296</c:v>
                </c:pt>
                <c:pt idx="2709">
                  <c:v>0.22092322170297179</c:v>
                </c:pt>
                <c:pt idx="2710">
                  <c:v>0.3366453003830337</c:v>
                </c:pt>
                <c:pt idx="2711">
                  <c:v>-1.868363910108938</c:v>
                </c:pt>
                <c:pt idx="2712">
                  <c:v>-2.1100255480548751</c:v>
                </c:pt>
                <c:pt idx="2713">
                  <c:v>9.7731477823911117E-2</c:v>
                </c:pt>
                <c:pt idx="2714">
                  <c:v>-3.4432697638482246</c:v>
                </c:pt>
                <c:pt idx="2715">
                  <c:v>-2.4197175570209737</c:v>
                </c:pt>
                <c:pt idx="2716">
                  <c:v>-0.40877697097554377</c:v>
                </c:pt>
                <c:pt idx="2717">
                  <c:v>-0.54778935373153659</c:v>
                </c:pt>
                <c:pt idx="2718">
                  <c:v>-0.48200723082403663</c:v>
                </c:pt>
                <c:pt idx="2719">
                  <c:v>-0.87535096017066194</c:v>
                </c:pt>
                <c:pt idx="2720">
                  <c:v>2.3173133655715632</c:v>
                </c:pt>
                <c:pt idx="2721">
                  <c:v>-1.2127799539681337</c:v>
                </c:pt>
                <c:pt idx="2722">
                  <c:v>1.1891733666499436</c:v>
                </c:pt>
                <c:pt idx="2723">
                  <c:v>0.78565482894687788</c:v>
                </c:pt>
                <c:pt idx="2724">
                  <c:v>-0.73509201644451938</c:v>
                </c:pt>
                <c:pt idx="2725">
                  <c:v>0.3247412533839058</c:v>
                </c:pt>
                <c:pt idx="2726">
                  <c:v>0.96695428180054643</c:v>
                </c:pt>
                <c:pt idx="2727">
                  <c:v>0.67167977277835811</c:v>
                </c:pt>
                <c:pt idx="2728">
                  <c:v>-0.94861556711749917</c:v>
                </c:pt>
                <c:pt idx="2729">
                  <c:v>-0.62539989805017293</c:v>
                </c:pt>
                <c:pt idx="2730">
                  <c:v>-1.9176575601793999</c:v>
                </c:pt>
                <c:pt idx="2731">
                  <c:v>5.4903296585323558E-2</c:v>
                </c:pt>
                <c:pt idx="2732">
                  <c:v>0.39405270818514193</c:v>
                </c:pt>
                <c:pt idx="2733">
                  <c:v>-0.89382026202707321</c:v>
                </c:pt>
                <c:pt idx="2734">
                  <c:v>0.57803342881785413</c:v>
                </c:pt>
                <c:pt idx="2735">
                  <c:v>3.0385608484895688E-2</c:v>
                </c:pt>
                <c:pt idx="2736">
                  <c:v>-3.568608829939544</c:v>
                </c:pt>
                <c:pt idx="2737">
                  <c:v>-5.5387171475159591E-2</c:v>
                </c:pt>
                <c:pt idx="2738">
                  <c:v>0.29605425896553195</c:v>
                </c:pt>
                <c:pt idx="2739">
                  <c:v>0.90012161757696108</c:v>
                </c:pt>
                <c:pt idx="2740">
                  <c:v>2.3926593539332837</c:v>
                </c:pt>
                <c:pt idx="2741">
                  <c:v>9.8671037504924897E-3</c:v>
                </c:pt>
                <c:pt idx="2742">
                  <c:v>1.0605809240952295</c:v>
                </c:pt>
                <c:pt idx="2743">
                  <c:v>-0.7005696262309673</c:v>
                </c:pt>
                <c:pt idx="2744">
                  <c:v>-0.1946843658880828</c:v>
                </c:pt>
                <c:pt idx="2745">
                  <c:v>-0.17185580825959712</c:v>
                </c:pt>
                <c:pt idx="2746">
                  <c:v>-3.4820072308240366</c:v>
                </c:pt>
                <c:pt idx="2747">
                  <c:v>-1.3034866190341554</c:v>
                </c:pt>
                <c:pt idx="2748">
                  <c:v>1.5105073206384851</c:v>
                </c:pt>
                <c:pt idx="2749">
                  <c:v>1.4706611724960572</c:v>
                </c:pt>
                <c:pt idx="2750">
                  <c:v>-1.3626527165468851</c:v>
                </c:pt>
                <c:pt idx="2751">
                  <c:v>-1.7952664104180966</c:v>
                </c:pt>
                <c:pt idx="2752">
                  <c:v>-0.67910253102391449</c:v>
                </c:pt>
                <c:pt idx="2753">
                  <c:v>-0.42405167807439792</c:v>
                </c:pt>
                <c:pt idx="2754">
                  <c:v>-8.6171605694293274E-2</c:v>
                </c:pt>
                <c:pt idx="2755">
                  <c:v>-0.75869060756479967</c:v>
                </c:pt>
                <c:pt idx="2756">
                  <c:v>-0.64953795899484801</c:v>
                </c:pt>
                <c:pt idx="2757">
                  <c:v>-0.16790033282797934</c:v>
                </c:pt>
                <c:pt idx="2758">
                  <c:v>0.8400796469484999</c:v>
                </c:pt>
                <c:pt idx="2759">
                  <c:v>0.35367393765755384</c:v>
                </c:pt>
                <c:pt idx="2760">
                  <c:v>-3.4820072308240366</c:v>
                </c:pt>
                <c:pt idx="2761">
                  <c:v>-1.0005074271019179</c:v>
                </c:pt>
                <c:pt idx="2762">
                  <c:v>-0.59188689055710553</c:v>
                </c:pt>
                <c:pt idx="2763">
                  <c:v>-3.4820072308240366</c:v>
                </c:pt>
                <c:pt idx="2764">
                  <c:v>-0.11153026531095922</c:v>
                </c:pt>
                <c:pt idx="2765">
                  <c:v>-3.4912196910797011</c:v>
                </c:pt>
                <c:pt idx="2766">
                  <c:v>-0.5160872191183401</c:v>
                </c:pt>
                <c:pt idx="2767">
                  <c:v>-0.75532260679349972</c:v>
                </c:pt>
                <c:pt idx="2768">
                  <c:v>-8.7071921063069606</c:v>
                </c:pt>
                <c:pt idx="2769">
                  <c:v>-1.6858245002125813</c:v>
                </c:pt>
                <c:pt idx="2770">
                  <c:v>-3.4820072308240366</c:v>
                </c:pt>
                <c:pt idx="2771">
                  <c:v>-3.8793218042102113</c:v>
                </c:pt>
                <c:pt idx="2772">
                  <c:v>1.4838249038124598</c:v>
                </c:pt>
                <c:pt idx="2773">
                  <c:v>-0.25809055950122817</c:v>
                </c:pt>
                <c:pt idx="2774">
                  <c:v>0.96791925538375123</c:v>
                </c:pt>
                <c:pt idx="2775">
                  <c:v>-1.8026926479065652</c:v>
                </c:pt>
                <c:pt idx="2776">
                  <c:v>-1.8779895474830997</c:v>
                </c:pt>
                <c:pt idx="2777">
                  <c:v>-1.1742190962880334</c:v>
                </c:pt>
                <c:pt idx="2778">
                  <c:v>0.29377527077090093</c:v>
                </c:pt>
                <c:pt idx="2779">
                  <c:v>-0.5336750285460039</c:v>
                </c:pt>
                <c:pt idx="2780">
                  <c:v>-0.46697859292475608</c:v>
                </c:pt>
                <c:pt idx="2781">
                  <c:v>-1.9520081989824947</c:v>
                </c:pt>
                <c:pt idx="2782">
                  <c:v>-0.73831354217620038</c:v>
                </c:pt>
                <c:pt idx="2783">
                  <c:v>0.65291327888240436</c:v>
                </c:pt>
                <c:pt idx="2784">
                  <c:v>0.51799276917596337</c:v>
                </c:pt>
                <c:pt idx="2785">
                  <c:v>-2.0273783323988837</c:v>
                </c:pt>
                <c:pt idx="2786">
                  <c:v>0.22583174483858603</c:v>
                </c:pt>
                <c:pt idx="2787">
                  <c:v>-0.2108957238450756</c:v>
                </c:pt>
                <c:pt idx="2788">
                  <c:v>-1.0130939584360148</c:v>
                </c:pt>
                <c:pt idx="2789">
                  <c:v>-3.4820072308240366</c:v>
                </c:pt>
                <c:pt idx="2790">
                  <c:v>-4.4820072308240366</c:v>
                </c:pt>
                <c:pt idx="2791">
                  <c:v>-2.4820072308240366</c:v>
                </c:pt>
                <c:pt idx="2792">
                  <c:v>-0.11936437125294763</c:v>
                </c:pt>
                <c:pt idx="2793">
                  <c:v>-2.7613628725227262</c:v>
                </c:pt>
                <c:pt idx="2794">
                  <c:v>3.5050814437278985</c:v>
                </c:pt>
                <c:pt idx="2795">
                  <c:v>-0.69820441458590343</c:v>
                </c:pt>
                <c:pt idx="2796">
                  <c:v>0.13277563321712504</c:v>
                </c:pt>
                <c:pt idx="2797">
                  <c:v>-0.71813507785207964</c:v>
                </c:pt>
                <c:pt idx="2798">
                  <c:v>-3.1820635003136224</c:v>
                </c:pt>
                <c:pt idx="2799">
                  <c:v>-1.7603434930377322</c:v>
                </c:pt>
                <c:pt idx="2800">
                  <c:v>0.37577351523536784</c:v>
                </c:pt>
                <c:pt idx="2801">
                  <c:v>-0.36948706401252585</c:v>
                </c:pt>
                <c:pt idx="2802">
                  <c:v>-1.5486486706560982</c:v>
                </c:pt>
                <c:pt idx="2803">
                  <c:v>0.35178066988286272</c:v>
                </c:pt>
                <c:pt idx="2804">
                  <c:v>-0.14406555784996178</c:v>
                </c:pt>
                <c:pt idx="2805">
                  <c:v>6.0958488301183369</c:v>
                </c:pt>
                <c:pt idx="2806">
                  <c:v>-0.28882986249938913</c:v>
                </c:pt>
                <c:pt idx="2807">
                  <c:v>-1.8119284881397912E-2</c:v>
                </c:pt>
                <c:pt idx="2808">
                  <c:v>-9.5979837500572929E-2</c:v>
                </c:pt>
                <c:pt idx="2809">
                  <c:v>0.22209456642480385</c:v>
                </c:pt>
                <c:pt idx="2810">
                  <c:v>1.2265191368432879</c:v>
                </c:pt>
                <c:pt idx="2811">
                  <c:v>1.8607540115199035</c:v>
                </c:pt>
                <c:pt idx="2812">
                  <c:v>2.1861474508169776E-2</c:v>
                </c:pt>
                <c:pt idx="2813">
                  <c:v>-2.2796816332296022E-2</c:v>
                </c:pt>
                <c:pt idx="2814">
                  <c:v>0.23917292588818972</c:v>
                </c:pt>
                <c:pt idx="2815">
                  <c:v>0.57861286593093086</c:v>
                </c:pt>
                <c:pt idx="2816">
                  <c:v>-0.77385266221660509</c:v>
                </c:pt>
                <c:pt idx="2817">
                  <c:v>-10.62392419856103</c:v>
                </c:pt>
                <c:pt idx="2818">
                  <c:v>-1.3207742072054418</c:v>
                </c:pt>
                <c:pt idx="2819">
                  <c:v>5.9317820454819148E-2</c:v>
                </c:pt>
                <c:pt idx="2820">
                  <c:v>0.38734162542722222</c:v>
                </c:pt>
                <c:pt idx="2821">
                  <c:v>-1.2113050066850013</c:v>
                </c:pt>
                <c:pt idx="2822">
                  <c:v>-2.8490462356732271</c:v>
                </c:pt>
                <c:pt idx="2823">
                  <c:v>-1.38961847921151</c:v>
                </c:pt>
                <c:pt idx="2824">
                  <c:v>-0.92547384543323341</c:v>
                </c:pt>
                <c:pt idx="2825">
                  <c:v>0.49617567117610029</c:v>
                </c:pt>
                <c:pt idx="2826">
                  <c:v>-7.2242403811328959E-3</c:v>
                </c:pt>
                <c:pt idx="2827">
                  <c:v>-9.2938925102079573E-3</c:v>
                </c:pt>
                <c:pt idx="2828">
                  <c:v>-0.48200723082403663</c:v>
                </c:pt>
                <c:pt idx="2829">
                  <c:v>0.62994769089523239</c:v>
                </c:pt>
                <c:pt idx="2830">
                  <c:v>-2.992273161678348</c:v>
                </c:pt>
                <c:pt idx="2831">
                  <c:v>-1.2148004633553293</c:v>
                </c:pt>
                <c:pt idx="2832">
                  <c:v>-0.20335721434557352</c:v>
                </c:pt>
                <c:pt idx="2833">
                  <c:v>-1.1585599027151192</c:v>
                </c:pt>
                <c:pt idx="2834">
                  <c:v>-4.3126703712935957</c:v>
                </c:pt>
                <c:pt idx="2835">
                  <c:v>-0.30638010045152608</c:v>
                </c:pt>
                <c:pt idx="2836">
                  <c:v>0.57021721059308894</c:v>
                </c:pt>
                <c:pt idx="2837">
                  <c:v>0.39550999444702162</c:v>
                </c:pt>
                <c:pt idx="2838">
                  <c:v>-0.97948034854856436</c:v>
                </c:pt>
                <c:pt idx="2839">
                  <c:v>-4.7554666015121647</c:v>
                </c:pt>
                <c:pt idx="2840">
                  <c:v>0.19751769376145367</c:v>
                </c:pt>
                <c:pt idx="2841">
                  <c:v>1.2437253867056079</c:v>
                </c:pt>
                <c:pt idx="2842">
                  <c:v>1.663666529638403</c:v>
                </c:pt>
                <c:pt idx="2843">
                  <c:v>0.65700122194554611</c:v>
                </c:pt>
                <c:pt idx="2844">
                  <c:v>0.25051706975032045</c:v>
                </c:pt>
                <c:pt idx="2845">
                  <c:v>-3.883354153573932</c:v>
                </c:pt>
                <c:pt idx="2846">
                  <c:v>-1.5383455475160845E-3</c:v>
                </c:pt>
                <c:pt idx="2847">
                  <c:v>-1.6676713248141106</c:v>
                </c:pt>
                <c:pt idx="2848">
                  <c:v>0.10085538609163613</c:v>
                </c:pt>
                <c:pt idx="2849">
                  <c:v>1.5236036799553043</c:v>
                </c:pt>
                <c:pt idx="2850">
                  <c:v>0.40890952599745012</c:v>
                </c:pt>
                <c:pt idx="2851">
                  <c:v>-0.56582728108870706</c:v>
                </c:pt>
                <c:pt idx="2852">
                  <c:v>-59.14992401280972</c:v>
                </c:pt>
                <c:pt idx="2853">
                  <c:v>-0.92109372283316926</c:v>
                </c:pt>
                <c:pt idx="2854">
                  <c:v>-121.60329407012244</c:v>
                </c:pt>
                <c:pt idx="2855">
                  <c:v>0.43462049102651662</c:v>
                </c:pt>
                <c:pt idx="2856">
                  <c:v>-16.313248432340323</c:v>
                </c:pt>
                <c:pt idx="2857">
                  <c:v>0.2160294481698406</c:v>
                </c:pt>
                <c:pt idx="2858">
                  <c:v>0.39543192623469831</c:v>
                </c:pt>
                <c:pt idx="2859">
                  <c:v>0.47883083249892927</c:v>
                </c:pt>
                <c:pt idx="2860">
                  <c:v>0.54377329355090642</c:v>
                </c:pt>
                <c:pt idx="2861">
                  <c:v>3.0174828128912941</c:v>
                </c:pt>
                <c:pt idx="2862">
                  <c:v>-1.2008953934709814</c:v>
                </c:pt>
                <c:pt idx="2863">
                  <c:v>0.24851380248161503</c:v>
                </c:pt>
                <c:pt idx="2864">
                  <c:v>-0.93189201525280629</c:v>
                </c:pt>
                <c:pt idx="2865">
                  <c:v>-1.2766057743314629</c:v>
                </c:pt>
                <c:pt idx="2866">
                  <c:v>1.8503437843499713</c:v>
                </c:pt>
                <c:pt idx="2867">
                  <c:v>-2.6215112256859019E-2</c:v>
                </c:pt>
                <c:pt idx="2868">
                  <c:v>0.11096156267945345</c:v>
                </c:pt>
                <c:pt idx="2869">
                  <c:v>-1.1528937530636068</c:v>
                </c:pt>
                <c:pt idx="2870">
                  <c:v>-2.5346657790116467E-2</c:v>
                </c:pt>
                <c:pt idx="2871">
                  <c:v>0.63510935473366126</c:v>
                </c:pt>
                <c:pt idx="2872">
                  <c:v>-8.7438234153654704E-2</c:v>
                </c:pt>
                <c:pt idx="2873">
                  <c:v>0.42002143312564671</c:v>
                </c:pt>
                <c:pt idx="2874">
                  <c:v>-3.7322650833721882E-2</c:v>
                </c:pt>
                <c:pt idx="2875">
                  <c:v>-0.15566361680784702</c:v>
                </c:pt>
                <c:pt idx="2876">
                  <c:v>0.77566430347183934</c:v>
                </c:pt>
                <c:pt idx="2877">
                  <c:v>-0.19516513136892166</c:v>
                </c:pt>
                <c:pt idx="2878">
                  <c:v>1.8217584615554214</c:v>
                </c:pt>
                <c:pt idx="2879">
                  <c:v>-0.76340611829064908</c:v>
                </c:pt>
                <c:pt idx="2880">
                  <c:v>-0.18229657583759984</c:v>
                </c:pt>
                <c:pt idx="2881">
                  <c:v>1.5236927505346003</c:v>
                </c:pt>
                <c:pt idx="2882">
                  <c:v>0.50402383771275217</c:v>
                </c:pt>
                <c:pt idx="2883">
                  <c:v>-0.72165326869995727</c:v>
                </c:pt>
                <c:pt idx="2884">
                  <c:v>0.51772420941781028</c:v>
                </c:pt>
                <c:pt idx="2885">
                  <c:v>-0.77761708665890472</c:v>
                </c:pt>
                <c:pt idx="2886">
                  <c:v>1.8321207459761593</c:v>
                </c:pt>
                <c:pt idx="2887">
                  <c:v>4.9103649416914585E-2</c:v>
                </c:pt>
                <c:pt idx="2888">
                  <c:v>-1.0274845636693706</c:v>
                </c:pt>
                <c:pt idx="2889">
                  <c:v>-0.4807066023048816</c:v>
                </c:pt>
                <c:pt idx="2890">
                  <c:v>-0.48200723082403663</c:v>
                </c:pt>
                <c:pt idx="2891">
                  <c:v>2.2653226801076651</c:v>
                </c:pt>
                <c:pt idx="2892">
                  <c:v>-0.28988500423925878</c:v>
                </c:pt>
                <c:pt idx="2893">
                  <c:v>0.1691558690579209</c:v>
                </c:pt>
                <c:pt idx="2894">
                  <c:v>-1.3330712085535614</c:v>
                </c:pt>
                <c:pt idx="2895">
                  <c:v>0.90130701487061793</c:v>
                </c:pt>
                <c:pt idx="2896">
                  <c:v>-1.5373166670668965</c:v>
                </c:pt>
                <c:pt idx="2897">
                  <c:v>-0.41033752291805392</c:v>
                </c:pt>
                <c:pt idx="2898">
                  <c:v>-5.044067477705827E-2</c:v>
                </c:pt>
                <c:pt idx="2899">
                  <c:v>-1.1604659780124171</c:v>
                </c:pt>
                <c:pt idx="2900">
                  <c:v>0.22727207579563824</c:v>
                </c:pt>
                <c:pt idx="2901">
                  <c:v>-1.1474760345788253</c:v>
                </c:pt>
                <c:pt idx="2902">
                  <c:v>7.4919205833003932E-2</c:v>
                </c:pt>
                <c:pt idx="2903">
                  <c:v>-4.4820072308240366</c:v>
                </c:pt>
                <c:pt idx="2904">
                  <c:v>-0.25322511429843075</c:v>
                </c:pt>
                <c:pt idx="2905">
                  <c:v>-1.092161850225938</c:v>
                </c:pt>
                <c:pt idx="2906">
                  <c:v>0.40263480189346412</c:v>
                </c:pt>
                <c:pt idx="2907">
                  <c:v>0.51098961490170558</c:v>
                </c:pt>
                <c:pt idx="2908">
                  <c:v>-1.3477124796668485</c:v>
                </c:pt>
                <c:pt idx="2909">
                  <c:v>0.35598680877684052</c:v>
                </c:pt>
                <c:pt idx="2910">
                  <c:v>0.6383876394341288</c:v>
                </c:pt>
                <c:pt idx="2911">
                  <c:v>0.6603896802051612</c:v>
                </c:pt>
                <c:pt idx="2912">
                  <c:v>-2.7407833144099336E-2</c:v>
                </c:pt>
                <c:pt idx="2913">
                  <c:v>2.0345171136580418</c:v>
                </c:pt>
                <c:pt idx="2914">
                  <c:v>0.32326186743987201</c:v>
                </c:pt>
                <c:pt idx="2915">
                  <c:v>0.35189319332131114</c:v>
                </c:pt>
                <c:pt idx="2916">
                  <c:v>-0.40690958253146237</c:v>
                </c:pt>
                <c:pt idx="2917">
                  <c:v>0.21635855456807496</c:v>
                </c:pt>
                <c:pt idx="2918">
                  <c:v>-1.8704631308849695E-2</c:v>
                </c:pt>
                <c:pt idx="2919">
                  <c:v>0.33430152786742851</c:v>
                </c:pt>
                <c:pt idx="2920">
                  <c:v>0.31178246529881576</c:v>
                </c:pt>
                <c:pt idx="2921">
                  <c:v>0.50332870134986418</c:v>
                </c:pt>
                <c:pt idx="2922">
                  <c:v>0.80117928324857046</c:v>
                </c:pt>
                <c:pt idx="2923">
                  <c:v>-0.81391609693926359</c:v>
                </c:pt>
                <c:pt idx="2924">
                  <c:v>-0.28472691928367122</c:v>
                </c:pt>
                <c:pt idx="2925">
                  <c:v>-2.9593642543762111</c:v>
                </c:pt>
                <c:pt idx="2926">
                  <c:v>-0.61546080794472835</c:v>
                </c:pt>
                <c:pt idx="2927">
                  <c:v>-2.1840573003731287</c:v>
                </c:pt>
                <c:pt idx="2928">
                  <c:v>-1.0507924990927706</c:v>
                </c:pt>
                <c:pt idx="2929">
                  <c:v>-1.6891562552147468</c:v>
                </c:pt>
                <c:pt idx="2930">
                  <c:v>-2.524224503113599</c:v>
                </c:pt>
                <c:pt idx="2931">
                  <c:v>0.1659558242173389</c:v>
                </c:pt>
                <c:pt idx="2932">
                  <c:v>-0.34308432875713857</c:v>
                </c:pt>
                <c:pt idx="2933">
                  <c:v>-0.55419196252199221</c:v>
                </c:pt>
                <c:pt idx="2934">
                  <c:v>-0.90925261082017061</c:v>
                </c:pt>
                <c:pt idx="2935">
                  <c:v>0.45346724828953128</c:v>
                </c:pt>
                <c:pt idx="2936">
                  <c:v>0.27436736795363614</c:v>
                </c:pt>
                <c:pt idx="2937">
                  <c:v>0.51799276917596337</c:v>
                </c:pt>
                <c:pt idx="2938">
                  <c:v>0.32523659440209451</c:v>
                </c:pt>
                <c:pt idx="2939">
                  <c:v>-2.1181502573844968</c:v>
                </c:pt>
                <c:pt idx="2940">
                  <c:v>1.6442932374347543</c:v>
                </c:pt>
                <c:pt idx="2941">
                  <c:v>-2.8529465711387023</c:v>
                </c:pt>
                <c:pt idx="2942">
                  <c:v>0.41137925639520123</c:v>
                </c:pt>
                <c:pt idx="2943">
                  <c:v>-1.4820072308240366</c:v>
                </c:pt>
                <c:pt idx="2944">
                  <c:v>-4.7697489358149836</c:v>
                </c:pt>
                <c:pt idx="2945">
                  <c:v>1.704215157077873</c:v>
                </c:pt>
                <c:pt idx="2946">
                  <c:v>-0.36369177330759395</c:v>
                </c:pt>
                <c:pt idx="2947">
                  <c:v>0.87889075710383957</c:v>
                </c:pt>
                <c:pt idx="2948">
                  <c:v>0.82758818495821185</c:v>
                </c:pt>
                <c:pt idx="2949">
                  <c:v>0.16835323857500706</c:v>
                </c:pt>
                <c:pt idx="2950">
                  <c:v>-1.5729215796627027</c:v>
                </c:pt>
                <c:pt idx="2951">
                  <c:v>0.32383219184940892</c:v>
                </c:pt>
                <c:pt idx="2952">
                  <c:v>-8.4164956101833539</c:v>
                </c:pt>
                <c:pt idx="2953">
                  <c:v>0.50857797390707926</c:v>
                </c:pt>
                <c:pt idx="2954">
                  <c:v>0.51799276917596337</c:v>
                </c:pt>
                <c:pt idx="2955">
                  <c:v>0.43395089146923893</c:v>
                </c:pt>
                <c:pt idx="2956">
                  <c:v>-0.10098367821971466</c:v>
                </c:pt>
                <c:pt idx="2957">
                  <c:v>0.60458287778949071</c:v>
                </c:pt>
                <c:pt idx="2958">
                  <c:v>0.38807830050013564</c:v>
                </c:pt>
                <c:pt idx="2959">
                  <c:v>9.7619436359472678E-2</c:v>
                </c:pt>
                <c:pt idx="2960">
                  <c:v>-1.1231021863653026</c:v>
                </c:pt>
                <c:pt idx="2961">
                  <c:v>0.71992061900759141</c:v>
                </c:pt>
                <c:pt idx="2962">
                  <c:v>-2.5307486988172956</c:v>
                </c:pt>
                <c:pt idx="2963">
                  <c:v>0.27519241734531202</c:v>
                </c:pt>
                <c:pt idx="2964">
                  <c:v>-2.1481420900837787</c:v>
                </c:pt>
                <c:pt idx="2965">
                  <c:v>-1.0632825814199731</c:v>
                </c:pt>
                <c:pt idx="2966">
                  <c:v>-1.1236200889289598</c:v>
                </c:pt>
                <c:pt idx="2967">
                  <c:v>1.5179927691759634</c:v>
                </c:pt>
                <c:pt idx="2968">
                  <c:v>-3.6777075101552481E-2</c:v>
                </c:pt>
                <c:pt idx="2969">
                  <c:v>0.18994495145238577</c:v>
                </c:pt>
                <c:pt idx="2970">
                  <c:v>1.0388381315822328</c:v>
                </c:pt>
                <c:pt idx="2971">
                  <c:v>-0.77080294921198544</c:v>
                </c:pt>
                <c:pt idx="2972">
                  <c:v>-0.2295078848245703</c:v>
                </c:pt>
                <c:pt idx="2973">
                  <c:v>-1.1371353246715388</c:v>
                </c:pt>
                <c:pt idx="2974">
                  <c:v>-0.23723027809181652</c:v>
                </c:pt>
                <c:pt idx="2975">
                  <c:v>-0.84208064375994174</c:v>
                </c:pt>
                <c:pt idx="2976">
                  <c:v>0.80200489109921602</c:v>
                </c:pt>
                <c:pt idx="2977">
                  <c:v>-0.49081643580074941</c:v>
                </c:pt>
                <c:pt idx="2978">
                  <c:v>-0.68138807391725975</c:v>
                </c:pt>
                <c:pt idx="2979">
                  <c:v>0.24805573074254128</c:v>
                </c:pt>
                <c:pt idx="2980">
                  <c:v>-0.69430987645639841</c:v>
                </c:pt>
                <c:pt idx="2981">
                  <c:v>0.199550165291427</c:v>
                </c:pt>
                <c:pt idx="2982">
                  <c:v>0.33163431332313786</c:v>
                </c:pt>
                <c:pt idx="2983">
                  <c:v>-1.6268834592470336</c:v>
                </c:pt>
                <c:pt idx="2984">
                  <c:v>0.27299783798958843</c:v>
                </c:pt>
                <c:pt idx="2985">
                  <c:v>-2.1207240344456046</c:v>
                </c:pt>
                <c:pt idx="2986">
                  <c:v>-0.58140601382383883</c:v>
                </c:pt>
                <c:pt idx="2987">
                  <c:v>0.395697303035972</c:v>
                </c:pt>
                <c:pt idx="2988">
                  <c:v>0.1601639156946516</c:v>
                </c:pt>
                <c:pt idx="2989">
                  <c:v>0.19736216898234527</c:v>
                </c:pt>
                <c:pt idx="2990">
                  <c:v>1.2111182729585135</c:v>
                </c:pt>
                <c:pt idx="2991">
                  <c:v>-1.632277944101526</c:v>
                </c:pt>
                <c:pt idx="2992">
                  <c:v>0.29457184292734129</c:v>
                </c:pt>
                <c:pt idx="2993">
                  <c:v>-0.39381765308258121</c:v>
                </c:pt>
                <c:pt idx="2994">
                  <c:v>0.55007595994394332</c:v>
                </c:pt>
                <c:pt idx="2995">
                  <c:v>-1.7794023607536333</c:v>
                </c:pt>
                <c:pt idx="2996">
                  <c:v>0.32330242373862905</c:v>
                </c:pt>
                <c:pt idx="2997">
                  <c:v>-0.31747127130058317</c:v>
                </c:pt>
                <c:pt idx="2998">
                  <c:v>-3.5345836317264734</c:v>
                </c:pt>
                <c:pt idx="2999">
                  <c:v>-3.3562331427484549E-2</c:v>
                </c:pt>
                <c:pt idx="3000">
                  <c:v>0.38835081957714546</c:v>
                </c:pt>
                <c:pt idx="3001">
                  <c:v>0.25208307639660443</c:v>
                </c:pt>
                <c:pt idx="3002">
                  <c:v>-0.59254606873464666</c:v>
                </c:pt>
                <c:pt idx="3003">
                  <c:v>0.20864923156858206</c:v>
                </c:pt>
                <c:pt idx="3004">
                  <c:v>-0.79857460124563273</c:v>
                </c:pt>
                <c:pt idx="3005">
                  <c:v>0.54973261646834093</c:v>
                </c:pt>
                <c:pt idx="3006">
                  <c:v>0.70000145766832489</c:v>
                </c:pt>
                <c:pt idx="3007">
                  <c:v>-1.6444494259180291</c:v>
                </c:pt>
                <c:pt idx="3008">
                  <c:v>-0.74653202744898683</c:v>
                </c:pt>
                <c:pt idx="3009">
                  <c:v>5.4005132584912019E-2</c:v>
                </c:pt>
                <c:pt idx="3010">
                  <c:v>-0.40033843836330263</c:v>
                </c:pt>
                <c:pt idx="3011">
                  <c:v>0.29514991081774256</c:v>
                </c:pt>
                <c:pt idx="3012">
                  <c:v>-2.544456389280795</c:v>
                </c:pt>
                <c:pt idx="3013">
                  <c:v>-0.1276962938061329</c:v>
                </c:pt>
                <c:pt idx="3014">
                  <c:v>1.8851493995235578</c:v>
                </c:pt>
                <c:pt idx="3015">
                  <c:v>-1.4484280011108042</c:v>
                </c:pt>
                <c:pt idx="3016">
                  <c:v>-0.79444132795054712</c:v>
                </c:pt>
                <c:pt idx="3017">
                  <c:v>0.66084215526668244</c:v>
                </c:pt>
                <c:pt idx="3018">
                  <c:v>-3.4820072308240366</c:v>
                </c:pt>
                <c:pt idx="3019">
                  <c:v>0.51799276917596337</c:v>
                </c:pt>
                <c:pt idx="3020">
                  <c:v>-0.56536861220952295</c:v>
                </c:pt>
                <c:pt idx="3021">
                  <c:v>0.53606457736180912</c:v>
                </c:pt>
                <c:pt idx="3022">
                  <c:v>0.8477783229640008</c:v>
                </c:pt>
                <c:pt idx="3023">
                  <c:v>1.3832829511296487</c:v>
                </c:pt>
                <c:pt idx="3024">
                  <c:v>9.547790895841568E-2</c:v>
                </c:pt>
                <c:pt idx="3025">
                  <c:v>-0.43235798316479856</c:v>
                </c:pt>
                <c:pt idx="3026">
                  <c:v>-1.4820072308240366</c:v>
                </c:pt>
                <c:pt idx="3027">
                  <c:v>-12.413497450346391</c:v>
                </c:pt>
                <c:pt idx="3028">
                  <c:v>-0.57022747766057158</c:v>
                </c:pt>
                <c:pt idx="3029">
                  <c:v>-0.82266915315967548</c:v>
                </c:pt>
                <c:pt idx="3030">
                  <c:v>-0.23613516818594305</c:v>
                </c:pt>
                <c:pt idx="3031">
                  <c:v>-1.5188257971796224</c:v>
                </c:pt>
                <c:pt idx="3032">
                  <c:v>-1.5296283277089398</c:v>
                </c:pt>
                <c:pt idx="3033">
                  <c:v>-1.5016483221282013</c:v>
                </c:pt>
                <c:pt idx="3034">
                  <c:v>-0.16319103536755986</c:v>
                </c:pt>
                <c:pt idx="3035">
                  <c:v>0.45544464271021601</c:v>
                </c:pt>
                <c:pt idx="3036">
                  <c:v>0.34295144324359572</c:v>
                </c:pt>
                <c:pt idx="3037">
                  <c:v>-0.37057150188137267</c:v>
                </c:pt>
                <c:pt idx="3038">
                  <c:v>2.3945551512576762</c:v>
                </c:pt>
                <c:pt idx="3039">
                  <c:v>1.2361240590335241</c:v>
                </c:pt>
                <c:pt idx="3040">
                  <c:v>-3.2104456761323337</c:v>
                </c:pt>
                <c:pt idx="3041">
                  <c:v>-1.8968320869615232</c:v>
                </c:pt>
                <c:pt idx="3042">
                  <c:v>6.7063742376939928</c:v>
                </c:pt>
                <c:pt idx="3043">
                  <c:v>8.841218795531347E-3</c:v>
                </c:pt>
                <c:pt idx="3044">
                  <c:v>-1.1322397485075415</c:v>
                </c:pt>
                <c:pt idx="3045">
                  <c:v>0.24202923077147659</c:v>
                </c:pt>
                <c:pt idx="3046">
                  <c:v>-2.5333054110127424</c:v>
                </c:pt>
                <c:pt idx="3047">
                  <c:v>2.1552317946456072</c:v>
                </c:pt>
                <c:pt idx="3048">
                  <c:v>-0.36196066819266814</c:v>
                </c:pt>
                <c:pt idx="3049">
                  <c:v>-3.0910844580371721</c:v>
                </c:pt>
                <c:pt idx="3050">
                  <c:v>0.21083964061381827</c:v>
                </c:pt>
                <c:pt idx="3051">
                  <c:v>0.5307452411708351</c:v>
                </c:pt>
                <c:pt idx="3052">
                  <c:v>-3.4544064825106426</c:v>
                </c:pt>
                <c:pt idx="3053">
                  <c:v>-2.4820072308240366</c:v>
                </c:pt>
                <c:pt idx="3054">
                  <c:v>2.7279088675408341</c:v>
                </c:pt>
                <c:pt idx="3055">
                  <c:v>6.4202745677003237E-2</c:v>
                </c:pt>
                <c:pt idx="3056">
                  <c:v>-1.3122812042943073</c:v>
                </c:pt>
                <c:pt idx="3057">
                  <c:v>0.27549692495559924</c:v>
                </c:pt>
                <c:pt idx="3058">
                  <c:v>-0.20906202502714311</c:v>
                </c:pt>
                <c:pt idx="3059">
                  <c:v>-1.2850811894114114</c:v>
                </c:pt>
                <c:pt idx="3060">
                  <c:v>-0.15052525033388264</c:v>
                </c:pt>
                <c:pt idx="3061">
                  <c:v>-1.6588017191289159</c:v>
                </c:pt>
                <c:pt idx="3062">
                  <c:v>0.60022704046323028</c:v>
                </c:pt>
                <c:pt idx="3063">
                  <c:v>-1.2780265891127556</c:v>
                </c:pt>
                <c:pt idx="3064">
                  <c:v>-1.5552716805215425</c:v>
                </c:pt>
                <c:pt idx="3065">
                  <c:v>1.2133061588294405</c:v>
                </c:pt>
                <c:pt idx="3066">
                  <c:v>0.27299144351350779</c:v>
                </c:pt>
                <c:pt idx="3067">
                  <c:v>0.57167250148132709</c:v>
                </c:pt>
                <c:pt idx="3068">
                  <c:v>-4.1528359400008763E-2</c:v>
                </c:pt>
                <c:pt idx="3069">
                  <c:v>-2.5145040444209541</c:v>
                </c:pt>
                <c:pt idx="3070">
                  <c:v>-3.4820072308240366</c:v>
                </c:pt>
                <c:pt idx="3071">
                  <c:v>-2.232232756904045</c:v>
                </c:pt>
                <c:pt idx="3072">
                  <c:v>-0.51631191544739874</c:v>
                </c:pt>
                <c:pt idx="3073">
                  <c:v>-0.58275149620619504</c:v>
                </c:pt>
                <c:pt idx="3074">
                  <c:v>-0.39049931966613216</c:v>
                </c:pt>
                <c:pt idx="3075">
                  <c:v>1.1181224668829317</c:v>
                </c:pt>
                <c:pt idx="3076">
                  <c:v>0.56791443283396725</c:v>
                </c:pt>
                <c:pt idx="3077">
                  <c:v>-1.2044106726856956</c:v>
                </c:pt>
                <c:pt idx="3078">
                  <c:v>2.0847005267758547</c:v>
                </c:pt>
                <c:pt idx="3079">
                  <c:v>-3.7081650403836042E-2</c:v>
                </c:pt>
                <c:pt idx="3080">
                  <c:v>-1.3767515813639735</c:v>
                </c:pt>
                <c:pt idx="3081">
                  <c:v>-0.33017065255245104</c:v>
                </c:pt>
                <c:pt idx="3082">
                  <c:v>0.13220665704224699</c:v>
                </c:pt>
                <c:pt idx="3083">
                  <c:v>-0.65059781818644291</c:v>
                </c:pt>
                <c:pt idx="3084">
                  <c:v>-3.0539925617336734</c:v>
                </c:pt>
                <c:pt idx="3085">
                  <c:v>-0.72694183492078412</c:v>
                </c:pt>
                <c:pt idx="3086">
                  <c:v>0.6107525850139055</c:v>
                </c:pt>
                <c:pt idx="3087">
                  <c:v>0.2112076658449169</c:v>
                </c:pt>
                <c:pt idx="3088">
                  <c:v>-1.0762729938623963</c:v>
                </c:pt>
                <c:pt idx="3089">
                  <c:v>0.60792576241258578</c:v>
                </c:pt>
                <c:pt idx="3090">
                  <c:v>-0.22138475823402326</c:v>
                </c:pt>
                <c:pt idx="3091">
                  <c:v>-1.8958788176110919</c:v>
                </c:pt>
                <c:pt idx="3092">
                  <c:v>-1.6070583882423972</c:v>
                </c:pt>
                <c:pt idx="3093">
                  <c:v>-0.31888980862251781</c:v>
                </c:pt>
                <c:pt idx="3094">
                  <c:v>-9.3385266138615086E-2</c:v>
                </c:pt>
                <c:pt idx="3095">
                  <c:v>0.55374106088707631</c:v>
                </c:pt>
                <c:pt idx="3096">
                  <c:v>0.32458094752609357</c:v>
                </c:pt>
                <c:pt idx="3097">
                  <c:v>1.270440885577262</c:v>
                </c:pt>
                <c:pt idx="3098">
                  <c:v>0.33722348673442848</c:v>
                </c:pt>
                <c:pt idx="3099">
                  <c:v>-0.72573147609628896</c:v>
                </c:pt>
                <c:pt idx="3100">
                  <c:v>-1.8181376792786867</c:v>
                </c:pt>
                <c:pt idx="3101">
                  <c:v>1.3013650368469176</c:v>
                </c:pt>
                <c:pt idx="3102">
                  <c:v>-0.10568712526479196</c:v>
                </c:pt>
                <c:pt idx="3103">
                  <c:v>-2.478098741660701</c:v>
                </c:pt>
                <c:pt idx="3104">
                  <c:v>0.38548062255906118</c:v>
                </c:pt>
                <c:pt idx="3105">
                  <c:v>-1.2060039754665666</c:v>
                </c:pt>
                <c:pt idx="3106">
                  <c:v>-2.4820072308240366</c:v>
                </c:pt>
                <c:pt idx="3107">
                  <c:v>1.1219834063766758</c:v>
                </c:pt>
                <c:pt idx="3108">
                  <c:v>-4.7444414676076043</c:v>
                </c:pt>
                <c:pt idx="3109">
                  <c:v>-1.0338898165127004</c:v>
                </c:pt>
                <c:pt idx="3110">
                  <c:v>0.4795568678405645</c:v>
                </c:pt>
                <c:pt idx="3111">
                  <c:v>-0.20640296736840857</c:v>
                </c:pt>
                <c:pt idx="3112">
                  <c:v>1.4887173894430177</c:v>
                </c:pt>
                <c:pt idx="3113">
                  <c:v>0.42156019780843135</c:v>
                </c:pt>
                <c:pt idx="3114">
                  <c:v>-3.8206661601635883E-2</c:v>
                </c:pt>
                <c:pt idx="3115">
                  <c:v>-2.117239889484178</c:v>
                </c:pt>
                <c:pt idx="3116">
                  <c:v>-1.9457281320459425</c:v>
                </c:pt>
                <c:pt idx="3117">
                  <c:v>-0.30144075086430355</c:v>
                </c:pt>
                <c:pt idx="3118">
                  <c:v>-0.53849982316476375</c:v>
                </c:pt>
                <c:pt idx="3119">
                  <c:v>-0.4155709652184163</c:v>
                </c:pt>
                <c:pt idx="3120">
                  <c:v>-1.9193615579446939</c:v>
                </c:pt>
                <c:pt idx="3121">
                  <c:v>-2.0228022680627675</c:v>
                </c:pt>
                <c:pt idx="3122">
                  <c:v>-0.20071037992731677</c:v>
                </c:pt>
                <c:pt idx="3123">
                  <c:v>5.6540674108510491E-2</c:v>
                </c:pt>
                <c:pt idx="3124">
                  <c:v>-0.51109888953663996</c:v>
                </c:pt>
                <c:pt idx="3125">
                  <c:v>-0.27328366060363007</c:v>
                </c:pt>
                <c:pt idx="3126">
                  <c:v>2.340742335054502</c:v>
                </c:pt>
                <c:pt idx="3127">
                  <c:v>-0.49000398195553108</c:v>
                </c:pt>
                <c:pt idx="3128">
                  <c:v>2.8646707472661848E-2</c:v>
                </c:pt>
                <c:pt idx="3129">
                  <c:v>-0.951071738235167</c:v>
                </c:pt>
                <c:pt idx="3130">
                  <c:v>-1.765910154025105</c:v>
                </c:pt>
                <c:pt idx="3131">
                  <c:v>0.49449660988861016</c:v>
                </c:pt>
                <c:pt idx="3132">
                  <c:v>-0.30254443985338852</c:v>
                </c:pt>
                <c:pt idx="3133">
                  <c:v>-1.215519233895217</c:v>
                </c:pt>
                <c:pt idx="3134">
                  <c:v>-3.1772126024074439</c:v>
                </c:pt>
                <c:pt idx="3135">
                  <c:v>-0.32279122715993425</c:v>
                </c:pt>
                <c:pt idx="3136">
                  <c:v>0.61403090356037116</c:v>
                </c:pt>
                <c:pt idx="3137">
                  <c:v>-0.19328950219441365</c:v>
                </c:pt>
                <c:pt idx="3138">
                  <c:v>0.46760913620542122</c:v>
                </c:pt>
                <c:pt idx="3139">
                  <c:v>-4.2272221526977356</c:v>
                </c:pt>
                <c:pt idx="3140">
                  <c:v>1.1078290236821982</c:v>
                </c:pt>
                <c:pt idx="3141">
                  <c:v>-1.1909179872780504</c:v>
                </c:pt>
                <c:pt idx="3142">
                  <c:v>-1.6763707955667244</c:v>
                </c:pt>
                <c:pt idx="3143">
                  <c:v>-1.0070347237794635</c:v>
                </c:pt>
                <c:pt idx="3144">
                  <c:v>1.467299780487362</c:v>
                </c:pt>
                <c:pt idx="3145">
                  <c:v>-0.14972999025572853</c:v>
                </c:pt>
                <c:pt idx="3146">
                  <c:v>3.1195765637382022E-2</c:v>
                </c:pt>
                <c:pt idx="3147">
                  <c:v>-0.48498315054531371</c:v>
                </c:pt>
                <c:pt idx="3148">
                  <c:v>-3.4820072308240366</c:v>
                </c:pt>
                <c:pt idx="3149">
                  <c:v>-3.2791551887564854</c:v>
                </c:pt>
                <c:pt idx="3150">
                  <c:v>1.005366094562739</c:v>
                </c:pt>
                <c:pt idx="3151">
                  <c:v>-0.3293816280535995</c:v>
                </c:pt>
                <c:pt idx="3152">
                  <c:v>-0.42073810243826149</c:v>
                </c:pt>
                <c:pt idx="3153">
                  <c:v>-0.48740210469311362</c:v>
                </c:pt>
                <c:pt idx="3154">
                  <c:v>0.40526561264916428</c:v>
                </c:pt>
                <c:pt idx="3155">
                  <c:v>-2.0306471991188992</c:v>
                </c:pt>
                <c:pt idx="3156">
                  <c:v>0.47214517687859003</c:v>
                </c:pt>
                <c:pt idx="3157">
                  <c:v>0.26528676302103005</c:v>
                </c:pt>
                <c:pt idx="3158">
                  <c:v>-1.7772621235655239</c:v>
                </c:pt>
                <c:pt idx="3159">
                  <c:v>-0.2876796860318338</c:v>
                </c:pt>
                <c:pt idx="3160">
                  <c:v>-2.4820072308240366</c:v>
                </c:pt>
                <c:pt idx="3161">
                  <c:v>-0.23630998760157296</c:v>
                </c:pt>
                <c:pt idx="3162">
                  <c:v>-4.4403929718028383</c:v>
                </c:pt>
                <c:pt idx="3163">
                  <c:v>-6.5198050522009443E-2</c:v>
                </c:pt>
                <c:pt idx="3164">
                  <c:v>0.16125408078990111</c:v>
                </c:pt>
                <c:pt idx="3165">
                  <c:v>2.0409639987265527</c:v>
                </c:pt>
                <c:pt idx="3166">
                  <c:v>-4.8773478419706437</c:v>
                </c:pt>
                <c:pt idx="3167">
                  <c:v>1.5399816229728924</c:v>
                </c:pt>
                <c:pt idx="3168">
                  <c:v>0.6291654994373852</c:v>
                </c:pt>
                <c:pt idx="3169">
                  <c:v>0.22826137739880481</c:v>
                </c:pt>
                <c:pt idx="3170">
                  <c:v>0.20570876377573211</c:v>
                </c:pt>
                <c:pt idx="3171">
                  <c:v>-0.50580892200178207</c:v>
                </c:pt>
                <c:pt idx="3172">
                  <c:v>-1.0841962196124282</c:v>
                </c:pt>
                <c:pt idx="3173">
                  <c:v>1.5324408716146731</c:v>
                </c:pt>
                <c:pt idx="3174">
                  <c:v>0.50301393675468864</c:v>
                </c:pt>
                <c:pt idx="3175">
                  <c:v>0.47059269478906923</c:v>
                </c:pt>
                <c:pt idx="3176">
                  <c:v>-2.0519659874302185</c:v>
                </c:pt>
                <c:pt idx="3177">
                  <c:v>-0.6457574246275497</c:v>
                </c:pt>
                <c:pt idx="3178">
                  <c:v>-4.4820072308240366</c:v>
                </c:pt>
                <c:pt idx="3179">
                  <c:v>2.1064966001426666</c:v>
                </c:pt>
                <c:pt idx="3180">
                  <c:v>-15.079766958422951</c:v>
                </c:pt>
                <c:pt idx="3181">
                  <c:v>0.45941396115508049</c:v>
                </c:pt>
                <c:pt idx="3182">
                  <c:v>-1.5903516747617878</c:v>
                </c:pt>
                <c:pt idx="3183">
                  <c:v>-2.9692320737096942</c:v>
                </c:pt>
                <c:pt idx="3184">
                  <c:v>0.36359163544471595</c:v>
                </c:pt>
                <c:pt idx="3185">
                  <c:v>-2.269886661941944</c:v>
                </c:pt>
                <c:pt idx="3186">
                  <c:v>5.5100824140949634E-2</c:v>
                </c:pt>
                <c:pt idx="3187">
                  <c:v>-0.57296761659559037</c:v>
                </c:pt>
                <c:pt idx="3188">
                  <c:v>-2.0270178338373572</c:v>
                </c:pt>
                <c:pt idx="3189">
                  <c:v>-2.4418501860933111</c:v>
                </c:pt>
                <c:pt idx="3190">
                  <c:v>-0.75052478589502236</c:v>
                </c:pt>
                <c:pt idx="3191">
                  <c:v>-3.4820072308240366</c:v>
                </c:pt>
                <c:pt idx="3192">
                  <c:v>-2.355657425647538</c:v>
                </c:pt>
                <c:pt idx="3193">
                  <c:v>0.21965560357962799</c:v>
                </c:pt>
                <c:pt idx="3194">
                  <c:v>0.34650215921838151</c:v>
                </c:pt>
                <c:pt idx="3195">
                  <c:v>0.10987308263139794</c:v>
                </c:pt>
                <c:pt idx="3196">
                  <c:v>6.9667506034206683E-2</c:v>
                </c:pt>
                <c:pt idx="3197">
                  <c:v>-0.22951573885078602</c:v>
                </c:pt>
                <c:pt idx="3198">
                  <c:v>-1.1295126723731688</c:v>
                </c:pt>
                <c:pt idx="3199">
                  <c:v>-0.48857533193286118</c:v>
                </c:pt>
                <c:pt idx="3200">
                  <c:v>3.5179927691759634</c:v>
                </c:pt>
                <c:pt idx="3201">
                  <c:v>-3.8443326126220256</c:v>
                </c:pt>
                <c:pt idx="3202">
                  <c:v>0.3162324646095237</c:v>
                </c:pt>
                <c:pt idx="3203">
                  <c:v>0.60958853893981912</c:v>
                </c:pt>
                <c:pt idx="3204">
                  <c:v>-0.4216473856191929</c:v>
                </c:pt>
                <c:pt idx="3205">
                  <c:v>-1.3327840438296339</c:v>
                </c:pt>
                <c:pt idx="3206">
                  <c:v>0.48086053019730324</c:v>
                </c:pt>
                <c:pt idx="3207">
                  <c:v>-0.12408217944165412</c:v>
                </c:pt>
                <c:pt idx="3208">
                  <c:v>-2.0867955623828047</c:v>
                </c:pt>
                <c:pt idx="3209">
                  <c:v>0.3525704855904559</c:v>
                </c:pt>
                <c:pt idx="3210">
                  <c:v>0.49707722219389905</c:v>
                </c:pt>
                <c:pt idx="3211">
                  <c:v>0.37931687541801828</c:v>
                </c:pt>
                <c:pt idx="3212">
                  <c:v>2.3318673768664557</c:v>
                </c:pt>
                <c:pt idx="3213">
                  <c:v>-2.1087052914887536</c:v>
                </c:pt>
                <c:pt idx="3214">
                  <c:v>-0.57999763348904798</c:v>
                </c:pt>
                <c:pt idx="3215">
                  <c:v>1.7769776186678965E-2</c:v>
                </c:pt>
                <c:pt idx="3216">
                  <c:v>0.1650028803617114</c:v>
                </c:pt>
                <c:pt idx="3217">
                  <c:v>-2.4570216644380323</c:v>
                </c:pt>
                <c:pt idx="3218">
                  <c:v>-1.3739358602500493</c:v>
                </c:pt>
                <c:pt idx="3219">
                  <c:v>-0.30239769569323083</c:v>
                </c:pt>
                <c:pt idx="3220">
                  <c:v>-1.1904655581503838</c:v>
                </c:pt>
                <c:pt idx="3221">
                  <c:v>-2.0737060642405236</c:v>
                </c:pt>
                <c:pt idx="3222">
                  <c:v>-2.963163383054479</c:v>
                </c:pt>
                <c:pt idx="3223">
                  <c:v>3.5976575734088745E-2</c:v>
                </c:pt>
                <c:pt idx="3224">
                  <c:v>-25.595230709756279</c:v>
                </c:pt>
                <c:pt idx="3225">
                  <c:v>0.35786581288087915</c:v>
                </c:pt>
                <c:pt idx="3226">
                  <c:v>2.9110940155657672</c:v>
                </c:pt>
                <c:pt idx="3227">
                  <c:v>-0.75897760470618247</c:v>
                </c:pt>
                <c:pt idx="3228">
                  <c:v>-1.1389763245547884</c:v>
                </c:pt>
                <c:pt idx="3229">
                  <c:v>-1.0622046146193633</c:v>
                </c:pt>
                <c:pt idx="3230">
                  <c:v>-2.0223905500656185</c:v>
                </c:pt>
                <c:pt idx="3231">
                  <c:v>-2.3411227907380567</c:v>
                </c:pt>
                <c:pt idx="3232">
                  <c:v>-1.8240390329014362</c:v>
                </c:pt>
                <c:pt idx="3233">
                  <c:v>-1.730982398944525E-2</c:v>
                </c:pt>
                <c:pt idx="3234">
                  <c:v>0.32095838374993163</c:v>
                </c:pt>
                <c:pt idx="3235">
                  <c:v>-2.7418820716936243</c:v>
                </c:pt>
                <c:pt idx="3236">
                  <c:v>-3.6577469989237743</c:v>
                </c:pt>
                <c:pt idx="3237">
                  <c:v>-0.85271399264989367</c:v>
                </c:pt>
                <c:pt idx="3238">
                  <c:v>0.11631480047272547</c:v>
                </c:pt>
                <c:pt idx="3239">
                  <c:v>0.28961169255667918</c:v>
                </c:pt>
                <c:pt idx="3240">
                  <c:v>1.8542148002808811</c:v>
                </c:pt>
                <c:pt idx="3241">
                  <c:v>-3.7084107576351455</c:v>
                </c:pt>
                <c:pt idx="3242">
                  <c:v>-8.0803204893846292E-2</c:v>
                </c:pt>
                <c:pt idx="3243">
                  <c:v>-2.2865152291850208</c:v>
                </c:pt>
                <c:pt idx="3244">
                  <c:v>0.45381784447902485</c:v>
                </c:pt>
                <c:pt idx="3245">
                  <c:v>0.23608550756430002</c:v>
                </c:pt>
                <c:pt idx="3246">
                  <c:v>1.6249694506086794</c:v>
                </c:pt>
                <c:pt idx="3247">
                  <c:v>-0.48353780071024888</c:v>
                </c:pt>
                <c:pt idx="3248">
                  <c:v>-0.20740713945262312</c:v>
                </c:pt>
                <c:pt idx="3249">
                  <c:v>-0.7905792674738461</c:v>
                </c:pt>
                <c:pt idx="3250">
                  <c:v>0.3299817389467779</c:v>
                </c:pt>
                <c:pt idx="3251">
                  <c:v>-3.5431511320971252</c:v>
                </c:pt>
                <c:pt idx="3252">
                  <c:v>-1.2244498132532908</c:v>
                </c:pt>
                <c:pt idx="3253">
                  <c:v>0.49710334888690588</c:v>
                </c:pt>
                <c:pt idx="3254">
                  <c:v>0.37703353174442855</c:v>
                </c:pt>
                <c:pt idx="3255">
                  <c:v>0.2252125081265679</c:v>
                </c:pt>
                <c:pt idx="3256">
                  <c:v>-1.9754464374337863</c:v>
                </c:pt>
                <c:pt idx="3257">
                  <c:v>-0.20678145749552712</c:v>
                </c:pt>
                <c:pt idx="3258">
                  <c:v>6.2507061169274847E-2</c:v>
                </c:pt>
                <c:pt idx="3259">
                  <c:v>-5.6930065476916369E-2</c:v>
                </c:pt>
                <c:pt idx="3260">
                  <c:v>-0.12913957749506055</c:v>
                </c:pt>
                <c:pt idx="3261">
                  <c:v>-0.86399941854036233</c:v>
                </c:pt>
                <c:pt idx="3262">
                  <c:v>0.37406319244063269</c:v>
                </c:pt>
                <c:pt idx="3263">
                  <c:v>-1.4820072308240366</c:v>
                </c:pt>
                <c:pt idx="3264">
                  <c:v>0.25196725231040795</c:v>
                </c:pt>
                <c:pt idx="3265">
                  <c:v>-4.734911438341205E-2</c:v>
                </c:pt>
                <c:pt idx="3266">
                  <c:v>-1.1589726579575519</c:v>
                </c:pt>
                <c:pt idx="3267">
                  <c:v>2.5533093866089946</c:v>
                </c:pt>
                <c:pt idx="3268">
                  <c:v>-0.94591726260632902</c:v>
                </c:pt>
                <c:pt idx="3269">
                  <c:v>0.40132686922849314</c:v>
                </c:pt>
                <c:pt idx="3270">
                  <c:v>-0.93764385659626326</c:v>
                </c:pt>
                <c:pt idx="3271">
                  <c:v>-2.5108808472411122</c:v>
                </c:pt>
                <c:pt idx="3272">
                  <c:v>1.6451221815337898</c:v>
                </c:pt>
                <c:pt idx="3273">
                  <c:v>-3.4289161394328742</c:v>
                </c:pt>
                <c:pt idx="3274">
                  <c:v>0.3791764451839636</c:v>
                </c:pt>
                <c:pt idx="3275">
                  <c:v>7.3324512948637177E-2</c:v>
                </c:pt>
                <c:pt idx="3276">
                  <c:v>2.6235935197931588</c:v>
                </c:pt>
                <c:pt idx="3277">
                  <c:v>-2.6704884434986376</c:v>
                </c:pt>
                <c:pt idx="3278">
                  <c:v>0.61373454393547977</c:v>
                </c:pt>
                <c:pt idx="3279">
                  <c:v>-3.5829537793389559</c:v>
                </c:pt>
                <c:pt idx="3280">
                  <c:v>0.44497569833874656</c:v>
                </c:pt>
                <c:pt idx="3281">
                  <c:v>-3.2173032982941163E-2</c:v>
                </c:pt>
                <c:pt idx="3282">
                  <c:v>-0.781483015249681</c:v>
                </c:pt>
                <c:pt idx="3283">
                  <c:v>0.33324870941357532</c:v>
                </c:pt>
                <c:pt idx="3284">
                  <c:v>0.35190080383575417</c:v>
                </c:pt>
                <c:pt idx="3285">
                  <c:v>-0.28801551250814916</c:v>
                </c:pt>
                <c:pt idx="3286">
                  <c:v>-2.1631725747931361</c:v>
                </c:pt>
                <c:pt idx="3287">
                  <c:v>-1.4820072308240366</c:v>
                </c:pt>
                <c:pt idx="3288">
                  <c:v>7.8938765597957872E-3</c:v>
                </c:pt>
                <c:pt idx="3289">
                  <c:v>-11.470673430530825</c:v>
                </c:pt>
                <c:pt idx="3290">
                  <c:v>-1.4625103821566645</c:v>
                </c:pt>
                <c:pt idx="3291">
                  <c:v>0.57396398192977771</c:v>
                </c:pt>
                <c:pt idx="3292">
                  <c:v>0.32757711616162682</c:v>
                </c:pt>
                <c:pt idx="3293">
                  <c:v>0.66202662740065721</c:v>
                </c:pt>
                <c:pt idx="3294">
                  <c:v>1.593333702844637</c:v>
                </c:pt>
                <c:pt idx="3295">
                  <c:v>-0.4844876491972947</c:v>
                </c:pt>
                <c:pt idx="3296">
                  <c:v>-4.5648864730950089E-2</c:v>
                </c:pt>
                <c:pt idx="3297">
                  <c:v>3.7322871400359281</c:v>
                </c:pt>
                <c:pt idx="3298">
                  <c:v>0.4910660520424287</c:v>
                </c:pt>
                <c:pt idx="3299">
                  <c:v>0.1826011918262862</c:v>
                </c:pt>
                <c:pt idx="3300">
                  <c:v>-0.50383536591419231</c:v>
                </c:pt>
                <c:pt idx="3301">
                  <c:v>-1.114967637520502</c:v>
                </c:pt>
                <c:pt idx="3302">
                  <c:v>-0.25073452344808245</c:v>
                </c:pt>
                <c:pt idx="3303">
                  <c:v>0.8419933753992026</c:v>
                </c:pt>
                <c:pt idx="3304">
                  <c:v>-1.1874174786538361</c:v>
                </c:pt>
                <c:pt idx="3305">
                  <c:v>0.61734012350315526</c:v>
                </c:pt>
                <c:pt idx="3306">
                  <c:v>0.70438749287765612</c:v>
                </c:pt>
                <c:pt idx="3307">
                  <c:v>-1.2391451299430476</c:v>
                </c:pt>
                <c:pt idx="3308">
                  <c:v>-2.2166525276922804</c:v>
                </c:pt>
                <c:pt idx="3309">
                  <c:v>0.30178535589981398</c:v>
                </c:pt>
                <c:pt idx="3310">
                  <c:v>-2.3716129610450229</c:v>
                </c:pt>
                <c:pt idx="3311">
                  <c:v>-2.4820072308240366</c:v>
                </c:pt>
                <c:pt idx="3312">
                  <c:v>-1.5378473061662707</c:v>
                </c:pt>
                <c:pt idx="3313">
                  <c:v>0.24427250243069348</c:v>
                </c:pt>
                <c:pt idx="3314">
                  <c:v>0.36884452227102016</c:v>
                </c:pt>
                <c:pt idx="3315">
                  <c:v>-0.71355918593365075</c:v>
                </c:pt>
                <c:pt idx="3316">
                  <c:v>-0.27512268291355868</c:v>
                </c:pt>
                <c:pt idx="3317">
                  <c:v>0.18359321319716204</c:v>
                </c:pt>
                <c:pt idx="3318">
                  <c:v>0.47041792372486524</c:v>
                </c:pt>
                <c:pt idx="3319">
                  <c:v>0.44197179424518773</c:v>
                </c:pt>
                <c:pt idx="3320">
                  <c:v>-5.4596799726168044E-2</c:v>
                </c:pt>
                <c:pt idx="3321">
                  <c:v>-1.2774633859909383</c:v>
                </c:pt>
                <c:pt idx="3322">
                  <c:v>9.585799874760792E-2</c:v>
                </c:pt>
                <c:pt idx="3323">
                  <c:v>0.20226695938787687</c:v>
                </c:pt>
                <c:pt idx="3324">
                  <c:v>0.27837409589675066</c:v>
                </c:pt>
                <c:pt idx="3325">
                  <c:v>2.4063986742521863</c:v>
                </c:pt>
                <c:pt idx="3326">
                  <c:v>0.75160306810784117</c:v>
                </c:pt>
                <c:pt idx="3327">
                  <c:v>4.1808408098157566</c:v>
                </c:pt>
                <c:pt idx="3328">
                  <c:v>5.4378955949732823</c:v>
                </c:pt>
                <c:pt idx="3329">
                  <c:v>-0.27722573785511972</c:v>
                </c:pt>
                <c:pt idx="3330">
                  <c:v>-2.2663916121937189</c:v>
                </c:pt>
                <c:pt idx="3331">
                  <c:v>-0.40136077607824294</c:v>
                </c:pt>
                <c:pt idx="3332">
                  <c:v>0.5299396894916697</c:v>
                </c:pt>
                <c:pt idx="3333">
                  <c:v>-0.50202331479977813</c:v>
                </c:pt>
                <c:pt idx="3334">
                  <c:v>0.27848451121302809</c:v>
                </c:pt>
                <c:pt idx="3335">
                  <c:v>0.4491485134299662</c:v>
                </c:pt>
                <c:pt idx="3336">
                  <c:v>0.38892358738113891</c:v>
                </c:pt>
                <c:pt idx="3337">
                  <c:v>0.24340840442742812</c:v>
                </c:pt>
                <c:pt idx="3338">
                  <c:v>1.441662944676851</c:v>
                </c:pt>
                <c:pt idx="3339">
                  <c:v>0.27919923232099325</c:v>
                </c:pt>
                <c:pt idx="3340">
                  <c:v>-0.5305102609057879</c:v>
                </c:pt>
                <c:pt idx="3341">
                  <c:v>-1.6305923972403704</c:v>
                </c:pt>
                <c:pt idx="3342">
                  <c:v>-0.81043754063255102</c:v>
                </c:pt>
                <c:pt idx="3343">
                  <c:v>-1.8464890175424511</c:v>
                </c:pt>
                <c:pt idx="3344">
                  <c:v>0.18796930735332007</c:v>
                </c:pt>
                <c:pt idx="3345">
                  <c:v>0.27918061218686363</c:v>
                </c:pt>
                <c:pt idx="3346">
                  <c:v>3.5637090055671283E-3</c:v>
                </c:pt>
                <c:pt idx="3347">
                  <c:v>-0.78594079672239392</c:v>
                </c:pt>
                <c:pt idx="3348">
                  <c:v>-4.727306309616969</c:v>
                </c:pt>
                <c:pt idx="3349">
                  <c:v>-1.8242334789309802</c:v>
                </c:pt>
                <c:pt idx="3350">
                  <c:v>-0.51760037941071491</c:v>
                </c:pt>
                <c:pt idx="3351">
                  <c:v>-0.90209720263357207</c:v>
                </c:pt>
                <c:pt idx="3352">
                  <c:v>0.6981466794425728</c:v>
                </c:pt>
                <c:pt idx="3353">
                  <c:v>1.0708306753000369</c:v>
                </c:pt>
                <c:pt idx="3354">
                  <c:v>1.3007942072721765</c:v>
                </c:pt>
                <c:pt idx="3355">
                  <c:v>-10.615501565846927</c:v>
                </c:pt>
                <c:pt idx="3356">
                  <c:v>0.42334142411868392</c:v>
                </c:pt>
                <c:pt idx="3357">
                  <c:v>-0.12518272317048174</c:v>
                </c:pt>
                <c:pt idx="3358">
                  <c:v>1.3282613969993196E-2</c:v>
                </c:pt>
                <c:pt idx="3359">
                  <c:v>0.24876822768491325</c:v>
                </c:pt>
                <c:pt idx="3360">
                  <c:v>-0.18214066666465512</c:v>
                </c:pt>
                <c:pt idx="3361">
                  <c:v>-3.2088193475136535</c:v>
                </c:pt>
                <c:pt idx="3362">
                  <c:v>-0.26909771810026761</c:v>
                </c:pt>
                <c:pt idx="3363">
                  <c:v>-0.77050280773546076</c:v>
                </c:pt>
                <c:pt idx="3364">
                  <c:v>-0.40848042926268024</c:v>
                </c:pt>
                <c:pt idx="3365">
                  <c:v>0.23371312155214513</c:v>
                </c:pt>
                <c:pt idx="3366">
                  <c:v>0.57944464573390064</c:v>
                </c:pt>
                <c:pt idx="3367">
                  <c:v>-7.6722536937078871</c:v>
                </c:pt>
                <c:pt idx="3368">
                  <c:v>-1.6017740802419458</c:v>
                </c:pt>
                <c:pt idx="3369">
                  <c:v>-2.4820072308240366</c:v>
                </c:pt>
                <c:pt idx="3370">
                  <c:v>-8.4304998895865624E-2</c:v>
                </c:pt>
                <c:pt idx="3371">
                  <c:v>0.21487956741610836</c:v>
                </c:pt>
                <c:pt idx="3372">
                  <c:v>0.42036255485322721</c:v>
                </c:pt>
                <c:pt idx="3373">
                  <c:v>3.3262979433733388</c:v>
                </c:pt>
                <c:pt idx="3374">
                  <c:v>-0.59990007644547427</c:v>
                </c:pt>
                <c:pt idx="3375">
                  <c:v>0.2881005364309096</c:v>
                </c:pt>
                <c:pt idx="3376">
                  <c:v>-1.8850913831670781</c:v>
                </c:pt>
                <c:pt idx="3377">
                  <c:v>-0.46495768947343885</c:v>
                </c:pt>
                <c:pt idx="3378">
                  <c:v>-3.3209183323657596</c:v>
                </c:pt>
                <c:pt idx="3379">
                  <c:v>-1.1002343608963643</c:v>
                </c:pt>
                <c:pt idx="3380">
                  <c:v>-1.0693626861994066</c:v>
                </c:pt>
                <c:pt idx="3381">
                  <c:v>0.76027720590095793</c:v>
                </c:pt>
                <c:pt idx="3382">
                  <c:v>-1.0540304354056125</c:v>
                </c:pt>
                <c:pt idx="3383">
                  <c:v>-1.8924994849129977</c:v>
                </c:pt>
                <c:pt idx="3384">
                  <c:v>-0.43597585685264417</c:v>
                </c:pt>
                <c:pt idx="3385">
                  <c:v>1.3205836641567146</c:v>
                </c:pt>
                <c:pt idx="3386">
                  <c:v>0.75432717293989304</c:v>
                </c:pt>
                <c:pt idx="3387">
                  <c:v>-0.23463317388526428</c:v>
                </c:pt>
                <c:pt idx="3388">
                  <c:v>-0.41539252669855453</c:v>
                </c:pt>
                <c:pt idx="3389">
                  <c:v>-0.23365578442600288</c:v>
                </c:pt>
                <c:pt idx="3390">
                  <c:v>0.15117616561054614</c:v>
                </c:pt>
                <c:pt idx="3391">
                  <c:v>0.11899958592520288</c:v>
                </c:pt>
                <c:pt idx="3392">
                  <c:v>1.9992808267283366</c:v>
                </c:pt>
                <c:pt idx="3393">
                  <c:v>-0.20032435664803672</c:v>
                </c:pt>
                <c:pt idx="3394">
                  <c:v>0.36299779938419074</c:v>
                </c:pt>
                <c:pt idx="3395">
                  <c:v>0.18176566951575168</c:v>
                </c:pt>
                <c:pt idx="3396">
                  <c:v>6.4831463457043492E-3</c:v>
                </c:pt>
                <c:pt idx="3397">
                  <c:v>1.7107456361565674</c:v>
                </c:pt>
                <c:pt idx="3398">
                  <c:v>-0.14513202591135788</c:v>
                </c:pt>
                <c:pt idx="3399">
                  <c:v>-0.32091748610860904</c:v>
                </c:pt>
                <c:pt idx="3400">
                  <c:v>0.17467327444768821</c:v>
                </c:pt>
                <c:pt idx="3401">
                  <c:v>-0.80070428815260186</c:v>
                </c:pt>
                <c:pt idx="3402">
                  <c:v>2.5179927691759634</c:v>
                </c:pt>
                <c:pt idx="3403">
                  <c:v>0.55105036282533115</c:v>
                </c:pt>
                <c:pt idx="3404">
                  <c:v>-5.0000822741053401</c:v>
                </c:pt>
                <c:pt idx="3405">
                  <c:v>-0.33491740379752821</c:v>
                </c:pt>
                <c:pt idx="3406">
                  <c:v>1.9073162066786424</c:v>
                </c:pt>
                <c:pt idx="3407">
                  <c:v>0.20872251375986206</c:v>
                </c:pt>
                <c:pt idx="3408">
                  <c:v>1.2270421139962946</c:v>
                </c:pt>
                <c:pt idx="3409">
                  <c:v>0.38078212109473275</c:v>
                </c:pt>
                <c:pt idx="3410">
                  <c:v>-1.4820072308240366</c:v>
                </c:pt>
                <c:pt idx="3411">
                  <c:v>-0.61194341577270062</c:v>
                </c:pt>
                <c:pt idx="3412">
                  <c:v>-0.39367106199954005</c:v>
                </c:pt>
                <c:pt idx="3413">
                  <c:v>-2.4529969538294853</c:v>
                </c:pt>
                <c:pt idx="3414">
                  <c:v>-0.52313085419091387</c:v>
                </c:pt>
                <c:pt idx="3415">
                  <c:v>-0.50959322778030369</c:v>
                </c:pt>
                <c:pt idx="3416">
                  <c:v>-0.43613240426441124</c:v>
                </c:pt>
                <c:pt idx="3417">
                  <c:v>-0.33769922891442117</c:v>
                </c:pt>
                <c:pt idx="3418">
                  <c:v>0.15002323640660509</c:v>
                </c:pt>
                <c:pt idx="3419">
                  <c:v>6.8442861117989251E-2</c:v>
                </c:pt>
                <c:pt idx="3420">
                  <c:v>1.5742623247332574</c:v>
                </c:pt>
                <c:pt idx="3421">
                  <c:v>-0.73473238172607114</c:v>
                </c:pt>
                <c:pt idx="3422">
                  <c:v>5.735243332482618</c:v>
                </c:pt>
                <c:pt idx="3423">
                  <c:v>-0.11416557758441437</c:v>
                </c:pt>
                <c:pt idx="3424">
                  <c:v>0.14284031054618229</c:v>
                </c:pt>
                <c:pt idx="3425">
                  <c:v>-3.2783068315599353</c:v>
                </c:pt>
                <c:pt idx="3426">
                  <c:v>0.32825852863518978</c:v>
                </c:pt>
                <c:pt idx="3427">
                  <c:v>-0.20396797274224987</c:v>
                </c:pt>
                <c:pt idx="3428">
                  <c:v>-0.42748458986489801</c:v>
                </c:pt>
                <c:pt idx="3429">
                  <c:v>0.6457745406200236</c:v>
                </c:pt>
                <c:pt idx="3430">
                  <c:v>-2.7924704844851496</c:v>
                </c:pt>
                <c:pt idx="3431">
                  <c:v>3.0780303592418234E-2</c:v>
                </c:pt>
                <c:pt idx="3432">
                  <c:v>0.47479843797147914</c:v>
                </c:pt>
                <c:pt idx="3433">
                  <c:v>-0.86003002273321627</c:v>
                </c:pt>
                <c:pt idx="3434">
                  <c:v>-0.13078571629662772</c:v>
                </c:pt>
                <c:pt idx="3435">
                  <c:v>0.35113653218648527</c:v>
                </c:pt>
                <c:pt idx="3436">
                  <c:v>-0.822536755637719</c:v>
                </c:pt>
                <c:pt idx="3437">
                  <c:v>-2.4820072308240366</c:v>
                </c:pt>
                <c:pt idx="3438">
                  <c:v>1.2914407866714157</c:v>
                </c:pt>
                <c:pt idx="3439">
                  <c:v>-0.7560158139344928</c:v>
                </c:pt>
                <c:pt idx="3440">
                  <c:v>0.4835995426512944</c:v>
                </c:pt>
                <c:pt idx="3441">
                  <c:v>0.28225379486643787</c:v>
                </c:pt>
                <c:pt idx="3442">
                  <c:v>0.56858283569345291</c:v>
                </c:pt>
                <c:pt idx="3443">
                  <c:v>0.91411908934665576</c:v>
                </c:pt>
                <c:pt idx="3444">
                  <c:v>6.368624365725184E-2</c:v>
                </c:pt>
                <c:pt idx="3445">
                  <c:v>-0.6739905861866553</c:v>
                </c:pt>
                <c:pt idx="3446">
                  <c:v>-0.38619411760056321</c:v>
                </c:pt>
                <c:pt idx="3447">
                  <c:v>-0.53932486211602981</c:v>
                </c:pt>
                <c:pt idx="3448">
                  <c:v>-0.37346882173903495</c:v>
                </c:pt>
                <c:pt idx="3449">
                  <c:v>3.5179927691759634</c:v>
                </c:pt>
                <c:pt idx="3450">
                  <c:v>-2.2265598928869164</c:v>
                </c:pt>
                <c:pt idx="3451">
                  <c:v>-0.47884029374504511</c:v>
                </c:pt>
                <c:pt idx="3452">
                  <c:v>0.41007509030631101</c:v>
                </c:pt>
                <c:pt idx="3453">
                  <c:v>0.41768405025097954</c:v>
                </c:pt>
                <c:pt idx="3454">
                  <c:v>0.4148333275398175</c:v>
                </c:pt>
                <c:pt idx="3455">
                  <c:v>-1.4820072308240366</c:v>
                </c:pt>
                <c:pt idx="3456">
                  <c:v>1.5179927691759634</c:v>
                </c:pt>
                <c:pt idx="3457">
                  <c:v>1.6334579116734713</c:v>
                </c:pt>
                <c:pt idx="3458">
                  <c:v>-0.13005102033728488</c:v>
                </c:pt>
                <c:pt idx="3459">
                  <c:v>-5.6127761443553341</c:v>
                </c:pt>
                <c:pt idx="3460">
                  <c:v>0.42890560390778104</c:v>
                </c:pt>
                <c:pt idx="3461">
                  <c:v>0.36786331865437694</c:v>
                </c:pt>
                <c:pt idx="3462">
                  <c:v>-0.52646709049294227</c:v>
                </c:pt>
                <c:pt idx="3463">
                  <c:v>0.39818804454586548</c:v>
                </c:pt>
                <c:pt idx="3464">
                  <c:v>-3.9054591658191584E-2</c:v>
                </c:pt>
                <c:pt idx="3465">
                  <c:v>0.18439982135498423</c:v>
                </c:pt>
                <c:pt idx="3466">
                  <c:v>-0.37720641993290127</c:v>
                </c:pt>
                <c:pt idx="3467">
                  <c:v>-0.36656155856843298</c:v>
                </c:pt>
                <c:pt idx="3468">
                  <c:v>0.22844204008425967</c:v>
                </c:pt>
                <c:pt idx="3469">
                  <c:v>4.8703872574525797E-2</c:v>
                </c:pt>
                <c:pt idx="3470">
                  <c:v>1.1308778196382707</c:v>
                </c:pt>
                <c:pt idx="3471">
                  <c:v>0.59241896605164657</c:v>
                </c:pt>
                <c:pt idx="3472">
                  <c:v>0.28057117502119538</c:v>
                </c:pt>
                <c:pt idx="3473">
                  <c:v>-0.39716258615868982</c:v>
                </c:pt>
                <c:pt idx="3474">
                  <c:v>-5.8003593493105576E-3</c:v>
                </c:pt>
                <c:pt idx="3475">
                  <c:v>0.34791166130625412</c:v>
                </c:pt>
                <c:pt idx="3476">
                  <c:v>-1.2459396351707852</c:v>
                </c:pt>
                <c:pt idx="3477">
                  <c:v>0.26891625236883304</c:v>
                </c:pt>
                <c:pt idx="3478">
                  <c:v>0.25529349920783695</c:v>
                </c:pt>
                <c:pt idx="3479">
                  <c:v>0.37868742611471673</c:v>
                </c:pt>
                <c:pt idx="3480">
                  <c:v>-0.12799681407122643</c:v>
                </c:pt>
                <c:pt idx="3481">
                  <c:v>-0.22507754520364964</c:v>
                </c:pt>
                <c:pt idx="3482">
                  <c:v>-1.4556967572348603</c:v>
                </c:pt>
                <c:pt idx="3483">
                  <c:v>0.23850859663633955</c:v>
                </c:pt>
                <c:pt idx="3484">
                  <c:v>7.4317263779439813E-3</c:v>
                </c:pt>
                <c:pt idx="3485">
                  <c:v>2.4360903969033698</c:v>
                </c:pt>
                <c:pt idx="3486">
                  <c:v>0.45529788646220182</c:v>
                </c:pt>
                <c:pt idx="3487">
                  <c:v>3.6320621300728346</c:v>
                </c:pt>
                <c:pt idx="3488">
                  <c:v>0.45063073606245313</c:v>
                </c:pt>
                <c:pt idx="3489">
                  <c:v>0.42945952267849641</c:v>
                </c:pt>
                <c:pt idx="3490">
                  <c:v>1.7357136153743138</c:v>
                </c:pt>
                <c:pt idx="3491">
                  <c:v>-2.4968560543909932</c:v>
                </c:pt>
                <c:pt idx="3492">
                  <c:v>-2.6497992154845065</c:v>
                </c:pt>
                <c:pt idx="3493">
                  <c:v>0.63671451240685117</c:v>
                </c:pt>
                <c:pt idx="3494">
                  <c:v>5.9623026743211183E-2</c:v>
                </c:pt>
                <c:pt idx="3495">
                  <c:v>-0.96856480216637908</c:v>
                </c:pt>
                <c:pt idx="3496">
                  <c:v>9.0116818123446074E-2</c:v>
                </c:pt>
                <c:pt idx="3497">
                  <c:v>0.32874740440480205</c:v>
                </c:pt>
                <c:pt idx="3498">
                  <c:v>-7.3900652029452507E-2</c:v>
                </c:pt>
                <c:pt idx="3499">
                  <c:v>-3.3611475046685602E-2</c:v>
                </c:pt>
                <c:pt idx="3500">
                  <c:v>-0.28756984851509637</c:v>
                </c:pt>
                <c:pt idx="3501">
                  <c:v>-0.17663703659613816</c:v>
                </c:pt>
                <c:pt idx="3502">
                  <c:v>0.68614716172355361</c:v>
                </c:pt>
                <c:pt idx="3503">
                  <c:v>4.2315284453385793</c:v>
                </c:pt>
                <c:pt idx="3504">
                  <c:v>-1.4181626372494609</c:v>
                </c:pt>
                <c:pt idx="3505">
                  <c:v>-1.0904743032631954</c:v>
                </c:pt>
                <c:pt idx="3506">
                  <c:v>0.30296676738852685</c:v>
                </c:pt>
                <c:pt idx="3507">
                  <c:v>0.32048345428620378</c:v>
                </c:pt>
                <c:pt idx="3508">
                  <c:v>-1.2344679305767388</c:v>
                </c:pt>
                <c:pt idx="3509">
                  <c:v>-1.8544346676993158</c:v>
                </c:pt>
                <c:pt idx="3510">
                  <c:v>5.1230924357854146E-2</c:v>
                </c:pt>
                <c:pt idx="3511">
                  <c:v>-1.253853117123972</c:v>
                </c:pt>
                <c:pt idx="3512">
                  <c:v>-0.61723833207600332</c:v>
                </c:pt>
                <c:pt idx="3513">
                  <c:v>-0.67344121244997823</c:v>
                </c:pt>
                <c:pt idx="3514">
                  <c:v>-1.4820072308240366</c:v>
                </c:pt>
                <c:pt idx="3515">
                  <c:v>-0.5608673161009099</c:v>
                </c:pt>
                <c:pt idx="3516">
                  <c:v>5.3730875942945051</c:v>
                </c:pt>
                <c:pt idx="3517">
                  <c:v>-0.37805952282190791</c:v>
                </c:pt>
                <c:pt idx="3518">
                  <c:v>0.46067952830064252</c:v>
                </c:pt>
                <c:pt idx="3519">
                  <c:v>1.5575635045157363</c:v>
                </c:pt>
                <c:pt idx="3520">
                  <c:v>0.57287836428613792</c:v>
                </c:pt>
                <c:pt idx="3521">
                  <c:v>1.6199523245651357</c:v>
                </c:pt>
                <c:pt idx="3522">
                  <c:v>0.74039452746720658</c:v>
                </c:pt>
                <c:pt idx="3523">
                  <c:v>-1.0961620829251024</c:v>
                </c:pt>
                <c:pt idx="3524">
                  <c:v>0.92819984666192612</c:v>
                </c:pt>
                <c:pt idx="3525">
                  <c:v>0.5665043215181278</c:v>
                </c:pt>
                <c:pt idx="3526">
                  <c:v>1.089169691051556</c:v>
                </c:pt>
                <c:pt idx="3527">
                  <c:v>-0.40602398341920631</c:v>
                </c:pt>
                <c:pt idx="3528">
                  <c:v>-0.18725961520596179</c:v>
                </c:pt>
                <c:pt idx="3529">
                  <c:v>-0.48546428756200743</c:v>
                </c:pt>
                <c:pt idx="3530">
                  <c:v>-0.78200629701667079</c:v>
                </c:pt>
                <c:pt idx="3531">
                  <c:v>2.0351629662897901</c:v>
                </c:pt>
                <c:pt idx="3532">
                  <c:v>4.6740961823481531E-2</c:v>
                </c:pt>
                <c:pt idx="3533">
                  <c:v>-1.3023802513760732</c:v>
                </c:pt>
                <c:pt idx="3534">
                  <c:v>-1.0761993354073152</c:v>
                </c:pt>
                <c:pt idx="3535">
                  <c:v>-0.12610657067822806</c:v>
                </c:pt>
                <c:pt idx="3536">
                  <c:v>-0.191722722695439</c:v>
                </c:pt>
                <c:pt idx="3537">
                  <c:v>0.38072634047219661</c:v>
                </c:pt>
                <c:pt idx="3538">
                  <c:v>1.2515463901812913</c:v>
                </c:pt>
                <c:pt idx="3539">
                  <c:v>3.4107517820332554</c:v>
                </c:pt>
                <c:pt idx="3540">
                  <c:v>0.10508767189651302</c:v>
                </c:pt>
                <c:pt idx="3541">
                  <c:v>2.2047539713553839</c:v>
                </c:pt>
                <c:pt idx="3542">
                  <c:v>-0.39275312468349011</c:v>
                </c:pt>
                <c:pt idx="3543">
                  <c:v>-0.26906292935650056</c:v>
                </c:pt>
                <c:pt idx="3544">
                  <c:v>1.1191683283367169</c:v>
                </c:pt>
                <c:pt idx="3545">
                  <c:v>0.45105882749987258</c:v>
                </c:pt>
                <c:pt idx="3546">
                  <c:v>-1.2926553298468137</c:v>
                </c:pt>
                <c:pt idx="3547">
                  <c:v>4.5711814459397262</c:v>
                </c:pt>
                <c:pt idx="3548">
                  <c:v>2.9163780070985226</c:v>
                </c:pt>
                <c:pt idx="3549">
                  <c:v>0.10991483167012617</c:v>
                </c:pt>
                <c:pt idx="3550">
                  <c:v>-0.40217920220188663</c:v>
                </c:pt>
                <c:pt idx="3551">
                  <c:v>-0.79271043316432444</c:v>
                </c:pt>
                <c:pt idx="3552">
                  <c:v>0.29212089705856803</c:v>
                </c:pt>
                <c:pt idx="3553">
                  <c:v>-7.2470763440153796E-2</c:v>
                </c:pt>
                <c:pt idx="3554">
                  <c:v>-0.10874656734643562</c:v>
                </c:pt>
                <c:pt idx="3555">
                  <c:v>-0.76251449459072074</c:v>
                </c:pt>
                <c:pt idx="3556">
                  <c:v>1.4110477880298098</c:v>
                </c:pt>
                <c:pt idx="3557">
                  <c:v>0.58601857746896302</c:v>
                </c:pt>
                <c:pt idx="3558">
                  <c:v>-0.32646700893305725</c:v>
                </c:pt>
                <c:pt idx="3559">
                  <c:v>5.4041614336632309</c:v>
                </c:pt>
                <c:pt idx="3560">
                  <c:v>-0.94574445219244674</c:v>
                </c:pt>
                <c:pt idx="3561">
                  <c:v>5.587101112709199</c:v>
                </c:pt>
                <c:pt idx="3562">
                  <c:v>-0.46140207154138446</c:v>
                </c:pt>
                <c:pt idx="3563">
                  <c:v>-0.70601815007214341</c:v>
                </c:pt>
                <c:pt idx="3564">
                  <c:v>0.2782055120604241</c:v>
                </c:pt>
                <c:pt idx="3565">
                  <c:v>0.29221126422620403</c:v>
                </c:pt>
                <c:pt idx="3566">
                  <c:v>0.52832195473527099</c:v>
                </c:pt>
                <c:pt idx="3567">
                  <c:v>0.81583158573968595</c:v>
                </c:pt>
                <c:pt idx="3568">
                  <c:v>-0.21730545480057228</c:v>
                </c:pt>
                <c:pt idx="3569">
                  <c:v>0.65138956105617529</c:v>
                </c:pt>
                <c:pt idx="3570">
                  <c:v>0.51516037747489407</c:v>
                </c:pt>
                <c:pt idx="3571">
                  <c:v>-0.64088873097905386</c:v>
                </c:pt>
                <c:pt idx="3572">
                  <c:v>-5.5458337521429812E-2</c:v>
                </c:pt>
                <c:pt idx="3573">
                  <c:v>0.26207894008346061</c:v>
                </c:pt>
                <c:pt idx="3574">
                  <c:v>0.2605168336426063</c:v>
                </c:pt>
                <c:pt idx="3575">
                  <c:v>4.5179927691759634</c:v>
                </c:pt>
                <c:pt idx="3576">
                  <c:v>0.17495665006726824</c:v>
                </c:pt>
                <c:pt idx="3577">
                  <c:v>0.2794855597951269</c:v>
                </c:pt>
                <c:pt idx="3578">
                  <c:v>0.16166148990487461</c:v>
                </c:pt>
                <c:pt idx="3579">
                  <c:v>2.5015443524148178</c:v>
                </c:pt>
                <c:pt idx="3580">
                  <c:v>-1.8650312438967873</c:v>
                </c:pt>
                <c:pt idx="3581">
                  <c:v>0.93889740295063362</c:v>
                </c:pt>
                <c:pt idx="3582">
                  <c:v>-0.12661649525660501</c:v>
                </c:pt>
                <c:pt idx="3583">
                  <c:v>-0.7194348778072075</c:v>
                </c:pt>
                <c:pt idx="3584">
                  <c:v>2.5820455418168242E-2</c:v>
                </c:pt>
                <c:pt idx="3585">
                  <c:v>1.879537705558314</c:v>
                </c:pt>
                <c:pt idx="3586">
                  <c:v>0.11413494973146809</c:v>
                </c:pt>
                <c:pt idx="3587">
                  <c:v>0.30962681367611672</c:v>
                </c:pt>
                <c:pt idx="3588">
                  <c:v>0.41473532886972159</c:v>
                </c:pt>
                <c:pt idx="3589">
                  <c:v>0.44125174403995904</c:v>
                </c:pt>
                <c:pt idx="3590">
                  <c:v>-1.6265081788844729</c:v>
                </c:pt>
                <c:pt idx="3591">
                  <c:v>-2.6053700330407166</c:v>
                </c:pt>
                <c:pt idx="3592">
                  <c:v>-0.96234485000196734</c:v>
                </c:pt>
                <c:pt idx="3593">
                  <c:v>-0.97862620775134657</c:v>
                </c:pt>
                <c:pt idx="3594">
                  <c:v>2.6226695738279178</c:v>
                </c:pt>
                <c:pt idx="3595">
                  <c:v>1.9076634729951385</c:v>
                </c:pt>
                <c:pt idx="3596">
                  <c:v>0.29354913609411737</c:v>
                </c:pt>
                <c:pt idx="3597">
                  <c:v>0.19951474787192569</c:v>
                </c:pt>
                <c:pt idx="3598">
                  <c:v>1.8489392286129722</c:v>
                </c:pt>
                <c:pt idx="3599">
                  <c:v>6.2671498298518955</c:v>
                </c:pt>
                <c:pt idx="3600">
                  <c:v>-2.9299326745916394</c:v>
                </c:pt>
                <c:pt idx="3601">
                  <c:v>0.84864770819569268</c:v>
                </c:pt>
                <c:pt idx="3602">
                  <c:v>-0.54243086255583606</c:v>
                </c:pt>
                <c:pt idx="3603">
                  <c:v>1.4901240792325439</c:v>
                </c:pt>
                <c:pt idx="3604">
                  <c:v>0.58226933691465854</c:v>
                </c:pt>
                <c:pt idx="3605">
                  <c:v>-0.81701918991812139</c:v>
                </c:pt>
                <c:pt idx="3606">
                  <c:v>3.6673550866283846</c:v>
                </c:pt>
                <c:pt idx="3607">
                  <c:v>0.6532808036762443</c:v>
                </c:pt>
                <c:pt idx="3608">
                  <c:v>5.5202712738563351</c:v>
                </c:pt>
                <c:pt idx="3609">
                  <c:v>0.78256617117903726</c:v>
                </c:pt>
                <c:pt idx="3610">
                  <c:v>0.5131162032523966</c:v>
                </c:pt>
                <c:pt idx="3611">
                  <c:v>0.81622839699221816</c:v>
                </c:pt>
                <c:pt idx="3612">
                  <c:v>1.197408458990094</c:v>
                </c:pt>
                <c:pt idx="3613">
                  <c:v>0.45856303001522347</c:v>
                </c:pt>
                <c:pt idx="3614">
                  <c:v>0.62991534543872474</c:v>
                </c:pt>
                <c:pt idx="3615">
                  <c:v>1.0916491870240392</c:v>
                </c:pt>
                <c:pt idx="3616">
                  <c:v>0.64957444852637436</c:v>
                </c:pt>
                <c:pt idx="3617">
                  <c:v>0.39576812413967155</c:v>
                </c:pt>
                <c:pt idx="3618">
                  <c:v>0.4641025223363604</c:v>
                </c:pt>
                <c:pt idx="3619">
                  <c:v>3.4552805442387697</c:v>
                </c:pt>
                <c:pt idx="3620">
                  <c:v>4.1474671912464425</c:v>
                </c:pt>
                <c:pt idx="3621">
                  <c:v>1.1063071092569596</c:v>
                </c:pt>
                <c:pt idx="3622">
                  <c:v>0.88448105226821205</c:v>
                </c:pt>
                <c:pt idx="3623">
                  <c:v>5.5179927691759634</c:v>
                </c:pt>
                <c:pt idx="3624">
                  <c:v>1.1091099109770692</c:v>
                </c:pt>
                <c:pt idx="3625">
                  <c:v>2.42099534282249</c:v>
                </c:pt>
                <c:pt idx="3626">
                  <c:v>0.71917046190967926</c:v>
                </c:pt>
                <c:pt idx="3627">
                  <c:v>1.5969431646904777</c:v>
                </c:pt>
                <c:pt idx="3628">
                  <c:v>-8.246258231583603E-2</c:v>
                </c:pt>
                <c:pt idx="3629">
                  <c:v>0.56253372330072571</c:v>
                </c:pt>
                <c:pt idx="3630">
                  <c:v>0.91396227940413566</c:v>
                </c:pt>
                <c:pt idx="3631">
                  <c:v>1.8116649950172343</c:v>
                </c:pt>
                <c:pt idx="3632">
                  <c:v>7.6292720206020341</c:v>
                </c:pt>
                <c:pt idx="3633">
                  <c:v>1.1942660713248898E-4</c:v>
                </c:pt>
                <c:pt idx="3634">
                  <c:v>0.39609156858592831</c:v>
                </c:pt>
                <c:pt idx="3635">
                  <c:v>-0.31735207217765904</c:v>
                </c:pt>
                <c:pt idx="3636">
                  <c:v>1.9239018385184119</c:v>
                </c:pt>
                <c:pt idx="3637">
                  <c:v>0.4647544204366012</c:v>
                </c:pt>
                <c:pt idx="3638">
                  <c:v>1.4144295689575026</c:v>
                </c:pt>
                <c:pt idx="3639">
                  <c:v>0.83820115536957629</c:v>
                </c:pt>
                <c:pt idx="3640">
                  <c:v>2.5179927691759634</c:v>
                </c:pt>
                <c:pt idx="3641">
                  <c:v>1.3075672250190296</c:v>
                </c:pt>
                <c:pt idx="3642">
                  <c:v>-0.15199980926535794</c:v>
                </c:pt>
                <c:pt idx="3643">
                  <c:v>0.43675643702557365</c:v>
                </c:pt>
                <c:pt idx="3644">
                  <c:v>0.22878611685408989</c:v>
                </c:pt>
                <c:pt idx="3645">
                  <c:v>1.4951405903356565</c:v>
                </c:pt>
                <c:pt idx="3646">
                  <c:v>1.0252055678097167</c:v>
                </c:pt>
                <c:pt idx="3647">
                  <c:v>3.2137425089245539</c:v>
                </c:pt>
                <c:pt idx="3648">
                  <c:v>1.5712794099936993</c:v>
                </c:pt>
                <c:pt idx="3649">
                  <c:v>5.6560732927001283</c:v>
                </c:pt>
                <c:pt idx="3650">
                  <c:v>1.3504974624896713</c:v>
                </c:pt>
                <c:pt idx="3651">
                  <c:v>0.24216939573561636</c:v>
                </c:pt>
                <c:pt idx="3652">
                  <c:v>0.95472701848418551</c:v>
                </c:pt>
                <c:pt idx="3653">
                  <c:v>0.74433869833543953</c:v>
                </c:pt>
                <c:pt idx="3654">
                  <c:v>2.0887138031494881</c:v>
                </c:pt>
                <c:pt idx="3655">
                  <c:v>1.7942616181459989</c:v>
                </c:pt>
                <c:pt idx="3656">
                  <c:v>3.1335048790934428</c:v>
                </c:pt>
                <c:pt idx="3657">
                  <c:v>1.5354849089320122</c:v>
                </c:pt>
                <c:pt idx="3658">
                  <c:v>-1.942367325196698</c:v>
                </c:pt>
                <c:pt idx="3659">
                  <c:v>4.0100670909606464</c:v>
                </c:pt>
                <c:pt idx="3660">
                  <c:v>3.7418989780203233</c:v>
                </c:pt>
                <c:pt idx="3661">
                  <c:v>3.0879495822692165</c:v>
                </c:pt>
                <c:pt idx="3662">
                  <c:v>0.39453904462757067</c:v>
                </c:pt>
                <c:pt idx="3663">
                  <c:v>0.4345240057560526</c:v>
                </c:pt>
                <c:pt idx="3664">
                  <c:v>2.1434820524294045</c:v>
                </c:pt>
                <c:pt idx="3665">
                  <c:v>-2.0138205079502116</c:v>
                </c:pt>
                <c:pt idx="3666">
                  <c:v>-1.5252172339245806</c:v>
                </c:pt>
                <c:pt idx="3667">
                  <c:v>-1.3890510865458316</c:v>
                </c:pt>
                <c:pt idx="3668">
                  <c:v>-3.311976529101476</c:v>
                </c:pt>
                <c:pt idx="3669">
                  <c:v>-3.0379844893242085</c:v>
                </c:pt>
                <c:pt idx="3670">
                  <c:v>-0.20130481719297011</c:v>
                </c:pt>
                <c:pt idx="3671">
                  <c:v>-0.35930779545143632</c:v>
                </c:pt>
                <c:pt idx="3672">
                  <c:v>0.1935868775570655</c:v>
                </c:pt>
                <c:pt idx="3673">
                  <c:v>-0.38822546254231183</c:v>
                </c:pt>
                <c:pt idx="3674">
                  <c:v>-1.3859211447902742</c:v>
                </c:pt>
                <c:pt idx="3675">
                  <c:v>0.2475230817640971</c:v>
                </c:pt>
                <c:pt idx="3676">
                  <c:v>-0.73520209890608257</c:v>
                </c:pt>
                <c:pt idx="3677">
                  <c:v>0.87719647236989218</c:v>
                </c:pt>
                <c:pt idx="3678">
                  <c:v>-0.75849947921319982</c:v>
                </c:pt>
                <c:pt idx="3679">
                  <c:v>-0.28072421494931965</c:v>
                </c:pt>
                <c:pt idx="3680">
                  <c:v>-0.77272038061179016</c:v>
                </c:pt>
                <c:pt idx="3681">
                  <c:v>-1.5050655688268217</c:v>
                </c:pt>
                <c:pt idx="3682">
                  <c:v>0.3924189554786508</c:v>
                </c:pt>
                <c:pt idx="3683">
                  <c:v>2.9176170863286859</c:v>
                </c:pt>
                <c:pt idx="3684">
                  <c:v>0.370542839513891</c:v>
                </c:pt>
                <c:pt idx="3685">
                  <c:v>-1.4854857773532668</c:v>
                </c:pt>
                <c:pt idx="3686">
                  <c:v>-2.4820072308240366</c:v>
                </c:pt>
                <c:pt idx="3687">
                  <c:v>0.49379770453207006</c:v>
                </c:pt>
                <c:pt idx="3688">
                  <c:v>9.6487258710223567E-2</c:v>
                </c:pt>
                <c:pt idx="3689">
                  <c:v>-0.62064368432384209</c:v>
                </c:pt>
                <c:pt idx="3690">
                  <c:v>-0.77202451337224565</c:v>
                </c:pt>
                <c:pt idx="3691">
                  <c:v>0.18071777071229089</c:v>
                </c:pt>
                <c:pt idx="3692">
                  <c:v>-4.1611966649756216</c:v>
                </c:pt>
                <c:pt idx="3693">
                  <c:v>1.4534637049001347</c:v>
                </c:pt>
                <c:pt idx="3694">
                  <c:v>5.0041415652742671E-2</c:v>
                </c:pt>
                <c:pt idx="3695">
                  <c:v>-0.22559734237307894</c:v>
                </c:pt>
                <c:pt idx="3696">
                  <c:v>7.7386798561246364</c:v>
                </c:pt>
                <c:pt idx="3697">
                  <c:v>-1.8508849582043148</c:v>
                </c:pt>
                <c:pt idx="3698">
                  <c:v>0.17592955647202335</c:v>
                </c:pt>
                <c:pt idx="3699">
                  <c:v>-0.37589156576130689</c:v>
                </c:pt>
                <c:pt idx="3700">
                  <c:v>1.6312415017561326</c:v>
                </c:pt>
                <c:pt idx="3701">
                  <c:v>-0.19502105543735104</c:v>
                </c:pt>
                <c:pt idx="3702">
                  <c:v>-1.0762892987333481</c:v>
                </c:pt>
                <c:pt idx="3703">
                  <c:v>0.37549071268738193</c:v>
                </c:pt>
                <c:pt idx="3704">
                  <c:v>0.50269825919488431</c:v>
                </c:pt>
                <c:pt idx="3705">
                  <c:v>0.28339562433762633</c:v>
                </c:pt>
                <c:pt idx="3706">
                  <c:v>2.0518738486806964E-2</c:v>
                </c:pt>
                <c:pt idx="3707">
                  <c:v>0.11033959081697686</c:v>
                </c:pt>
                <c:pt idx="3708">
                  <c:v>-1.2846611452987147</c:v>
                </c:pt>
                <c:pt idx="3709">
                  <c:v>0.1672321979065986</c:v>
                </c:pt>
                <c:pt idx="3710">
                  <c:v>-3.0285029390921521</c:v>
                </c:pt>
                <c:pt idx="3711">
                  <c:v>2.3923693830720087</c:v>
                </c:pt>
                <c:pt idx="3712">
                  <c:v>-2.2864109004359472</c:v>
                </c:pt>
                <c:pt idx="3713">
                  <c:v>-0.36940126198962342</c:v>
                </c:pt>
                <c:pt idx="3714">
                  <c:v>1.4076782075999343</c:v>
                </c:pt>
                <c:pt idx="3715">
                  <c:v>-1.1364453965273493</c:v>
                </c:pt>
                <c:pt idx="3716">
                  <c:v>0.37589343490173532</c:v>
                </c:pt>
                <c:pt idx="3717">
                  <c:v>-1.0056113399972038</c:v>
                </c:pt>
                <c:pt idx="3718">
                  <c:v>1.7871113059853005</c:v>
                </c:pt>
                <c:pt idx="3719">
                  <c:v>-6.7606154609828217E-2</c:v>
                </c:pt>
                <c:pt idx="3720">
                  <c:v>-2.4833596144951238</c:v>
                </c:pt>
                <c:pt idx="3721">
                  <c:v>0.91489884168945779</c:v>
                </c:pt>
                <c:pt idx="3722">
                  <c:v>1.19680305001577</c:v>
                </c:pt>
                <c:pt idx="3723">
                  <c:v>-0.8378781836393534</c:v>
                </c:pt>
                <c:pt idx="3724">
                  <c:v>-0.23743582879645253</c:v>
                </c:pt>
                <c:pt idx="3725">
                  <c:v>-1.1580809818411799</c:v>
                </c:pt>
                <c:pt idx="3726">
                  <c:v>0.25681924779395537</c:v>
                </c:pt>
                <c:pt idx="3727">
                  <c:v>-3.2001339698278972</c:v>
                </c:pt>
                <c:pt idx="3728">
                  <c:v>-3.4820072308240366</c:v>
                </c:pt>
                <c:pt idx="3729">
                  <c:v>-0.62162364201394582</c:v>
                </c:pt>
                <c:pt idx="3730">
                  <c:v>-0.54859755990398607</c:v>
                </c:pt>
                <c:pt idx="3731">
                  <c:v>-1.1683856079566088</c:v>
                </c:pt>
                <c:pt idx="3732">
                  <c:v>-1.2002972210576741</c:v>
                </c:pt>
                <c:pt idx="3733">
                  <c:v>3.3233682678331533</c:v>
                </c:pt>
                <c:pt idx="3734">
                  <c:v>-2.6851958558204658E-2</c:v>
                </c:pt>
                <c:pt idx="3735">
                  <c:v>0.30516320343900655</c:v>
                </c:pt>
                <c:pt idx="3736">
                  <c:v>0.62971437031923228</c:v>
                </c:pt>
                <c:pt idx="3737">
                  <c:v>0.40312284976197788</c:v>
                </c:pt>
                <c:pt idx="3738">
                  <c:v>0.39947454060614579</c:v>
                </c:pt>
                <c:pt idx="3739">
                  <c:v>7.0989871599820842E-2</c:v>
                </c:pt>
                <c:pt idx="3740">
                  <c:v>0.52491017416535346</c:v>
                </c:pt>
                <c:pt idx="3741">
                  <c:v>-0.96206887512385864</c:v>
                </c:pt>
                <c:pt idx="3742">
                  <c:v>-0.98665495148113647</c:v>
                </c:pt>
                <c:pt idx="3743">
                  <c:v>-0.3819609606998946</c:v>
                </c:pt>
                <c:pt idx="3744">
                  <c:v>0.65143690358476014</c:v>
                </c:pt>
                <c:pt idx="3745">
                  <c:v>0.17772276503574858</c:v>
                </c:pt>
                <c:pt idx="3746">
                  <c:v>-0.52332378121555845</c:v>
                </c:pt>
                <c:pt idx="3747">
                  <c:v>1.1811324261657634</c:v>
                </c:pt>
                <c:pt idx="3748">
                  <c:v>-4.646595064277359E-2</c:v>
                </c:pt>
                <c:pt idx="3749">
                  <c:v>0.67637452865462255</c:v>
                </c:pt>
                <c:pt idx="3750">
                  <c:v>-0.86197146786871448</c:v>
                </c:pt>
                <c:pt idx="3751">
                  <c:v>-1.6259624032640105</c:v>
                </c:pt>
                <c:pt idx="3752">
                  <c:v>-1.4820072308240366</c:v>
                </c:pt>
                <c:pt idx="3753">
                  <c:v>-2.6981796975513568</c:v>
                </c:pt>
                <c:pt idx="3754">
                  <c:v>0.23400521328637569</c:v>
                </c:pt>
                <c:pt idx="3755">
                  <c:v>-2.2784296433045017</c:v>
                </c:pt>
                <c:pt idx="3756">
                  <c:v>-0.17678326581360959</c:v>
                </c:pt>
                <c:pt idx="3757">
                  <c:v>-0.69978480511847718</c:v>
                </c:pt>
                <c:pt idx="3758">
                  <c:v>-0.34196677653691454</c:v>
                </c:pt>
                <c:pt idx="3759">
                  <c:v>0.19830097719140227</c:v>
                </c:pt>
                <c:pt idx="3760">
                  <c:v>0.28697915081993042</c:v>
                </c:pt>
                <c:pt idx="3761">
                  <c:v>1.0433981737960414</c:v>
                </c:pt>
                <c:pt idx="3762">
                  <c:v>-5.9862862785553244</c:v>
                </c:pt>
                <c:pt idx="3763">
                  <c:v>0.9473229743002235</c:v>
                </c:pt>
                <c:pt idx="3764">
                  <c:v>-0.10365931074726153</c:v>
                </c:pt>
                <c:pt idx="3765">
                  <c:v>7.9745877257215159E-2</c:v>
                </c:pt>
                <c:pt idx="3766">
                  <c:v>-0.94844809634848737</c:v>
                </c:pt>
                <c:pt idx="3767">
                  <c:v>0.4716000000456847</c:v>
                </c:pt>
                <c:pt idx="3768">
                  <c:v>-0.59046096425996586</c:v>
                </c:pt>
                <c:pt idx="3769">
                  <c:v>3.0538725747331252</c:v>
                </c:pt>
                <c:pt idx="3770">
                  <c:v>0.34725933771346496</c:v>
                </c:pt>
                <c:pt idx="3771">
                  <c:v>0.68036798654888775</c:v>
                </c:pt>
                <c:pt idx="3772">
                  <c:v>-1.025397752389354</c:v>
                </c:pt>
                <c:pt idx="3773">
                  <c:v>3.1306215569782303E-2</c:v>
                </c:pt>
                <c:pt idx="3774">
                  <c:v>-0.91700041594944448</c:v>
                </c:pt>
                <c:pt idx="3775">
                  <c:v>-2.1404606168426987</c:v>
                </c:pt>
                <c:pt idx="3776">
                  <c:v>-0.25750959294284181</c:v>
                </c:pt>
                <c:pt idx="3777">
                  <c:v>0.15946862218962921</c:v>
                </c:pt>
                <c:pt idx="3778">
                  <c:v>-0.46690000735217518</c:v>
                </c:pt>
                <c:pt idx="3779">
                  <c:v>3.8615033385135389</c:v>
                </c:pt>
                <c:pt idx="3780">
                  <c:v>-0.4257298778291847</c:v>
                </c:pt>
                <c:pt idx="3781">
                  <c:v>1.8681103674625854</c:v>
                </c:pt>
                <c:pt idx="3782">
                  <c:v>-0.65346172149631609</c:v>
                </c:pt>
                <c:pt idx="3783">
                  <c:v>1.940409305443006</c:v>
                </c:pt>
                <c:pt idx="3784">
                  <c:v>0.35740873718117977</c:v>
                </c:pt>
                <c:pt idx="3785">
                  <c:v>-0.31726522972177729</c:v>
                </c:pt>
                <c:pt idx="3786">
                  <c:v>0.33694239813729548</c:v>
                </c:pt>
                <c:pt idx="3787">
                  <c:v>-0.40408129806963289</c:v>
                </c:pt>
                <c:pt idx="3788">
                  <c:v>0.23785852138485664</c:v>
                </c:pt>
                <c:pt idx="3789">
                  <c:v>-0.98204005688497276</c:v>
                </c:pt>
                <c:pt idx="3790">
                  <c:v>0.26657756796348631</c:v>
                </c:pt>
                <c:pt idx="3791">
                  <c:v>-0.55848674177477164</c:v>
                </c:pt>
                <c:pt idx="3792">
                  <c:v>-1.132298149670167</c:v>
                </c:pt>
                <c:pt idx="3793">
                  <c:v>3.9428905580766171E-3</c:v>
                </c:pt>
                <c:pt idx="3794">
                  <c:v>-1.2233442441638616</c:v>
                </c:pt>
                <c:pt idx="3795">
                  <c:v>1.6457866461696324</c:v>
                </c:pt>
                <c:pt idx="3796">
                  <c:v>-0.3290594915134144</c:v>
                </c:pt>
                <c:pt idx="3797">
                  <c:v>-2.962589067234731</c:v>
                </c:pt>
                <c:pt idx="3798">
                  <c:v>0.32719339441022149</c:v>
                </c:pt>
                <c:pt idx="3799">
                  <c:v>-1.1040399904238503</c:v>
                </c:pt>
                <c:pt idx="3800">
                  <c:v>-1.2844150865395507</c:v>
                </c:pt>
                <c:pt idx="3801">
                  <c:v>-0.41891283446156646</c:v>
                </c:pt>
                <c:pt idx="3802">
                  <c:v>0.55978228144976849</c:v>
                </c:pt>
                <c:pt idx="3803">
                  <c:v>-0.33140612159829286</c:v>
                </c:pt>
                <c:pt idx="3804">
                  <c:v>7.390547950702353E-2</c:v>
                </c:pt>
                <c:pt idx="3805">
                  <c:v>0.49828025402272108</c:v>
                </c:pt>
                <c:pt idx="3806">
                  <c:v>0.69182141990919632</c:v>
                </c:pt>
                <c:pt idx="3807">
                  <c:v>-0.69046811401550379</c:v>
                </c:pt>
                <c:pt idx="3808">
                  <c:v>-2.7454983207735584</c:v>
                </c:pt>
                <c:pt idx="3809">
                  <c:v>-0.98998612900535221</c:v>
                </c:pt>
                <c:pt idx="3810">
                  <c:v>-1.5369664519763457</c:v>
                </c:pt>
                <c:pt idx="3811">
                  <c:v>-1.3099629935301507</c:v>
                </c:pt>
                <c:pt idx="3812">
                  <c:v>0.25777790745105711</c:v>
                </c:pt>
                <c:pt idx="3813">
                  <c:v>-1.5796230043304877</c:v>
                </c:pt>
                <c:pt idx="3814">
                  <c:v>-0.27252669001967822</c:v>
                </c:pt>
                <c:pt idx="3815">
                  <c:v>1.3723221002314818</c:v>
                </c:pt>
                <c:pt idx="3816">
                  <c:v>-0.51088371360334883</c:v>
                </c:pt>
                <c:pt idx="3817">
                  <c:v>0.25825417141414087</c:v>
                </c:pt>
                <c:pt idx="3818">
                  <c:v>4.1418661606324587</c:v>
                </c:pt>
                <c:pt idx="3819">
                  <c:v>2.3908627100007456</c:v>
                </c:pt>
                <c:pt idx="3820">
                  <c:v>0.48882824409434311</c:v>
                </c:pt>
                <c:pt idx="3821">
                  <c:v>1.383015005220211</c:v>
                </c:pt>
                <c:pt idx="3822">
                  <c:v>-0.13936747220789647</c:v>
                </c:pt>
                <c:pt idx="3823">
                  <c:v>-0.10289426954019532</c:v>
                </c:pt>
                <c:pt idx="3824">
                  <c:v>2.7595314528478241</c:v>
                </c:pt>
                <c:pt idx="3825">
                  <c:v>3.5066182059987212</c:v>
                </c:pt>
                <c:pt idx="3826">
                  <c:v>-0.26361190069706708</c:v>
                </c:pt>
                <c:pt idx="3827">
                  <c:v>-2.2568561412215788</c:v>
                </c:pt>
                <c:pt idx="3828">
                  <c:v>1.4614327701123329</c:v>
                </c:pt>
                <c:pt idx="3829">
                  <c:v>-0.78367895580524127</c:v>
                </c:pt>
                <c:pt idx="3830">
                  <c:v>0.24632163179702804</c:v>
                </c:pt>
                <c:pt idx="3831">
                  <c:v>-0.81022780983994558</c:v>
                </c:pt>
                <c:pt idx="3832">
                  <c:v>0.92365435328498569</c:v>
                </c:pt>
                <c:pt idx="3833">
                  <c:v>-9.9269233358721398E-2</c:v>
                </c:pt>
                <c:pt idx="3834">
                  <c:v>2.0348194221557701</c:v>
                </c:pt>
                <c:pt idx="3835">
                  <c:v>-1.4132156569299035</c:v>
                </c:pt>
                <c:pt idx="3836">
                  <c:v>0.11838047492689208</c:v>
                </c:pt>
                <c:pt idx="3837">
                  <c:v>-1.5095026140203953</c:v>
                </c:pt>
                <c:pt idx="3838">
                  <c:v>7.3001517158346552</c:v>
                </c:pt>
                <c:pt idx="3839">
                  <c:v>-0.60462647591244556</c:v>
                </c:pt>
                <c:pt idx="3840">
                  <c:v>0.4957403947167861</c:v>
                </c:pt>
                <c:pt idx="3841">
                  <c:v>-0.56944874245235755</c:v>
                </c:pt>
                <c:pt idx="3842">
                  <c:v>6.9426626482885667E-2</c:v>
                </c:pt>
                <c:pt idx="3843">
                  <c:v>1.726382361591972</c:v>
                </c:pt>
                <c:pt idx="3844">
                  <c:v>-0.29950421098096713</c:v>
                </c:pt>
                <c:pt idx="3845">
                  <c:v>-0.34409229520963081</c:v>
                </c:pt>
                <c:pt idx="3846">
                  <c:v>0.96866170350972514</c:v>
                </c:pt>
                <c:pt idx="3847">
                  <c:v>-3.4820072308240366</c:v>
                </c:pt>
                <c:pt idx="3848">
                  <c:v>-1.4516394939216024</c:v>
                </c:pt>
                <c:pt idx="3849">
                  <c:v>-0.45246661758945095</c:v>
                </c:pt>
                <c:pt idx="3850">
                  <c:v>-3.3641458578086709</c:v>
                </c:pt>
                <c:pt idx="3851">
                  <c:v>-5.4525529724332E-2</c:v>
                </c:pt>
                <c:pt idx="3852">
                  <c:v>9.543332817357375E-2</c:v>
                </c:pt>
                <c:pt idx="3853">
                  <c:v>0.18078220953496338</c:v>
                </c:pt>
                <c:pt idx="3854">
                  <c:v>8.2197990812924893E-2</c:v>
                </c:pt>
                <c:pt idx="3855">
                  <c:v>-8.1563086233639837E-2</c:v>
                </c:pt>
                <c:pt idx="3856">
                  <c:v>-2.3662422998154131</c:v>
                </c:pt>
                <c:pt idx="3857">
                  <c:v>2.2049201769644826</c:v>
                </c:pt>
                <c:pt idx="3858">
                  <c:v>-0.58313952365208044</c:v>
                </c:pt>
                <c:pt idx="3859">
                  <c:v>0.54851522426601451</c:v>
                </c:pt>
                <c:pt idx="3860">
                  <c:v>0.52079410914276003</c:v>
                </c:pt>
                <c:pt idx="3861">
                  <c:v>-2.2722548262116868</c:v>
                </c:pt>
                <c:pt idx="3862">
                  <c:v>-0.20635736230346169</c:v>
                </c:pt>
                <c:pt idx="3863">
                  <c:v>0.35338535700697138</c:v>
                </c:pt>
                <c:pt idx="3864">
                  <c:v>0.51719859315426919</c:v>
                </c:pt>
                <c:pt idx="3865">
                  <c:v>-2.3076351036878417</c:v>
                </c:pt>
                <c:pt idx="3866">
                  <c:v>-0.30028997417613823</c:v>
                </c:pt>
                <c:pt idx="3867">
                  <c:v>-1.2159335306708157</c:v>
                </c:pt>
                <c:pt idx="3868">
                  <c:v>0.29110041362081246</c:v>
                </c:pt>
                <c:pt idx="3869">
                  <c:v>-0.97159327680715446</c:v>
                </c:pt>
                <c:pt idx="3870">
                  <c:v>-0.95359278718896467</c:v>
                </c:pt>
                <c:pt idx="3871">
                  <c:v>0.29660342962621994</c:v>
                </c:pt>
                <c:pt idx="3872">
                  <c:v>0.36858094337266656</c:v>
                </c:pt>
                <c:pt idx="3873">
                  <c:v>0.70226080144872094</c:v>
                </c:pt>
                <c:pt idx="3874">
                  <c:v>-1.1937969327165339</c:v>
                </c:pt>
                <c:pt idx="3875">
                  <c:v>-0.31479847051915022</c:v>
                </c:pt>
                <c:pt idx="3876">
                  <c:v>-1.286904384652183</c:v>
                </c:pt>
                <c:pt idx="3877">
                  <c:v>-1.4907416807528193</c:v>
                </c:pt>
                <c:pt idx="3878">
                  <c:v>-3.4820072308240366</c:v>
                </c:pt>
                <c:pt idx="3879">
                  <c:v>0.10059467366271635</c:v>
                </c:pt>
                <c:pt idx="3880">
                  <c:v>0.55390352970107459</c:v>
                </c:pt>
                <c:pt idx="3881">
                  <c:v>0.27284679538766465</c:v>
                </c:pt>
                <c:pt idx="3882">
                  <c:v>0.1060641216906647</c:v>
                </c:pt>
                <c:pt idx="3883">
                  <c:v>0.70186352833287424</c:v>
                </c:pt>
                <c:pt idx="3884">
                  <c:v>-0.12240261288176291</c:v>
                </c:pt>
                <c:pt idx="3885">
                  <c:v>0.17760533392756717</c:v>
                </c:pt>
                <c:pt idx="3886">
                  <c:v>-0.70891368246729569</c:v>
                </c:pt>
                <c:pt idx="3887">
                  <c:v>3.2391258315993237</c:v>
                </c:pt>
                <c:pt idx="3888">
                  <c:v>0.37701258348913991</c:v>
                </c:pt>
                <c:pt idx="3889">
                  <c:v>-9.37169931841354E-2</c:v>
                </c:pt>
                <c:pt idx="3890">
                  <c:v>-0.47387806096817475</c:v>
                </c:pt>
                <c:pt idx="3891">
                  <c:v>1.7640829281734749</c:v>
                </c:pt>
                <c:pt idx="3892">
                  <c:v>-0.20255747209023478</c:v>
                </c:pt>
                <c:pt idx="3893">
                  <c:v>0.12388969596049737</c:v>
                </c:pt>
                <c:pt idx="3894">
                  <c:v>1.6701484678432743</c:v>
                </c:pt>
                <c:pt idx="3895">
                  <c:v>6.8742011390282243E-2</c:v>
                </c:pt>
                <c:pt idx="3896">
                  <c:v>1.1470277374383211</c:v>
                </c:pt>
                <c:pt idx="3897">
                  <c:v>1.1372599250065565</c:v>
                </c:pt>
                <c:pt idx="3898">
                  <c:v>-3.4820072308240366</c:v>
                </c:pt>
                <c:pt idx="3899">
                  <c:v>-0.47753226349990063</c:v>
                </c:pt>
                <c:pt idx="3900">
                  <c:v>0.30204126790945984</c:v>
                </c:pt>
                <c:pt idx="3901">
                  <c:v>-1.1947400949714968</c:v>
                </c:pt>
                <c:pt idx="3902">
                  <c:v>-0.38834131091141866</c:v>
                </c:pt>
                <c:pt idx="3903">
                  <c:v>3.4350620725117733</c:v>
                </c:pt>
                <c:pt idx="3904">
                  <c:v>0.42254030791272357</c:v>
                </c:pt>
                <c:pt idx="3905">
                  <c:v>-0.87492549179809975</c:v>
                </c:pt>
                <c:pt idx="3906">
                  <c:v>0.90387234010247097</c:v>
                </c:pt>
                <c:pt idx="3907">
                  <c:v>-1.212914022801981</c:v>
                </c:pt>
                <c:pt idx="3908">
                  <c:v>-0.27226588242815586</c:v>
                </c:pt>
                <c:pt idx="3909">
                  <c:v>-0.87486745481141881</c:v>
                </c:pt>
                <c:pt idx="3910">
                  <c:v>0.42244561648016199</c:v>
                </c:pt>
                <c:pt idx="3911">
                  <c:v>0.5044476186205491</c:v>
                </c:pt>
                <c:pt idx="3912">
                  <c:v>-2.6355131436164627</c:v>
                </c:pt>
                <c:pt idx="3913">
                  <c:v>-0.96623767704672514</c:v>
                </c:pt>
                <c:pt idx="3914">
                  <c:v>0.8593826579369731</c:v>
                </c:pt>
                <c:pt idx="3915">
                  <c:v>-0.41051785439624111</c:v>
                </c:pt>
                <c:pt idx="3916">
                  <c:v>-0.43864984389145922</c:v>
                </c:pt>
                <c:pt idx="3917">
                  <c:v>-1.1340558779575374</c:v>
                </c:pt>
                <c:pt idx="3918">
                  <c:v>0.46097231794285309</c:v>
                </c:pt>
                <c:pt idx="3919">
                  <c:v>-0.3000419634524194</c:v>
                </c:pt>
                <c:pt idx="3920">
                  <c:v>0.35309961216752034</c:v>
                </c:pt>
                <c:pt idx="3921">
                  <c:v>2.4368931893635608</c:v>
                </c:pt>
                <c:pt idx="3922">
                  <c:v>0.18026851596293436</c:v>
                </c:pt>
                <c:pt idx="3923">
                  <c:v>0.14676157734394724</c:v>
                </c:pt>
                <c:pt idx="3924">
                  <c:v>-1.4820072308240366</c:v>
                </c:pt>
                <c:pt idx="3925">
                  <c:v>-0.85743367049853436</c:v>
                </c:pt>
                <c:pt idx="3926">
                  <c:v>-3.3227348633469838</c:v>
                </c:pt>
                <c:pt idx="3927">
                  <c:v>-0.2834997221822888</c:v>
                </c:pt>
                <c:pt idx="3928">
                  <c:v>-0.14077297563284374</c:v>
                </c:pt>
                <c:pt idx="3929">
                  <c:v>1.9532163675236203</c:v>
                </c:pt>
                <c:pt idx="3930">
                  <c:v>-1.0855699657136213</c:v>
                </c:pt>
                <c:pt idx="3931">
                  <c:v>0.20162142191771848</c:v>
                </c:pt>
                <c:pt idx="3932">
                  <c:v>0.44394621747074825</c:v>
                </c:pt>
                <c:pt idx="3933">
                  <c:v>-0.2595611632860616</c:v>
                </c:pt>
                <c:pt idx="3934">
                  <c:v>-6.9004775855898703E-3</c:v>
                </c:pt>
                <c:pt idx="3935">
                  <c:v>0.23317926378805248</c:v>
                </c:pt>
                <c:pt idx="3936">
                  <c:v>-6.134714294830701E-3</c:v>
                </c:pt>
                <c:pt idx="3937">
                  <c:v>-0.30051837972249484</c:v>
                </c:pt>
                <c:pt idx="3938">
                  <c:v>0.2953604071031275</c:v>
                </c:pt>
                <c:pt idx="3939">
                  <c:v>-0.23998165950349115</c:v>
                </c:pt>
                <c:pt idx="3940">
                  <c:v>-1.2888500605374509</c:v>
                </c:pt>
                <c:pt idx="3941">
                  <c:v>1.5880328212814818</c:v>
                </c:pt>
                <c:pt idx="3942">
                  <c:v>2.5112397136697551E-2</c:v>
                </c:pt>
                <c:pt idx="3943">
                  <c:v>0.17190996386191248</c:v>
                </c:pt>
                <c:pt idx="3944">
                  <c:v>-0.39239245205683071</c:v>
                </c:pt>
                <c:pt idx="3945">
                  <c:v>-2.4529402770581235</c:v>
                </c:pt>
                <c:pt idx="3946">
                  <c:v>0.43709258822656749</c:v>
                </c:pt>
                <c:pt idx="3947">
                  <c:v>0.1367883559669314</c:v>
                </c:pt>
                <c:pt idx="3948">
                  <c:v>-4.4820072308240366</c:v>
                </c:pt>
                <c:pt idx="3949">
                  <c:v>-4.5925351042458318E-2</c:v>
                </c:pt>
                <c:pt idx="3950">
                  <c:v>-3.430837689564548</c:v>
                </c:pt>
                <c:pt idx="3951">
                  <c:v>-0.8885475680391326</c:v>
                </c:pt>
                <c:pt idx="3952">
                  <c:v>0.1108634818119334</c:v>
                </c:pt>
                <c:pt idx="3953">
                  <c:v>2.6549750642344789</c:v>
                </c:pt>
                <c:pt idx="3954">
                  <c:v>0.6228584016361608</c:v>
                </c:pt>
                <c:pt idx="3955">
                  <c:v>0.25851651097574069</c:v>
                </c:pt>
                <c:pt idx="3956">
                  <c:v>0.46399547150920362</c:v>
                </c:pt>
                <c:pt idx="3957">
                  <c:v>0.68419098149100022</c:v>
                </c:pt>
                <c:pt idx="3958">
                  <c:v>-0.41186390589237121</c:v>
                </c:pt>
                <c:pt idx="3959">
                  <c:v>-0.83467410464240133</c:v>
                </c:pt>
                <c:pt idx="3960">
                  <c:v>0.12259561443880862</c:v>
                </c:pt>
                <c:pt idx="3961">
                  <c:v>-0.6929838564003048</c:v>
                </c:pt>
                <c:pt idx="3962">
                  <c:v>-0.1787562505842486</c:v>
                </c:pt>
                <c:pt idx="3963">
                  <c:v>-7.2110909263402956</c:v>
                </c:pt>
                <c:pt idx="3964">
                  <c:v>-0.30585958207572572</c:v>
                </c:pt>
                <c:pt idx="3965">
                  <c:v>5.2492936705412774E-3</c:v>
                </c:pt>
                <c:pt idx="3966">
                  <c:v>0.31993406120895646</c:v>
                </c:pt>
                <c:pt idx="3967">
                  <c:v>0.31089058940134767</c:v>
                </c:pt>
                <c:pt idx="3968">
                  <c:v>0.81364673623111106</c:v>
                </c:pt>
                <c:pt idx="3969">
                  <c:v>0.50093715520785864</c:v>
                </c:pt>
                <c:pt idx="3970">
                  <c:v>-0.29420413074537399</c:v>
                </c:pt>
                <c:pt idx="3971">
                  <c:v>-0.3964754398689383</c:v>
                </c:pt>
                <c:pt idx="3972">
                  <c:v>-0.13628444507080395</c:v>
                </c:pt>
                <c:pt idx="3973">
                  <c:v>0.65013530495658733</c:v>
                </c:pt>
                <c:pt idx="3974">
                  <c:v>-0.25864689342566927</c:v>
                </c:pt>
                <c:pt idx="3975">
                  <c:v>-1.5898481623526157</c:v>
                </c:pt>
                <c:pt idx="3976">
                  <c:v>3.831075625732244</c:v>
                </c:pt>
                <c:pt idx="3977">
                  <c:v>5.6329281138889078</c:v>
                </c:pt>
                <c:pt idx="3978">
                  <c:v>-0.54653689465754707</c:v>
                </c:pt>
                <c:pt idx="3979">
                  <c:v>-0.96394029134891746</c:v>
                </c:pt>
                <c:pt idx="3980">
                  <c:v>0.20303061213889373</c:v>
                </c:pt>
                <c:pt idx="3981">
                  <c:v>1.2890935344843646E-3</c:v>
                </c:pt>
                <c:pt idx="3982">
                  <c:v>0.14494591844303306</c:v>
                </c:pt>
                <c:pt idx="3983">
                  <c:v>-0.3029178845092102</c:v>
                </c:pt>
                <c:pt idx="3984">
                  <c:v>1.6673970991823839</c:v>
                </c:pt>
                <c:pt idx="3985">
                  <c:v>1.0875994494832872</c:v>
                </c:pt>
                <c:pt idx="3986">
                  <c:v>-0.17934174767124555</c:v>
                </c:pt>
                <c:pt idx="3987">
                  <c:v>1.916836665303153</c:v>
                </c:pt>
                <c:pt idx="3988">
                  <c:v>4.6881050616194244</c:v>
                </c:pt>
                <c:pt idx="3989">
                  <c:v>-0.64109362014647608</c:v>
                </c:pt>
                <c:pt idx="3990">
                  <c:v>-1.6892348286994707</c:v>
                </c:pt>
                <c:pt idx="3991">
                  <c:v>0.8224059524231877</c:v>
                </c:pt>
                <c:pt idx="3992">
                  <c:v>16.103896243425396</c:v>
                </c:pt>
                <c:pt idx="3993">
                  <c:v>1.4650296471934636</c:v>
                </c:pt>
                <c:pt idx="3994">
                  <c:v>1.6511340721215066</c:v>
                </c:pt>
                <c:pt idx="3995">
                  <c:v>-0.59936040925755485</c:v>
                </c:pt>
                <c:pt idx="3996">
                  <c:v>0.60852666426388735</c:v>
                </c:pt>
                <c:pt idx="3997">
                  <c:v>-0.10088314351732819</c:v>
                </c:pt>
                <c:pt idx="3998">
                  <c:v>0.4180923683727607</c:v>
                </c:pt>
                <c:pt idx="3999">
                  <c:v>-1.815318890126727E-2</c:v>
                </c:pt>
                <c:pt idx="4000">
                  <c:v>-4.5246770854417973E-3</c:v>
                </c:pt>
                <c:pt idx="4001">
                  <c:v>1.4831208030952023</c:v>
                </c:pt>
                <c:pt idx="4002">
                  <c:v>9.2116425189207707E-2</c:v>
                </c:pt>
                <c:pt idx="4003">
                  <c:v>-0.42809378629612294</c:v>
                </c:pt>
                <c:pt idx="4004">
                  <c:v>0.50910091391919465</c:v>
                </c:pt>
                <c:pt idx="4005">
                  <c:v>0.13509255541578069</c:v>
                </c:pt>
                <c:pt idx="4006">
                  <c:v>1.657223087298616</c:v>
                </c:pt>
                <c:pt idx="4007">
                  <c:v>0.43403976622525992</c:v>
                </c:pt>
                <c:pt idx="4008">
                  <c:v>-0.31029540551847257</c:v>
                </c:pt>
                <c:pt idx="4009">
                  <c:v>0.20849099427447826</c:v>
                </c:pt>
                <c:pt idx="4010">
                  <c:v>-0.40744743654090909</c:v>
                </c:pt>
                <c:pt idx="4011">
                  <c:v>-0.88568237781120418</c:v>
                </c:pt>
                <c:pt idx="4012">
                  <c:v>-0.69583991864914019</c:v>
                </c:pt>
                <c:pt idx="4013">
                  <c:v>1.9058560814179351</c:v>
                </c:pt>
                <c:pt idx="4014">
                  <c:v>4.498021805457908E-2</c:v>
                </c:pt>
                <c:pt idx="4015">
                  <c:v>-2.6958145173347194</c:v>
                </c:pt>
                <c:pt idx="4016">
                  <c:v>-0.56714586799038402</c:v>
                </c:pt>
                <c:pt idx="4017">
                  <c:v>0.63684514916677848</c:v>
                </c:pt>
                <c:pt idx="4018">
                  <c:v>-1.1599791758560496</c:v>
                </c:pt>
                <c:pt idx="4019">
                  <c:v>-0.40764123718611334</c:v>
                </c:pt>
                <c:pt idx="4020">
                  <c:v>-0.25098157505892471</c:v>
                </c:pt>
                <c:pt idx="4021">
                  <c:v>6.5179927691759634</c:v>
                </c:pt>
                <c:pt idx="4022">
                  <c:v>-0.41005034368869886</c:v>
                </c:pt>
                <c:pt idx="4023">
                  <c:v>-0.15937643093809784</c:v>
                </c:pt>
                <c:pt idx="4024">
                  <c:v>-4.1338507526053947E-2</c:v>
                </c:pt>
                <c:pt idx="4025">
                  <c:v>-0.10725597024697586</c:v>
                </c:pt>
                <c:pt idx="4026">
                  <c:v>3.3262979433733388</c:v>
                </c:pt>
                <c:pt idx="4027">
                  <c:v>0.2964134286329696</c:v>
                </c:pt>
                <c:pt idx="4028">
                  <c:v>-0.39562641069476445</c:v>
                </c:pt>
                <c:pt idx="4029">
                  <c:v>0.35198366125681685</c:v>
                </c:pt>
                <c:pt idx="4030">
                  <c:v>-0.60090169480427447</c:v>
                </c:pt>
                <c:pt idx="4031">
                  <c:v>-1.1335018778667196</c:v>
                </c:pt>
                <c:pt idx="4032">
                  <c:v>-7.2441642916559634E-2</c:v>
                </c:pt>
                <c:pt idx="4033">
                  <c:v>1.7862985500508672</c:v>
                </c:pt>
                <c:pt idx="4034">
                  <c:v>0.25719299222861786</c:v>
                </c:pt>
                <c:pt idx="4035">
                  <c:v>-4.2250246189298291E-2</c:v>
                </c:pt>
                <c:pt idx="4036">
                  <c:v>0.23069128072700884</c:v>
                </c:pt>
                <c:pt idx="4037">
                  <c:v>0.31245488132665444</c:v>
                </c:pt>
                <c:pt idx="4038">
                  <c:v>0.39237497018647283</c:v>
                </c:pt>
                <c:pt idx="4039">
                  <c:v>1.6938797594520478</c:v>
                </c:pt>
                <c:pt idx="4040">
                  <c:v>0.59088340047861543</c:v>
                </c:pt>
                <c:pt idx="4041">
                  <c:v>-0.60845315807957334</c:v>
                </c:pt>
                <c:pt idx="4042">
                  <c:v>0.47175670218201482</c:v>
                </c:pt>
                <c:pt idx="4043">
                  <c:v>-1.4609156530087279</c:v>
                </c:pt>
                <c:pt idx="4044">
                  <c:v>0.11608108979042497</c:v>
                </c:pt>
                <c:pt idx="4045">
                  <c:v>3.4096760096218981E-2</c:v>
                </c:pt>
                <c:pt idx="4046">
                  <c:v>-0.90635874665641047</c:v>
                </c:pt>
                <c:pt idx="4047">
                  <c:v>0.36396271252811302</c:v>
                </c:pt>
                <c:pt idx="4048">
                  <c:v>-2.4820072308240366</c:v>
                </c:pt>
                <c:pt idx="4049">
                  <c:v>-0.77200540488871416</c:v>
                </c:pt>
                <c:pt idx="4050">
                  <c:v>0.40017008795615433</c:v>
                </c:pt>
                <c:pt idx="4051">
                  <c:v>-0.4421343675342575</c:v>
                </c:pt>
                <c:pt idx="4052">
                  <c:v>-2.4820072308240366</c:v>
                </c:pt>
                <c:pt idx="4053">
                  <c:v>-0.70927385707426804</c:v>
                </c:pt>
                <c:pt idx="4054">
                  <c:v>0.1905256279022165</c:v>
                </c:pt>
                <c:pt idx="4055">
                  <c:v>-2.1060225399838619</c:v>
                </c:pt>
                <c:pt idx="4056">
                  <c:v>-1.2269360411575727</c:v>
                </c:pt>
                <c:pt idx="4057">
                  <c:v>-1.4820072308240366</c:v>
                </c:pt>
                <c:pt idx="4058">
                  <c:v>-0.18461554407169756</c:v>
                </c:pt>
                <c:pt idx="4059">
                  <c:v>-0.33911017198198401</c:v>
                </c:pt>
                <c:pt idx="4060">
                  <c:v>-1.04572586437676</c:v>
                </c:pt>
                <c:pt idx="4061">
                  <c:v>-2.228960970635224</c:v>
                </c:pt>
                <c:pt idx="4062">
                  <c:v>0.93730437510996256</c:v>
                </c:pt>
                <c:pt idx="4063">
                  <c:v>-5.8366954252220911</c:v>
                </c:pt>
                <c:pt idx="4064">
                  <c:v>-4.7965112196335742</c:v>
                </c:pt>
                <c:pt idx="4065">
                  <c:v>0.95498008567534232</c:v>
                </c:pt>
                <c:pt idx="4066">
                  <c:v>-2.9236244589951546</c:v>
                </c:pt>
                <c:pt idx="4067">
                  <c:v>0.98736719010119534</c:v>
                </c:pt>
                <c:pt idx="4068">
                  <c:v>-0.76551245552390679</c:v>
                </c:pt>
                <c:pt idx="4069">
                  <c:v>-2.7591027044577148</c:v>
                </c:pt>
                <c:pt idx="4070">
                  <c:v>-9.9660618811138302E-2</c:v>
                </c:pt>
                <c:pt idx="4071">
                  <c:v>-1.9215133373883</c:v>
                </c:pt>
                <c:pt idx="4072">
                  <c:v>-1.2720188552074205</c:v>
                </c:pt>
                <c:pt idx="4073">
                  <c:v>5.8614710024254748</c:v>
                </c:pt>
                <c:pt idx="4074">
                  <c:v>0.25503140602411545</c:v>
                </c:pt>
                <c:pt idx="4075">
                  <c:v>-0.22172189338653503</c:v>
                </c:pt>
                <c:pt idx="4076">
                  <c:v>-2.4935787021029219</c:v>
                </c:pt>
                <c:pt idx="4077">
                  <c:v>-2.0225632919101821</c:v>
                </c:pt>
                <c:pt idx="4078">
                  <c:v>-2.0935797429336578</c:v>
                </c:pt>
                <c:pt idx="4079">
                  <c:v>-0.18654277872311176</c:v>
                </c:pt>
                <c:pt idx="4080">
                  <c:v>-1.1082648026385262</c:v>
                </c:pt>
                <c:pt idx="4081">
                  <c:v>1.5594875101692192</c:v>
                </c:pt>
                <c:pt idx="4082">
                  <c:v>3.2140963766239938</c:v>
                </c:pt>
                <c:pt idx="4083">
                  <c:v>-0.39882964529640574</c:v>
                </c:pt>
                <c:pt idx="4084">
                  <c:v>-5.585907600146367E-2</c:v>
                </c:pt>
                <c:pt idx="4085">
                  <c:v>0.29735457946861343</c:v>
                </c:pt>
                <c:pt idx="4086">
                  <c:v>2.4615405091771843</c:v>
                </c:pt>
                <c:pt idx="4087">
                  <c:v>-10.616752413063786</c:v>
                </c:pt>
                <c:pt idx="4088">
                  <c:v>-4.0718799387632898E-2</c:v>
                </c:pt>
                <c:pt idx="4089">
                  <c:v>-9.1194013360996196E-2</c:v>
                </c:pt>
                <c:pt idx="4090">
                  <c:v>-4.4820072308240366</c:v>
                </c:pt>
                <c:pt idx="4091">
                  <c:v>8.6932630133001121E-2</c:v>
                </c:pt>
                <c:pt idx="4092">
                  <c:v>15.966265687083741</c:v>
                </c:pt>
                <c:pt idx="4093">
                  <c:v>-0.67370205662666116</c:v>
                </c:pt>
                <c:pt idx="4094">
                  <c:v>4.3185396970798706E-2</c:v>
                </c:pt>
                <c:pt idx="4095">
                  <c:v>0.11225010642262234</c:v>
                </c:pt>
                <c:pt idx="4096">
                  <c:v>0.10519267185308512</c:v>
                </c:pt>
                <c:pt idx="4097">
                  <c:v>0.61229133529845925</c:v>
                </c:pt>
                <c:pt idx="4098">
                  <c:v>-3.5351851547535396E-2</c:v>
                </c:pt>
                <c:pt idx="4099">
                  <c:v>-0.68125722528837995</c:v>
                </c:pt>
                <c:pt idx="4100">
                  <c:v>-0.16424219932532436</c:v>
                </c:pt>
                <c:pt idx="4101">
                  <c:v>7.4686678990514177E-2</c:v>
                </c:pt>
                <c:pt idx="4102">
                  <c:v>3.0897018201449744</c:v>
                </c:pt>
                <c:pt idx="4103">
                  <c:v>0.15915234584226812</c:v>
                </c:pt>
                <c:pt idx="4104">
                  <c:v>0.4688259409379224</c:v>
                </c:pt>
                <c:pt idx="4105">
                  <c:v>0.41687801263998336</c:v>
                </c:pt>
                <c:pt idx="4106">
                  <c:v>0.55977161754277738</c:v>
                </c:pt>
                <c:pt idx="4107">
                  <c:v>1.684647427992092E-2</c:v>
                </c:pt>
                <c:pt idx="4108">
                  <c:v>2.8558455053072884</c:v>
                </c:pt>
                <c:pt idx="4109">
                  <c:v>-0.13997362029610949</c:v>
                </c:pt>
                <c:pt idx="4110">
                  <c:v>-1.4820072308240366</c:v>
                </c:pt>
                <c:pt idx="4111">
                  <c:v>0.3052107377258485</c:v>
                </c:pt>
                <c:pt idx="4112">
                  <c:v>-0.29911792176884444</c:v>
                </c:pt>
                <c:pt idx="4113">
                  <c:v>1.5873370120636483</c:v>
                </c:pt>
                <c:pt idx="4114">
                  <c:v>0.42554950725754775</c:v>
                </c:pt>
                <c:pt idx="4115">
                  <c:v>0.36556892030456745</c:v>
                </c:pt>
                <c:pt idx="4116">
                  <c:v>-6.5265795505188056</c:v>
                </c:pt>
                <c:pt idx="4117">
                  <c:v>0.85422277805176794</c:v>
                </c:pt>
                <c:pt idx="4118">
                  <c:v>-0.86883888726116432</c:v>
                </c:pt>
                <c:pt idx="4119">
                  <c:v>0.15521952547127482</c:v>
                </c:pt>
                <c:pt idx="4120">
                  <c:v>-5.7152033494525227</c:v>
                </c:pt>
                <c:pt idx="4121">
                  <c:v>-1.8137976634163158</c:v>
                </c:pt>
                <c:pt idx="4122">
                  <c:v>3.3339866777799356</c:v>
                </c:pt>
                <c:pt idx="4123">
                  <c:v>0.36204440596749871</c:v>
                </c:pt>
                <c:pt idx="4124">
                  <c:v>0.3609977958367363</c:v>
                </c:pt>
                <c:pt idx="4125">
                  <c:v>3.2659366166260786</c:v>
                </c:pt>
                <c:pt idx="4126">
                  <c:v>0.343887664651365</c:v>
                </c:pt>
                <c:pt idx="4127">
                  <c:v>0.44902817398351458</c:v>
                </c:pt>
                <c:pt idx="4128">
                  <c:v>0.39246949722418628</c:v>
                </c:pt>
                <c:pt idx="4129">
                  <c:v>0.35120036573901176</c:v>
                </c:pt>
                <c:pt idx="4130">
                  <c:v>-0.48482987091981533</c:v>
                </c:pt>
                <c:pt idx="4131">
                  <c:v>-0.17076795678007883</c:v>
                </c:pt>
                <c:pt idx="4132">
                  <c:v>-0.35641436722063391</c:v>
                </c:pt>
                <c:pt idx="4133">
                  <c:v>0.30191183114221748</c:v>
                </c:pt>
                <c:pt idx="4134">
                  <c:v>0.88619137517014379</c:v>
                </c:pt>
                <c:pt idx="4135">
                  <c:v>0.39684589115918523</c:v>
                </c:pt>
                <c:pt idx="4136">
                  <c:v>0.10543545403301691</c:v>
                </c:pt>
                <c:pt idx="4137">
                  <c:v>2.4902639599077894</c:v>
                </c:pt>
                <c:pt idx="4138">
                  <c:v>-2.7504697973256942E-2</c:v>
                </c:pt>
                <c:pt idx="4139">
                  <c:v>0.46635864503446739</c:v>
                </c:pt>
                <c:pt idx="4140">
                  <c:v>-1.2758662650948644</c:v>
                </c:pt>
                <c:pt idx="4141">
                  <c:v>-5.9712573996361762E-2</c:v>
                </c:pt>
                <c:pt idx="4142">
                  <c:v>-4.458815125936566E-2</c:v>
                </c:pt>
                <c:pt idx="4143">
                  <c:v>0.45280564364053288</c:v>
                </c:pt>
                <c:pt idx="4144">
                  <c:v>10.936738871464534</c:v>
                </c:pt>
                <c:pt idx="4145">
                  <c:v>-1.9103313924495042</c:v>
                </c:pt>
                <c:pt idx="4146">
                  <c:v>0.56880227864008326</c:v>
                </c:pt>
                <c:pt idx="4147">
                  <c:v>-6.2298364526403898</c:v>
                </c:pt>
                <c:pt idx="4148">
                  <c:v>2.7078654674270077</c:v>
                </c:pt>
                <c:pt idx="4149">
                  <c:v>0.18765762680899467</c:v>
                </c:pt>
                <c:pt idx="4150">
                  <c:v>-1.9397709639546585</c:v>
                </c:pt>
                <c:pt idx="4151">
                  <c:v>3.0450308395799675</c:v>
                </c:pt>
                <c:pt idx="4152">
                  <c:v>-0.14532783468098853</c:v>
                </c:pt>
                <c:pt idx="4153">
                  <c:v>-0.97303212072371537</c:v>
                </c:pt>
                <c:pt idx="4154">
                  <c:v>-6.7385271668026547E-2</c:v>
                </c:pt>
                <c:pt idx="4155">
                  <c:v>1.3161843145049286</c:v>
                </c:pt>
                <c:pt idx="4156">
                  <c:v>0.48893034615305497</c:v>
                </c:pt>
                <c:pt idx="4157">
                  <c:v>0.20816039865232505</c:v>
                </c:pt>
                <c:pt idx="4158">
                  <c:v>-2.2583086206887923</c:v>
                </c:pt>
                <c:pt idx="4159">
                  <c:v>-0.33138469631133383</c:v>
                </c:pt>
                <c:pt idx="4160">
                  <c:v>0.53793076592040223</c:v>
                </c:pt>
                <c:pt idx="4161">
                  <c:v>-2.7369152601439142</c:v>
                </c:pt>
                <c:pt idx="4162">
                  <c:v>0.54456334618048674</c:v>
                </c:pt>
                <c:pt idx="4163">
                  <c:v>0.27316944687053596</c:v>
                </c:pt>
                <c:pt idx="4164">
                  <c:v>0.39189659084850414</c:v>
                </c:pt>
                <c:pt idx="4165">
                  <c:v>0.36627464562973644</c:v>
                </c:pt>
                <c:pt idx="4166">
                  <c:v>-1.1446004808528198E-2</c:v>
                </c:pt>
                <c:pt idx="4167">
                  <c:v>-2.510710701205193</c:v>
                </c:pt>
                <c:pt idx="4168">
                  <c:v>21.963362907774616</c:v>
                </c:pt>
                <c:pt idx="4169">
                  <c:v>0.71150776342009581</c:v>
                </c:pt>
                <c:pt idx="4170">
                  <c:v>-2.4275246973727151</c:v>
                </c:pt>
                <c:pt idx="4171">
                  <c:v>5.4338890333066043</c:v>
                </c:pt>
                <c:pt idx="4172">
                  <c:v>-4.6737020566266612</c:v>
                </c:pt>
                <c:pt idx="4173">
                  <c:v>0.24967565823610632</c:v>
                </c:pt>
                <c:pt idx="4174">
                  <c:v>0.39780619882978668</c:v>
                </c:pt>
                <c:pt idx="4175">
                  <c:v>0.34211059018835122</c:v>
                </c:pt>
                <c:pt idx="4176">
                  <c:v>-1.8245076508566322</c:v>
                </c:pt>
                <c:pt idx="4177">
                  <c:v>0.5306897240635704</c:v>
                </c:pt>
                <c:pt idx="4178">
                  <c:v>0.18349112883157415</c:v>
                </c:pt>
                <c:pt idx="4179">
                  <c:v>-2.4820072308240366</c:v>
                </c:pt>
                <c:pt idx="4180">
                  <c:v>-0.49269015267636163</c:v>
                </c:pt>
                <c:pt idx="4181">
                  <c:v>-0.82140533710585717</c:v>
                </c:pt>
                <c:pt idx="4182">
                  <c:v>-3.5606387646229543</c:v>
                </c:pt>
                <c:pt idx="4183">
                  <c:v>-0.37205783922020697</c:v>
                </c:pt>
                <c:pt idx="4184">
                  <c:v>0.62548463109425312</c:v>
                </c:pt>
                <c:pt idx="4185">
                  <c:v>-6.9977857326627868E-2</c:v>
                </c:pt>
                <c:pt idx="4186">
                  <c:v>11.523400572323535</c:v>
                </c:pt>
                <c:pt idx="4187">
                  <c:v>0.24198937710864526</c:v>
                </c:pt>
                <c:pt idx="4188">
                  <c:v>-0.40005617240894797</c:v>
                </c:pt>
                <c:pt idx="4189">
                  <c:v>1.5508093212967333</c:v>
                </c:pt>
                <c:pt idx="4190">
                  <c:v>-2.5342810938810612</c:v>
                </c:pt>
                <c:pt idx="4191">
                  <c:v>-0.16671812837588107</c:v>
                </c:pt>
                <c:pt idx="4192">
                  <c:v>-0.32888993998564064</c:v>
                </c:pt>
                <c:pt idx="4193">
                  <c:v>-1.0382905875892119</c:v>
                </c:pt>
                <c:pt idx="4194">
                  <c:v>0.26609002932519493</c:v>
                </c:pt>
                <c:pt idx="4195">
                  <c:v>0.5366781497042783</c:v>
                </c:pt>
                <c:pt idx="4196">
                  <c:v>0.41346341559950484</c:v>
                </c:pt>
                <c:pt idx="4197">
                  <c:v>-2.0902530995545363</c:v>
                </c:pt>
                <c:pt idx="4198">
                  <c:v>0.334456141222158</c:v>
                </c:pt>
                <c:pt idx="4199">
                  <c:v>3.3780970499400542</c:v>
                </c:pt>
                <c:pt idx="4200">
                  <c:v>0.41903102427482608</c:v>
                </c:pt>
                <c:pt idx="4201">
                  <c:v>0.64664000696864299</c:v>
                </c:pt>
                <c:pt idx="4202">
                  <c:v>0.38699116220415003</c:v>
                </c:pt>
                <c:pt idx="4203">
                  <c:v>-3.753774147971404</c:v>
                </c:pt>
                <c:pt idx="4204">
                  <c:v>0.61034137141183531</c:v>
                </c:pt>
                <c:pt idx="4205">
                  <c:v>1.4622728554913653</c:v>
                </c:pt>
                <c:pt idx="4206">
                  <c:v>0.33441707810514076</c:v>
                </c:pt>
                <c:pt idx="4207">
                  <c:v>1.414042075794874</c:v>
                </c:pt>
                <c:pt idx="4208">
                  <c:v>-2.1648429658998301</c:v>
                </c:pt>
                <c:pt idx="4209">
                  <c:v>0.333786807597723</c:v>
                </c:pt>
                <c:pt idx="4210">
                  <c:v>-2.7699029606825132E-2</c:v>
                </c:pt>
                <c:pt idx="4211">
                  <c:v>-1.2753997551546425</c:v>
                </c:pt>
                <c:pt idx="4212">
                  <c:v>0.50571328246896297</c:v>
                </c:pt>
                <c:pt idx="4213">
                  <c:v>-3.2694178336580451</c:v>
                </c:pt>
                <c:pt idx="4214">
                  <c:v>-0.63593847572771045</c:v>
                </c:pt>
                <c:pt idx="4215">
                  <c:v>-2.6710135947111686</c:v>
                </c:pt>
                <c:pt idx="4216">
                  <c:v>0.49047386795322417</c:v>
                </c:pt>
                <c:pt idx="4217">
                  <c:v>-1.990542018545209</c:v>
                </c:pt>
                <c:pt idx="4218">
                  <c:v>-0.2684129507006725</c:v>
                </c:pt>
                <c:pt idx="4219">
                  <c:v>0.133274659384095</c:v>
                </c:pt>
                <c:pt idx="4220">
                  <c:v>0.46438892640265073</c:v>
                </c:pt>
                <c:pt idx="4221">
                  <c:v>-4.3059859388242749E-2</c:v>
                </c:pt>
                <c:pt idx="4222">
                  <c:v>3.2651915904917805</c:v>
                </c:pt>
                <c:pt idx="4223">
                  <c:v>0.56313382581324944</c:v>
                </c:pt>
                <c:pt idx="4224">
                  <c:v>0.39765533029299627</c:v>
                </c:pt>
                <c:pt idx="4225">
                  <c:v>5.3131417411638324</c:v>
                </c:pt>
                <c:pt idx="4226">
                  <c:v>0.27704838199489012</c:v>
                </c:pt>
                <c:pt idx="4227">
                  <c:v>0.4338194239421071</c:v>
                </c:pt>
                <c:pt idx="4228">
                  <c:v>-3.9151868461517214</c:v>
                </c:pt>
                <c:pt idx="4229">
                  <c:v>-0.44351663886916559</c:v>
                </c:pt>
                <c:pt idx="4230">
                  <c:v>-0.190556561139271</c:v>
                </c:pt>
                <c:pt idx="4231">
                  <c:v>0.37423904899434907</c:v>
                </c:pt>
                <c:pt idx="4232">
                  <c:v>7.2948894896219474E-2</c:v>
                </c:pt>
                <c:pt idx="4233">
                  <c:v>1.191330708925104</c:v>
                </c:pt>
                <c:pt idx="4234">
                  <c:v>0.45752351457889606</c:v>
                </c:pt>
                <c:pt idx="4235">
                  <c:v>0.4986036041836972</c:v>
                </c:pt>
                <c:pt idx="4236">
                  <c:v>0.65914977074377445</c:v>
                </c:pt>
                <c:pt idx="4237">
                  <c:v>-0.21698706956091529</c:v>
                </c:pt>
                <c:pt idx="4238">
                  <c:v>-0.11465467643351401</c:v>
                </c:pt>
                <c:pt idx="4239">
                  <c:v>0.16281863623047921</c:v>
                </c:pt>
                <c:pt idx="4240">
                  <c:v>-0.41433692517160381</c:v>
                </c:pt>
                <c:pt idx="4241">
                  <c:v>-4.7718799549109345</c:v>
                </c:pt>
                <c:pt idx="4242">
                  <c:v>-1.2188965778094549</c:v>
                </c:pt>
                <c:pt idx="4243">
                  <c:v>0.76610166383346345</c:v>
                </c:pt>
                <c:pt idx="4244">
                  <c:v>11.92249214347337</c:v>
                </c:pt>
                <c:pt idx="4245">
                  <c:v>1.603052470543483</c:v>
                </c:pt>
                <c:pt idx="4246">
                  <c:v>-1.9602958056663011E-2</c:v>
                </c:pt>
                <c:pt idx="4247">
                  <c:v>-2.0096361596108521</c:v>
                </c:pt>
                <c:pt idx="4248">
                  <c:v>0.31006185079587251</c:v>
                </c:pt>
                <c:pt idx="4249">
                  <c:v>0.38467431418007975</c:v>
                </c:pt>
                <c:pt idx="4250">
                  <c:v>-8.2482807717306983E-2</c:v>
                </c:pt>
                <c:pt idx="4251">
                  <c:v>8.4752377304783688E-2</c:v>
                </c:pt>
                <c:pt idx="4252">
                  <c:v>0.34010531875304056</c:v>
                </c:pt>
                <c:pt idx="4253">
                  <c:v>0.54349751635791299</c:v>
                </c:pt>
                <c:pt idx="4254">
                  <c:v>0.41831791810448726</c:v>
                </c:pt>
                <c:pt idx="4255">
                  <c:v>-5.2335689455866046</c:v>
                </c:pt>
                <c:pt idx="4256">
                  <c:v>-5.2464735924643406</c:v>
                </c:pt>
                <c:pt idx="4257">
                  <c:v>0.68312306288682589</c:v>
                </c:pt>
                <c:pt idx="4258">
                  <c:v>3.5283338305084095</c:v>
                </c:pt>
                <c:pt idx="4259">
                  <c:v>0.22742665288679825</c:v>
                </c:pt>
                <c:pt idx="4260">
                  <c:v>0.38366094081950874</c:v>
                </c:pt>
                <c:pt idx="4261">
                  <c:v>0.20538878041425113</c:v>
                </c:pt>
                <c:pt idx="4262">
                  <c:v>0.89141811245358404</c:v>
                </c:pt>
                <c:pt idx="4263">
                  <c:v>2.9465894297677462</c:v>
                </c:pt>
                <c:pt idx="4264">
                  <c:v>1.2170100150879111</c:v>
                </c:pt>
                <c:pt idx="4265">
                  <c:v>-1.8653968824292857</c:v>
                </c:pt>
                <c:pt idx="4266">
                  <c:v>0.2061077065560234</c:v>
                </c:pt>
                <c:pt idx="4267">
                  <c:v>0.47395525118980814</c:v>
                </c:pt>
                <c:pt idx="4268">
                  <c:v>0.95721684615212876</c:v>
                </c:pt>
                <c:pt idx="4269">
                  <c:v>0.70929127361570732</c:v>
                </c:pt>
                <c:pt idx="4270">
                  <c:v>2.1089215562426755</c:v>
                </c:pt>
                <c:pt idx="4271">
                  <c:v>1.3570196685321902</c:v>
                </c:pt>
                <c:pt idx="4272">
                  <c:v>1.4043379204329309</c:v>
                </c:pt>
                <c:pt idx="4273">
                  <c:v>4.8949905510530467E-2</c:v>
                </c:pt>
                <c:pt idx="4274">
                  <c:v>-1.8242958676531931</c:v>
                </c:pt>
                <c:pt idx="4275">
                  <c:v>4.9232366814726598</c:v>
                </c:pt>
                <c:pt idx="4276">
                  <c:v>-1.8803750046403298</c:v>
                </c:pt>
                <c:pt idx="4277">
                  <c:v>1.4802477515883443</c:v>
                </c:pt>
                <c:pt idx="4278">
                  <c:v>3.7066336471591805</c:v>
                </c:pt>
                <c:pt idx="4279">
                  <c:v>10.198547962328908</c:v>
                </c:pt>
                <c:pt idx="4280">
                  <c:v>9.2355752450012929E-4</c:v>
                </c:pt>
                <c:pt idx="4281">
                  <c:v>2.5179927691759634</c:v>
                </c:pt>
                <c:pt idx="4282">
                  <c:v>3.2640850725154902</c:v>
                </c:pt>
                <c:pt idx="4283">
                  <c:v>0.29253420318566636</c:v>
                </c:pt>
                <c:pt idx="4284">
                  <c:v>0.49727511974513028</c:v>
                </c:pt>
                <c:pt idx="4285">
                  <c:v>3.3164600362009793</c:v>
                </c:pt>
                <c:pt idx="4286">
                  <c:v>0.58597845622584255</c:v>
                </c:pt>
                <c:pt idx="4287">
                  <c:v>7.8141063772794173E-3</c:v>
                </c:pt>
                <c:pt idx="4288">
                  <c:v>5.011296405854484</c:v>
                </c:pt>
                <c:pt idx="4289">
                  <c:v>3.7007397541614537</c:v>
                </c:pt>
                <c:pt idx="4290">
                  <c:v>1.1435924902739483</c:v>
                </c:pt>
                <c:pt idx="4291">
                  <c:v>0.95629403017720138</c:v>
                </c:pt>
                <c:pt idx="4292">
                  <c:v>0.83651172270122198</c:v>
                </c:pt>
                <c:pt idx="4293">
                  <c:v>-0.29337579103916278</c:v>
                </c:pt>
                <c:pt idx="4294">
                  <c:v>0.5382909147042152</c:v>
                </c:pt>
                <c:pt idx="4295">
                  <c:v>1.1774960773980658</c:v>
                </c:pt>
                <c:pt idx="4296">
                  <c:v>0.33349912519194724</c:v>
                </c:pt>
                <c:pt idx="4297">
                  <c:v>2.1687092508943309</c:v>
                </c:pt>
                <c:pt idx="4298">
                  <c:v>1.007322568198741</c:v>
                </c:pt>
                <c:pt idx="4299">
                  <c:v>1.11325510685647</c:v>
                </c:pt>
                <c:pt idx="4300">
                  <c:v>0.76920774416031945</c:v>
                </c:pt>
                <c:pt idx="4301">
                  <c:v>6.4229511706453657</c:v>
                </c:pt>
                <c:pt idx="4302">
                  <c:v>0.52385737175717795</c:v>
                </c:pt>
                <c:pt idx="4303">
                  <c:v>0.73830819728387831</c:v>
                </c:pt>
                <c:pt idx="4304">
                  <c:v>3.1612949810467104</c:v>
                </c:pt>
                <c:pt idx="4305">
                  <c:v>0.18877331420442678</c:v>
                </c:pt>
                <c:pt idx="4306">
                  <c:v>-0.11131651178691238</c:v>
                </c:pt>
                <c:pt idx="4307">
                  <c:v>0.99882904067463529</c:v>
                </c:pt>
                <c:pt idx="4308">
                  <c:v>9.7452447892305436</c:v>
                </c:pt>
                <c:pt idx="4309">
                  <c:v>2.8283483612417033</c:v>
                </c:pt>
                <c:pt idx="4310">
                  <c:v>-0.76449453712929705</c:v>
                </c:pt>
                <c:pt idx="4311">
                  <c:v>1.4039335210870254</c:v>
                </c:pt>
                <c:pt idx="4312">
                  <c:v>11.76760355616736</c:v>
                </c:pt>
                <c:pt idx="4313">
                  <c:v>1.6733728849902263</c:v>
                </c:pt>
                <c:pt idx="4314">
                  <c:v>7.3262979433733388</c:v>
                </c:pt>
                <c:pt idx="4315">
                  <c:v>-1.7672803553038481</c:v>
                </c:pt>
                <c:pt idx="4316">
                  <c:v>-0.16062260608135848</c:v>
                </c:pt>
                <c:pt idx="4317">
                  <c:v>3.5751432891469435</c:v>
                </c:pt>
                <c:pt idx="4318">
                  <c:v>1.944617334877738</c:v>
                </c:pt>
                <c:pt idx="4319">
                  <c:v>1.3320497011935164</c:v>
                </c:pt>
                <c:pt idx="4320">
                  <c:v>-3.0818264468876486</c:v>
                </c:pt>
                <c:pt idx="4321">
                  <c:v>0.80293927834049561</c:v>
                </c:pt>
                <c:pt idx="4322">
                  <c:v>19.171724074835847</c:v>
                </c:pt>
                <c:pt idx="4323">
                  <c:v>-2.7076636241488012</c:v>
                </c:pt>
                <c:pt idx="4324">
                  <c:v>3.2745524360097251</c:v>
                </c:pt>
                <c:pt idx="4325">
                  <c:v>1.0774405006089491</c:v>
                </c:pt>
                <c:pt idx="4326">
                  <c:v>-2.4820072308240366</c:v>
                </c:pt>
                <c:pt idx="4327">
                  <c:v>1.8481604023071738</c:v>
                </c:pt>
                <c:pt idx="4328">
                  <c:v>0.57269505425291589</c:v>
                </c:pt>
                <c:pt idx="4329">
                  <c:v>5.3686127698214703</c:v>
                </c:pt>
                <c:pt idx="4330">
                  <c:v>1.4897106083890073</c:v>
                </c:pt>
                <c:pt idx="4331">
                  <c:v>-0.21083767158284195</c:v>
                </c:pt>
                <c:pt idx="4332">
                  <c:v>1.0213449700708472</c:v>
                </c:pt>
                <c:pt idx="4333">
                  <c:v>1.5788008377045415</c:v>
                </c:pt>
                <c:pt idx="4334">
                  <c:v>2.437396641226254</c:v>
                </c:pt>
                <c:pt idx="4335">
                  <c:v>0.1850073884503517</c:v>
                </c:pt>
                <c:pt idx="4336">
                  <c:v>1.4077770606572166</c:v>
                </c:pt>
                <c:pt idx="4337">
                  <c:v>-0.20283754772499429</c:v>
                </c:pt>
                <c:pt idx="4338">
                  <c:v>1.472940403110746</c:v>
                </c:pt>
                <c:pt idx="4339">
                  <c:v>4.5354579843332807</c:v>
                </c:pt>
                <c:pt idx="4340">
                  <c:v>0.11500132992203782</c:v>
                </c:pt>
                <c:pt idx="4341">
                  <c:v>0.19084137711183802</c:v>
                </c:pt>
                <c:pt idx="4342">
                  <c:v>1.8115536498133293</c:v>
                </c:pt>
                <c:pt idx="4343">
                  <c:v>4.8009171975319571</c:v>
                </c:pt>
                <c:pt idx="4344">
                  <c:v>14.674713612351178</c:v>
                </c:pt>
                <c:pt idx="4345">
                  <c:v>3.1039351192036269E-2</c:v>
                </c:pt>
                <c:pt idx="4346">
                  <c:v>0.21099753944794042</c:v>
                </c:pt>
                <c:pt idx="4347">
                  <c:v>6.8543362241251291</c:v>
                </c:pt>
                <c:pt idx="4348">
                  <c:v>2.18887724659875</c:v>
                </c:pt>
                <c:pt idx="4349">
                  <c:v>2.3916070187792959</c:v>
                </c:pt>
                <c:pt idx="4350">
                  <c:v>-0.75085662656639363</c:v>
                </c:pt>
                <c:pt idx="4351">
                  <c:v>1.5328472251283116</c:v>
                </c:pt>
                <c:pt idx="4352">
                  <c:v>2.5922436164177776</c:v>
                </c:pt>
                <c:pt idx="4353">
                  <c:v>1.5141406515070794</c:v>
                </c:pt>
                <c:pt idx="4354">
                  <c:v>-2.6737020566266612</c:v>
                </c:pt>
                <c:pt idx="4355">
                  <c:v>-1.485057649652278</c:v>
                </c:pt>
                <c:pt idx="4356">
                  <c:v>-0.22332124580811286</c:v>
                </c:pt>
                <c:pt idx="4357">
                  <c:v>1.0711129903759424</c:v>
                </c:pt>
                <c:pt idx="4358">
                  <c:v>2.170606142608396</c:v>
                </c:pt>
                <c:pt idx="4359">
                  <c:v>-0.61289596006613678</c:v>
                </c:pt>
                <c:pt idx="4360">
                  <c:v>-2.3494432754398451</c:v>
                </c:pt>
                <c:pt idx="4361">
                  <c:v>31.310937645584552</c:v>
                </c:pt>
                <c:pt idx="4362">
                  <c:v>1.1882671053259366</c:v>
                </c:pt>
                <c:pt idx="4363">
                  <c:v>0.20129086014156328</c:v>
                </c:pt>
                <c:pt idx="4364">
                  <c:v>1.6745458180564006</c:v>
                </c:pt>
                <c:pt idx="4365">
                  <c:v>1.1604440928674056</c:v>
                </c:pt>
                <c:pt idx="4366">
                  <c:v>0.20179084850190954</c:v>
                </c:pt>
                <c:pt idx="4367">
                  <c:v>4.9168724145053986</c:v>
                </c:pt>
                <c:pt idx="4368">
                  <c:v>1.4352501869220904</c:v>
                </c:pt>
                <c:pt idx="4369">
                  <c:v>2.5266226437634001</c:v>
                </c:pt>
                <c:pt idx="4370">
                  <c:v>-0.80563912094651702</c:v>
                </c:pt>
                <c:pt idx="4371">
                  <c:v>3.1825717094371222</c:v>
                </c:pt>
                <c:pt idx="4372">
                  <c:v>-0.14255293205523767</c:v>
                </c:pt>
                <c:pt idx="4373">
                  <c:v>1.4860743410486088</c:v>
                </c:pt>
                <c:pt idx="4374">
                  <c:v>-4.1119174354650845E-2</c:v>
                </c:pt>
                <c:pt idx="4375">
                  <c:v>0.2594640659577504</c:v>
                </c:pt>
                <c:pt idx="4376">
                  <c:v>0.53072407049898718</c:v>
                </c:pt>
                <c:pt idx="4377">
                  <c:v>0.44922444934440553</c:v>
                </c:pt>
                <c:pt idx="4378">
                  <c:v>7.8225324031814036E-2</c:v>
                </c:pt>
                <c:pt idx="4379">
                  <c:v>-0.20335104953876615</c:v>
                </c:pt>
                <c:pt idx="4380">
                  <c:v>-4.4136832034524804</c:v>
                </c:pt>
                <c:pt idx="4381">
                  <c:v>0.33992684638718085</c:v>
                </c:pt>
                <c:pt idx="4382">
                  <c:v>-6.2234033167155256E-2</c:v>
                </c:pt>
                <c:pt idx="4383">
                  <c:v>0.17406620053686539</c:v>
                </c:pt>
                <c:pt idx="4384">
                  <c:v>-1.8070463676501225E-2</c:v>
                </c:pt>
                <c:pt idx="4385">
                  <c:v>0.3563157096815146</c:v>
                </c:pt>
                <c:pt idx="4386">
                  <c:v>-1.2974842568650451</c:v>
                </c:pt>
                <c:pt idx="4387">
                  <c:v>0.39121824451827386</c:v>
                </c:pt>
                <c:pt idx="4388">
                  <c:v>-1.4601481087380481</c:v>
                </c:pt>
                <c:pt idx="4389">
                  <c:v>5.8866239894677874E-2</c:v>
                </c:pt>
                <c:pt idx="4390">
                  <c:v>-1.9760250080389619E-2</c:v>
                </c:pt>
                <c:pt idx="4391">
                  <c:v>0.2187184087679479</c:v>
                </c:pt>
                <c:pt idx="4392">
                  <c:v>0.58720188675114404</c:v>
                </c:pt>
                <c:pt idx="4393">
                  <c:v>0.27204378941107493</c:v>
                </c:pt>
                <c:pt idx="4394">
                  <c:v>0.1764740459445554</c:v>
                </c:pt>
                <c:pt idx="4395">
                  <c:v>-2.7664840968759457</c:v>
                </c:pt>
                <c:pt idx="4396">
                  <c:v>-1.3442748714126402</c:v>
                </c:pt>
                <c:pt idx="4397">
                  <c:v>0.54037095843204641</c:v>
                </c:pt>
                <c:pt idx="4398">
                  <c:v>-0.48583654760789363</c:v>
                </c:pt>
                <c:pt idx="4399">
                  <c:v>7.9695137270833327E-2</c:v>
                </c:pt>
                <c:pt idx="4400">
                  <c:v>-2.2086589466596842</c:v>
                </c:pt>
                <c:pt idx="4401">
                  <c:v>6.2586294650963326E-2</c:v>
                </c:pt>
                <c:pt idx="4402">
                  <c:v>0.48645905806926371</c:v>
                </c:pt>
                <c:pt idx="4403">
                  <c:v>-3.9658554154755277E-2</c:v>
                </c:pt>
                <c:pt idx="4404">
                  <c:v>-0.45196577253154402</c:v>
                </c:pt>
                <c:pt idx="4405">
                  <c:v>0.2965560283057993</c:v>
                </c:pt>
                <c:pt idx="4406">
                  <c:v>-0.80380960529705292</c:v>
                </c:pt>
                <c:pt idx="4407">
                  <c:v>0.38085516559390081</c:v>
                </c:pt>
                <c:pt idx="4408">
                  <c:v>-1.2075650908103857</c:v>
                </c:pt>
                <c:pt idx="4409">
                  <c:v>-0.83131636887882854</c:v>
                </c:pt>
                <c:pt idx="4410">
                  <c:v>1.6422606667843578</c:v>
                </c:pt>
                <c:pt idx="4411">
                  <c:v>0.46391120541419961</c:v>
                </c:pt>
                <c:pt idx="4412">
                  <c:v>0.17145760484381356</c:v>
                </c:pt>
                <c:pt idx="4413">
                  <c:v>8.6266141989982725E-2</c:v>
                </c:pt>
                <c:pt idx="4414">
                  <c:v>0.36323606554093962</c:v>
                </c:pt>
                <c:pt idx="4415">
                  <c:v>-5.8125203935453729E-2</c:v>
                </c:pt>
                <c:pt idx="4416">
                  <c:v>-0.38225344814569295</c:v>
                </c:pt>
                <c:pt idx="4417">
                  <c:v>0.78841396263238028</c:v>
                </c:pt>
                <c:pt idx="4418">
                  <c:v>-0.34517264047160867</c:v>
                </c:pt>
                <c:pt idx="4419">
                  <c:v>0.29548220357494637</c:v>
                </c:pt>
                <c:pt idx="4420">
                  <c:v>0.31460923229599569</c:v>
                </c:pt>
                <c:pt idx="4421">
                  <c:v>-0.94705304485438191</c:v>
                </c:pt>
                <c:pt idx="4422">
                  <c:v>8.7763708947491748E-2</c:v>
                </c:pt>
                <c:pt idx="4423">
                  <c:v>-9.8987320369776199E-2</c:v>
                </c:pt>
                <c:pt idx="4424">
                  <c:v>-0.22742213903056818</c:v>
                </c:pt>
                <c:pt idx="4425">
                  <c:v>-0.98318731292640149</c:v>
                </c:pt>
                <c:pt idx="4426">
                  <c:v>-2.0847859458017486</c:v>
                </c:pt>
                <c:pt idx="4427">
                  <c:v>0.43230746518266688</c:v>
                </c:pt>
                <c:pt idx="4428">
                  <c:v>1.5073083081008471</c:v>
                </c:pt>
                <c:pt idx="4429">
                  <c:v>1.691125609814041</c:v>
                </c:pt>
                <c:pt idx="4430">
                  <c:v>-4.4484626719295619</c:v>
                </c:pt>
                <c:pt idx="4431">
                  <c:v>0.25985855634183741</c:v>
                </c:pt>
                <c:pt idx="4432">
                  <c:v>-0.44604854436553332</c:v>
                </c:pt>
                <c:pt idx="4433">
                  <c:v>0.99258888300505399</c:v>
                </c:pt>
                <c:pt idx="4434">
                  <c:v>-1.3784518020055798</c:v>
                </c:pt>
                <c:pt idx="4435">
                  <c:v>-0.37779930270021067</c:v>
                </c:pt>
                <c:pt idx="4436">
                  <c:v>-1.4881394422877596</c:v>
                </c:pt>
                <c:pt idx="4437">
                  <c:v>-0.23405501731484979</c:v>
                </c:pt>
                <c:pt idx="4438">
                  <c:v>-3.0124954009659435</c:v>
                </c:pt>
                <c:pt idx="4439">
                  <c:v>-0.24976202154785876</c:v>
                </c:pt>
                <c:pt idx="4440">
                  <c:v>1.3198941495244139</c:v>
                </c:pt>
                <c:pt idx="4441">
                  <c:v>-1.7720143353970852</c:v>
                </c:pt>
                <c:pt idx="4442">
                  <c:v>0.10036537560376324</c:v>
                </c:pt>
                <c:pt idx="4443">
                  <c:v>-6.7327882483256274E-2</c:v>
                </c:pt>
                <c:pt idx="4444">
                  <c:v>0.14424714363534297</c:v>
                </c:pt>
                <c:pt idx="4445">
                  <c:v>0.18265187862609955</c:v>
                </c:pt>
                <c:pt idx="4446">
                  <c:v>-3.225322790225805</c:v>
                </c:pt>
                <c:pt idx="4447">
                  <c:v>0.3326440288983365</c:v>
                </c:pt>
                <c:pt idx="4448">
                  <c:v>1.893283840347775</c:v>
                </c:pt>
                <c:pt idx="4449">
                  <c:v>-8.2747464082334132E-2</c:v>
                </c:pt>
                <c:pt idx="4450">
                  <c:v>0.25473725473353387</c:v>
                </c:pt>
                <c:pt idx="4451">
                  <c:v>4.1490422458906884E-2</c:v>
                </c:pt>
                <c:pt idx="4452">
                  <c:v>0.43642905435567403</c:v>
                </c:pt>
                <c:pt idx="4453">
                  <c:v>8.8362662236327938E-2</c:v>
                </c:pt>
                <c:pt idx="4454">
                  <c:v>-13.004233085983117</c:v>
                </c:pt>
                <c:pt idx="4455">
                  <c:v>-1.3590457678637309</c:v>
                </c:pt>
                <c:pt idx="4456">
                  <c:v>0.33259768647414395</c:v>
                </c:pt>
                <c:pt idx="4457">
                  <c:v>0.53002478393630681</c:v>
                </c:pt>
                <c:pt idx="4458">
                  <c:v>-0.63950021747505703</c:v>
                </c:pt>
                <c:pt idx="4459">
                  <c:v>0.15897069920529538</c:v>
                </c:pt>
                <c:pt idx="4460">
                  <c:v>0.18930299440531828</c:v>
                </c:pt>
                <c:pt idx="4461">
                  <c:v>-0.74164745760978334</c:v>
                </c:pt>
                <c:pt idx="4462">
                  <c:v>-8.8101567366130396E-2</c:v>
                </c:pt>
                <c:pt idx="4463">
                  <c:v>-1.0879826246129607</c:v>
                </c:pt>
                <c:pt idx="4464">
                  <c:v>-5.3004581664684691E-2</c:v>
                </c:pt>
                <c:pt idx="4465">
                  <c:v>-2.7479594269243686</c:v>
                </c:pt>
                <c:pt idx="4466">
                  <c:v>-0.72123240975853675</c:v>
                </c:pt>
                <c:pt idx="4467">
                  <c:v>-1.1930099633676789</c:v>
                </c:pt>
                <c:pt idx="4468">
                  <c:v>-0.54621886798856689</c:v>
                </c:pt>
                <c:pt idx="4469">
                  <c:v>-1.1203283190157975</c:v>
                </c:pt>
                <c:pt idx="4470">
                  <c:v>-0.33909872225712423</c:v>
                </c:pt>
                <c:pt idx="4471">
                  <c:v>0.517011738191401</c:v>
                </c:pt>
                <c:pt idx="4472">
                  <c:v>-1.1425288077741924</c:v>
                </c:pt>
                <c:pt idx="4473">
                  <c:v>-2.5603097525100003</c:v>
                </c:pt>
                <c:pt idx="4474">
                  <c:v>5.4453821083176868E-3</c:v>
                </c:pt>
                <c:pt idx="4475">
                  <c:v>-2.0898786097377897</c:v>
                </c:pt>
                <c:pt idx="4476">
                  <c:v>0.3298934806714377</c:v>
                </c:pt>
                <c:pt idx="4477">
                  <c:v>-0.62767395022714356</c:v>
                </c:pt>
                <c:pt idx="4478">
                  <c:v>-0.93693549447093405</c:v>
                </c:pt>
                <c:pt idx="4479">
                  <c:v>2.0976584099191551</c:v>
                </c:pt>
                <c:pt idx="4480">
                  <c:v>-2.8791129453907196</c:v>
                </c:pt>
                <c:pt idx="4481">
                  <c:v>0.16745621006298028</c:v>
                </c:pt>
                <c:pt idx="4482">
                  <c:v>0.11883631283008744</c:v>
                </c:pt>
                <c:pt idx="4483">
                  <c:v>1.4435746249922943E-2</c:v>
                </c:pt>
                <c:pt idx="4484">
                  <c:v>-1.3446888570916662</c:v>
                </c:pt>
                <c:pt idx="4485">
                  <c:v>0.20489989343410375</c:v>
                </c:pt>
                <c:pt idx="4486">
                  <c:v>0.35365867311238447</c:v>
                </c:pt>
                <c:pt idx="4487">
                  <c:v>0.37947517721642221</c:v>
                </c:pt>
                <c:pt idx="4488">
                  <c:v>0.94049461900930975</c:v>
                </c:pt>
                <c:pt idx="4489">
                  <c:v>-0.2418489480570245</c:v>
                </c:pt>
                <c:pt idx="4490">
                  <c:v>0.92808387983182583</c:v>
                </c:pt>
                <c:pt idx="4491">
                  <c:v>-0.56295104333007617</c:v>
                </c:pt>
                <c:pt idx="4492">
                  <c:v>-0.54519991003829982</c:v>
                </c:pt>
                <c:pt idx="4493">
                  <c:v>-0.4096774099105458</c:v>
                </c:pt>
                <c:pt idx="4494">
                  <c:v>-0.40210772824674001</c:v>
                </c:pt>
                <c:pt idx="4495">
                  <c:v>0.15692820925986717</c:v>
                </c:pt>
                <c:pt idx="4496">
                  <c:v>0.19193770953866307</c:v>
                </c:pt>
                <c:pt idx="4497">
                  <c:v>4.5252695262752107E-2</c:v>
                </c:pt>
                <c:pt idx="4498">
                  <c:v>5.2612792189071778E-3</c:v>
                </c:pt>
                <c:pt idx="4499">
                  <c:v>-4.0447247806228077</c:v>
                </c:pt>
                <c:pt idx="4500">
                  <c:v>-0.40662900722956929</c:v>
                </c:pt>
                <c:pt idx="4501">
                  <c:v>-0.93442910402203494</c:v>
                </c:pt>
                <c:pt idx="4502">
                  <c:v>-0.49979794283844425</c:v>
                </c:pt>
                <c:pt idx="4503">
                  <c:v>0.3095850090332487</c:v>
                </c:pt>
                <c:pt idx="4504">
                  <c:v>1.6136506117125693E-2</c:v>
                </c:pt>
                <c:pt idx="4505">
                  <c:v>-9.0959924767448519E-2</c:v>
                </c:pt>
                <c:pt idx="4506">
                  <c:v>-1.3512746984458652</c:v>
                </c:pt>
                <c:pt idx="4507">
                  <c:v>0.27568542782477029</c:v>
                </c:pt>
                <c:pt idx="4508">
                  <c:v>-0.23262004369579181</c:v>
                </c:pt>
                <c:pt idx="4509">
                  <c:v>0.15891692274936453</c:v>
                </c:pt>
                <c:pt idx="4510">
                  <c:v>1.0537128175568005</c:v>
                </c:pt>
                <c:pt idx="4511">
                  <c:v>0.11282859738800055</c:v>
                </c:pt>
                <c:pt idx="4512">
                  <c:v>-0.54475480131652065</c:v>
                </c:pt>
                <c:pt idx="4513">
                  <c:v>-0.32960577405372415</c:v>
                </c:pt>
                <c:pt idx="4514">
                  <c:v>0.70953935994706474</c:v>
                </c:pt>
                <c:pt idx="4515">
                  <c:v>-0.82604639224102594</c:v>
                </c:pt>
                <c:pt idx="4516">
                  <c:v>-0.58825509484628524</c:v>
                </c:pt>
                <c:pt idx="4517">
                  <c:v>0.23261602044484453</c:v>
                </c:pt>
                <c:pt idx="4518">
                  <c:v>0.41457083731867245</c:v>
                </c:pt>
                <c:pt idx="4519">
                  <c:v>2.7883794197107603</c:v>
                </c:pt>
                <c:pt idx="4520">
                  <c:v>-1.3354544261624488</c:v>
                </c:pt>
                <c:pt idx="4521">
                  <c:v>3.0323245585842651E-2</c:v>
                </c:pt>
                <c:pt idx="4522">
                  <c:v>2.1411754258967779</c:v>
                </c:pt>
                <c:pt idx="4523">
                  <c:v>-1.6709279054367956</c:v>
                </c:pt>
                <c:pt idx="4524">
                  <c:v>0.52408835618918026</c:v>
                </c:pt>
                <c:pt idx="4525">
                  <c:v>0.42930506888347253</c:v>
                </c:pt>
                <c:pt idx="4526">
                  <c:v>0.42266960523095554</c:v>
                </c:pt>
                <c:pt idx="4527">
                  <c:v>-0.10902187069545488</c:v>
                </c:pt>
                <c:pt idx="4528">
                  <c:v>0.49083992209359084</c:v>
                </c:pt>
                <c:pt idx="4529">
                  <c:v>-0.11927053564062517</c:v>
                </c:pt>
                <c:pt idx="4530">
                  <c:v>-3.0333644629943057</c:v>
                </c:pt>
                <c:pt idx="4531">
                  <c:v>0.12712911424454432</c:v>
                </c:pt>
                <c:pt idx="4532">
                  <c:v>-1.280228423492745</c:v>
                </c:pt>
                <c:pt idx="4533">
                  <c:v>-0.46403065406647359</c:v>
                </c:pt>
                <c:pt idx="4534">
                  <c:v>1.4626998729713989</c:v>
                </c:pt>
                <c:pt idx="4535">
                  <c:v>-1.8802314701375327</c:v>
                </c:pt>
                <c:pt idx="4536">
                  <c:v>-0.71495610456292247</c:v>
                </c:pt>
                <c:pt idx="4537">
                  <c:v>-0.26774533596942962</c:v>
                </c:pt>
                <c:pt idx="4538">
                  <c:v>2.0412643327314592</c:v>
                </c:pt>
                <c:pt idx="4539">
                  <c:v>0.18654727982855768</c:v>
                </c:pt>
                <c:pt idx="4540">
                  <c:v>1.0994123151489834</c:v>
                </c:pt>
                <c:pt idx="4541">
                  <c:v>0.46651634079260057</c:v>
                </c:pt>
                <c:pt idx="4542">
                  <c:v>-0.33467247316683824</c:v>
                </c:pt>
                <c:pt idx="4543">
                  <c:v>0.32493998345698499</c:v>
                </c:pt>
                <c:pt idx="4544">
                  <c:v>1.8722426214199053</c:v>
                </c:pt>
                <c:pt idx="4545">
                  <c:v>-1.5018413724489821</c:v>
                </c:pt>
                <c:pt idx="4546">
                  <c:v>0.50397439596215687</c:v>
                </c:pt>
                <c:pt idx="4547">
                  <c:v>0.29244540040105282</c:v>
                </c:pt>
              </c:numCache>
            </c:numRef>
          </c:yVal>
          <c:smooth val="0"/>
          <c:extLst>
            <c:ext xmlns:c16="http://schemas.microsoft.com/office/drawing/2014/chart" uri="{C3380CC4-5D6E-409C-BE32-E72D297353CC}">
              <c16:uniqueId val="{00000000-3928-4730-8920-AAEBED7AAA09}"/>
            </c:ext>
          </c:extLst>
        </c:ser>
        <c:dLbls>
          <c:showLegendKey val="0"/>
          <c:showVal val="0"/>
          <c:showCatName val="0"/>
          <c:showSerName val="0"/>
          <c:showPercent val="0"/>
          <c:showBubbleSize val="0"/>
        </c:dLbls>
        <c:axId val="975857887"/>
        <c:axId val="43715135"/>
      </c:scatterChart>
      <c:valAx>
        <c:axId val="975857887"/>
        <c:scaling>
          <c:orientation val="minMax"/>
        </c:scaling>
        <c:delete val="0"/>
        <c:axPos val="b"/>
        <c:title>
          <c:tx>
            <c:rich>
              <a:bodyPr/>
              <a:lstStyle/>
              <a:p>
                <a:pPr>
                  <a:defRPr/>
                </a:pPr>
                <a:r>
                  <a:rPr lang="en-CA"/>
                  <a:t>GDP</a:t>
                </a:r>
              </a:p>
            </c:rich>
          </c:tx>
          <c:overlay val="0"/>
        </c:title>
        <c:numFmt formatCode="General" sourceLinked="1"/>
        <c:majorTickMark val="out"/>
        <c:minorTickMark val="none"/>
        <c:tickLblPos val="nextTo"/>
        <c:crossAx val="43715135"/>
        <c:crosses val="autoZero"/>
        <c:crossBetween val="midCat"/>
      </c:valAx>
      <c:valAx>
        <c:axId val="43715135"/>
        <c:scaling>
          <c:orientation val="minMax"/>
        </c:scaling>
        <c:delete val="0"/>
        <c:axPos val="l"/>
        <c:title>
          <c:tx>
            <c:rich>
              <a:bodyPr/>
              <a:lstStyle/>
              <a:p>
                <a:pPr>
                  <a:defRPr/>
                </a:pPr>
                <a:r>
                  <a:rPr lang="en-CA"/>
                  <a:t>Residuals</a:t>
                </a:r>
              </a:p>
            </c:rich>
          </c:tx>
          <c:overlay val="0"/>
        </c:title>
        <c:numFmt formatCode="General" sourceLinked="1"/>
        <c:majorTickMark val="out"/>
        <c:minorTickMark val="none"/>
        <c:tickLblPos val="nextTo"/>
        <c:crossAx val="975857887"/>
        <c:crosses val="autoZero"/>
        <c:crossBetween val="midCat"/>
      </c:valAx>
    </c:plotArea>
    <c:plotVisOnly val="1"/>
    <c:dispBlanksAs val="gap"/>
    <c:extLst>
      <c:ext xmlns:c16r3="http://schemas.microsoft.com/office/drawing/2017/03/chart" uri="{56B9EC1D-385E-4148-901F-78D8002777C0}">
        <c16r3:dataDisplayOptions16>
          <c16r3:dispNaAsBlank val="1"/>
        </c16r3:dataDisplayOptions16>
      </c:ext>
    </c:extLst>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50274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45AD90D9-2C9E-C73D-4868-1F725BFB0FC7}"/>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8B514241-45CA-3E0D-5F55-14DCEF4C7FD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D25D8382-D5A6-DB2E-F4B1-FA3CD279B7F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04722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537993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EAE99C4E-4851-051C-377F-A8460411FED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606B3759-A242-F455-AA0B-6FB431DF251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1CD0CEE5-CAD6-F298-75B0-E9AA1674717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38242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EAE99C4E-4851-051C-377F-A8460411FED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606B3759-A242-F455-AA0B-6FB431DF251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1CD0CEE5-CAD6-F298-75B0-E9AA1674717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145745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54D68B88-C419-3388-633E-39DD86DE1598}"/>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BBD37F86-3A17-4197-1A52-5E9148835BF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0034760-C15C-9679-7645-93C596C3DCD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656051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45AD90D9-2C9E-C73D-4868-1F725BFB0FC7}"/>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8B514241-45CA-3E0D-5F55-14DCEF4C7FD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D25D8382-D5A6-DB2E-F4B1-FA3CD279B7F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986113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516253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183491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647527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66215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76DCA33A-46F3-3B22-0D8A-84A60E8B2D3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365D776-7040-BC6F-85FA-C4AE015991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5C757F1-9A1B-0536-A5D2-3ADDA9FE69C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511755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EAE99C4E-4851-051C-377F-A8460411FED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606B3759-A242-F455-AA0B-6FB431DF251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1CD0CEE5-CAD6-F298-75B0-E9AA1674717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347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DD576C11-22F0-66C2-86BC-C8D3524A5BB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542AC131-43A5-E3DC-E9F4-7C0179761FD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1FD937A-E4F4-C940-301E-FB29E6373C3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13403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1f22cf52bcf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1f22cf52bcf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2294A9F-5541-2265-0B42-D63E0793A9FC}"/>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CE9EE3AE-6C57-F967-7C08-8E69BC7004E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95258BA3-C2EF-1DEA-4667-E0B7BD79DCA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94019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45AD90D9-2C9E-C73D-4868-1F725BFB0FC7}"/>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8B514241-45CA-3E0D-5F55-14DCEF4C7FD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D25D8382-D5A6-DB2E-F4B1-FA3CD279B7F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638888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4BD55DFE-16D0-8DF8-F149-ECA89ABB39AB}"/>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6F1FE532-1441-647C-E43B-12A869A99CE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B80BD85A-08F5-4190-1CEE-D66A0DE6F0C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13360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10EAB7E7-F8FE-E6A4-5ED1-4510FCDEA9EF}"/>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1EB848CA-86B7-A750-7755-92B17B29EC3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E4466F8A-C36D-E354-BC80-8387BCFF872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80763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09BE9805-5454-CCEF-8F30-EF080B1E7E3F}"/>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A995A7CA-5E5D-727E-2939-C001B2272DC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23CEDBFB-44D0-2402-96FA-A645F613A41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221890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35C2E957-587D-DFD8-35EF-29C4B1F2587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398F639E-88D2-9CAE-1B6E-D5397E1E37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AA7698B5-CA33-E265-8DE7-310FB548229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570451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4D530E9-96AB-E0F6-CB09-C81C25A5416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5228B145-47FE-4B11-E97D-0315EC011DB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6F0DC18-E502-A98E-8A56-A21E256B522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12659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0334131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59DC1AD3-F317-A03C-AAB7-277CBEE2B090}"/>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0EFE69FD-80F9-B80B-2915-80B1DE18D78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8DAF20E-4B98-404F-D8D1-710A3CB2255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05719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482B4CD2-DC7B-5DB2-AF21-580AC1EC54D5}"/>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9CED6821-168A-4E96-41D0-A6BD49A258E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349D67A-95A6-5980-6B72-69FC68EE2E7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39218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79712B59-F0D3-B42D-2A16-CAAF6A465C2B}"/>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1F0E438E-AADC-C175-CEA9-12717A3559C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F9899157-D886-8F31-31AF-4EA361A5718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764588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B08F8684-C21F-74CE-8960-891DAFCC1DAE}"/>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3CBCE30-0938-CE81-C58D-4ED3B7D5899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15310EAB-3F24-D8C4-BF9D-B1517793143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521437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9CB757F6-86BF-3618-7014-34BD737A6451}"/>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546AFCD9-9096-5369-AA55-7AF54422BAF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ABA1A4B1-E110-0F13-F9B6-C7A3DEA5072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94815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BE3F02-BF17-1221-6673-AF20C9D19F2E}"/>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1CC723DB-FF6D-9962-74E1-476F5EE0D4E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60E64BD8-3659-A6B3-77B4-5AED64703F8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083736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1AF5DBE5-1CEB-A2F3-7879-15FB10421676}"/>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FB9116DE-1FCD-9026-F00C-3921ECDDEA8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D66C127-6074-81AC-5C63-E3DDC4B5587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653935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B460A3A6-EA3E-B8F4-0023-5BF770CBC1D6}"/>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18A8D510-5184-84D4-D6B2-3E32A760D12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A03B9320-0232-A024-0A50-AAAC8C45A82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CA"/>
              <a:t>Pro: ML try it’s best to create an equation that hits all data points, HOWEVER the points are scattered especially at low GDP figures &amp; when the model is forced to choose between 0 &amp; 1. Focus more on filtering data for good data points rather than indexing on the model. Linear regression preserves the simplicity while preserving the linear relationships we observed between input parameters and dependent variables.</a:t>
            </a:r>
            <a:endParaRPr/>
          </a:p>
        </p:txBody>
      </p:sp>
    </p:spTree>
    <p:extLst>
      <p:ext uri="{BB962C8B-B14F-4D97-AF65-F5344CB8AC3E}">
        <p14:creationId xmlns:p14="http://schemas.microsoft.com/office/powerpoint/2010/main" val="3104929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5FBCABA-EFEF-14BF-616D-5D6D4174158E}"/>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411A3784-813A-652F-BCB2-080B894D45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05FFD0C9-8EC9-E526-5744-5C831CE9DCC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58410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146E161-EFF7-1389-74FC-1EA34CB0B1A7}"/>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EB0DD057-53B2-9E7D-3890-C308246C38F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7D1845A9-1CA6-CA21-002D-1CD184E9E97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98177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76DCA33A-46F3-3B22-0D8A-84A60E8B2D3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365D776-7040-BC6F-85FA-C4AE015991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5C757F1-9A1B-0536-A5D2-3ADDA9FE69C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420977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08162C4A-A9B4-4A40-716F-E75CBE95BC52}"/>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F40F2317-197A-B068-9096-988C5322F8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0AAABA27-9798-F8FC-946A-EC52F07788D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353482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1AB6B782-46A1-ED64-FBEB-897D19E25A4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62338AA-10BA-054D-C778-2E16E5DB059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E59C73EB-8957-804D-C0C1-7DF6867A689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846702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AF40676-F677-A7AB-C361-C48483AFFE2E}"/>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92B2362D-B0FE-965F-E35E-4AB7398C0BF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C74A6CDD-6A3E-D9F0-B788-2D86E0803CC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812922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D72224B7-42FD-1E62-B46A-1605682228C8}"/>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01AF737A-4495-1420-5266-C1FDA460E5A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3B682B62-A9F6-FDAD-868F-0D1F76C4F9B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521917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9673CBB5-2C1F-9C2B-F626-AB4418A06210}"/>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4AAF155F-B790-8ADD-AEF3-C7E32DA296F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2FE437E1-1975-F11D-7B4A-385620F7C50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241759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9673CBB5-2C1F-9C2B-F626-AB4418A06210}"/>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4AAF155F-B790-8ADD-AEF3-C7E32DA296F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2FE437E1-1975-F11D-7B4A-385620F7C50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357360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9673CBB5-2C1F-9C2B-F626-AB4418A06210}"/>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4AAF155F-B790-8ADD-AEF3-C7E32DA296F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2FE437E1-1975-F11D-7B4A-385620F7C50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774184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54D68B88-C419-3388-633E-39DD86DE1598}"/>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BBD37F86-3A17-4197-1A52-5E9148835BF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0034760-C15C-9679-7645-93C596C3DCD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938914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81DD2F0A-D9E8-B92B-4294-AB069B7D9662}"/>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1B050EA1-CB83-2C6D-EFC5-A2FC8FC9362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48FA12B6-8DC5-EB0C-5C4B-83F960F1233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91688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76DCA33A-46F3-3B22-0D8A-84A60E8B2D3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365D776-7040-BC6F-85FA-C4AE015991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5C757F1-9A1B-0536-A5D2-3ADDA9FE69C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247099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45AD90D9-2C9E-C73D-4868-1F725BFB0FC7}"/>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8B514241-45CA-3E0D-5F55-14DCEF4C7FD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D25D8382-D5A6-DB2E-F4B1-FA3CD279B7F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03253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A79C6692-E9D7-3A6E-ED5A-89A2681E9CF3}"/>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909A5DD-9062-AC77-8CC1-3D16D8B37F0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9F63D63-79DB-D73A-2DD7-B79FC24A61D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957448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76DCA33A-46F3-3B22-0D8A-84A60E8B2D3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365D776-7040-BC6F-85FA-C4AE015991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5C757F1-9A1B-0536-A5D2-3ADDA9FE69C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691734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a:extLst>
            <a:ext uri="{FF2B5EF4-FFF2-40B4-BE49-F238E27FC236}">
              <a16:creationId xmlns:a16="http://schemas.microsoft.com/office/drawing/2014/main" id="{76DCA33A-46F3-3B22-0D8A-84A60E8B2D3A}"/>
            </a:ext>
          </a:extLst>
        </p:cNvPr>
        <p:cNvGrpSpPr/>
        <p:nvPr/>
      </p:nvGrpSpPr>
      <p:grpSpPr>
        <a:xfrm>
          <a:off x="0" y="0"/>
          <a:ext cx="0" cy="0"/>
          <a:chOff x="0" y="0"/>
          <a:chExt cx="0" cy="0"/>
        </a:xfrm>
      </p:grpSpPr>
      <p:sp>
        <p:nvSpPr>
          <p:cNvPr id="52" name="Google Shape;52;g10c79e40ee7_0_0:notes">
            <a:extLst>
              <a:ext uri="{FF2B5EF4-FFF2-40B4-BE49-F238E27FC236}">
                <a16:creationId xmlns:a16="http://schemas.microsoft.com/office/drawing/2014/main" id="{2365D776-7040-BC6F-85FA-C4AE015991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10c79e40ee7_0_0:notes">
            <a:extLst>
              <a:ext uri="{FF2B5EF4-FFF2-40B4-BE49-F238E27FC236}">
                <a16:creationId xmlns:a16="http://schemas.microsoft.com/office/drawing/2014/main" id="{85C757F1-9A1B-0536-A5D2-3ADDA9FE69C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95812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0"/>
        <p:cNvGrpSpPr/>
        <p:nvPr/>
      </p:nvGrpSpPr>
      <p:grpSpPr>
        <a:xfrm>
          <a:off x="0" y="0"/>
          <a:ext cx="0" cy="0"/>
          <a:chOff x="0" y="0"/>
          <a:chExt cx="0" cy="0"/>
        </a:xfrm>
      </p:grpSpPr>
      <p:sp>
        <p:nvSpPr>
          <p:cNvPr id="11" name="Google Shape;11;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2" name="Google Shape;12;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3" name="Google Shape;13;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7"/>
        <p:cNvGrpSpPr/>
        <p:nvPr/>
      </p:nvGrpSpPr>
      <p:grpSpPr>
        <a:xfrm>
          <a:off x="0" y="0"/>
          <a:ext cx="0" cy="0"/>
          <a:chOff x="0" y="0"/>
          <a:chExt cx="0" cy="0"/>
        </a:xfrm>
      </p:grpSpPr>
      <p:sp>
        <p:nvSpPr>
          <p:cNvPr id="18" name="Google Shape;18;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9" name="Google Shape;19;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20" name="Google Shape;20;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92863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6" name="Google Shape;16;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1"/>
        <p:cNvGrpSpPr/>
        <p:nvPr/>
      </p:nvGrpSpPr>
      <p:grpSpPr>
        <a:xfrm>
          <a:off x="0" y="0"/>
          <a:ext cx="0" cy="0"/>
          <a:chOff x="0" y="0"/>
          <a:chExt cx="0" cy="0"/>
        </a:xfrm>
      </p:grpSpPr>
      <p:sp>
        <p:nvSpPr>
          <p:cNvPr id="22" name="Google Shape;22;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3" name="Google Shape;23;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4" name="Google Shape;24;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5" name="Google Shape;25;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6"/>
        <p:cNvGrpSpPr/>
        <p:nvPr/>
      </p:nvGrpSpPr>
      <p:grpSpPr>
        <a:xfrm>
          <a:off x="0" y="0"/>
          <a:ext cx="0" cy="0"/>
          <a:chOff x="0" y="0"/>
          <a:chExt cx="0" cy="0"/>
        </a:xfrm>
      </p:grpSpPr>
      <p:sp>
        <p:nvSpPr>
          <p:cNvPr id="27" name="Google Shape;27;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8" name="Google Shape;28;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9"/>
        <p:cNvGrpSpPr/>
        <p:nvPr/>
      </p:nvGrpSpPr>
      <p:grpSpPr>
        <a:xfrm>
          <a:off x="0" y="0"/>
          <a:ext cx="0" cy="0"/>
          <a:chOff x="0" y="0"/>
          <a:chExt cx="0" cy="0"/>
        </a:xfrm>
      </p:grpSpPr>
      <p:sp>
        <p:nvSpPr>
          <p:cNvPr id="30" name="Google Shape;30;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1" name="Google Shape;31;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2" name="Google Shape;32;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3"/>
        <p:cNvGrpSpPr/>
        <p:nvPr/>
      </p:nvGrpSpPr>
      <p:grpSpPr>
        <a:xfrm>
          <a:off x="0" y="0"/>
          <a:ext cx="0" cy="0"/>
          <a:chOff x="0" y="0"/>
          <a:chExt cx="0" cy="0"/>
        </a:xfrm>
      </p:grpSpPr>
      <p:sp>
        <p:nvSpPr>
          <p:cNvPr id="34" name="Google Shape;34;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5" name="Google Shape;35;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6"/>
        <p:cNvGrpSpPr/>
        <p:nvPr/>
      </p:nvGrpSpPr>
      <p:grpSpPr>
        <a:xfrm>
          <a:off x="0" y="0"/>
          <a:ext cx="0" cy="0"/>
          <a:chOff x="0" y="0"/>
          <a:chExt cx="0" cy="0"/>
        </a:xfrm>
      </p:grpSpPr>
      <p:sp>
        <p:nvSpPr>
          <p:cNvPr id="37" name="Google Shape;37;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9" name="Google Shape;39;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0" name="Google Shape;40;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1" name="Google Shape;41;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2"/>
        <p:cNvGrpSpPr/>
        <p:nvPr/>
      </p:nvGrpSpPr>
      <p:grpSpPr>
        <a:xfrm>
          <a:off x="0" y="0"/>
          <a:ext cx="0" cy="0"/>
          <a:chOff x="0" y="0"/>
          <a:chExt cx="0" cy="0"/>
        </a:xfrm>
      </p:grpSpPr>
      <p:sp>
        <p:nvSpPr>
          <p:cNvPr id="43" name="Google Shape;43;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4" name="Google Shape;44;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5"/>
        <p:cNvGrpSpPr/>
        <p:nvPr/>
      </p:nvGrpSpPr>
      <p:grpSpPr>
        <a:xfrm>
          <a:off x="0" y="0"/>
          <a:ext cx="0" cy="0"/>
          <a:chOff x="0" y="0"/>
          <a:chExt cx="0" cy="0"/>
        </a:xfrm>
      </p:grpSpPr>
      <p:sp>
        <p:nvSpPr>
          <p:cNvPr id="46" name="Google Shape;46;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7" name="Google Shape;47;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48" name="Google Shape;48;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pic>
        <p:nvPicPr>
          <p:cNvPr id="4" name="Picture 2">
            <a:extLst>
              <a:ext uri="{FF2B5EF4-FFF2-40B4-BE49-F238E27FC236}">
                <a16:creationId xmlns:a16="http://schemas.microsoft.com/office/drawing/2014/main" id="{1643CCAF-8D96-FA38-B903-9217376C05D8}"/>
              </a:ext>
            </a:extLst>
          </p:cNvPr>
          <p:cNvPicPr>
            <a:picLocks noChangeAspect="1" noChangeArrowheads="1"/>
          </p:cNvPicPr>
          <p:nvPr userDrawn="1"/>
        </p:nvPicPr>
        <p:blipFill rotWithShape="1">
          <a:blip r:embed="rId13"/>
          <a:srcRect l="13897" t="24410" r="12586" b="28129"/>
          <a:stretch/>
        </p:blipFill>
        <p:spPr bwMode="auto">
          <a:xfrm>
            <a:off x="8169752" y="36203"/>
            <a:ext cx="974248" cy="6289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hink-cell data - do not delete" hidden="1">
            <a:extLst>
              <a:ext uri="{FF2B5EF4-FFF2-40B4-BE49-F238E27FC236}">
                <a16:creationId xmlns:a16="http://schemas.microsoft.com/office/drawing/2014/main" id="{3A8FD632-DADF-0EB6-EE8D-11BEBB725843}"/>
              </a:ext>
            </a:extLst>
          </p:cNvPr>
          <p:cNvGraphicFramePr>
            <a:graphicFrameLocks noChangeAspect="1"/>
          </p:cNvGraphicFramePr>
          <p:nvPr userDrawn="1">
            <p:custDataLst>
              <p:tags r:id="rId12"/>
            </p:custDataLst>
            <p:extLst>
              <p:ext uri="{D42A27DB-BD31-4B8C-83A1-F6EECF244321}">
                <p14:modId xmlns:p14="http://schemas.microsoft.com/office/powerpoint/2010/main" val="386465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35" imgH="435" progId="TCLayout.ActiveDocument.1">
                  <p:embed/>
                </p:oleObj>
              </mc:Choice>
              <mc:Fallback>
                <p:oleObj name="think-cell Slide" r:id="rId14" imgW="435" imgH="435" progId="TCLayout.ActiveDocument.1">
                  <p:embed/>
                  <p:pic>
                    <p:nvPicPr>
                      <p:cNvPr id="3" name="think-cell data - do not delete" hidden="1">
                        <a:extLst>
                          <a:ext uri="{FF2B5EF4-FFF2-40B4-BE49-F238E27FC236}">
                            <a16:creationId xmlns:a16="http://schemas.microsoft.com/office/drawing/2014/main" id="{3A8FD632-DADF-0EB6-EE8D-11BEBB7258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GB"/>
              <a:t>‹#›</a:t>
            </a:fld>
            <a:endParaRPr dirty="0"/>
          </a:p>
        </p:txBody>
      </p:sp>
      <p:sp>
        <p:nvSpPr>
          <p:cNvPr id="5" name="Rectangle 4">
            <a:extLst>
              <a:ext uri="{FF2B5EF4-FFF2-40B4-BE49-F238E27FC236}">
                <a16:creationId xmlns:a16="http://schemas.microsoft.com/office/drawing/2014/main" id="{D21329E5-A2C7-195D-E57C-F03719A44186}"/>
              </a:ext>
            </a:extLst>
          </p:cNvPr>
          <p:cNvSpPr/>
          <p:nvPr userDrawn="1"/>
        </p:nvSpPr>
        <p:spPr>
          <a:xfrm>
            <a:off x="-1049720" y="304952"/>
            <a:ext cx="864973" cy="864973"/>
          </a:xfrm>
          <a:prstGeom prst="rect">
            <a:avLst/>
          </a:prstGeom>
          <a:solidFill>
            <a:srgbClr val="47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6D70EC9A-7A6D-3BF5-D25B-5CDD12DBC4AF}"/>
              </a:ext>
            </a:extLst>
          </p:cNvPr>
          <p:cNvSpPr/>
          <p:nvPr userDrawn="1"/>
        </p:nvSpPr>
        <p:spPr>
          <a:xfrm>
            <a:off x="-1049721" y="1258201"/>
            <a:ext cx="864973" cy="864973"/>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10">
            <a:extLst>
              <a:ext uri="{FF2B5EF4-FFF2-40B4-BE49-F238E27FC236}">
                <a16:creationId xmlns:a16="http://schemas.microsoft.com/office/drawing/2014/main" id="{1901B2FB-8E91-7924-F499-F9090C798618}"/>
              </a:ext>
            </a:extLst>
          </p:cNvPr>
          <p:cNvSpPr/>
          <p:nvPr userDrawn="1"/>
        </p:nvSpPr>
        <p:spPr>
          <a:xfrm>
            <a:off x="-1049721" y="2211450"/>
            <a:ext cx="864973" cy="864973"/>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11">
            <a:extLst>
              <a:ext uri="{FF2B5EF4-FFF2-40B4-BE49-F238E27FC236}">
                <a16:creationId xmlns:a16="http://schemas.microsoft.com/office/drawing/2014/main" id="{38513D8D-FCEE-302C-1427-1F6670D19148}"/>
              </a:ext>
            </a:extLst>
          </p:cNvPr>
          <p:cNvSpPr/>
          <p:nvPr userDrawn="1"/>
        </p:nvSpPr>
        <p:spPr>
          <a:xfrm>
            <a:off x="-1049721" y="3164699"/>
            <a:ext cx="864973" cy="864973"/>
          </a:xfrm>
          <a:prstGeom prst="rect">
            <a:avLst/>
          </a:prstGeom>
          <a:solidFill>
            <a:srgbClr val="F5F2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extBox 1">
            <a:extLst>
              <a:ext uri="{FF2B5EF4-FFF2-40B4-BE49-F238E27FC236}">
                <a16:creationId xmlns:a16="http://schemas.microsoft.com/office/drawing/2014/main" id="{A1215D17-8E7F-A7F2-4D27-05AB03D41F05}"/>
              </a:ext>
            </a:extLst>
          </p:cNvPr>
          <p:cNvSpPr txBox="1"/>
          <p:nvPr userDrawn="1"/>
        </p:nvSpPr>
        <p:spPr>
          <a:xfrm>
            <a:off x="0" y="4955976"/>
            <a:ext cx="2457724" cy="215444"/>
          </a:xfrm>
          <a:prstGeom prst="rect">
            <a:avLst/>
          </a:prstGeom>
          <a:noFill/>
        </p:spPr>
        <p:txBody>
          <a:bodyPr wrap="none" rtlCol="0">
            <a:spAutoFit/>
          </a:bodyPr>
          <a:lstStyle/>
          <a:p>
            <a:r>
              <a:rPr lang="en-CA" sz="800" dirty="0">
                <a:solidFill>
                  <a:schemeClr val="bg1"/>
                </a:solidFill>
              </a:rPr>
              <a:t>Work in progress—for review and reference only.</a:t>
            </a: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1" r:id="rId3"/>
    <p:sldLayoutId id="2147483652" r:id="rId4"/>
    <p:sldLayoutId id="2147483653" r:id="rId5"/>
    <p:sldLayoutId id="2147483654" r:id="rId6"/>
    <p:sldLayoutId id="2147483655" r:id="rId7"/>
    <p:sldLayoutId id="2147483656" r:id="rId8"/>
    <p:sldLayoutId id="2147483657" r:id="rId9"/>
    <p:sldLayoutId id="2147483661"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mealplan.uwo.ca/topup/"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inkedin.com/in/saanvi-kapoor-0118021a7/" TargetMode="External"/><Relationship Id="rId3" Type="http://schemas.openxmlformats.org/officeDocument/2006/relationships/image" Target="../media/image9.jpg"/><Relationship Id="rId7" Type="http://schemas.openxmlformats.org/officeDocument/2006/relationships/hyperlink" Target="mailto:rwang.hba2025@ivey.ca?subject=Pay%20It%20Forward%20Technical%20Partnership"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hyperlink" Target="https://www.linkedin.com/in/raymondcrwang/" TargetMode="External"/><Relationship Id="rId11" Type="http://schemas.openxmlformats.org/officeDocument/2006/relationships/hyperlink" Target="mailto:hmahr.hba2025@ivey.ca?subject=Pay%20It%20Forward%20Technical%20Partnership" TargetMode="External"/><Relationship Id="rId5" Type="http://schemas.openxmlformats.org/officeDocument/2006/relationships/image" Target="../media/image11.jpg"/><Relationship Id="rId10" Type="http://schemas.openxmlformats.org/officeDocument/2006/relationships/hyperlink" Target="https://www.linkedin.com/in/hannahmahr/" TargetMode="External"/><Relationship Id="rId4" Type="http://schemas.openxmlformats.org/officeDocument/2006/relationships/image" Target="../media/image10.jpg"/><Relationship Id="rId9" Type="http://schemas.openxmlformats.org/officeDocument/2006/relationships/hyperlink" Target="mailto:skapoor.hba2025@ivey.ca"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2.xml"/><Relationship Id="rId7" Type="http://schemas.openxmlformats.org/officeDocument/2006/relationships/image" Target="../media/image15.png"/><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2.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s/_rels/slide2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23.xml"/><Relationship Id="rId16"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sv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2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28.xml"/><Relationship Id="rId7" Type="http://schemas.openxmlformats.org/officeDocument/2006/relationships/image" Target="../media/image52.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51.png"/><Relationship Id="rId5" Type="http://schemas.openxmlformats.org/officeDocument/2006/relationships/image" Target="../media/image2.emf"/><Relationship Id="rId4" Type="http://schemas.openxmlformats.org/officeDocument/2006/relationships/oleObject" Target="../embeddings/oleObject3.bin"/><Relationship Id="rId9"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chart" Target="../charts/chart2.xml"/><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chart" Target="../charts/chart4.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chart" Target="../charts/chart6.xml"/><Relationship Id="rId4" Type="http://schemas.openxmlformats.org/officeDocument/2006/relationships/chart" Target="../charts/chart5.xml"/></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32.xml"/><Relationship Id="rId7" Type="http://schemas.openxmlformats.org/officeDocument/2006/relationships/image" Target="../media/image59.sv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8.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61.svg"/></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chart" Target="../charts/chart8.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77.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01464579-EB34-D0C0-35B8-EF959B8E47C5}"/>
              </a:ext>
            </a:extLst>
          </p:cNvPr>
          <p:cNvSpPr/>
          <p:nvPr/>
        </p:nvSpPr>
        <p:spPr>
          <a:xfrm>
            <a:off x="532852" y="368391"/>
            <a:ext cx="2769514" cy="773997"/>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Title Slide</a:t>
            </a:r>
          </a:p>
        </p:txBody>
      </p:sp>
      <p:sp>
        <p:nvSpPr>
          <p:cNvPr id="25" name="Google Shape;147;p1">
            <a:extLst>
              <a:ext uri="{FF2B5EF4-FFF2-40B4-BE49-F238E27FC236}">
                <a16:creationId xmlns:a16="http://schemas.microsoft.com/office/drawing/2014/main" id="{635DDDB0-E513-23CE-AD3D-852E121558F5}"/>
              </a:ext>
            </a:extLst>
          </p:cNvPr>
          <p:cNvSpPr txBox="1"/>
          <p:nvPr/>
        </p:nvSpPr>
        <p:spPr>
          <a:xfrm>
            <a:off x="532852" y="4338736"/>
            <a:ext cx="9953200" cy="376400"/>
          </a:xfrm>
          <a:prstGeom prst="rect">
            <a:avLst/>
          </a:prstGeom>
          <a:noFill/>
          <a:ln>
            <a:noFill/>
          </a:ln>
        </p:spPr>
        <p:txBody>
          <a:bodyPr spcFirstLastPara="1" wrap="square" lIns="0" tIns="0" rIns="0" bIns="0" anchor="t" anchorCtr="0">
            <a:noAutofit/>
          </a:bodyPr>
          <a:lstStyle/>
          <a:p>
            <a:r>
              <a:rPr lang="en-US" sz="1800" b="1" dirty="0">
                <a:latin typeface="Helvetica Neue"/>
              </a:rPr>
              <a:t>Technical Exploration: Western Hospitality Services and Pay It Forward </a:t>
            </a:r>
          </a:p>
        </p:txBody>
      </p:sp>
      <p:sp>
        <p:nvSpPr>
          <p:cNvPr id="26" name="Google Shape;148;p1">
            <a:extLst>
              <a:ext uri="{FF2B5EF4-FFF2-40B4-BE49-F238E27FC236}">
                <a16:creationId xmlns:a16="http://schemas.microsoft.com/office/drawing/2014/main" id="{B2D9B1AB-0579-88A3-04D6-3DD2F6BD7F8A}"/>
              </a:ext>
            </a:extLst>
          </p:cNvPr>
          <p:cNvSpPr/>
          <p:nvPr/>
        </p:nvSpPr>
        <p:spPr>
          <a:xfrm>
            <a:off x="305652"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9953200" cy="376400"/>
          </a:xfrm>
          <a:prstGeom prst="rect">
            <a:avLst/>
          </a:prstGeom>
          <a:noFill/>
          <a:ln>
            <a:noFill/>
          </a:ln>
        </p:spPr>
        <p:txBody>
          <a:bodyPr spcFirstLastPara="1" wrap="square" lIns="0" tIns="0" rIns="0" bIns="0" anchor="t" anchorCtr="0">
            <a:noAutofit/>
          </a:bodyPr>
          <a:lstStyle/>
          <a:p>
            <a:r>
              <a:rPr lang="en-US" dirty="0">
                <a:latin typeface="Helvetica Neue Light"/>
                <a:ea typeface="+mn-lt"/>
                <a:cs typeface="+mn-lt"/>
                <a:sym typeface="Helvetica Neue Light"/>
              </a:rPr>
              <a:t>Prepared by Raymond Wang, April 17</a:t>
            </a:r>
            <a:r>
              <a:rPr lang="en-US" baseline="30000" dirty="0">
                <a:latin typeface="Helvetica Neue Light"/>
                <a:ea typeface="+mn-lt"/>
                <a:cs typeface="+mn-lt"/>
                <a:sym typeface="Helvetica Neue Light"/>
              </a:rPr>
              <a:t>th</a:t>
            </a:r>
            <a:r>
              <a:rPr lang="en-US" dirty="0">
                <a:latin typeface="Helvetica Neue Light"/>
                <a:ea typeface="+mn-lt"/>
                <a:cs typeface="+mn-lt"/>
                <a:sym typeface="Helvetica Neue Light"/>
              </a:rPr>
              <a:t>, 2024</a:t>
            </a:r>
            <a:endParaRPr lang="en-US" dirty="0">
              <a:latin typeface="Helvetica Neue Light"/>
              <a:ea typeface="Helvetica Neue Light"/>
              <a:cs typeface="Helvetica Neue Light"/>
            </a:endParaRPr>
          </a:p>
          <a:p>
            <a:pPr>
              <a:buClr>
                <a:srgbClr val="000000"/>
              </a:buClr>
              <a:buSzPts val="1300"/>
            </a:pP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srcRect b="18834"/>
          <a:stretch/>
        </p:blipFill>
        <p:spPr>
          <a:xfrm>
            <a:off x="0" y="0"/>
            <a:ext cx="9144000" cy="4174761"/>
          </a:xfrm>
          <a:prstGeom prst="rect">
            <a:avLst/>
          </a:prstGeom>
        </p:spPr>
      </p:pic>
    </p:spTree>
    <p:extLst>
      <p:ext uri="{BB962C8B-B14F-4D97-AF65-F5344CB8AC3E}">
        <p14:creationId xmlns:p14="http://schemas.microsoft.com/office/powerpoint/2010/main" val="24167224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8CC2F035-B9EC-7542-01CD-FF5F4EC36EDB}"/>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3A78D307-2EAC-FE7F-B8DA-042F7C758DBA}"/>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panose="02000503000000020004" pitchFamily="2" charset="0"/>
                <a:ea typeface="Helvetica Neue" panose="02000503000000020004" pitchFamily="2" charset="0"/>
                <a:cs typeface="Helvetica Neue" panose="02000503000000020004" pitchFamily="2" charset="0"/>
                <a:sym typeface="Helvetica Neue"/>
              </a:rPr>
              <a:t>Donation Page Example Wireframe</a:t>
            </a:r>
          </a:p>
        </p:txBody>
      </p:sp>
      <p:sp>
        <p:nvSpPr>
          <p:cNvPr id="9" name="Google Shape;98;p15">
            <a:extLst>
              <a:ext uri="{FF2B5EF4-FFF2-40B4-BE49-F238E27FC236}">
                <a16:creationId xmlns:a16="http://schemas.microsoft.com/office/drawing/2014/main" id="{3C781649-D80F-D1F9-89F2-7AAA7A2BC21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Direct integration with </a:t>
            </a: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hlinkClick r:id="rId3"/>
              </a:rPr>
              <a:t>meal plan top-up website</a:t>
            </a: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 for convenient access</a:t>
            </a:r>
          </a:p>
        </p:txBody>
      </p:sp>
      <p:sp>
        <p:nvSpPr>
          <p:cNvPr id="16" name="Google Shape;99;p15">
            <a:extLst>
              <a:ext uri="{FF2B5EF4-FFF2-40B4-BE49-F238E27FC236}">
                <a16:creationId xmlns:a16="http://schemas.microsoft.com/office/drawing/2014/main" id="{EB6EC0B2-B99D-ECFB-E8CA-5468F9694636}"/>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2" name="Google Shape;73;p15">
            <a:extLst>
              <a:ext uri="{FF2B5EF4-FFF2-40B4-BE49-F238E27FC236}">
                <a16:creationId xmlns:a16="http://schemas.microsoft.com/office/drawing/2014/main" id="{DBD21D0B-8916-BE45-FA84-FFCD5BD8F68B}"/>
              </a:ext>
            </a:extLst>
          </p:cNvPr>
          <p:cNvPicPr preferRelativeResize="0"/>
          <p:nvPr/>
        </p:nvPicPr>
        <p:blipFill rotWithShape="1">
          <a:blip r:embed="rId4">
            <a:alphaModFix/>
          </a:blip>
          <a:srcRect t="2638"/>
          <a:stretch/>
        </p:blipFill>
        <p:spPr>
          <a:xfrm>
            <a:off x="1650472" y="770550"/>
            <a:ext cx="5843056" cy="4288285"/>
          </a:xfrm>
          <a:prstGeom prst="rect">
            <a:avLst/>
          </a:prstGeom>
          <a:noFill/>
          <a:ln>
            <a:noFill/>
          </a:ln>
        </p:spPr>
      </p:pic>
    </p:spTree>
    <p:extLst>
      <p:ext uri="{BB962C8B-B14F-4D97-AF65-F5344CB8AC3E}">
        <p14:creationId xmlns:p14="http://schemas.microsoft.com/office/powerpoint/2010/main" val="2962657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25" name="Google Shape;147;p1">
            <a:extLst>
              <a:ext uri="{FF2B5EF4-FFF2-40B4-BE49-F238E27FC236}">
                <a16:creationId xmlns:a16="http://schemas.microsoft.com/office/drawing/2014/main" id="{635DDDB0-E513-23CE-AD3D-852E121558F5}"/>
              </a:ext>
            </a:extLst>
          </p:cNvPr>
          <p:cNvSpPr txBox="1"/>
          <p:nvPr/>
        </p:nvSpPr>
        <p:spPr>
          <a:xfrm>
            <a:off x="532853" y="4338736"/>
            <a:ext cx="8078296" cy="376400"/>
          </a:xfrm>
          <a:prstGeom prst="rect">
            <a:avLst/>
          </a:prstGeom>
          <a:noFill/>
          <a:ln>
            <a:noFill/>
          </a:ln>
        </p:spPr>
        <p:txBody>
          <a:bodyPr spcFirstLastPara="1" wrap="square" lIns="0" tIns="0" rIns="0" bIns="0" anchor="t" anchorCtr="0">
            <a:noAutofit/>
          </a:bodyPr>
          <a:lstStyle/>
          <a:p>
            <a:pPr algn="r"/>
            <a:r>
              <a:rPr lang="en-US" sz="1800" b="1" dirty="0">
                <a:latin typeface="Helvetica Neue"/>
              </a:rPr>
              <a:t>Section III: Partnering Together</a:t>
            </a:r>
          </a:p>
        </p:txBody>
      </p:sp>
      <p:sp>
        <p:nvSpPr>
          <p:cNvPr id="26" name="Google Shape;148;p1">
            <a:extLst>
              <a:ext uri="{FF2B5EF4-FFF2-40B4-BE49-F238E27FC236}">
                <a16:creationId xmlns:a16="http://schemas.microsoft.com/office/drawing/2014/main" id="{B2D9B1AB-0579-88A3-04D6-3DD2F6BD7F8A}"/>
              </a:ext>
            </a:extLst>
          </p:cNvPr>
          <p:cNvSpPr/>
          <p:nvPr/>
        </p:nvSpPr>
        <p:spPr>
          <a:xfrm>
            <a:off x="8762080"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8078295" cy="376400"/>
          </a:xfrm>
          <a:prstGeom prst="rect">
            <a:avLst/>
          </a:prstGeom>
          <a:noFill/>
          <a:ln>
            <a:noFill/>
          </a:ln>
        </p:spPr>
        <p:txBody>
          <a:bodyPr spcFirstLastPara="1" wrap="square" lIns="0" tIns="0" rIns="0" bIns="0" anchor="t" anchorCtr="0">
            <a:noAutofit/>
          </a:bodyPr>
          <a:lstStyle/>
          <a:p>
            <a:pPr algn="r"/>
            <a:r>
              <a:rPr lang="en-US" dirty="0">
                <a:latin typeface="Helvetica Neue Light"/>
                <a:ea typeface="+mn-lt"/>
                <a:cs typeface="+mn-lt"/>
                <a:sym typeface="Helvetica Neue Light"/>
              </a:rPr>
              <a:t>Click here to return to the Table of Content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alphaModFix amt="55000"/>
          </a:blip>
          <a:srcRect b="18834"/>
          <a:stretch/>
        </p:blipFill>
        <p:spPr>
          <a:xfrm>
            <a:off x="-1" y="0"/>
            <a:ext cx="9144000" cy="4174761"/>
          </a:xfrm>
          <a:prstGeom prst="rect">
            <a:avLst/>
          </a:prstGeom>
        </p:spPr>
      </p:pic>
    </p:spTree>
    <p:extLst>
      <p:ext uri="{BB962C8B-B14F-4D97-AF65-F5344CB8AC3E}">
        <p14:creationId xmlns:p14="http://schemas.microsoft.com/office/powerpoint/2010/main" val="2552426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568E0E5F-2C65-0157-0589-673920E2C1C8}"/>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4D8CBD2C-D861-BDBC-BC11-54DF44EAB4ED}"/>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panose="02000503000000020004" pitchFamily="2" charset="0"/>
                <a:ea typeface="Helvetica Neue" panose="02000503000000020004" pitchFamily="2" charset="0"/>
                <a:cs typeface="Helvetica Neue" panose="02000503000000020004" pitchFamily="2" charset="0"/>
                <a:sym typeface="Helvetica Neue"/>
              </a:rPr>
              <a:t>Overview: Paths Forward</a:t>
            </a:r>
          </a:p>
        </p:txBody>
      </p:sp>
      <p:sp>
        <p:nvSpPr>
          <p:cNvPr id="9" name="Google Shape;98;p15">
            <a:extLst>
              <a:ext uri="{FF2B5EF4-FFF2-40B4-BE49-F238E27FC236}">
                <a16:creationId xmlns:a16="http://schemas.microsoft.com/office/drawing/2014/main" id="{796AE6FD-F773-C1A2-37BA-DC321CC33E7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How could we technologically implement the Pay It Forward program together?</a:t>
            </a:r>
          </a:p>
        </p:txBody>
      </p:sp>
      <p:sp>
        <p:nvSpPr>
          <p:cNvPr id="16" name="Google Shape;99;p15">
            <a:extLst>
              <a:ext uri="{FF2B5EF4-FFF2-40B4-BE49-F238E27FC236}">
                <a16:creationId xmlns:a16="http://schemas.microsoft.com/office/drawing/2014/main" id="{24BB9CF4-8EF6-3FA1-BE40-0A27A9D049A5}"/>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Google Shape;194;p25">
            <a:extLst>
              <a:ext uri="{FF2B5EF4-FFF2-40B4-BE49-F238E27FC236}">
                <a16:creationId xmlns:a16="http://schemas.microsoft.com/office/drawing/2014/main" id="{8A2861A9-272D-9B63-482D-FB1B79BD27DD}"/>
              </a:ext>
            </a:extLst>
          </p:cNvPr>
          <p:cNvSpPr/>
          <p:nvPr/>
        </p:nvSpPr>
        <p:spPr>
          <a:xfrm>
            <a:off x="287577" y="2571749"/>
            <a:ext cx="2691076" cy="2177589"/>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216000" tIns="0" rIns="216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eople: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he PIF student team and Hospitality collaboratively develop and deploy the system</a:t>
            </a:r>
            <a:endPar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rocess: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Users access forms / funds directly from Hospitality</a:t>
            </a:r>
            <a:endPar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echnology: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Hospitality’s IT resources </a:t>
            </a: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irectly operate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ay It Forward’s opt-in form, preference collection database, and distribution systems</a:t>
            </a:r>
          </a:p>
        </p:txBody>
      </p:sp>
      <p:sp>
        <p:nvSpPr>
          <p:cNvPr id="18" name="Rectangle 17">
            <a:extLst>
              <a:ext uri="{FF2B5EF4-FFF2-40B4-BE49-F238E27FC236}">
                <a16:creationId xmlns:a16="http://schemas.microsoft.com/office/drawing/2014/main" id="{122F53CC-86C8-6881-1206-1472CEE33AA4}"/>
              </a:ext>
            </a:extLst>
          </p:cNvPr>
          <p:cNvSpPr/>
          <p:nvPr/>
        </p:nvSpPr>
        <p:spPr>
          <a:xfrm>
            <a:off x="286713" y="2011146"/>
            <a:ext cx="2692804" cy="545900"/>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Full Integration: </a:t>
            </a: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r>
              <a:rPr lang="en-US" sz="10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People, Process, Technology</a:t>
            </a:r>
            <a:endParaRPr lang="en-US" sz="1000" b="1" i="0"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5" name="Picture 2">
            <a:extLst>
              <a:ext uri="{FF2B5EF4-FFF2-40B4-BE49-F238E27FC236}">
                <a16:creationId xmlns:a16="http://schemas.microsoft.com/office/drawing/2014/main" id="{0306317F-B60A-2DB4-9140-8F51677C7FFA}"/>
              </a:ext>
            </a:extLst>
          </p:cNvPr>
          <p:cNvPicPr>
            <a:picLocks noChangeAspect="1" noChangeArrowheads="1"/>
          </p:cNvPicPr>
          <p:nvPr/>
        </p:nvPicPr>
        <p:blipFill>
          <a:blip r:embed="rId3"/>
          <a:srcRect/>
          <a:stretch/>
        </p:blipFill>
        <p:spPr bwMode="auto">
          <a:xfrm>
            <a:off x="1111115" y="904213"/>
            <a:ext cx="890033" cy="89003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a:extLst>
              <a:ext uri="{FF2B5EF4-FFF2-40B4-BE49-F238E27FC236}">
                <a16:creationId xmlns:a16="http://schemas.microsoft.com/office/drawing/2014/main" id="{28204212-7546-5F25-57D4-55A67F56CFE4}"/>
              </a:ext>
            </a:extLst>
          </p:cNvPr>
          <p:cNvPicPr>
            <a:picLocks noChangeAspect="1" noChangeArrowheads="1"/>
          </p:cNvPicPr>
          <p:nvPr/>
        </p:nvPicPr>
        <p:blipFill>
          <a:blip r:embed="rId4"/>
          <a:srcRect/>
          <a:stretch/>
        </p:blipFill>
        <p:spPr bwMode="auto">
          <a:xfrm>
            <a:off x="4088491" y="940150"/>
            <a:ext cx="890034" cy="890034"/>
          </a:xfrm>
          <a:prstGeom prst="rect">
            <a:avLst/>
          </a:prstGeom>
          <a:noFill/>
          <a:extLst>
            <a:ext uri="{909E8E84-426E-40DD-AFC4-6F175D3DCCD1}">
              <a14:hiddenFill xmlns:a14="http://schemas.microsoft.com/office/drawing/2010/main">
                <a:solidFill>
                  <a:srgbClr val="FFFFFF"/>
                </a:solidFill>
              </a14:hiddenFill>
            </a:ext>
          </a:extLst>
        </p:spPr>
      </p:pic>
      <p:sp>
        <p:nvSpPr>
          <p:cNvPr id="34" name="Google Shape;194;p25">
            <a:extLst>
              <a:ext uri="{FF2B5EF4-FFF2-40B4-BE49-F238E27FC236}">
                <a16:creationId xmlns:a16="http://schemas.microsoft.com/office/drawing/2014/main" id="{730A310A-D0CE-96CE-9C0E-64D456D2887B}"/>
              </a:ext>
            </a:extLst>
          </p:cNvPr>
          <p:cNvSpPr/>
          <p:nvPr/>
        </p:nvSpPr>
        <p:spPr>
          <a:xfrm>
            <a:off x="3226462" y="2571749"/>
            <a:ext cx="2691076" cy="2177590"/>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180000" tIns="0" rIns="180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eople: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he PIF student team primarily develops a parallel system for Hospitality use</a:t>
            </a:r>
            <a:endPar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rocess: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Hospitality sends users to PIF platform for opt-in</a:t>
            </a:r>
            <a:endPar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echnology: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ay It Forward’s team maintains separate technical infrastructure for opt-in and preference collection, with Hospitality moving plan funds</a:t>
            </a:r>
          </a:p>
        </p:txBody>
      </p:sp>
      <p:sp>
        <p:nvSpPr>
          <p:cNvPr id="35" name="Rectangle 34">
            <a:extLst>
              <a:ext uri="{FF2B5EF4-FFF2-40B4-BE49-F238E27FC236}">
                <a16:creationId xmlns:a16="http://schemas.microsoft.com/office/drawing/2014/main" id="{73E5F735-5A3B-109C-7A30-6DAC24102950}"/>
              </a:ext>
            </a:extLst>
          </p:cNvPr>
          <p:cNvSpPr/>
          <p:nvPr/>
        </p:nvSpPr>
        <p:spPr>
          <a:xfrm>
            <a:off x="3225598" y="2011146"/>
            <a:ext cx="2692804" cy="545900"/>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Partial Integration: </a:t>
            </a: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r>
              <a:rPr lang="en-US" sz="10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People and Process</a:t>
            </a:r>
            <a:endParaRPr lang="en-US" sz="1000" b="1" i="0"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26" name="Picture 10" descr="Megaphone - Free marketing icons">
            <a:extLst>
              <a:ext uri="{FF2B5EF4-FFF2-40B4-BE49-F238E27FC236}">
                <a16:creationId xmlns:a16="http://schemas.microsoft.com/office/drawing/2014/main" id="{C26BEC59-9006-8B44-B119-6261696718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65869" y="922143"/>
            <a:ext cx="890034" cy="8900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94;p25">
            <a:extLst>
              <a:ext uri="{FF2B5EF4-FFF2-40B4-BE49-F238E27FC236}">
                <a16:creationId xmlns:a16="http://schemas.microsoft.com/office/drawing/2014/main" id="{7EB90D71-A9BE-9749-BDAF-E3998BC59E6E}"/>
              </a:ext>
            </a:extLst>
          </p:cNvPr>
          <p:cNvSpPr/>
          <p:nvPr/>
        </p:nvSpPr>
        <p:spPr>
          <a:xfrm>
            <a:off x="6165348" y="2571749"/>
            <a:ext cx="2691076" cy="2177590"/>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180000" tIns="0" rIns="180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eople: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he PIF student team and Hospitality do not build any interfacing IT systems</a:t>
            </a:r>
            <a:endPar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rocess: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Hospitality assists with raising awareness for PIF</a:t>
            </a:r>
            <a:endPar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echnology: </a:t>
            </a: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IF operates like a traditional fundraiser, with students pooling external funds (e.g., refunded meal plan money) for donation to students in need</a:t>
            </a:r>
          </a:p>
        </p:txBody>
      </p:sp>
      <p:sp>
        <p:nvSpPr>
          <p:cNvPr id="38" name="Rectangle 37">
            <a:extLst>
              <a:ext uri="{FF2B5EF4-FFF2-40B4-BE49-F238E27FC236}">
                <a16:creationId xmlns:a16="http://schemas.microsoft.com/office/drawing/2014/main" id="{F70C0DBC-9069-EE9B-6BD9-DE1C8F575B16}"/>
              </a:ext>
            </a:extLst>
          </p:cNvPr>
          <p:cNvSpPr/>
          <p:nvPr/>
        </p:nvSpPr>
        <p:spPr>
          <a:xfrm>
            <a:off x="6164484" y="2011146"/>
            <a:ext cx="2692804" cy="545900"/>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i="0"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Standalone Effort:</a:t>
            </a:r>
            <a:br>
              <a:rPr lang="en-US" b="1" i="0"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1" i="0" dirty="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Process only</a:t>
            </a:r>
          </a:p>
        </p:txBody>
      </p:sp>
      <p:sp>
        <p:nvSpPr>
          <p:cNvPr id="3" name="Google Shape;98;p15">
            <a:extLst>
              <a:ext uri="{FF2B5EF4-FFF2-40B4-BE49-F238E27FC236}">
                <a16:creationId xmlns:a16="http://schemas.microsoft.com/office/drawing/2014/main" id="{E8FCF72E-6EDC-0A48-7F80-3309048F1579}"/>
              </a:ext>
            </a:extLst>
          </p:cNvPr>
          <p:cNvSpPr txBox="1"/>
          <p:nvPr/>
        </p:nvSpPr>
        <p:spPr>
          <a:xfrm>
            <a:off x="5118838" y="4861200"/>
            <a:ext cx="3894062"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and more! This is by no means an exhaustive list.</a:t>
            </a:r>
          </a:p>
        </p:txBody>
      </p:sp>
    </p:spTree>
    <p:extLst>
      <p:ext uri="{BB962C8B-B14F-4D97-AF65-F5344CB8AC3E}">
        <p14:creationId xmlns:p14="http://schemas.microsoft.com/office/powerpoint/2010/main" val="194028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568E0E5F-2C65-0157-0589-673920E2C1C8}"/>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4D8CBD2C-D861-BDBC-BC11-54DF44EAB4ED}"/>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panose="02000503000000020004" pitchFamily="2" charset="0"/>
                <a:ea typeface="Helvetica Neue" panose="02000503000000020004" pitchFamily="2" charset="0"/>
                <a:cs typeface="Helvetica Neue" panose="02000503000000020004" pitchFamily="2" charset="0"/>
                <a:sym typeface="Helvetica Neue"/>
              </a:rPr>
              <a:t>Example Technical Solution Architecture</a:t>
            </a:r>
          </a:p>
        </p:txBody>
      </p:sp>
      <p:sp>
        <p:nvSpPr>
          <p:cNvPr id="9" name="Google Shape;98;p15">
            <a:extLst>
              <a:ext uri="{FF2B5EF4-FFF2-40B4-BE49-F238E27FC236}">
                <a16:creationId xmlns:a16="http://schemas.microsoft.com/office/drawing/2014/main" id="{796AE6FD-F773-C1A2-37BA-DC321CC33E7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What components fit into the Pay It Forward and Ancillary Systems?</a:t>
            </a:r>
          </a:p>
        </p:txBody>
      </p:sp>
      <p:sp>
        <p:nvSpPr>
          <p:cNvPr id="16" name="Google Shape;99;p15">
            <a:extLst>
              <a:ext uri="{FF2B5EF4-FFF2-40B4-BE49-F238E27FC236}">
                <a16:creationId xmlns:a16="http://schemas.microsoft.com/office/drawing/2014/main" id="{24BB9CF4-8EF6-3FA1-BE40-0A27A9D049A5}"/>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4024851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C4E59715-EF81-C33E-930F-D8B081D8E6B9}"/>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5E022F00-B499-CE84-B669-F91E6AB6B760}"/>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panose="02000503000000020004" pitchFamily="2" charset="0"/>
                <a:ea typeface="Helvetica Neue" panose="02000503000000020004" pitchFamily="2" charset="0"/>
                <a:cs typeface="Helvetica Neue" panose="02000503000000020004" pitchFamily="2" charset="0"/>
                <a:sym typeface="Helvetica Neue"/>
              </a:rPr>
              <a:t>Evaluation of Effectiveness vs. Complexity</a:t>
            </a:r>
          </a:p>
        </p:txBody>
      </p:sp>
      <p:sp>
        <p:nvSpPr>
          <p:cNvPr id="9" name="Google Shape;98;p15">
            <a:extLst>
              <a:ext uri="{FF2B5EF4-FFF2-40B4-BE49-F238E27FC236}">
                <a16:creationId xmlns:a16="http://schemas.microsoft.com/office/drawing/2014/main" id="{6AE846CA-7EBA-E9D5-B25E-E1168B540899}"/>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What key considerations are needed</a:t>
            </a:r>
          </a:p>
        </p:txBody>
      </p:sp>
      <p:sp>
        <p:nvSpPr>
          <p:cNvPr id="16" name="Google Shape;99;p15">
            <a:extLst>
              <a:ext uri="{FF2B5EF4-FFF2-40B4-BE49-F238E27FC236}">
                <a16:creationId xmlns:a16="http://schemas.microsoft.com/office/drawing/2014/main" id="{F9709830-736D-4B95-FDDB-5242C83ED9CE}"/>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67" name="Google Shape;571;p40">
            <a:extLst>
              <a:ext uri="{FF2B5EF4-FFF2-40B4-BE49-F238E27FC236}">
                <a16:creationId xmlns:a16="http://schemas.microsoft.com/office/drawing/2014/main" id="{A7A5C5A1-9988-E5FF-54C5-CD59E7000467}"/>
              </a:ext>
            </a:extLst>
          </p:cNvPr>
          <p:cNvCxnSpPr>
            <a:cxnSpLocks/>
          </p:cNvCxnSpPr>
          <p:nvPr/>
        </p:nvCxnSpPr>
        <p:spPr>
          <a:xfrm>
            <a:off x="647751" y="1390269"/>
            <a:ext cx="0" cy="3204000"/>
          </a:xfrm>
          <a:prstGeom prst="straightConnector1">
            <a:avLst/>
          </a:prstGeom>
          <a:noFill/>
          <a:ln w="9525" cap="flat" cmpd="sng">
            <a:solidFill>
              <a:srgbClr val="000000"/>
            </a:solidFill>
            <a:prstDash val="solid"/>
            <a:round/>
            <a:headEnd type="stealth" w="med" len="med"/>
            <a:tailEnd type="none" w="med" len="med"/>
          </a:ln>
        </p:spPr>
      </p:cxnSp>
      <p:cxnSp>
        <p:nvCxnSpPr>
          <p:cNvPr id="68" name="Google Shape;572;p40">
            <a:extLst>
              <a:ext uri="{FF2B5EF4-FFF2-40B4-BE49-F238E27FC236}">
                <a16:creationId xmlns:a16="http://schemas.microsoft.com/office/drawing/2014/main" id="{4C7E6978-6C8F-5A06-E1CF-C122895CE365}"/>
              </a:ext>
            </a:extLst>
          </p:cNvPr>
          <p:cNvCxnSpPr>
            <a:cxnSpLocks/>
          </p:cNvCxnSpPr>
          <p:nvPr/>
        </p:nvCxnSpPr>
        <p:spPr>
          <a:xfrm>
            <a:off x="640937" y="4594269"/>
            <a:ext cx="3211200" cy="14700"/>
          </a:xfrm>
          <a:prstGeom prst="straightConnector1">
            <a:avLst/>
          </a:prstGeom>
          <a:noFill/>
          <a:ln w="9525" cap="flat" cmpd="sng">
            <a:solidFill>
              <a:srgbClr val="000000"/>
            </a:solidFill>
            <a:prstDash val="solid"/>
            <a:round/>
            <a:headEnd type="none" w="med" len="med"/>
            <a:tailEnd type="stealth" w="med" len="med"/>
          </a:ln>
        </p:spPr>
      </p:cxnSp>
      <p:cxnSp>
        <p:nvCxnSpPr>
          <p:cNvPr id="69" name="Google Shape;573;p40">
            <a:extLst>
              <a:ext uri="{FF2B5EF4-FFF2-40B4-BE49-F238E27FC236}">
                <a16:creationId xmlns:a16="http://schemas.microsoft.com/office/drawing/2014/main" id="{2FF5D69F-E742-7621-A761-304BADE55732}"/>
              </a:ext>
            </a:extLst>
          </p:cNvPr>
          <p:cNvCxnSpPr>
            <a:cxnSpLocks/>
          </p:cNvCxnSpPr>
          <p:nvPr/>
        </p:nvCxnSpPr>
        <p:spPr>
          <a:xfrm rot="10800000">
            <a:off x="666019" y="2992269"/>
            <a:ext cx="3079500" cy="0"/>
          </a:xfrm>
          <a:prstGeom prst="straightConnector1">
            <a:avLst/>
          </a:prstGeom>
          <a:noFill/>
          <a:ln w="9525" cap="flat" cmpd="sng">
            <a:solidFill>
              <a:srgbClr val="595959"/>
            </a:solidFill>
            <a:prstDash val="lgDash"/>
            <a:round/>
            <a:headEnd type="none" w="med" len="med"/>
            <a:tailEnd type="none" w="med" len="med"/>
          </a:ln>
        </p:spPr>
      </p:cxnSp>
      <p:sp>
        <p:nvSpPr>
          <p:cNvPr id="76" name="Google Shape;580;p40">
            <a:extLst>
              <a:ext uri="{FF2B5EF4-FFF2-40B4-BE49-F238E27FC236}">
                <a16:creationId xmlns:a16="http://schemas.microsoft.com/office/drawing/2014/main" id="{64C5BDE3-7B54-5FD9-9234-DE9EC1F1B742}"/>
              </a:ext>
            </a:extLst>
          </p:cNvPr>
          <p:cNvSpPr/>
          <p:nvPr/>
        </p:nvSpPr>
        <p:spPr>
          <a:xfrm>
            <a:off x="2795095" y="2420607"/>
            <a:ext cx="450600" cy="441900"/>
          </a:xfrm>
          <a:prstGeom prst="ellipse">
            <a:avLst/>
          </a:prstGeom>
          <a:solidFill>
            <a:srgbClr val="00B05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15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2</a:t>
            </a:r>
            <a:endPar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7" name="Google Shape;581;p40">
            <a:extLst>
              <a:ext uri="{FF2B5EF4-FFF2-40B4-BE49-F238E27FC236}">
                <a16:creationId xmlns:a16="http://schemas.microsoft.com/office/drawing/2014/main" id="{C9E8E6F6-00C4-B2F3-EFB4-354DA6CE284A}"/>
              </a:ext>
            </a:extLst>
          </p:cNvPr>
          <p:cNvSpPr/>
          <p:nvPr/>
        </p:nvSpPr>
        <p:spPr>
          <a:xfrm>
            <a:off x="3035374" y="1561608"/>
            <a:ext cx="450600" cy="441900"/>
          </a:xfrm>
          <a:prstGeom prst="ellipse">
            <a:avLst/>
          </a:prstGeom>
          <a:solidFill>
            <a:srgbClr val="08CD65"/>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1</a:t>
            </a:r>
          </a:p>
        </p:txBody>
      </p:sp>
      <p:sp>
        <p:nvSpPr>
          <p:cNvPr id="78" name="Google Shape;582;p40">
            <a:extLst>
              <a:ext uri="{FF2B5EF4-FFF2-40B4-BE49-F238E27FC236}">
                <a16:creationId xmlns:a16="http://schemas.microsoft.com/office/drawing/2014/main" id="{5CE2D278-C877-F1CC-17EE-E6404E592E18}"/>
              </a:ext>
            </a:extLst>
          </p:cNvPr>
          <p:cNvSpPr/>
          <p:nvPr/>
        </p:nvSpPr>
        <p:spPr>
          <a:xfrm>
            <a:off x="1270823" y="3601072"/>
            <a:ext cx="450600" cy="441900"/>
          </a:xfrm>
          <a:prstGeom prst="ellipse">
            <a:avLst/>
          </a:prstGeom>
          <a:solidFill>
            <a:srgbClr val="47926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15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3</a:t>
            </a:r>
            <a:endParaRPr lang="en-GB" sz="1500" b="1" i="0" u="none" strike="noStrike" cap="none">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nvGrpSpPr>
          <p:cNvPr id="90" name="Group 89">
            <a:extLst>
              <a:ext uri="{FF2B5EF4-FFF2-40B4-BE49-F238E27FC236}">
                <a16:creationId xmlns:a16="http://schemas.microsoft.com/office/drawing/2014/main" id="{9EA978C8-DDB4-9B8E-594A-88FD3D4490C2}"/>
              </a:ext>
            </a:extLst>
          </p:cNvPr>
          <p:cNvGrpSpPr/>
          <p:nvPr/>
        </p:nvGrpSpPr>
        <p:grpSpPr>
          <a:xfrm>
            <a:off x="4210174" y="921647"/>
            <a:ext cx="4594387" cy="1044000"/>
            <a:chOff x="4149465" y="1099448"/>
            <a:chExt cx="4594387" cy="886000"/>
          </a:xfrm>
        </p:grpSpPr>
        <p:sp>
          <p:nvSpPr>
            <p:cNvPr id="70" name="Google Shape;574;p40">
              <a:extLst>
                <a:ext uri="{FF2B5EF4-FFF2-40B4-BE49-F238E27FC236}">
                  <a16:creationId xmlns:a16="http://schemas.microsoft.com/office/drawing/2014/main" id="{A81ED0F6-8451-2FCD-3D0D-9FB62C7A3CA9}"/>
                </a:ext>
              </a:extLst>
            </p:cNvPr>
            <p:cNvSpPr/>
            <p:nvPr/>
          </p:nvSpPr>
          <p:spPr>
            <a:xfrm>
              <a:off x="4674352" y="1099848"/>
              <a:ext cx="1899000" cy="885600"/>
            </a:xfrm>
            <a:prstGeom prst="rect">
              <a:avLst/>
            </a:prstGeom>
            <a:solidFill>
              <a:srgbClr val="E4E6EB"/>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dirty="0">
                  <a:latin typeface="Helvetica Neue" panose="02000503000000020004" pitchFamily="2" charset="0"/>
                  <a:ea typeface="Helvetica Neue" panose="02000503000000020004" pitchFamily="2" charset="0"/>
                  <a:cs typeface="Helvetica Neue" panose="02000503000000020004" pitchFamily="2" charset="0"/>
                  <a:sym typeface="Helvetica Neue"/>
                </a:rPr>
                <a:t>Full Integration: </a:t>
              </a:r>
              <a:br>
                <a:rPr lang="en-GB" sz="1200" b="1" dirty="0">
                  <a:latin typeface="Helvetica Neue" panose="02000503000000020004" pitchFamily="2" charset="0"/>
                  <a:ea typeface="Helvetica Neue" panose="02000503000000020004" pitchFamily="2" charset="0"/>
                  <a:cs typeface="Helvetica Neue" panose="02000503000000020004" pitchFamily="2" charset="0"/>
                  <a:sym typeface="Helvetica Neue"/>
                </a:rPr>
              </a:br>
              <a:r>
                <a:rPr lang="en-GB" sz="1000" dirty="0">
                  <a:latin typeface="Helvetica Neue" panose="02000503000000020004" pitchFamily="2" charset="0"/>
                  <a:ea typeface="Helvetica Neue" panose="02000503000000020004" pitchFamily="2" charset="0"/>
                  <a:cs typeface="Helvetica Neue" panose="02000503000000020004" pitchFamily="2" charset="0"/>
                  <a:sym typeface="Helvetica Neue"/>
                </a:rPr>
                <a:t>People, Process, Technology</a:t>
              </a:r>
            </a:p>
          </p:txBody>
        </p:sp>
        <p:sp>
          <p:nvSpPr>
            <p:cNvPr id="73" name="Google Shape;577;p40">
              <a:extLst>
                <a:ext uri="{FF2B5EF4-FFF2-40B4-BE49-F238E27FC236}">
                  <a16:creationId xmlns:a16="http://schemas.microsoft.com/office/drawing/2014/main" id="{EF2449FE-2D0A-1D06-1225-FE07FD618F90}"/>
                </a:ext>
              </a:extLst>
            </p:cNvPr>
            <p:cNvSpPr/>
            <p:nvPr/>
          </p:nvSpPr>
          <p:spPr>
            <a:xfrm>
              <a:off x="6573352" y="1099448"/>
              <a:ext cx="2170500" cy="885600"/>
            </a:xfrm>
            <a:prstGeom prst="rect">
              <a:avLst/>
            </a:prstGeom>
            <a:solidFill>
              <a:srgbClr val="FFFFFF"/>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269999" marR="0" lvl="0" indent="-153499" algn="l" rtl="0">
                <a:lnSpc>
                  <a:spcPct val="100000"/>
                </a:lnSpc>
                <a:spcBef>
                  <a:spcPts val="0"/>
                </a:spcBef>
                <a:spcAft>
                  <a:spcPts val="0"/>
                </a:spcAft>
                <a:buClr>
                  <a:srgbClr val="242729"/>
                </a:buClr>
                <a:buSzPct val="75000"/>
                <a:buFont typeface="Helvetica Neue"/>
                <a:buChar char="●"/>
              </a:pP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High effectiveness: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minimizes friction in donation/distribution</a:t>
              </a:r>
              <a:b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br>
              <a:endPar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269999" marR="0" lvl="0" indent="-153499" algn="l" rtl="0">
                <a:lnSpc>
                  <a:spcPct val="100000"/>
                </a:lnSpc>
                <a:spcBef>
                  <a:spcPts val="0"/>
                </a:spcBef>
                <a:spcAft>
                  <a:spcPts val="0"/>
                </a:spcAft>
                <a:buClr>
                  <a:srgbClr val="242729"/>
                </a:buClr>
                <a:buSzPct val="75000"/>
                <a:buFont typeface="Helvetica Neue"/>
                <a:buChar char="●"/>
              </a:pP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High complexity: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significant shared development work</a:t>
              </a:r>
              <a:endParaRPr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9" name="Google Shape;583;p40">
              <a:extLst>
                <a:ext uri="{FF2B5EF4-FFF2-40B4-BE49-F238E27FC236}">
                  <a16:creationId xmlns:a16="http://schemas.microsoft.com/office/drawing/2014/main" id="{4F0C11E1-56FE-067D-EEFD-93945F236AF9}"/>
                </a:ext>
              </a:extLst>
            </p:cNvPr>
            <p:cNvSpPr/>
            <p:nvPr/>
          </p:nvSpPr>
          <p:spPr>
            <a:xfrm>
              <a:off x="4149465" y="1099584"/>
              <a:ext cx="532800" cy="885600"/>
            </a:xfrm>
            <a:prstGeom prst="rect">
              <a:avLst/>
            </a:prstGeom>
            <a:solidFill>
              <a:srgbClr val="08CD65"/>
            </a:solidFill>
            <a:ln>
              <a:noFill/>
            </a:ln>
          </p:spPr>
          <p:txBody>
            <a:bodyPr spcFirstLastPara="1" wrap="square" lIns="68575" tIns="34275" rIns="68575" bIns="34275" anchor="ctr" anchorCtr="0">
              <a:noAutofit/>
            </a:bodyPr>
            <a:lstStyle/>
            <a:p>
              <a:pPr marL="0" lvl="0" indent="0" algn="ctr" rtl="0">
                <a:spcBef>
                  <a:spcPts val="0"/>
                </a:spcBef>
                <a:spcAft>
                  <a:spcPts val="0"/>
                </a:spcAft>
                <a:buClr>
                  <a:srgbClr val="000000"/>
                </a:buClr>
                <a:buSzPts val="2000"/>
                <a:buFont typeface="Arial"/>
                <a:buNone/>
              </a:pPr>
              <a:r>
                <a:rPr lang="en-GB" sz="15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1</a:t>
              </a:r>
              <a:endPar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grpSp>
        <p:nvGrpSpPr>
          <p:cNvPr id="89" name="Group 88">
            <a:extLst>
              <a:ext uri="{FF2B5EF4-FFF2-40B4-BE49-F238E27FC236}">
                <a16:creationId xmlns:a16="http://schemas.microsoft.com/office/drawing/2014/main" id="{13A1C2CA-ED60-1D1D-73D0-99D88C65B410}"/>
              </a:ext>
            </a:extLst>
          </p:cNvPr>
          <p:cNvGrpSpPr/>
          <p:nvPr/>
        </p:nvGrpSpPr>
        <p:grpSpPr>
          <a:xfrm>
            <a:off x="4210174" y="2120058"/>
            <a:ext cx="4594387" cy="1044000"/>
            <a:chOff x="4149465" y="2139173"/>
            <a:chExt cx="4594387" cy="886450"/>
          </a:xfrm>
        </p:grpSpPr>
        <p:sp>
          <p:nvSpPr>
            <p:cNvPr id="71" name="Google Shape;575;p40">
              <a:extLst>
                <a:ext uri="{FF2B5EF4-FFF2-40B4-BE49-F238E27FC236}">
                  <a16:creationId xmlns:a16="http://schemas.microsoft.com/office/drawing/2014/main" id="{F3B291B7-1EC0-E2E3-FDC8-E7DB9DF74327}"/>
                </a:ext>
              </a:extLst>
            </p:cNvPr>
            <p:cNvSpPr/>
            <p:nvPr/>
          </p:nvSpPr>
          <p:spPr>
            <a:xfrm>
              <a:off x="4674352" y="2139173"/>
              <a:ext cx="1899000" cy="885600"/>
            </a:xfrm>
            <a:prstGeom prst="rect">
              <a:avLst/>
            </a:prstGeom>
            <a:solidFill>
              <a:srgbClr val="E4E6EB"/>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algn="ctr" rtl="0" fontAlgn="base"/>
              <a:r>
                <a:rPr lang="en-US" sz="12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artial Integration: </a:t>
              </a:r>
              <a:br>
                <a:rPr lang="en-US" sz="11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br>
              <a:r>
                <a:rPr lang="en-US" sz="10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eople and Process</a:t>
              </a:r>
              <a:endParaRPr lang="en-US" sz="1000"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4" name="Google Shape;578;p40">
              <a:extLst>
                <a:ext uri="{FF2B5EF4-FFF2-40B4-BE49-F238E27FC236}">
                  <a16:creationId xmlns:a16="http://schemas.microsoft.com/office/drawing/2014/main" id="{8A19256B-18E8-0251-DDA9-2658E025FEF5}"/>
                </a:ext>
              </a:extLst>
            </p:cNvPr>
            <p:cNvSpPr/>
            <p:nvPr/>
          </p:nvSpPr>
          <p:spPr>
            <a:xfrm>
              <a:off x="6573352" y="2140023"/>
              <a:ext cx="2170500" cy="885600"/>
            </a:xfrm>
            <a:prstGeom prst="rect">
              <a:avLst/>
            </a:prstGeom>
            <a:no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269999" marR="0" lvl="0" indent="-153499" algn="l" rtl="0">
                <a:lnSpc>
                  <a:spcPct val="100000"/>
                </a:lnSpc>
                <a:spcBef>
                  <a:spcPts val="0"/>
                </a:spcBef>
                <a:spcAft>
                  <a:spcPts val="0"/>
                </a:spcAft>
                <a:buClr>
                  <a:srgbClr val="242729"/>
                </a:buClr>
                <a:buSzPct val="75000"/>
                <a:buFont typeface="Helvetica Neue"/>
                <a:buChar char="●"/>
              </a:pP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Medium effectiveness: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more</a:t>
              </a: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friction reduces donations</a:t>
              </a:r>
              <a:b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br>
              <a:endPar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269999" marR="0" lvl="0" indent="-153499" algn="l" rtl="0">
                <a:lnSpc>
                  <a:spcPct val="100000"/>
                </a:lnSpc>
                <a:spcBef>
                  <a:spcPts val="0"/>
                </a:spcBef>
                <a:spcAft>
                  <a:spcPts val="0"/>
                </a:spcAft>
                <a:buClr>
                  <a:srgbClr val="242729"/>
                </a:buClr>
                <a:buSzPct val="75000"/>
                <a:buFont typeface="Helvetica Neue"/>
                <a:buChar char="●"/>
              </a:pP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High complexity: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similar but separate development effort</a:t>
              </a:r>
              <a:endPar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0" name="Google Shape;584;p40">
              <a:extLst>
                <a:ext uri="{FF2B5EF4-FFF2-40B4-BE49-F238E27FC236}">
                  <a16:creationId xmlns:a16="http://schemas.microsoft.com/office/drawing/2014/main" id="{38A619AC-A686-460D-CFF7-B1E9142AFC5E}"/>
                </a:ext>
              </a:extLst>
            </p:cNvPr>
            <p:cNvSpPr/>
            <p:nvPr/>
          </p:nvSpPr>
          <p:spPr>
            <a:xfrm>
              <a:off x="4149465" y="2139188"/>
              <a:ext cx="532800" cy="885600"/>
            </a:xfrm>
            <a:prstGeom prst="rect">
              <a:avLst/>
            </a:prstGeom>
            <a:solidFill>
              <a:srgbClr val="00B050"/>
            </a:solidFill>
            <a:ln>
              <a:noFill/>
            </a:ln>
          </p:spPr>
          <p:txBody>
            <a:bodyPr spcFirstLastPara="1" wrap="square" lIns="68575" tIns="34275" rIns="68575" bIns="34275" anchor="ctr" anchorCtr="0">
              <a:noAutofit/>
            </a:bodyPr>
            <a:lstStyle/>
            <a:p>
              <a:pPr marL="0" lvl="0" indent="0" algn="ctr" rtl="0">
                <a:spcBef>
                  <a:spcPts val="0"/>
                </a:spcBef>
                <a:spcAft>
                  <a:spcPts val="0"/>
                </a:spcAft>
                <a:buClr>
                  <a:srgbClr val="000000"/>
                </a:buClr>
                <a:buSzPts val="2000"/>
                <a:buFont typeface="Arial"/>
                <a:buNone/>
              </a:pPr>
              <a:r>
                <a:rPr lang="en-GB" sz="15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2</a:t>
              </a:r>
              <a:endPar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grpSp>
        <p:nvGrpSpPr>
          <p:cNvPr id="88" name="Group 87">
            <a:extLst>
              <a:ext uri="{FF2B5EF4-FFF2-40B4-BE49-F238E27FC236}">
                <a16:creationId xmlns:a16="http://schemas.microsoft.com/office/drawing/2014/main" id="{D594CBC4-B8D8-7799-269A-0845074A6E39}"/>
              </a:ext>
            </a:extLst>
          </p:cNvPr>
          <p:cNvGrpSpPr/>
          <p:nvPr/>
        </p:nvGrpSpPr>
        <p:grpSpPr>
          <a:xfrm>
            <a:off x="4218186" y="3318469"/>
            <a:ext cx="4586375" cy="1290500"/>
            <a:chOff x="4157377" y="3180198"/>
            <a:chExt cx="4586375" cy="1290500"/>
          </a:xfrm>
        </p:grpSpPr>
        <p:sp>
          <p:nvSpPr>
            <p:cNvPr id="72" name="Google Shape;576;p40">
              <a:extLst>
                <a:ext uri="{FF2B5EF4-FFF2-40B4-BE49-F238E27FC236}">
                  <a16:creationId xmlns:a16="http://schemas.microsoft.com/office/drawing/2014/main" id="{B87F8CEE-0E71-CEAA-B76A-43B014019D9A}"/>
                </a:ext>
              </a:extLst>
            </p:cNvPr>
            <p:cNvSpPr/>
            <p:nvPr/>
          </p:nvSpPr>
          <p:spPr>
            <a:xfrm>
              <a:off x="4690452" y="3180198"/>
              <a:ext cx="1899000" cy="1290300"/>
            </a:xfrm>
            <a:prstGeom prst="rect">
              <a:avLst/>
            </a:prstGeom>
            <a:solidFill>
              <a:srgbClr val="E4E6EB"/>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algn="ctr" rtl="0" fontAlgn="base"/>
              <a:r>
                <a:rPr lang="en-US" sz="1200" b="1"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Standalone Effort:</a:t>
              </a:r>
              <a:br>
                <a:rPr lang="en-US" sz="1200" b="1"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Process only</a:t>
              </a:r>
            </a:p>
          </p:txBody>
        </p:sp>
        <p:sp>
          <p:nvSpPr>
            <p:cNvPr id="75" name="Google Shape;579;p40">
              <a:extLst>
                <a:ext uri="{FF2B5EF4-FFF2-40B4-BE49-F238E27FC236}">
                  <a16:creationId xmlns:a16="http://schemas.microsoft.com/office/drawing/2014/main" id="{CA755F9C-71B8-D354-2214-BA607A06C3B2}"/>
                </a:ext>
              </a:extLst>
            </p:cNvPr>
            <p:cNvSpPr/>
            <p:nvPr/>
          </p:nvSpPr>
          <p:spPr>
            <a:xfrm>
              <a:off x="6589452" y="3180398"/>
              <a:ext cx="2154300" cy="1290300"/>
            </a:xfrm>
            <a:prstGeom prst="rect">
              <a:avLst/>
            </a:prstGeom>
            <a:no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269999" marR="0" lvl="0" indent="-153499" algn="l" rtl="0">
                <a:lnSpc>
                  <a:spcPct val="100000"/>
                </a:lnSpc>
                <a:spcBef>
                  <a:spcPts val="0"/>
                </a:spcBef>
                <a:spcAft>
                  <a:spcPts val="0"/>
                </a:spcAft>
                <a:buClr>
                  <a:srgbClr val="242729"/>
                </a:buClr>
                <a:buSzPct val="75000"/>
                <a:buFont typeface="Helvetica Neue"/>
                <a:buChar char="●"/>
              </a:pP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Low effectiveness: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maximum friction, low engagement</a:t>
              </a:r>
              <a:b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br>
              <a:endPar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269999" marR="0" lvl="0" indent="-153499" algn="l" rtl="0">
                <a:lnSpc>
                  <a:spcPct val="100000"/>
                </a:lnSpc>
                <a:spcBef>
                  <a:spcPts val="0"/>
                </a:spcBef>
                <a:spcAft>
                  <a:spcPts val="0"/>
                </a:spcAft>
                <a:buClr>
                  <a:srgbClr val="242729"/>
                </a:buClr>
                <a:buSzPct val="75000"/>
                <a:buFont typeface="Helvetica Neue"/>
                <a:buChar char="●"/>
              </a:pPr>
              <a:r>
                <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Low complexity: </a:t>
              </a:r>
              <a:r>
                <a:rPr lang="en-US" sz="1000"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simple fundraiser effort </a:t>
              </a:r>
              <a:endParaRPr lang="en-US" sz="1000" b="1" dirty="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1" name="Google Shape;585;p40">
              <a:extLst>
                <a:ext uri="{FF2B5EF4-FFF2-40B4-BE49-F238E27FC236}">
                  <a16:creationId xmlns:a16="http://schemas.microsoft.com/office/drawing/2014/main" id="{C28B8F6B-5690-282F-A968-BC207D5ECDAE}"/>
                </a:ext>
              </a:extLst>
            </p:cNvPr>
            <p:cNvSpPr/>
            <p:nvPr/>
          </p:nvSpPr>
          <p:spPr>
            <a:xfrm>
              <a:off x="4157377" y="3180215"/>
              <a:ext cx="532800" cy="1290300"/>
            </a:xfrm>
            <a:prstGeom prst="rect">
              <a:avLst/>
            </a:prstGeom>
            <a:solidFill>
              <a:srgbClr val="479262"/>
            </a:solidFill>
            <a:ln>
              <a:noFill/>
            </a:ln>
          </p:spPr>
          <p:txBody>
            <a:bodyPr spcFirstLastPara="1" wrap="square" lIns="68575" tIns="34275" rIns="68575" bIns="34275" anchor="ctr" anchorCtr="0">
              <a:noAutofit/>
            </a:bodyPr>
            <a:lstStyle/>
            <a:p>
              <a:pPr marL="0" lvl="0" indent="0" algn="ctr" rtl="0">
                <a:spcBef>
                  <a:spcPts val="0"/>
                </a:spcBef>
                <a:spcAft>
                  <a:spcPts val="0"/>
                </a:spcAft>
                <a:buClr>
                  <a:srgbClr val="000000"/>
                </a:buClr>
                <a:buSzPts val="2000"/>
                <a:buFont typeface="Arial"/>
                <a:buNone/>
              </a:pPr>
              <a:r>
                <a:rPr lang="en-GB" sz="15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3</a:t>
              </a:r>
              <a:endParaRPr sz="15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sp>
        <p:nvSpPr>
          <p:cNvPr id="82" name="Google Shape;586;p40">
            <a:extLst>
              <a:ext uri="{FF2B5EF4-FFF2-40B4-BE49-F238E27FC236}">
                <a16:creationId xmlns:a16="http://schemas.microsoft.com/office/drawing/2014/main" id="{18627825-02D8-C8DB-E3A3-EA4014AAC710}"/>
              </a:ext>
            </a:extLst>
          </p:cNvPr>
          <p:cNvSpPr txBox="1"/>
          <p:nvPr/>
        </p:nvSpPr>
        <p:spPr>
          <a:xfrm>
            <a:off x="617629" y="921647"/>
            <a:ext cx="3371931" cy="400200"/>
          </a:xfrm>
          <a:prstGeom prst="rect">
            <a:avLst/>
          </a:prstGeom>
          <a:solidFill>
            <a:srgbClr val="E4E6EB"/>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b="1" dirty="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rade-off Matrix</a:t>
            </a:r>
            <a:endParaRPr lang="en-GB" b="1" dirty="0">
              <a:solidFill>
                <a:schemeClr val="dk1"/>
              </a:solidFill>
              <a:highlight>
                <a:srgbClr val="E6B8A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4" name="TextBox 83">
            <a:extLst>
              <a:ext uri="{FF2B5EF4-FFF2-40B4-BE49-F238E27FC236}">
                <a16:creationId xmlns:a16="http://schemas.microsoft.com/office/drawing/2014/main" id="{064DBC03-57D7-8FEC-8EE1-6B1A881285AA}"/>
              </a:ext>
            </a:extLst>
          </p:cNvPr>
          <p:cNvSpPr txBox="1"/>
          <p:nvPr/>
        </p:nvSpPr>
        <p:spPr>
          <a:xfrm>
            <a:off x="989610" y="4662692"/>
            <a:ext cx="2624256" cy="307777"/>
          </a:xfrm>
          <a:prstGeom prst="rect">
            <a:avLst/>
          </a:prstGeom>
          <a:noFill/>
        </p:spPr>
        <p:txBody>
          <a:bodyPr wrap="square" rtlCol="0">
            <a:spAutoFit/>
          </a:bodyPr>
          <a:lstStyle/>
          <a:p>
            <a:pPr algn="ctr"/>
            <a:r>
              <a:rPr lang="en-US" dirty="0">
                <a:latin typeface="Helvetica Neue" panose="02000503000000020004" pitchFamily="2" charset="0"/>
                <a:ea typeface="Helvetica Neue" panose="02000503000000020004" pitchFamily="2" charset="0"/>
                <a:cs typeface="Helvetica Neue" panose="02000503000000020004" pitchFamily="2" charset="0"/>
              </a:rPr>
              <a:t>Complexity of Implementation</a:t>
            </a:r>
          </a:p>
        </p:txBody>
      </p:sp>
      <p:sp>
        <p:nvSpPr>
          <p:cNvPr id="85" name="TextBox 84">
            <a:extLst>
              <a:ext uri="{FF2B5EF4-FFF2-40B4-BE49-F238E27FC236}">
                <a16:creationId xmlns:a16="http://schemas.microsoft.com/office/drawing/2014/main" id="{D81E361C-79EE-CC75-1F14-51E05C46AF5E}"/>
              </a:ext>
            </a:extLst>
          </p:cNvPr>
          <p:cNvSpPr txBox="1"/>
          <p:nvPr/>
        </p:nvSpPr>
        <p:spPr>
          <a:xfrm rot="10800000">
            <a:off x="217519" y="2320540"/>
            <a:ext cx="400110" cy="1343458"/>
          </a:xfrm>
          <a:prstGeom prst="rect">
            <a:avLst/>
          </a:prstGeom>
          <a:noFill/>
        </p:spPr>
        <p:txBody>
          <a:bodyPr vert="eaVert" wrap="square" rtlCol="0">
            <a:spAutoFit/>
          </a:bodyPr>
          <a:lstStyle/>
          <a:p>
            <a:pPr algn="ctr"/>
            <a:r>
              <a:rPr lang="en-US" dirty="0">
                <a:latin typeface="Helvetica Neue" panose="02000503000000020004" pitchFamily="2" charset="0"/>
                <a:ea typeface="Helvetica Neue" panose="02000503000000020004" pitchFamily="2" charset="0"/>
                <a:cs typeface="Helvetica Neue" panose="02000503000000020004" pitchFamily="2" charset="0"/>
              </a:rPr>
              <a:t>Effectiveness</a:t>
            </a:r>
          </a:p>
        </p:txBody>
      </p:sp>
    </p:spTree>
    <p:extLst>
      <p:ext uri="{BB962C8B-B14F-4D97-AF65-F5344CB8AC3E}">
        <p14:creationId xmlns:p14="http://schemas.microsoft.com/office/powerpoint/2010/main" val="27749986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8CC2F035-B9EC-7542-01CD-FF5F4EC36EDB}"/>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3A78D307-2EAC-FE7F-B8DA-042F7C758DBA}"/>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panose="02000503000000020004" pitchFamily="2" charset="0"/>
                <a:ea typeface="Helvetica Neue" panose="02000503000000020004" pitchFamily="2" charset="0"/>
                <a:cs typeface="Helvetica Neue" panose="02000503000000020004" pitchFamily="2" charset="0"/>
                <a:sym typeface="Helvetica Neue"/>
              </a:rPr>
              <a:t>Meet the Pay it Forward Team</a:t>
            </a:r>
          </a:p>
        </p:txBody>
      </p:sp>
      <p:sp>
        <p:nvSpPr>
          <p:cNvPr id="9" name="Google Shape;98;p15">
            <a:extLst>
              <a:ext uri="{FF2B5EF4-FFF2-40B4-BE49-F238E27FC236}">
                <a16:creationId xmlns:a16="http://schemas.microsoft.com/office/drawing/2014/main" id="{3C781649-D80F-D1F9-89F2-7AAA7A2BC21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endPar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EB6EC0B2-B99D-ECFB-E8CA-5468F9694636}"/>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3" name="Google Shape;108;p19" descr="Profile photo of Raymond Wang">
            <a:extLst>
              <a:ext uri="{FF2B5EF4-FFF2-40B4-BE49-F238E27FC236}">
                <a16:creationId xmlns:a16="http://schemas.microsoft.com/office/drawing/2014/main" id="{E9E3AA12-1B3F-42A7-C0AC-D39DA3015B3A}"/>
              </a:ext>
            </a:extLst>
          </p:cNvPr>
          <p:cNvPicPr preferRelativeResize="0"/>
          <p:nvPr/>
        </p:nvPicPr>
        <p:blipFill>
          <a:blip r:embed="rId3">
            <a:alphaModFix/>
          </a:blip>
          <a:stretch>
            <a:fillRect/>
          </a:stretch>
        </p:blipFill>
        <p:spPr>
          <a:xfrm>
            <a:off x="1248712" y="1249975"/>
            <a:ext cx="1882225" cy="1893924"/>
          </a:xfrm>
          <a:prstGeom prst="rect">
            <a:avLst/>
          </a:prstGeom>
          <a:noFill/>
          <a:ln w="28575" cap="flat" cmpd="sng">
            <a:solidFill>
              <a:srgbClr val="502682"/>
            </a:solidFill>
            <a:prstDash val="solid"/>
            <a:round/>
            <a:headEnd type="none" w="sm" len="sm"/>
            <a:tailEnd type="none" w="sm" len="sm"/>
          </a:ln>
        </p:spPr>
      </p:pic>
      <p:pic>
        <p:nvPicPr>
          <p:cNvPr id="14" name="Google Shape;109;p19" descr="Profile photo of Hannah Mahr">
            <a:extLst>
              <a:ext uri="{FF2B5EF4-FFF2-40B4-BE49-F238E27FC236}">
                <a16:creationId xmlns:a16="http://schemas.microsoft.com/office/drawing/2014/main" id="{F4D44668-F6B2-7EA9-9B00-508CC2023C04}"/>
              </a:ext>
            </a:extLst>
          </p:cNvPr>
          <p:cNvPicPr preferRelativeResize="0"/>
          <p:nvPr/>
        </p:nvPicPr>
        <p:blipFill>
          <a:blip r:embed="rId4">
            <a:alphaModFix/>
          </a:blip>
          <a:stretch>
            <a:fillRect/>
          </a:stretch>
        </p:blipFill>
        <p:spPr>
          <a:xfrm>
            <a:off x="6013064" y="1250000"/>
            <a:ext cx="1882225" cy="1893899"/>
          </a:xfrm>
          <a:prstGeom prst="rect">
            <a:avLst/>
          </a:prstGeom>
          <a:noFill/>
          <a:ln w="28575" cap="flat" cmpd="sng">
            <a:solidFill>
              <a:srgbClr val="502682"/>
            </a:solidFill>
            <a:prstDash val="solid"/>
            <a:round/>
            <a:headEnd type="none" w="sm" len="sm"/>
            <a:tailEnd type="none" w="sm" len="sm"/>
          </a:ln>
        </p:spPr>
      </p:pic>
      <p:pic>
        <p:nvPicPr>
          <p:cNvPr id="20" name="Google Shape;110;p19" descr="profile image">
            <a:extLst>
              <a:ext uri="{FF2B5EF4-FFF2-40B4-BE49-F238E27FC236}">
                <a16:creationId xmlns:a16="http://schemas.microsoft.com/office/drawing/2014/main" id="{FE109862-5863-67DF-C8E6-79B705A5079C}"/>
              </a:ext>
            </a:extLst>
          </p:cNvPr>
          <p:cNvPicPr preferRelativeResize="0"/>
          <p:nvPr/>
        </p:nvPicPr>
        <p:blipFill rotWithShape="1">
          <a:blip r:embed="rId5">
            <a:alphaModFix/>
          </a:blip>
          <a:srcRect l="11983" t="8920" r="14046" b="17109"/>
          <a:stretch/>
        </p:blipFill>
        <p:spPr>
          <a:xfrm>
            <a:off x="3630888" y="1250000"/>
            <a:ext cx="1882225" cy="1893919"/>
          </a:xfrm>
          <a:prstGeom prst="rect">
            <a:avLst/>
          </a:prstGeom>
          <a:noFill/>
          <a:ln w="28575" cap="flat" cmpd="sng">
            <a:solidFill>
              <a:srgbClr val="502682"/>
            </a:solidFill>
            <a:prstDash val="solid"/>
            <a:round/>
            <a:headEnd type="none" w="sm" len="sm"/>
            <a:tailEnd type="none" w="sm" len="sm"/>
          </a:ln>
        </p:spPr>
      </p:pic>
      <p:sp>
        <p:nvSpPr>
          <p:cNvPr id="27" name="Google Shape;111;p19">
            <a:extLst>
              <a:ext uri="{FF2B5EF4-FFF2-40B4-BE49-F238E27FC236}">
                <a16:creationId xmlns:a16="http://schemas.microsoft.com/office/drawing/2014/main" id="{188674E1-FB90-66E8-1255-94D96946F15D}"/>
              </a:ext>
            </a:extLst>
          </p:cNvPr>
          <p:cNvSpPr txBox="1"/>
          <p:nvPr/>
        </p:nvSpPr>
        <p:spPr>
          <a:xfrm>
            <a:off x="1202100" y="390750"/>
            <a:ext cx="6739800" cy="661800"/>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1200"/>
              </a:spcBef>
              <a:spcAft>
                <a:spcPts val="1200"/>
              </a:spcAft>
              <a:buNone/>
            </a:pPr>
            <a:r>
              <a:rPr lang="en" sz="3100" b="1">
                <a:solidFill>
                  <a:srgbClr val="502682"/>
                </a:solidFill>
                <a:latin typeface="Libre Franklin"/>
                <a:ea typeface="Libre Franklin"/>
                <a:cs typeface="Libre Franklin"/>
                <a:sym typeface="Libre Franklin"/>
              </a:rPr>
              <a:t>ABOUT US</a:t>
            </a:r>
            <a:endParaRPr sz="100" b="1">
              <a:solidFill>
                <a:srgbClr val="502682"/>
              </a:solidFill>
              <a:latin typeface="Libre Franklin"/>
              <a:ea typeface="Libre Franklin"/>
              <a:cs typeface="Libre Franklin"/>
              <a:sym typeface="Libre Franklin"/>
            </a:endParaRPr>
          </a:p>
        </p:txBody>
      </p:sp>
      <p:sp>
        <p:nvSpPr>
          <p:cNvPr id="28" name="Google Shape;112;p19">
            <a:extLst>
              <a:ext uri="{FF2B5EF4-FFF2-40B4-BE49-F238E27FC236}">
                <a16:creationId xmlns:a16="http://schemas.microsoft.com/office/drawing/2014/main" id="{788370A5-A783-C798-AAE7-3E28E11CBA74}"/>
              </a:ext>
            </a:extLst>
          </p:cNvPr>
          <p:cNvSpPr txBox="1"/>
          <p:nvPr/>
        </p:nvSpPr>
        <p:spPr>
          <a:xfrm>
            <a:off x="1029891" y="3377825"/>
            <a:ext cx="2319867" cy="12501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500" dirty="0">
                <a:solidFill>
                  <a:schemeClr val="dk2"/>
                </a:solidFill>
              </a:rPr>
              <a:t>Raymond Wang </a:t>
            </a:r>
            <a:endParaRPr sz="1300" dirty="0">
              <a:solidFill>
                <a:schemeClr val="dk2"/>
              </a:solidFill>
            </a:endParaRPr>
          </a:p>
          <a:p>
            <a:pPr marL="0" lvl="0" indent="0" algn="ctr" rtl="0">
              <a:spcBef>
                <a:spcPts val="0"/>
              </a:spcBef>
              <a:spcAft>
                <a:spcPts val="0"/>
              </a:spcAft>
              <a:buNone/>
            </a:pPr>
            <a:r>
              <a:rPr lang="en" sz="1100" b="1" dirty="0">
                <a:solidFill>
                  <a:srgbClr val="502682"/>
                </a:solidFill>
              </a:rPr>
              <a:t>Technology Lead</a:t>
            </a:r>
            <a:endParaRPr sz="1100" b="1" dirty="0">
              <a:solidFill>
                <a:srgbClr val="502682"/>
              </a:solidFill>
            </a:endParaRPr>
          </a:p>
          <a:p>
            <a:pPr marL="0" lvl="0" indent="0" algn="ctr" rtl="0">
              <a:spcBef>
                <a:spcPts val="0"/>
              </a:spcBef>
              <a:spcAft>
                <a:spcPts val="0"/>
              </a:spcAft>
              <a:buNone/>
            </a:pPr>
            <a:endParaRPr sz="1100" dirty="0">
              <a:solidFill>
                <a:schemeClr val="dk2"/>
              </a:solidFill>
            </a:endParaRPr>
          </a:p>
          <a:p>
            <a:pPr marL="0" lvl="0" indent="0" algn="ctr" rtl="0">
              <a:spcBef>
                <a:spcPts val="0"/>
              </a:spcBef>
              <a:spcAft>
                <a:spcPts val="0"/>
              </a:spcAft>
              <a:buNone/>
            </a:pPr>
            <a:r>
              <a:rPr lang="en" sz="1100" dirty="0">
                <a:solidFill>
                  <a:schemeClr val="dk2"/>
                </a:solidFill>
              </a:rPr>
              <a:t>Ivey HBA and Computer Science</a:t>
            </a:r>
            <a:br>
              <a:rPr lang="en" sz="1100">
                <a:solidFill>
                  <a:schemeClr val="dk2"/>
                </a:solidFill>
              </a:rPr>
            </a:br>
            <a:r>
              <a:rPr lang="en" sz="1100">
                <a:solidFill>
                  <a:schemeClr val="dk2"/>
                </a:solidFill>
              </a:rPr>
              <a:t>Technology</a:t>
            </a:r>
            <a:endParaRPr lang="en" sz="1100" dirty="0">
              <a:solidFill>
                <a:schemeClr val="dk2"/>
              </a:solidFill>
            </a:endParaRPr>
          </a:p>
          <a:p>
            <a:pPr marL="0" lvl="0" indent="0" algn="ctr" rtl="0">
              <a:spcBef>
                <a:spcPts val="0"/>
              </a:spcBef>
              <a:spcAft>
                <a:spcPts val="0"/>
              </a:spcAft>
              <a:buNone/>
            </a:pPr>
            <a:r>
              <a:rPr lang="en-US" sz="1100" dirty="0">
                <a:solidFill>
                  <a:schemeClr val="dk2"/>
                </a:solidFill>
                <a:hlinkClick r:id="rId6"/>
              </a:rPr>
              <a:t>LinkedIn</a:t>
            </a:r>
            <a:endParaRPr sz="1100" dirty="0">
              <a:solidFill>
                <a:schemeClr val="dk2"/>
              </a:solidFill>
            </a:endParaRPr>
          </a:p>
          <a:p>
            <a:pPr marL="0" lvl="0" indent="0" algn="ctr" rtl="0">
              <a:spcBef>
                <a:spcPts val="0"/>
              </a:spcBef>
              <a:spcAft>
                <a:spcPts val="0"/>
              </a:spcAft>
              <a:buNone/>
            </a:pPr>
            <a:r>
              <a:rPr lang="en-US" sz="1100" dirty="0">
                <a:solidFill>
                  <a:schemeClr val="dk2"/>
                </a:solidFill>
              </a:rPr>
              <a:t>E: </a:t>
            </a:r>
            <a:r>
              <a:rPr lang="en-US" sz="1100" dirty="0">
                <a:solidFill>
                  <a:schemeClr val="dk2"/>
                </a:solidFill>
                <a:hlinkClick r:id="rId7"/>
              </a:rPr>
              <a:t>rwang.hba2025@ivey.ca</a:t>
            </a:r>
            <a:endParaRPr sz="1100" dirty="0">
              <a:solidFill>
                <a:schemeClr val="dk2"/>
              </a:solidFill>
            </a:endParaRPr>
          </a:p>
          <a:p>
            <a:pPr marL="0" lvl="0" indent="0" algn="l" rtl="0">
              <a:spcBef>
                <a:spcPts val="0"/>
              </a:spcBef>
              <a:spcAft>
                <a:spcPts val="0"/>
              </a:spcAft>
              <a:buNone/>
            </a:pPr>
            <a:endParaRPr dirty="0">
              <a:solidFill>
                <a:schemeClr val="dk2"/>
              </a:solidFill>
            </a:endParaRPr>
          </a:p>
        </p:txBody>
      </p:sp>
      <p:sp>
        <p:nvSpPr>
          <p:cNvPr id="29" name="Google Shape;113;p19">
            <a:extLst>
              <a:ext uri="{FF2B5EF4-FFF2-40B4-BE49-F238E27FC236}">
                <a16:creationId xmlns:a16="http://schemas.microsoft.com/office/drawing/2014/main" id="{405E4E2E-4F43-2B2D-15D6-C7468963D052}"/>
              </a:ext>
            </a:extLst>
          </p:cNvPr>
          <p:cNvSpPr txBox="1"/>
          <p:nvPr/>
        </p:nvSpPr>
        <p:spPr>
          <a:xfrm>
            <a:off x="3559195" y="3377825"/>
            <a:ext cx="2025609" cy="12501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700" dirty="0">
                <a:solidFill>
                  <a:schemeClr val="dk2"/>
                </a:solidFill>
              </a:rPr>
              <a:t>Saanvi Kapoor</a:t>
            </a:r>
            <a:endParaRPr sz="1700" dirty="0">
              <a:solidFill>
                <a:schemeClr val="dk2"/>
              </a:solidFill>
            </a:endParaRPr>
          </a:p>
          <a:p>
            <a:pPr marL="0" lvl="0" indent="0" algn="ctr" rtl="0">
              <a:spcBef>
                <a:spcPts val="0"/>
              </a:spcBef>
              <a:spcAft>
                <a:spcPts val="0"/>
              </a:spcAft>
              <a:buNone/>
            </a:pPr>
            <a:r>
              <a:rPr lang="en" sz="1100" b="1" dirty="0">
                <a:solidFill>
                  <a:srgbClr val="502682"/>
                </a:solidFill>
              </a:rPr>
              <a:t>Founder &amp; Project Lead</a:t>
            </a:r>
            <a:endParaRPr sz="1100" b="1" dirty="0">
              <a:solidFill>
                <a:srgbClr val="502682"/>
              </a:solidFill>
            </a:endParaRPr>
          </a:p>
          <a:p>
            <a:pPr marL="0" lvl="0" indent="0" algn="ctr" rtl="0">
              <a:spcBef>
                <a:spcPts val="0"/>
              </a:spcBef>
              <a:spcAft>
                <a:spcPts val="0"/>
              </a:spcAft>
              <a:buNone/>
            </a:pPr>
            <a:endParaRPr sz="1100" dirty="0">
              <a:solidFill>
                <a:schemeClr val="dk2"/>
              </a:solidFill>
            </a:endParaRPr>
          </a:p>
          <a:p>
            <a:pPr marL="0" lvl="0" indent="0" algn="ctr" rtl="0">
              <a:spcBef>
                <a:spcPts val="0"/>
              </a:spcBef>
              <a:spcAft>
                <a:spcPts val="0"/>
              </a:spcAft>
              <a:buNone/>
            </a:pPr>
            <a:r>
              <a:rPr lang="en" sz="1100" dirty="0">
                <a:solidFill>
                  <a:schemeClr val="dk2"/>
                </a:solidFill>
              </a:rPr>
              <a:t>Ivey HBA</a:t>
            </a:r>
            <a:endParaRPr sz="1100" dirty="0">
              <a:solidFill>
                <a:schemeClr val="dk2"/>
              </a:solidFill>
            </a:endParaRPr>
          </a:p>
          <a:p>
            <a:pPr marL="0" lvl="0" indent="0" algn="ctr" rtl="0">
              <a:spcBef>
                <a:spcPts val="0"/>
              </a:spcBef>
              <a:spcAft>
                <a:spcPts val="0"/>
              </a:spcAft>
              <a:buNone/>
            </a:pPr>
            <a:r>
              <a:rPr lang="en" sz="1100" dirty="0">
                <a:solidFill>
                  <a:schemeClr val="dk2"/>
                </a:solidFill>
              </a:rPr>
              <a:t>Finance</a:t>
            </a:r>
            <a:br>
              <a:rPr lang="en" sz="1100" dirty="0">
                <a:solidFill>
                  <a:schemeClr val="dk2"/>
                </a:solidFill>
              </a:rPr>
            </a:br>
            <a:r>
              <a:rPr lang="en" sz="1100" dirty="0">
                <a:solidFill>
                  <a:schemeClr val="dk2"/>
                </a:solidFill>
                <a:hlinkClick r:id="rId8"/>
              </a:rPr>
              <a:t>LinkedIn</a:t>
            </a:r>
            <a:endParaRPr lang="en-CA" sz="1100" dirty="0">
              <a:solidFill>
                <a:schemeClr val="dk2"/>
              </a:solidFill>
            </a:endParaRPr>
          </a:p>
          <a:p>
            <a:pPr marL="0" lvl="0" indent="0" algn="ctr" rtl="0">
              <a:spcBef>
                <a:spcPts val="0"/>
              </a:spcBef>
              <a:spcAft>
                <a:spcPts val="0"/>
              </a:spcAft>
              <a:buNone/>
            </a:pPr>
            <a:r>
              <a:rPr lang="en-CA" sz="1100" dirty="0">
                <a:solidFill>
                  <a:schemeClr val="dk2"/>
                </a:solidFill>
              </a:rPr>
              <a:t>E: </a:t>
            </a:r>
            <a:r>
              <a:rPr lang="en-CA" sz="1100" dirty="0">
                <a:solidFill>
                  <a:schemeClr val="dk2"/>
                </a:solidFill>
                <a:hlinkClick r:id="rId9"/>
              </a:rPr>
              <a:t>skapoor.hba2025@ivey.ca</a:t>
            </a:r>
            <a:endParaRPr lang="en-CA" sz="1100" dirty="0">
              <a:solidFill>
                <a:schemeClr val="dk2"/>
              </a:solidFill>
            </a:endParaRPr>
          </a:p>
          <a:p>
            <a:pPr marL="0" lvl="0" indent="0" algn="ctr" rtl="0">
              <a:spcBef>
                <a:spcPts val="0"/>
              </a:spcBef>
              <a:spcAft>
                <a:spcPts val="0"/>
              </a:spcAft>
              <a:buNone/>
            </a:pPr>
            <a:endParaRPr sz="1100" dirty="0">
              <a:solidFill>
                <a:schemeClr val="dk2"/>
              </a:solidFill>
            </a:endParaRPr>
          </a:p>
        </p:txBody>
      </p:sp>
      <p:sp>
        <p:nvSpPr>
          <p:cNvPr id="30" name="Google Shape;114;p19">
            <a:extLst>
              <a:ext uri="{FF2B5EF4-FFF2-40B4-BE49-F238E27FC236}">
                <a16:creationId xmlns:a16="http://schemas.microsoft.com/office/drawing/2014/main" id="{4D1DA444-8554-5274-92D3-C04DC46E3D69}"/>
              </a:ext>
            </a:extLst>
          </p:cNvPr>
          <p:cNvSpPr txBox="1"/>
          <p:nvPr/>
        </p:nvSpPr>
        <p:spPr>
          <a:xfrm>
            <a:off x="5941371" y="3377825"/>
            <a:ext cx="2025609" cy="12501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700" dirty="0">
                <a:solidFill>
                  <a:schemeClr val="dk2"/>
                </a:solidFill>
              </a:rPr>
              <a:t>Hannah Mahr</a:t>
            </a:r>
            <a:endParaRPr sz="1700" dirty="0">
              <a:solidFill>
                <a:schemeClr val="dk2"/>
              </a:solidFill>
            </a:endParaRPr>
          </a:p>
          <a:p>
            <a:pPr marL="0" lvl="0" indent="0" algn="ctr" rtl="0">
              <a:spcBef>
                <a:spcPts val="0"/>
              </a:spcBef>
              <a:spcAft>
                <a:spcPts val="0"/>
              </a:spcAft>
              <a:buNone/>
            </a:pPr>
            <a:r>
              <a:rPr lang="en" sz="1100" b="1" dirty="0">
                <a:solidFill>
                  <a:srgbClr val="502682"/>
                </a:solidFill>
              </a:rPr>
              <a:t>Operations Lead</a:t>
            </a:r>
            <a:endParaRPr sz="1100" b="1" dirty="0">
              <a:solidFill>
                <a:srgbClr val="502682"/>
              </a:solidFill>
            </a:endParaRPr>
          </a:p>
          <a:p>
            <a:pPr marL="0" lvl="0" indent="0" algn="ctr" rtl="0">
              <a:spcBef>
                <a:spcPts val="0"/>
              </a:spcBef>
              <a:spcAft>
                <a:spcPts val="0"/>
              </a:spcAft>
              <a:buNone/>
            </a:pPr>
            <a:endParaRPr sz="1100" dirty="0">
              <a:solidFill>
                <a:schemeClr val="dk2"/>
              </a:solidFill>
            </a:endParaRPr>
          </a:p>
          <a:p>
            <a:pPr marL="0" lvl="0" indent="0" algn="ctr" rtl="0">
              <a:spcBef>
                <a:spcPts val="0"/>
              </a:spcBef>
              <a:spcAft>
                <a:spcPts val="0"/>
              </a:spcAft>
              <a:buNone/>
            </a:pPr>
            <a:r>
              <a:rPr lang="en" sz="1100" dirty="0">
                <a:solidFill>
                  <a:schemeClr val="dk2"/>
                </a:solidFill>
              </a:rPr>
              <a:t>Ivey HBA</a:t>
            </a:r>
            <a:endParaRPr sz="1100" dirty="0">
              <a:solidFill>
                <a:schemeClr val="dk2"/>
              </a:solidFill>
            </a:endParaRPr>
          </a:p>
          <a:p>
            <a:pPr marL="0" lvl="0" indent="0" algn="ctr" rtl="0">
              <a:spcBef>
                <a:spcPts val="0"/>
              </a:spcBef>
              <a:spcAft>
                <a:spcPts val="0"/>
              </a:spcAft>
              <a:buNone/>
            </a:pPr>
            <a:r>
              <a:rPr lang="en" sz="1100" dirty="0">
                <a:solidFill>
                  <a:schemeClr val="dk2"/>
                </a:solidFill>
              </a:rPr>
              <a:t>Consulting</a:t>
            </a:r>
          </a:p>
          <a:p>
            <a:pPr marL="0" lvl="0" indent="0" algn="ctr" rtl="0">
              <a:spcBef>
                <a:spcPts val="0"/>
              </a:spcBef>
              <a:spcAft>
                <a:spcPts val="0"/>
              </a:spcAft>
              <a:buNone/>
            </a:pPr>
            <a:r>
              <a:rPr lang="en-CA" sz="1100" dirty="0">
                <a:solidFill>
                  <a:schemeClr val="dk2"/>
                </a:solidFill>
                <a:hlinkClick r:id="rId10"/>
              </a:rPr>
              <a:t>LinkedIn</a:t>
            </a:r>
            <a:endParaRPr lang="en-CA" sz="1100" dirty="0">
              <a:solidFill>
                <a:schemeClr val="dk2"/>
              </a:solidFill>
            </a:endParaRPr>
          </a:p>
          <a:p>
            <a:pPr marL="0" lvl="0" indent="0" algn="ctr" rtl="0">
              <a:spcBef>
                <a:spcPts val="0"/>
              </a:spcBef>
              <a:spcAft>
                <a:spcPts val="0"/>
              </a:spcAft>
              <a:buNone/>
            </a:pPr>
            <a:r>
              <a:rPr lang="en-CA" sz="1100" dirty="0">
                <a:solidFill>
                  <a:schemeClr val="dk2"/>
                </a:solidFill>
              </a:rPr>
              <a:t>E: </a:t>
            </a:r>
            <a:r>
              <a:rPr lang="en-CA" sz="1100" dirty="0">
                <a:solidFill>
                  <a:schemeClr val="dk2"/>
                </a:solidFill>
                <a:hlinkClick r:id="rId11"/>
              </a:rPr>
              <a:t>hmahr.hba2025@ivey.ca</a:t>
            </a:r>
            <a:endParaRPr lang="en-CA" sz="1100" dirty="0">
              <a:solidFill>
                <a:schemeClr val="dk2"/>
              </a:solidFill>
            </a:endParaRPr>
          </a:p>
          <a:p>
            <a:pPr marL="0" lvl="0" indent="0" algn="ctr" rtl="0">
              <a:spcBef>
                <a:spcPts val="0"/>
              </a:spcBef>
              <a:spcAft>
                <a:spcPts val="0"/>
              </a:spcAft>
              <a:buNone/>
            </a:pPr>
            <a:endParaRPr sz="1100" dirty="0">
              <a:solidFill>
                <a:schemeClr val="dk2"/>
              </a:solidFill>
            </a:endParaRPr>
          </a:p>
        </p:txBody>
      </p:sp>
    </p:spTree>
    <p:extLst>
      <p:ext uri="{BB962C8B-B14F-4D97-AF65-F5344CB8AC3E}">
        <p14:creationId xmlns:p14="http://schemas.microsoft.com/office/powerpoint/2010/main" val="1856198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01464579-EB34-D0C0-35B8-EF959B8E47C5}"/>
              </a:ext>
            </a:extLst>
          </p:cNvPr>
          <p:cNvSpPr/>
          <p:nvPr/>
        </p:nvSpPr>
        <p:spPr>
          <a:xfrm>
            <a:off x="532852" y="368391"/>
            <a:ext cx="2769514" cy="773997"/>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Title Slide</a:t>
            </a:r>
          </a:p>
        </p:txBody>
      </p:sp>
      <p:sp>
        <p:nvSpPr>
          <p:cNvPr id="25" name="Google Shape;147;p1">
            <a:extLst>
              <a:ext uri="{FF2B5EF4-FFF2-40B4-BE49-F238E27FC236}">
                <a16:creationId xmlns:a16="http://schemas.microsoft.com/office/drawing/2014/main" id="{635DDDB0-E513-23CE-AD3D-852E121558F5}"/>
              </a:ext>
            </a:extLst>
          </p:cNvPr>
          <p:cNvSpPr txBox="1"/>
          <p:nvPr/>
        </p:nvSpPr>
        <p:spPr>
          <a:xfrm>
            <a:off x="532852" y="4338736"/>
            <a:ext cx="9953200" cy="376400"/>
          </a:xfrm>
          <a:prstGeom prst="rect">
            <a:avLst/>
          </a:prstGeom>
          <a:noFill/>
          <a:ln>
            <a:noFill/>
          </a:ln>
        </p:spPr>
        <p:txBody>
          <a:bodyPr spcFirstLastPara="1" wrap="square" lIns="0" tIns="0" rIns="0" bIns="0" anchor="t" anchorCtr="0">
            <a:noAutofit/>
          </a:bodyPr>
          <a:lstStyle/>
          <a:p>
            <a:r>
              <a:rPr lang="en-US" sz="1800" b="1" dirty="0">
                <a:latin typeface="Helvetica Neue"/>
              </a:rPr>
              <a:t>Thank you!</a:t>
            </a:r>
          </a:p>
        </p:txBody>
      </p:sp>
      <p:sp>
        <p:nvSpPr>
          <p:cNvPr id="26" name="Google Shape;148;p1">
            <a:extLst>
              <a:ext uri="{FF2B5EF4-FFF2-40B4-BE49-F238E27FC236}">
                <a16:creationId xmlns:a16="http://schemas.microsoft.com/office/drawing/2014/main" id="{B2D9B1AB-0579-88A3-04D6-3DD2F6BD7F8A}"/>
              </a:ext>
            </a:extLst>
          </p:cNvPr>
          <p:cNvSpPr/>
          <p:nvPr/>
        </p:nvSpPr>
        <p:spPr>
          <a:xfrm>
            <a:off x="305652"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9953200" cy="376400"/>
          </a:xfrm>
          <a:prstGeom prst="rect">
            <a:avLst/>
          </a:prstGeom>
          <a:noFill/>
          <a:ln>
            <a:noFill/>
          </a:ln>
        </p:spPr>
        <p:txBody>
          <a:bodyPr spcFirstLastPara="1" wrap="square" lIns="0" tIns="0" rIns="0" bIns="0" anchor="t" anchorCtr="0">
            <a:noAutofit/>
          </a:bodyPr>
          <a:lstStyle/>
          <a:p>
            <a:r>
              <a:rPr lang="en-US" dirty="0">
                <a:latin typeface="Helvetica Neue Light"/>
                <a:ea typeface="+mn-lt"/>
                <a:cs typeface="+mn-lt"/>
                <a:sym typeface="Helvetica Neue Light"/>
              </a:rPr>
              <a:t>Questions, next step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srcRect b="18834"/>
          <a:stretch/>
        </p:blipFill>
        <p:spPr>
          <a:xfrm>
            <a:off x="0" y="0"/>
            <a:ext cx="9144000" cy="4174761"/>
          </a:xfrm>
          <a:prstGeom prst="rect">
            <a:avLst/>
          </a:prstGeom>
        </p:spPr>
      </p:pic>
    </p:spTree>
    <p:extLst>
      <p:ext uri="{BB962C8B-B14F-4D97-AF65-F5344CB8AC3E}">
        <p14:creationId xmlns:p14="http://schemas.microsoft.com/office/powerpoint/2010/main" val="1850369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25" name="Google Shape;147;p1">
            <a:extLst>
              <a:ext uri="{FF2B5EF4-FFF2-40B4-BE49-F238E27FC236}">
                <a16:creationId xmlns:a16="http://schemas.microsoft.com/office/drawing/2014/main" id="{635DDDB0-E513-23CE-AD3D-852E121558F5}"/>
              </a:ext>
            </a:extLst>
          </p:cNvPr>
          <p:cNvSpPr txBox="1"/>
          <p:nvPr/>
        </p:nvSpPr>
        <p:spPr>
          <a:xfrm>
            <a:off x="532853" y="4338736"/>
            <a:ext cx="8078296" cy="376400"/>
          </a:xfrm>
          <a:prstGeom prst="rect">
            <a:avLst/>
          </a:prstGeom>
          <a:noFill/>
          <a:ln>
            <a:noFill/>
          </a:ln>
        </p:spPr>
        <p:txBody>
          <a:bodyPr spcFirstLastPara="1" wrap="square" lIns="0" tIns="0" rIns="0" bIns="0" anchor="t" anchorCtr="0">
            <a:noAutofit/>
          </a:bodyPr>
          <a:lstStyle/>
          <a:p>
            <a:pPr algn="r"/>
            <a:r>
              <a:rPr lang="en-US" sz="1800" b="1" dirty="0">
                <a:latin typeface="Helvetica Neue"/>
              </a:rPr>
              <a:t>Section IV: Technology Exhibits</a:t>
            </a:r>
          </a:p>
        </p:txBody>
      </p:sp>
      <p:sp>
        <p:nvSpPr>
          <p:cNvPr id="26" name="Google Shape;148;p1">
            <a:extLst>
              <a:ext uri="{FF2B5EF4-FFF2-40B4-BE49-F238E27FC236}">
                <a16:creationId xmlns:a16="http://schemas.microsoft.com/office/drawing/2014/main" id="{B2D9B1AB-0579-88A3-04D6-3DD2F6BD7F8A}"/>
              </a:ext>
            </a:extLst>
          </p:cNvPr>
          <p:cNvSpPr/>
          <p:nvPr/>
        </p:nvSpPr>
        <p:spPr>
          <a:xfrm>
            <a:off x="8762080"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8078295" cy="376400"/>
          </a:xfrm>
          <a:prstGeom prst="rect">
            <a:avLst/>
          </a:prstGeom>
          <a:noFill/>
          <a:ln>
            <a:noFill/>
          </a:ln>
        </p:spPr>
        <p:txBody>
          <a:bodyPr spcFirstLastPara="1" wrap="square" lIns="0" tIns="0" rIns="0" bIns="0" anchor="t" anchorCtr="0">
            <a:noAutofit/>
          </a:bodyPr>
          <a:lstStyle/>
          <a:p>
            <a:pPr algn="r"/>
            <a:r>
              <a:rPr lang="en-US" dirty="0">
                <a:latin typeface="Helvetica Neue Light"/>
                <a:ea typeface="+mn-lt"/>
                <a:cs typeface="+mn-lt"/>
                <a:sym typeface="Helvetica Neue Light"/>
              </a:rPr>
              <a:t>Click here to return to the Table of Content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alphaModFix amt="55000"/>
          </a:blip>
          <a:srcRect b="18834"/>
          <a:stretch/>
        </p:blipFill>
        <p:spPr>
          <a:xfrm>
            <a:off x="-1" y="0"/>
            <a:ext cx="9144000" cy="4174761"/>
          </a:xfrm>
          <a:prstGeom prst="rect">
            <a:avLst/>
          </a:prstGeom>
        </p:spPr>
      </p:pic>
    </p:spTree>
    <p:extLst>
      <p:ext uri="{BB962C8B-B14F-4D97-AF65-F5344CB8AC3E}">
        <p14:creationId xmlns:p14="http://schemas.microsoft.com/office/powerpoint/2010/main" val="2195311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25" name="Google Shape;147;p1">
            <a:extLst>
              <a:ext uri="{FF2B5EF4-FFF2-40B4-BE49-F238E27FC236}">
                <a16:creationId xmlns:a16="http://schemas.microsoft.com/office/drawing/2014/main" id="{635DDDB0-E513-23CE-AD3D-852E121558F5}"/>
              </a:ext>
            </a:extLst>
          </p:cNvPr>
          <p:cNvSpPr txBox="1"/>
          <p:nvPr/>
        </p:nvSpPr>
        <p:spPr>
          <a:xfrm>
            <a:off x="532853" y="4338736"/>
            <a:ext cx="8078296" cy="376400"/>
          </a:xfrm>
          <a:prstGeom prst="rect">
            <a:avLst/>
          </a:prstGeom>
          <a:noFill/>
          <a:ln>
            <a:noFill/>
          </a:ln>
        </p:spPr>
        <p:txBody>
          <a:bodyPr spcFirstLastPara="1" wrap="square" lIns="0" tIns="0" rIns="0" bIns="0" anchor="t" anchorCtr="0">
            <a:noAutofit/>
          </a:bodyPr>
          <a:lstStyle/>
          <a:p>
            <a:pPr algn="r"/>
            <a:r>
              <a:rPr lang="en-US" sz="1800" b="1" dirty="0">
                <a:latin typeface="Helvetica Neue"/>
              </a:rPr>
              <a:t>Section III: Technical Components and Integrations</a:t>
            </a:r>
          </a:p>
        </p:txBody>
      </p:sp>
      <p:sp>
        <p:nvSpPr>
          <p:cNvPr id="26" name="Google Shape;148;p1">
            <a:extLst>
              <a:ext uri="{FF2B5EF4-FFF2-40B4-BE49-F238E27FC236}">
                <a16:creationId xmlns:a16="http://schemas.microsoft.com/office/drawing/2014/main" id="{B2D9B1AB-0579-88A3-04D6-3DD2F6BD7F8A}"/>
              </a:ext>
            </a:extLst>
          </p:cNvPr>
          <p:cNvSpPr/>
          <p:nvPr/>
        </p:nvSpPr>
        <p:spPr>
          <a:xfrm>
            <a:off x="8762080"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8078295" cy="376400"/>
          </a:xfrm>
          <a:prstGeom prst="rect">
            <a:avLst/>
          </a:prstGeom>
          <a:noFill/>
          <a:ln>
            <a:noFill/>
          </a:ln>
        </p:spPr>
        <p:txBody>
          <a:bodyPr spcFirstLastPara="1" wrap="square" lIns="0" tIns="0" rIns="0" bIns="0" anchor="t" anchorCtr="0">
            <a:noAutofit/>
          </a:bodyPr>
          <a:lstStyle/>
          <a:p>
            <a:pPr algn="r"/>
            <a:r>
              <a:rPr lang="en-US" dirty="0">
                <a:latin typeface="Helvetica Neue Light"/>
                <a:ea typeface="+mn-lt"/>
                <a:cs typeface="+mn-lt"/>
                <a:sym typeface="Helvetica Neue Light"/>
              </a:rPr>
              <a:t>Click here to return to the Table of Content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alphaModFix amt="55000"/>
          </a:blip>
          <a:srcRect b="18834"/>
          <a:stretch/>
        </p:blipFill>
        <p:spPr>
          <a:xfrm>
            <a:off x="-1" y="0"/>
            <a:ext cx="9144000" cy="4174761"/>
          </a:xfrm>
          <a:prstGeom prst="rect">
            <a:avLst/>
          </a:prstGeom>
        </p:spPr>
      </p:pic>
    </p:spTree>
    <p:extLst>
      <p:ext uri="{BB962C8B-B14F-4D97-AF65-F5344CB8AC3E}">
        <p14:creationId xmlns:p14="http://schemas.microsoft.com/office/powerpoint/2010/main" val="13079869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25" name="Google Shape;147;p1">
            <a:extLst>
              <a:ext uri="{FF2B5EF4-FFF2-40B4-BE49-F238E27FC236}">
                <a16:creationId xmlns:a16="http://schemas.microsoft.com/office/drawing/2014/main" id="{635DDDB0-E513-23CE-AD3D-852E121558F5}"/>
              </a:ext>
            </a:extLst>
          </p:cNvPr>
          <p:cNvSpPr txBox="1"/>
          <p:nvPr/>
        </p:nvSpPr>
        <p:spPr>
          <a:xfrm>
            <a:off x="532853" y="4338736"/>
            <a:ext cx="8078296" cy="376400"/>
          </a:xfrm>
          <a:prstGeom prst="rect">
            <a:avLst/>
          </a:prstGeom>
          <a:noFill/>
          <a:ln>
            <a:noFill/>
          </a:ln>
        </p:spPr>
        <p:txBody>
          <a:bodyPr spcFirstLastPara="1" wrap="square" lIns="0" tIns="0" rIns="0" bIns="0" anchor="t" anchorCtr="0">
            <a:noAutofit/>
          </a:bodyPr>
          <a:lstStyle/>
          <a:p>
            <a:pPr algn="r"/>
            <a:r>
              <a:rPr lang="en-US" sz="1800" b="1" dirty="0">
                <a:latin typeface="Helvetica Neue"/>
              </a:rPr>
              <a:t>Section IV: Key Performance Indicators</a:t>
            </a:r>
          </a:p>
        </p:txBody>
      </p:sp>
      <p:sp>
        <p:nvSpPr>
          <p:cNvPr id="26" name="Google Shape;148;p1">
            <a:extLst>
              <a:ext uri="{FF2B5EF4-FFF2-40B4-BE49-F238E27FC236}">
                <a16:creationId xmlns:a16="http://schemas.microsoft.com/office/drawing/2014/main" id="{B2D9B1AB-0579-88A3-04D6-3DD2F6BD7F8A}"/>
              </a:ext>
            </a:extLst>
          </p:cNvPr>
          <p:cNvSpPr/>
          <p:nvPr/>
        </p:nvSpPr>
        <p:spPr>
          <a:xfrm>
            <a:off x="8762080"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8078295" cy="376400"/>
          </a:xfrm>
          <a:prstGeom prst="rect">
            <a:avLst/>
          </a:prstGeom>
          <a:noFill/>
          <a:ln>
            <a:noFill/>
          </a:ln>
        </p:spPr>
        <p:txBody>
          <a:bodyPr spcFirstLastPara="1" wrap="square" lIns="0" tIns="0" rIns="0" bIns="0" anchor="t" anchorCtr="0">
            <a:noAutofit/>
          </a:bodyPr>
          <a:lstStyle/>
          <a:p>
            <a:pPr algn="r"/>
            <a:r>
              <a:rPr lang="en-US" dirty="0">
                <a:latin typeface="Helvetica Neue Light"/>
                <a:ea typeface="+mn-lt"/>
                <a:cs typeface="+mn-lt"/>
                <a:sym typeface="Helvetica Neue Light"/>
              </a:rPr>
              <a:t>Click here to return to the Table of Content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alphaModFix amt="55000"/>
          </a:blip>
          <a:srcRect b="18834"/>
          <a:stretch/>
        </p:blipFill>
        <p:spPr>
          <a:xfrm>
            <a:off x="-1" y="0"/>
            <a:ext cx="9144000" cy="4174761"/>
          </a:xfrm>
          <a:prstGeom prst="rect">
            <a:avLst/>
          </a:prstGeom>
        </p:spPr>
      </p:pic>
    </p:spTree>
    <p:extLst>
      <p:ext uri="{BB962C8B-B14F-4D97-AF65-F5344CB8AC3E}">
        <p14:creationId xmlns:p14="http://schemas.microsoft.com/office/powerpoint/2010/main" val="2740900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4">
          <a:extLst>
            <a:ext uri="{FF2B5EF4-FFF2-40B4-BE49-F238E27FC236}">
              <a16:creationId xmlns:a16="http://schemas.microsoft.com/office/drawing/2014/main" id="{F0D9F47C-79A0-0A4E-6844-1A69C25168B2}"/>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AAD0BF89-BEF6-9D91-8DE9-87609E9E9B21}"/>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a:ea typeface="Helvetica Neue"/>
                <a:cs typeface="Helvetica Neue"/>
                <a:sym typeface="Helvetica Neue"/>
              </a:rPr>
              <a:t>Table of Contents</a:t>
            </a:r>
            <a:endParaRPr sz="1800" b="1" dirty="0">
              <a:latin typeface="Helvetica Neue"/>
              <a:ea typeface="Helvetica Neue"/>
              <a:cs typeface="Helvetica Neue"/>
              <a:sym typeface="Helvetica Neue"/>
            </a:endParaRPr>
          </a:p>
        </p:txBody>
      </p:sp>
      <p:sp>
        <p:nvSpPr>
          <p:cNvPr id="9" name="Google Shape;98;p15">
            <a:extLst>
              <a:ext uri="{FF2B5EF4-FFF2-40B4-BE49-F238E27FC236}">
                <a16:creationId xmlns:a16="http://schemas.microsoft.com/office/drawing/2014/main" id="{5F433FD3-A0C8-78CB-5CD1-6B2A1F912B7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Walkthrough</a:t>
            </a:r>
          </a:p>
        </p:txBody>
      </p:sp>
      <p:sp>
        <p:nvSpPr>
          <p:cNvPr id="16" name="Google Shape;99;p15">
            <a:extLst>
              <a:ext uri="{FF2B5EF4-FFF2-40B4-BE49-F238E27FC236}">
                <a16:creationId xmlns:a16="http://schemas.microsoft.com/office/drawing/2014/main" id="{94875446-B3B9-B917-6D3C-39B30FB8B6E4}"/>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Box 2">
            <a:extLst>
              <a:ext uri="{FF2B5EF4-FFF2-40B4-BE49-F238E27FC236}">
                <a16:creationId xmlns:a16="http://schemas.microsoft.com/office/drawing/2014/main" id="{D1AE9145-D3E6-BD88-E1A5-9F34ADE0C0D6}"/>
              </a:ext>
            </a:extLst>
          </p:cNvPr>
          <p:cNvSpPr txBox="1"/>
          <p:nvPr/>
        </p:nvSpPr>
        <p:spPr>
          <a:xfrm>
            <a:off x="592650" y="1079292"/>
            <a:ext cx="8011704" cy="1323439"/>
          </a:xfrm>
          <a:prstGeom prst="rect">
            <a:avLst/>
          </a:prstGeom>
          <a:noFill/>
        </p:spPr>
        <p:txBody>
          <a:bodyPr wrap="square" rtlCol="0">
            <a:spAutoFit/>
          </a:bodyPr>
          <a:lstStyle/>
          <a:p>
            <a:pPr marL="342900" indent="-342900" rtl="0">
              <a:spcBef>
                <a:spcPts val="0"/>
              </a:spcBef>
              <a:spcAft>
                <a:spcPts val="0"/>
              </a:spcAft>
              <a:buFont typeface="+mj-lt"/>
              <a:buAutoNum type="arabicPeriod"/>
            </a:pPr>
            <a:r>
              <a:rPr lang="en-CA" sz="1600" dirty="0"/>
              <a:t>Project Introduction</a:t>
            </a:r>
            <a:br>
              <a:rPr lang="en-CA" sz="1600" dirty="0"/>
            </a:br>
            <a:endParaRPr lang="en-CA" sz="1600" dirty="0"/>
          </a:p>
          <a:p>
            <a:pPr marL="342900" indent="-342900" rtl="0">
              <a:spcBef>
                <a:spcPts val="0"/>
              </a:spcBef>
              <a:spcAft>
                <a:spcPts val="0"/>
              </a:spcAft>
              <a:buFont typeface="+mj-lt"/>
              <a:buAutoNum type="arabicPeriod"/>
            </a:pPr>
            <a:r>
              <a:rPr lang="en-CA" sz="1600" dirty="0"/>
              <a:t>System Analysis</a:t>
            </a:r>
            <a:br>
              <a:rPr lang="en-CA" sz="1600" dirty="0"/>
            </a:br>
            <a:endParaRPr lang="en-CA" sz="1600" dirty="0"/>
          </a:p>
          <a:p>
            <a:pPr marL="342900" indent="-342900" rtl="0">
              <a:spcBef>
                <a:spcPts val="0"/>
              </a:spcBef>
              <a:spcAft>
                <a:spcPts val="0"/>
              </a:spcAft>
              <a:buFont typeface="+mj-lt"/>
              <a:buAutoNum type="arabicPeriod"/>
            </a:pPr>
            <a:r>
              <a:rPr lang="en-CA" sz="1600" dirty="0"/>
              <a:t>Partnering Together</a:t>
            </a:r>
          </a:p>
        </p:txBody>
      </p:sp>
    </p:spTree>
    <p:extLst>
      <p:ext uri="{BB962C8B-B14F-4D97-AF65-F5344CB8AC3E}">
        <p14:creationId xmlns:p14="http://schemas.microsoft.com/office/powerpoint/2010/main" val="39498447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568E0E5F-2C65-0157-0589-673920E2C1C8}"/>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4D8CBD2C-D861-BDBC-BC11-54DF44EAB4ED}"/>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Defining the Problem</a:t>
            </a:r>
          </a:p>
        </p:txBody>
      </p:sp>
      <p:sp>
        <p:nvSpPr>
          <p:cNvPr id="9" name="Google Shape;98;p15">
            <a:extLst>
              <a:ext uri="{FF2B5EF4-FFF2-40B4-BE49-F238E27FC236}">
                <a16:creationId xmlns:a16="http://schemas.microsoft.com/office/drawing/2014/main" id="{796AE6FD-F773-C1A2-37BA-DC321CC33E7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Primary assumptions guiding my analysis</a:t>
            </a:r>
          </a:p>
        </p:txBody>
      </p:sp>
      <p:sp>
        <p:nvSpPr>
          <p:cNvPr id="16" name="Google Shape;99;p15">
            <a:extLst>
              <a:ext uri="{FF2B5EF4-FFF2-40B4-BE49-F238E27FC236}">
                <a16:creationId xmlns:a16="http://schemas.microsoft.com/office/drawing/2014/main" id="{24BB9CF4-8EF6-3FA1-BE40-0A27A9D049A5}"/>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 name="Rectangle 1">
            <a:extLst>
              <a:ext uri="{FF2B5EF4-FFF2-40B4-BE49-F238E27FC236}">
                <a16:creationId xmlns:a16="http://schemas.microsoft.com/office/drawing/2014/main" id="{72DA57A5-8F55-0D56-E4E6-25A08D2A4373}"/>
              </a:ext>
            </a:extLst>
          </p:cNvPr>
          <p:cNvSpPr/>
          <p:nvPr/>
        </p:nvSpPr>
        <p:spPr>
          <a:xfrm>
            <a:off x="-1004323" y="5512141"/>
            <a:ext cx="4229921" cy="28195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en-CA">
                <a:solidFill>
                  <a:schemeClr val="tx1"/>
                </a:solidFill>
              </a:rPr>
              <a:t>“Feasibly open” - Assume present day conditions do not change (competitors do not aggressively expand with you, demographic information is constant, going concern principle)</a:t>
            </a:r>
          </a:p>
          <a:p>
            <a:pPr marL="342900" indent="-342900" algn="ctr">
              <a:buAutoNum type="arabicPeriod"/>
            </a:pPr>
            <a:r>
              <a:rPr lang="en-CA">
                <a:solidFill>
                  <a:schemeClr val="tx1"/>
                </a:solidFill>
              </a:rPr>
              <a:t>“Maximum Starbucks Stores” – not going to differentiate between different types of stores, kiosk vs mall vs simple brick and mortar, impossible to aggregate that kind of data</a:t>
            </a:r>
          </a:p>
          <a:p>
            <a:pPr marL="342900" indent="-342900" algn="ctr">
              <a:buAutoNum type="arabicPeriod"/>
            </a:pPr>
            <a:r>
              <a:rPr lang="en-CA">
                <a:solidFill>
                  <a:schemeClr val="tx1"/>
                </a:solidFill>
              </a:rPr>
              <a:t>Ideally a third assumption in defining the problem</a:t>
            </a:r>
          </a:p>
        </p:txBody>
      </p:sp>
      <p:sp>
        <p:nvSpPr>
          <p:cNvPr id="17" name="Google Shape;194;p25">
            <a:extLst>
              <a:ext uri="{FF2B5EF4-FFF2-40B4-BE49-F238E27FC236}">
                <a16:creationId xmlns:a16="http://schemas.microsoft.com/office/drawing/2014/main" id="{8A2861A9-272D-9B63-482D-FB1B79BD27DD}"/>
              </a:ext>
            </a:extLst>
          </p:cNvPr>
          <p:cNvSpPr/>
          <p:nvPr/>
        </p:nvSpPr>
        <p:spPr>
          <a:xfrm>
            <a:off x="287577" y="2521323"/>
            <a:ext cx="2691076" cy="2228016"/>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216000" tIns="0" rIns="216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endPar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Competitors maintain their expansion rate without rapidly growing at Starbucks’ rate</a:t>
            </a: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emographic information regarding the United States remains constant</a:t>
            </a: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tarbucks will continue its operations for the foreseeable future despite the new stores</a:t>
            </a:r>
          </a:p>
        </p:txBody>
      </p:sp>
      <p:sp>
        <p:nvSpPr>
          <p:cNvPr id="18" name="Rectangle 17">
            <a:extLst>
              <a:ext uri="{FF2B5EF4-FFF2-40B4-BE49-F238E27FC236}">
                <a16:creationId xmlns:a16="http://schemas.microsoft.com/office/drawing/2014/main" id="{122F53CC-86C8-6881-1206-1472CEE33AA4}"/>
              </a:ext>
            </a:extLst>
          </p:cNvPr>
          <p:cNvSpPr/>
          <p:nvPr/>
        </p:nvSpPr>
        <p:spPr>
          <a:xfrm>
            <a:off x="286713" y="2011146"/>
            <a:ext cx="2692804" cy="545900"/>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Feasibility</a:t>
            </a:r>
            <a:endParaRPr lang="en-US"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5" name="Picture 2">
            <a:extLst>
              <a:ext uri="{FF2B5EF4-FFF2-40B4-BE49-F238E27FC236}">
                <a16:creationId xmlns:a16="http://schemas.microsoft.com/office/drawing/2014/main" id="{0306317F-B60A-2DB4-9140-8F51677C7FFA}"/>
              </a:ext>
            </a:extLst>
          </p:cNvPr>
          <p:cNvPicPr>
            <a:picLocks noChangeAspect="1" noChangeArrowheads="1"/>
          </p:cNvPicPr>
          <p:nvPr/>
        </p:nvPicPr>
        <p:blipFill>
          <a:blip r:embed="rId3"/>
          <a:srcRect/>
          <a:stretch/>
        </p:blipFill>
        <p:spPr bwMode="auto">
          <a:xfrm>
            <a:off x="1111115" y="904213"/>
            <a:ext cx="890033" cy="89003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a:extLst>
              <a:ext uri="{FF2B5EF4-FFF2-40B4-BE49-F238E27FC236}">
                <a16:creationId xmlns:a16="http://schemas.microsoft.com/office/drawing/2014/main" id="{28204212-7546-5F25-57D4-55A67F56CFE4}"/>
              </a:ext>
            </a:extLst>
          </p:cNvPr>
          <p:cNvPicPr>
            <a:picLocks noChangeAspect="1" noChangeArrowheads="1"/>
          </p:cNvPicPr>
          <p:nvPr/>
        </p:nvPicPr>
        <p:blipFill>
          <a:blip r:embed="rId4"/>
          <a:srcRect/>
          <a:stretch/>
        </p:blipFill>
        <p:spPr bwMode="auto">
          <a:xfrm>
            <a:off x="4088491" y="940150"/>
            <a:ext cx="890034" cy="890034"/>
          </a:xfrm>
          <a:prstGeom prst="rect">
            <a:avLst/>
          </a:prstGeom>
          <a:noFill/>
          <a:extLst>
            <a:ext uri="{909E8E84-426E-40DD-AFC4-6F175D3DCCD1}">
              <a14:hiddenFill xmlns:a14="http://schemas.microsoft.com/office/drawing/2010/main">
                <a:solidFill>
                  <a:srgbClr val="FFFFFF"/>
                </a:solidFill>
              </a14:hiddenFill>
            </a:ext>
          </a:extLst>
        </p:spPr>
      </p:pic>
      <p:sp>
        <p:nvSpPr>
          <p:cNvPr id="34" name="Google Shape;194;p25">
            <a:extLst>
              <a:ext uri="{FF2B5EF4-FFF2-40B4-BE49-F238E27FC236}">
                <a16:creationId xmlns:a16="http://schemas.microsoft.com/office/drawing/2014/main" id="{730A310A-D0CE-96CE-9C0E-64D456D2887B}"/>
              </a:ext>
            </a:extLst>
          </p:cNvPr>
          <p:cNvSpPr/>
          <p:nvPr/>
        </p:nvSpPr>
        <p:spPr>
          <a:xfrm>
            <a:off x="3226462" y="2521324"/>
            <a:ext cx="2691076" cy="2228015"/>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180000" tIns="0" rIns="180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endPar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Kiosks, malls, brick and mortars will not be differentiated, we will consider a holistic Starbucks store</a:t>
            </a: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ifficult because of the inability to find the volume / size of each individual store, however, it will impact the feasibility of aggressive expansion</a:t>
            </a:r>
          </a:p>
        </p:txBody>
      </p:sp>
      <p:sp>
        <p:nvSpPr>
          <p:cNvPr id="35" name="Rectangle 34">
            <a:extLst>
              <a:ext uri="{FF2B5EF4-FFF2-40B4-BE49-F238E27FC236}">
                <a16:creationId xmlns:a16="http://schemas.microsoft.com/office/drawing/2014/main" id="{73E5F735-5A3B-109C-7A30-6DAC24102950}"/>
              </a:ext>
            </a:extLst>
          </p:cNvPr>
          <p:cNvSpPr/>
          <p:nvPr/>
        </p:nvSpPr>
        <p:spPr>
          <a:xfrm>
            <a:off x="3225598" y="2011146"/>
            <a:ext cx="2692804" cy="545900"/>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Stores</a:t>
            </a:r>
            <a:endParaRPr lang="en-US"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26" name="Picture 10" descr="Megaphone - Free marketing icons">
            <a:extLst>
              <a:ext uri="{FF2B5EF4-FFF2-40B4-BE49-F238E27FC236}">
                <a16:creationId xmlns:a16="http://schemas.microsoft.com/office/drawing/2014/main" id="{C26BEC59-9006-8B44-B119-6261696718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65869" y="922143"/>
            <a:ext cx="890034" cy="8900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94;p25">
            <a:extLst>
              <a:ext uri="{FF2B5EF4-FFF2-40B4-BE49-F238E27FC236}">
                <a16:creationId xmlns:a16="http://schemas.microsoft.com/office/drawing/2014/main" id="{7EB90D71-A9BE-9749-BDAF-E3998BC59E6E}"/>
              </a:ext>
            </a:extLst>
          </p:cNvPr>
          <p:cNvSpPr/>
          <p:nvPr/>
        </p:nvSpPr>
        <p:spPr>
          <a:xfrm>
            <a:off x="6165348" y="2521325"/>
            <a:ext cx="2691076" cy="2228014"/>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180000" tIns="0" rIns="180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endPar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tarbuck’s strong brand loyalty and ability to draw in new customers assumes demand is maximized as a function of demographic information</a:t>
            </a:r>
          </a:p>
          <a:p>
            <a:pPr marL="285750"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emand increase on similar competitor products will not be considered, though it might be a factor to consider</a:t>
            </a:r>
          </a:p>
        </p:txBody>
      </p:sp>
      <p:sp>
        <p:nvSpPr>
          <p:cNvPr id="38" name="Rectangle 37">
            <a:extLst>
              <a:ext uri="{FF2B5EF4-FFF2-40B4-BE49-F238E27FC236}">
                <a16:creationId xmlns:a16="http://schemas.microsoft.com/office/drawing/2014/main" id="{F70C0DBC-9069-EE9B-6BD9-DE1C8F575B16}"/>
              </a:ext>
            </a:extLst>
          </p:cNvPr>
          <p:cNvSpPr/>
          <p:nvPr/>
        </p:nvSpPr>
        <p:spPr>
          <a:xfrm>
            <a:off x="6164484" y="2011146"/>
            <a:ext cx="2692804" cy="545900"/>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Induced Demand</a:t>
            </a:r>
            <a:endParaRPr lang="en-US"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9827677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267AF036-BF60-1A99-A9AD-A780C9448396}"/>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55F2F01C-6C17-01C9-B13F-084F93FA0B4F}"/>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Descriptive Analytics of Case Dataset</a:t>
            </a:r>
          </a:p>
        </p:txBody>
      </p:sp>
      <p:sp>
        <p:nvSpPr>
          <p:cNvPr id="9" name="Google Shape;98;p15">
            <a:extLst>
              <a:ext uri="{FF2B5EF4-FFF2-40B4-BE49-F238E27FC236}">
                <a16:creationId xmlns:a16="http://schemas.microsoft.com/office/drawing/2014/main" id="{E4521757-1D75-90D7-4EFA-83513F3424C2}"/>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Starbucks partially mirrors population distribution in the US</a:t>
            </a:r>
          </a:p>
        </p:txBody>
      </p:sp>
      <p:sp>
        <p:nvSpPr>
          <p:cNvPr id="16" name="Google Shape;99;p15">
            <a:extLst>
              <a:ext uri="{FF2B5EF4-FFF2-40B4-BE49-F238E27FC236}">
                <a16:creationId xmlns:a16="http://schemas.microsoft.com/office/drawing/2014/main" id="{E9F8004A-CE56-6335-0E3E-76DF1856E75B}"/>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026" name="Picture 2" descr="The United States of Starbucks | The Business of Business">
            <a:extLst>
              <a:ext uri="{FF2B5EF4-FFF2-40B4-BE49-F238E27FC236}">
                <a16:creationId xmlns:a16="http://schemas.microsoft.com/office/drawing/2014/main" id="{523B4AD6-84F4-D31B-D4C9-5F8CD79FE778}"/>
              </a:ext>
            </a:extLst>
          </p:cNvPr>
          <p:cNvPicPr>
            <a:picLocks noChangeArrowheads="1"/>
          </p:cNvPicPr>
          <p:nvPr/>
        </p:nvPicPr>
        <p:blipFill rotWithShape="1">
          <a:blip r:embed="rId3">
            <a:extLst>
              <a:ext uri="{28A0092B-C50C-407E-A947-70E740481C1C}">
                <a14:useLocalDpi xmlns:a14="http://schemas.microsoft.com/office/drawing/2010/main" val="0"/>
              </a:ext>
            </a:extLst>
          </a:blip>
          <a:srcRect b="5086"/>
          <a:stretch/>
        </p:blipFill>
        <p:spPr bwMode="auto">
          <a:xfrm>
            <a:off x="457499" y="790383"/>
            <a:ext cx="3752191" cy="19279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87DAD8E2-E760-BC63-F79C-07E64AF00A97}"/>
              </a:ext>
            </a:extLst>
          </p:cNvPr>
          <p:cNvPicPr>
            <a:picLocks noChangeArrowheads="1"/>
          </p:cNvPicPr>
          <p:nvPr/>
        </p:nvPicPr>
        <p:blipFill rotWithShape="1">
          <a:blip r:embed="rId4">
            <a:extLst>
              <a:ext uri="{28A0092B-C50C-407E-A947-70E740481C1C}">
                <a14:useLocalDpi xmlns:a14="http://schemas.microsoft.com/office/drawing/2010/main" val="0"/>
              </a:ext>
            </a:extLst>
          </a:blip>
          <a:srcRect l="4077" t="28209" r="2863" b="18946"/>
          <a:stretch/>
        </p:blipFill>
        <p:spPr bwMode="auto">
          <a:xfrm>
            <a:off x="457499" y="2947165"/>
            <a:ext cx="3752191" cy="185274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13051F7-DFD4-72D9-A12C-63D9588EFE74}"/>
              </a:ext>
            </a:extLst>
          </p:cNvPr>
          <p:cNvSpPr txBox="1"/>
          <p:nvPr/>
        </p:nvSpPr>
        <p:spPr>
          <a:xfrm>
            <a:off x="369700" y="2686780"/>
            <a:ext cx="2586590" cy="261610"/>
          </a:xfrm>
          <a:prstGeom prst="rect">
            <a:avLst/>
          </a:prstGeom>
          <a:noFill/>
        </p:spPr>
        <p:txBody>
          <a:bodyPr wrap="square">
            <a:spAutoFit/>
          </a:bodyPr>
          <a:lstStyle/>
          <a:p>
            <a:r>
              <a:rPr lang="en-US" sz="1050" i="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tarbucks Locations - 2018</a:t>
            </a:r>
          </a:p>
        </p:txBody>
      </p:sp>
      <p:sp>
        <p:nvSpPr>
          <p:cNvPr id="7" name="TextBox 6">
            <a:extLst>
              <a:ext uri="{FF2B5EF4-FFF2-40B4-BE49-F238E27FC236}">
                <a16:creationId xmlns:a16="http://schemas.microsoft.com/office/drawing/2014/main" id="{C9CF96F5-B546-ECAD-7533-2E467490298E}"/>
              </a:ext>
            </a:extLst>
          </p:cNvPr>
          <p:cNvSpPr txBox="1"/>
          <p:nvPr/>
        </p:nvSpPr>
        <p:spPr>
          <a:xfrm>
            <a:off x="369700" y="4783954"/>
            <a:ext cx="3692634" cy="253916"/>
          </a:xfrm>
          <a:prstGeom prst="rect">
            <a:avLst/>
          </a:prstGeom>
          <a:noFill/>
        </p:spPr>
        <p:txBody>
          <a:bodyPr wrap="square">
            <a:spAutoFit/>
          </a:bodyPr>
          <a:lstStyle/>
          <a:p>
            <a:r>
              <a:rPr lang="en-US" sz="1050" i="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North American Population Density - 2018</a:t>
            </a:r>
          </a:p>
        </p:txBody>
      </p:sp>
      <p:sp>
        <p:nvSpPr>
          <p:cNvPr id="11" name="Google Shape;459;p36">
            <a:extLst>
              <a:ext uri="{FF2B5EF4-FFF2-40B4-BE49-F238E27FC236}">
                <a16:creationId xmlns:a16="http://schemas.microsoft.com/office/drawing/2014/main" id="{C817BE99-88B7-ACE0-306E-E811051AC763}"/>
              </a:ext>
            </a:extLst>
          </p:cNvPr>
          <p:cNvSpPr/>
          <p:nvPr/>
        </p:nvSpPr>
        <p:spPr>
          <a:xfrm>
            <a:off x="4632288" y="790383"/>
            <a:ext cx="4010685" cy="457722"/>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arbucks and Population Density</a:t>
            </a:r>
          </a:p>
        </p:txBody>
      </p:sp>
      <p:sp>
        <p:nvSpPr>
          <p:cNvPr id="13" name="Google Shape;466;p36">
            <a:extLst>
              <a:ext uri="{FF2B5EF4-FFF2-40B4-BE49-F238E27FC236}">
                <a16:creationId xmlns:a16="http://schemas.microsoft.com/office/drawing/2014/main" id="{4E13ED87-872A-AC20-DA49-D4E58B3B888A}"/>
              </a:ext>
            </a:extLst>
          </p:cNvPr>
          <p:cNvSpPr/>
          <p:nvPr/>
        </p:nvSpPr>
        <p:spPr>
          <a:xfrm>
            <a:off x="4632287" y="1312749"/>
            <a:ext cx="4010685" cy="610644"/>
          </a:xfrm>
          <a:prstGeom prst="rect">
            <a:avLst/>
          </a:prstGeom>
          <a:solidFill>
            <a:schemeClr val="bg1"/>
          </a:solidFill>
          <a:ln w="12700">
            <a:solidFill>
              <a:srgbClr val="05B050"/>
            </a:solidFill>
            <a:prstDash val="lgDash"/>
          </a:ln>
        </p:spPr>
        <p:txBody>
          <a:bodyPr spcFirstLastPara="1" wrap="square" lIns="144000" tIns="91425" rIns="144000"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he distribution of Starbucks locations appears to </a:t>
            </a:r>
            <a:r>
              <a:rPr lang="en-CA"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correlate with the population distribution of the US</a:t>
            </a:r>
          </a:p>
        </p:txBody>
      </p:sp>
      <p:sp>
        <p:nvSpPr>
          <p:cNvPr id="5" name="TextBox 4">
            <a:extLst>
              <a:ext uri="{FF2B5EF4-FFF2-40B4-BE49-F238E27FC236}">
                <a16:creationId xmlns:a16="http://schemas.microsoft.com/office/drawing/2014/main" id="{15ABF3A8-2900-E6D7-ECC4-323F3EF63566}"/>
              </a:ext>
            </a:extLst>
          </p:cNvPr>
          <p:cNvSpPr txBox="1"/>
          <p:nvPr/>
        </p:nvSpPr>
        <p:spPr>
          <a:xfrm>
            <a:off x="369700" y="4934256"/>
            <a:ext cx="2824681" cy="230832"/>
          </a:xfrm>
          <a:prstGeom prst="rect">
            <a:avLst/>
          </a:prstGeom>
          <a:noFill/>
        </p:spPr>
        <p:txBody>
          <a:bodyPr wrap="square">
            <a:spAutoFit/>
          </a:bodyPr>
          <a:lstStyle/>
          <a:p>
            <a:r>
              <a:rPr lang="en-US" sz="900" i="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Each dot represents a city of 1000+ people</a:t>
            </a:r>
          </a:p>
        </p:txBody>
      </p:sp>
      <p:sp>
        <p:nvSpPr>
          <p:cNvPr id="8" name="Google Shape;466;p36">
            <a:extLst>
              <a:ext uri="{FF2B5EF4-FFF2-40B4-BE49-F238E27FC236}">
                <a16:creationId xmlns:a16="http://schemas.microsoft.com/office/drawing/2014/main" id="{6ABB55E4-163A-4694-CEC8-B37469F5C5F1}"/>
              </a:ext>
            </a:extLst>
          </p:cNvPr>
          <p:cNvSpPr/>
          <p:nvPr/>
        </p:nvSpPr>
        <p:spPr>
          <a:xfrm>
            <a:off x="4632283" y="3756635"/>
            <a:ext cx="4010685" cy="492314"/>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200">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What factors influence population density?</a:t>
            </a:r>
          </a:p>
        </p:txBody>
      </p:sp>
      <p:sp>
        <p:nvSpPr>
          <p:cNvPr id="10" name="Chevron 9">
            <a:extLst>
              <a:ext uri="{FF2B5EF4-FFF2-40B4-BE49-F238E27FC236}">
                <a16:creationId xmlns:a16="http://schemas.microsoft.com/office/drawing/2014/main" id="{1F10943D-A261-B37A-57D1-A4ADB9EB0E1E}"/>
              </a:ext>
            </a:extLst>
          </p:cNvPr>
          <p:cNvSpPr/>
          <p:nvPr/>
        </p:nvSpPr>
        <p:spPr>
          <a:xfrm rot="5400000">
            <a:off x="6532478" y="2980729"/>
            <a:ext cx="210293" cy="1078553"/>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Google Shape;466;p36">
            <a:extLst>
              <a:ext uri="{FF2B5EF4-FFF2-40B4-BE49-F238E27FC236}">
                <a16:creationId xmlns:a16="http://schemas.microsoft.com/office/drawing/2014/main" id="{5A2EEE20-49BF-AFA4-7D2E-00EFCFD6B7A8}"/>
              </a:ext>
            </a:extLst>
          </p:cNvPr>
          <p:cNvSpPr/>
          <p:nvPr/>
        </p:nvSpPr>
        <p:spPr>
          <a:xfrm>
            <a:off x="4632287" y="1992741"/>
            <a:ext cx="4010685" cy="610644"/>
          </a:xfrm>
          <a:prstGeom prst="rect">
            <a:avLst/>
          </a:prstGeom>
          <a:solidFill>
            <a:schemeClr val="bg1"/>
          </a:solidFill>
          <a:ln w="12700">
            <a:solidFill>
              <a:srgbClr val="05B050"/>
            </a:solidFill>
            <a:prstDash val="lgDash"/>
          </a:ln>
        </p:spPr>
        <p:txBody>
          <a:bodyPr spcFirstLastPara="1" wrap="square" lIns="144000" tIns="91425" rIns="144000"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While Starbucks matches US population distribution, it is </a:t>
            </a:r>
            <a:r>
              <a:rPr lang="en-CA"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less concentrated in Midwest and Western states</a:t>
            </a:r>
          </a:p>
        </p:txBody>
      </p:sp>
      <p:sp>
        <p:nvSpPr>
          <p:cNvPr id="18" name="Google Shape;466;p36">
            <a:extLst>
              <a:ext uri="{FF2B5EF4-FFF2-40B4-BE49-F238E27FC236}">
                <a16:creationId xmlns:a16="http://schemas.microsoft.com/office/drawing/2014/main" id="{B2F77262-EE36-DFD6-4AFA-AAE539079FA4}"/>
              </a:ext>
            </a:extLst>
          </p:cNvPr>
          <p:cNvSpPr/>
          <p:nvPr/>
        </p:nvSpPr>
        <p:spPr>
          <a:xfrm>
            <a:off x="4632287" y="2672733"/>
            <a:ext cx="4010685" cy="610644"/>
          </a:xfrm>
          <a:prstGeom prst="rect">
            <a:avLst/>
          </a:prstGeom>
          <a:solidFill>
            <a:schemeClr val="bg1"/>
          </a:solidFill>
          <a:ln w="12700">
            <a:solidFill>
              <a:srgbClr val="05B050"/>
            </a:solidFill>
            <a:prstDash val="lgDash"/>
          </a:ln>
        </p:spPr>
        <p:txBody>
          <a:bodyPr spcFirstLastPara="1" wrap="square" lIns="144000" tIns="91425" rIns="144000"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Population density likely encapsulates many factors Starbucks uses to choose store locations, such as </a:t>
            </a:r>
            <a:r>
              <a:rPr lang="en-CA"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demand</a:t>
            </a:r>
          </a:p>
        </p:txBody>
      </p:sp>
      <p:sp>
        <p:nvSpPr>
          <p:cNvPr id="19" name="Google Shape;466;p36">
            <a:extLst>
              <a:ext uri="{FF2B5EF4-FFF2-40B4-BE49-F238E27FC236}">
                <a16:creationId xmlns:a16="http://schemas.microsoft.com/office/drawing/2014/main" id="{D6CB1FE0-FD97-DC7B-FF43-59774BE26B2A}"/>
              </a:ext>
            </a:extLst>
          </p:cNvPr>
          <p:cNvSpPr/>
          <p:nvPr/>
        </p:nvSpPr>
        <p:spPr>
          <a:xfrm>
            <a:off x="4632283" y="4307592"/>
            <a:ext cx="4010685" cy="492314"/>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CA" sz="1200">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What does Starbucks consider when </a:t>
            </a:r>
          </a:p>
          <a:p>
            <a:pPr marL="0" lvl="0" indent="0" algn="ctr" rtl="0">
              <a:spcBef>
                <a:spcPts val="0"/>
              </a:spcBef>
              <a:spcAft>
                <a:spcPts val="0"/>
              </a:spcAft>
              <a:buNone/>
            </a:pPr>
            <a:r>
              <a:rPr lang="en-CA" sz="1200">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hoosing a new location?</a:t>
            </a:r>
          </a:p>
        </p:txBody>
      </p:sp>
    </p:spTree>
    <p:extLst>
      <p:ext uri="{BB962C8B-B14F-4D97-AF65-F5344CB8AC3E}">
        <p14:creationId xmlns:p14="http://schemas.microsoft.com/office/powerpoint/2010/main" val="19084760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3279D5-A132-9A70-2903-2C238AF79ED9}"/>
              </a:ext>
            </a:extLst>
          </p:cNvPr>
          <p:cNvGraphicFramePr>
            <a:graphicFrameLocks noChangeAspect="1"/>
          </p:cNvGraphicFramePr>
          <p:nvPr>
            <p:custDataLst>
              <p:tags r:id="rId1"/>
            </p:custDataLst>
            <p:extLst>
              <p:ext uri="{D42A27DB-BD31-4B8C-83A1-F6EECF244321}">
                <p14:modId xmlns:p14="http://schemas.microsoft.com/office/powerpoint/2010/main" val="146076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7" name="think-cell data - do not delete" hidden="1">
                        <a:extLst>
                          <a:ext uri="{FF2B5EF4-FFF2-40B4-BE49-F238E27FC236}">
                            <a16:creationId xmlns:a16="http://schemas.microsoft.com/office/drawing/2014/main" id="{633279D5-A132-9A70-2903-2C238AF79E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1" name="Google Shape;351;p21"/>
          <p:cNvSpPr/>
          <p:nvPr/>
        </p:nvSpPr>
        <p:spPr>
          <a:xfrm rot="-5400000">
            <a:off x="1647138" y="3622"/>
            <a:ext cx="51900" cy="2468100"/>
          </a:xfrm>
          <a:prstGeom prst="rect">
            <a:avLst/>
          </a:prstGeom>
          <a:solidFill>
            <a:srgbClr val="05B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7" name="Google Shape;327;p21"/>
          <p:cNvSpPr txBox="1">
            <a:spLocks/>
          </p:cNvSpPr>
          <p:nvPr/>
        </p:nvSpPr>
        <p:spPr>
          <a:xfrm>
            <a:off x="3314550" y="813344"/>
            <a:ext cx="2514900" cy="43778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SzPts val="891"/>
            </a:pPr>
            <a:r>
              <a:rPr lang="en-CA" sz="1400" b="1">
                <a:latin typeface="Helvetica Neue" panose="02000503000000020004" pitchFamily="2" charset="0"/>
                <a:ea typeface="Helvetica Neue" panose="02000503000000020004" pitchFamily="2" charset="0"/>
                <a:cs typeface="Helvetica Neue" panose="02000503000000020004" pitchFamily="2" charset="0"/>
                <a:sym typeface="Helvetica Neue"/>
              </a:rPr>
              <a:t>Key Characteristics</a:t>
            </a:r>
          </a:p>
        </p:txBody>
      </p:sp>
      <p:sp>
        <p:nvSpPr>
          <p:cNvPr id="176" name="Google Shape;176;p16"/>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Hypotheses: Market Research</a:t>
            </a:r>
          </a:p>
        </p:txBody>
      </p:sp>
      <p:sp>
        <p:nvSpPr>
          <p:cNvPr id="177" name="Google Shape;177;p16"/>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endParaRPr lang="en-CA" sz="130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78" name="Google Shape;178;p16"/>
          <p:cNvSpPr/>
          <p:nvPr/>
        </p:nvSpPr>
        <p:spPr>
          <a:xfrm>
            <a:off x="422250" y="218725"/>
            <a:ext cx="70500" cy="453000"/>
          </a:xfrm>
          <a:prstGeom prst="rect">
            <a:avLst/>
          </a:prstGeom>
          <a:solidFill>
            <a:srgbClr val="0D5D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9" name="Google Shape;179;p16"/>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Starbucks cares most about specific characteristics for new store locations</a:t>
            </a:r>
          </a:p>
        </p:txBody>
      </p:sp>
      <p:sp>
        <p:nvSpPr>
          <p:cNvPr id="180" name="Google Shape;180;p16"/>
          <p:cNvSpPr/>
          <p:nvPr/>
        </p:nvSpPr>
        <p:spPr>
          <a:xfrm>
            <a:off x="422250" y="218725"/>
            <a:ext cx="70500" cy="453000"/>
          </a:xfrm>
          <a:prstGeom prst="rect">
            <a:avLst/>
          </a:prstGeom>
          <a:solidFill>
            <a:srgbClr val="3B8C5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6" name="Google Shape;326;p21"/>
          <p:cNvSpPr txBox="1">
            <a:spLocks noGrp="1"/>
          </p:cNvSpPr>
          <p:nvPr>
            <p:ph type="title"/>
          </p:nvPr>
        </p:nvSpPr>
        <p:spPr>
          <a:xfrm>
            <a:off x="576138" y="821785"/>
            <a:ext cx="2193900" cy="4209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SzPts val="990"/>
              <a:buNone/>
            </a:pPr>
            <a:r>
              <a:rPr lang="en-GB" sz="1400" b="1">
                <a:latin typeface="Helvetica Neue" panose="02000503000000020004" pitchFamily="2" charset="0"/>
                <a:ea typeface="Helvetica Neue" panose="02000503000000020004" pitchFamily="2" charset="0"/>
                <a:cs typeface="Helvetica Neue" panose="02000503000000020004" pitchFamily="2" charset="0"/>
                <a:sym typeface="Helvetica Neue"/>
              </a:rPr>
              <a:t>Starbucks History</a:t>
            </a:r>
          </a:p>
        </p:txBody>
      </p:sp>
      <p:sp>
        <p:nvSpPr>
          <p:cNvPr id="328" name="Google Shape;328;p21"/>
          <p:cNvSpPr/>
          <p:nvPr/>
        </p:nvSpPr>
        <p:spPr>
          <a:xfrm rot="-5400000">
            <a:off x="4547263" y="3622"/>
            <a:ext cx="51900" cy="2468100"/>
          </a:xfrm>
          <a:prstGeom prst="rect">
            <a:avLst/>
          </a:prstGeom>
          <a:solidFill>
            <a:srgbClr val="05B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30" name="Google Shape;330;p21"/>
          <p:cNvSpPr txBox="1">
            <a:spLocks/>
          </p:cNvSpPr>
          <p:nvPr/>
        </p:nvSpPr>
        <p:spPr>
          <a:xfrm>
            <a:off x="6117488" y="805735"/>
            <a:ext cx="2557800" cy="4530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SzPts val="891"/>
            </a:pPr>
            <a:r>
              <a:rPr lang="en-GB" sz="1400" b="1">
                <a:latin typeface="Helvetica Neue" panose="02000503000000020004" pitchFamily="2" charset="0"/>
                <a:ea typeface="Helvetica Neue" panose="02000503000000020004" pitchFamily="2" charset="0"/>
                <a:cs typeface="Helvetica Neue" panose="02000503000000020004" pitchFamily="2" charset="0"/>
                <a:sym typeface="Helvetica Neue"/>
              </a:rPr>
              <a:t>Feasibility</a:t>
            </a:r>
          </a:p>
        </p:txBody>
      </p:sp>
      <p:sp>
        <p:nvSpPr>
          <p:cNvPr id="331" name="Google Shape;331;p21"/>
          <p:cNvSpPr/>
          <p:nvPr/>
        </p:nvSpPr>
        <p:spPr>
          <a:xfrm rot="-5400000">
            <a:off x="7370438" y="3610"/>
            <a:ext cx="51900" cy="2468100"/>
          </a:xfrm>
          <a:prstGeom prst="rect">
            <a:avLst/>
          </a:prstGeom>
          <a:solidFill>
            <a:srgbClr val="05B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7" name="Google Shape;197;p17">
            <a:extLst>
              <a:ext uri="{FF2B5EF4-FFF2-40B4-BE49-F238E27FC236}">
                <a16:creationId xmlns:a16="http://schemas.microsoft.com/office/drawing/2014/main" id="{74AEC51A-6B58-C99F-CCF0-E9C6314C1EE8}"/>
              </a:ext>
            </a:extLst>
          </p:cNvPr>
          <p:cNvSpPr/>
          <p:nvPr/>
        </p:nvSpPr>
        <p:spPr>
          <a:xfrm>
            <a:off x="6178388" y="1473667"/>
            <a:ext cx="2468100" cy="1655998"/>
          </a:xfrm>
          <a:prstGeom prst="rect">
            <a:avLst/>
          </a:prstGeom>
          <a:noFill/>
          <a:ln w="19050" cap="flat" cmpd="sng">
            <a:solidFill>
              <a:srgbClr val="05B050"/>
            </a:solidFill>
            <a:prstDash val="lgDash"/>
            <a:round/>
            <a:headEnd type="none" w="sm" len="sm"/>
            <a:tailEnd type="none" w="sm" len="sm"/>
          </a:ln>
        </p:spPr>
        <p:txBody>
          <a:bodyPr spcFirstLastPara="1" wrap="square" lIns="144000" tIns="91425" rIns="144000" bIns="91425" anchor="ctr" anchorCtr="0">
            <a:noAutofit/>
          </a:bodyPr>
          <a:lstStyle/>
          <a:p>
            <a:pPr marL="0" lvl="0" indent="0" algn="ctr" rtl="0">
              <a:spcBef>
                <a:spcPts val="0"/>
              </a:spcBef>
              <a:spcAft>
                <a:spcPts val="0"/>
              </a:spcAft>
              <a:buNone/>
            </a:pPr>
            <a:r>
              <a:rPr lang="en-US" sz="1100" err="1">
                <a:latin typeface="Helvetica Neue" panose="02000503000000020004" pitchFamily="2" charset="0"/>
                <a:ea typeface="Helvetica Neue" panose="02000503000000020004" pitchFamily="2" charset="0"/>
                <a:cs typeface="Helvetica Neue" panose="02000503000000020004" pitchFamily="2" charset="0"/>
                <a:sym typeface="Helvetica Neue"/>
              </a:rPr>
              <a:t>Neighbourhood</a:t>
            </a:r>
            <a:r>
              <a:rPr lang="en-US" sz="1100">
                <a:latin typeface="Helvetica Neue" panose="02000503000000020004" pitchFamily="2" charset="0"/>
                <a:ea typeface="Helvetica Neue" panose="02000503000000020004" pitchFamily="2" charset="0"/>
                <a:cs typeface="Helvetica Neue" panose="02000503000000020004" pitchFamily="2" charset="0"/>
                <a:sym typeface="Helvetica Neue"/>
              </a:rPr>
              <a:t> income, age, gender, and other social data is relatively easy to obtain due to the </a:t>
            </a:r>
            <a:r>
              <a:rPr lang="en-US"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rength of the </a:t>
            </a:r>
          </a:p>
          <a:p>
            <a:pPr marL="0" lvl="0" indent="0" algn="ctr" rtl="0">
              <a:spcBef>
                <a:spcPts val="0"/>
              </a:spcBef>
              <a:spcAft>
                <a:spcPts val="0"/>
              </a:spcAft>
              <a:buNone/>
            </a:pPr>
            <a:r>
              <a:rPr lang="en-US"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American census</a:t>
            </a:r>
            <a:r>
              <a:rPr lang="en-US" sz="1100">
                <a:latin typeface="Helvetica Neue" panose="02000503000000020004" pitchFamily="2" charset="0"/>
                <a:ea typeface="Helvetica Neue" panose="02000503000000020004" pitchFamily="2" charset="0"/>
                <a:cs typeface="Helvetica Neue" panose="02000503000000020004" pitchFamily="2" charset="0"/>
                <a:sym typeface="Helvetica Neue"/>
              </a:rPr>
              <a:t>.</a:t>
            </a:r>
          </a:p>
        </p:txBody>
      </p:sp>
      <p:sp>
        <p:nvSpPr>
          <p:cNvPr id="29" name="Google Shape;197;p17">
            <a:extLst>
              <a:ext uri="{FF2B5EF4-FFF2-40B4-BE49-F238E27FC236}">
                <a16:creationId xmlns:a16="http://schemas.microsoft.com/office/drawing/2014/main" id="{75B07896-E9FE-E120-F406-0298F2D59236}"/>
              </a:ext>
            </a:extLst>
          </p:cNvPr>
          <p:cNvSpPr/>
          <p:nvPr/>
        </p:nvSpPr>
        <p:spPr>
          <a:xfrm>
            <a:off x="6178388" y="3282941"/>
            <a:ext cx="2496900" cy="1640240"/>
          </a:xfrm>
          <a:prstGeom prst="rect">
            <a:avLst/>
          </a:prstGeom>
          <a:noFill/>
          <a:ln w="19050" cap="flat" cmpd="sng">
            <a:solidFill>
              <a:srgbClr val="05B050"/>
            </a:solidFill>
            <a:prstDash val="lgDash"/>
            <a:round/>
            <a:headEnd type="none" w="sm" len="sm"/>
            <a:tailEnd type="none" w="sm" len="sm"/>
          </a:ln>
        </p:spPr>
        <p:txBody>
          <a:bodyPr spcFirstLastPara="1" wrap="square" lIns="144000" tIns="91425" rIns="144000"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Proximity to businesses and average foot traffic are more difficult to account </a:t>
            </a:r>
            <a:r>
              <a:rPr lang="en-GB"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for due to the specificity of these factors per location </a:t>
            </a:r>
            <a:r>
              <a:rPr lang="en-GB"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two strip malls in the same county could be </a:t>
            </a:r>
          </a:p>
          <a:p>
            <a:pPr marL="0" lvl="0" indent="0" algn="ctr" rtl="0">
              <a:spcBef>
                <a:spcPts val="0"/>
              </a:spcBef>
              <a:spcAft>
                <a:spcPts val="0"/>
              </a:spcAft>
              <a:buNone/>
            </a:pPr>
            <a:r>
              <a:rPr lang="en-GB"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very different.</a:t>
            </a:r>
          </a:p>
        </p:txBody>
      </p:sp>
      <p:sp>
        <p:nvSpPr>
          <p:cNvPr id="33" name="Google Shape;197;p17">
            <a:extLst>
              <a:ext uri="{FF2B5EF4-FFF2-40B4-BE49-F238E27FC236}">
                <a16:creationId xmlns:a16="http://schemas.microsoft.com/office/drawing/2014/main" id="{2369C147-F071-53D8-8CAE-3760A0232B34}"/>
              </a:ext>
            </a:extLst>
          </p:cNvPr>
          <p:cNvSpPr/>
          <p:nvPr/>
        </p:nvSpPr>
        <p:spPr>
          <a:xfrm>
            <a:off x="414971" y="1473665"/>
            <a:ext cx="2468100" cy="1656000"/>
          </a:xfrm>
          <a:prstGeom prst="rect">
            <a:avLst/>
          </a:prstGeom>
          <a:noFill/>
          <a:ln w="19050" cap="flat" cmpd="sng">
            <a:solidFill>
              <a:srgbClr val="05B050"/>
            </a:solidFill>
            <a:prstDash val="lgDash"/>
            <a:round/>
            <a:headEnd type="none" w="sm" len="sm"/>
            <a:tailEnd type="none" w="sm" len="sm"/>
          </a:ln>
        </p:spPr>
        <p:txBody>
          <a:bodyPr spcFirstLastPara="1" wrap="square" lIns="144000" tIns="91425" rIns="144000" bIns="91425" anchor="ctr" anchorCtr="0">
            <a:noAutofit/>
          </a:bodyPr>
          <a:lstStyle/>
          <a:p>
            <a:pPr marL="0" lvl="0" indent="0" algn="ctr" rtl="0">
              <a:spcBef>
                <a:spcPts val="0"/>
              </a:spcBef>
              <a:spcAft>
                <a:spcPts val="0"/>
              </a:spcAft>
              <a:buNone/>
            </a:pPr>
            <a:r>
              <a:rPr lang="en-US" sz="1100">
                <a:latin typeface="Helvetica Neue" panose="02000503000000020004" pitchFamily="2" charset="0"/>
                <a:ea typeface="Helvetica Neue" panose="02000503000000020004" pitchFamily="2" charset="0"/>
                <a:cs typeface="Helvetica Neue" panose="02000503000000020004" pitchFamily="2" charset="0"/>
                <a:sym typeface="Helvetica Neue"/>
              </a:rPr>
              <a:t>Starbucks has recently had to close many stores due to </a:t>
            </a:r>
            <a:r>
              <a:rPr lang="en-US"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cannibalization</a:t>
            </a:r>
            <a:r>
              <a:rPr lang="en-US" sz="1100">
                <a:latin typeface="Helvetica Neue" panose="02000503000000020004" pitchFamily="2" charset="0"/>
                <a:ea typeface="Helvetica Neue" panose="02000503000000020004" pitchFamily="2" charset="0"/>
                <a:cs typeface="Helvetica Neue" panose="02000503000000020004" pitchFamily="2" charset="0"/>
                <a:sym typeface="Helvetica Neue"/>
              </a:rPr>
              <a:t>, leading them towards a </a:t>
            </a:r>
            <a:r>
              <a:rPr lang="en-US"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data-driven store opening approach (2008)</a:t>
            </a:r>
            <a:r>
              <a:rPr lang="en-US" sz="1100">
                <a:latin typeface="Helvetica Neue" panose="02000503000000020004" pitchFamily="2" charset="0"/>
                <a:ea typeface="Helvetica Neue" panose="02000503000000020004" pitchFamily="2" charset="0"/>
                <a:cs typeface="Helvetica Neue" panose="02000503000000020004" pitchFamily="2" charset="0"/>
                <a:sym typeface="Helvetica Neue"/>
              </a:rPr>
              <a:t>.</a:t>
            </a:r>
          </a:p>
        </p:txBody>
      </p:sp>
      <p:sp>
        <p:nvSpPr>
          <p:cNvPr id="34" name="Google Shape;197;p17">
            <a:extLst>
              <a:ext uri="{FF2B5EF4-FFF2-40B4-BE49-F238E27FC236}">
                <a16:creationId xmlns:a16="http://schemas.microsoft.com/office/drawing/2014/main" id="{CB46D91D-5CA3-1C62-FDBC-383619605CE0}"/>
              </a:ext>
            </a:extLst>
          </p:cNvPr>
          <p:cNvSpPr/>
          <p:nvPr/>
        </p:nvSpPr>
        <p:spPr>
          <a:xfrm>
            <a:off x="410238" y="3282941"/>
            <a:ext cx="2496900" cy="1656000"/>
          </a:xfrm>
          <a:prstGeom prst="rect">
            <a:avLst/>
          </a:prstGeom>
          <a:noFill/>
          <a:ln w="19050" cap="flat" cmpd="sng">
            <a:solidFill>
              <a:srgbClr val="05B050"/>
            </a:solidFill>
            <a:prstDash val="lgDash"/>
            <a:round/>
            <a:headEnd type="none" w="sm" len="sm"/>
            <a:tailEnd type="none" w="sm" len="sm"/>
          </a:ln>
        </p:spPr>
        <p:txBody>
          <a:bodyPr spcFirstLastPara="1" wrap="square" lIns="144000" tIns="91425" rIns="144000"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Selecting sites for new stores is still more of an art than a science, requiring </a:t>
            </a:r>
            <a:r>
              <a:rPr lang="en-GB"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boots on the ground with understanding of </a:t>
            </a:r>
          </a:p>
          <a:p>
            <a:pPr marL="0" lvl="0" indent="0" algn="ctr" rtl="0">
              <a:spcBef>
                <a:spcPts val="0"/>
              </a:spcBef>
              <a:spcAft>
                <a:spcPts val="0"/>
              </a:spcAft>
              <a:buNone/>
            </a:pPr>
            <a:r>
              <a:rPr lang="en-GB"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local markets (2008)</a:t>
            </a: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a:t>
            </a:r>
          </a:p>
        </p:txBody>
      </p:sp>
      <p:pic>
        <p:nvPicPr>
          <p:cNvPr id="9" name="Picture 8">
            <a:extLst>
              <a:ext uri="{FF2B5EF4-FFF2-40B4-BE49-F238E27FC236}">
                <a16:creationId xmlns:a16="http://schemas.microsoft.com/office/drawing/2014/main" id="{361F31AD-125A-C013-2157-A1DC5B439A9E}"/>
              </a:ext>
            </a:extLst>
          </p:cNvPr>
          <p:cNvPicPr>
            <a:picLocks noChangeAspect="1"/>
          </p:cNvPicPr>
          <p:nvPr/>
        </p:nvPicPr>
        <p:blipFill>
          <a:blip r:embed="rId6"/>
          <a:stretch>
            <a:fillRect/>
          </a:stretch>
        </p:blipFill>
        <p:spPr>
          <a:xfrm>
            <a:off x="3692098" y="1482818"/>
            <a:ext cx="468000" cy="468000"/>
          </a:xfrm>
          <a:prstGeom prst="rect">
            <a:avLst/>
          </a:prstGeom>
        </p:spPr>
      </p:pic>
      <p:pic>
        <p:nvPicPr>
          <p:cNvPr id="10" name="Picture 9">
            <a:extLst>
              <a:ext uri="{FF2B5EF4-FFF2-40B4-BE49-F238E27FC236}">
                <a16:creationId xmlns:a16="http://schemas.microsoft.com/office/drawing/2014/main" id="{1DF7E644-E383-4746-1767-6CEFBBA46994}"/>
              </a:ext>
            </a:extLst>
          </p:cNvPr>
          <p:cNvPicPr>
            <a:picLocks noChangeAspect="1"/>
          </p:cNvPicPr>
          <p:nvPr/>
        </p:nvPicPr>
        <p:blipFill>
          <a:blip r:embed="rId7"/>
          <a:stretch>
            <a:fillRect/>
          </a:stretch>
        </p:blipFill>
        <p:spPr>
          <a:xfrm>
            <a:off x="3692098" y="2152877"/>
            <a:ext cx="468000" cy="468000"/>
          </a:xfrm>
          <a:prstGeom prst="rect">
            <a:avLst/>
          </a:prstGeom>
        </p:spPr>
      </p:pic>
      <p:pic>
        <p:nvPicPr>
          <p:cNvPr id="21" name="Picture 20">
            <a:extLst>
              <a:ext uri="{FF2B5EF4-FFF2-40B4-BE49-F238E27FC236}">
                <a16:creationId xmlns:a16="http://schemas.microsoft.com/office/drawing/2014/main" id="{9EFB9F42-F7E3-3CAA-D82D-DA54B219BB60}"/>
              </a:ext>
            </a:extLst>
          </p:cNvPr>
          <p:cNvPicPr>
            <a:picLocks noChangeAspect="1"/>
          </p:cNvPicPr>
          <p:nvPr/>
        </p:nvPicPr>
        <p:blipFill>
          <a:blip r:embed="rId8"/>
          <a:stretch>
            <a:fillRect/>
          </a:stretch>
        </p:blipFill>
        <p:spPr>
          <a:xfrm>
            <a:off x="3728098" y="2885842"/>
            <a:ext cx="396000" cy="396000"/>
          </a:xfrm>
          <a:prstGeom prst="rect">
            <a:avLst/>
          </a:prstGeom>
        </p:spPr>
      </p:pic>
      <p:pic>
        <p:nvPicPr>
          <p:cNvPr id="35" name="Picture 34">
            <a:extLst>
              <a:ext uri="{FF2B5EF4-FFF2-40B4-BE49-F238E27FC236}">
                <a16:creationId xmlns:a16="http://schemas.microsoft.com/office/drawing/2014/main" id="{180BCADD-42C8-4029-D165-C15FB33A2D96}"/>
              </a:ext>
            </a:extLst>
          </p:cNvPr>
          <p:cNvPicPr>
            <a:picLocks noChangeAspect="1"/>
          </p:cNvPicPr>
          <p:nvPr/>
        </p:nvPicPr>
        <p:blipFill>
          <a:blip r:embed="rId9"/>
          <a:stretch>
            <a:fillRect/>
          </a:stretch>
        </p:blipFill>
        <p:spPr>
          <a:xfrm>
            <a:off x="3674098" y="4321901"/>
            <a:ext cx="504000" cy="504000"/>
          </a:xfrm>
          <a:prstGeom prst="rect">
            <a:avLst/>
          </a:prstGeom>
        </p:spPr>
      </p:pic>
      <p:pic>
        <p:nvPicPr>
          <p:cNvPr id="38" name="Picture 37">
            <a:extLst>
              <a:ext uri="{FF2B5EF4-FFF2-40B4-BE49-F238E27FC236}">
                <a16:creationId xmlns:a16="http://schemas.microsoft.com/office/drawing/2014/main" id="{FD436362-1C9C-3784-8295-0FE0C93F90A9}"/>
              </a:ext>
            </a:extLst>
          </p:cNvPr>
          <p:cNvPicPr>
            <a:picLocks noChangeAspect="1"/>
          </p:cNvPicPr>
          <p:nvPr/>
        </p:nvPicPr>
        <p:blipFill>
          <a:blip r:embed="rId10"/>
          <a:stretch>
            <a:fillRect/>
          </a:stretch>
        </p:blipFill>
        <p:spPr>
          <a:xfrm>
            <a:off x="3638098" y="3508549"/>
            <a:ext cx="576000" cy="576000"/>
          </a:xfrm>
          <a:prstGeom prst="rect">
            <a:avLst/>
          </a:prstGeom>
        </p:spPr>
      </p:pic>
      <p:sp>
        <p:nvSpPr>
          <p:cNvPr id="18" name="TextBox 17">
            <a:extLst>
              <a:ext uri="{FF2B5EF4-FFF2-40B4-BE49-F238E27FC236}">
                <a16:creationId xmlns:a16="http://schemas.microsoft.com/office/drawing/2014/main" id="{F4182634-12F5-7E0B-6B6D-B191636659D4}"/>
              </a:ext>
            </a:extLst>
          </p:cNvPr>
          <p:cNvSpPr txBox="1"/>
          <p:nvPr/>
        </p:nvSpPr>
        <p:spPr>
          <a:xfrm>
            <a:off x="4322661" y="4250736"/>
            <a:ext cx="1693613" cy="646331"/>
          </a:xfrm>
          <a:prstGeom prst="rect">
            <a:avLst/>
          </a:prstGeom>
          <a:noFill/>
        </p:spPr>
        <p:txBody>
          <a:bodyPr wrap="square" rtlCol="0">
            <a:spAutoFit/>
          </a:bodyPr>
          <a:lstStyle/>
          <a:p>
            <a:r>
              <a:rPr lang="en-US" sz="1200">
                <a:latin typeface="Helvetica Neue" panose="02000503000000020004" pitchFamily="2" charset="0"/>
                <a:ea typeface="Helvetica Neue" panose="02000503000000020004" pitchFamily="2" charset="0"/>
                <a:cs typeface="Helvetica Neue" panose="02000503000000020004" pitchFamily="2" charset="0"/>
              </a:rPr>
              <a:t>Proximity to businesses and parking lots</a:t>
            </a:r>
          </a:p>
        </p:txBody>
      </p:sp>
      <p:sp>
        <p:nvSpPr>
          <p:cNvPr id="41" name="TextBox 40">
            <a:extLst>
              <a:ext uri="{FF2B5EF4-FFF2-40B4-BE49-F238E27FC236}">
                <a16:creationId xmlns:a16="http://schemas.microsoft.com/office/drawing/2014/main" id="{3F4842F8-63E0-F360-375A-6839CB7A6D0D}"/>
              </a:ext>
            </a:extLst>
          </p:cNvPr>
          <p:cNvSpPr txBox="1"/>
          <p:nvPr/>
        </p:nvSpPr>
        <p:spPr>
          <a:xfrm>
            <a:off x="4322661" y="3658050"/>
            <a:ext cx="1693613" cy="276999"/>
          </a:xfrm>
          <a:prstGeom prst="rect">
            <a:avLst/>
          </a:prstGeom>
          <a:noFill/>
        </p:spPr>
        <p:txBody>
          <a:bodyPr wrap="square" rtlCol="0">
            <a:spAutoFit/>
          </a:bodyPr>
          <a:lstStyle/>
          <a:p>
            <a:r>
              <a:rPr lang="en-US" sz="1200">
                <a:latin typeface="Helvetica Neue" panose="02000503000000020004" pitchFamily="2" charset="0"/>
                <a:ea typeface="Helvetica Neue" panose="02000503000000020004" pitchFamily="2" charset="0"/>
                <a:cs typeface="Helvetica Neue" panose="02000503000000020004" pitchFamily="2" charset="0"/>
              </a:rPr>
              <a:t>Traffic</a:t>
            </a:r>
          </a:p>
        </p:txBody>
      </p:sp>
      <p:sp>
        <p:nvSpPr>
          <p:cNvPr id="42" name="TextBox 41">
            <a:extLst>
              <a:ext uri="{FF2B5EF4-FFF2-40B4-BE49-F238E27FC236}">
                <a16:creationId xmlns:a16="http://schemas.microsoft.com/office/drawing/2014/main" id="{8D04D050-1417-0491-1CDF-415DAAA9121E}"/>
              </a:ext>
            </a:extLst>
          </p:cNvPr>
          <p:cNvSpPr txBox="1"/>
          <p:nvPr/>
        </p:nvSpPr>
        <p:spPr>
          <a:xfrm>
            <a:off x="4322661" y="2962277"/>
            <a:ext cx="1693613" cy="276999"/>
          </a:xfrm>
          <a:prstGeom prst="rect">
            <a:avLst/>
          </a:prstGeom>
          <a:noFill/>
        </p:spPr>
        <p:txBody>
          <a:bodyPr wrap="square" rtlCol="0">
            <a:spAutoFit/>
          </a:bodyPr>
          <a:lstStyle/>
          <a:p>
            <a:r>
              <a:rPr lang="en-US" sz="1200">
                <a:latin typeface="Helvetica Neue" panose="02000503000000020004" pitchFamily="2" charset="0"/>
                <a:ea typeface="Helvetica Neue" panose="02000503000000020004" pitchFamily="2" charset="0"/>
                <a:cs typeface="Helvetica Neue" panose="02000503000000020004" pitchFamily="2" charset="0"/>
              </a:rPr>
              <a:t>Landmarks</a:t>
            </a:r>
          </a:p>
        </p:txBody>
      </p:sp>
      <p:sp>
        <p:nvSpPr>
          <p:cNvPr id="43" name="TextBox 42">
            <a:extLst>
              <a:ext uri="{FF2B5EF4-FFF2-40B4-BE49-F238E27FC236}">
                <a16:creationId xmlns:a16="http://schemas.microsoft.com/office/drawing/2014/main" id="{24DEAD8A-DA9B-FD74-02D6-F78F501ED97E}"/>
              </a:ext>
            </a:extLst>
          </p:cNvPr>
          <p:cNvSpPr txBox="1"/>
          <p:nvPr/>
        </p:nvSpPr>
        <p:spPr>
          <a:xfrm>
            <a:off x="4322661" y="2248378"/>
            <a:ext cx="1693613" cy="276999"/>
          </a:xfrm>
          <a:prstGeom prst="rect">
            <a:avLst/>
          </a:prstGeom>
          <a:noFill/>
        </p:spPr>
        <p:txBody>
          <a:bodyPr wrap="square" rtlCol="0">
            <a:spAutoFit/>
          </a:bodyPr>
          <a:lstStyle/>
          <a:p>
            <a:r>
              <a:rPr lang="en-US" sz="1200">
                <a:latin typeface="Helvetica Neue" panose="02000503000000020004" pitchFamily="2" charset="0"/>
                <a:ea typeface="Helvetica Neue" panose="02000503000000020004" pitchFamily="2" charset="0"/>
                <a:cs typeface="Helvetica Neue" panose="02000503000000020004" pitchFamily="2" charset="0"/>
              </a:rPr>
              <a:t>Age</a:t>
            </a:r>
          </a:p>
        </p:txBody>
      </p:sp>
      <p:sp>
        <p:nvSpPr>
          <p:cNvPr id="44" name="TextBox 43">
            <a:extLst>
              <a:ext uri="{FF2B5EF4-FFF2-40B4-BE49-F238E27FC236}">
                <a16:creationId xmlns:a16="http://schemas.microsoft.com/office/drawing/2014/main" id="{367235A9-61CB-0D56-92F2-DA012A04C009}"/>
              </a:ext>
            </a:extLst>
          </p:cNvPr>
          <p:cNvSpPr txBox="1"/>
          <p:nvPr/>
        </p:nvSpPr>
        <p:spPr>
          <a:xfrm>
            <a:off x="4322661" y="1485986"/>
            <a:ext cx="1693613" cy="461665"/>
          </a:xfrm>
          <a:prstGeom prst="rect">
            <a:avLst/>
          </a:prstGeom>
          <a:noFill/>
        </p:spPr>
        <p:txBody>
          <a:bodyPr wrap="square" rtlCol="0">
            <a:spAutoFit/>
          </a:bodyPr>
          <a:lstStyle/>
          <a:p>
            <a:r>
              <a:rPr lang="en-US" sz="1200">
                <a:latin typeface="Helvetica Neue" panose="02000503000000020004" pitchFamily="2" charset="0"/>
                <a:ea typeface="Helvetica Neue" panose="02000503000000020004" pitchFamily="2" charset="0"/>
                <a:cs typeface="Helvetica Neue" panose="02000503000000020004" pitchFamily="2" charset="0"/>
              </a:rPr>
              <a:t>Neighbourhood income</a:t>
            </a:r>
          </a:p>
        </p:txBody>
      </p:sp>
      <p:sp>
        <p:nvSpPr>
          <p:cNvPr id="49" name="TextBox 48">
            <a:extLst>
              <a:ext uri="{FF2B5EF4-FFF2-40B4-BE49-F238E27FC236}">
                <a16:creationId xmlns:a16="http://schemas.microsoft.com/office/drawing/2014/main" id="{771007B6-7905-9A1C-8C24-59A06FEE1B26}"/>
              </a:ext>
            </a:extLst>
          </p:cNvPr>
          <p:cNvSpPr txBox="1"/>
          <p:nvPr/>
        </p:nvSpPr>
        <p:spPr>
          <a:xfrm>
            <a:off x="-618067" y="3606800"/>
            <a:ext cx="184731" cy="307777"/>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2783768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A7391800-18DA-DDBD-A328-63CC9479E47A}"/>
            </a:ext>
          </a:extLst>
        </p:cNvPr>
        <p:cNvGrpSpPr/>
        <p:nvPr/>
      </p:nvGrpSpPr>
      <p:grpSpPr>
        <a:xfrm>
          <a:off x="0" y="0"/>
          <a:ext cx="0" cy="0"/>
          <a:chOff x="0" y="0"/>
          <a:chExt cx="0" cy="0"/>
        </a:xfrm>
      </p:grpSpPr>
      <p:pic>
        <p:nvPicPr>
          <p:cNvPr id="44" name="Picture 43" descr="A black background with a black square&#10;&#10;Description automatically generated with medium confidence">
            <a:extLst>
              <a:ext uri="{FF2B5EF4-FFF2-40B4-BE49-F238E27FC236}">
                <a16:creationId xmlns:a16="http://schemas.microsoft.com/office/drawing/2014/main" id="{618E044F-297D-73D2-945A-ADCFB94E5BFA}"/>
              </a:ext>
            </a:extLst>
          </p:cNvPr>
          <p:cNvPicPr>
            <a:picLocks noChangeAspect="1"/>
          </p:cNvPicPr>
          <p:nvPr/>
        </p:nvPicPr>
        <p:blipFill>
          <a:blip r:embed="rId3"/>
          <a:stretch>
            <a:fillRect/>
          </a:stretch>
        </p:blipFill>
        <p:spPr>
          <a:xfrm>
            <a:off x="3777687" y="3843026"/>
            <a:ext cx="277200" cy="277200"/>
          </a:xfrm>
          <a:prstGeom prst="rect">
            <a:avLst/>
          </a:prstGeom>
        </p:spPr>
      </p:pic>
      <p:sp>
        <p:nvSpPr>
          <p:cNvPr id="13" name="Oval 12">
            <a:extLst>
              <a:ext uri="{FF2B5EF4-FFF2-40B4-BE49-F238E27FC236}">
                <a16:creationId xmlns:a16="http://schemas.microsoft.com/office/drawing/2014/main" id="{6DB50DF0-F4B4-4794-0FB1-57EDEEF33712}"/>
              </a:ext>
            </a:extLst>
          </p:cNvPr>
          <p:cNvSpPr/>
          <p:nvPr/>
        </p:nvSpPr>
        <p:spPr>
          <a:xfrm>
            <a:off x="3753997" y="2114749"/>
            <a:ext cx="1636005" cy="1636005"/>
          </a:xfrm>
          <a:prstGeom prst="ellipse">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Google Shape;95;p15">
            <a:extLst>
              <a:ext uri="{FF2B5EF4-FFF2-40B4-BE49-F238E27FC236}">
                <a16:creationId xmlns:a16="http://schemas.microsoft.com/office/drawing/2014/main" id="{126A7441-56DF-E491-F5CB-D88F79D7C156}"/>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mn-lt"/>
                <a:ea typeface="Helvetica Neue"/>
                <a:cs typeface="Helvetica Neue"/>
                <a:sym typeface="Helvetica Neue"/>
              </a:rPr>
              <a:t>Hypothesis: Data Availability</a:t>
            </a:r>
          </a:p>
        </p:txBody>
      </p:sp>
      <p:sp>
        <p:nvSpPr>
          <p:cNvPr id="9" name="Google Shape;98;p15">
            <a:extLst>
              <a:ext uri="{FF2B5EF4-FFF2-40B4-BE49-F238E27FC236}">
                <a16:creationId xmlns:a16="http://schemas.microsoft.com/office/drawing/2014/main" id="{4792F162-DAB2-A17C-0C63-8BA0812C1402}"/>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mn-lt"/>
                <a:ea typeface="Helvetica Neue Light"/>
                <a:cs typeface="Helvetica Neue Light"/>
                <a:sym typeface="Helvetica Neue Light"/>
              </a:rPr>
              <a:t>Data provided by the United States Census Bureau</a:t>
            </a:r>
          </a:p>
        </p:txBody>
      </p:sp>
      <p:sp>
        <p:nvSpPr>
          <p:cNvPr id="16" name="Google Shape;99;p15">
            <a:extLst>
              <a:ext uri="{FF2B5EF4-FFF2-40B4-BE49-F238E27FC236}">
                <a16:creationId xmlns:a16="http://schemas.microsoft.com/office/drawing/2014/main" id="{B63BD052-5A77-F427-BC48-B7E02C028F09}"/>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mn-lt"/>
            </a:endParaRPr>
          </a:p>
        </p:txBody>
      </p:sp>
      <p:pic>
        <p:nvPicPr>
          <p:cNvPr id="12" name="Graphic 11">
            <a:extLst>
              <a:ext uri="{FF2B5EF4-FFF2-40B4-BE49-F238E27FC236}">
                <a16:creationId xmlns:a16="http://schemas.microsoft.com/office/drawing/2014/main" id="{51CE64E6-6F17-B178-E74B-8035DDB064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10391" y="2718447"/>
            <a:ext cx="1123218" cy="434311"/>
          </a:xfrm>
          <a:prstGeom prst="rect">
            <a:avLst/>
          </a:prstGeom>
        </p:spPr>
      </p:pic>
      <p:sp>
        <p:nvSpPr>
          <p:cNvPr id="14" name="Oval 13">
            <a:extLst>
              <a:ext uri="{FF2B5EF4-FFF2-40B4-BE49-F238E27FC236}">
                <a16:creationId xmlns:a16="http://schemas.microsoft.com/office/drawing/2014/main" id="{E19288A1-F23B-55D9-2D09-03BBD6EB0070}"/>
              </a:ext>
            </a:extLst>
          </p:cNvPr>
          <p:cNvSpPr/>
          <p:nvPr/>
        </p:nvSpPr>
        <p:spPr>
          <a:xfrm>
            <a:off x="3685352" y="1611471"/>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8" name="Oval 17">
            <a:extLst>
              <a:ext uri="{FF2B5EF4-FFF2-40B4-BE49-F238E27FC236}">
                <a16:creationId xmlns:a16="http://schemas.microsoft.com/office/drawing/2014/main" id="{94368154-B6FA-3C51-BD36-97D5956C8ED6}"/>
              </a:ext>
            </a:extLst>
          </p:cNvPr>
          <p:cNvSpPr/>
          <p:nvPr/>
        </p:nvSpPr>
        <p:spPr>
          <a:xfrm>
            <a:off x="3082439" y="2693281"/>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27231587-2A2C-2577-7DCA-88D6DF06CBBE}"/>
              </a:ext>
            </a:extLst>
          </p:cNvPr>
          <p:cNvSpPr/>
          <p:nvPr/>
        </p:nvSpPr>
        <p:spPr>
          <a:xfrm>
            <a:off x="5004384" y="1616121"/>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Oval 19">
            <a:extLst>
              <a:ext uri="{FF2B5EF4-FFF2-40B4-BE49-F238E27FC236}">
                <a16:creationId xmlns:a16="http://schemas.microsoft.com/office/drawing/2014/main" id="{283521C3-3307-ADC9-FA7C-82257E283308}"/>
              </a:ext>
            </a:extLst>
          </p:cNvPr>
          <p:cNvSpPr/>
          <p:nvPr/>
        </p:nvSpPr>
        <p:spPr>
          <a:xfrm>
            <a:off x="5587425" y="2695670"/>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Oval 21">
            <a:extLst>
              <a:ext uri="{FF2B5EF4-FFF2-40B4-BE49-F238E27FC236}">
                <a16:creationId xmlns:a16="http://schemas.microsoft.com/office/drawing/2014/main" id="{7CAFE378-25C1-51F7-665B-64A16D47B368}"/>
              </a:ext>
            </a:extLst>
          </p:cNvPr>
          <p:cNvSpPr/>
          <p:nvPr/>
        </p:nvSpPr>
        <p:spPr>
          <a:xfrm>
            <a:off x="5001839" y="3742240"/>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Oval 22">
            <a:extLst>
              <a:ext uri="{FF2B5EF4-FFF2-40B4-BE49-F238E27FC236}">
                <a16:creationId xmlns:a16="http://schemas.microsoft.com/office/drawing/2014/main" id="{D2CEE4EC-BCD1-0D8A-9376-12880503B3E2}"/>
              </a:ext>
            </a:extLst>
          </p:cNvPr>
          <p:cNvSpPr/>
          <p:nvPr/>
        </p:nvSpPr>
        <p:spPr>
          <a:xfrm>
            <a:off x="3685352" y="3742240"/>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5" name="Oval 24">
            <a:extLst>
              <a:ext uri="{FF2B5EF4-FFF2-40B4-BE49-F238E27FC236}">
                <a16:creationId xmlns:a16="http://schemas.microsoft.com/office/drawing/2014/main" id="{EC9DD29C-9569-0C62-1AA5-9402C4DF9CDF}"/>
              </a:ext>
            </a:extLst>
          </p:cNvPr>
          <p:cNvSpPr/>
          <p:nvPr/>
        </p:nvSpPr>
        <p:spPr>
          <a:xfrm>
            <a:off x="3233146" y="2090253"/>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 name="Oval 25">
            <a:extLst>
              <a:ext uri="{FF2B5EF4-FFF2-40B4-BE49-F238E27FC236}">
                <a16:creationId xmlns:a16="http://schemas.microsoft.com/office/drawing/2014/main" id="{50A2EF1C-1524-F2BB-1DE1-BFDE64937BF6}"/>
              </a:ext>
            </a:extLst>
          </p:cNvPr>
          <p:cNvSpPr/>
          <p:nvPr/>
        </p:nvSpPr>
        <p:spPr>
          <a:xfrm>
            <a:off x="3233146" y="3238587"/>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8" name="Oval 27">
            <a:extLst>
              <a:ext uri="{FF2B5EF4-FFF2-40B4-BE49-F238E27FC236}">
                <a16:creationId xmlns:a16="http://schemas.microsoft.com/office/drawing/2014/main" id="{DEAE2EB0-15ED-6248-A0BF-B79B47E2D126}"/>
              </a:ext>
            </a:extLst>
          </p:cNvPr>
          <p:cNvSpPr/>
          <p:nvPr/>
        </p:nvSpPr>
        <p:spPr>
          <a:xfrm>
            <a:off x="5431680" y="3313217"/>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9" name="Oval 28">
            <a:extLst>
              <a:ext uri="{FF2B5EF4-FFF2-40B4-BE49-F238E27FC236}">
                <a16:creationId xmlns:a16="http://schemas.microsoft.com/office/drawing/2014/main" id="{C57626CF-4159-2C90-4379-7CECB41C3C56}"/>
              </a:ext>
            </a:extLst>
          </p:cNvPr>
          <p:cNvSpPr/>
          <p:nvPr/>
        </p:nvSpPr>
        <p:spPr>
          <a:xfrm>
            <a:off x="5426435" y="2090253"/>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grpSp>
        <p:nvGrpSpPr>
          <p:cNvPr id="2" name="Group 1">
            <a:extLst>
              <a:ext uri="{FF2B5EF4-FFF2-40B4-BE49-F238E27FC236}">
                <a16:creationId xmlns:a16="http://schemas.microsoft.com/office/drawing/2014/main" id="{7ADFBF78-6EE5-1722-CAE5-AA3EBDD105DC}"/>
              </a:ext>
            </a:extLst>
          </p:cNvPr>
          <p:cNvGrpSpPr/>
          <p:nvPr/>
        </p:nvGrpSpPr>
        <p:grpSpPr>
          <a:xfrm>
            <a:off x="4334932" y="1456323"/>
            <a:ext cx="474132" cy="474132"/>
            <a:chOff x="4334932" y="1303920"/>
            <a:chExt cx="474132" cy="474132"/>
          </a:xfrm>
        </p:grpSpPr>
        <p:sp>
          <p:nvSpPr>
            <p:cNvPr id="15" name="Oval 14">
              <a:extLst>
                <a:ext uri="{FF2B5EF4-FFF2-40B4-BE49-F238E27FC236}">
                  <a16:creationId xmlns:a16="http://schemas.microsoft.com/office/drawing/2014/main" id="{B2AB5709-C20E-E385-0927-E57830381DD4}"/>
                </a:ext>
              </a:extLst>
            </p:cNvPr>
            <p:cNvSpPr/>
            <p:nvPr/>
          </p:nvSpPr>
          <p:spPr>
            <a:xfrm>
              <a:off x="4334932" y="1303920"/>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31" name="Picture 30" descr="A black background with a black square&#10;&#10;Description automatically generated with medium confidence">
              <a:extLst>
                <a:ext uri="{FF2B5EF4-FFF2-40B4-BE49-F238E27FC236}">
                  <a16:creationId xmlns:a16="http://schemas.microsoft.com/office/drawing/2014/main" id="{905AF737-FF7C-BDD1-4D60-D6394D2D449A}"/>
                </a:ext>
              </a:extLst>
            </p:cNvPr>
            <p:cNvPicPr>
              <a:picLocks noChangeAspect="1"/>
            </p:cNvPicPr>
            <p:nvPr/>
          </p:nvPicPr>
          <p:blipFill>
            <a:blip r:embed="rId6"/>
            <a:stretch>
              <a:fillRect/>
            </a:stretch>
          </p:blipFill>
          <p:spPr>
            <a:xfrm>
              <a:off x="4433619" y="1398842"/>
              <a:ext cx="276758" cy="276758"/>
            </a:xfrm>
            <a:prstGeom prst="rect">
              <a:avLst/>
            </a:prstGeom>
          </p:spPr>
        </p:pic>
      </p:grpSp>
      <p:pic>
        <p:nvPicPr>
          <p:cNvPr id="34" name="Picture 33" descr="A black background with a black square&#10;&#10;Description automatically generated with medium confidence">
            <a:extLst>
              <a:ext uri="{FF2B5EF4-FFF2-40B4-BE49-F238E27FC236}">
                <a16:creationId xmlns:a16="http://schemas.microsoft.com/office/drawing/2014/main" id="{5054734E-EA61-AECA-94C1-37746D77A5FF}"/>
              </a:ext>
            </a:extLst>
          </p:cNvPr>
          <p:cNvPicPr>
            <a:picLocks noChangeAspect="1"/>
          </p:cNvPicPr>
          <p:nvPr/>
        </p:nvPicPr>
        <p:blipFill>
          <a:blip r:embed="rId7"/>
          <a:stretch>
            <a:fillRect/>
          </a:stretch>
        </p:blipFill>
        <p:spPr>
          <a:xfrm>
            <a:off x="3785360" y="1703731"/>
            <a:ext cx="277200" cy="277200"/>
          </a:xfrm>
          <a:prstGeom prst="rect">
            <a:avLst/>
          </a:prstGeom>
        </p:spPr>
      </p:pic>
      <p:pic>
        <p:nvPicPr>
          <p:cNvPr id="36" name="Picture 35">
            <a:extLst>
              <a:ext uri="{FF2B5EF4-FFF2-40B4-BE49-F238E27FC236}">
                <a16:creationId xmlns:a16="http://schemas.microsoft.com/office/drawing/2014/main" id="{41B30D0B-B7F8-DB64-13BB-4BBFADB44F10}"/>
              </a:ext>
            </a:extLst>
          </p:cNvPr>
          <p:cNvPicPr>
            <a:picLocks noChangeAspect="1"/>
          </p:cNvPicPr>
          <p:nvPr/>
        </p:nvPicPr>
        <p:blipFill>
          <a:blip r:embed="rId8"/>
          <a:srcRect/>
          <a:stretch/>
        </p:blipFill>
        <p:spPr>
          <a:xfrm>
            <a:off x="3331612" y="2184172"/>
            <a:ext cx="277200" cy="277200"/>
          </a:xfrm>
          <a:prstGeom prst="rect">
            <a:avLst/>
          </a:prstGeom>
        </p:spPr>
      </p:pic>
      <p:pic>
        <p:nvPicPr>
          <p:cNvPr id="38" name="Picture 37" descr="A black background with a black square&#10;&#10;Description automatically generated with medium confidence">
            <a:extLst>
              <a:ext uri="{FF2B5EF4-FFF2-40B4-BE49-F238E27FC236}">
                <a16:creationId xmlns:a16="http://schemas.microsoft.com/office/drawing/2014/main" id="{B202CC6E-40B4-D87D-837A-76FC80CF52BF}"/>
              </a:ext>
            </a:extLst>
          </p:cNvPr>
          <p:cNvPicPr>
            <a:picLocks noChangeAspect="1"/>
          </p:cNvPicPr>
          <p:nvPr/>
        </p:nvPicPr>
        <p:blipFill>
          <a:blip r:embed="rId9"/>
          <a:stretch>
            <a:fillRect/>
          </a:stretch>
        </p:blipFill>
        <p:spPr>
          <a:xfrm>
            <a:off x="3180905" y="2797003"/>
            <a:ext cx="277200" cy="277200"/>
          </a:xfrm>
          <a:prstGeom prst="rect">
            <a:avLst/>
          </a:prstGeom>
        </p:spPr>
      </p:pic>
      <p:pic>
        <p:nvPicPr>
          <p:cNvPr id="40" name="Picture 39" descr="A black background with a black square&#10;&#10;Description automatically generated with medium confidence">
            <a:extLst>
              <a:ext uri="{FF2B5EF4-FFF2-40B4-BE49-F238E27FC236}">
                <a16:creationId xmlns:a16="http://schemas.microsoft.com/office/drawing/2014/main" id="{286C447D-A835-CDAB-70D2-FEE06E8C5213}"/>
              </a:ext>
            </a:extLst>
          </p:cNvPr>
          <p:cNvPicPr>
            <a:picLocks noChangeAspect="1"/>
          </p:cNvPicPr>
          <p:nvPr/>
        </p:nvPicPr>
        <p:blipFill>
          <a:blip r:embed="rId10"/>
          <a:stretch>
            <a:fillRect/>
          </a:stretch>
        </p:blipFill>
        <p:spPr>
          <a:xfrm>
            <a:off x="3331612" y="3338351"/>
            <a:ext cx="277200" cy="277200"/>
          </a:xfrm>
          <a:prstGeom prst="rect">
            <a:avLst/>
          </a:prstGeom>
        </p:spPr>
      </p:pic>
      <p:pic>
        <p:nvPicPr>
          <p:cNvPr id="42" name="Picture 41" descr="A black background with a black square&#10;&#10;Description automatically generated with medium confidence">
            <a:extLst>
              <a:ext uri="{FF2B5EF4-FFF2-40B4-BE49-F238E27FC236}">
                <a16:creationId xmlns:a16="http://schemas.microsoft.com/office/drawing/2014/main" id="{A2750E97-DE9E-2E6C-ED4C-2EC5730211C1}"/>
              </a:ext>
            </a:extLst>
          </p:cNvPr>
          <p:cNvPicPr>
            <a:picLocks noChangeAspect="1"/>
          </p:cNvPicPr>
          <p:nvPr/>
        </p:nvPicPr>
        <p:blipFill>
          <a:blip r:embed="rId11"/>
          <a:stretch>
            <a:fillRect/>
          </a:stretch>
        </p:blipFill>
        <p:spPr>
          <a:xfrm>
            <a:off x="3829489" y="3887158"/>
            <a:ext cx="182244" cy="182244"/>
          </a:xfrm>
          <a:prstGeom prst="rect">
            <a:avLst/>
          </a:prstGeom>
        </p:spPr>
      </p:pic>
      <p:grpSp>
        <p:nvGrpSpPr>
          <p:cNvPr id="3" name="Group 2">
            <a:extLst>
              <a:ext uri="{FF2B5EF4-FFF2-40B4-BE49-F238E27FC236}">
                <a16:creationId xmlns:a16="http://schemas.microsoft.com/office/drawing/2014/main" id="{08D9D726-0A16-C56C-99C0-2A8460BD71E3}"/>
              </a:ext>
            </a:extLst>
          </p:cNvPr>
          <p:cNvGrpSpPr/>
          <p:nvPr/>
        </p:nvGrpSpPr>
        <p:grpSpPr>
          <a:xfrm>
            <a:off x="4334932" y="3887158"/>
            <a:ext cx="474132" cy="474132"/>
            <a:chOff x="4334932" y="3734755"/>
            <a:chExt cx="474132" cy="474132"/>
          </a:xfrm>
        </p:grpSpPr>
        <p:sp>
          <p:nvSpPr>
            <p:cNvPr id="24" name="Oval 23">
              <a:extLst>
                <a:ext uri="{FF2B5EF4-FFF2-40B4-BE49-F238E27FC236}">
                  <a16:creationId xmlns:a16="http://schemas.microsoft.com/office/drawing/2014/main" id="{AF3B4B02-2632-0A2E-1842-D5F59C8291E6}"/>
                </a:ext>
              </a:extLst>
            </p:cNvPr>
            <p:cNvSpPr/>
            <p:nvPr/>
          </p:nvSpPr>
          <p:spPr>
            <a:xfrm>
              <a:off x="4334932" y="3734755"/>
              <a:ext cx="474132" cy="474132"/>
            </a:xfrm>
            <a:prstGeom prst="ellipse">
              <a:avLst/>
            </a:prstGeom>
            <a:no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46" name="Picture 45" descr="A black background with a black square&#10;&#10;Description automatically generated with medium confidence">
              <a:extLst>
                <a:ext uri="{FF2B5EF4-FFF2-40B4-BE49-F238E27FC236}">
                  <a16:creationId xmlns:a16="http://schemas.microsoft.com/office/drawing/2014/main" id="{36AD0C6D-22E3-3CB1-48F8-AF06FE203E37}"/>
                </a:ext>
              </a:extLst>
            </p:cNvPr>
            <p:cNvPicPr>
              <a:picLocks noChangeAspect="1"/>
            </p:cNvPicPr>
            <p:nvPr/>
          </p:nvPicPr>
          <p:blipFill>
            <a:blip r:embed="rId12"/>
            <a:stretch>
              <a:fillRect/>
            </a:stretch>
          </p:blipFill>
          <p:spPr>
            <a:xfrm>
              <a:off x="4433177" y="3838764"/>
              <a:ext cx="277200" cy="277200"/>
            </a:xfrm>
            <a:prstGeom prst="rect">
              <a:avLst/>
            </a:prstGeom>
          </p:spPr>
        </p:pic>
      </p:grpSp>
      <p:pic>
        <p:nvPicPr>
          <p:cNvPr id="50" name="Picture 49" descr="A black background with a black square&#10;&#10;Description automatically generated with medium confidence">
            <a:extLst>
              <a:ext uri="{FF2B5EF4-FFF2-40B4-BE49-F238E27FC236}">
                <a16:creationId xmlns:a16="http://schemas.microsoft.com/office/drawing/2014/main" id="{0D666387-9674-076F-7B8B-9388F7DD28C5}"/>
              </a:ext>
            </a:extLst>
          </p:cNvPr>
          <p:cNvPicPr>
            <a:picLocks noChangeAspect="1"/>
          </p:cNvPicPr>
          <p:nvPr/>
        </p:nvPicPr>
        <p:blipFill>
          <a:blip r:embed="rId13"/>
          <a:stretch>
            <a:fillRect/>
          </a:stretch>
        </p:blipFill>
        <p:spPr>
          <a:xfrm>
            <a:off x="5100305" y="3841407"/>
            <a:ext cx="277200" cy="277200"/>
          </a:xfrm>
          <a:prstGeom prst="rect">
            <a:avLst/>
          </a:prstGeom>
        </p:spPr>
      </p:pic>
      <p:pic>
        <p:nvPicPr>
          <p:cNvPr id="52" name="Picture 51" descr="A black background with a black square&#10;&#10;Description automatically generated with medium confidence">
            <a:extLst>
              <a:ext uri="{FF2B5EF4-FFF2-40B4-BE49-F238E27FC236}">
                <a16:creationId xmlns:a16="http://schemas.microsoft.com/office/drawing/2014/main" id="{53E4AF67-63E0-B4E6-A08D-EA24065D26C8}"/>
              </a:ext>
            </a:extLst>
          </p:cNvPr>
          <p:cNvPicPr>
            <a:picLocks noChangeAspect="1"/>
          </p:cNvPicPr>
          <p:nvPr/>
        </p:nvPicPr>
        <p:blipFill>
          <a:blip r:embed="rId14"/>
          <a:stretch>
            <a:fillRect/>
          </a:stretch>
        </p:blipFill>
        <p:spPr>
          <a:xfrm>
            <a:off x="5524901" y="3411683"/>
            <a:ext cx="277200" cy="277200"/>
          </a:xfrm>
          <a:prstGeom prst="rect">
            <a:avLst/>
          </a:prstGeom>
        </p:spPr>
      </p:pic>
      <p:pic>
        <p:nvPicPr>
          <p:cNvPr id="54" name="Picture 53" descr="A black background with a black square&#10;&#10;Description automatically generated with medium confidence">
            <a:extLst>
              <a:ext uri="{FF2B5EF4-FFF2-40B4-BE49-F238E27FC236}">
                <a16:creationId xmlns:a16="http://schemas.microsoft.com/office/drawing/2014/main" id="{BDCF4243-9763-FDBE-90CE-E20E4511B50F}"/>
              </a:ext>
            </a:extLst>
          </p:cNvPr>
          <p:cNvPicPr>
            <a:picLocks noChangeAspect="1"/>
          </p:cNvPicPr>
          <p:nvPr/>
        </p:nvPicPr>
        <p:blipFill>
          <a:blip r:embed="rId15"/>
          <a:stretch>
            <a:fillRect/>
          </a:stretch>
        </p:blipFill>
        <p:spPr>
          <a:xfrm>
            <a:off x="5685891" y="2792793"/>
            <a:ext cx="277200" cy="277200"/>
          </a:xfrm>
          <a:prstGeom prst="rect">
            <a:avLst/>
          </a:prstGeom>
        </p:spPr>
      </p:pic>
      <p:pic>
        <p:nvPicPr>
          <p:cNvPr id="56" name="Picture 55" descr="A black silhouette of a flag&#10;&#10;Description automatically generated">
            <a:extLst>
              <a:ext uri="{FF2B5EF4-FFF2-40B4-BE49-F238E27FC236}">
                <a16:creationId xmlns:a16="http://schemas.microsoft.com/office/drawing/2014/main" id="{E9E78509-18B8-AE03-1630-282F94CAF043}"/>
              </a:ext>
            </a:extLst>
          </p:cNvPr>
          <p:cNvPicPr>
            <a:picLocks noChangeAspect="1"/>
          </p:cNvPicPr>
          <p:nvPr/>
        </p:nvPicPr>
        <p:blipFill>
          <a:blip r:embed="rId16"/>
          <a:stretch>
            <a:fillRect/>
          </a:stretch>
        </p:blipFill>
        <p:spPr>
          <a:xfrm>
            <a:off x="5524901" y="2184172"/>
            <a:ext cx="277200" cy="277200"/>
          </a:xfrm>
          <a:prstGeom prst="rect">
            <a:avLst/>
          </a:prstGeom>
        </p:spPr>
      </p:pic>
      <p:pic>
        <p:nvPicPr>
          <p:cNvPr id="58" name="Picture 57" descr="A black and white image of a building&#10;&#10;Description automatically generated">
            <a:extLst>
              <a:ext uri="{FF2B5EF4-FFF2-40B4-BE49-F238E27FC236}">
                <a16:creationId xmlns:a16="http://schemas.microsoft.com/office/drawing/2014/main" id="{25F1F889-7646-76B0-715A-2116982619F8}"/>
              </a:ext>
            </a:extLst>
          </p:cNvPr>
          <p:cNvPicPr>
            <a:picLocks noChangeAspect="1"/>
          </p:cNvPicPr>
          <p:nvPr/>
        </p:nvPicPr>
        <p:blipFill>
          <a:blip r:embed="rId17"/>
          <a:stretch>
            <a:fillRect/>
          </a:stretch>
        </p:blipFill>
        <p:spPr>
          <a:xfrm>
            <a:off x="5100305" y="1719780"/>
            <a:ext cx="277200" cy="277200"/>
          </a:xfrm>
          <a:prstGeom prst="rect">
            <a:avLst/>
          </a:prstGeom>
        </p:spPr>
      </p:pic>
      <p:grpSp>
        <p:nvGrpSpPr>
          <p:cNvPr id="136" name="Group 135">
            <a:extLst>
              <a:ext uri="{FF2B5EF4-FFF2-40B4-BE49-F238E27FC236}">
                <a16:creationId xmlns:a16="http://schemas.microsoft.com/office/drawing/2014/main" id="{931FA62B-15CD-533D-DCAC-FF7E63A8614F}"/>
              </a:ext>
            </a:extLst>
          </p:cNvPr>
          <p:cNvGrpSpPr/>
          <p:nvPr/>
        </p:nvGrpSpPr>
        <p:grpSpPr>
          <a:xfrm>
            <a:off x="3525955" y="744724"/>
            <a:ext cx="2094119" cy="623037"/>
            <a:chOff x="3525955" y="770550"/>
            <a:chExt cx="2094119" cy="623037"/>
          </a:xfrm>
        </p:grpSpPr>
        <p:sp>
          <p:nvSpPr>
            <p:cNvPr id="107" name="TextBox 106">
              <a:extLst>
                <a:ext uri="{FF2B5EF4-FFF2-40B4-BE49-F238E27FC236}">
                  <a16:creationId xmlns:a16="http://schemas.microsoft.com/office/drawing/2014/main" id="{98E75885-A305-9E3F-F8CC-2681A5F5DA7A}"/>
                </a:ext>
              </a:extLst>
            </p:cNvPr>
            <p:cNvSpPr txBox="1"/>
            <p:nvPr/>
          </p:nvSpPr>
          <p:spPr>
            <a:xfrm>
              <a:off x="3726213" y="770550"/>
              <a:ext cx="1691127" cy="261610"/>
            </a:xfrm>
            <a:prstGeom prst="rect">
              <a:avLst/>
            </a:prstGeom>
            <a:noFill/>
          </p:spPr>
          <p:txBody>
            <a:bodyPr wrap="square" rtlCol="0">
              <a:spAutoFit/>
            </a:bodyPr>
            <a:lstStyle/>
            <a:p>
              <a:pPr algn="ctr"/>
              <a:r>
                <a:rPr lang="en-US" sz="1100" b="1">
                  <a:latin typeface="Helvetica Neue" panose="02000503000000020004" pitchFamily="2" charset="0"/>
                  <a:ea typeface="Helvetica Neue" panose="02000503000000020004" pitchFamily="2" charset="0"/>
                  <a:cs typeface="Helvetica Neue" panose="02000503000000020004" pitchFamily="2" charset="0"/>
                </a:rPr>
                <a:t>Avg. Household Value</a:t>
              </a:r>
            </a:p>
          </p:txBody>
        </p:sp>
        <p:sp>
          <p:nvSpPr>
            <p:cNvPr id="108" name="TextBox 107">
              <a:extLst>
                <a:ext uri="{FF2B5EF4-FFF2-40B4-BE49-F238E27FC236}">
                  <a16:creationId xmlns:a16="http://schemas.microsoft.com/office/drawing/2014/main" id="{B7BB3696-67D0-4276-67B8-4E554086A73C}"/>
                </a:ext>
              </a:extLst>
            </p:cNvPr>
            <p:cNvSpPr txBox="1"/>
            <p:nvPr/>
          </p:nvSpPr>
          <p:spPr>
            <a:xfrm>
              <a:off x="3525955" y="993477"/>
              <a:ext cx="2094119" cy="400110"/>
            </a:xfrm>
            <a:prstGeom prst="rect">
              <a:avLst/>
            </a:prstGeom>
            <a:noFill/>
          </p:spPr>
          <p:txBody>
            <a:bodyPr wrap="square" rtlCol="0">
              <a:spAutoFit/>
            </a:bodyPr>
            <a:lstStyle/>
            <a:p>
              <a:pPr algn="ctr"/>
              <a:r>
                <a:rPr lang="en-US" sz="1000">
                  <a:latin typeface="Helvetica Neue" panose="02000503000000020004" pitchFamily="2" charset="0"/>
                  <a:ea typeface="Helvetica Neue" panose="02000503000000020004" pitchFamily="2" charset="0"/>
                  <a:cs typeface="Helvetica Neue" panose="02000503000000020004" pitchFamily="2" charset="0"/>
                </a:rPr>
                <a:t>“Frappuccino Effect” increasing local household value</a:t>
              </a:r>
            </a:p>
          </p:txBody>
        </p:sp>
      </p:grpSp>
      <p:grpSp>
        <p:nvGrpSpPr>
          <p:cNvPr id="130" name="Group 129">
            <a:extLst>
              <a:ext uri="{FF2B5EF4-FFF2-40B4-BE49-F238E27FC236}">
                <a16:creationId xmlns:a16="http://schemas.microsoft.com/office/drawing/2014/main" id="{26C81BAC-7D0B-4206-2FE2-EF7969100C66}"/>
              </a:ext>
            </a:extLst>
          </p:cNvPr>
          <p:cNvGrpSpPr/>
          <p:nvPr/>
        </p:nvGrpSpPr>
        <p:grpSpPr>
          <a:xfrm>
            <a:off x="2217140" y="1160503"/>
            <a:ext cx="2094119" cy="606528"/>
            <a:chOff x="1953054" y="1178342"/>
            <a:chExt cx="2094119" cy="606528"/>
          </a:xfrm>
        </p:grpSpPr>
        <p:sp>
          <p:nvSpPr>
            <p:cNvPr id="117" name="TextBox 116">
              <a:extLst>
                <a:ext uri="{FF2B5EF4-FFF2-40B4-BE49-F238E27FC236}">
                  <a16:creationId xmlns:a16="http://schemas.microsoft.com/office/drawing/2014/main" id="{7791D687-70AE-4BE4-EEE9-360244E80D61}"/>
                </a:ext>
              </a:extLst>
            </p:cNvPr>
            <p:cNvSpPr txBox="1"/>
            <p:nvPr/>
          </p:nvSpPr>
          <p:spPr>
            <a:xfrm>
              <a:off x="1953054" y="1178342"/>
              <a:ext cx="1310247" cy="261610"/>
            </a:xfrm>
            <a:prstGeom prst="rect">
              <a:avLst/>
            </a:prstGeom>
            <a:noFill/>
          </p:spPr>
          <p:txBody>
            <a:bodyPr wrap="square" lIns="91440" tIns="45720" rIns="91440" bIns="45720" rtlCol="0" anchor="t">
              <a:spAutoFit/>
            </a:bodyPr>
            <a:lstStyle/>
            <a:p>
              <a:r>
                <a:rPr lang="en-US" sz="1100" b="1">
                  <a:latin typeface="Helvetica Neue"/>
                  <a:ea typeface="Helvetica Neue" panose="02000503000000020004" pitchFamily="2" charset="0"/>
                  <a:cs typeface="Helvetica Neue" panose="02000503000000020004" pitchFamily="2" charset="0"/>
                </a:rPr>
                <a:t>Avg. Median Age</a:t>
              </a:r>
              <a:endParaRPr lang="en-US" sz="1100" b="1">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18" name="TextBox 117">
              <a:extLst>
                <a:ext uri="{FF2B5EF4-FFF2-40B4-BE49-F238E27FC236}">
                  <a16:creationId xmlns:a16="http://schemas.microsoft.com/office/drawing/2014/main" id="{7D70FA7F-AB44-970D-A7D5-16EA4389671C}"/>
                </a:ext>
              </a:extLst>
            </p:cNvPr>
            <p:cNvSpPr txBox="1"/>
            <p:nvPr/>
          </p:nvSpPr>
          <p:spPr>
            <a:xfrm>
              <a:off x="1953054" y="1384760"/>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Implied younger age demographic</a:t>
              </a:r>
            </a:p>
          </p:txBody>
        </p:sp>
      </p:grpSp>
      <p:grpSp>
        <p:nvGrpSpPr>
          <p:cNvPr id="131" name="Group 130">
            <a:extLst>
              <a:ext uri="{FF2B5EF4-FFF2-40B4-BE49-F238E27FC236}">
                <a16:creationId xmlns:a16="http://schemas.microsoft.com/office/drawing/2014/main" id="{11DF900F-FE72-B1CB-F63E-8AD66B77A296}"/>
              </a:ext>
            </a:extLst>
          </p:cNvPr>
          <p:cNvGrpSpPr/>
          <p:nvPr/>
        </p:nvGrpSpPr>
        <p:grpSpPr>
          <a:xfrm>
            <a:off x="1411911" y="1821615"/>
            <a:ext cx="1919702" cy="606528"/>
            <a:chOff x="1411911" y="1818707"/>
            <a:chExt cx="1919702" cy="606528"/>
          </a:xfrm>
        </p:grpSpPr>
        <p:sp>
          <p:nvSpPr>
            <p:cNvPr id="119" name="TextBox 118">
              <a:extLst>
                <a:ext uri="{FF2B5EF4-FFF2-40B4-BE49-F238E27FC236}">
                  <a16:creationId xmlns:a16="http://schemas.microsoft.com/office/drawing/2014/main" id="{DC67BD25-E52A-9279-5A1A-C1305714B246}"/>
                </a:ext>
              </a:extLst>
            </p:cNvPr>
            <p:cNvSpPr txBox="1"/>
            <p:nvPr/>
          </p:nvSpPr>
          <p:spPr>
            <a:xfrm>
              <a:off x="1435107" y="1818707"/>
              <a:ext cx="1154784" cy="261610"/>
            </a:xfrm>
            <a:prstGeom prst="rect">
              <a:avLst/>
            </a:prstGeom>
            <a:noFill/>
          </p:spPr>
          <p:txBody>
            <a:bodyPr wrap="square" rtlCol="0">
              <a:spAutoFit/>
            </a:bodyPr>
            <a:lstStyle/>
            <a:p>
              <a:pPr algn="ctr"/>
              <a:r>
                <a:rPr lang="en-US" sz="1100" b="1">
                  <a:latin typeface="Helvetica Neue" panose="02000503000000020004" pitchFamily="2" charset="0"/>
                  <a:ea typeface="Helvetica Neue" panose="02000503000000020004" pitchFamily="2" charset="0"/>
                  <a:cs typeface="Helvetica Neue" panose="02000503000000020004" pitchFamily="2" charset="0"/>
                </a:rPr>
                <a:t>Avg. Sex Ratio</a:t>
              </a:r>
            </a:p>
          </p:txBody>
        </p:sp>
        <p:sp>
          <p:nvSpPr>
            <p:cNvPr id="120" name="TextBox 119">
              <a:extLst>
                <a:ext uri="{FF2B5EF4-FFF2-40B4-BE49-F238E27FC236}">
                  <a16:creationId xmlns:a16="http://schemas.microsoft.com/office/drawing/2014/main" id="{DF6DC36A-FC31-C89A-EE1B-9DC270C45990}"/>
                </a:ext>
              </a:extLst>
            </p:cNvPr>
            <p:cNvSpPr txBox="1"/>
            <p:nvPr/>
          </p:nvSpPr>
          <p:spPr>
            <a:xfrm>
              <a:off x="1411911" y="2025125"/>
              <a:ext cx="1919702"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Implied 65-35 female gender preference</a:t>
              </a:r>
            </a:p>
          </p:txBody>
        </p:sp>
      </p:grpSp>
      <p:grpSp>
        <p:nvGrpSpPr>
          <p:cNvPr id="132" name="Group 131">
            <a:extLst>
              <a:ext uri="{FF2B5EF4-FFF2-40B4-BE49-F238E27FC236}">
                <a16:creationId xmlns:a16="http://schemas.microsoft.com/office/drawing/2014/main" id="{83486ECC-D817-922B-FE58-9100C0ED960E}"/>
              </a:ext>
            </a:extLst>
          </p:cNvPr>
          <p:cNvGrpSpPr/>
          <p:nvPr/>
        </p:nvGrpSpPr>
        <p:grpSpPr>
          <a:xfrm>
            <a:off x="1093043" y="2544469"/>
            <a:ext cx="2096026" cy="606528"/>
            <a:chOff x="1093043" y="2593003"/>
            <a:chExt cx="2096026" cy="606528"/>
          </a:xfrm>
        </p:grpSpPr>
        <p:sp>
          <p:nvSpPr>
            <p:cNvPr id="121" name="TextBox 120">
              <a:extLst>
                <a:ext uri="{FF2B5EF4-FFF2-40B4-BE49-F238E27FC236}">
                  <a16:creationId xmlns:a16="http://schemas.microsoft.com/office/drawing/2014/main" id="{80D0F9FD-0FCE-E8EC-E25A-6724EBA2C358}"/>
                </a:ext>
              </a:extLst>
            </p:cNvPr>
            <p:cNvSpPr txBox="1"/>
            <p:nvPr/>
          </p:nvSpPr>
          <p:spPr>
            <a:xfrm>
              <a:off x="1093043" y="2593003"/>
              <a:ext cx="1351053"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Sum Undergrads</a:t>
              </a:r>
            </a:p>
          </p:txBody>
        </p:sp>
        <p:sp>
          <p:nvSpPr>
            <p:cNvPr id="122" name="TextBox 121">
              <a:extLst>
                <a:ext uri="{FF2B5EF4-FFF2-40B4-BE49-F238E27FC236}">
                  <a16:creationId xmlns:a16="http://schemas.microsoft.com/office/drawing/2014/main" id="{369E01CC-C252-F14A-50E0-C6421AFCE70B}"/>
                </a:ext>
              </a:extLst>
            </p:cNvPr>
            <p:cNvSpPr txBox="1"/>
            <p:nvPr/>
          </p:nvSpPr>
          <p:spPr>
            <a:xfrm>
              <a:off x="1094950" y="2799421"/>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Young professionals tend to prefer Starbucks drinks</a:t>
              </a:r>
            </a:p>
          </p:txBody>
        </p:sp>
      </p:grpSp>
      <p:grpSp>
        <p:nvGrpSpPr>
          <p:cNvPr id="133" name="Group 132">
            <a:extLst>
              <a:ext uri="{FF2B5EF4-FFF2-40B4-BE49-F238E27FC236}">
                <a16:creationId xmlns:a16="http://schemas.microsoft.com/office/drawing/2014/main" id="{015AA589-2DF9-ED2A-AB5A-63731A81AAC3}"/>
              </a:ext>
            </a:extLst>
          </p:cNvPr>
          <p:cNvGrpSpPr/>
          <p:nvPr/>
        </p:nvGrpSpPr>
        <p:grpSpPr>
          <a:xfrm>
            <a:off x="1435107" y="3234879"/>
            <a:ext cx="2096026" cy="606528"/>
            <a:chOff x="1435107" y="3364177"/>
            <a:chExt cx="2096026" cy="606528"/>
          </a:xfrm>
        </p:grpSpPr>
        <p:sp>
          <p:nvSpPr>
            <p:cNvPr id="123" name="TextBox 122">
              <a:extLst>
                <a:ext uri="{FF2B5EF4-FFF2-40B4-BE49-F238E27FC236}">
                  <a16:creationId xmlns:a16="http://schemas.microsoft.com/office/drawing/2014/main" id="{CC264EA4-F047-5D79-A368-3F9F4626DE95}"/>
                </a:ext>
              </a:extLst>
            </p:cNvPr>
            <p:cNvSpPr txBox="1"/>
            <p:nvPr/>
          </p:nvSpPr>
          <p:spPr>
            <a:xfrm>
              <a:off x="1435107" y="3364177"/>
              <a:ext cx="1544594"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Sum Workers</a:t>
              </a:r>
            </a:p>
          </p:txBody>
        </p:sp>
        <p:sp>
          <p:nvSpPr>
            <p:cNvPr id="124" name="TextBox 123">
              <a:extLst>
                <a:ext uri="{FF2B5EF4-FFF2-40B4-BE49-F238E27FC236}">
                  <a16:creationId xmlns:a16="http://schemas.microsoft.com/office/drawing/2014/main" id="{9ECFE409-B21B-ECD5-E219-BA990639A460}"/>
                </a:ext>
              </a:extLst>
            </p:cNvPr>
            <p:cNvSpPr txBox="1"/>
            <p:nvPr/>
          </p:nvSpPr>
          <p:spPr>
            <a:xfrm>
              <a:off x="1437014" y="3570595"/>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Prioritization of locations </a:t>
              </a:r>
            </a:p>
            <a:p>
              <a:r>
                <a:rPr lang="en-US" sz="1000">
                  <a:latin typeface="Helvetica Neue" panose="02000503000000020004" pitchFamily="2" charset="0"/>
                  <a:ea typeface="Helvetica Neue" panose="02000503000000020004" pitchFamily="2" charset="0"/>
                  <a:cs typeface="Helvetica Neue" panose="02000503000000020004" pitchFamily="2" charset="0"/>
                </a:rPr>
                <a:t>near working offices</a:t>
              </a:r>
            </a:p>
          </p:txBody>
        </p:sp>
      </p:grpSp>
      <p:grpSp>
        <p:nvGrpSpPr>
          <p:cNvPr id="134" name="Group 133">
            <a:extLst>
              <a:ext uri="{FF2B5EF4-FFF2-40B4-BE49-F238E27FC236}">
                <a16:creationId xmlns:a16="http://schemas.microsoft.com/office/drawing/2014/main" id="{E4C99937-B766-E7A1-88A8-024E1A4271D6}"/>
              </a:ext>
            </a:extLst>
          </p:cNvPr>
          <p:cNvGrpSpPr/>
          <p:nvPr/>
        </p:nvGrpSpPr>
        <p:grpSpPr>
          <a:xfrm>
            <a:off x="1749064" y="3986230"/>
            <a:ext cx="2096026" cy="606528"/>
            <a:chOff x="1932604" y="4011284"/>
            <a:chExt cx="2096026" cy="606528"/>
          </a:xfrm>
        </p:grpSpPr>
        <p:sp>
          <p:nvSpPr>
            <p:cNvPr id="125" name="TextBox 124">
              <a:extLst>
                <a:ext uri="{FF2B5EF4-FFF2-40B4-BE49-F238E27FC236}">
                  <a16:creationId xmlns:a16="http://schemas.microsoft.com/office/drawing/2014/main" id="{23B6F683-8668-A365-19E7-18E4801B327E}"/>
                </a:ext>
              </a:extLst>
            </p:cNvPr>
            <p:cNvSpPr txBox="1"/>
            <p:nvPr/>
          </p:nvSpPr>
          <p:spPr>
            <a:xfrm>
              <a:off x="1932604" y="4011284"/>
              <a:ext cx="1821393"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Sum Non-WFH Workers</a:t>
              </a:r>
            </a:p>
          </p:txBody>
        </p:sp>
        <p:sp>
          <p:nvSpPr>
            <p:cNvPr id="126" name="TextBox 125">
              <a:extLst>
                <a:ext uri="{FF2B5EF4-FFF2-40B4-BE49-F238E27FC236}">
                  <a16:creationId xmlns:a16="http://schemas.microsoft.com/office/drawing/2014/main" id="{727A1A4D-95DF-591F-C5D1-A582FEA3512A}"/>
                </a:ext>
              </a:extLst>
            </p:cNvPr>
            <p:cNvSpPr txBox="1"/>
            <p:nvPr/>
          </p:nvSpPr>
          <p:spPr>
            <a:xfrm>
              <a:off x="1934511" y="4217702"/>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WFH employees may prefer the “Third-Place” work concept</a:t>
              </a:r>
            </a:p>
          </p:txBody>
        </p:sp>
      </p:grpSp>
      <p:grpSp>
        <p:nvGrpSpPr>
          <p:cNvPr id="135" name="Group 134">
            <a:extLst>
              <a:ext uri="{FF2B5EF4-FFF2-40B4-BE49-F238E27FC236}">
                <a16:creationId xmlns:a16="http://schemas.microsoft.com/office/drawing/2014/main" id="{F71ECFED-9749-9E3D-F496-04C65210EA22}"/>
              </a:ext>
            </a:extLst>
          </p:cNvPr>
          <p:cNvGrpSpPr/>
          <p:nvPr/>
        </p:nvGrpSpPr>
        <p:grpSpPr>
          <a:xfrm>
            <a:off x="3525955" y="4347657"/>
            <a:ext cx="2094119" cy="623037"/>
            <a:chOff x="3525955" y="4373483"/>
            <a:chExt cx="2094119" cy="623037"/>
          </a:xfrm>
        </p:grpSpPr>
        <p:sp>
          <p:nvSpPr>
            <p:cNvPr id="127" name="TextBox 126">
              <a:extLst>
                <a:ext uri="{FF2B5EF4-FFF2-40B4-BE49-F238E27FC236}">
                  <a16:creationId xmlns:a16="http://schemas.microsoft.com/office/drawing/2014/main" id="{40741E35-1044-2BEB-9D74-5862EECD8D50}"/>
                </a:ext>
              </a:extLst>
            </p:cNvPr>
            <p:cNvSpPr txBox="1"/>
            <p:nvPr/>
          </p:nvSpPr>
          <p:spPr>
            <a:xfrm>
              <a:off x="3685352" y="4373483"/>
              <a:ext cx="1775553" cy="261610"/>
            </a:xfrm>
            <a:prstGeom prst="rect">
              <a:avLst/>
            </a:prstGeom>
            <a:noFill/>
          </p:spPr>
          <p:txBody>
            <a:bodyPr wrap="square" rtlCol="0">
              <a:spAutoFit/>
            </a:bodyPr>
            <a:lstStyle/>
            <a:p>
              <a:pPr algn="ctr"/>
              <a:r>
                <a:rPr lang="en-US" sz="1100" b="1">
                  <a:latin typeface="Helvetica Neue" panose="02000503000000020004" pitchFamily="2" charset="0"/>
                  <a:ea typeface="Helvetica Neue" panose="02000503000000020004" pitchFamily="2" charset="0"/>
                  <a:cs typeface="Helvetica Neue" panose="02000503000000020004" pitchFamily="2" charset="0"/>
                </a:rPr>
                <a:t>Sum Commute Vehicles</a:t>
              </a:r>
            </a:p>
          </p:txBody>
        </p:sp>
        <p:sp>
          <p:nvSpPr>
            <p:cNvPr id="128" name="TextBox 127">
              <a:extLst>
                <a:ext uri="{FF2B5EF4-FFF2-40B4-BE49-F238E27FC236}">
                  <a16:creationId xmlns:a16="http://schemas.microsoft.com/office/drawing/2014/main" id="{5543D808-931A-00EC-D64F-4B313B3E100C}"/>
                </a:ext>
              </a:extLst>
            </p:cNvPr>
            <p:cNvSpPr txBox="1"/>
            <p:nvPr/>
          </p:nvSpPr>
          <p:spPr>
            <a:xfrm>
              <a:off x="3525955" y="4596410"/>
              <a:ext cx="2094119" cy="400110"/>
            </a:xfrm>
            <a:prstGeom prst="rect">
              <a:avLst/>
            </a:prstGeom>
            <a:noFill/>
          </p:spPr>
          <p:txBody>
            <a:bodyPr wrap="square" rtlCol="0">
              <a:spAutoFit/>
            </a:bodyPr>
            <a:lstStyle/>
            <a:p>
              <a:pPr algn="ctr"/>
              <a:r>
                <a:rPr lang="en-US" sz="1000">
                  <a:latin typeface="Helvetica Neue" panose="02000503000000020004" pitchFamily="2" charset="0"/>
                  <a:ea typeface="Helvetica Neue" panose="02000503000000020004" pitchFamily="2" charset="0"/>
                  <a:cs typeface="Helvetica Neue" panose="02000503000000020004" pitchFamily="2" charset="0"/>
                </a:rPr>
                <a:t>Increased congestion could lead to more location desirability</a:t>
              </a:r>
            </a:p>
          </p:txBody>
        </p:sp>
      </p:grpSp>
      <p:grpSp>
        <p:nvGrpSpPr>
          <p:cNvPr id="137" name="Group 136">
            <a:extLst>
              <a:ext uri="{FF2B5EF4-FFF2-40B4-BE49-F238E27FC236}">
                <a16:creationId xmlns:a16="http://schemas.microsoft.com/office/drawing/2014/main" id="{6703554F-13B0-629A-C3A4-2BDAE6B87005}"/>
              </a:ext>
            </a:extLst>
          </p:cNvPr>
          <p:cNvGrpSpPr/>
          <p:nvPr/>
        </p:nvGrpSpPr>
        <p:grpSpPr>
          <a:xfrm>
            <a:off x="5524900" y="1158416"/>
            <a:ext cx="2448325" cy="606528"/>
            <a:chOff x="1953053" y="1178342"/>
            <a:chExt cx="2448325" cy="606528"/>
          </a:xfrm>
        </p:grpSpPr>
        <p:sp>
          <p:nvSpPr>
            <p:cNvPr id="138" name="TextBox 137">
              <a:extLst>
                <a:ext uri="{FF2B5EF4-FFF2-40B4-BE49-F238E27FC236}">
                  <a16:creationId xmlns:a16="http://schemas.microsoft.com/office/drawing/2014/main" id="{35B201E9-9FC3-023E-E446-71DB3C2A2FE2}"/>
                </a:ext>
              </a:extLst>
            </p:cNvPr>
            <p:cNvSpPr txBox="1"/>
            <p:nvPr/>
          </p:nvSpPr>
          <p:spPr>
            <a:xfrm>
              <a:off x="1953053" y="1178342"/>
              <a:ext cx="2448325"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McDonald’s, Dunkin’s, Starbucks</a:t>
              </a:r>
            </a:p>
          </p:txBody>
        </p:sp>
        <p:sp>
          <p:nvSpPr>
            <p:cNvPr id="139" name="TextBox 138">
              <a:extLst>
                <a:ext uri="{FF2B5EF4-FFF2-40B4-BE49-F238E27FC236}">
                  <a16:creationId xmlns:a16="http://schemas.microsoft.com/office/drawing/2014/main" id="{D32837D9-F213-6090-4663-E814D03A2AB2}"/>
                </a:ext>
              </a:extLst>
            </p:cNvPr>
            <p:cNvSpPr txBox="1"/>
            <p:nvPr/>
          </p:nvSpPr>
          <p:spPr>
            <a:xfrm>
              <a:off x="1953054" y="1384760"/>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Competitors could indicate lucrative areas to expand to</a:t>
              </a:r>
            </a:p>
          </p:txBody>
        </p:sp>
      </p:grpSp>
      <p:grpSp>
        <p:nvGrpSpPr>
          <p:cNvPr id="140" name="Group 139">
            <a:extLst>
              <a:ext uri="{FF2B5EF4-FFF2-40B4-BE49-F238E27FC236}">
                <a16:creationId xmlns:a16="http://schemas.microsoft.com/office/drawing/2014/main" id="{431B53A6-E5A5-4800-76A4-40185AF62E8B}"/>
              </a:ext>
            </a:extLst>
          </p:cNvPr>
          <p:cNvGrpSpPr/>
          <p:nvPr/>
        </p:nvGrpSpPr>
        <p:grpSpPr>
          <a:xfrm>
            <a:off x="6007884" y="1873231"/>
            <a:ext cx="2704443" cy="572856"/>
            <a:chOff x="1377727" y="1852379"/>
            <a:chExt cx="2704443" cy="572856"/>
          </a:xfrm>
        </p:grpSpPr>
        <p:sp>
          <p:nvSpPr>
            <p:cNvPr id="141" name="TextBox 140">
              <a:extLst>
                <a:ext uri="{FF2B5EF4-FFF2-40B4-BE49-F238E27FC236}">
                  <a16:creationId xmlns:a16="http://schemas.microsoft.com/office/drawing/2014/main" id="{9FD00CF1-81F0-DDE2-C5CE-DB6E9AC56546}"/>
                </a:ext>
              </a:extLst>
            </p:cNvPr>
            <p:cNvSpPr txBox="1"/>
            <p:nvPr/>
          </p:nvSpPr>
          <p:spPr>
            <a:xfrm>
              <a:off x="1377727" y="1852379"/>
              <a:ext cx="896002" cy="261610"/>
            </a:xfrm>
            <a:prstGeom prst="rect">
              <a:avLst/>
            </a:prstGeom>
            <a:noFill/>
          </p:spPr>
          <p:txBody>
            <a:bodyPr wrap="square" rtlCol="0">
              <a:spAutoFit/>
            </a:bodyPr>
            <a:lstStyle/>
            <a:p>
              <a:pPr algn="ctr"/>
              <a:r>
                <a:rPr lang="en-US" sz="1100" b="1">
                  <a:latin typeface="Helvetica Neue" panose="02000503000000020004" pitchFamily="2" charset="0"/>
                  <a:ea typeface="Helvetica Neue" panose="02000503000000020004" pitchFamily="2" charset="0"/>
                  <a:cs typeface="Helvetica Neue" panose="02000503000000020004" pitchFamily="2" charset="0"/>
                </a:rPr>
                <a:t>Sum Area</a:t>
              </a:r>
            </a:p>
          </p:txBody>
        </p:sp>
        <p:sp>
          <p:nvSpPr>
            <p:cNvPr id="142" name="TextBox 141">
              <a:extLst>
                <a:ext uri="{FF2B5EF4-FFF2-40B4-BE49-F238E27FC236}">
                  <a16:creationId xmlns:a16="http://schemas.microsoft.com/office/drawing/2014/main" id="{1ACF8511-3532-A7FB-857B-FB4003748652}"/>
                </a:ext>
              </a:extLst>
            </p:cNvPr>
            <p:cNvSpPr txBox="1"/>
            <p:nvPr/>
          </p:nvSpPr>
          <p:spPr>
            <a:xfrm>
              <a:off x="1411910" y="2025125"/>
              <a:ext cx="2670260"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Larger areas could be correlated with more stores due to more area to build upon</a:t>
              </a:r>
            </a:p>
          </p:txBody>
        </p:sp>
      </p:grpSp>
      <p:grpSp>
        <p:nvGrpSpPr>
          <p:cNvPr id="143" name="Group 142">
            <a:extLst>
              <a:ext uri="{FF2B5EF4-FFF2-40B4-BE49-F238E27FC236}">
                <a16:creationId xmlns:a16="http://schemas.microsoft.com/office/drawing/2014/main" id="{9760FA4C-6E98-5206-2079-A7BEC58C2727}"/>
              </a:ext>
            </a:extLst>
          </p:cNvPr>
          <p:cNvGrpSpPr/>
          <p:nvPr/>
        </p:nvGrpSpPr>
        <p:grpSpPr>
          <a:xfrm>
            <a:off x="6368283" y="2544469"/>
            <a:ext cx="2344044" cy="606528"/>
            <a:chOff x="1093043" y="2593003"/>
            <a:chExt cx="2344044" cy="606528"/>
          </a:xfrm>
        </p:grpSpPr>
        <p:sp>
          <p:nvSpPr>
            <p:cNvPr id="144" name="TextBox 143">
              <a:extLst>
                <a:ext uri="{FF2B5EF4-FFF2-40B4-BE49-F238E27FC236}">
                  <a16:creationId xmlns:a16="http://schemas.microsoft.com/office/drawing/2014/main" id="{2BA908CC-58F9-7C3C-94BE-DD70FE41D368}"/>
                </a:ext>
              </a:extLst>
            </p:cNvPr>
            <p:cNvSpPr txBox="1"/>
            <p:nvPr/>
          </p:nvSpPr>
          <p:spPr>
            <a:xfrm>
              <a:off x="1093043" y="2593003"/>
              <a:ext cx="1351053"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Avg. Density</a:t>
              </a:r>
            </a:p>
          </p:txBody>
        </p:sp>
        <p:sp>
          <p:nvSpPr>
            <p:cNvPr id="145" name="TextBox 144">
              <a:extLst>
                <a:ext uri="{FF2B5EF4-FFF2-40B4-BE49-F238E27FC236}">
                  <a16:creationId xmlns:a16="http://schemas.microsoft.com/office/drawing/2014/main" id="{BB29A219-9721-4A0F-A71D-CFBF88C92B07}"/>
                </a:ext>
              </a:extLst>
            </p:cNvPr>
            <p:cNvSpPr txBox="1"/>
            <p:nvPr/>
          </p:nvSpPr>
          <p:spPr>
            <a:xfrm>
              <a:off x="1094950" y="2799421"/>
              <a:ext cx="2342137"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Dense areas have high traffic and draws based on spheres of influence</a:t>
              </a:r>
            </a:p>
          </p:txBody>
        </p:sp>
      </p:grpSp>
      <p:grpSp>
        <p:nvGrpSpPr>
          <p:cNvPr id="146" name="Group 145">
            <a:extLst>
              <a:ext uri="{FF2B5EF4-FFF2-40B4-BE49-F238E27FC236}">
                <a16:creationId xmlns:a16="http://schemas.microsoft.com/office/drawing/2014/main" id="{FD47762E-A054-8408-8A5C-C12225EF317E}"/>
              </a:ext>
            </a:extLst>
          </p:cNvPr>
          <p:cNvGrpSpPr/>
          <p:nvPr/>
        </p:nvGrpSpPr>
        <p:grpSpPr>
          <a:xfrm>
            <a:off x="6031220" y="3234879"/>
            <a:ext cx="2096026" cy="606528"/>
            <a:chOff x="1435107" y="3364177"/>
            <a:chExt cx="2096026" cy="606528"/>
          </a:xfrm>
        </p:grpSpPr>
        <p:sp>
          <p:nvSpPr>
            <p:cNvPr id="147" name="TextBox 146">
              <a:extLst>
                <a:ext uri="{FF2B5EF4-FFF2-40B4-BE49-F238E27FC236}">
                  <a16:creationId xmlns:a16="http://schemas.microsoft.com/office/drawing/2014/main" id="{B95CCE2B-6BF2-F59D-7469-B05358AF3EAC}"/>
                </a:ext>
              </a:extLst>
            </p:cNvPr>
            <p:cNvSpPr txBox="1"/>
            <p:nvPr/>
          </p:nvSpPr>
          <p:spPr>
            <a:xfrm>
              <a:off x="1435107" y="3364177"/>
              <a:ext cx="1544594"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Sum Population</a:t>
              </a:r>
            </a:p>
          </p:txBody>
        </p:sp>
        <p:sp>
          <p:nvSpPr>
            <p:cNvPr id="148" name="TextBox 147">
              <a:extLst>
                <a:ext uri="{FF2B5EF4-FFF2-40B4-BE49-F238E27FC236}">
                  <a16:creationId xmlns:a16="http://schemas.microsoft.com/office/drawing/2014/main" id="{BB5295AE-6558-C713-BCF0-4683FB1FC819}"/>
                </a:ext>
              </a:extLst>
            </p:cNvPr>
            <p:cNvSpPr txBox="1"/>
            <p:nvPr/>
          </p:nvSpPr>
          <p:spPr>
            <a:xfrm>
              <a:off x="1437014" y="3570595"/>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More people imply a stronger pull to build nearby</a:t>
              </a:r>
            </a:p>
          </p:txBody>
        </p:sp>
      </p:grpSp>
      <p:grpSp>
        <p:nvGrpSpPr>
          <p:cNvPr id="149" name="Group 148">
            <a:extLst>
              <a:ext uri="{FF2B5EF4-FFF2-40B4-BE49-F238E27FC236}">
                <a16:creationId xmlns:a16="http://schemas.microsoft.com/office/drawing/2014/main" id="{BBCB7056-1043-A5E8-F791-22F46E92C0B4}"/>
              </a:ext>
            </a:extLst>
          </p:cNvPr>
          <p:cNvGrpSpPr/>
          <p:nvPr/>
        </p:nvGrpSpPr>
        <p:grpSpPr>
          <a:xfrm>
            <a:off x="5620074" y="3950435"/>
            <a:ext cx="2096026" cy="606528"/>
            <a:chOff x="1932604" y="4011284"/>
            <a:chExt cx="2096026" cy="606528"/>
          </a:xfrm>
        </p:grpSpPr>
        <p:sp>
          <p:nvSpPr>
            <p:cNvPr id="150" name="TextBox 149">
              <a:extLst>
                <a:ext uri="{FF2B5EF4-FFF2-40B4-BE49-F238E27FC236}">
                  <a16:creationId xmlns:a16="http://schemas.microsoft.com/office/drawing/2014/main" id="{687140AF-813C-D020-8727-D860442F8D8A}"/>
                </a:ext>
              </a:extLst>
            </p:cNvPr>
            <p:cNvSpPr txBox="1"/>
            <p:nvPr/>
          </p:nvSpPr>
          <p:spPr>
            <a:xfrm>
              <a:off x="1932604" y="4011284"/>
              <a:ext cx="1821393" cy="261610"/>
            </a:xfrm>
            <a:prstGeom prst="rect">
              <a:avLst/>
            </a:prstGeom>
            <a:noFill/>
          </p:spPr>
          <p:txBody>
            <a:bodyPr wrap="square" rtlCol="0">
              <a:spAutoFit/>
            </a:bodyPr>
            <a:lstStyle/>
            <a:p>
              <a:r>
                <a:rPr lang="en-US" sz="1100" b="1">
                  <a:latin typeface="Helvetica Neue" panose="02000503000000020004" pitchFamily="2" charset="0"/>
                  <a:ea typeface="Helvetica Neue" panose="02000503000000020004" pitchFamily="2" charset="0"/>
                  <a:cs typeface="Helvetica Neue" panose="02000503000000020004" pitchFamily="2" charset="0"/>
                </a:rPr>
                <a:t>GDP</a:t>
              </a:r>
            </a:p>
          </p:txBody>
        </p:sp>
        <p:sp>
          <p:nvSpPr>
            <p:cNvPr id="151" name="TextBox 150">
              <a:extLst>
                <a:ext uri="{FF2B5EF4-FFF2-40B4-BE49-F238E27FC236}">
                  <a16:creationId xmlns:a16="http://schemas.microsoft.com/office/drawing/2014/main" id="{CF1174B3-E1B7-804B-AE14-809DEE466488}"/>
                </a:ext>
              </a:extLst>
            </p:cNvPr>
            <p:cNvSpPr txBox="1"/>
            <p:nvPr/>
          </p:nvSpPr>
          <p:spPr>
            <a:xfrm>
              <a:off x="1934511" y="4217702"/>
              <a:ext cx="2094119" cy="400110"/>
            </a:xfrm>
            <a:prstGeom prst="rect">
              <a:avLst/>
            </a:prstGeom>
            <a:noFill/>
          </p:spPr>
          <p:txBody>
            <a:bodyPr wrap="square" rtlCol="0">
              <a:spAutoFit/>
            </a:bodyPr>
            <a:lstStyle/>
            <a:p>
              <a:r>
                <a:rPr lang="en-US" sz="1000">
                  <a:latin typeface="Helvetica Neue" panose="02000503000000020004" pitchFamily="2" charset="0"/>
                  <a:ea typeface="Helvetica Neue" panose="02000503000000020004" pitchFamily="2" charset="0"/>
                  <a:cs typeface="Helvetica Neue" panose="02000503000000020004" pitchFamily="2" charset="0"/>
                </a:rPr>
                <a:t>Strong economic activity could imply a lucrative opportunity</a:t>
              </a:r>
            </a:p>
          </p:txBody>
        </p:sp>
      </p:grpSp>
    </p:spTree>
    <p:extLst>
      <p:ext uri="{BB962C8B-B14F-4D97-AF65-F5344CB8AC3E}">
        <p14:creationId xmlns:p14="http://schemas.microsoft.com/office/powerpoint/2010/main" val="4079607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8CC2F035-B9EC-7542-01CD-FF5F4EC36EDB}"/>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4C463CA-7A41-BBA0-F046-D2D36B16DD46}"/>
              </a:ext>
            </a:extLst>
          </p:cNvPr>
          <p:cNvGraphicFramePr>
            <a:graphicFrameLocks noGrp="1"/>
          </p:cNvGraphicFramePr>
          <p:nvPr>
            <p:extLst>
              <p:ext uri="{D42A27DB-BD31-4B8C-83A1-F6EECF244321}">
                <p14:modId xmlns:p14="http://schemas.microsoft.com/office/powerpoint/2010/main" val="3964164764"/>
              </p:ext>
            </p:extLst>
          </p:nvPr>
        </p:nvGraphicFramePr>
        <p:xfrm>
          <a:off x="418562" y="2004479"/>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CSV flat files</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ompile</a:t>
                      </a:r>
                      <a:r>
                        <a:rPr lang="en-CA" sz="1000">
                          <a:latin typeface="Helvetica Neue" panose="02000503000000020004" pitchFamily="2" charset="0"/>
                          <a:ea typeface="Helvetica Neue" panose="02000503000000020004" pitchFamily="2" charset="0"/>
                          <a:cs typeface="Helvetica Neue" panose="02000503000000020004" pitchFamily="2" charset="0"/>
                        </a:rPr>
                        <a:t> common </a:t>
                      </a:r>
                      <a:r>
                        <a:rPr lang="en-CA" sz="1000" b="1">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ase</a:t>
                      </a:r>
                      <a:r>
                        <a:rPr lang="en-CA" sz="1000">
                          <a:latin typeface="Helvetica Neue" panose="02000503000000020004" pitchFamily="2" charset="0"/>
                          <a:ea typeface="Helvetica Neue" panose="02000503000000020004" pitchFamily="2" charset="0"/>
                          <a:cs typeface="Helvetica Neue" panose="02000503000000020004" pitchFamily="2" charset="0"/>
                        </a:rPr>
                        <a:t>, </a:t>
                      </a:r>
                      <a:r>
                        <a:rPr lang="en-CA" sz="1000" b="1">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ensus</a:t>
                      </a:r>
                      <a:r>
                        <a:rPr lang="en-CA" sz="1000">
                          <a:latin typeface="Helvetica Neue" panose="02000503000000020004" pitchFamily="2" charset="0"/>
                          <a:ea typeface="Helvetica Neue" panose="02000503000000020004" pitchFamily="2" charset="0"/>
                          <a:cs typeface="Helvetica Neue" panose="02000503000000020004" pitchFamily="2" charset="0"/>
                        </a:rPr>
                        <a:t>, and </a:t>
                      </a:r>
                      <a:r>
                        <a:rPr lang="en-CA" sz="1000" b="1">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losure</a:t>
                      </a:r>
                      <a:r>
                        <a:rPr lang="en-CA" sz="1000">
                          <a:latin typeface="Helvetica Neue" panose="02000503000000020004" pitchFamily="2" charset="0"/>
                          <a:ea typeface="Helvetica Neue" panose="02000503000000020004" pitchFamily="2" charset="0"/>
                          <a:cs typeface="Helvetica Neue" panose="02000503000000020004" pitchFamily="2" charset="0"/>
                        </a:rPr>
                        <a:t> data</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2650915757"/>
                  </a:ext>
                </a:extLst>
              </a:tr>
            </a:tbl>
          </a:graphicData>
        </a:graphic>
      </p:graphicFrame>
      <p:sp>
        <p:nvSpPr>
          <p:cNvPr id="4" name="Google Shape;95;p15">
            <a:extLst>
              <a:ext uri="{FF2B5EF4-FFF2-40B4-BE49-F238E27FC236}">
                <a16:creationId xmlns:a16="http://schemas.microsoft.com/office/drawing/2014/main" id="{3A78D307-2EAC-FE7F-B8DA-042F7C758DBA}"/>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Data Analysis Approach</a:t>
            </a:r>
          </a:p>
        </p:txBody>
      </p:sp>
      <p:sp>
        <p:nvSpPr>
          <p:cNvPr id="9" name="Google Shape;98;p15">
            <a:extLst>
              <a:ext uri="{FF2B5EF4-FFF2-40B4-BE49-F238E27FC236}">
                <a16:creationId xmlns:a16="http://schemas.microsoft.com/office/drawing/2014/main" id="{3C781649-D80F-D1F9-89F2-7AAA7A2BC21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8C approach: compile, clean, combine, calculate, correlate, compute, confirm, chart</a:t>
            </a:r>
          </a:p>
        </p:txBody>
      </p:sp>
      <p:sp>
        <p:nvSpPr>
          <p:cNvPr id="16" name="Google Shape;99;p15">
            <a:extLst>
              <a:ext uri="{FF2B5EF4-FFF2-40B4-BE49-F238E27FC236}">
                <a16:creationId xmlns:a16="http://schemas.microsoft.com/office/drawing/2014/main" id="{EB6EC0B2-B99D-ECFB-E8CA-5468F9694636}"/>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graphicFrame>
        <p:nvGraphicFramePr>
          <p:cNvPr id="5" name="Table 4">
            <a:extLst>
              <a:ext uri="{FF2B5EF4-FFF2-40B4-BE49-F238E27FC236}">
                <a16:creationId xmlns:a16="http://schemas.microsoft.com/office/drawing/2014/main" id="{D33C293C-145D-FD53-4BE1-C3A8B9C64D29}"/>
              </a:ext>
            </a:extLst>
          </p:cNvPr>
          <p:cNvGraphicFramePr>
            <a:graphicFrameLocks noGrp="1"/>
          </p:cNvGraphicFramePr>
          <p:nvPr>
            <p:extLst>
              <p:ext uri="{D42A27DB-BD31-4B8C-83A1-F6EECF244321}">
                <p14:modId xmlns:p14="http://schemas.microsoft.com/office/powerpoint/2010/main" val="4246893787"/>
              </p:ext>
            </p:extLst>
          </p:nvPr>
        </p:nvGraphicFramePr>
        <p:xfrm>
          <a:off x="2598544" y="2004479"/>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Python (pandas)</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lean</a:t>
                      </a:r>
                      <a:r>
                        <a:rPr lang="en-CA" sz="1000">
                          <a:latin typeface="Helvetica Neue" panose="02000503000000020004" pitchFamily="2" charset="0"/>
                          <a:ea typeface="Helvetica Neue" panose="02000503000000020004" pitchFamily="2" charset="0"/>
                          <a:cs typeface="Helvetica Neue" panose="02000503000000020004" pitchFamily="2" charset="0"/>
                        </a:rPr>
                        <a:t> raw datasets to improve data quality</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2650915757"/>
                  </a:ext>
                </a:extLst>
              </a:tr>
            </a:tbl>
          </a:graphicData>
        </a:graphic>
      </p:graphicFrame>
      <p:graphicFrame>
        <p:nvGraphicFramePr>
          <p:cNvPr id="6" name="Table 5">
            <a:extLst>
              <a:ext uri="{FF2B5EF4-FFF2-40B4-BE49-F238E27FC236}">
                <a16:creationId xmlns:a16="http://schemas.microsoft.com/office/drawing/2014/main" id="{0B0F75B9-36AD-FBA7-F9EF-2C11B6C1B53C}"/>
              </a:ext>
            </a:extLst>
          </p:cNvPr>
          <p:cNvGraphicFramePr>
            <a:graphicFrameLocks noGrp="1"/>
          </p:cNvGraphicFramePr>
          <p:nvPr>
            <p:extLst>
              <p:ext uri="{D42A27DB-BD31-4B8C-83A1-F6EECF244321}">
                <p14:modId xmlns:p14="http://schemas.microsoft.com/office/powerpoint/2010/main" val="3099516684"/>
              </p:ext>
            </p:extLst>
          </p:nvPr>
        </p:nvGraphicFramePr>
        <p:xfrm>
          <a:off x="4774838" y="2004479"/>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PostgreSQL</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ombine</a:t>
                      </a:r>
                      <a:r>
                        <a:rPr lang="en-CA" sz="1000">
                          <a:latin typeface="Helvetica Neue" panose="02000503000000020004" pitchFamily="2" charset="0"/>
                          <a:ea typeface="Helvetica Neue" panose="02000503000000020004" pitchFamily="2" charset="0"/>
                          <a:cs typeface="Helvetica Neue" panose="02000503000000020004" pitchFamily="2" charset="0"/>
                        </a:rPr>
                        <a:t> into views using joins and filter conditions</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2650915757"/>
                  </a:ext>
                </a:extLst>
              </a:tr>
            </a:tbl>
          </a:graphicData>
        </a:graphic>
      </p:graphicFrame>
      <p:graphicFrame>
        <p:nvGraphicFramePr>
          <p:cNvPr id="7" name="Table 6">
            <a:extLst>
              <a:ext uri="{FF2B5EF4-FFF2-40B4-BE49-F238E27FC236}">
                <a16:creationId xmlns:a16="http://schemas.microsoft.com/office/drawing/2014/main" id="{2EFEFEC3-F9FC-95AE-8B62-173145094402}"/>
              </a:ext>
            </a:extLst>
          </p:cNvPr>
          <p:cNvGraphicFramePr>
            <a:graphicFrameLocks noGrp="1"/>
          </p:cNvGraphicFramePr>
          <p:nvPr>
            <p:extLst>
              <p:ext uri="{D42A27DB-BD31-4B8C-83A1-F6EECF244321}">
                <p14:modId xmlns:p14="http://schemas.microsoft.com/office/powerpoint/2010/main" val="277234278"/>
              </p:ext>
            </p:extLst>
          </p:nvPr>
        </p:nvGraphicFramePr>
        <p:xfrm>
          <a:off x="6951133" y="2015486"/>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PostgreSQL</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alculate</a:t>
                      </a:r>
                      <a:r>
                        <a:rPr lang="en-CA" sz="1000">
                          <a:latin typeface="Helvetica Neue" panose="02000503000000020004" pitchFamily="2" charset="0"/>
                          <a:ea typeface="Helvetica Neue" panose="02000503000000020004" pitchFamily="2" charset="0"/>
                          <a:cs typeface="Helvetica Neue" panose="02000503000000020004" pitchFamily="2" charset="0"/>
                        </a:rPr>
                        <a:t> store count, GDP for zip/city census tracts</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2650915757"/>
                  </a:ext>
                </a:extLst>
              </a:tr>
            </a:tbl>
          </a:graphicData>
        </a:graphic>
      </p:graphicFrame>
      <p:graphicFrame>
        <p:nvGraphicFramePr>
          <p:cNvPr id="8" name="Table 7">
            <a:extLst>
              <a:ext uri="{FF2B5EF4-FFF2-40B4-BE49-F238E27FC236}">
                <a16:creationId xmlns:a16="http://schemas.microsoft.com/office/drawing/2014/main" id="{3AABB6EF-4FB4-F7D5-1A81-8B43AF0FEA92}"/>
              </a:ext>
            </a:extLst>
          </p:cNvPr>
          <p:cNvGraphicFramePr>
            <a:graphicFrameLocks noGrp="1"/>
          </p:cNvGraphicFramePr>
          <p:nvPr>
            <p:extLst>
              <p:ext uri="{D42A27DB-BD31-4B8C-83A1-F6EECF244321}">
                <p14:modId xmlns:p14="http://schemas.microsoft.com/office/powerpoint/2010/main" val="2319393617"/>
              </p:ext>
            </p:extLst>
          </p:nvPr>
        </p:nvGraphicFramePr>
        <p:xfrm>
          <a:off x="422250" y="4123078"/>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Power BI</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hart</a:t>
                      </a:r>
                      <a:r>
                        <a:rPr lang="en-CA" sz="1000" u="none">
                          <a:latin typeface="Helvetica Neue" panose="02000503000000020004" pitchFamily="2" charset="0"/>
                          <a:ea typeface="Helvetica Neue" panose="02000503000000020004" pitchFamily="2" charset="0"/>
                          <a:cs typeface="Helvetica Neue" panose="02000503000000020004" pitchFamily="2" charset="0"/>
                        </a:rPr>
                        <a:t> new recommended stores geographically</a:t>
                      </a:r>
                      <a:endParaRPr lang="en-CA" sz="1000" u="sng">
                        <a:latin typeface="Helvetica Neue" panose="02000503000000020004" pitchFamily="2" charset="0"/>
                        <a:ea typeface="Helvetica Neue" panose="02000503000000020004" pitchFamily="2" charset="0"/>
                        <a:cs typeface="Helvetica Neue" panose="02000503000000020004" pitchFamily="2" charset="0"/>
                      </a:endParaRP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2650915757"/>
                  </a:ext>
                </a:extLst>
              </a:tr>
            </a:tbl>
          </a:graphicData>
        </a:graphic>
      </p:graphicFrame>
      <p:graphicFrame>
        <p:nvGraphicFramePr>
          <p:cNvPr id="10" name="Table 9">
            <a:extLst>
              <a:ext uri="{FF2B5EF4-FFF2-40B4-BE49-F238E27FC236}">
                <a16:creationId xmlns:a16="http://schemas.microsoft.com/office/drawing/2014/main" id="{80F80499-C5A4-89FE-44D6-5041ABBC2509}"/>
              </a:ext>
            </a:extLst>
          </p:cNvPr>
          <p:cNvGraphicFramePr>
            <a:graphicFrameLocks noGrp="1"/>
          </p:cNvGraphicFramePr>
          <p:nvPr>
            <p:extLst>
              <p:ext uri="{D42A27DB-BD31-4B8C-83A1-F6EECF244321}">
                <p14:modId xmlns:p14="http://schemas.microsoft.com/office/powerpoint/2010/main" val="3867746424"/>
              </p:ext>
            </p:extLst>
          </p:nvPr>
        </p:nvGraphicFramePr>
        <p:xfrm>
          <a:off x="2598544" y="4123078"/>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statsmodels</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onfirm</a:t>
                      </a:r>
                      <a:r>
                        <a:rPr lang="en-CA" sz="1000" u="none">
                          <a:latin typeface="Helvetica Neue" panose="02000503000000020004" pitchFamily="2" charset="0"/>
                          <a:ea typeface="Helvetica Neue" panose="02000503000000020004" pitchFamily="2" charset="0"/>
                          <a:cs typeface="Helvetica Neue" panose="02000503000000020004" pitchFamily="2" charset="0"/>
                        </a:rPr>
                        <a:t> model validity with testing/training datasets</a:t>
                      </a:r>
                      <a:endParaRPr lang="en-CA" sz="1000" u="sng">
                        <a:latin typeface="Helvetica Neue" panose="02000503000000020004" pitchFamily="2" charset="0"/>
                        <a:ea typeface="Helvetica Neue" panose="02000503000000020004" pitchFamily="2" charset="0"/>
                        <a:cs typeface="Helvetica Neue" panose="02000503000000020004" pitchFamily="2" charset="0"/>
                      </a:endParaRPr>
                    </a:p>
                  </a:txBody>
                  <a:tcPr>
                    <a:lnT w="12700" cap="flat" cmpd="sng" algn="ctr">
                      <a:solidFill>
                        <a:srgbClr val="459261"/>
                      </a:solidFill>
                      <a:prstDash val="solid"/>
                      <a:round/>
                      <a:headEnd type="none" w="med" len="med"/>
                      <a:tailEnd type="none" w="med" len="med"/>
                    </a:lnT>
                  </a:tcPr>
                </a:tc>
                <a:extLst>
                  <a:ext uri="{0D108BD9-81ED-4DB2-BD59-A6C34878D82A}">
                    <a16:rowId xmlns:a16="http://schemas.microsoft.com/office/drawing/2014/main" val="2650915757"/>
                  </a:ext>
                </a:extLst>
              </a:tr>
            </a:tbl>
          </a:graphicData>
        </a:graphic>
      </p:graphicFrame>
      <p:graphicFrame>
        <p:nvGraphicFramePr>
          <p:cNvPr id="11" name="Table 10">
            <a:extLst>
              <a:ext uri="{FF2B5EF4-FFF2-40B4-BE49-F238E27FC236}">
                <a16:creationId xmlns:a16="http://schemas.microsoft.com/office/drawing/2014/main" id="{F0B711B1-C9F2-18EB-DB82-D15E19810A40}"/>
              </a:ext>
            </a:extLst>
          </p:cNvPr>
          <p:cNvGraphicFramePr>
            <a:graphicFrameLocks noGrp="1"/>
          </p:cNvGraphicFramePr>
          <p:nvPr>
            <p:extLst>
              <p:ext uri="{D42A27DB-BD31-4B8C-83A1-F6EECF244321}">
                <p14:modId xmlns:p14="http://schemas.microsoft.com/office/powerpoint/2010/main" val="395649876"/>
              </p:ext>
            </p:extLst>
          </p:nvPr>
        </p:nvGraphicFramePr>
        <p:xfrm>
          <a:off x="4774838" y="4123078"/>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scikit-learn</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ompute</a:t>
                      </a:r>
                      <a:r>
                        <a:rPr lang="en-CA" sz="1000" u="none">
                          <a:latin typeface="Helvetica Neue" panose="02000503000000020004" pitchFamily="2" charset="0"/>
                          <a:ea typeface="Helvetica Neue" panose="02000503000000020004" pitchFamily="2" charset="0"/>
                          <a:cs typeface="Helvetica Neue" panose="02000503000000020004" pitchFamily="2" charset="0"/>
                        </a:rPr>
                        <a:t> linear regression for store count to regions</a:t>
                      </a:r>
                      <a:endParaRPr lang="en-CA" sz="1000" u="sng">
                        <a:latin typeface="Helvetica Neue" panose="02000503000000020004" pitchFamily="2" charset="0"/>
                        <a:ea typeface="Helvetica Neue" panose="02000503000000020004" pitchFamily="2" charset="0"/>
                        <a:cs typeface="Helvetica Neue" panose="02000503000000020004" pitchFamily="2" charset="0"/>
                      </a:endParaRPr>
                    </a:p>
                  </a:txBody>
                  <a:tcPr>
                    <a:lnT w="12700" cap="flat" cmpd="sng" algn="ctr">
                      <a:solidFill>
                        <a:srgbClr val="459261"/>
                      </a:solidFill>
                      <a:prstDash val="solid"/>
                      <a:round/>
                      <a:headEnd type="none" w="med" len="med"/>
                      <a:tailEnd type="none" w="med" len="med"/>
                    </a:lnT>
                  </a:tcPr>
                </a:tc>
                <a:extLst>
                  <a:ext uri="{0D108BD9-81ED-4DB2-BD59-A6C34878D82A}">
                    <a16:rowId xmlns:a16="http://schemas.microsoft.com/office/drawing/2014/main" val="2650915757"/>
                  </a:ext>
                </a:extLst>
              </a:tr>
            </a:tbl>
          </a:graphicData>
        </a:graphic>
      </p:graphicFrame>
      <p:graphicFrame>
        <p:nvGraphicFramePr>
          <p:cNvPr id="12" name="Table 11">
            <a:extLst>
              <a:ext uri="{FF2B5EF4-FFF2-40B4-BE49-F238E27FC236}">
                <a16:creationId xmlns:a16="http://schemas.microsoft.com/office/drawing/2014/main" id="{FAC78D88-34BB-0872-029F-B0D1AC1BC751}"/>
              </a:ext>
            </a:extLst>
          </p:cNvPr>
          <p:cNvGraphicFramePr>
            <a:graphicFrameLocks noGrp="1"/>
          </p:cNvGraphicFramePr>
          <p:nvPr>
            <p:extLst>
              <p:ext uri="{D42A27DB-BD31-4B8C-83A1-F6EECF244321}">
                <p14:modId xmlns:p14="http://schemas.microsoft.com/office/powerpoint/2010/main" val="1419599504"/>
              </p:ext>
            </p:extLst>
          </p:nvPr>
        </p:nvGraphicFramePr>
        <p:xfrm>
          <a:off x="6951133" y="4134085"/>
          <a:ext cx="1770617" cy="747322"/>
        </p:xfrm>
        <a:graphic>
          <a:graphicData uri="http://schemas.openxmlformats.org/drawingml/2006/table">
            <a:tbl>
              <a:tblPr firstRow="1" bandRow="1">
                <a:tableStyleId>{6785C02C-F971-4D22-8EFD-A4F33D4478E0}</a:tableStyleId>
              </a:tblPr>
              <a:tblGrid>
                <a:gridCol w="1770617">
                  <a:extLst>
                    <a:ext uri="{9D8B030D-6E8A-4147-A177-3AD203B41FA5}">
                      <a16:colId xmlns:a16="http://schemas.microsoft.com/office/drawing/2014/main" val="580973479"/>
                    </a:ext>
                  </a:extLst>
                </a:gridCol>
              </a:tblGrid>
              <a:tr h="324923">
                <a:tc>
                  <a:txBody>
                    <a:bodyPr/>
                    <a:lstStyle/>
                    <a:p>
                      <a:pPr algn="ctr"/>
                      <a:r>
                        <a:rPr lang="en-CA" b="1">
                          <a:latin typeface="Helvetica Neue" panose="02000503000000020004" pitchFamily="2" charset="0"/>
                          <a:ea typeface="Helvetica Neue" panose="02000503000000020004" pitchFamily="2" charset="0"/>
                          <a:cs typeface="Helvetica Neue" panose="02000503000000020004" pitchFamily="2" charset="0"/>
                        </a:rPr>
                        <a:t>Microsoft Excel</a:t>
                      </a:r>
                    </a:p>
                  </a:txBody>
                  <a:tcPr>
                    <a:lnL w="12700" cap="flat" cmpd="sng" algn="ctr">
                      <a:solidFill>
                        <a:srgbClr val="459261"/>
                      </a:solidFill>
                      <a:prstDash val="solid"/>
                      <a:round/>
                      <a:headEnd type="none" w="med" len="med"/>
                      <a:tailEnd type="none" w="med" len="med"/>
                    </a:lnL>
                    <a:lnR w="12700" cap="flat" cmpd="sng" algn="ctr">
                      <a:solidFill>
                        <a:srgbClr val="459261"/>
                      </a:solidFill>
                      <a:prstDash val="solid"/>
                      <a:round/>
                      <a:headEnd type="none" w="med" len="med"/>
                      <a:tailEnd type="none" w="med" len="med"/>
                    </a:lnR>
                    <a:lnT w="12700" cap="flat" cmpd="sng" algn="ctr">
                      <a:solidFill>
                        <a:srgbClr val="459261"/>
                      </a:solidFill>
                      <a:prstDash val="solid"/>
                      <a:round/>
                      <a:headEnd type="none" w="med" len="med"/>
                      <a:tailEnd type="none" w="med" len="med"/>
                    </a:lnT>
                    <a:lnB w="12700" cap="flat" cmpd="sng" algn="ctr">
                      <a:solidFill>
                        <a:srgbClr val="459261"/>
                      </a:solidFill>
                      <a:prstDash val="solid"/>
                      <a:round/>
                      <a:headEnd type="none" w="med" len="med"/>
                      <a:tailEnd type="none" w="med" len="med"/>
                    </a:lnB>
                  </a:tcPr>
                </a:tc>
                <a:extLst>
                  <a:ext uri="{0D108BD9-81ED-4DB2-BD59-A6C34878D82A}">
                    <a16:rowId xmlns:a16="http://schemas.microsoft.com/office/drawing/2014/main" val="1859460044"/>
                  </a:ext>
                </a:extLst>
              </a:tr>
              <a:tr h="422399">
                <a:tc>
                  <a:txBody>
                    <a:bodyPr/>
                    <a:lstStyle/>
                    <a:p>
                      <a:r>
                        <a:rPr lang="en-CA" sz="1000" b="1" u="none">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orrelate</a:t>
                      </a:r>
                      <a:r>
                        <a:rPr lang="en-CA" sz="1000">
                          <a:latin typeface="Helvetica Neue" panose="02000503000000020004" pitchFamily="2" charset="0"/>
                          <a:ea typeface="Helvetica Neue" panose="02000503000000020004" pitchFamily="2" charset="0"/>
                          <a:cs typeface="Helvetica Neue" panose="02000503000000020004" pitchFamily="2" charset="0"/>
                        </a:rPr>
                        <a:t> relationships between input variables</a:t>
                      </a:r>
                    </a:p>
                  </a:txBody>
                  <a:tcPr>
                    <a:lnT w="12700" cap="flat" cmpd="sng" algn="ctr">
                      <a:solidFill>
                        <a:srgbClr val="459261"/>
                      </a:solidFill>
                      <a:prstDash val="solid"/>
                      <a:round/>
                      <a:headEnd type="none" w="med" len="med"/>
                      <a:tailEnd type="none" w="med" len="med"/>
                    </a:lnT>
                  </a:tcPr>
                </a:tc>
                <a:extLst>
                  <a:ext uri="{0D108BD9-81ED-4DB2-BD59-A6C34878D82A}">
                    <a16:rowId xmlns:a16="http://schemas.microsoft.com/office/drawing/2014/main" val="2650915757"/>
                  </a:ext>
                </a:extLst>
              </a:tr>
            </a:tbl>
          </a:graphicData>
        </a:graphic>
      </p:graphicFrame>
      <p:pic>
        <p:nvPicPr>
          <p:cNvPr id="1028" name="Picture 4" descr="Modern flat design of CSV file icon for web 3067932 Vector Art at Vecteezy">
            <a:extLst>
              <a:ext uri="{FF2B5EF4-FFF2-40B4-BE49-F238E27FC236}">
                <a16:creationId xmlns:a16="http://schemas.microsoft.com/office/drawing/2014/main" id="{0A8640A8-7337-D5E9-1E09-6DD0046025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89" y="880571"/>
            <a:ext cx="1002738" cy="100273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317603F-6B55-F3E3-35F5-54BDA45AAE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7825" y="880571"/>
            <a:ext cx="752054" cy="10027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 - Free logo icons">
            <a:extLst>
              <a:ext uri="{FF2B5EF4-FFF2-40B4-BE49-F238E27FC236}">
                <a16:creationId xmlns:a16="http://schemas.microsoft.com/office/drawing/2014/main" id="{7F4D3848-85A5-5823-B1EF-6A1DE17771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3425" y="1015618"/>
            <a:ext cx="833442" cy="83344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Postgre - Free logo icons">
            <a:extLst>
              <a:ext uri="{FF2B5EF4-FFF2-40B4-BE49-F238E27FC236}">
                <a16:creationId xmlns:a16="http://schemas.microsoft.com/office/drawing/2014/main" id="{83FB97ED-2955-4016-CCC7-B4A914575F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19720" y="1015618"/>
            <a:ext cx="833442" cy="83344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icrosoft Excel logo and symbol, meaning, history, PNG">
            <a:extLst>
              <a:ext uri="{FF2B5EF4-FFF2-40B4-BE49-F238E27FC236}">
                <a16:creationId xmlns:a16="http://schemas.microsoft.com/office/drawing/2014/main" id="{62E9F477-AAA9-71C3-CE50-11A2557484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74007" y="3266619"/>
            <a:ext cx="1121664" cy="70104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About statsmodels - statsmodels 0.14.1">
            <a:extLst>
              <a:ext uri="{FF2B5EF4-FFF2-40B4-BE49-F238E27FC236}">
                <a16:creationId xmlns:a16="http://schemas.microsoft.com/office/drawing/2014/main" id="{70440FF2-AE23-6683-1B51-53D4BD349AF0}"/>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AutoShape 14" descr="About statsmodels - statsmodels 0.14.1">
            <a:extLst>
              <a:ext uri="{FF2B5EF4-FFF2-40B4-BE49-F238E27FC236}">
                <a16:creationId xmlns:a16="http://schemas.microsoft.com/office/drawing/2014/main" id="{D3721CEE-AF02-AB75-20BC-2780DA8BF2AE}"/>
              </a:ext>
            </a:extLst>
          </p:cNvPr>
          <p:cNvSpPr>
            <a:spLocks noChangeAspect="1" noChangeArrowheads="1"/>
          </p:cNvSpPr>
          <p:nvPr/>
        </p:nvSpPr>
        <p:spPr bwMode="auto">
          <a:xfrm>
            <a:off x="4571999" y="2571749"/>
            <a:ext cx="694869" cy="694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1" name="AutoShape 20" descr="About statsmodels — statsmodels">
            <a:extLst>
              <a:ext uri="{FF2B5EF4-FFF2-40B4-BE49-F238E27FC236}">
                <a16:creationId xmlns:a16="http://schemas.microsoft.com/office/drawing/2014/main" id="{FC2E7E8D-FB79-E6FD-AF5D-CEECAD89FBC9}"/>
              </a:ext>
            </a:extLst>
          </p:cNvPr>
          <p:cNvSpPr>
            <a:spLocks noChangeAspect="1" noChangeArrowheads="1"/>
          </p:cNvSpPr>
          <p:nvPr/>
        </p:nvSpPr>
        <p:spPr bwMode="auto">
          <a:xfrm>
            <a:off x="4572000" y="25717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050" name="Picture 26" descr="statsmodels 0.10.0中文文档- 知乎">
            <a:extLst>
              <a:ext uri="{FF2B5EF4-FFF2-40B4-BE49-F238E27FC236}">
                <a16:creationId xmlns:a16="http://schemas.microsoft.com/office/drawing/2014/main" id="{9F950160-3BDD-8E7C-69B8-829285DFD8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2441" y="3266619"/>
            <a:ext cx="968906" cy="70104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scikit learn&quot; Icon - Download for free – Iconduck">
            <a:extLst>
              <a:ext uri="{FF2B5EF4-FFF2-40B4-BE49-F238E27FC236}">
                <a16:creationId xmlns:a16="http://schemas.microsoft.com/office/drawing/2014/main" id="{3513EFB9-5E0A-D478-9B6B-232811D18D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75693" y="3355484"/>
            <a:ext cx="968906" cy="52331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Microsoft Power BI - Incite Gravity">
            <a:extLst>
              <a:ext uri="{FF2B5EF4-FFF2-40B4-BE49-F238E27FC236}">
                <a16:creationId xmlns:a16="http://schemas.microsoft.com/office/drawing/2014/main" id="{A16D368E-A2A5-A70B-32C1-C53F107C40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3105" y="3181131"/>
            <a:ext cx="968906" cy="872016"/>
          </a:xfrm>
          <a:prstGeom prst="rect">
            <a:avLst/>
          </a:prstGeom>
          <a:noFill/>
          <a:extLst>
            <a:ext uri="{909E8E84-426E-40DD-AFC4-6F175D3DCCD1}">
              <a14:hiddenFill xmlns:a14="http://schemas.microsoft.com/office/drawing/2010/main">
                <a:solidFill>
                  <a:srgbClr val="FFFFFF"/>
                </a:solidFill>
              </a14:hiddenFill>
            </a:ext>
          </a:extLst>
        </p:spPr>
      </p:pic>
      <p:sp>
        <p:nvSpPr>
          <p:cNvPr id="18" name="Chevron 17">
            <a:extLst>
              <a:ext uri="{FF2B5EF4-FFF2-40B4-BE49-F238E27FC236}">
                <a16:creationId xmlns:a16="http://schemas.microsoft.com/office/drawing/2014/main" id="{D54F4C77-4C59-8A5C-7321-51B43867902D}"/>
              </a:ext>
            </a:extLst>
          </p:cNvPr>
          <p:cNvSpPr/>
          <p:nvPr/>
        </p:nvSpPr>
        <p:spPr>
          <a:xfrm>
            <a:off x="2346653" y="2266823"/>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Chevron 18">
            <a:extLst>
              <a:ext uri="{FF2B5EF4-FFF2-40B4-BE49-F238E27FC236}">
                <a16:creationId xmlns:a16="http://schemas.microsoft.com/office/drawing/2014/main" id="{52190009-7DD0-2F37-0212-47D9104C649B}"/>
              </a:ext>
            </a:extLst>
          </p:cNvPr>
          <p:cNvSpPr/>
          <p:nvPr/>
        </p:nvSpPr>
        <p:spPr>
          <a:xfrm>
            <a:off x="4526635" y="2264337"/>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Chevron 21">
            <a:extLst>
              <a:ext uri="{FF2B5EF4-FFF2-40B4-BE49-F238E27FC236}">
                <a16:creationId xmlns:a16="http://schemas.microsoft.com/office/drawing/2014/main" id="{4A67D10B-2574-0E4A-70E4-168277FEE962}"/>
              </a:ext>
            </a:extLst>
          </p:cNvPr>
          <p:cNvSpPr/>
          <p:nvPr/>
        </p:nvSpPr>
        <p:spPr>
          <a:xfrm>
            <a:off x="6699241" y="2264337"/>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Chevron 22">
            <a:extLst>
              <a:ext uri="{FF2B5EF4-FFF2-40B4-BE49-F238E27FC236}">
                <a16:creationId xmlns:a16="http://schemas.microsoft.com/office/drawing/2014/main" id="{70E2D374-72FA-FD4B-076A-42C1CC4C0989}"/>
              </a:ext>
            </a:extLst>
          </p:cNvPr>
          <p:cNvSpPr/>
          <p:nvPr/>
        </p:nvSpPr>
        <p:spPr>
          <a:xfrm rot="5400000">
            <a:off x="7787388" y="2948222"/>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4" name="Chevron 23">
            <a:extLst>
              <a:ext uri="{FF2B5EF4-FFF2-40B4-BE49-F238E27FC236}">
                <a16:creationId xmlns:a16="http://schemas.microsoft.com/office/drawing/2014/main" id="{1E963CC2-86BB-B6C6-AB24-236CBF9384D6}"/>
              </a:ext>
            </a:extLst>
          </p:cNvPr>
          <p:cNvSpPr/>
          <p:nvPr/>
        </p:nvSpPr>
        <p:spPr>
          <a:xfrm rot="10800000">
            <a:off x="6699241" y="4389249"/>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5" name="Chevron 24">
            <a:extLst>
              <a:ext uri="{FF2B5EF4-FFF2-40B4-BE49-F238E27FC236}">
                <a16:creationId xmlns:a16="http://schemas.microsoft.com/office/drawing/2014/main" id="{FD63ABE5-D6CC-6A63-01B1-79B772123DC4}"/>
              </a:ext>
            </a:extLst>
          </p:cNvPr>
          <p:cNvSpPr/>
          <p:nvPr/>
        </p:nvSpPr>
        <p:spPr>
          <a:xfrm rot="10800000">
            <a:off x="4522947" y="4389249"/>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 name="Chevron 25">
            <a:extLst>
              <a:ext uri="{FF2B5EF4-FFF2-40B4-BE49-F238E27FC236}">
                <a16:creationId xmlns:a16="http://schemas.microsoft.com/office/drawing/2014/main" id="{3D35F875-5FB0-0FF2-0678-548973F37A77}"/>
              </a:ext>
            </a:extLst>
          </p:cNvPr>
          <p:cNvSpPr/>
          <p:nvPr/>
        </p:nvSpPr>
        <p:spPr>
          <a:xfrm rot="10800000">
            <a:off x="2346652" y="4389249"/>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25656937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90DD66F7-E010-12C0-AAE1-CD2DB7C248E1}"/>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67693F33-4E4A-D70A-C52F-0919C1B6D644}"/>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err="1">
                <a:latin typeface="Helvetica Neue" panose="02000503000000020004" pitchFamily="2" charset="0"/>
                <a:ea typeface="Helvetica Neue" panose="02000503000000020004" pitchFamily="2" charset="0"/>
                <a:cs typeface="Helvetica Neue" panose="02000503000000020004" pitchFamily="2" charset="0"/>
                <a:sym typeface="Helvetica Neue"/>
              </a:rPr>
              <a:t>Supabase</a:t>
            </a:r>
            <a:endPar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9" name="Google Shape;98;p15">
            <a:extLst>
              <a:ext uri="{FF2B5EF4-FFF2-40B4-BE49-F238E27FC236}">
                <a16:creationId xmlns:a16="http://schemas.microsoft.com/office/drawing/2014/main" id="{9F467714-6B41-C05F-3476-BFC8ACA1D67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PostgreSQL Database for transforming and viewing tables</a:t>
            </a:r>
          </a:p>
        </p:txBody>
      </p:sp>
      <p:sp>
        <p:nvSpPr>
          <p:cNvPr id="16" name="Google Shape;99;p15">
            <a:extLst>
              <a:ext uri="{FF2B5EF4-FFF2-40B4-BE49-F238E27FC236}">
                <a16:creationId xmlns:a16="http://schemas.microsoft.com/office/drawing/2014/main" id="{58E76411-2F43-24E0-FED6-91249FA1E02A}"/>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grpSp>
        <p:nvGrpSpPr>
          <p:cNvPr id="12" name="Group 11">
            <a:extLst>
              <a:ext uri="{FF2B5EF4-FFF2-40B4-BE49-F238E27FC236}">
                <a16:creationId xmlns:a16="http://schemas.microsoft.com/office/drawing/2014/main" id="{1F85C17F-D3C3-B57F-A9CD-F962BD8CF644}"/>
              </a:ext>
            </a:extLst>
          </p:cNvPr>
          <p:cNvGrpSpPr/>
          <p:nvPr/>
        </p:nvGrpSpPr>
        <p:grpSpPr>
          <a:xfrm>
            <a:off x="4325100" y="1368577"/>
            <a:ext cx="4674569" cy="2208510"/>
            <a:chOff x="422250" y="945613"/>
            <a:chExt cx="8497024" cy="4014437"/>
          </a:xfrm>
        </p:grpSpPr>
        <p:pic>
          <p:nvPicPr>
            <p:cNvPr id="8" name="Picture 7">
              <a:extLst>
                <a:ext uri="{FF2B5EF4-FFF2-40B4-BE49-F238E27FC236}">
                  <a16:creationId xmlns:a16="http://schemas.microsoft.com/office/drawing/2014/main" id="{CBC6C4DD-035B-E57F-C482-F598FF32629D}"/>
                </a:ext>
              </a:extLst>
            </p:cNvPr>
            <p:cNvPicPr>
              <a:picLocks noChangeAspect="1"/>
            </p:cNvPicPr>
            <p:nvPr/>
          </p:nvPicPr>
          <p:blipFill>
            <a:blip r:embed="rId3"/>
            <a:stretch>
              <a:fillRect/>
            </a:stretch>
          </p:blipFill>
          <p:spPr>
            <a:xfrm>
              <a:off x="422250" y="945613"/>
              <a:ext cx="7182900" cy="3703683"/>
            </a:xfrm>
            <a:prstGeom prst="rect">
              <a:avLst/>
            </a:prstGeom>
          </p:spPr>
        </p:pic>
        <p:pic>
          <p:nvPicPr>
            <p:cNvPr id="11" name="Picture 10">
              <a:extLst>
                <a:ext uri="{FF2B5EF4-FFF2-40B4-BE49-F238E27FC236}">
                  <a16:creationId xmlns:a16="http://schemas.microsoft.com/office/drawing/2014/main" id="{FE60C39A-1769-D2F9-0505-B231BB9F82E8}"/>
                </a:ext>
              </a:extLst>
            </p:cNvPr>
            <p:cNvPicPr>
              <a:picLocks noChangeAspect="1"/>
            </p:cNvPicPr>
            <p:nvPr/>
          </p:nvPicPr>
          <p:blipFill>
            <a:blip r:embed="rId4"/>
            <a:stretch>
              <a:fillRect/>
            </a:stretch>
          </p:blipFill>
          <p:spPr>
            <a:xfrm>
              <a:off x="6501539" y="2959978"/>
              <a:ext cx="2417735" cy="2000072"/>
            </a:xfrm>
            <a:prstGeom prst="rect">
              <a:avLst/>
            </a:prstGeom>
          </p:spPr>
        </p:pic>
      </p:grpSp>
      <p:pic>
        <p:nvPicPr>
          <p:cNvPr id="14" name="Picture 13">
            <a:extLst>
              <a:ext uri="{FF2B5EF4-FFF2-40B4-BE49-F238E27FC236}">
                <a16:creationId xmlns:a16="http://schemas.microsoft.com/office/drawing/2014/main" id="{B5304541-17B6-790C-C9E5-DC458FDD6797}"/>
              </a:ext>
            </a:extLst>
          </p:cNvPr>
          <p:cNvPicPr>
            <a:picLocks noChangeAspect="1"/>
          </p:cNvPicPr>
          <p:nvPr/>
        </p:nvPicPr>
        <p:blipFill>
          <a:blip r:embed="rId5"/>
          <a:stretch>
            <a:fillRect/>
          </a:stretch>
        </p:blipFill>
        <p:spPr>
          <a:xfrm>
            <a:off x="422250" y="1402291"/>
            <a:ext cx="3611105" cy="1970121"/>
          </a:xfrm>
          <a:prstGeom prst="rect">
            <a:avLst/>
          </a:prstGeom>
        </p:spPr>
      </p:pic>
      <p:sp>
        <p:nvSpPr>
          <p:cNvPr id="15" name="Google Shape;459;p36">
            <a:extLst>
              <a:ext uri="{FF2B5EF4-FFF2-40B4-BE49-F238E27FC236}">
                <a16:creationId xmlns:a16="http://schemas.microsoft.com/office/drawing/2014/main" id="{D461E256-CF64-11D9-2643-664AB5D82386}"/>
              </a:ext>
            </a:extLst>
          </p:cNvPr>
          <p:cNvSpPr/>
          <p:nvPr/>
        </p:nvSpPr>
        <p:spPr>
          <a:xfrm>
            <a:off x="422250" y="3767707"/>
            <a:ext cx="3611105" cy="642928"/>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leaned With Pandas and Inputted </a:t>
            </a:r>
          </a:p>
          <a:p>
            <a:pPr marL="0" lvl="0" indent="0" algn="ctr" rtl="0">
              <a:spcBef>
                <a:spcPts val="0"/>
              </a:spcBef>
              <a:spcAft>
                <a:spcPts val="0"/>
              </a:spcAft>
              <a:buNone/>
            </a:pPr>
            <a:r>
              <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Into </a:t>
            </a:r>
            <a:r>
              <a:rPr lang="en-GB" sz="1200" b="1" err="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pabase</a:t>
            </a:r>
            <a:endPar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17" name="Google Shape;459;p36">
            <a:extLst>
              <a:ext uri="{FF2B5EF4-FFF2-40B4-BE49-F238E27FC236}">
                <a16:creationId xmlns:a16="http://schemas.microsoft.com/office/drawing/2014/main" id="{C0E236DB-E35C-E165-2C1F-C81D86ACA93D}"/>
              </a:ext>
            </a:extLst>
          </p:cNvPr>
          <p:cNvSpPr/>
          <p:nvPr/>
        </p:nvSpPr>
        <p:spPr>
          <a:xfrm>
            <a:off x="4856832" y="3767707"/>
            <a:ext cx="3611105" cy="642928"/>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ombined CSVs to Create Views </a:t>
            </a:r>
          </a:p>
          <a:p>
            <a:pPr marL="0" lvl="0" indent="0" algn="ctr" rtl="0">
              <a:spcBef>
                <a:spcPts val="0"/>
              </a:spcBef>
              <a:spcAft>
                <a:spcPts val="0"/>
              </a:spcAft>
              <a:buNone/>
            </a:pPr>
            <a:r>
              <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With </a:t>
            </a:r>
            <a:r>
              <a:rPr lang="en-GB" sz="1200" b="1" err="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pabase</a:t>
            </a:r>
            <a:endPar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Tree>
    <p:extLst>
      <p:ext uri="{BB962C8B-B14F-4D97-AF65-F5344CB8AC3E}">
        <p14:creationId xmlns:p14="http://schemas.microsoft.com/office/powerpoint/2010/main" val="1346205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DEC559C0-7445-B1AE-52C0-07AF8F77EAF6}"/>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29D9C867-F3B0-6D6E-A014-53DFF2745628}"/>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Python Implementation</a:t>
            </a:r>
          </a:p>
        </p:txBody>
      </p:sp>
      <p:sp>
        <p:nvSpPr>
          <p:cNvPr id="9" name="Google Shape;98;p15">
            <a:extLst>
              <a:ext uri="{FF2B5EF4-FFF2-40B4-BE49-F238E27FC236}">
                <a16:creationId xmlns:a16="http://schemas.microsoft.com/office/drawing/2014/main" id="{899D9B9E-3732-95D9-A1B4-1E5E67D39263}"/>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Data preparation and pre-processing steps</a:t>
            </a:r>
          </a:p>
        </p:txBody>
      </p:sp>
      <p:sp>
        <p:nvSpPr>
          <p:cNvPr id="16" name="Google Shape;99;p15">
            <a:extLst>
              <a:ext uri="{FF2B5EF4-FFF2-40B4-BE49-F238E27FC236}">
                <a16:creationId xmlns:a16="http://schemas.microsoft.com/office/drawing/2014/main" id="{770FD75F-58E0-F28D-56D2-4C978F1121B7}"/>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5" name="Picture 4">
            <a:extLst>
              <a:ext uri="{FF2B5EF4-FFF2-40B4-BE49-F238E27FC236}">
                <a16:creationId xmlns:a16="http://schemas.microsoft.com/office/drawing/2014/main" id="{A19F74F2-42D2-01DF-BE9C-354E9D2067F9}"/>
              </a:ext>
            </a:extLst>
          </p:cNvPr>
          <p:cNvPicPr>
            <a:picLocks noChangeAspect="1"/>
          </p:cNvPicPr>
          <p:nvPr/>
        </p:nvPicPr>
        <p:blipFill>
          <a:blip r:embed="rId3"/>
          <a:stretch>
            <a:fillRect/>
          </a:stretch>
        </p:blipFill>
        <p:spPr>
          <a:xfrm>
            <a:off x="422250" y="1040710"/>
            <a:ext cx="3816113" cy="1729177"/>
          </a:xfrm>
          <a:prstGeom prst="rect">
            <a:avLst/>
          </a:prstGeom>
        </p:spPr>
      </p:pic>
      <p:pic>
        <p:nvPicPr>
          <p:cNvPr id="7" name="Picture 6">
            <a:extLst>
              <a:ext uri="{FF2B5EF4-FFF2-40B4-BE49-F238E27FC236}">
                <a16:creationId xmlns:a16="http://schemas.microsoft.com/office/drawing/2014/main" id="{97911001-CF85-9B42-381D-174683DEF620}"/>
              </a:ext>
            </a:extLst>
          </p:cNvPr>
          <p:cNvPicPr>
            <a:picLocks noChangeAspect="1"/>
          </p:cNvPicPr>
          <p:nvPr/>
        </p:nvPicPr>
        <p:blipFill>
          <a:blip r:embed="rId4"/>
          <a:stretch>
            <a:fillRect/>
          </a:stretch>
        </p:blipFill>
        <p:spPr>
          <a:xfrm>
            <a:off x="421850" y="3015930"/>
            <a:ext cx="3816113" cy="1569579"/>
          </a:xfrm>
          <a:prstGeom prst="rect">
            <a:avLst/>
          </a:prstGeom>
        </p:spPr>
      </p:pic>
      <p:pic>
        <p:nvPicPr>
          <p:cNvPr id="10" name="Picture 9">
            <a:extLst>
              <a:ext uri="{FF2B5EF4-FFF2-40B4-BE49-F238E27FC236}">
                <a16:creationId xmlns:a16="http://schemas.microsoft.com/office/drawing/2014/main" id="{4A743D85-4607-05B7-CCEF-6945EC526C1B}"/>
              </a:ext>
            </a:extLst>
          </p:cNvPr>
          <p:cNvPicPr>
            <a:picLocks noChangeAspect="1"/>
          </p:cNvPicPr>
          <p:nvPr/>
        </p:nvPicPr>
        <p:blipFill>
          <a:blip r:embed="rId5"/>
          <a:stretch>
            <a:fillRect/>
          </a:stretch>
        </p:blipFill>
        <p:spPr>
          <a:xfrm>
            <a:off x="5851594" y="1040710"/>
            <a:ext cx="1541217" cy="3544799"/>
          </a:xfrm>
          <a:prstGeom prst="rect">
            <a:avLst/>
          </a:prstGeom>
        </p:spPr>
      </p:pic>
      <p:sp>
        <p:nvSpPr>
          <p:cNvPr id="11" name="Rectangle 10">
            <a:extLst>
              <a:ext uri="{FF2B5EF4-FFF2-40B4-BE49-F238E27FC236}">
                <a16:creationId xmlns:a16="http://schemas.microsoft.com/office/drawing/2014/main" id="{FB546EF5-E98B-0F76-5DFA-25A5EF2481CD}"/>
              </a:ext>
            </a:extLst>
          </p:cNvPr>
          <p:cNvSpPr/>
          <p:nvPr/>
        </p:nvSpPr>
        <p:spPr>
          <a:xfrm>
            <a:off x="4358979" y="1040710"/>
            <a:ext cx="1371600" cy="1729177"/>
          </a:xfrm>
          <a:prstGeom prst="rect">
            <a:avLst/>
          </a:prstGeom>
          <a:noFill/>
          <a:ln w="19050">
            <a:solidFill>
              <a:srgbClr val="00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Loading the data from all the previously defined tables in </a:t>
            </a:r>
            <a:r>
              <a:rPr lang="en-CA" sz="1100" err="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upabase</a:t>
            </a: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using csv readers</a:t>
            </a:r>
          </a:p>
        </p:txBody>
      </p:sp>
      <p:sp>
        <p:nvSpPr>
          <p:cNvPr id="12" name="Rectangle 11">
            <a:extLst>
              <a:ext uri="{FF2B5EF4-FFF2-40B4-BE49-F238E27FC236}">
                <a16:creationId xmlns:a16="http://schemas.microsoft.com/office/drawing/2014/main" id="{BA742374-2656-346E-2A7C-03F5FA28B180}"/>
              </a:ext>
            </a:extLst>
          </p:cNvPr>
          <p:cNvSpPr/>
          <p:nvPr/>
        </p:nvSpPr>
        <p:spPr>
          <a:xfrm>
            <a:off x="4358979" y="3015930"/>
            <a:ext cx="1371600" cy="1569579"/>
          </a:xfrm>
          <a:prstGeom prst="rect">
            <a:avLst/>
          </a:prstGeom>
          <a:noFill/>
          <a:ln w="19050">
            <a:solidFill>
              <a:srgbClr val="00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Creating a dictionary with zip code as the key for all data for that zip code</a:t>
            </a:r>
          </a:p>
        </p:txBody>
      </p:sp>
      <p:sp>
        <p:nvSpPr>
          <p:cNvPr id="13" name="Rectangle 12">
            <a:extLst>
              <a:ext uri="{FF2B5EF4-FFF2-40B4-BE49-F238E27FC236}">
                <a16:creationId xmlns:a16="http://schemas.microsoft.com/office/drawing/2014/main" id="{40CA8096-4219-1562-EBBC-9392D2FA4461}"/>
              </a:ext>
            </a:extLst>
          </p:cNvPr>
          <p:cNvSpPr/>
          <p:nvPr/>
        </p:nvSpPr>
        <p:spPr>
          <a:xfrm>
            <a:off x="7513826" y="1040710"/>
            <a:ext cx="1340724" cy="3544799"/>
          </a:xfrm>
          <a:prstGeom prst="rect">
            <a:avLst/>
          </a:prstGeom>
          <a:noFill/>
          <a:ln w="19050">
            <a:solidFill>
              <a:srgbClr val="00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ppending all relevant information to the “output” list, which will then be written to a csv</a:t>
            </a:r>
          </a:p>
        </p:txBody>
      </p:sp>
    </p:spTree>
    <p:extLst>
      <p:ext uri="{BB962C8B-B14F-4D97-AF65-F5344CB8AC3E}">
        <p14:creationId xmlns:p14="http://schemas.microsoft.com/office/powerpoint/2010/main" val="765947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83359432-31FA-A938-7D17-95011913BF85}"/>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18C09F59-E6D5-DC8A-B675-E34435827F19}"/>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Important Calculations</a:t>
            </a:r>
          </a:p>
        </p:txBody>
      </p:sp>
      <p:sp>
        <p:nvSpPr>
          <p:cNvPr id="9" name="Google Shape;98;p15">
            <a:extLst>
              <a:ext uri="{FF2B5EF4-FFF2-40B4-BE49-F238E27FC236}">
                <a16:creationId xmlns:a16="http://schemas.microsoft.com/office/drawing/2014/main" id="{F45A9C03-81F2-9D2D-AAAE-9A1D51E9EE6B}"/>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High-level approach</a:t>
            </a:r>
          </a:p>
        </p:txBody>
      </p:sp>
      <p:sp>
        <p:nvSpPr>
          <p:cNvPr id="16" name="Google Shape;99;p15">
            <a:extLst>
              <a:ext uri="{FF2B5EF4-FFF2-40B4-BE49-F238E27FC236}">
                <a16:creationId xmlns:a16="http://schemas.microsoft.com/office/drawing/2014/main" id="{26139082-F9D7-BF11-8B6D-CA0A4DE6944B}"/>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3074" name="Picture 2" descr="Diameter, Radius, &amp; Circumference of Circles (Video &amp; Practice)">
            <a:extLst>
              <a:ext uri="{FF2B5EF4-FFF2-40B4-BE49-F238E27FC236}">
                <a16:creationId xmlns:a16="http://schemas.microsoft.com/office/drawing/2014/main" id="{864F4281-6DAA-F7BE-084D-260E0683B4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518" y="1160641"/>
            <a:ext cx="882882" cy="882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1BDCD0B-6CB3-CF2B-3D5A-90A358A649AF}"/>
              </a:ext>
            </a:extLst>
          </p:cNvPr>
          <p:cNvSpPr/>
          <p:nvPr/>
        </p:nvSpPr>
        <p:spPr>
          <a:xfrm>
            <a:off x="422250" y="1547174"/>
            <a:ext cx="2469540" cy="1221182"/>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Need to calculate the number of stores for McDonald’s, Dunkin’, and Starbucks for a given municipality </a:t>
            </a:r>
          </a:p>
        </p:txBody>
      </p:sp>
      <p:sp>
        <p:nvSpPr>
          <p:cNvPr id="6" name="Rectangle 5">
            <a:extLst>
              <a:ext uri="{FF2B5EF4-FFF2-40B4-BE49-F238E27FC236}">
                <a16:creationId xmlns:a16="http://schemas.microsoft.com/office/drawing/2014/main" id="{EEC865FF-84DB-F48B-F20B-7CB3CCC8601F}"/>
              </a:ext>
            </a:extLst>
          </p:cNvPr>
          <p:cNvSpPr/>
          <p:nvPr/>
        </p:nvSpPr>
        <p:spPr>
          <a:xfrm>
            <a:off x="422250" y="3371296"/>
            <a:ext cx="2469540" cy="1216982"/>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Need to calculate the total GDP for any given municipality to measure economic output as part of our hypothesis</a:t>
            </a:r>
          </a:p>
        </p:txBody>
      </p:sp>
      <p:sp>
        <p:nvSpPr>
          <p:cNvPr id="11" name="Google Shape;459;p36">
            <a:extLst>
              <a:ext uri="{FF2B5EF4-FFF2-40B4-BE49-F238E27FC236}">
                <a16:creationId xmlns:a16="http://schemas.microsoft.com/office/drawing/2014/main" id="{963C4AC1-38B7-F8BA-F825-1EBC6B09FD03}"/>
              </a:ext>
            </a:extLst>
          </p:cNvPr>
          <p:cNvSpPr/>
          <p:nvPr/>
        </p:nvSpPr>
        <p:spPr>
          <a:xfrm>
            <a:off x="3189387" y="2170156"/>
            <a:ext cx="2559426" cy="598200"/>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ssume each zip code is shaped like a circle, use area to back-calculate radius</a:t>
            </a:r>
          </a:p>
        </p:txBody>
      </p:sp>
      <p:sp>
        <p:nvSpPr>
          <p:cNvPr id="12" name="Google Shape;459;p36">
            <a:extLst>
              <a:ext uri="{FF2B5EF4-FFF2-40B4-BE49-F238E27FC236}">
                <a16:creationId xmlns:a16="http://schemas.microsoft.com/office/drawing/2014/main" id="{EFEFBE4B-84F3-C134-BD0A-206EAEC25179}"/>
              </a:ext>
            </a:extLst>
          </p:cNvPr>
          <p:cNvSpPr/>
          <p:nvPr/>
        </p:nvSpPr>
        <p:spPr>
          <a:xfrm>
            <a:off x="6034587" y="2170156"/>
            <a:ext cx="2559426" cy="598200"/>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earch for coffee shops in database with the same state </a:t>
            </a:r>
          </a:p>
        </p:txBody>
      </p:sp>
      <p:sp>
        <p:nvSpPr>
          <p:cNvPr id="13" name="Google Shape;459;p36">
            <a:extLst>
              <a:ext uri="{FF2B5EF4-FFF2-40B4-BE49-F238E27FC236}">
                <a16:creationId xmlns:a16="http://schemas.microsoft.com/office/drawing/2014/main" id="{CA7B039F-059C-1AFA-CC45-B8E0FF3C83BB}"/>
              </a:ext>
            </a:extLst>
          </p:cNvPr>
          <p:cNvSpPr/>
          <p:nvPr/>
        </p:nvSpPr>
        <p:spPr>
          <a:xfrm>
            <a:off x="3189387" y="3994278"/>
            <a:ext cx="2559426" cy="594000"/>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m the product of household income to number of households</a:t>
            </a:r>
          </a:p>
        </p:txBody>
      </p:sp>
      <p:pic>
        <p:nvPicPr>
          <p:cNvPr id="3080" name="Picture 8" descr="House icon PNG and SVG Vector Free Download">
            <a:extLst>
              <a:ext uri="{FF2B5EF4-FFF2-40B4-BE49-F238E27FC236}">
                <a16:creationId xmlns:a16="http://schemas.microsoft.com/office/drawing/2014/main" id="{E23A0F7D-F5B4-FC38-E2E9-42DF745A0A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8750" y="3073156"/>
            <a:ext cx="920700" cy="85956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BCB1838D-9495-3556-6BF9-5E6629C8033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1628" b="21628"/>
          <a:stretch/>
        </p:blipFill>
        <p:spPr bwMode="auto">
          <a:xfrm>
            <a:off x="6349653" y="1054691"/>
            <a:ext cx="1929294" cy="1094781"/>
          </a:xfrm>
          <a:prstGeom prst="rect">
            <a:avLst/>
          </a:prstGeom>
          <a:noFill/>
          <a:extLst>
            <a:ext uri="{909E8E84-426E-40DD-AFC4-6F175D3DCCD1}">
              <a14:hiddenFill xmlns:a14="http://schemas.microsoft.com/office/drawing/2010/main">
                <a:solidFill>
                  <a:srgbClr val="FFFFFF"/>
                </a:solidFill>
              </a14:hiddenFill>
            </a:ext>
          </a:extLst>
        </p:spPr>
      </p:pic>
      <p:sp>
        <p:nvSpPr>
          <p:cNvPr id="14" name="Google Shape;459;p36">
            <a:extLst>
              <a:ext uri="{FF2B5EF4-FFF2-40B4-BE49-F238E27FC236}">
                <a16:creationId xmlns:a16="http://schemas.microsoft.com/office/drawing/2014/main" id="{3D9A4827-9C25-791E-1418-BC6138266D42}"/>
              </a:ext>
            </a:extLst>
          </p:cNvPr>
          <p:cNvSpPr/>
          <p:nvPr/>
        </p:nvSpPr>
        <p:spPr>
          <a:xfrm>
            <a:off x="6034587" y="3994278"/>
            <a:ext cx="2559426" cy="594000"/>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m the product of family income to number of families if </a:t>
            </a:r>
          </a:p>
          <a:p>
            <a:pPr marL="0" lvl="0" indent="0" algn="ctr" rtl="0">
              <a:spcBef>
                <a:spcPts val="0"/>
              </a:spcBef>
              <a:spcAft>
                <a:spcPts val="0"/>
              </a:spcAft>
              <a:buNone/>
            </a:pPr>
            <a:r>
              <a:rPr lang="en-GB" sz="10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household missing</a:t>
            </a:r>
          </a:p>
        </p:txBody>
      </p:sp>
      <p:pic>
        <p:nvPicPr>
          <p:cNvPr id="3084" name="Picture 12" descr="Family Icon&quot; Images – Browse 1,308 Stock Photos, Vectors, and Video | Adobe  Stock">
            <a:extLst>
              <a:ext uri="{FF2B5EF4-FFF2-40B4-BE49-F238E27FC236}">
                <a16:creationId xmlns:a16="http://schemas.microsoft.com/office/drawing/2014/main" id="{780F3634-703C-B323-B90C-50FE6235F59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0971" b="12048"/>
          <a:stretch/>
        </p:blipFill>
        <p:spPr bwMode="auto">
          <a:xfrm>
            <a:off x="6614341" y="3034094"/>
            <a:ext cx="1399918" cy="93768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0305AFE3-67C6-ED5F-6DD6-AF811530283A}"/>
              </a:ext>
            </a:extLst>
          </p:cNvPr>
          <p:cNvGrpSpPr/>
          <p:nvPr/>
        </p:nvGrpSpPr>
        <p:grpSpPr>
          <a:xfrm>
            <a:off x="439038" y="1027312"/>
            <a:ext cx="2468100" cy="441831"/>
            <a:chOff x="439038" y="821785"/>
            <a:chExt cx="2468100" cy="441831"/>
          </a:xfrm>
        </p:grpSpPr>
        <p:sp>
          <p:nvSpPr>
            <p:cNvPr id="15" name="Google Shape;351;p21">
              <a:extLst>
                <a:ext uri="{FF2B5EF4-FFF2-40B4-BE49-F238E27FC236}">
                  <a16:creationId xmlns:a16="http://schemas.microsoft.com/office/drawing/2014/main" id="{7F31E673-7B82-7E96-DFF9-0DA6BB77785C}"/>
                </a:ext>
              </a:extLst>
            </p:cNvPr>
            <p:cNvSpPr/>
            <p:nvPr/>
          </p:nvSpPr>
          <p:spPr>
            <a:xfrm rot="-5400000">
              <a:off x="1647138" y="3616"/>
              <a:ext cx="51900" cy="2468100"/>
            </a:xfrm>
            <a:prstGeom prst="rect">
              <a:avLst/>
            </a:prstGeom>
            <a:solidFill>
              <a:srgbClr val="05B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Google Shape;326;p21">
              <a:extLst>
                <a:ext uri="{FF2B5EF4-FFF2-40B4-BE49-F238E27FC236}">
                  <a16:creationId xmlns:a16="http://schemas.microsoft.com/office/drawing/2014/main" id="{AFF8AD8B-C24B-44DF-2A2A-E041385ABFA3}"/>
                </a:ext>
              </a:extLst>
            </p:cNvPr>
            <p:cNvSpPr txBox="1">
              <a:spLocks/>
            </p:cNvSpPr>
            <p:nvPr/>
          </p:nvSpPr>
          <p:spPr>
            <a:xfrm>
              <a:off x="576138" y="821785"/>
              <a:ext cx="2193900" cy="4209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a:buSzPts val="990"/>
              </a:pPr>
              <a:r>
                <a:rPr lang="en-GB" sz="1400" b="1">
                  <a:latin typeface="Helvetica Neue" panose="02000503000000020004" pitchFamily="2" charset="0"/>
                  <a:ea typeface="Helvetica Neue" panose="02000503000000020004" pitchFamily="2" charset="0"/>
                  <a:cs typeface="Helvetica Neue" panose="02000503000000020004" pitchFamily="2" charset="0"/>
                  <a:sym typeface="Helvetica Neue"/>
                </a:rPr>
                <a:t>Independent Variables</a:t>
              </a:r>
            </a:p>
          </p:txBody>
        </p:sp>
      </p:grpSp>
      <p:grpSp>
        <p:nvGrpSpPr>
          <p:cNvPr id="19" name="Group 18">
            <a:extLst>
              <a:ext uri="{FF2B5EF4-FFF2-40B4-BE49-F238E27FC236}">
                <a16:creationId xmlns:a16="http://schemas.microsoft.com/office/drawing/2014/main" id="{743D45C1-E206-7AB1-94E9-D80842FB2FD8}"/>
              </a:ext>
            </a:extLst>
          </p:cNvPr>
          <p:cNvGrpSpPr/>
          <p:nvPr/>
        </p:nvGrpSpPr>
        <p:grpSpPr>
          <a:xfrm>
            <a:off x="439038" y="2852465"/>
            <a:ext cx="2468100" cy="441831"/>
            <a:chOff x="439038" y="821785"/>
            <a:chExt cx="2468100" cy="441831"/>
          </a:xfrm>
        </p:grpSpPr>
        <p:sp>
          <p:nvSpPr>
            <p:cNvPr id="20" name="Google Shape;351;p21">
              <a:extLst>
                <a:ext uri="{FF2B5EF4-FFF2-40B4-BE49-F238E27FC236}">
                  <a16:creationId xmlns:a16="http://schemas.microsoft.com/office/drawing/2014/main" id="{F181AEAB-2F11-41D4-9EAF-902AE3CDCC48}"/>
                </a:ext>
              </a:extLst>
            </p:cNvPr>
            <p:cNvSpPr/>
            <p:nvPr/>
          </p:nvSpPr>
          <p:spPr>
            <a:xfrm rot="-5400000">
              <a:off x="1647138" y="3616"/>
              <a:ext cx="51900" cy="2468100"/>
            </a:xfrm>
            <a:prstGeom prst="rect">
              <a:avLst/>
            </a:prstGeom>
            <a:solidFill>
              <a:srgbClr val="05B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1" name="Google Shape;326;p21">
              <a:extLst>
                <a:ext uri="{FF2B5EF4-FFF2-40B4-BE49-F238E27FC236}">
                  <a16:creationId xmlns:a16="http://schemas.microsoft.com/office/drawing/2014/main" id="{196C6864-FDB3-B68C-4E9F-EFA1DAA384EB}"/>
                </a:ext>
              </a:extLst>
            </p:cNvPr>
            <p:cNvSpPr txBox="1">
              <a:spLocks/>
            </p:cNvSpPr>
            <p:nvPr/>
          </p:nvSpPr>
          <p:spPr>
            <a:xfrm>
              <a:off x="576138" y="821785"/>
              <a:ext cx="2193900" cy="4209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a:buSzPts val="990"/>
              </a:pPr>
              <a:r>
                <a:rPr lang="en-GB" sz="1400" b="1">
                  <a:latin typeface="Helvetica Neue" panose="02000503000000020004" pitchFamily="2" charset="0"/>
                  <a:ea typeface="Helvetica Neue" panose="02000503000000020004" pitchFamily="2" charset="0"/>
                  <a:cs typeface="Helvetica Neue" panose="02000503000000020004" pitchFamily="2" charset="0"/>
                  <a:sym typeface="Helvetica Neue"/>
                </a:rPr>
                <a:t>Dependent Variables</a:t>
              </a:r>
            </a:p>
          </p:txBody>
        </p:sp>
      </p:grpSp>
    </p:spTree>
    <p:extLst>
      <p:ext uri="{BB962C8B-B14F-4D97-AF65-F5344CB8AC3E}">
        <p14:creationId xmlns:p14="http://schemas.microsoft.com/office/powerpoint/2010/main" val="2417146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A2C60842-8CEC-3BE0-76B0-6E1610C0251E}"/>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F221D9B5-8733-364A-3BEA-7382DD622E32}"/>
              </a:ext>
            </a:extLst>
          </p:cNvPr>
          <p:cNvGraphicFramePr>
            <a:graphicFrameLocks noChangeAspect="1"/>
          </p:cNvGraphicFramePr>
          <p:nvPr>
            <p:custDataLst>
              <p:tags r:id="rId1"/>
            </p:custDataLst>
            <p:extLst>
              <p:ext uri="{D42A27DB-BD31-4B8C-83A1-F6EECF244321}">
                <p14:modId xmlns:p14="http://schemas.microsoft.com/office/powerpoint/2010/main" val="76313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23" name="think-cell data - do not delete" hidden="1">
                        <a:extLst>
                          <a:ext uri="{FF2B5EF4-FFF2-40B4-BE49-F238E27FC236}">
                            <a16:creationId xmlns:a16="http://schemas.microsoft.com/office/drawing/2014/main" id="{F221D9B5-8733-364A-3BEA-7382DD62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Google Shape;95;p15">
            <a:extLst>
              <a:ext uri="{FF2B5EF4-FFF2-40B4-BE49-F238E27FC236}">
                <a16:creationId xmlns:a16="http://schemas.microsoft.com/office/drawing/2014/main" id="{3D1A1D1C-40A4-30CE-D382-01D88514D798}"/>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Important Calculations</a:t>
            </a:r>
          </a:p>
        </p:txBody>
      </p:sp>
      <p:sp>
        <p:nvSpPr>
          <p:cNvPr id="9" name="Google Shape;98;p15">
            <a:extLst>
              <a:ext uri="{FF2B5EF4-FFF2-40B4-BE49-F238E27FC236}">
                <a16:creationId xmlns:a16="http://schemas.microsoft.com/office/drawing/2014/main" id="{E4CC6F0F-A643-D46B-C3C5-56F607051E54}"/>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Implementation</a:t>
            </a:r>
          </a:p>
        </p:txBody>
      </p:sp>
      <p:sp>
        <p:nvSpPr>
          <p:cNvPr id="16" name="Google Shape;99;p15">
            <a:extLst>
              <a:ext uri="{FF2B5EF4-FFF2-40B4-BE49-F238E27FC236}">
                <a16:creationId xmlns:a16="http://schemas.microsoft.com/office/drawing/2014/main" id="{EAE537EE-801F-02D1-60F4-C42E87650844}"/>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Rectangle 4">
            <a:extLst>
              <a:ext uri="{FF2B5EF4-FFF2-40B4-BE49-F238E27FC236}">
                <a16:creationId xmlns:a16="http://schemas.microsoft.com/office/drawing/2014/main" id="{29C5DAC5-D6D2-A5D4-C14B-6AA41794514A}"/>
              </a:ext>
            </a:extLst>
          </p:cNvPr>
          <p:cNvSpPr/>
          <p:nvPr/>
        </p:nvSpPr>
        <p:spPr>
          <a:xfrm>
            <a:off x="1165443" y="4706894"/>
            <a:ext cx="2656242" cy="282300"/>
          </a:xfrm>
          <a:prstGeom prst="rect">
            <a:avLst/>
          </a:prstGeom>
          <a:solidFill>
            <a:srgbClr val="05B050"/>
          </a:solidFill>
          <a:ln>
            <a:solidFill>
              <a:srgbClr val="05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Stores in Radius</a:t>
            </a:r>
          </a:p>
        </p:txBody>
      </p:sp>
      <p:sp>
        <p:nvSpPr>
          <p:cNvPr id="7" name="Rectangle 6">
            <a:extLst>
              <a:ext uri="{FF2B5EF4-FFF2-40B4-BE49-F238E27FC236}">
                <a16:creationId xmlns:a16="http://schemas.microsoft.com/office/drawing/2014/main" id="{847534ED-A5D1-5EC4-F89D-62E2208FE4AE}"/>
              </a:ext>
            </a:extLst>
          </p:cNvPr>
          <p:cNvSpPr/>
          <p:nvPr/>
        </p:nvSpPr>
        <p:spPr>
          <a:xfrm>
            <a:off x="5181091" y="4706894"/>
            <a:ext cx="2660400" cy="282300"/>
          </a:xfrm>
          <a:prstGeom prst="rect">
            <a:avLst/>
          </a:prstGeom>
          <a:solidFill>
            <a:srgbClr val="05B050"/>
          </a:solidFill>
          <a:ln>
            <a:solidFill>
              <a:srgbClr val="05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GDP</a:t>
            </a:r>
          </a:p>
        </p:txBody>
      </p:sp>
      <p:pic>
        <p:nvPicPr>
          <p:cNvPr id="14" name="Picture 13">
            <a:extLst>
              <a:ext uri="{FF2B5EF4-FFF2-40B4-BE49-F238E27FC236}">
                <a16:creationId xmlns:a16="http://schemas.microsoft.com/office/drawing/2014/main" id="{99B1076C-48CE-7C11-F470-FCB13B8B94D5}"/>
              </a:ext>
            </a:extLst>
          </p:cNvPr>
          <p:cNvPicPr>
            <a:picLocks noChangeAspect="1"/>
          </p:cNvPicPr>
          <p:nvPr/>
        </p:nvPicPr>
        <p:blipFill>
          <a:blip r:embed="rId6"/>
          <a:stretch>
            <a:fillRect/>
          </a:stretch>
        </p:blipFill>
        <p:spPr>
          <a:xfrm>
            <a:off x="4898433" y="147450"/>
            <a:ext cx="3225717" cy="4536944"/>
          </a:xfrm>
          <a:prstGeom prst="rect">
            <a:avLst/>
          </a:prstGeom>
        </p:spPr>
      </p:pic>
      <p:pic>
        <p:nvPicPr>
          <p:cNvPr id="22" name="Picture 21">
            <a:extLst>
              <a:ext uri="{FF2B5EF4-FFF2-40B4-BE49-F238E27FC236}">
                <a16:creationId xmlns:a16="http://schemas.microsoft.com/office/drawing/2014/main" id="{5212E6DB-A6BE-2E98-E55A-1679EAA337B6}"/>
              </a:ext>
            </a:extLst>
          </p:cNvPr>
          <p:cNvPicPr>
            <a:picLocks noChangeAspect="1"/>
          </p:cNvPicPr>
          <p:nvPr/>
        </p:nvPicPr>
        <p:blipFill>
          <a:blip r:embed="rId7"/>
          <a:stretch>
            <a:fillRect/>
          </a:stretch>
        </p:blipFill>
        <p:spPr>
          <a:xfrm>
            <a:off x="1165443" y="2724747"/>
            <a:ext cx="2656242" cy="1912495"/>
          </a:xfrm>
          <a:prstGeom prst="rect">
            <a:avLst/>
          </a:prstGeom>
        </p:spPr>
      </p:pic>
      <p:pic>
        <p:nvPicPr>
          <p:cNvPr id="20" name="Picture 19">
            <a:extLst>
              <a:ext uri="{FF2B5EF4-FFF2-40B4-BE49-F238E27FC236}">
                <a16:creationId xmlns:a16="http://schemas.microsoft.com/office/drawing/2014/main" id="{1037434E-1697-D0EA-B945-C1CE23F71129}"/>
              </a:ext>
            </a:extLst>
          </p:cNvPr>
          <p:cNvPicPr>
            <a:picLocks noChangeAspect="1"/>
          </p:cNvPicPr>
          <p:nvPr/>
        </p:nvPicPr>
        <p:blipFill>
          <a:blip r:embed="rId8"/>
          <a:stretch>
            <a:fillRect/>
          </a:stretch>
        </p:blipFill>
        <p:spPr>
          <a:xfrm>
            <a:off x="422250" y="1054682"/>
            <a:ext cx="2579202" cy="1600414"/>
          </a:xfrm>
          <a:prstGeom prst="rect">
            <a:avLst/>
          </a:prstGeom>
        </p:spPr>
      </p:pic>
      <p:pic>
        <p:nvPicPr>
          <p:cNvPr id="18" name="Picture 17">
            <a:extLst>
              <a:ext uri="{FF2B5EF4-FFF2-40B4-BE49-F238E27FC236}">
                <a16:creationId xmlns:a16="http://schemas.microsoft.com/office/drawing/2014/main" id="{44352454-CAD8-D059-CA51-38BBACC7744D}"/>
              </a:ext>
            </a:extLst>
          </p:cNvPr>
          <p:cNvPicPr>
            <a:picLocks noChangeAspect="1"/>
          </p:cNvPicPr>
          <p:nvPr/>
        </p:nvPicPr>
        <p:blipFill>
          <a:blip r:embed="rId9"/>
          <a:stretch>
            <a:fillRect/>
          </a:stretch>
        </p:blipFill>
        <p:spPr>
          <a:xfrm>
            <a:off x="3094755" y="1054682"/>
            <a:ext cx="1593106" cy="1600413"/>
          </a:xfrm>
          <a:prstGeom prst="rect">
            <a:avLst/>
          </a:prstGeom>
        </p:spPr>
      </p:pic>
    </p:spTree>
    <p:extLst>
      <p:ext uri="{BB962C8B-B14F-4D97-AF65-F5344CB8AC3E}">
        <p14:creationId xmlns:p14="http://schemas.microsoft.com/office/powerpoint/2010/main" val="2861653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ED6740C-CA7D-B867-C352-73DD1FF42BDB}"/>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7968F738-093C-933A-B810-8E45A8D90BBB}"/>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Zip Code: Descriptive Analytics</a:t>
            </a:r>
          </a:p>
        </p:txBody>
      </p:sp>
      <p:sp>
        <p:nvSpPr>
          <p:cNvPr id="9" name="Google Shape;98;p15">
            <a:extLst>
              <a:ext uri="{FF2B5EF4-FFF2-40B4-BE49-F238E27FC236}">
                <a16:creationId xmlns:a16="http://schemas.microsoft.com/office/drawing/2014/main" id="{BB960C67-5425-9F29-CF7D-DC00F20B6D9B}"/>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Granularity challenges and data insights </a:t>
            </a:r>
          </a:p>
        </p:txBody>
      </p:sp>
      <p:sp>
        <p:nvSpPr>
          <p:cNvPr id="16" name="Google Shape;99;p15">
            <a:extLst>
              <a:ext uri="{FF2B5EF4-FFF2-40B4-BE49-F238E27FC236}">
                <a16:creationId xmlns:a16="http://schemas.microsoft.com/office/drawing/2014/main" id="{0B268BD7-47E5-3B43-7B09-1175DC6B0F17}"/>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graphicFrame>
        <p:nvGraphicFramePr>
          <p:cNvPr id="5" name="Chart 4">
            <a:extLst>
              <a:ext uri="{FF2B5EF4-FFF2-40B4-BE49-F238E27FC236}">
                <a16:creationId xmlns:a16="http://schemas.microsoft.com/office/drawing/2014/main" id="{3542FD95-0754-7F6C-45BE-56B1E09EE6A7}"/>
              </a:ext>
            </a:extLst>
          </p:cNvPr>
          <p:cNvGraphicFramePr>
            <a:graphicFrameLocks/>
          </p:cNvGraphicFramePr>
          <p:nvPr>
            <p:extLst>
              <p:ext uri="{D42A27DB-BD31-4B8C-83A1-F6EECF244321}">
                <p14:modId xmlns:p14="http://schemas.microsoft.com/office/powerpoint/2010/main" val="1182145642"/>
              </p:ext>
            </p:extLst>
          </p:nvPr>
        </p:nvGraphicFramePr>
        <p:xfrm>
          <a:off x="732132" y="821553"/>
          <a:ext cx="4080830" cy="2448498"/>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a:extLst>
              <a:ext uri="{FF2B5EF4-FFF2-40B4-BE49-F238E27FC236}">
                <a16:creationId xmlns:a16="http://schemas.microsoft.com/office/drawing/2014/main" id="{75E79D8C-C69C-26D5-3994-B5EF99CEE289}"/>
              </a:ext>
            </a:extLst>
          </p:cNvPr>
          <p:cNvPicPr>
            <a:picLocks noChangeAspect="1"/>
          </p:cNvPicPr>
          <p:nvPr/>
        </p:nvPicPr>
        <p:blipFill>
          <a:blip r:embed="rId4"/>
          <a:stretch>
            <a:fillRect/>
          </a:stretch>
        </p:blipFill>
        <p:spPr>
          <a:xfrm>
            <a:off x="592650" y="3188224"/>
            <a:ext cx="5625021" cy="1610759"/>
          </a:xfrm>
          <a:prstGeom prst="rect">
            <a:avLst/>
          </a:prstGeom>
        </p:spPr>
      </p:pic>
      <p:graphicFrame>
        <p:nvGraphicFramePr>
          <p:cNvPr id="8" name="Chart 7">
            <a:extLst>
              <a:ext uri="{FF2B5EF4-FFF2-40B4-BE49-F238E27FC236}">
                <a16:creationId xmlns:a16="http://schemas.microsoft.com/office/drawing/2014/main" id="{5C856B96-F3DE-576A-93A0-3C7E9C787E8F}"/>
              </a:ext>
            </a:extLst>
          </p:cNvPr>
          <p:cNvGraphicFramePr>
            <a:graphicFrameLocks/>
          </p:cNvGraphicFramePr>
          <p:nvPr>
            <p:extLst>
              <p:ext uri="{D42A27DB-BD31-4B8C-83A1-F6EECF244321}">
                <p14:modId xmlns:p14="http://schemas.microsoft.com/office/powerpoint/2010/main" val="3905469760"/>
              </p:ext>
            </p:extLst>
          </p:nvPr>
        </p:nvGraphicFramePr>
        <p:xfrm>
          <a:off x="4487138" y="821553"/>
          <a:ext cx="4080830" cy="2448498"/>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a:extLst>
              <a:ext uri="{FF2B5EF4-FFF2-40B4-BE49-F238E27FC236}">
                <a16:creationId xmlns:a16="http://schemas.microsoft.com/office/drawing/2014/main" id="{C2E7FE9E-B789-C9CC-B76A-ADF57C34E0AE}"/>
              </a:ext>
            </a:extLst>
          </p:cNvPr>
          <p:cNvSpPr/>
          <p:nvPr/>
        </p:nvSpPr>
        <p:spPr>
          <a:xfrm>
            <a:off x="6388071" y="3188224"/>
            <a:ext cx="2440176" cy="1610759"/>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ata shows no clear relationship between any independent variable and total Starbucks stores. </a:t>
            </a:r>
          </a:p>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Zip code data is far too granular to demonstrate any clear relationship.</a:t>
            </a:r>
          </a:p>
        </p:txBody>
      </p:sp>
    </p:spTree>
    <p:extLst>
      <p:ext uri="{BB962C8B-B14F-4D97-AF65-F5344CB8AC3E}">
        <p14:creationId xmlns:p14="http://schemas.microsoft.com/office/powerpoint/2010/main" val="3978911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25" name="Google Shape;147;p1">
            <a:extLst>
              <a:ext uri="{FF2B5EF4-FFF2-40B4-BE49-F238E27FC236}">
                <a16:creationId xmlns:a16="http://schemas.microsoft.com/office/drawing/2014/main" id="{635DDDB0-E513-23CE-AD3D-852E121558F5}"/>
              </a:ext>
            </a:extLst>
          </p:cNvPr>
          <p:cNvSpPr txBox="1"/>
          <p:nvPr/>
        </p:nvSpPr>
        <p:spPr>
          <a:xfrm>
            <a:off x="532853" y="4338736"/>
            <a:ext cx="8078296" cy="376400"/>
          </a:xfrm>
          <a:prstGeom prst="rect">
            <a:avLst/>
          </a:prstGeom>
          <a:noFill/>
          <a:ln>
            <a:noFill/>
          </a:ln>
        </p:spPr>
        <p:txBody>
          <a:bodyPr spcFirstLastPara="1" wrap="square" lIns="0" tIns="0" rIns="0" bIns="0" anchor="t" anchorCtr="0">
            <a:noAutofit/>
          </a:bodyPr>
          <a:lstStyle/>
          <a:p>
            <a:pPr algn="r"/>
            <a:r>
              <a:rPr lang="en-US" sz="1800" b="1" dirty="0">
                <a:latin typeface="Helvetica Neue"/>
              </a:rPr>
              <a:t>Section I: Project Introduction</a:t>
            </a:r>
          </a:p>
        </p:txBody>
      </p:sp>
      <p:sp>
        <p:nvSpPr>
          <p:cNvPr id="26" name="Google Shape;148;p1">
            <a:extLst>
              <a:ext uri="{FF2B5EF4-FFF2-40B4-BE49-F238E27FC236}">
                <a16:creationId xmlns:a16="http://schemas.microsoft.com/office/drawing/2014/main" id="{B2D9B1AB-0579-88A3-04D6-3DD2F6BD7F8A}"/>
              </a:ext>
            </a:extLst>
          </p:cNvPr>
          <p:cNvSpPr/>
          <p:nvPr/>
        </p:nvSpPr>
        <p:spPr>
          <a:xfrm>
            <a:off x="8762080"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8078295" cy="376400"/>
          </a:xfrm>
          <a:prstGeom prst="rect">
            <a:avLst/>
          </a:prstGeom>
          <a:noFill/>
          <a:ln>
            <a:noFill/>
          </a:ln>
        </p:spPr>
        <p:txBody>
          <a:bodyPr spcFirstLastPara="1" wrap="square" lIns="0" tIns="0" rIns="0" bIns="0" anchor="t" anchorCtr="0">
            <a:noAutofit/>
          </a:bodyPr>
          <a:lstStyle/>
          <a:p>
            <a:pPr algn="r"/>
            <a:r>
              <a:rPr lang="en-US" dirty="0">
                <a:latin typeface="Helvetica Neue Light"/>
                <a:ea typeface="+mn-lt"/>
                <a:cs typeface="+mn-lt"/>
                <a:sym typeface="Helvetica Neue Light"/>
              </a:rPr>
              <a:t>Click here to return to the Table of Content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alphaModFix amt="55000"/>
          </a:blip>
          <a:srcRect b="18834"/>
          <a:stretch/>
        </p:blipFill>
        <p:spPr>
          <a:xfrm>
            <a:off x="-1" y="0"/>
            <a:ext cx="9144000" cy="4174761"/>
          </a:xfrm>
          <a:prstGeom prst="rect">
            <a:avLst/>
          </a:prstGeom>
        </p:spPr>
      </p:pic>
    </p:spTree>
    <p:extLst>
      <p:ext uri="{BB962C8B-B14F-4D97-AF65-F5344CB8AC3E}">
        <p14:creationId xmlns:p14="http://schemas.microsoft.com/office/powerpoint/2010/main" val="640051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A7DFBDA2-344D-1816-6415-B83F5717E9E0}"/>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F58E24BA-3E5F-9346-1012-AAF45DB5EBA6}"/>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City: Descriptive Analytics</a:t>
            </a:r>
          </a:p>
        </p:txBody>
      </p:sp>
      <p:sp>
        <p:nvSpPr>
          <p:cNvPr id="9" name="Google Shape;98;p15">
            <a:extLst>
              <a:ext uri="{FF2B5EF4-FFF2-40B4-BE49-F238E27FC236}">
                <a16:creationId xmlns:a16="http://schemas.microsoft.com/office/drawing/2014/main" id="{4E6B738C-0F6A-2364-237B-91E0F7F126E7}"/>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Correlation analysis and demographic influences</a:t>
            </a:r>
          </a:p>
          <a:p>
            <a:pPr marL="0" lvl="0" indent="0" algn="l" rtl="0">
              <a:spcBef>
                <a:spcPts val="0"/>
              </a:spcBef>
              <a:spcAft>
                <a:spcPts val="0"/>
              </a:spcAft>
              <a:buNone/>
            </a:pPr>
            <a:endPar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18A72FDF-084D-9331-596B-9613B7F0820C}"/>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7" name="Picture 6">
            <a:extLst>
              <a:ext uri="{FF2B5EF4-FFF2-40B4-BE49-F238E27FC236}">
                <a16:creationId xmlns:a16="http://schemas.microsoft.com/office/drawing/2014/main" id="{A7682AE9-FE00-E588-0A6B-8A5E50E2D70F}"/>
              </a:ext>
            </a:extLst>
          </p:cNvPr>
          <p:cNvPicPr>
            <a:picLocks noChangeAspect="1"/>
          </p:cNvPicPr>
          <p:nvPr/>
        </p:nvPicPr>
        <p:blipFill>
          <a:blip r:embed="rId3"/>
          <a:srcRect/>
          <a:stretch/>
        </p:blipFill>
        <p:spPr>
          <a:xfrm>
            <a:off x="592650" y="3361347"/>
            <a:ext cx="5686230" cy="1264513"/>
          </a:xfrm>
          <a:prstGeom prst="rect">
            <a:avLst/>
          </a:prstGeom>
        </p:spPr>
      </p:pic>
      <p:sp>
        <p:nvSpPr>
          <p:cNvPr id="10" name="Rectangle 9">
            <a:extLst>
              <a:ext uri="{FF2B5EF4-FFF2-40B4-BE49-F238E27FC236}">
                <a16:creationId xmlns:a16="http://schemas.microsoft.com/office/drawing/2014/main" id="{0EA5A73F-08F9-AD55-9F5C-2B09DBDB16F0}"/>
              </a:ext>
            </a:extLst>
          </p:cNvPr>
          <p:cNvSpPr/>
          <p:nvPr/>
        </p:nvSpPr>
        <p:spPr>
          <a:xfrm>
            <a:off x="6388071" y="3188224"/>
            <a:ext cx="2440176" cy="1610759"/>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ata appears to be much more linear in relation to demographic data, grouped much tighter together. The correlation matrix demonstrates strong fit with Starbucks stores.</a:t>
            </a:r>
          </a:p>
        </p:txBody>
      </p:sp>
      <p:graphicFrame>
        <p:nvGraphicFramePr>
          <p:cNvPr id="2" name="Chart 1">
            <a:extLst>
              <a:ext uri="{FF2B5EF4-FFF2-40B4-BE49-F238E27FC236}">
                <a16:creationId xmlns:a16="http://schemas.microsoft.com/office/drawing/2014/main" id="{CF2F3266-19A9-8180-C296-3C20CA3A46A6}"/>
              </a:ext>
            </a:extLst>
          </p:cNvPr>
          <p:cNvGraphicFramePr>
            <a:graphicFrameLocks/>
          </p:cNvGraphicFramePr>
          <p:nvPr>
            <p:extLst>
              <p:ext uri="{D42A27DB-BD31-4B8C-83A1-F6EECF244321}">
                <p14:modId xmlns:p14="http://schemas.microsoft.com/office/powerpoint/2010/main" val="3944417676"/>
              </p:ext>
            </p:extLst>
          </p:nvPr>
        </p:nvGraphicFramePr>
        <p:xfrm>
          <a:off x="422250" y="744327"/>
          <a:ext cx="4384212" cy="24551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B4A36CF1-77F4-A369-0CCF-B5A18BADDB13}"/>
              </a:ext>
            </a:extLst>
          </p:cNvPr>
          <p:cNvGraphicFramePr>
            <a:graphicFrameLocks/>
          </p:cNvGraphicFramePr>
          <p:nvPr>
            <p:extLst>
              <p:ext uri="{D42A27DB-BD31-4B8C-83A1-F6EECF244321}">
                <p14:modId xmlns:p14="http://schemas.microsoft.com/office/powerpoint/2010/main" val="3267631452"/>
              </p:ext>
            </p:extLst>
          </p:nvPr>
        </p:nvGraphicFramePr>
        <p:xfrm>
          <a:off x="4572000" y="744327"/>
          <a:ext cx="4149750" cy="245515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18603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3CD9FFA6-9A7E-E9D1-EEDF-A5667407B28F}"/>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A589EB78-B456-DA0B-76DE-A79785711C6E}"/>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County: Descriptive Analytics</a:t>
            </a:r>
          </a:p>
        </p:txBody>
      </p:sp>
      <p:sp>
        <p:nvSpPr>
          <p:cNvPr id="9" name="Google Shape;98;p15">
            <a:extLst>
              <a:ext uri="{FF2B5EF4-FFF2-40B4-BE49-F238E27FC236}">
                <a16:creationId xmlns:a16="http://schemas.microsoft.com/office/drawing/2014/main" id="{8A014021-EF41-CAC0-B2BE-860CC0149419}"/>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Correlation analysis and demographic influences</a:t>
            </a:r>
          </a:p>
        </p:txBody>
      </p:sp>
      <p:sp>
        <p:nvSpPr>
          <p:cNvPr id="16" name="Google Shape;99;p15">
            <a:extLst>
              <a:ext uri="{FF2B5EF4-FFF2-40B4-BE49-F238E27FC236}">
                <a16:creationId xmlns:a16="http://schemas.microsoft.com/office/drawing/2014/main" id="{E692BA80-F2DF-24D6-FD24-ADA63BE59C9D}"/>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0" name="Rectangle 9">
            <a:extLst>
              <a:ext uri="{FF2B5EF4-FFF2-40B4-BE49-F238E27FC236}">
                <a16:creationId xmlns:a16="http://schemas.microsoft.com/office/drawing/2014/main" id="{68E768ED-59F0-70E1-DFBE-C122126831AF}"/>
              </a:ext>
            </a:extLst>
          </p:cNvPr>
          <p:cNvSpPr/>
          <p:nvPr/>
        </p:nvSpPr>
        <p:spPr>
          <a:xfrm>
            <a:off x="6388071" y="3250746"/>
            <a:ext cx="2440176" cy="1610759"/>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ata appears to follow a mostly linear relationship with most input parameters, correlation matrix shows strong correlation between demographic data and number of Starbucks stores</a:t>
            </a:r>
          </a:p>
        </p:txBody>
      </p:sp>
      <p:pic>
        <p:nvPicPr>
          <p:cNvPr id="6" name="Picture 5">
            <a:extLst>
              <a:ext uri="{FF2B5EF4-FFF2-40B4-BE49-F238E27FC236}">
                <a16:creationId xmlns:a16="http://schemas.microsoft.com/office/drawing/2014/main" id="{625A363A-0B73-3948-1534-8EFE100F69CF}"/>
              </a:ext>
            </a:extLst>
          </p:cNvPr>
          <p:cNvPicPr>
            <a:picLocks noChangeAspect="1"/>
          </p:cNvPicPr>
          <p:nvPr/>
        </p:nvPicPr>
        <p:blipFill>
          <a:blip r:embed="rId3"/>
          <a:stretch>
            <a:fillRect/>
          </a:stretch>
        </p:blipFill>
        <p:spPr>
          <a:xfrm>
            <a:off x="422250" y="3421546"/>
            <a:ext cx="5868071" cy="1269158"/>
          </a:xfrm>
          <a:prstGeom prst="rect">
            <a:avLst/>
          </a:prstGeom>
        </p:spPr>
      </p:pic>
      <p:graphicFrame>
        <p:nvGraphicFramePr>
          <p:cNvPr id="14" name="Chart 13">
            <a:extLst>
              <a:ext uri="{FF2B5EF4-FFF2-40B4-BE49-F238E27FC236}">
                <a16:creationId xmlns:a16="http://schemas.microsoft.com/office/drawing/2014/main" id="{405D7FCD-1EA0-5EB8-AF07-EF72D630B542}"/>
              </a:ext>
            </a:extLst>
          </p:cNvPr>
          <p:cNvGraphicFramePr>
            <a:graphicFrameLocks/>
          </p:cNvGraphicFramePr>
          <p:nvPr>
            <p:extLst>
              <p:ext uri="{D42A27DB-BD31-4B8C-83A1-F6EECF244321}">
                <p14:modId xmlns:p14="http://schemas.microsoft.com/office/powerpoint/2010/main" val="886063628"/>
              </p:ext>
            </p:extLst>
          </p:nvPr>
        </p:nvGraphicFramePr>
        <p:xfrm>
          <a:off x="824523" y="724847"/>
          <a:ext cx="4096160" cy="245769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411D2E0C-1900-45E8-E174-4E6957EA9BFD}"/>
              </a:ext>
            </a:extLst>
          </p:cNvPr>
          <p:cNvGraphicFramePr>
            <a:graphicFrameLocks/>
          </p:cNvGraphicFramePr>
          <p:nvPr>
            <p:extLst>
              <p:ext uri="{D42A27DB-BD31-4B8C-83A1-F6EECF244321}">
                <p14:modId xmlns:p14="http://schemas.microsoft.com/office/powerpoint/2010/main" val="1434576292"/>
              </p:ext>
            </p:extLst>
          </p:nvPr>
        </p:nvGraphicFramePr>
        <p:xfrm>
          <a:off x="4602144" y="724847"/>
          <a:ext cx="4096160" cy="24576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0334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1B8D7D22-94E2-4ABB-EB4A-BDB37E068EBD}"/>
            </a:ext>
          </a:extLst>
        </p:cNvPr>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F25A17B1-8422-3438-B240-6C89C255A16E}"/>
              </a:ext>
            </a:extLst>
          </p:cNvPr>
          <p:cNvGraphicFramePr>
            <a:graphicFrameLocks noChangeAspect="1"/>
          </p:cNvGraphicFramePr>
          <p:nvPr>
            <p:custDataLst>
              <p:tags r:id="rId1"/>
            </p:custDataLst>
            <p:extLst>
              <p:ext uri="{D42A27DB-BD31-4B8C-83A1-F6EECF244321}">
                <p14:modId xmlns:p14="http://schemas.microsoft.com/office/powerpoint/2010/main" val="2305074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53" name="think-cell data - do not delete" hidden="1">
                        <a:extLst>
                          <a:ext uri="{FF2B5EF4-FFF2-40B4-BE49-F238E27FC236}">
                            <a16:creationId xmlns:a16="http://schemas.microsoft.com/office/drawing/2014/main" id="{F25A17B1-8422-3438-B240-6C89C255A1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D89C5563-E753-6D24-AEF9-4E4BD1622B7B}"/>
              </a:ext>
            </a:extLst>
          </p:cNvPr>
          <p:cNvSpPr/>
          <p:nvPr/>
        </p:nvSpPr>
        <p:spPr>
          <a:xfrm>
            <a:off x="592649" y="2354594"/>
            <a:ext cx="8004503" cy="1059394"/>
          </a:xfrm>
          <a:prstGeom prst="rect">
            <a:avLst/>
          </a:prstGeom>
          <a:solidFill>
            <a:srgbClr val="08CD65">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Google Shape;95;p15">
            <a:extLst>
              <a:ext uri="{FF2B5EF4-FFF2-40B4-BE49-F238E27FC236}">
                <a16:creationId xmlns:a16="http://schemas.microsoft.com/office/drawing/2014/main" id="{436C300A-E4E3-383B-5FC0-F3CBE7FD6774}"/>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Area Types</a:t>
            </a:r>
          </a:p>
        </p:txBody>
      </p:sp>
      <p:sp>
        <p:nvSpPr>
          <p:cNvPr id="9" name="Google Shape;98;p15">
            <a:extLst>
              <a:ext uri="{FF2B5EF4-FFF2-40B4-BE49-F238E27FC236}">
                <a16:creationId xmlns:a16="http://schemas.microsoft.com/office/drawing/2014/main" id="{0201972D-7868-4364-DB40-505CA7C49ECB}"/>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Aggregating at the city level was the most effective for time and relevance</a:t>
            </a:r>
          </a:p>
        </p:txBody>
      </p:sp>
      <p:sp>
        <p:nvSpPr>
          <p:cNvPr id="16" name="Google Shape;99;p15">
            <a:extLst>
              <a:ext uri="{FF2B5EF4-FFF2-40B4-BE49-F238E27FC236}">
                <a16:creationId xmlns:a16="http://schemas.microsoft.com/office/drawing/2014/main" id="{4DBB7C8E-AD01-895D-B611-ED90E0F34B9E}"/>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 name="Google Shape;73;p14">
            <a:extLst>
              <a:ext uri="{FF2B5EF4-FFF2-40B4-BE49-F238E27FC236}">
                <a16:creationId xmlns:a16="http://schemas.microsoft.com/office/drawing/2014/main" id="{9155A3F3-584F-3ED2-C343-E72272A8B919}"/>
              </a:ext>
            </a:extLst>
          </p:cNvPr>
          <p:cNvSpPr/>
          <p:nvPr/>
        </p:nvSpPr>
        <p:spPr>
          <a:xfrm>
            <a:off x="1257639" y="1359118"/>
            <a:ext cx="2141534" cy="868584"/>
          </a:xfrm>
          <a:prstGeom prst="rect">
            <a:avLst/>
          </a:prstGeom>
          <a:noFill/>
          <a:ln w="1905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Google Shape;75;p14">
            <a:extLst>
              <a:ext uri="{FF2B5EF4-FFF2-40B4-BE49-F238E27FC236}">
                <a16:creationId xmlns:a16="http://schemas.microsoft.com/office/drawing/2014/main" id="{AF3AFD76-9AE8-830A-9508-89E0BB7D9EE1}"/>
              </a:ext>
            </a:extLst>
          </p:cNvPr>
          <p:cNvSpPr txBox="1"/>
          <p:nvPr/>
        </p:nvSpPr>
        <p:spPr>
          <a:xfrm>
            <a:off x="3610906" y="866324"/>
            <a:ext cx="2300031" cy="369300"/>
          </a:xfrm>
          <a:prstGeom prst="rect">
            <a:avLst/>
          </a:prstGeom>
          <a:solidFill>
            <a:srgbClr val="00B050"/>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Pros</a:t>
            </a:r>
          </a:p>
        </p:txBody>
      </p:sp>
      <p:sp>
        <p:nvSpPr>
          <p:cNvPr id="6" name="Google Shape;79;p14">
            <a:extLst>
              <a:ext uri="{FF2B5EF4-FFF2-40B4-BE49-F238E27FC236}">
                <a16:creationId xmlns:a16="http://schemas.microsoft.com/office/drawing/2014/main" id="{5C07FFAF-C2DE-AB41-2EC7-5655C1EA28B0}"/>
              </a:ext>
            </a:extLst>
          </p:cNvPr>
          <p:cNvSpPr/>
          <p:nvPr/>
        </p:nvSpPr>
        <p:spPr>
          <a:xfrm>
            <a:off x="3610906" y="1357262"/>
            <a:ext cx="2300031" cy="870440"/>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Large amounts of data available, strong qualitative fit with Starbuck’s local impact</a:t>
            </a:r>
          </a:p>
        </p:txBody>
      </p:sp>
      <p:sp>
        <p:nvSpPr>
          <p:cNvPr id="7" name="Google Shape;88;p14">
            <a:extLst>
              <a:ext uri="{FF2B5EF4-FFF2-40B4-BE49-F238E27FC236}">
                <a16:creationId xmlns:a16="http://schemas.microsoft.com/office/drawing/2014/main" id="{EEFD604C-83C8-B4C5-2131-779BCDBD9A14}"/>
              </a:ext>
            </a:extLst>
          </p:cNvPr>
          <p:cNvSpPr txBox="1"/>
          <p:nvPr/>
        </p:nvSpPr>
        <p:spPr>
          <a:xfrm>
            <a:off x="1524053" y="1450179"/>
            <a:ext cx="1603849" cy="38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500" b="1">
                <a:solidFill>
                  <a:srgbClr val="212A47"/>
                </a:solidFill>
                <a:latin typeface="Helvetica Neue" panose="02000503000000020004" pitchFamily="2" charset="0"/>
                <a:ea typeface="Helvetica Neue" panose="02000503000000020004" pitchFamily="2" charset="0"/>
                <a:cs typeface="Helvetica Neue" panose="02000503000000020004" pitchFamily="2" charset="0"/>
                <a:sym typeface="Helvetica Neue"/>
              </a:rPr>
              <a:t>Zip Code</a:t>
            </a:r>
          </a:p>
        </p:txBody>
      </p:sp>
      <p:sp>
        <p:nvSpPr>
          <p:cNvPr id="8" name="Google Shape;89;p14">
            <a:extLst>
              <a:ext uri="{FF2B5EF4-FFF2-40B4-BE49-F238E27FC236}">
                <a16:creationId xmlns:a16="http://schemas.microsoft.com/office/drawing/2014/main" id="{2B64EA9B-B483-C368-0771-9643CBDC50F2}"/>
              </a:ext>
            </a:extLst>
          </p:cNvPr>
          <p:cNvSpPr txBox="1"/>
          <p:nvPr/>
        </p:nvSpPr>
        <p:spPr>
          <a:xfrm>
            <a:off x="1259270" y="1694723"/>
            <a:ext cx="2134220" cy="492412"/>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000">
                <a:latin typeface="Helvetica Neue" panose="02000503000000020004" pitchFamily="2" charset="0"/>
                <a:ea typeface="Helvetica Neue" panose="02000503000000020004" pitchFamily="2" charset="0"/>
                <a:cs typeface="Helvetica Neue" panose="02000503000000020004" pitchFamily="2" charset="0"/>
              </a:rPr>
              <a:t>41,683 ZIP codes</a:t>
            </a:r>
          </a:p>
          <a:p>
            <a:pPr marL="0" lvl="0" indent="0" algn="ctr" rtl="0">
              <a:spcBef>
                <a:spcPts val="0"/>
              </a:spcBef>
              <a:spcAft>
                <a:spcPts val="0"/>
              </a:spcAft>
              <a:buNone/>
            </a:pPr>
            <a:r>
              <a:rPr lang="en-US" sz="1000">
                <a:latin typeface="Helvetica Neue" panose="02000503000000020004" pitchFamily="2" charset="0"/>
                <a:ea typeface="Helvetica Neue" panose="02000503000000020004" pitchFamily="2" charset="0"/>
                <a:cs typeface="Helvetica Neue" panose="02000503000000020004" pitchFamily="2" charset="0"/>
              </a:rPr>
              <a:t> in the U.S.</a:t>
            </a:r>
            <a:endParaRPr sz="10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0" name="Google Shape;75;p14">
            <a:extLst>
              <a:ext uri="{FF2B5EF4-FFF2-40B4-BE49-F238E27FC236}">
                <a16:creationId xmlns:a16="http://schemas.microsoft.com/office/drawing/2014/main" id="{ACD70531-936C-A9CB-45CC-757897946F7D}"/>
              </a:ext>
            </a:extLst>
          </p:cNvPr>
          <p:cNvSpPr txBox="1"/>
          <p:nvPr/>
        </p:nvSpPr>
        <p:spPr>
          <a:xfrm>
            <a:off x="6122669" y="866324"/>
            <a:ext cx="2300031" cy="369300"/>
          </a:xfrm>
          <a:prstGeom prst="rect">
            <a:avLst/>
          </a:prstGeom>
          <a:solidFill>
            <a:srgbClr val="46926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2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ons</a:t>
            </a:r>
          </a:p>
        </p:txBody>
      </p:sp>
      <p:sp>
        <p:nvSpPr>
          <p:cNvPr id="11" name="Google Shape;79;p14">
            <a:extLst>
              <a:ext uri="{FF2B5EF4-FFF2-40B4-BE49-F238E27FC236}">
                <a16:creationId xmlns:a16="http://schemas.microsoft.com/office/drawing/2014/main" id="{00B5B07D-EC5C-1DB9-32D7-47D6A9C82443}"/>
              </a:ext>
            </a:extLst>
          </p:cNvPr>
          <p:cNvSpPr/>
          <p:nvPr/>
        </p:nvSpPr>
        <p:spPr>
          <a:xfrm>
            <a:off x="6122669" y="1357262"/>
            <a:ext cx="2300031" cy="870440"/>
          </a:xfrm>
          <a:prstGeom prst="rect">
            <a:avLst/>
          </a:prstGeom>
          <a:noFill/>
          <a:ln w="19050" cap="flat" cmpd="sng">
            <a:solidFill>
              <a:srgbClr val="46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Data is far too varied and granular to demonstrate meaningful relationships</a:t>
            </a:r>
          </a:p>
        </p:txBody>
      </p:sp>
      <p:sp>
        <p:nvSpPr>
          <p:cNvPr id="12" name="Google Shape;73;p14">
            <a:extLst>
              <a:ext uri="{FF2B5EF4-FFF2-40B4-BE49-F238E27FC236}">
                <a16:creationId xmlns:a16="http://schemas.microsoft.com/office/drawing/2014/main" id="{5C3D40CF-900E-435D-E894-98DED6A5B724}"/>
              </a:ext>
            </a:extLst>
          </p:cNvPr>
          <p:cNvSpPr/>
          <p:nvPr/>
        </p:nvSpPr>
        <p:spPr>
          <a:xfrm>
            <a:off x="1257639" y="2455231"/>
            <a:ext cx="2141534" cy="868584"/>
          </a:xfrm>
          <a:prstGeom prst="rect">
            <a:avLst/>
          </a:prstGeom>
          <a:noFill/>
          <a:ln w="1905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 name="Google Shape;79;p14">
            <a:extLst>
              <a:ext uri="{FF2B5EF4-FFF2-40B4-BE49-F238E27FC236}">
                <a16:creationId xmlns:a16="http://schemas.microsoft.com/office/drawing/2014/main" id="{D14378D3-465E-5CFE-36EF-3AA9AFD93869}"/>
              </a:ext>
            </a:extLst>
          </p:cNvPr>
          <p:cNvSpPr/>
          <p:nvPr/>
        </p:nvSpPr>
        <p:spPr>
          <a:xfrm>
            <a:off x="3610906" y="2453375"/>
            <a:ext cx="2300031" cy="870440"/>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Perfect middle-ground between the two alternatives, has sufficient data points with less generalization</a:t>
            </a:r>
          </a:p>
        </p:txBody>
      </p:sp>
      <p:sp>
        <p:nvSpPr>
          <p:cNvPr id="14" name="Google Shape;88;p14">
            <a:extLst>
              <a:ext uri="{FF2B5EF4-FFF2-40B4-BE49-F238E27FC236}">
                <a16:creationId xmlns:a16="http://schemas.microsoft.com/office/drawing/2014/main" id="{234460AB-0485-BF71-DE0B-C89BE8A82B12}"/>
              </a:ext>
            </a:extLst>
          </p:cNvPr>
          <p:cNvSpPr txBox="1"/>
          <p:nvPr/>
        </p:nvSpPr>
        <p:spPr>
          <a:xfrm>
            <a:off x="1524053" y="2536132"/>
            <a:ext cx="1603849" cy="38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500" b="1">
                <a:solidFill>
                  <a:srgbClr val="212A47"/>
                </a:solidFill>
                <a:latin typeface="Helvetica Neue" panose="02000503000000020004" pitchFamily="2" charset="0"/>
                <a:ea typeface="Helvetica Neue" panose="02000503000000020004" pitchFamily="2" charset="0"/>
                <a:cs typeface="Helvetica Neue" panose="02000503000000020004" pitchFamily="2" charset="0"/>
                <a:sym typeface="Helvetica Neue"/>
              </a:rPr>
              <a:t>City</a:t>
            </a:r>
          </a:p>
        </p:txBody>
      </p:sp>
      <p:sp>
        <p:nvSpPr>
          <p:cNvPr id="15" name="Google Shape;89;p14">
            <a:extLst>
              <a:ext uri="{FF2B5EF4-FFF2-40B4-BE49-F238E27FC236}">
                <a16:creationId xmlns:a16="http://schemas.microsoft.com/office/drawing/2014/main" id="{64E3410D-C118-79F0-8A4A-643FB463EFB9}"/>
              </a:ext>
            </a:extLst>
          </p:cNvPr>
          <p:cNvSpPr txBox="1"/>
          <p:nvPr/>
        </p:nvSpPr>
        <p:spPr>
          <a:xfrm>
            <a:off x="1259270" y="2770628"/>
            <a:ext cx="2134220" cy="492412"/>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000">
                <a:latin typeface="Helvetica Neue" panose="02000503000000020004" pitchFamily="2" charset="0"/>
                <a:ea typeface="Helvetica Neue" panose="02000503000000020004" pitchFamily="2" charset="0"/>
                <a:cs typeface="Helvetica Neue" panose="02000503000000020004" pitchFamily="2" charset="0"/>
              </a:rPr>
              <a:t>19,495 incorporated cities</a:t>
            </a:r>
          </a:p>
          <a:p>
            <a:pPr marL="0" lvl="0" indent="0" algn="ctr" rtl="0">
              <a:spcBef>
                <a:spcPts val="0"/>
              </a:spcBef>
              <a:spcAft>
                <a:spcPts val="0"/>
              </a:spcAft>
              <a:buNone/>
            </a:pPr>
            <a:r>
              <a:rPr lang="en-US" sz="1000">
                <a:latin typeface="Helvetica Neue" panose="02000503000000020004" pitchFamily="2" charset="0"/>
                <a:ea typeface="Helvetica Neue" panose="02000503000000020004" pitchFamily="2" charset="0"/>
                <a:cs typeface="Helvetica Neue" panose="02000503000000020004" pitchFamily="2" charset="0"/>
              </a:rPr>
              <a:t> in the U.S.</a:t>
            </a:r>
            <a:endParaRPr sz="10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Google Shape;79;p14">
            <a:extLst>
              <a:ext uri="{FF2B5EF4-FFF2-40B4-BE49-F238E27FC236}">
                <a16:creationId xmlns:a16="http://schemas.microsoft.com/office/drawing/2014/main" id="{123654B8-8AB2-9E3B-620A-02366505AA50}"/>
              </a:ext>
            </a:extLst>
          </p:cNvPr>
          <p:cNvSpPr/>
          <p:nvPr/>
        </p:nvSpPr>
        <p:spPr>
          <a:xfrm>
            <a:off x="6122669" y="2448412"/>
            <a:ext cx="2300031" cy="870440"/>
          </a:xfrm>
          <a:prstGeom prst="rect">
            <a:avLst/>
          </a:prstGeom>
          <a:noFill/>
          <a:ln w="19050" cap="flat" cmpd="sng">
            <a:solidFill>
              <a:srgbClr val="46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Not all incorporated townships in the US provide the same level of economic data</a:t>
            </a:r>
          </a:p>
        </p:txBody>
      </p:sp>
      <p:sp>
        <p:nvSpPr>
          <p:cNvPr id="19" name="Google Shape;79;p14">
            <a:extLst>
              <a:ext uri="{FF2B5EF4-FFF2-40B4-BE49-F238E27FC236}">
                <a16:creationId xmlns:a16="http://schemas.microsoft.com/office/drawing/2014/main" id="{B6BEDDFD-2C2B-50A4-0157-E67ED669AE71}"/>
              </a:ext>
            </a:extLst>
          </p:cNvPr>
          <p:cNvSpPr/>
          <p:nvPr/>
        </p:nvSpPr>
        <p:spPr>
          <a:xfrm>
            <a:off x="3610906" y="3539562"/>
            <a:ext cx="2300031" cy="870440"/>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Can provide more comprehensive picture of economic factors, strongest quantitative fit with data</a:t>
            </a:r>
          </a:p>
        </p:txBody>
      </p:sp>
      <p:sp>
        <p:nvSpPr>
          <p:cNvPr id="18" name="Google Shape;73;p14">
            <a:extLst>
              <a:ext uri="{FF2B5EF4-FFF2-40B4-BE49-F238E27FC236}">
                <a16:creationId xmlns:a16="http://schemas.microsoft.com/office/drawing/2014/main" id="{C89A1D27-A7FF-3131-A72D-DECC00B1621F}"/>
              </a:ext>
            </a:extLst>
          </p:cNvPr>
          <p:cNvSpPr/>
          <p:nvPr/>
        </p:nvSpPr>
        <p:spPr>
          <a:xfrm>
            <a:off x="1257639" y="3541418"/>
            <a:ext cx="2141534" cy="868584"/>
          </a:xfrm>
          <a:prstGeom prst="rect">
            <a:avLst/>
          </a:prstGeom>
          <a:noFill/>
          <a:ln w="19050"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Google Shape;88;p14">
            <a:extLst>
              <a:ext uri="{FF2B5EF4-FFF2-40B4-BE49-F238E27FC236}">
                <a16:creationId xmlns:a16="http://schemas.microsoft.com/office/drawing/2014/main" id="{CD1371B2-5F94-33EF-60E3-C98C9691CA1C}"/>
              </a:ext>
            </a:extLst>
          </p:cNvPr>
          <p:cNvSpPr txBox="1"/>
          <p:nvPr/>
        </p:nvSpPr>
        <p:spPr>
          <a:xfrm>
            <a:off x="1524053" y="3622319"/>
            <a:ext cx="1603849" cy="38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500" b="1">
                <a:solidFill>
                  <a:srgbClr val="212A47"/>
                </a:solidFill>
                <a:latin typeface="Helvetica Neue" panose="02000503000000020004" pitchFamily="2" charset="0"/>
                <a:ea typeface="Helvetica Neue" panose="02000503000000020004" pitchFamily="2" charset="0"/>
                <a:cs typeface="Helvetica Neue" panose="02000503000000020004" pitchFamily="2" charset="0"/>
                <a:sym typeface="Helvetica Neue"/>
              </a:rPr>
              <a:t>County</a:t>
            </a:r>
          </a:p>
        </p:txBody>
      </p:sp>
      <p:sp>
        <p:nvSpPr>
          <p:cNvPr id="21" name="Google Shape;89;p14">
            <a:extLst>
              <a:ext uri="{FF2B5EF4-FFF2-40B4-BE49-F238E27FC236}">
                <a16:creationId xmlns:a16="http://schemas.microsoft.com/office/drawing/2014/main" id="{275EEE20-A518-8009-46F1-EBE8268A7266}"/>
              </a:ext>
            </a:extLst>
          </p:cNvPr>
          <p:cNvSpPr txBox="1"/>
          <p:nvPr/>
        </p:nvSpPr>
        <p:spPr>
          <a:xfrm>
            <a:off x="1259270" y="3856815"/>
            <a:ext cx="2134220" cy="492412"/>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000">
                <a:latin typeface="Helvetica Neue" panose="02000503000000020004" pitchFamily="2" charset="0"/>
                <a:ea typeface="Helvetica Neue" panose="02000503000000020004" pitchFamily="2" charset="0"/>
                <a:cs typeface="Helvetica Neue" panose="02000503000000020004" pitchFamily="2" charset="0"/>
              </a:rPr>
              <a:t>3,143 counties</a:t>
            </a:r>
          </a:p>
          <a:p>
            <a:pPr marL="0" lvl="0" indent="0" algn="ctr" rtl="0">
              <a:spcBef>
                <a:spcPts val="0"/>
              </a:spcBef>
              <a:spcAft>
                <a:spcPts val="0"/>
              </a:spcAft>
              <a:buNone/>
            </a:pPr>
            <a:r>
              <a:rPr lang="en-US" sz="1000">
                <a:latin typeface="Helvetica Neue" panose="02000503000000020004" pitchFamily="2" charset="0"/>
                <a:ea typeface="Helvetica Neue" panose="02000503000000020004" pitchFamily="2" charset="0"/>
                <a:cs typeface="Helvetica Neue" panose="02000503000000020004" pitchFamily="2" charset="0"/>
              </a:rPr>
              <a:t> in the U.S.</a:t>
            </a:r>
            <a:endParaRPr sz="10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Google Shape;79;p14">
            <a:extLst>
              <a:ext uri="{FF2B5EF4-FFF2-40B4-BE49-F238E27FC236}">
                <a16:creationId xmlns:a16="http://schemas.microsoft.com/office/drawing/2014/main" id="{712234CA-0514-420B-CFAE-BC08B17314D4}"/>
              </a:ext>
            </a:extLst>
          </p:cNvPr>
          <p:cNvSpPr/>
          <p:nvPr/>
        </p:nvSpPr>
        <p:spPr>
          <a:xfrm>
            <a:off x="6122669" y="3539562"/>
            <a:ext cx="2300031" cy="870440"/>
          </a:xfrm>
          <a:prstGeom prst="rect">
            <a:avLst/>
          </a:prstGeom>
          <a:noFill/>
          <a:ln w="19050" cap="flat" cmpd="sng">
            <a:solidFill>
              <a:srgbClr val="46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a:latin typeface="Helvetica Neue" panose="02000503000000020004" pitchFamily="2" charset="0"/>
                <a:ea typeface="Helvetica Neue" panose="02000503000000020004" pitchFamily="2" charset="0"/>
                <a:cs typeface="Helvetica Neue" panose="02000503000000020004" pitchFamily="2" charset="0"/>
                <a:sym typeface="Helvetica Neue"/>
              </a:rPr>
              <a:t>Overly reduces number of data points and averages data across differing regions</a:t>
            </a:r>
          </a:p>
        </p:txBody>
      </p:sp>
      <p:pic>
        <p:nvPicPr>
          <p:cNvPr id="27" name="Graphic 26" descr="Badge 3 with solid fill">
            <a:extLst>
              <a:ext uri="{FF2B5EF4-FFF2-40B4-BE49-F238E27FC236}">
                <a16:creationId xmlns:a16="http://schemas.microsoft.com/office/drawing/2014/main" id="{D55D04B1-8881-23E9-BFA2-0F7F6BFB1D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1301" y="3797889"/>
            <a:ext cx="352541" cy="352541"/>
          </a:xfrm>
          <a:prstGeom prst="rect">
            <a:avLst/>
          </a:prstGeom>
        </p:spPr>
      </p:pic>
      <p:pic>
        <p:nvPicPr>
          <p:cNvPr id="29" name="Graphic 28" descr="Badge with solid fill">
            <a:extLst>
              <a:ext uri="{FF2B5EF4-FFF2-40B4-BE49-F238E27FC236}">
                <a16:creationId xmlns:a16="http://schemas.microsoft.com/office/drawing/2014/main" id="{932A7D01-EBED-6542-F188-7FE72165D7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1302" y="2707361"/>
            <a:ext cx="352541" cy="352541"/>
          </a:xfrm>
          <a:prstGeom prst="rect">
            <a:avLst/>
          </a:prstGeom>
        </p:spPr>
      </p:pic>
      <p:sp>
        <p:nvSpPr>
          <p:cNvPr id="33" name="Rectangle 32">
            <a:extLst>
              <a:ext uri="{FF2B5EF4-FFF2-40B4-BE49-F238E27FC236}">
                <a16:creationId xmlns:a16="http://schemas.microsoft.com/office/drawing/2014/main" id="{D0832D52-8F49-37E4-9D3C-9563A8C6825F}"/>
              </a:ext>
            </a:extLst>
          </p:cNvPr>
          <p:cNvSpPr/>
          <p:nvPr/>
        </p:nvSpPr>
        <p:spPr>
          <a:xfrm>
            <a:off x="721301" y="1355406"/>
            <a:ext cx="428871" cy="8704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Helvetica Neue" panose="02000503000000020004" pitchFamily="2" charset="0"/>
                <a:ea typeface="Helvetica Neue" panose="02000503000000020004" pitchFamily="2" charset="0"/>
                <a:cs typeface="Helvetica Neue" panose="02000503000000020004" pitchFamily="2" charset="0"/>
              </a:rPr>
              <a:t>1</a:t>
            </a:r>
          </a:p>
        </p:txBody>
      </p:sp>
      <p:sp>
        <p:nvSpPr>
          <p:cNvPr id="35" name="Rectangle 34">
            <a:extLst>
              <a:ext uri="{FF2B5EF4-FFF2-40B4-BE49-F238E27FC236}">
                <a16:creationId xmlns:a16="http://schemas.microsoft.com/office/drawing/2014/main" id="{32ACE2B4-35AE-59DC-8447-3AF60F511857}"/>
              </a:ext>
            </a:extLst>
          </p:cNvPr>
          <p:cNvSpPr/>
          <p:nvPr/>
        </p:nvSpPr>
        <p:spPr>
          <a:xfrm>
            <a:off x="727497" y="2456177"/>
            <a:ext cx="428871" cy="8704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Helvetica Neue" panose="02000503000000020004" pitchFamily="2" charset="0"/>
                <a:ea typeface="Helvetica Neue" panose="02000503000000020004" pitchFamily="2" charset="0"/>
                <a:cs typeface="Helvetica Neue" panose="02000503000000020004" pitchFamily="2" charset="0"/>
              </a:rPr>
              <a:t>2</a:t>
            </a:r>
          </a:p>
        </p:txBody>
      </p:sp>
      <p:sp>
        <p:nvSpPr>
          <p:cNvPr id="37" name="Rectangle 36">
            <a:extLst>
              <a:ext uri="{FF2B5EF4-FFF2-40B4-BE49-F238E27FC236}">
                <a16:creationId xmlns:a16="http://schemas.microsoft.com/office/drawing/2014/main" id="{4BFDA2DF-711F-0D68-F113-3EB617498DDE}"/>
              </a:ext>
            </a:extLst>
          </p:cNvPr>
          <p:cNvSpPr/>
          <p:nvPr/>
        </p:nvSpPr>
        <p:spPr>
          <a:xfrm>
            <a:off x="733693" y="3538184"/>
            <a:ext cx="428871" cy="8704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Helvetica Neue" panose="02000503000000020004" pitchFamily="2" charset="0"/>
                <a:ea typeface="Helvetica Neue" panose="02000503000000020004" pitchFamily="2" charset="0"/>
                <a:cs typeface="Helvetica Neue" panose="02000503000000020004" pitchFamily="2" charset="0"/>
              </a:rPr>
              <a:t>3</a:t>
            </a:r>
          </a:p>
        </p:txBody>
      </p:sp>
      <p:sp>
        <p:nvSpPr>
          <p:cNvPr id="39" name="Google Shape;75;p14">
            <a:extLst>
              <a:ext uri="{FF2B5EF4-FFF2-40B4-BE49-F238E27FC236}">
                <a16:creationId xmlns:a16="http://schemas.microsoft.com/office/drawing/2014/main" id="{C991B4E9-773B-879A-C018-2F07FF14E108}"/>
              </a:ext>
            </a:extLst>
          </p:cNvPr>
          <p:cNvSpPr txBox="1"/>
          <p:nvPr/>
        </p:nvSpPr>
        <p:spPr>
          <a:xfrm>
            <a:off x="733694" y="866324"/>
            <a:ext cx="2665480" cy="369300"/>
          </a:xfrm>
          <a:prstGeom prst="rect">
            <a:avLst/>
          </a:prstGeom>
          <a:solidFill>
            <a:srgbClr val="777777"/>
          </a:solidFill>
          <a:ln w="19050">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rea Level</a:t>
            </a:r>
          </a:p>
        </p:txBody>
      </p:sp>
      <p:sp>
        <p:nvSpPr>
          <p:cNvPr id="54" name="Rectangle 53">
            <a:extLst>
              <a:ext uri="{FF2B5EF4-FFF2-40B4-BE49-F238E27FC236}">
                <a16:creationId xmlns:a16="http://schemas.microsoft.com/office/drawing/2014/main" id="{A3086EBE-6892-BA6B-5EA6-0E94CD00E5BA}"/>
              </a:ext>
            </a:extLst>
          </p:cNvPr>
          <p:cNvSpPr/>
          <p:nvPr/>
        </p:nvSpPr>
        <p:spPr>
          <a:xfrm>
            <a:off x="733693" y="4590261"/>
            <a:ext cx="7689006" cy="303001"/>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isclaimer</a:t>
            </a: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Some data points missing from US census, assumed to be rural area with less data-collection infrastructure</a:t>
            </a:r>
          </a:p>
        </p:txBody>
      </p:sp>
    </p:spTree>
    <p:extLst>
      <p:ext uri="{BB962C8B-B14F-4D97-AF65-F5344CB8AC3E}">
        <p14:creationId xmlns:p14="http://schemas.microsoft.com/office/powerpoint/2010/main" val="10817258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0637ECAA-599A-5C44-979A-BD511DD74885}"/>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275D8A82-5628-40AA-6435-03E907493AA1}"/>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800" b="1">
                <a:latin typeface="Helvetica Neue" panose="02000503000000020004" pitchFamily="2" charset="0"/>
                <a:ea typeface="Helvetica Neue" panose="02000503000000020004" pitchFamily="2" charset="0"/>
                <a:cs typeface="Helvetica Neue" panose="02000503000000020004" pitchFamily="2" charset="0"/>
                <a:sym typeface="Helvetica Neue"/>
              </a:rPr>
              <a:t>City Correlation Matrix: Selecting Independent Variables</a:t>
            </a:r>
          </a:p>
        </p:txBody>
      </p:sp>
      <p:sp>
        <p:nvSpPr>
          <p:cNvPr id="9" name="Google Shape;98;p15">
            <a:extLst>
              <a:ext uri="{FF2B5EF4-FFF2-40B4-BE49-F238E27FC236}">
                <a16:creationId xmlns:a16="http://schemas.microsoft.com/office/drawing/2014/main" id="{4EE43958-6BC1-73F0-EB79-21DD7D7F4F0D}"/>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GDP is the strongest independent variable</a:t>
            </a:r>
          </a:p>
        </p:txBody>
      </p:sp>
      <p:sp>
        <p:nvSpPr>
          <p:cNvPr id="16" name="Google Shape;99;p15">
            <a:extLst>
              <a:ext uri="{FF2B5EF4-FFF2-40B4-BE49-F238E27FC236}">
                <a16:creationId xmlns:a16="http://schemas.microsoft.com/office/drawing/2014/main" id="{5554FC77-CED7-E0F6-510A-3B8CA7C580D6}"/>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 name="Rectangle 2">
            <a:extLst>
              <a:ext uri="{FF2B5EF4-FFF2-40B4-BE49-F238E27FC236}">
                <a16:creationId xmlns:a16="http://schemas.microsoft.com/office/drawing/2014/main" id="{A0D393C1-95FF-913E-3740-E029282E7F66}"/>
              </a:ext>
            </a:extLst>
          </p:cNvPr>
          <p:cNvSpPr/>
          <p:nvPr/>
        </p:nvSpPr>
        <p:spPr>
          <a:xfrm>
            <a:off x="422250" y="3267268"/>
            <a:ext cx="8405997" cy="843429"/>
          </a:xfrm>
          <a:prstGeom prst="rect">
            <a:avLst/>
          </a:prstGeom>
          <a:noFill/>
          <a:ln w="19050">
            <a:solidFill>
              <a:srgbClr val="05B05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fter running a correlation matrix with a variety of variables, I found that GDP had the best overall correlation with Starbucks stores as well as its competitors and the other variables that I thought might be related to store numbers – they were </a:t>
            </a:r>
            <a:r>
              <a:rPr lang="en-CA"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rPr>
              <a:t>colinear</a:t>
            </a:r>
            <a:r>
              <a:rPr lang="en-CA"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t>
            </a:r>
          </a:p>
        </p:txBody>
      </p:sp>
      <p:pic>
        <p:nvPicPr>
          <p:cNvPr id="8" name="Picture 7">
            <a:extLst>
              <a:ext uri="{FF2B5EF4-FFF2-40B4-BE49-F238E27FC236}">
                <a16:creationId xmlns:a16="http://schemas.microsoft.com/office/drawing/2014/main" id="{778C54AD-B311-92FA-0F49-B1BDA32BFC72}"/>
              </a:ext>
            </a:extLst>
          </p:cNvPr>
          <p:cNvPicPr>
            <a:picLocks noChangeAspect="1"/>
          </p:cNvPicPr>
          <p:nvPr/>
        </p:nvPicPr>
        <p:blipFill>
          <a:blip r:embed="rId3"/>
          <a:stretch>
            <a:fillRect/>
          </a:stretch>
        </p:blipFill>
        <p:spPr>
          <a:xfrm>
            <a:off x="422250" y="1220554"/>
            <a:ext cx="8405997" cy="1692176"/>
          </a:xfrm>
          <a:prstGeom prst="rect">
            <a:avLst/>
          </a:prstGeom>
        </p:spPr>
      </p:pic>
    </p:spTree>
    <p:extLst>
      <p:ext uri="{BB962C8B-B14F-4D97-AF65-F5344CB8AC3E}">
        <p14:creationId xmlns:p14="http://schemas.microsoft.com/office/powerpoint/2010/main" val="1163495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FD517CCB-65A8-6408-873A-3CFA9C23E8F2}"/>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2FE5E71B-87A6-D00E-194B-C9267AF444AF}"/>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Polynomic Behaviour: Transforming Age and Gender</a:t>
            </a:r>
          </a:p>
        </p:txBody>
      </p:sp>
      <p:sp>
        <p:nvSpPr>
          <p:cNvPr id="9" name="Google Shape;98;p15">
            <a:extLst>
              <a:ext uri="{FF2B5EF4-FFF2-40B4-BE49-F238E27FC236}">
                <a16:creationId xmlns:a16="http://schemas.microsoft.com/office/drawing/2014/main" id="{96FC0135-CF0C-1146-7295-D8453F6A854C}"/>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Transforming the necessary variables</a:t>
            </a:r>
          </a:p>
        </p:txBody>
      </p:sp>
      <p:sp>
        <p:nvSpPr>
          <p:cNvPr id="16" name="Google Shape;99;p15">
            <a:extLst>
              <a:ext uri="{FF2B5EF4-FFF2-40B4-BE49-F238E27FC236}">
                <a16:creationId xmlns:a16="http://schemas.microsoft.com/office/drawing/2014/main" id="{1C2A5A44-4D29-C0E8-966C-4C9D96F4CDEA}"/>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Rectangle 4">
            <a:extLst>
              <a:ext uri="{FF2B5EF4-FFF2-40B4-BE49-F238E27FC236}">
                <a16:creationId xmlns:a16="http://schemas.microsoft.com/office/drawing/2014/main" id="{43ADC80C-344E-ED4E-0274-F8B96E693FBB}"/>
              </a:ext>
            </a:extLst>
          </p:cNvPr>
          <p:cNvSpPr/>
          <p:nvPr/>
        </p:nvSpPr>
        <p:spPr>
          <a:xfrm>
            <a:off x="4953145" y="1098336"/>
            <a:ext cx="3780000" cy="811173"/>
          </a:xfrm>
          <a:prstGeom prst="rect">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ge is normally distributed relative to stores, </a:t>
            </a:r>
          </a:p>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it must be transformed into a polynomial </a:t>
            </a:r>
          </a:p>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before linear regression</a:t>
            </a:r>
          </a:p>
        </p:txBody>
      </p:sp>
      <p:sp>
        <p:nvSpPr>
          <p:cNvPr id="10" name="Rectangle 9">
            <a:extLst>
              <a:ext uri="{FF2B5EF4-FFF2-40B4-BE49-F238E27FC236}">
                <a16:creationId xmlns:a16="http://schemas.microsoft.com/office/drawing/2014/main" id="{B81A0827-6D19-9112-6EA1-D6134BDC0C6A}"/>
              </a:ext>
            </a:extLst>
          </p:cNvPr>
          <p:cNvSpPr/>
          <p:nvPr/>
        </p:nvSpPr>
        <p:spPr>
          <a:xfrm>
            <a:off x="610707" y="3769065"/>
            <a:ext cx="3932418" cy="811173"/>
          </a:xfrm>
          <a:prstGeom prst="rect">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imilar to age, the gender ratio must be </a:t>
            </a:r>
          </a:p>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ltered to produce the best results</a:t>
            </a:r>
          </a:p>
        </p:txBody>
      </p:sp>
      <p:graphicFrame>
        <p:nvGraphicFramePr>
          <p:cNvPr id="11" name="Chart 10">
            <a:extLst>
              <a:ext uri="{FF2B5EF4-FFF2-40B4-BE49-F238E27FC236}">
                <a16:creationId xmlns:a16="http://schemas.microsoft.com/office/drawing/2014/main" id="{EBBF2070-2969-F5BD-9710-575FD284D0A4}"/>
              </a:ext>
            </a:extLst>
          </p:cNvPr>
          <p:cNvGraphicFramePr>
            <a:graphicFrameLocks/>
          </p:cNvGraphicFramePr>
          <p:nvPr>
            <p:extLst>
              <p:ext uri="{D42A27DB-BD31-4B8C-83A1-F6EECF244321}">
                <p14:modId xmlns:p14="http://schemas.microsoft.com/office/powerpoint/2010/main" val="3658256735"/>
              </p:ext>
            </p:extLst>
          </p:nvPr>
        </p:nvGraphicFramePr>
        <p:xfrm>
          <a:off x="318342" y="973886"/>
          <a:ext cx="4364731" cy="26188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D7CB1435-EEA8-0BE4-04F5-551D0A60B644}"/>
              </a:ext>
            </a:extLst>
          </p:cNvPr>
          <p:cNvGraphicFramePr>
            <a:graphicFrameLocks/>
          </p:cNvGraphicFramePr>
          <p:nvPr>
            <p:extLst>
              <p:ext uri="{D42A27DB-BD31-4B8C-83A1-F6EECF244321}">
                <p14:modId xmlns:p14="http://schemas.microsoft.com/office/powerpoint/2010/main" val="3185389679"/>
              </p:ext>
            </p:extLst>
          </p:nvPr>
        </p:nvGraphicFramePr>
        <p:xfrm>
          <a:off x="4832413" y="2167360"/>
          <a:ext cx="4021463" cy="24128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378850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0DD0041C-084D-DF74-C1A6-998E264FDDFC}"/>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2701637A-9AC2-7FE0-44D2-A834D314F846}"/>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Finding Saturated Markets</a:t>
            </a:r>
          </a:p>
        </p:txBody>
      </p:sp>
      <p:sp>
        <p:nvSpPr>
          <p:cNvPr id="9" name="Google Shape;98;p15">
            <a:extLst>
              <a:ext uri="{FF2B5EF4-FFF2-40B4-BE49-F238E27FC236}">
                <a16:creationId xmlns:a16="http://schemas.microsoft.com/office/drawing/2014/main" id="{B96A09C9-7EC4-60AC-4D8D-5B85B216256D}"/>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Large cities like New York, Seattle, and Portland had many more closures than openings</a:t>
            </a:r>
          </a:p>
        </p:txBody>
      </p:sp>
      <p:sp>
        <p:nvSpPr>
          <p:cNvPr id="16" name="Google Shape;99;p15">
            <a:extLst>
              <a:ext uri="{FF2B5EF4-FFF2-40B4-BE49-F238E27FC236}">
                <a16:creationId xmlns:a16="http://schemas.microsoft.com/office/drawing/2014/main" id="{4ADBBD88-7B36-A2D1-78CC-DC1459078791}"/>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 name="Rectangle 1">
            <a:extLst>
              <a:ext uri="{FF2B5EF4-FFF2-40B4-BE49-F238E27FC236}">
                <a16:creationId xmlns:a16="http://schemas.microsoft.com/office/drawing/2014/main" id="{A5BE03DB-196B-ADAE-4503-4AAF1DB71456}"/>
              </a:ext>
            </a:extLst>
          </p:cNvPr>
          <p:cNvSpPr/>
          <p:nvPr/>
        </p:nvSpPr>
        <p:spPr>
          <a:xfrm>
            <a:off x="1603120" y="5607077"/>
            <a:ext cx="8063670" cy="2448498"/>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Differential between store closures and openings</a:t>
            </a:r>
          </a:p>
        </p:txBody>
      </p:sp>
      <p:pic>
        <p:nvPicPr>
          <p:cNvPr id="7" name="Picture 6">
            <a:extLst>
              <a:ext uri="{FF2B5EF4-FFF2-40B4-BE49-F238E27FC236}">
                <a16:creationId xmlns:a16="http://schemas.microsoft.com/office/drawing/2014/main" id="{71CCDA0F-1C9C-19F7-3C29-918A0D740C6D}"/>
              </a:ext>
            </a:extLst>
          </p:cNvPr>
          <p:cNvPicPr>
            <a:picLocks noChangeAspect="1"/>
          </p:cNvPicPr>
          <p:nvPr/>
        </p:nvPicPr>
        <p:blipFill>
          <a:blip r:embed="rId3"/>
          <a:stretch>
            <a:fillRect/>
          </a:stretch>
        </p:blipFill>
        <p:spPr>
          <a:xfrm>
            <a:off x="422250" y="891542"/>
            <a:ext cx="3531379" cy="3858726"/>
          </a:xfrm>
          <a:prstGeom prst="rect">
            <a:avLst/>
          </a:prstGeom>
        </p:spPr>
      </p:pic>
      <p:sp>
        <p:nvSpPr>
          <p:cNvPr id="6" name="Google Shape;459;p36">
            <a:extLst>
              <a:ext uri="{FF2B5EF4-FFF2-40B4-BE49-F238E27FC236}">
                <a16:creationId xmlns:a16="http://schemas.microsoft.com/office/drawing/2014/main" id="{2E8E5F13-3CBD-7150-C987-42A801530017}"/>
              </a:ext>
            </a:extLst>
          </p:cNvPr>
          <p:cNvSpPr/>
          <p:nvPr/>
        </p:nvSpPr>
        <p:spPr>
          <a:xfrm>
            <a:off x="4325100" y="889401"/>
            <a:ext cx="4396650" cy="457722"/>
          </a:xfrm>
          <a:prstGeom prst="rect">
            <a:avLst/>
          </a:prstGeom>
          <a:solidFill>
            <a:srgbClr val="05B05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aturated Starbucks Markets</a:t>
            </a:r>
          </a:p>
        </p:txBody>
      </p:sp>
      <p:sp>
        <p:nvSpPr>
          <p:cNvPr id="8" name="Google Shape;466;p36">
            <a:extLst>
              <a:ext uri="{FF2B5EF4-FFF2-40B4-BE49-F238E27FC236}">
                <a16:creationId xmlns:a16="http://schemas.microsoft.com/office/drawing/2014/main" id="{D5BA4B1E-8342-E462-49EE-EF8C75C9E12E}"/>
              </a:ext>
            </a:extLst>
          </p:cNvPr>
          <p:cNvSpPr/>
          <p:nvPr/>
        </p:nvSpPr>
        <p:spPr>
          <a:xfrm>
            <a:off x="4325100" y="1437572"/>
            <a:ext cx="4396650" cy="864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he most populated cities (New York, Seattle, Portland) had </a:t>
            </a:r>
            <a:r>
              <a:rPr lang="en-CA"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more closures than openings</a:t>
            </a: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since the pandemic</a:t>
            </a:r>
          </a:p>
        </p:txBody>
      </p:sp>
      <p:sp>
        <p:nvSpPr>
          <p:cNvPr id="10" name="Google Shape;466;p36">
            <a:extLst>
              <a:ext uri="{FF2B5EF4-FFF2-40B4-BE49-F238E27FC236}">
                <a16:creationId xmlns:a16="http://schemas.microsoft.com/office/drawing/2014/main" id="{D8883EE0-787B-A932-8358-3F787154BF2D}"/>
              </a:ext>
            </a:extLst>
          </p:cNvPr>
          <p:cNvSpPr/>
          <p:nvPr/>
        </p:nvSpPr>
        <p:spPr>
          <a:xfrm>
            <a:off x="4325100" y="2392021"/>
            <a:ext cx="4396650" cy="864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Most of the cities with more closures than openings were in </a:t>
            </a:r>
            <a:r>
              <a:rPr lang="en-CA" sz="11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rPr>
              <a:t>populated, largely white-collar areas </a:t>
            </a:r>
          </a:p>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alifornia, Washington, Massachusetts)</a:t>
            </a:r>
          </a:p>
        </p:txBody>
      </p:sp>
      <p:sp>
        <p:nvSpPr>
          <p:cNvPr id="12" name="Google Shape;466;p36">
            <a:extLst>
              <a:ext uri="{FF2B5EF4-FFF2-40B4-BE49-F238E27FC236}">
                <a16:creationId xmlns:a16="http://schemas.microsoft.com/office/drawing/2014/main" id="{F1EB92E8-52BB-47B8-62EC-516920521501}"/>
              </a:ext>
            </a:extLst>
          </p:cNvPr>
          <p:cNvSpPr/>
          <p:nvPr/>
        </p:nvSpPr>
        <p:spPr>
          <a:xfrm>
            <a:off x="4325100" y="3811065"/>
            <a:ext cx="4396650" cy="939203"/>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ssumption: </a:t>
            </a:r>
            <a:r>
              <a:rPr lang="en-CA" sz="1200">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Markets where the pandemic forced closures were likely saturated pre-pandemic</a:t>
            </a:r>
          </a:p>
        </p:txBody>
      </p:sp>
      <p:sp>
        <p:nvSpPr>
          <p:cNvPr id="13" name="Chevron 9">
            <a:extLst>
              <a:ext uri="{FF2B5EF4-FFF2-40B4-BE49-F238E27FC236}">
                <a16:creationId xmlns:a16="http://schemas.microsoft.com/office/drawing/2014/main" id="{5972E5E3-0C85-7EDC-35F1-EE271F95386D}"/>
              </a:ext>
            </a:extLst>
          </p:cNvPr>
          <p:cNvSpPr/>
          <p:nvPr/>
        </p:nvSpPr>
        <p:spPr>
          <a:xfrm rot="5400000">
            <a:off x="6418279" y="2963380"/>
            <a:ext cx="210293" cy="1182347"/>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4041544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DA0BFDB7-AEDD-B111-513F-7D51029DB61D}"/>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9D78D28E-C19A-0BD2-FE31-6FA5B6B1A290}"/>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Filtering for Saturated Markets: Discussion on Weights </a:t>
            </a:r>
          </a:p>
        </p:txBody>
      </p:sp>
      <p:sp>
        <p:nvSpPr>
          <p:cNvPr id="9" name="Google Shape;98;p15">
            <a:extLst>
              <a:ext uri="{FF2B5EF4-FFF2-40B4-BE49-F238E27FC236}">
                <a16:creationId xmlns:a16="http://schemas.microsoft.com/office/drawing/2014/main" id="{C66825C5-24BE-B2CE-D39B-E7FD5C8C8F2D}"/>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Weighting strategies for market analysis</a:t>
            </a:r>
          </a:p>
        </p:txBody>
      </p:sp>
      <p:sp>
        <p:nvSpPr>
          <p:cNvPr id="16" name="Google Shape;99;p15">
            <a:extLst>
              <a:ext uri="{FF2B5EF4-FFF2-40B4-BE49-F238E27FC236}">
                <a16:creationId xmlns:a16="http://schemas.microsoft.com/office/drawing/2014/main" id="{72EFAC86-7281-E495-487D-03D3A57A80B9}"/>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 name="Rectangle 2">
            <a:extLst>
              <a:ext uri="{FF2B5EF4-FFF2-40B4-BE49-F238E27FC236}">
                <a16:creationId xmlns:a16="http://schemas.microsoft.com/office/drawing/2014/main" id="{D8A376CD-EF6B-DAD1-274A-B7BDAD5F235B}"/>
              </a:ext>
            </a:extLst>
          </p:cNvPr>
          <p:cNvSpPr/>
          <p:nvPr/>
        </p:nvSpPr>
        <p:spPr>
          <a:xfrm>
            <a:off x="5832909" y="1140345"/>
            <a:ext cx="3040205" cy="684000"/>
          </a:xfrm>
          <a:prstGeom prst="rect">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Insufficient amount of data </a:t>
            </a: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when accounting for only saturated cities</a:t>
            </a:r>
          </a:p>
        </p:txBody>
      </p:sp>
      <p:sp>
        <p:nvSpPr>
          <p:cNvPr id="5" name="Rectangle 4">
            <a:extLst>
              <a:ext uri="{FF2B5EF4-FFF2-40B4-BE49-F238E27FC236}">
                <a16:creationId xmlns:a16="http://schemas.microsoft.com/office/drawing/2014/main" id="{64964192-E191-3EF4-A601-F74CB8178D76}"/>
              </a:ext>
            </a:extLst>
          </p:cNvPr>
          <p:cNvSpPr/>
          <p:nvPr/>
        </p:nvSpPr>
        <p:spPr>
          <a:xfrm>
            <a:off x="5832910" y="2056230"/>
            <a:ext cx="3040205" cy="684000"/>
          </a:xfrm>
          <a:prstGeom prst="rect">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Including same-state stores at a weight of 0.1 allows for </a:t>
            </a: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sufficient supply </a:t>
            </a:r>
          </a:p>
          <a:p>
            <a:pPr algn="ct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of training data</a:t>
            </a:r>
          </a:p>
        </p:txBody>
      </p:sp>
      <p:sp>
        <p:nvSpPr>
          <p:cNvPr id="6" name="Rectangle 5">
            <a:extLst>
              <a:ext uri="{FF2B5EF4-FFF2-40B4-BE49-F238E27FC236}">
                <a16:creationId xmlns:a16="http://schemas.microsoft.com/office/drawing/2014/main" id="{AF3CAF08-7459-1595-8C1A-059795599773}"/>
              </a:ext>
            </a:extLst>
          </p:cNvPr>
          <p:cNvSpPr/>
          <p:nvPr/>
        </p:nvSpPr>
        <p:spPr>
          <a:xfrm>
            <a:off x="5832909" y="2972115"/>
            <a:ext cx="3040205" cy="684000"/>
          </a:xfrm>
          <a:prstGeom prst="rect">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lthough a generalization, assumption is that cities</a:t>
            </a: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 </a:t>
            </a: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in the </a:t>
            </a: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same state </a:t>
            </a: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hare some </a:t>
            </a: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similar characteristics</a:t>
            </a:r>
          </a:p>
        </p:txBody>
      </p:sp>
      <p:sp>
        <p:nvSpPr>
          <p:cNvPr id="7" name="Rectangle 6">
            <a:extLst>
              <a:ext uri="{FF2B5EF4-FFF2-40B4-BE49-F238E27FC236}">
                <a16:creationId xmlns:a16="http://schemas.microsoft.com/office/drawing/2014/main" id="{164BF85D-920B-A4FA-1523-28845524EA2D}"/>
              </a:ext>
            </a:extLst>
          </p:cNvPr>
          <p:cNvSpPr/>
          <p:nvPr/>
        </p:nvSpPr>
        <p:spPr>
          <a:xfrm>
            <a:off x="5832911" y="3888000"/>
            <a:ext cx="3040205" cy="684000"/>
          </a:xfrm>
          <a:prstGeom prst="rect">
            <a:avLst/>
          </a:prstGeom>
          <a:solidFill>
            <a:schemeClr val="bg1"/>
          </a:solidFill>
          <a:ln>
            <a:solidFill>
              <a:srgbClr val="4692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Weights allow for effective prioritization of training data to predict </a:t>
            </a:r>
          </a:p>
          <a:p>
            <a:pPr algn="ctr"/>
            <a:r>
              <a:rPr lang="en-US" sz="1200" b="1">
                <a:solidFill>
                  <a:srgbClr val="459261"/>
                </a:solidFill>
                <a:latin typeface="Helvetica Neue" panose="02000503000000020004" pitchFamily="2" charset="0"/>
                <a:ea typeface="Helvetica Neue" panose="02000503000000020004" pitchFamily="2" charset="0"/>
                <a:cs typeface="Helvetica Neue" panose="02000503000000020004" pitchFamily="2" charset="0"/>
              </a:rPr>
              <a:t>optimal store count</a:t>
            </a:r>
          </a:p>
        </p:txBody>
      </p:sp>
      <p:pic>
        <p:nvPicPr>
          <p:cNvPr id="10" name="Picture 9">
            <a:extLst>
              <a:ext uri="{FF2B5EF4-FFF2-40B4-BE49-F238E27FC236}">
                <a16:creationId xmlns:a16="http://schemas.microsoft.com/office/drawing/2014/main" id="{C9E32A81-53CF-53D5-515C-85B0CBFE3A46}"/>
              </a:ext>
            </a:extLst>
          </p:cNvPr>
          <p:cNvPicPr>
            <a:picLocks noChangeAspect="1"/>
          </p:cNvPicPr>
          <p:nvPr/>
        </p:nvPicPr>
        <p:blipFill rotWithShape="1">
          <a:blip r:embed="rId3"/>
          <a:srcRect l="8060" b="29179"/>
          <a:stretch/>
        </p:blipFill>
        <p:spPr>
          <a:xfrm>
            <a:off x="251633" y="1140344"/>
            <a:ext cx="5468781" cy="3431655"/>
          </a:xfrm>
          <a:prstGeom prst="rect">
            <a:avLst/>
          </a:prstGeom>
        </p:spPr>
      </p:pic>
    </p:spTree>
    <p:extLst>
      <p:ext uri="{BB962C8B-B14F-4D97-AF65-F5344CB8AC3E}">
        <p14:creationId xmlns:p14="http://schemas.microsoft.com/office/powerpoint/2010/main" val="13218003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A03744EA-6823-1ABB-7B70-9D50D01E7D26}"/>
            </a:ext>
          </a:extLst>
        </p:cNvPr>
        <p:cNvGrpSpPr/>
        <p:nvPr/>
      </p:nvGrpSpPr>
      <p:grpSpPr>
        <a:xfrm>
          <a:off x="0" y="0"/>
          <a:ext cx="0" cy="0"/>
          <a:chOff x="0" y="0"/>
          <a:chExt cx="0" cy="0"/>
        </a:xfrm>
      </p:grpSpPr>
      <p:graphicFrame>
        <p:nvGraphicFramePr>
          <p:cNvPr id="33" name="Google Shape;324;p28">
            <a:extLst>
              <a:ext uri="{FF2B5EF4-FFF2-40B4-BE49-F238E27FC236}">
                <a16:creationId xmlns:a16="http://schemas.microsoft.com/office/drawing/2014/main" id="{CD262BE7-53C3-51D7-06D6-FC3B7D9E03E5}"/>
              </a:ext>
            </a:extLst>
          </p:cNvPr>
          <p:cNvGraphicFramePr/>
          <p:nvPr>
            <p:extLst>
              <p:ext uri="{D42A27DB-BD31-4B8C-83A1-F6EECF244321}">
                <p14:modId xmlns:p14="http://schemas.microsoft.com/office/powerpoint/2010/main" val="4078368960"/>
              </p:ext>
            </p:extLst>
          </p:nvPr>
        </p:nvGraphicFramePr>
        <p:xfrm>
          <a:off x="466658" y="1089718"/>
          <a:ext cx="5590498" cy="3293721"/>
        </p:xfrm>
        <a:graphic>
          <a:graphicData uri="http://schemas.openxmlformats.org/drawingml/2006/table">
            <a:tbl>
              <a:tblPr>
                <a:noFill/>
              </a:tblPr>
              <a:tblGrid>
                <a:gridCol w="2936605">
                  <a:extLst>
                    <a:ext uri="{9D8B030D-6E8A-4147-A177-3AD203B41FA5}">
                      <a16:colId xmlns:a16="http://schemas.microsoft.com/office/drawing/2014/main" val="20000"/>
                    </a:ext>
                  </a:extLst>
                </a:gridCol>
                <a:gridCol w="870509">
                  <a:extLst>
                    <a:ext uri="{9D8B030D-6E8A-4147-A177-3AD203B41FA5}">
                      <a16:colId xmlns:a16="http://schemas.microsoft.com/office/drawing/2014/main" val="20001"/>
                    </a:ext>
                  </a:extLst>
                </a:gridCol>
                <a:gridCol w="884527">
                  <a:extLst>
                    <a:ext uri="{9D8B030D-6E8A-4147-A177-3AD203B41FA5}">
                      <a16:colId xmlns:a16="http://schemas.microsoft.com/office/drawing/2014/main" val="20002"/>
                    </a:ext>
                  </a:extLst>
                </a:gridCol>
                <a:gridCol w="898857">
                  <a:extLst>
                    <a:ext uri="{9D8B030D-6E8A-4147-A177-3AD203B41FA5}">
                      <a16:colId xmlns:a16="http://schemas.microsoft.com/office/drawing/2014/main" val="20003"/>
                    </a:ext>
                  </a:extLst>
                </a:gridCol>
              </a:tblGrid>
              <a:tr h="471636">
                <a:tc>
                  <a:txBody>
                    <a:bodyPr/>
                    <a:lstStyle/>
                    <a:p>
                      <a:pPr marL="0" marR="0" lvl="0" indent="0" algn="l"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200"/>
                        <a:buFont typeface="Arial"/>
                        <a:buNone/>
                      </a:pPr>
                      <a:endParaRPr sz="1200" u="none" strike="noStrike" cap="none"/>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u="none" strike="noStrike" cap="none">
                        <a:solidFill>
                          <a:srgbClr val="000000"/>
                        </a:solidFill>
                      </a:endParaRP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564417">
                <a:tc>
                  <a:txBody>
                    <a:bodyPr/>
                    <a:lstStyle/>
                    <a:p>
                      <a:pPr marL="0" marR="0" lvl="0" indent="0" algn="l" rtl="0">
                        <a:lnSpc>
                          <a:spcPct val="100000"/>
                        </a:lnSpc>
                        <a:spcBef>
                          <a:spcPts val="0"/>
                        </a:spcBef>
                        <a:spcAft>
                          <a:spcPts val="0"/>
                        </a:spcAft>
                        <a:buNone/>
                      </a:pPr>
                      <a:r>
                        <a:rPr lang="en-US" sz="1200" b="1">
                          <a:latin typeface="Arial"/>
                          <a:ea typeface="Helvetica Neue"/>
                          <a:cs typeface="Arial"/>
                        </a:rPr>
                        <a:t>Simplicity</a:t>
                      </a:r>
                      <a:endParaRPr lang="en-US" sz="1200" b="1">
                        <a:latin typeface="Arial"/>
                        <a:ea typeface="Helvetica Neue"/>
                        <a:cs typeface="Arial"/>
                        <a:sym typeface="Helvetica Neue"/>
                      </a:endParaRP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dot"/>
                      <a:round/>
                      <a:headEnd type="none" w="sm" len="sm"/>
                      <a:tailEnd type="none" w="sm" len="sm"/>
                    </a:lnB>
                  </a:tcPr>
                </a:tc>
                <a:extLst>
                  <a:ext uri="{0D108BD9-81ED-4DB2-BD59-A6C34878D82A}">
                    <a16:rowId xmlns:a16="http://schemas.microsoft.com/office/drawing/2014/main" val="10001"/>
                  </a:ext>
                </a:extLst>
              </a:tr>
              <a:tr h="564417">
                <a:tc>
                  <a:txBody>
                    <a:bodyPr/>
                    <a:lstStyle/>
                    <a:p>
                      <a:pPr marL="0" marR="0" lvl="0" indent="0" algn="l" rtl="0">
                        <a:lnSpc>
                          <a:spcPct val="100000"/>
                        </a:lnSpc>
                        <a:spcBef>
                          <a:spcPts val="0"/>
                        </a:spcBef>
                        <a:spcAft>
                          <a:spcPts val="0"/>
                        </a:spcAft>
                        <a:buNone/>
                      </a:pPr>
                      <a:r>
                        <a:rPr lang="en-CA" sz="1200" b="1">
                          <a:latin typeface="Arial"/>
                          <a:ea typeface="Helvetica Neue"/>
                          <a:cs typeface="Arial"/>
                          <a:sym typeface="Helvetica Neue"/>
                        </a:rPr>
                        <a:t>Interpretability</a:t>
                      </a: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extLst>
                  <a:ext uri="{0D108BD9-81ED-4DB2-BD59-A6C34878D82A}">
                    <a16:rowId xmlns:a16="http://schemas.microsoft.com/office/drawing/2014/main" val="10002"/>
                  </a:ext>
                </a:extLst>
              </a:tr>
              <a:tr h="564417">
                <a:tc>
                  <a:txBody>
                    <a:bodyPr/>
                    <a:lstStyle/>
                    <a:p>
                      <a:pPr marL="0" marR="0" lvl="0" indent="0" algn="l" rtl="0">
                        <a:lnSpc>
                          <a:spcPct val="100000"/>
                        </a:lnSpc>
                        <a:spcBef>
                          <a:spcPts val="0"/>
                        </a:spcBef>
                        <a:spcAft>
                          <a:spcPts val="0"/>
                        </a:spcAft>
                        <a:buNone/>
                      </a:pPr>
                      <a:r>
                        <a:rPr lang="en-US" sz="1200" b="1">
                          <a:latin typeface="Arial"/>
                          <a:ea typeface="Helvetica Neue"/>
                          <a:cs typeface="Arial"/>
                          <a:sym typeface="Helvetica Neue"/>
                        </a:rPr>
                        <a:t>Assumption quantity</a:t>
                      </a: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extLst>
                  <a:ext uri="{0D108BD9-81ED-4DB2-BD59-A6C34878D82A}">
                    <a16:rowId xmlns:a16="http://schemas.microsoft.com/office/drawing/2014/main" val="10003"/>
                  </a:ext>
                </a:extLst>
              </a:tr>
              <a:tr h="564417">
                <a:tc>
                  <a:txBody>
                    <a:bodyPr/>
                    <a:lstStyle/>
                    <a:p>
                      <a:pPr marL="0" marR="0" lvl="0" indent="0" algn="l" rtl="0">
                        <a:lnSpc>
                          <a:spcPct val="100000"/>
                        </a:lnSpc>
                        <a:spcBef>
                          <a:spcPts val="0"/>
                        </a:spcBef>
                        <a:spcAft>
                          <a:spcPts val="0"/>
                        </a:spcAft>
                        <a:buClr>
                          <a:srgbClr val="000000"/>
                        </a:buClr>
                        <a:buSzPts val="1200"/>
                        <a:buFont typeface="Arial"/>
                        <a:buNone/>
                      </a:pPr>
                      <a:r>
                        <a:rPr lang="en-CA" sz="1200" b="1" u="none" strike="noStrike" cap="none">
                          <a:latin typeface="Arial"/>
                          <a:ea typeface="Helvetica Neue"/>
                          <a:cs typeface="Arial"/>
                          <a:sym typeface="Helvetica Neue"/>
                        </a:rPr>
                        <a:t>Complexity handling</a:t>
                      </a:r>
                      <a:endParaRPr sz="1200" b="1" u="none" strike="noStrike" cap="none">
                        <a:latin typeface="Arial"/>
                        <a:ea typeface="Helvetica Neue"/>
                        <a:cs typeface="Arial"/>
                        <a:sym typeface="Helvetica Neue"/>
                      </a:endParaRP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extLst>
                  <a:ext uri="{0D108BD9-81ED-4DB2-BD59-A6C34878D82A}">
                    <a16:rowId xmlns:a16="http://schemas.microsoft.com/office/drawing/2014/main" val="10004"/>
                  </a:ext>
                </a:extLst>
              </a:tr>
              <a:tr h="564417">
                <a:tc>
                  <a:txBody>
                    <a:bodyPr/>
                    <a:lstStyle/>
                    <a:p>
                      <a:pPr marL="0" marR="0" lvl="0" indent="0" algn="l" rtl="0">
                        <a:lnSpc>
                          <a:spcPct val="100000"/>
                        </a:lnSpc>
                        <a:spcBef>
                          <a:spcPts val="0"/>
                        </a:spcBef>
                        <a:spcAft>
                          <a:spcPts val="0"/>
                        </a:spcAft>
                        <a:buNone/>
                      </a:pPr>
                      <a:r>
                        <a:rPr lang="en-CA" sz="1200" b="1">
                          <a:latin typeface="Arial"/>
                          <a:ea typeface="Helvetica Neue"/>
                          <a:cs typeface="Arial"/>
                        </a:rPr>
                        <a:t>Generalization</a:t>
                      </a:r>
                      <a:endParaRPr lang="en-CA" sz="1200" b="1">
                        <a:latin typeface="Arial"/>
                        <a:ea typeface="Helvetica Neue"/>
                        <a:cs typeface="Arial"/>
                        <a:sym typeface="Helvetica Neue"/>
                      </a:endParaRPr>
                    </a:p>
                  </a:txBody>
                  <a:tcPr marL="68575" marR="68575"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tc>
                  <a:txBody>
                    <a:bodyPr/>
                    <a:lstStyle/>
                    <a:p>
                      <a:pPr marL="0" marR="0" lvl="0" indent="0" algn="ctr" rtl="0">
                        <a:lnSpc>
                          <a:spcPct val="100000"/>
                        </a:lnSpc>
                        <a:spcBef>
                          <a:spcPts val="0"/>
                        </a:spcBef>
                        <a:spcAft>
                          <a:spcPts val="0"/>
                        </a:spcAft>
                        <a:buNone/>
                      </a:pPr>
                      <a:endParaRPr sz="1200" b="0" u="none" strike="noStrike" cap="none">
                        <a:latin typeface="Arial"/>
                        <a:ea typeface="Arial"/>
                        <a:cs typeface="Arial"/>
                        <a:sym typeface="Arial"/>
                      </a:endParaRPr>
                    </a:p>
                  </a:txBody>
                  <a:tcPr marL="68575" marR="68575" marT="54000" marB="54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dot"/>
                      <a:round/>
                      <a:headEnd type="none" w="sm" len="sm"/>
                      <a:tailEnd type="none" w="sm" len="sm"/>
                    </a:lnT>
                    <a:lnB w="9525" cap="flat" cmpd="sng">
                      <a:solidFill>
                        <a:srgbClr val="000000"/>
                      </a:solidFill>
                      <a:prstDash val="dot"/>
                      <a:round/>
                      <a:headEnd type="none" w="sm" len="sm"/>
                      <a:tailEnd type="none" w="sm" len="sm"/>
                    </a:lnB>
                  </a:tcPr>
                </a:tc>
                <a:extLst>
                  <a:ext uri="{0D108BD9-81ED-4DB2-BD59-A6C34878D82A}">
                    <a16:rowId xmlns:a16="http://schemas.microsoft.com/office/drawing/2014/main" val="10005"/>
                  </a:ext>
                </a:extLst>
              </a:tr>
            </a:tbl>
          </a:graphicData>
        </a:graphic>
      </p:graphicFrame>
      <p:sp>
        <p:nvSpPr>
          <p:cNvPr id="4" name="Google Shape;95;p15">
            <a:extLst>
              <a:ext uri="{FF2B5EF4-FFF2-40B4-BE49-F238E27FC236}">
                <a16:creationId xmlns:a16="http://schemas.microsoft.com/office/drawing/2014/main" id="{EB58447E-135A-353A-80C6-05406DF0361B}"/>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Linear Regression</a:t>
            </a:r>
          </a:p>
        </p:txBody>
      </p:sp>
      <p:sp>
        <p:nvSpPr>
          <p:cNvPr id="9" name="Google Shape;98;p15">
            <a:extLst>
              <a:ext uri="{FF2B5EF4-FFF2-40B4-BE49-F238E27FC236}">
                <a16:creationId xmlns:a16="http://schemas.microsoft.com/office/drawing/2014/main" id="{D037468B-953A-7418-714A-2EDAEEEE3F1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Rational for model selection</a:t>
            </a:r>
          </a:p>
        </p:txBody>
      </p:sp>
      <p:sp>
        <p:nvSpPr>
          <p:cNvPr id="16" name="Google Shape;99;p15">
            <a:extLst>
              <a:ext uri="{FF2B5EF4-FFF2-40B4-BE49-F238E27FC236}">
                <a16:creationId xmlns:a16="http://schemas.microsoft.com/office/drawing/2014/main" id="{63E10A0E-B1D5-C182-59EE-189D4B3FC3A9}"/>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4" name="Google Shape;325;p28">
            <a:extLst>
              <a:ext uri="{FF2B5EF4-FFF2-40B4-BE49-F238E27FC236}">
                <a16:creationId xmlns:a16="http://schemas.microsoft.com/office/drawing/2014/main" id="{A83B914E-5563-769D-AC72-6757ED005B63}"/>
              </a:ext>
            </a:extLst>
          </p:cNvPr>
          <p:cNvSpPr/>
          <p:nvPr/>
        </p:nvSpPr>
        <p:spPr>
          <a:xfrm>
            <a:off x="3337118" y="1055097"/>
            <a:ext cx="1341348" cy="3435734"/>
          </a:xfrm>
          <a:prstGeom prst="rect">
            <a:avLst/>
          </a:prstGeom>
          <a:noFill/>
          <a:ln w="28575" cap="flat" cmpd="sng">
            <a:solidFill>
              <a:srgbClr val="05B050"/>
            </a:solidFill>
            <a:prstDash val="dash"/>
            <a:miter lim="800000"/>
            <a:headEnd type="none" w="sm" len="sm"/>
            <a:tailEnd type="none" w="sm" len="sm"/>
          </a:ln>
        </p:spPr>
        <p:txBody>
          <a:bodyPr spcFirstLastPara="1" wrap="square" lIns="68575" tIns="34275" rIns="68575" bIns="34275" anchor="ctr" anchorCtr="0">
            <a:noAutofit/>
          </a:bodyPr>
          <a:lstStyle/>
          <a:p>
            <a:pPr algn="ctr"/>
            <a:endParaRPr lang="en-CA" sz="1800">
              <a:solidFill>
                <a:srgbClr val="FFFFFF"/>
              </a:solidFill>
              <a:latin typeface="Helvetica Neue" panose="02000503000000020004" pitchFamily="2" charset="0"/>
              <a:ea typeface="Helvetica Neue" panose="02000503000000020004" pitchFamily="2" charset="0"/>
              <a:cs typeface="Helvetica Neue" panose="02000503000000020004" pitchFamily="2" charset="0"/>
              <a:sym typeface="Quattrocento Sans"/>
            </a:endParaRPr>
          </a:p>
        </p:txBody>
      </p:sp>
      <p:sp>
        <p:nvSpPr>
          <p:cNvPr id="35" name="Google Shape;326;p28">
            <a:extLst>
              <a:ext uri="{FF2B5EF4-FFF2-40B4-BE49-F238E27FC236}">
                <a16:creationId xmlns:a16="http://schemas.microsoft.com/office/drawing/2014/main" id="{B270F1C2-4A05-3253-DE30-5678566E3737}"/>
              </a:ext>
            </a:extLst>
          </p:cNvPr>
          <p:cNvSpPr/>
          <p:nvPr/>
        </p:nvSpPr>
        <p:spPr>
          <a:xfrm>
            <a:off x="531189" y="1385635"/>
            <a:ext cx="236100" cy="145200"/>
          </a:xfrm>
          <a:prstGeom prst="rect">
            <a:avLst/>
          </a:prstGeom>
          <a:noFill/>
          <a:ln w="19050" cap="flat" cmpd="sng">
            <a:solidFill>
              <a:srgbClr val="05B050"/>
            </a:solidFill>
            <a:prstDash val="dash"/>
            <a:miter lim="800000"/>
            <a:headEnd type="none" w="sm" len="sm"/>
            <a:tailEnd type="none" w="sm" len="sm"/>
          </a:ln>
        </p:spPr>
        <p:txBody>
          <a:bodyPr spcFirstLastPara="1" wrap="square" lIns="68575" tIns="34275" rIns="68575" bIns="34275" anchor="ctr" anchorCtr="0">
            <a:noAutofit/>
          </a:bodyPr>
          <a:lstStyle/>
          <a:p>
            <a:pPr algn="ctr"/>
            <a:endParaRPr lang="en-CA" sz="1800">
              <a:solidFill>
                <a:srgbClr val="FFFFFF"/>
              </a:solidFill>
              <a:latin typeface="Helvetica Neue" panose="02000503000000020004" pitchFamily="2" charset="0"/>
              <a:ea typeface="Helvetica Neue" panose="02000503000000020004" pitchFamily="2" charset="0"/>
              <a:cs typeface="Helvetica Neue" panose="02000503000000020004" pitchFamily="2" charset="0"/>
              <a:sym typeface="Quattrocento Sans"/>
            </a:endParaRPr>
          </a:p>
        </p:txBody>
      </p:sp>
      <p:sp>
        <p:nvSpPr>
          <p:cNvPr id="36" name="Google Shape;327;p28">
            <a:extLst>
              <a:ext uri="{FF2B5EF4-FFF2-40B4-BE49-F238E27FC236}">
                <a16:creationId xmlns:a16="http://schemas.microsoft.com/office/drawing/2014/main" id="{FE2393B4-5446-D25E-F311-9636DA3AD41C}"/>
              </a:ext>
            </a:extLst>
          </p:cNvPr>
          <p:cNvSpPr txBox="1"/>
          <p:nvPr/>
        </p:nvSpPr>
        <p:spPr>
          <a:xfrm>
            <a:off x="767288" y="1337252"/>
            <a:ext cx="2505300" cy="230700"/>
          </a:xfrm>
          <a:prstGeom prst="rect">
            <a:avLst/>
          </a:prstGeom>
          <a:noFill/>
          <a:ln>
            <a:noFill/>
          </a:ln>
        </p:spPr>
        <p:txBody>
          <a:bodyPr spcFirstLastPara="1" wrap="square" lIns="68575" tIns="34275" rIns="68575" bIns="34275" anchor="t" anchorCtr="0">
            <a:noAutofit/>
          </a:bodyPr>
          <a:lstStyle/>
          <a:p>
            <a:r>
              <a:rPr lang="en-US" sz="1100">
                <a:latin typeface="Helvetica Neue" panose="02000503000000020004" pitchFamily="2" charset="0"/>
                <a:ea typeface="Helvetica Neue" panose="02000503000000020004" pitchFamily="2" charset="0"/>
                <a:cs typeface="Helvetica Neue" panose="02000503000000020004" pitchFamily="2" charset="0"/>
                <a:sym typeface="Helvetica Neue"/>
              </a:rPr>
              <a:t>Highest potential </a:t>
            </a:r>
          </a:p>
        </p:txBody>
      </p:sp>
      <p:sp>
        <p:nvSpPr>
          <p:cNvPr id="37" name="Google Shape;328;p28">
            <a:extLst>
              <a:ext uri="{FF2B5EF4-FFF2-40B4-BE49-F238E27FC236}">
                <a16:creationId xmlns:a16="http://schemas.microsoft.com/office/drawing/2014/main" id="{85A1C6A0-6166-F905-C491-3083E531BE76}"/>
              </a:ext>
            </a:extLst>
          </p:cNvPr>
          <p:cNvSpPr txBox="1"/>
          <p:nvPr/>
        </p:nvSpPr>
        <p:spPr>
          <a:xfrm>
            <a:off x="3305285" y="1061415"/>
            <a:ext cx="1405785" cy="499533"/>
          </a:xfrm>
          <a:prstGeom prst="rect">
            <a:avLst/>
          </a:prstGeom>
          <a:noFill/>
          <a:ln>
            <a:noFill/>
          </a:ln>
        </p:spPr>
        <p:txBody>
          <a:bodyPr spcFirstLastPara="1" wrap="square" lIns="91425" tIns="91425" rIns="91425" bIns="91425" anchor="t" anchorCtr="0">
            <a:noAutofit/>
          </a:bodyPr>
          <a:lstStyle/>
          <a:p>
            <a:pPr algn="ctr"/>
            <a:r>
              <a:rPr lang="en-US" sz="1200" b="1">
                <a:latin typeface="Helvetica Neue" panose="02000503000000020004" pitchFamily="2" charset="0"/>
                <a:ea typeface="Helvetica Neue" panose="02000503000000020004" pitchFamily="2" charset="0"/>
                <a:cs typeface="Helvetica Neue" panose="02000503000000020004" pitchFamily="2" charset="0"/>
                <a:sym typeface="Helvetica Neue"/>
              </a:rPr>
              <a:t>Linear Regression</a:t>
            </a: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8" name="Google Shape;329;p28">
            <a:extLst>
              <a:ext uri="{FF2B5EF4-FFF2-40B4-BE49-F238E27FC236}">
                <a16:creationId xmlns:a16="http://schemas.microsoft.com/office/drawing/2014/main" id="{0B4DAA19-7373-5D71-4AA2-0B3096EE5EBD}"/>
              </a:ext>
            </a:extLst>
          </p:cNvPr>
          <p:cNvSpPr txBox="1"/>
          <p:nvPr/>
        </p:nvSpPr>
        <p:spPr>
          <a:xfrm>
            <a:off x="4745742" y="1065648"/>
            <a:ext cx="1370428" cy="493734"/>
          </a:xfrm>
          <a:prstGeom prst="rect">
            <a:avLst/>
          </a:prstGeom>
          <a:noFill/>
          <a:ln>
            <a:noFill/>
          </a:ln>
        </p:spPr>
        <p:txBody>
          <a:bodyPr spcFirstLastPara="1" wrap="square" lIns="91425" tIns="91425" rIns="91425" bIns="91425" anchor="t" anchorCtr="0">
            <a:noAutofit/>
          </a:bodyPr>
          <a:lstStyle/>
          <a:p>
            <a:pPr algn="ctr"/>
            <a:r>
              <a:rPr lang="en-US" sz="1200" b="1">
                <a:latin typeface="Helvetica Neue" panose="02000503000000020004" pitchFamily="2" charset="0"/>
                <a:ea typeface="Helvetica Neue" panose="02000503000000020004" pitchFamily="2" charset="0"/>
                <a:cs typeface="Helvetica Neue" panose="02000503000000020004" pitchFamily="2" charset="0"/>
                <a:sym typeface="Helvetica Neue"/>
              </a:rPr>
              <a:t>Machine Learning Model</a:t>
            </a:r>
            <a:endParaRPr lang="en-US" sz="12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1" name="Google Shape;347;p28">
            <a:extLst>
              <a:ext uri="{FF2B5EF4-FFF2-40B4-BE49-F238E27FC236}">
                <a16:creationId xmlns:a16="http://schemas.microsoft.com/office/drawing/2014/main" id="{02E7385B-41D9-A423-69FB-F645E2DF688C}"/>
              </a:ext>
            </a:extLst>
          </p:cNvPr>
          <p:cNvSpPr/>
          <p:nvPr/>
        </p:nvSpPr>
        <p:spPr>
          <a:xfrm>
            <a:off x="6938500" y="1979797"/>
            <a:ext cx="1830115" cy="1833300"/>
          </a:xfrm>
          <a:prstGeom prst="rect">
            <a:avLst/>
          </a:prstGeom>
          <a:noFill/>
          <a:ln w="28575">
            <a:solidFill>
              <a:srgbClr val="05B050"/>
            </a:solidFill>
          </a:ln>
          <a:effectLst/>
        </p:spPr>
        <p:txBody>
          <a:bodyPr spcFirstLastPara="1" wrap="square" lIns="121900" tIns="121900" rIns="121900" bIns="121900" anchor="ctr" anchorCtr="0">
            <a:noAutofit/>
          </a:bodyPr>
          <a:lstStyle/>
          <a:p>
            <a:pPr algn="ctr">
              <a:lnSpc>
                <a:spcPct val="115000"/>
              </a:lnSpc>
            </a:pPr>
            <a:r>
              <a:rPr lang="en-US" sz="1200">
                <a:latin typeface="Helvetica Neue" panose="02000503000000020004" pitchFamily="2" charset="0"/>
                <a:ea typeface="Helvetica Neue" panose="02000503000000020004" pitchFamily="2" charset="0"/>
                <a:cs typeface="Helvetica Neue" panose="02000503000000020004" pitchFamily="2" charset="0"/>
                <a:sym typeface="Helvetica Neue Light"/>
              </a:rPr>
              <a:t>Linear regressions </a:t>
            </a:r>
            <a:r>
              <a:rPr lang="en-US"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preserve linear relationships </a:t>
            </a:r>
            <a:r>
              <a:rPr lang="en-US" sz="1200">
                <a:latin typeface="Helvetica Neue" panose="02000503000000020004" pitchFamily="2" charset="0"/>
                <a:ea typeface="Helvetica Neue" panose="02000503000000020004" pitchFamily="2" charset="0"/>
                <a:cs typeface="Helvetica Neue" panose="02000503000000020004" pitchFamily="2" charset="0"/>
                <a:sym typeface="Helvetica Neue Light"/>
              </a:rPr>
              <a:t>between independent &amp; dependent variables while </a:t>
            </a:r>
            <a:r>
              <a:rPr lang="en-US"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maintaining simplicity</a:t>
            </a:r>
            <a:endParaRPr lang="en-US"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2" name="Chevron 9">
            <a:extLst>
              <a:ext uri="{FF2B5EF4-FFF2-40B4-BE49-F238E27FC236}">
                <a16:creationId xmlns:a16="http://schemas.microsoft.com/office/drawing/2014/main" id="{E583C573-7F05-7D3F-C0A1-C24364D4EDE3}"/>
              </a:ext>
            </a:extLst>
          </p:cNvPr>
          <p:cNvSpPr/>
          <p:nvPr/>
        </p:nvSpPr>
        <p:spPr>
          <a:xfrm>
            <a:off x="6309344" y="2365355"/>
            <a:ext cx="376968" cy="1182347"/>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Google Shape;331;p28">
            <a:extLst>
              <a:ext uri="{FF2B5EF4-FFF2-40B4-BE49-F238E27FC236}">
                <a16:creationId xmlns:a16="http://schemas.microsoft.com/office/drawing/2014/main" id="{13EFECE8-6092-41DB-21A6-3EB150009032}"/>
              </a:ext>
            </a:extLst>
          </p:cNvPr>
          <p:cNvSpPr/>
          <p:nvPr/>
        </p:nvSpPr>
        <p:spPr>
          <a:xfrm>
            <a:off x="3827776" y="2205171"/>
            <a:ext cx="349500" cy="349500"/>
          </a:xfrm>
          <a:prstGeom prst="ellipse">
            <a:avLst/>
          </a:prstGeom>
          <a:solidFill>
            <a:srgbClr val="05B05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nvGrpSpPr>
          <p:cNvPr id="12" name="Group 11">
            <a:extLst>
              <a:ext uri="{FF2B5EF4-FFF2-40B4-BE49-F238E27FC236}">
                <a16:creationId xmlns:a16="http://schemas.microsoft.com/office/drawing/2014/main" id="{CEC4806F-2E89-52ED-318F-32AA5CA93921}"/>
              </a:ext>
            </a:extLst>
          </p:cNvPr>
          <p:cNvGrpSpPr/>
          <p:nvPr/>
        </p:nvGrpSpPr>
        <p:grpSpPr>
          <a:xfrm>
            <a:off x="3827776" y="1630297"/>
            <a:ext cx="350919" cy="2626538"/>
            <a:chOff x="3827776" y="1630297"/>
            <a:chExt cx="350919" cy="2626538"/>
          </a:xfrm>
        </p:grpSpPr>
        <p:sp>
          <p:nvSpPr>
            <p:cNvPr id="3" name="Google Shape;343;p28">
              <a:extLst>
                <a:ext uri="{FF2B5EF4-FFF2-40B4-BE49-F238E27FC236}">
                  <a16:creationId xmlns:a16="http://schemas.microsoft.com/office/drawing/2014/main" id="{CD7E1914-E684-18AF-5F30-D789EC0E6CB6}"/>
                </a:ext>
              </a:extLst>
            </p:cNvPr>
            <p:cNvSpPr/>
            <p:nvPr/>
          </p:nvSpPr>
          <p:spPr>
            <a:xfrm>
              <a:off x="3827776" y="3342623"/>
              <a:ext cx="349500" cy="349500"/>
            </a:xfrm>
            <a:prstGeom prst="ellipse">
              <a:avLst/>
            </a:prstGeom>
            <a:solidFill>
              <a:srgbClr val="C0000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nvGrpSpPr>
            <p:cNvPr id="48" name="Group 47">
              <a:extLst>
                <a:ext uri="{FF2B5EF4-FFF2-40B4-BE49-F238E27FC236}">
                  <a16:creationId xmlns:a16="http://schemas.microsoft.com/office/drawing/2014/main" id="{74BCA151-04F2-8564-33D5-0B9FE3E04AE2}"/>
                </a:ext>
              </a:extLst>
            </p:cNvPr>
            <p:cNvGrpSpPr/>
            <p:nvPr/>
          </p:nvGrpSpPr>
          <p:grpSpPr>
            <a:xfrm>
              <a:off x="3829195" y="1630297"/>
              <a:ext cx="349500" cy="1484646"/>
              <a:chOff x="3738433" y="1827083"/>
              <a:chExt cx="466000" cy="1979528"/>
            </a:xfrm>
          </p:grpSpPr>
          <p:sp>
            <p:nvSpPr>
              <p:cNvPr id="49" name="Google Shape;331;p28">
                <a:extLst>
                  <a:ext uri="{FF2B5EF4-FFF2-40B4-BE49-F238E27FC236}">
                    <a16:creationId xmlns:a16="http://schemas.microsoft.com/office/drawing/2014/main" id="{1A2E5279-D488-EBDE-DEA8-1E101ED98638}"/>
                  </a:ext>
                </a:extLst>
              </p:cNvPr>
              <p:cNvSpPr/>
              <p:nvPr/>
            </p:nvSpPr>
            <p:spPr>
              <a:xfrm>
                <a:off x="3738433" y="3340611"/>
                <a:ext cx="466000" cy="466000"/>
              </a:xfrm>
              <a:prstGeom prst="ellipse">
                <a:avLst/>
              </a:prstGeom>
              <a:solidFill>
                <a:srgbClr val="FFC00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53" name="Google Shape;342;p28">
                <a:extLst>
                  <a:ext uri="{FF2B5EF4-FFF2-40B4-BE49-F238E27FC236}">
                    <a16:creationId xmlns:a16="http://schemas.microsoft.com/office/drawing/2014/main" id="{246A9429-8676-F463-ECBF-E3E09860FB14}"/>
                  </a:ext>
                </a:extLst>
              </p:cNvPr>
              <p:cNvSpPr/>
              <p:nvPr/>
            </p:nvSpPr>
            <p:spPr>
              <a:xfrm>
                <a:off x="3738433" y="1827083"/>
                <a:ext cx="466000" cy="466000"/>
              </a:xfrm>
              <a:prstGeom prst="ellipse">
                <a:avLst/>
              </a:prstGeom>
              <a:solidFill>
                <a:srgbClr val="05B05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sp>
          <p:nvSpPr>
            <p:cNvPr id="6" name="Google Shape;343;p28">
              <a:extLst>
                <a:ext uri="{FF2B5EF4-FFF2-40B4-BE49-F238E27FC236}">
                  <a16:creationId xmlns:a16="http://schemas.microsoft.com/office/drawing/2014/main" id="{E1B61018-00F4-CA0D-217D-BF55C2FB4672}"/>
                </a:ext>
              </a:extLst>
            </p:cNvPr>
            <p:cNvSpPr/>
            <p:nvPr/>
          </p:nvSpPr>
          <p:spPr>
            <a:xfrm>
              <a:off x="3827776" y="3907335"/>
              <a:ext cx="349500" cy="349500"/>
            </a:xfrm>
            <a:prstGeom prst="ellipse">
              <a:avLst/>
            </a:prstGeom>
            <a:solidFill>
              <a:srgbClr val="FFC00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grpSp>
        <p:nvGrpSpPr>
          <p:cNvPr id="13" name="Group 12">
            <a:extLst>
              <a:ext uri="{FF2B5EF4-FFF2-40B4-BE49-F238E27FC236}">
                <a16:creationId xmlns:a16="http://schemas.microsoft.com/office/drawing/2014/main" id="{85B2189F-2D6E-C767-2987-61E7F87C754D}"/>
              </a:ext>
            </a:extLst>
          </p:cNvPr>
          <p:cNvGrpSpPr/>
          <p:nvPr/>
        </p:nvGrpSpPr>
        <p:grpSpPr>
          <a:xfrm>
            <a:off x="5250792" y="1638764"/>
            <a:ext cx="354914" cy="2618071"/>
            <a:chOff x="5250792" y="1638764"/>
            <a:chExt cx="354914" cy="2618071"/>
          </a:xfrm>
        </p:grpSpPr>
        <p:sp>
          <p:nvSpPr>
            <p:cNvPr id="44" name="Google Shape;345;p28">
              <a:extLst>
                <a:ext uri="{FF2B5EF4-FFF2-40B4-BE49-F238E27FC236}">
                  <a16:creationId xmlns:a16="http://schemas.microsoft.com/office/drawing/2014/main" id="{E7A864EA-DBCA-CEFD-C1B4-325E06BFFCC8}"/>
                </a:ext>
              </a:extLst>
            </p:cNvPr>
            <p:cNvSpPr/>
            <p:nvPr/>
          </p:nvSpPr>
          <p:spPr>
            <a:xfrm>
              <a:off x="5256206" y="1638764"/>
              <a:ext cx="349500" cy="349500"/>
            </a:xfrm>
            <a:prstGeom prst="ellipse">
              <a:avLst/>
            </a:prstGeom>
            <a:solidFill>
              <a:srgbClr val="C0000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 name="Google Shape;345;p28">
              <a:extLst>
                <a:ext uri="{FF2B5EF4-FFF2-40B4-BE49-F238E27FC236}">
                  <a16:creationId xmlns:a16="http://schemas.microsoft.com/office/drawing/2014/main" id="{AE7CF1C1-8171-CEB5-12E9-14F381FE542E}"/>
                </a:ext>
              </a:extLst>
            </p:cNvPr>
            <p:cNvSpPr/>
            <p:nvPr/>
          </p:nvSpPr>
          <p:spPr>
            <a:xfrm>
              <a:off x="5256206" y="2211085"/>
              <a:ext cx="349500" cy="349500"/>
            </a:xfrm>
            <a:prstGeom prst="ellipse">
              <a:avLst/>
            </a:prstGeom>
            <a:solidFill>
              <a:srgbClr val="C0000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 name="Google Shape;335;p28">
              <a:extLst>
                <a:ext uri="{FF2B5EF4-FFF2-40B4-BE49-F238E27FC236}">
                  <a16:creationId xmlns:a16="http://schemas.microsoft.com/office/drawing/2014/main" id="{7E3F0DD2-44AC-9A28-431C-10575B3A2453}"/>
                </a:ext>
              </a:extLst>
            </p:cNvPr>
            <p:cNvSpPr/>
            <p:nvPr/>
          </p:nvSpPr>
          <p:spPr>
            <a:xfrm>
              <a:off x="5254214" y="2765443"/>
              <a:ext cx="349500" cy="349500"/>
            </a:xfrm>
            <a:prstGeom prst="ellipse">
              <a:avLst/>
            </a:prstGeom>
            <a:solidFill>
              <a:srgbClr val="FFC00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10" name="Google Shape;331;p28">
              <a:extLst>
                <a:ext uri="{FF2B5EF4-FFF2-40B4-BE49-F238E27FC236}">
                  <a16:creationId xmlns:a16="http://schemas.microsoft.com/office/drawing/2014/main" id="{C6941C30-8B6D-9F85-5E71-184043A3AC40}"/>
                </a:ext>
              </a:extLst>
            </p:cNvPr>
            <p:cNvSpPr/>
            <p:nvPr/>
          </p:nvSpPr>
          <p:spPr>
            <a:xfrm>
              <a:off x="5250792" y="3907335"/>
              <a:ext cx="349500" cy="349500"/>
            </a:xfrm>
            <a:prstGeom prst="ellipse">
              <a:avLst/>
            </a:prstGeom>
            <a:solidFill>
              <a:srgbClr val="05B05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11" name="Google Shape;331;p28">
              <a:extLst>
                <a:ext uri="{FF2B5EF4-FFF2-40B4-BE49-F238E27FC236}">
                  <a16:creationId xmlns:a16="http://schemas.microsoft.com/office/drawing/2014/main" id="{2F7C372F-6E17-68AD-5F4A-2ABB9CD6940A}"/>
                </a:ext>
              </a:extLst>
            </p:cNvPr>
            <p:cNvSpPr/>
            <p:nvPr/>
          </p:nvSpPr>
          <p:spPr>
            <a:xfrm>
              <a:off x="5250792" y="3342623"/>
              <a:ext cx="349500" cy="349500"/>
            </a:xfrm>
            <a:prstGeom prst="ellipse">
              <a:avLst/>
            </a:prstGeom>
            <a:solidFill>
              <a:srgbClr val="05B050"/>
            </a:solidFill>
            <a:ln>
              <a:noFill/>
            </a:ln>
          </p:spPr>
          <p:txBody>
            <a:bodyPr spcFirstLastPara="1" wrap="square" lIns="91425" tIns="91425" rIns="91425" bIns="91425" anchor="ctr" anchorCtr="0">
              <a:noAutofit/>
            </a:bodyPr>
            <a:lstStyle/>
            <a:p>
              <a:pPr algn="ctr"/>
              <a:endParaRPr lang="en-CA" sz="11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spTree>
    <p:extLst>
      <p:ext uri="{BB962C8B-B14F-4D97-AF65-F5344CB8AC3E}">
        <p14:creationId xmlns:p14="http://schemas.microsoft.com/office/powerpoint/2010/main" val="3423772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1B9C26A0-EAD3-4DEB-B1AC-8E3C79DC71C7}"/>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192ED90F-6896-95E5-2D8B-2095D9DCD664}"/>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Regression Implementation: Predictive Analytics</a:t>
            </a:r>
          </a:p>
        </p:txBody>
      </p:sp>
      <p:sp>
        <p:nvSpPr>
          <p:cNvPr id="9" name="Google Shape;98;p15">
            <a:extLst>
              <a:ext uri="{FF2B5EF4-FFF2-40B4-BE49-F238E27FC236}">
                <a16:creationId xmlns:a16="http://schemas.microsoft.com/office/drawing/2014/main" id="{00F7A6D9-3B20-9698-435A-F5DED0031770}"/>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Model training and evaluation</a:t>
            </a:r>
          </a:p>
        </p:txBody>
      </p:sp>
      <p:sp>
        <p:nvSpPr>
          <p:cNvPr id="16" name="Google Shape;99;p15">
            <a:extLst>
              <a:ext uri="{FF2B5EF4-FFF2-40B4-BE49-F238E27FC236}">
                <a16:creationId xmlns:a16="http://schemas.microsoft.com/office/drawing/2014/main" id="{2F22ECEF-8D74-0277-4DEF-F97CA8117418}"/>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grpSp>
        <p:nvGrpSpPr>
          <p:cNvPr id="22" name="Group 21">
            <a:extLst>
              <a:ext uri="{FF2B5EF4-FFF2-40B4-BE49-F238E27FC236}">
                <a16:creationId xmlns:a16="http://schemas.microsoft.com/office/drawing/2014/main" id="{CACBB390-11A2-EB42-1601-7B84A3EA7E93}"/>
              </a:ext>
            </a:extLst>
          </p:cNvPr>
          <p:cNvGrpSpPr/>
          <p:nvPr/>
        </p:nvGrpSpPr>
        <p:grpSpPr>
          <a:xfrm>
            <a:off x="422250" y="1034521"/>
            <a:ext cx="2979628" cy="4008710"/>
            <a:chOff x="422250" y="832388"/>
            <a:chExt cx="3822862" cy="5143174"/>
          </a:xfrm>
        </p:grpSpPr>
        <p:pic>
          <p:nvPicPr>
            <p:cNvPr id="19" name="Picture 18">
              <a:extLst>
                <a:ext uri="{FF2B5EF4-FFF2-40B4-BE49-F238E27FC236}">
                  <a16:creationId xmlns:a16="http://schemas.microsoft.com/office/drawing/2014/main" id="{640C088B-3C7E-2DEA-D145-AB902EBDE9FF}"/>
                </a:ext>
              </a:extLst>
            </p:cNvPr>
            <p:cNvPicPr>
              <a:picLocks noChangeAspect="1"/>
            </p:cNvPicPr>
            <p:nvPr/>
          </p:nvPicPr>
          <p:blipFill>
            <a:blip r:embed="rId3"/>
            <a:stretch>
              <a:fillRect/>
            </a:stretch>
          </p:blipFill>
          <p:spPr>
            <a:xfrm>
              <a:off x="422250" y="832388"/>
              <a:ext cx="3822862" cy="3822862"/>
            </a:xfrm>
            <a:prstGeom prst="rect">
              <a:avLst/>
            </a:prstGeom>
          </p:spPr>
        </p:pic>
        <p:pic>
          <p:nvPicPr>
            <p:cNvPr id="21" name="Picture 20">
              <a:extLst>
                <a:ext uri="{FF2B5EF4-FFF2-40B4-BE49-F238E27FC236}">
                  <a16:creationId xmlns:a16="http://schemas.microsoft.com/office/drawing/2014/main" id="{2A86AD81-ACAE-793E-0D74-F1BE6CF5059E}"/>
                </a:ext>
              </a:extLst>
            </p:cNvPr>
            <p:cNvPicPr>
              <a:picLocks noChangeAspect="1"/>
            </p:cNvPicPr>
            <p:nvPr/>
          </p:nvPicPr>
          <p:blipFill>
            <a:blip r:embed="rId4"/>
            <a:stretch>
              <a:fillRect/>
            </a:stretch>
          </p:blipFill>
          <p:spPr>
            <a:xfrm>
              <a:off x="422250" y="4655250"/>
              <a:ext cx="3822862" cy="1320312"/>
            </a:xfrm>
            <a:prstGeom prst="rect">
              <a:avLst/>
            </a:prstGeom>
          </p:spPr>
        </p:pic>
      </p:grpSp>
      <p:pic>
        <p:nvPicPr>
          <p:cNvPr id="24" name="Picture 23">
            <a:extLst>
              <a:ext uri="{FF2B5EF4-FFF2-40B4-BE49-F238E27FC236}">
                <a16:creationId xmlns:a16="http://schemas.microsoft.com/office/drawing/2014/main" id="{20B2D52D-81AF-D78F-44FA-1B7DC24A71F6}"/>
              </a:ext>
            </a:extLst>
          </p:cNvPr>
          <p:cNvPicPr>
            <a:picLocks noChangeAspect="1"/>
          </p:cNvPicPr>
          <p:nvPr/>
        </p:nvPicPr>
        <p:blipFill>
          <a:blip r:embed="rId5"/>
          <a:stretch>
            <a:fillRect/>
          </a:stretch>
        </p:blipFill>
        <p:spPr>
          <a:xfrm>
            <a:off x="4519987" y="1034521"/>
            <a:ext cx="3304596" cy="1879433"/>
          </a:xfrm>
          <a:prstGeom prst="rect">
            <a:avLst/>
          </a:prstGeom>
        </p:spPr>
      </p:pic>
      <p:pic>
        <p:nvPicPr>
          <p:cNvPr id="26" name="Picture 25">
            <a:extLst>
              <a:ext uri="{FF2B5EF4-FFF2-40B4-BE49-F238E27FC236}">
                <a16:creationId xmlns:a16="http://schemas.microsoft.com/office/drawing/2014/main" id="{C462BA82-E77E-51B1-7E89-74BA6304F157}"/>
              </a:ext>
            </a:extLst>
          </p:cNvPr>
          <p:cNvPicPr>
            <a:picLocks noChangeAspect="1"/>
          </p:cNvPicPr>
          <p:nvPr/>
        </p:nvPicPr>
        <p:blipFill>
          <a:blip r:embed="rId6"/>
          <a:stretch>
            <a:fillRect/>
          </a:stretch>
        </p:blipFill>
        <p:spPr>
          <a:xfrm>
            <a:off x="3747937" y="3218754"/>
            <a:ext cx="4848696" cy="1824477"/>
          </a:xfrm>
          <a:prstGeom prst="rect">
            <a:avLst/>
          </a:prstGeom>
        </p:spPr>
      </p:pic>
      <p:sp>
        <p:nvSpPr>
          <p:cNvPr id="27" name="Google Shape;98;p15">
            <a:extLst>
              <a:ext uri="{FF2B5EF4-FFF2-40B4-BE49-F238E27FC236}">
                <a16:creationId xmlns:a16="http://schemas.microsoft.com/office/drawing/2014/main" id="{402B8AD5-169A-C7A9-3E1C-C3C20F1744E4}"/>
              </a:ext>
            </a:extLst>
          </p:cNvPr>
          <p:cNvSpPr txBox="1"/>
          <p:nvPr/>
        </p:nvSpPr>
        <p:spPr>
          <a:xfrm>
            <a:off x="454494" y="795710"/>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Regression</a:t>
            </a:r>
          </a:p>
        </p:txBody>
      </p:sp>
      <p:sp>
        <p:nvSpPr>
          <p:cNvPr id="28" name="Google Shape;98;p15">
            <a:extLst>
              <a:ext uri="{FF2B5EF4-FFF2-40B4-BE49-F238E27FC236}">
                <a16:creationId xmlns:a16="http://schemas.microsoft.com/office/drawing/2014/main" id="{934D1BA2-FC85-6374-2CBD-3067B08B8C38}"/>
              </a:ext>
            </a:extLst>
          </p:cNvPr>
          <p:cNvSpPr txBox="1"/>
          <p:nvPr/>
        </p:nvSpPr>
        <p:spPr>
          <a:xfrm>
            <a:off x="4714715" y="795710"/>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Predictions</a:t>
            </a:r>
          </a:p>
        </p:txBody>
      </p:sp>
      <p:sp>
        <p:nvSpPr>
          <p:cNvPr id="29" name="Google Shape;98;p15">
            <a:extLst>
              <a:ext uri="{FF2B5EF4-FFF2-40B4-BE49-F238E27FC236}">
                <a16:creationId xmlns:a16="http://schemas.microsoft.com/office/drawing/2014/main" id="{5492E966-BD28-98C5-8413-3EF1D7B03134}"/>
              </a:ext>
            </a:extLst>
          </p:cNvPr>
          <p:cNvSpPr txBox="1"/>
          <p:nvPr/>
        </p:nvSpPr>
        <p:spPr>
          <a:xfrm>
            <a:off x="4714715" y="2975775"/>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Transformation &amp; Regression</a:t>
            </a:r>
          </a:p>
        </p:txBody>
      </p:sp>
    </p:spTree>
    <p:extLst>
      <p:ext uri="{BB962C8B-B14F-4D97-AF65-F5344CB8AC3E}">
        <p14:creationId xmlns:p14="http://schemas.microsoft.com/office/powerpoint/2010/main" val="12732965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F52C3FC0-E7B1-BBEF-87EF-BF70777C4B50}"/>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7A3EF24B-25CA-5E6C-D38A-B858E0A73B9A}"/>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Regression Results</a:t>
            </a:r>
          </a:p>
        </p:txBody>
      </p:sp>
      <p:sp>
        <p:nvSpPr>
          <p:cNvPr id="9" name="Google Shape;98;p15">
            <a:extLst>
              <a:ext uri="{FF2B5EF4-FFF2-40B4-BE49-F238E27FC236}">
                <a16:creationId xmlns:a16="http://schemas.microsoft.com/office/drawing/2014/main" id="{1949ACAE-1888-0C75-DD3E-EF5F6855EE10}"/>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Comparison</a:t>
            </a:r>
          </a:p>
        </p:txBody>
      </p:sp>
      <p:sp>
        <p:nvSpPr>
          <p:cNvPr id="16" name="Google Shape;99;p15">
            <a:extLst>
              <a:ext uri="{FF2B5EF4-FFF2-40B4-BE49-F238E27FC236}">
                <a16:creationId xmlns:a16="http://schemas.microsoft.com/office/drawing/2014/main" id="{7594B6BA-B4CA-0999-E2AE-5EE2C38E7856}"/>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34" name="Picture 33">
            <a:extLst>
              <a:ext uri="{FF2B5EF4-FFF2-40B4-BE49-F238E27FC236}">
                <a16:creationId xmlns:a16="http://schemas.microsoft.com/office/drawing/2014/main" id="{F1E4D2B1-5657-51D6-DD2A-B1CB2984E80D}"/>
              </a:ext>
            </a:extLst>
          </p:cNvPr>
          <p:cNvPicPr>
            <a:picLocks noChangeAspect="1"/>
          </p:cNvPicPr>
          <p:nvPr/>
        </p:nvPicPr>
        <p:blipFill>
          <a:blip r:embed="rId3"/>
          <a:stretch>
            <a:fillRect/>
          </a:stretch>
        </p:blipFill>
        <p:spPr>
          <a:xfrm>
            <a:off x="1038005" y="910037"/>
            <a:ext cx="2845059" cy="1936272"/>
          </a:xfrm>
          <a:prstGeom prst="rect">
            <a:avLst/>
          </a:prstGeom>
        </p:spPr>
      </p:pic>
      <p:sp>
        <p:nvSpPr>
          <p:cNvPr id="35" name="Google Shape;98;p15">
            <a:extLst>
              <a:ext uri="{FF2B5EF4-FFF2-40B4-BE49-F238E27FC236}">
                <a16:creationId xmlns:a16="http://schemas.microsoft.com/office/drawing/2014/main" id="{EAA13BEF-2BFF-6514-BD80-DE11976705D6}"/>
              </a:ext>
            </a:extLst>
          </p:cNvPr>
          <p:cNvSpPr txBox="1"/>
          <p:nvPr/>
        </p:nvSpPr>
        <p:spPr>
          <a:xfrm>
            <a:off x="1002964" y="671725"/>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Model 1: GDP</a:t>
            </a:r>
          </a:p>
        </p:txBody>
      </p:sp>
      <p:pic>
        <p:nvPicPr>
          <p:cNvPr id="37" name="Picture 36">
            <a:extLst>
              <a:ext uri="{FF2B5EF4-FFF2-40B4-BE49-F238E27FC236}">
                <a16:creationId xmlns:a16="http://schemas.microsoft.com/office/drawing/2014/main" id="{A66BB00C-7229-B117-0163-D2E8E58B31FE}"/>
              </a:ext>
            </a:extLst>
          </p:cNvPr>
          <p:cNvPicPr>
            <a:picLocks/>
          </p:cNvPicPr>
          <p:nvPr/>
        </p:nvPicPr>
        <p:blipFill>
          <a:blip r:embed="rId4"/>
          <a:stretch>
            <a:fillRect/>
          </a:stretch>
        </p:blipFill>
        <p:spPr>
          <a:xfrm>
            <a:off x="5243416" y="910037"/>
            <a:ext cx="2952000" cy="1936800"/>
          </a:xfrm>
          <a:prstGeom prst="rect">
            <a:avLst/>
          </a:prstGeom>
        </p:spPr>
      </p:pic>
      <p:sp>
        <p:nvSpPr>
          <p:cNvPr id="38" name="Google Shape;98;p15">
            <a:extLst>
              <a:ext uri="{FF2B5EF4-FFF2-40B4-BE49-F238E27FC236}">
                <a16:creationId xmlns:a16="http://schemas.microsoft.com/office/drawing/2014/main" id="{22CBAF33-07DD-8774-E961-A1C74E8BBB5D}"/>
              </a:ext>
            </a:extLst>
          </p:cNvPr>
          <p:cNvSpPr txBox="1"/>
          <p:nvPr/>
        </p:nvSpPr>
        <p:spPr>
          <a:xfrm>
            <a:off x="5261846" y="671725"/>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Model 2: GDP + Age</a:t>
            </a:r>
          </a:p>
        </p:txBody>
      </p:sp>
      <p:sp>
        <p:nvSpPr>
          <p:cNvPr id="39" name="Google Shape;98;p15">
            <a:extLst>
              <a:ext uri="{FF2B5EF4-FFF2-40B4-BE49-F238E27FC236}">
                <a16:creationId xmlns:a16="http://schemas.microsoft.com/office/drawing/2014/main" id="{D661123D-28D3-45CA-2FA7-7DF97A848071}"/>
              </a:ext>
            </a:extLst>
          </p:cNvPr>
          <p:cNvSpPr txBox="1"/>
          <p:nvPr/>
        </p:nvSpPr>
        <p:spPr>
          <a:xfrm>
            <a:off x="1002964" y="2907721"/>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Model 3: GDP + Age + Gender</a:t>
            </a:r>
          </a:p>
        </p:txBody>
      </p:sp>
      <p:sp>
        <p:nvSpPr>
          <p:cNvPr id="40" name="Google Shape;98;p15">
            <a:extLst>
              <a:ext uri="{FF2B5EF4-FFF2-40B4-BE49-F238E27FC236}">
                <a16:creationId xmlns:a16="http://schemas.microsoft.com/office/drawing/2014/main" id="{D9EFA08C-BD82-F12C-DE1F-392B1414A809}"/>
              </a:ext>
            </a:extLst>
          </p:cNvPr>
          <p:cNvSpPr txBox="1"/>
          <p:nvPr/>
        </p:nvSpPr>
        <p:spPr>
          <a:xfrm>
            <a:off x="5261846" y="2907721"/>
            <a:ext cx="2915140" cy="282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0"/>
              </a:spcAft>
              <a:buNone/>
            </a:pPr>
            <a:r>
              <a:rPr lang="en-GB" sz="1200" b="1">
                <a:solidFill>
                  <a:srgbClr val="05B050"/>
                </a:solidFill>
                <a:latin typeface="Helvetica Neue" panose="02000503000000020004" pitchFamily="2" charset="0"/>
                <a:ea typeface="Helvetica Neue" panose="02000503000000020004" pitchFamily="2" charset="0"/>
                <a:cs typeface="Helvetica Neue" panose="02000503000000020004" pitchFamily="2" charset="0"/>
                <a:sym typeface="Helvetica Neue Light"/>
              </a:rPr>
              <a:t>Model 4: GDP + Competitors</a:t>
            </a:r>
          </a:p>
        </p:txBody>
      </p:sp>
      <p:pic>
        <p:nvPicPr>
          <p:cNvPr id="42" name="Picture 41">
            <a:extLst>
              <a:ext uri="{FF2B5EF4-FFF2-40B4-BE49-F238E27FC236}">
                <a16:creationId xmlns:a16="http://schemas.microsoft.com/office/drawing/2014/main" id="{E686DA84-E88F-B373-1204-EFF996471893}"/>
              </a:ext>
            </a:extLst>
          </p:cNvPr>
          <p:cNvPicPr>
            <a:picLocks/>
          </p:cNvPicPr>
          <p:nvPr/>
        </p:nvPicPr>
        <p:blipFill>
          <a:blip r:embed="rId5"/>
          <a:stretch>
            <a:fillRect/>
          </a:stretch>
        </p:blipFill>
        <p:spPr>
          <a:xfrm>
            <a:off x="1038004" y="3150973"/>
            <a:ext cx="2844000" cy="1936800"/>
          </a:xfrm>
          <a:prstGeom prst="rect">
            <a:avLst/>
          </a:prstGeom>
        </p:spPr>
      </p:pic>
      <p:pic>
        <p:nvPicPr>
          <p:cNvPr id="44" name="Picture 43">
            <a:extLst>
              <a:ext uri="{FF2B5EF4-FFF2-40B4-BE49-F238E27FC236}">
                <a16:creationId xmlns:a16="http://schemas.microsoft.com/office/drawing/2014/main" id="{929D49E7-5940-7E96-C49A-01EAEB98E78B}"/>
              </a:ext>
            </a:extLst>
          </p:cNvPr>
          <p:cNvPicPr>
            <a:picLocks/>
          </p:cNvPicPr>
          <p:nvPr/>
        </p:nvPicPr>
        <p:blipFill>
          <a:blip r:embed="rId6"/>
          <a:stretch>
            <a:fillRect/>
          </a:stretch>
        </p:blipFill>
        <p:spPr>
          <a:xfrm>
            <a:off x="5243416" y="3142091"/>
            <a:ext cx="2952000" cy="1936800"/>
          </a:xfrm>
          <a:prstGeom prst="rect">
            <a:avLst/>
          </a:prstGeom>
        </p:spPr>
      </p:pic>
    </p:spTree>
    <p:extLst>
      <p:ext uri="{BB962C8B-B14F-4D97-AF65-F5344CB8AC3E}">
        <p14:creationId xmlns:p14="http://schemas.microsoft.com/office/powerpoint/2010/main" val="2812855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4">
          <a:extLst>
            <a:ext uri="{FF2B5EF4-FFF2-40B4-BE49-F238E27FC236}">
              <a16:creationId xmlns:a16="http://schemas.microsoft.com/office/drawing/2014/main" id="{F0D9F47C-79A0-0A4E-6844-1A69C25168B2}"/>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AAD0BF89-BEF6-9D91-8DE9-87609E9E9B21}"/>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800" b="1" dirty="0">
                <a:latin typeface="Helvetica Neue"/>
                <a:ea typeface="Helvetica Neue"/>
                <a:cs typeface="Helvetica Neue"/>
                <a:sym typeface="Helvetica Neue"/>
              </a:rPr>
              <a:t>Food Insecurity at Western</a:t>
            </a:r>
            <a:endParaRPr sz="1800" b="1" dirty="0">
              <a:latin typeface="Helvetica Neue"/>
              <a:ea typeface="Helvetica Neue"/>
              <a:cs typeface="Helvetica Neue"/>
              <a:sym typeface="Helvetica Neue"/>
            </a:endParaRPr>
          </a:p>
        </p:txBody>
      </p:sp>
      <p:sp>
        <p:nvSpPr>
          <p:cNvPr id="9" name="Google Shape;98;p15">
            <a:extLst>
              <a:ext uri="{FF2B5EF4-FFF2-40B4-BE49-F238E27FC236}">
                <a16:creationId xmlns:a16="http://schemas.microsoft.com/office/drawing/2014/main" id="{5F433FD3-A0C8-78CB-5CD1-6B2A1F912B7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Key statistics</a:t>
            </a:r>
            <a:endParaRPr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94875446-B3B9-B917-6D3C-39B30FB8B6E4}"/>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62;p14">
            <a:extLst>
              <a:ext uri="{FF2B5EF4-FFF2-40B4-BE49-F238E27FC236}">
                <a16:creationId xmlns:a16="http://schemas.microsoft.com/office/drawing/2014/main" id="{F84416C3-59FC-3F52-F057-9DEFF1CE4439}"/>
              </a:ext>
            </a:extLst>
          </p:cNvPr>
          <p:cNvSpPr txBox="1"/>
          <p:nvPr/>
        </p:nvSpPr>
        <p:spPr>
          <a:xfrm>
            <a:off x="949375" y="1204913"/>
            <a:ext cx="3016500" cy="1077300"/>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1200"/>
              </a:spcBef>
              <a:spcAft>
                <a:spcPts val="1200"/>
              </a:spcAft>
              <a:buNone/>
            </a:pPr>
            <a:r>
              <a:rPr lang="en" sz="5800" b="1">
                <a:solidFill>
                  <a:srgbClr val="502682"/>
                </a:solidFill>
                <a:latin typeface="Libre Franklin"/>
                <a:ea typeface="Libre Franklin"/>
                <a:cs typeface="Libre Franklin"/>
                <a:sym typeface="Libre Franklin"/>
              </a:rPr>
              <a:t>600%</a:t>
            </a:r>
            <a:endParaRPr sz="2200" b="1">
              <a:solidFill>
                <a:srgbClr val="502682"/>
              </a:solidFill>
              <a:latin typeface="Libre Franklin"/>
              <a:ea typeface="Libre Franklin"/>
              <a:cs typeface="Libre Franklin"/>
              <a:sym typeface="Libre Franklin"/>
            </a:endParaRPr>
          </a:p>
        </p:txBody>
      </p:sp>
      <p:sp>
        <p:nvSpPr>
          <p:cNvPr id="8" name="Google Shape;63;p14">
            <a:extLst>
              <a:ext uri="{FF2B5EF4-FFF2-40B4-BE49-F238E27FC236}">
                <a16:creationId xmlns:a16="http://schemas.microsoft.com/office/drawing/2014/main" id="{D391B1DA-0D54-6D8D-AD15-13A487EFD34A}"/>
              </a:ext>
            </a:extLst>
          </p:cNvPr>
          <p:cNvSpPr txBox="1"/>
          <p:nvPr/>
        </p:nvSpPr>
        <p:spPr>
          <a:xfrm>
            <a:off x="1188175" y="2056988"/>
            <a:ext cx="2538900" cy="954300"/>
          </a:xfrm>
          <a:prstGeom prst="rect">
            <a:avLst/>
          </a:prstGeom>
          <a:noFill/>
          <a:ln>
            <a:noFill/>
          </a:ln>
        </p:spPr>
        <p:txBody>
          <a:bodyPr spcFirstLastPara="1" wrap="square" lIns="91425" tIns="91425" rIns="91425" bIns="91425" anchor="t" anchorCtr="0">
            <a:spAutoFit/>
          </a:bodyPr>
          <a:lstStyle/>
          <a:p>
            <a:pPr marL="0" lvl="0" indent="0" algn="ctr" rtl="0">
              <a:lnSpc>
                <a:spcPct val="100000"/>
              </a:lnSpc>
              <a:spcBef>
                <a:spcPts val="1200"/>
              </a:spcBef>
              <a:spcAft>
                <a:spcPts val="0"/>
              </a:spcAft>
              <a:buNone/>
            </a:pPr>
            <a:r>
              <a:rPr lang="en" sz="1600" b="1">
                <a:solidFill>
                  <a:srgbClr val="502682"/>
                </a:solidFill>
                <a:latin typeface="Libre Franklin"/>
                <a:ea typeface="Libre Franklin"/>
                <a:cs typeface="Libre Franklin"/>
                <a:sym typeface="Libre Franklin"/>
              </a:rPr>
              <a:t>YoY usage increase of the USC Food Bank</a:t>
            </a:r>
            <a:endParaRPr sz="1600" b="1">
              <a:solidFill>
                <a:srgbClr val="502682"/>
              </a:solidFill>
              <a:latin typeface="Libre Franklin"/>
              <a:ea typeface="Libre Franklin"/>
              <a:cs typeface="Libre Franklin"/>
              <a:sym typeface="Libre Franklin"/>
            </a:endParaRPr>
          </a:p>
          <a:p>
            <a:pPr marL="0" lvl="0" indent="0" algn="ctr" rtl="0">
              <a:lnSpc>
                <a:spcPct val="100000"/>
              </a:lnSpc>
              <a:spcBef>
                <a:spcPts val="1200"/>
              </a:spcBef>
              <a:spcAft>
                <a:spcPts val="1200"/>
              </a:spcAft>
              <a:buNone/>
            </a:pPr>
            <a:r>
              <a:rPr lang="en" sz="800" b="1">
                <a:solidFill>
                  <a:srgbClr val="502682"/>
                </a:solidFill>
                <a:latin typeface="Libre Franklin"/>
                <a:ea typeface="Libre Franklin"/>
                <a:cs typeface="Libre Franklin"/>
                <a:sym typeface="Libre Franklin"/>
              </a:rPr>
              <a:t>From 2022-23 to 2023-24 school years</a:t>
            </a:r>
            <a:endParaRPr sz="800" b="1">
              <a:solidFill>
                <a:srgbClr val="502682"/>
              </a:solidFill>
              <a:latin typeface="Libre Franklin"/>
              <a:ea typeface="Libre Franklin"/>
              <a:cs typeface="Libre Franklin"/>
              <a:sym typeface="Libre Franklin"/>
            </a:endParaRPr>
          </a:p>
        </p:txBody>
      </p:sp>
      <p:sp>
        <p:nvSpPr>
          <p:cNvPr id="10" name="Google Shape;64;p14">
            <a:extLst>
              <a:ext uri="{FF2B5EF4-FFF2-40B4-BE49-F238E27FC236}">
                <a16:creationId xmlns:a16="http://schemas.microsoft.com/office/drawing/2014/main" id="{4D051E6C-071E-E894-5913-5B96F7245905}"/>
              </a:ext>
            </a:extLst>
          </p:cNvPr>
          <p:cNvSpPr txBox="1"/>
          <p:nvPr/>
        </p:nvSpPr>
        <p:spPr>
          <a:xfrm>
            <a:off x="973625" y="3392254"/>
            <a:ext cx="7221000" cy="772200"/>
          </a:xfrm>
          <a:prstGeom prst="rect">
            <a:avLst/>
          </a:prstGeom>
          <a:noFill/>
          <a:ln w="9525" cap="flat" cmpd="sng">
            <a:solidFill>
              <a:srgbClr val="595959"/>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 sz="1800" b="1" dirty="0">
                <a:solidFill>
                  <a:srgbClr val="502682"/>
                </a:solidFill>
              </a:rPr>
              <a:t>Can we sustain our population growth with</a:t>
            </a:r>
            <a:endParaRPr sz="1800" b="1" dirty="0">
              <a:solidFill>
                <a:srgbClr val="502682"/>
              </a:solidFill>
            </a:endParaRPr>
          </a:p>
          <a:p>
            <a:pPr marL="0" lvl="0" indent="0" algn="ctr" rtl="0">
              <a:spcBef>
                <a:spcPts val="0"/>
              </a:spcBef>
              <a:spcAft>
                <a:spcPts val="0"/>
              </a:spcAft>
              <a:buNone/>
            </a:pPr>
            <a:r>
              <a:rPr lang="en" sz="1800" b="1" dirty="0">
                <a:solidFill>
                  <a:srgbClr val="502682"/>
                </a:solidFill>
              </a:rPr>
              <a:t>increasing food insecurity at Western?</a:t>
            </a:r>
            <a:endParaRPr sz="1800" b="1" dirty="0">
              <a:solidFill>
                <a:srgbClr val="502682"/>
              </a:solidFill>
            </a:endParaRPr>
          </a:p>
        </p:txBody>
      </p:sp>
      <p:sp>
        <p:nvSpPr>
          <p:cNvPr id="11" name="Google Shape;65;p14">
            <a:extLst>
              <a:ext uri="{FF2B5EF4-FFF2-40B4-BE49-F238E27FC236}">
                <a16:creationId xmlns:a16="http://schemas.microsoft.com/office/drawing/2014/main" id="{64EFA584-C5A8-9740-396A-AC0ABE3DC1C6}"/>
              </a:ext>
            </a:extLst>
          </p:cNvPr>
          <p:cNvSpPr txBox="1"/>
          <p:nvPr/>
        </p:nvSpPr>
        <p:spPr>
          <a:xfrm>
            <a:off x="4643975" y="1188150"/>
            <a:ext cx="3016500" cy="1077300"/>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1200"/>
              </a:spcBef>
              <a:spcAft>
                <a:spcPts val="1200"/>
              </a:spcAft>
              <a:buNone/>
            </a:pPr>
            <a:r>
              <a:rPr lang="en" sz="5800" b="1">
                <a:solidFill>
                  <a:srgbClr val="502682"/>
                </a:solidFill>
                <a:latin typeface="Libre Franklin"/>
                <a:ea typeface="Libre Franklin"/>
                <a:cs typeface="Libre Franklin"/>
                <a:sym typeface="Libre Franklin"/>
              </a:rPr>
              <a:t>40%</a:t>
            </a:r>
            <a:endParaRPr sz="5800" b="1">
              <a:solidFill>
                <a:srgbClr val="502682"/>
              </a:solidFill>
              <a:latin typeface="Libre Franklin"/>
              <a:ea typeface="Libre Franklin"/>
              <a:cs typeface="Libre Franklin"/>
              <a:sym typeface="Libre Franklin"/>
            </a:endParaRPr>
          </a:p>
        </p:txBody>
      </p:sp>
      <p:sp>
        <p:nvSpPr>
          <p:cNvPr id="12" name="Google Shape;66;p14">
            <a:extLst>
              <a:ext uri="{FF2B5EF4-FFF2-40B4-BE49-F238E27FC236}">
                <a16:creationId xmlns:a16="http://schemas.microsoft.com/office/drawing/2014/main" id="{086474E3-1281-1BAD-7013-E823B30E624E}"/>
              </a:ext>
            </a:extLst>
          </p:cNvPr>
          <p:cNvSpPr txBox="1"/>
          <p:nvPr/>
        </p:nvSpPr>
        <p:spPr>
          <a:xfrm>
            <a:off x="4495325" y="2036838"/>
            <a:ext cx="3313800" cy="677100"/>
          </a:xfrm>
          <a:prstGeom prst="rect">
            <a:avLst/>
          </a:prstGeom>
          <a:noFill/>
          <a:ln>
            <a:noFill/>
          </a:ln>
        </p:spPr>
        <p:txBody>
          <a:bodyPr spcFirstLastPara="1" wrap="square" lIns="91425" tIns="91425" rIns="91425" bIns="91425" anchor="t" anchorCtr="0">
            <a:spAutoFit/>
          </a:bodyPr>
          <a:lstStyle/>
          <a:p>
            <a:pPr marL="0" lvl="0" indent="0" algn="ctr" rtl="0">
              <a:lnSpc>
                <a:spcPct val="100000"/>
              </a:lnSpc>
              <a:spcBef>
                <a:spcPts val="1200"/>
              </a:spcBef>
              <a:spcAft>
                <a:spcPts val="1200"/>
              </a:spcAft>
              <a:buNone/>
            </a:pPr>
            <a:r>
              <a:rPr lang="en" sz="1600" b="1">
                <a:solidFill>
                  <a:srgbClr val="502682"/>
                </a:solidFill>
                <a:latin typeface="Libre Franklin"/>
                <a:ea typeface="Libre Franklin"/>
                <a:cs typeface="Libre Franklin"/>
                <a:sym typeface="Libre Franklin"/>
              </a:rPr>
              <a:t>of Canadian post-secondary students are identified as</a:t>
            </a:r>
            <a:endParaRPr sz="1600" b="1">
              <a:solidFill>
                <a:srgbClr val="502682"/>
              </a:solidFill>
              <a:latin typeface="Libre Franklin"/>
              <a:ea typeface="Libre Franklin"/>
              <a:cs typeface="Libre Franklin"/>
              <a:sym typeface="Libre Franklin"/>
            </a:endParaRPr>
          </a:p>
        </p:txBody>
      </p:sp>
      <p:sp>
        <p:nvSpPr>
          <p:cNvPr id="13" name="Google Shape;67;p14">
            <a:extLst>
              <a:ext uri="{FF2B5EF4-FFF2-40B4-BE49-F238E27FC236}">
                <a16:creationId xmlns:a16="http://schemas.microsoft.com/office/drawing/2014/main" id="{BFEA72BD-289A-3F2B-BCF2-DFC980274BC2}"/>
              </a:ext>
            </a:extLst>
          </p:cNvPr>
          <p:cNvSpPr txBox="1"/>
          <p:nvPr/>
        </p:nvSpPr>
        <p:spPr>
          <a:xfrm>
            <a:off x="4495325" y="2529788"/>
            <a:ext cx="3313800" cy="538800"/>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1200"/>
              </a:spcBef>
              <a:spcAft>
                <a:spcPts val="1200"/>
              </a:spcAft>
              <a:buNone/>
            </a:pPr>
            <a:r>
              <a:rPr lang="en" sz="2300" dirty="0">
                <a:solidFill>
                  <a:srgbClr val="502682"/>
                </a:solidFill>
                <a:latin typeface="Libre Franklin"/>
                <a:ea typeface="Libre Franklin"/>
                <a:cs typeface="Libre Franklin"/>
                <a:sym typeface="Libre Franklin"/>
              </a:rPr>
              <a:t>Food Insecure</a:t>
            </a:r>
            <a:endParaRPr sz="100" dirty="0">
              <a:solidFill>
                <a:srgbClr val="502682"/>
              </a:solidFill>
              <a:latin typeface="Libre Franklin"/>
              <a:ea typeface="Libre Franklin"/>
              <a:cs typeface="Libre Franklin"/>
              <a:sym typeface="Libre Franklin"/>
            </a:endParaRPr>
          </a:p>
        </p:txBody>
      </p:sp>
    </p:spTree>
    <p:extLst>
      <p:ext uri="{BB962C8B-B14F-4D97-AF65-F5344CB8AC3E}">
        <p14:creationId xmlns:p14="http://schemas.microsoft.com/office/powerpoint/2010/main" val="3547016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9AC39CCA-8DAC-C65C-CC89-AC61A239ED26}"/>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1795AF94-0571-176F-7C84-FD9BD9B5303F}"/>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Model Selection &amp; Verification</a:t>
            </a:r>
          </a:p>
        </p:txBody>
      </p:sp>
      <p:sp>
        <p:nvSpPr>
          <p:cNvPr id="9" name="Google Shape;98;p15">
            <a:extLst>
              <a:ext uri="{FF2B5EF4-FFF2-40B4-BE49-F238E27FC236}">
                <a16:creationId xmlns:a16="http://schemas.microsoft.com/office/drawing/2014/main" id="{E5CBF1D0-DEF3-7F61-2FEA-292AFFC474A9}"/>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Choosing the optimal regression model</a:t>
            </a:r>
          </a:p>
        </p:txBody>
      </p:sp>
      <p:sp>
        <p:nvSpPr>
          <p:cNvPr id="16" name="Google Shape;99;p15">
            <a:extLst>
              <a:ext uri="{FF2B5EF4-FFF2-40B4-BE49-F238E27FC236}">
                <a16:creationId xmlns:a16="http://schemas.microsoft.com/office/drawing/2014/main" id="{AEAA25EE-2128-B665-458A-D51DF70AD11A}"/>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Rectangle 4">
            <a:extLst>
              <a:ext uri="{FF2B5EF4-FFF2-40B4-BE49-F238E27FC236}">
                <a16:creationId xmlns:a16="http://schemas.microsoft.com/office/drawing/2014/main" id="{2DBF9F4A-F6E8-75FD-C21F-D54D1334139E}"/>
              </a:ext>
            </a:extLst>
          </p:cNvPr>
          <p:cNvSpPr/>
          <p:nvPr/>
        </p:nvSpPr>
        <p:spPr>
          <a:xfrm>
            <a:off x="540164" y="1170562"/>
            <a:ext cx="3403301" cy="270000"/>
          </a:xfrm>
          <a:prstGeom prst="rect">
            <a:avLst/>
          </a:prstGeom>
          <a:solidFill>
            <a:srgbClr val="4592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Regression Statistics</a:t>
            </a:r>
          </a:p>
        </p:txBody>
      </p:sp>
      <p:sp>
        <p:nvSpPr>
          <p:cNvPr id="6" name="TextBox 5">
            <a:extLst>
              <a:ext uri="{FF2B5EF4-FFF2-40B4-BE49-F238E27FC236}">
                <a16:creationId xmlns:a16="http://schemas.microsoft.com/office/drawing/2014/main" id="{BD02EEFE-D596-0984-354C-C1008C564D99}"/>
              </a:ext>
            </a:extLst>
          </p:cNvPr>
          <p:cNvSpPr txBox="1"/>
          <p:nvPr/>
        </p:nvSpPr>
        <p:spPr>
          <a:xfrm>
            <a:off x="540165" y="1475363"/>
            <a:ext cx="865374" cy="261610"/>
          </a:xfrm>
          <a:prstGeom prst="rect">
            <a:avLst/>
          </a:prstGeom>
          <a:noFill/>
        </p:spPr>
        <p:txBody>
          <a:bodyPr wrap="square" rtlCol="0">
            <a:spAutoFit/>
          </a:bodyPr>
          <a:lstStyle/>
          <a:p>
            <a:r>
              <a:rPr lang="en-US" sz="1100">
                <a:latin typeface="Helvetica Neue" panose="02000503000000020004" pitchFamily="2" charset="0"/>
                <a:ea typeface="Helvetica Neue" panose="02000503000000020004" pitchFamily="2" charset="0"/>
                <a:cs typeface="Helvetica Neue" panose="02000503000000020004" pitchFamily="2" charset="0"/>
              </a:rPr>
              <a:t>R-Squared</a:t>
            </a:r>
          </a:p>
        </p:txBody>
      </p:sp>
      <p:sp>
        <p:nvSpPr>
          <p:cNvPr id="7" name="TextBox 6">
            <a:extLst>
              <a:ext uri="{FF2B5EF4-FFF2-40B4-BE49-F238E27FC236}">
                <a16:creationId xmlns:a16="http://schemas.microsoft.com/office/drawing/2014/main" id="{E9C7F8E2-5226-7AD3-043B-38B13A7582E7}"/>
              </a:ext>
            </a:extLst>
          </p:cNvPr>
          <p:cNvSpPr txBox="1"/>
          <p:nvPr/>
        </p:nvSpPr>
        <p:spPr>
          <a:xfrm>
            <a:off x="2431906" y="1475363"/>
            <a:ext cx="1511559" cy="261610"/>
          </a:xfrm>
          <a:prstGeom prst="rect">
            <a:avLst/>
          </a:prstGeom>
          <a:noFill/>
        </p:spPr>
        <p:txBody>
          <a:bodyPr wrap="square" rtlCol="0">
            <a:spAutoFit/>
          </a:bodyPr>
          <a:lstStyle/>
          <a:p>
            <a:pPr algn="r"/>
            <a:r>
              <a:rPr lang="en-US" sz="1100">
                <a:latin typeface="Helvetica Neue" panose="02000503000000020004" pitchFamily="2" charset="0"/>
                <a:ea typeface="Helvetica Neue" panose="02000503000000020004" pitchFamily="2" charset="0"/>
                <a:cs typeface="Helvetica Neue" panose="02000503000000020004" pitchFamily="2" charset="0"/>
              </a:rPr>
              <a:t>0.877</a:t>
            </a:r>
          </a:p>
        </p:txBody>
      </p:sp>
      <p:sp>
        <p:nvSpPr>
          <p:cNvPr id="8" name="TextBox 7">
            <a:extLst>
              <a:ext uri="{FF2B5EF4-FFF2-40B4-BE49-F238E27FC236}">
                <a16:creationId xmlns:a16="http://schemas.microsoft.com/office/drawing/2014/main" id="{5DBC8906-5590-017C-CC6F-1A641023DF02}"/>
              </a:ext>
            </a:extLst>
          </p:cNvPr>
          <p:cNvSpPr txBox="1"/>
          <p:nvPr/>
        </p:nvSpPr>
        <p:spPr>
          <a:xfrm>
            <a:off x="540164" y="1779513"/>
            <a:ext cx="1511559" cy="261610"/>
          </a:xfrm>
          <a:prstGeom prst="rect">
            <a:avLst/>
          </a:prstGeom>
          <a:noFill/>
        </p:spPr>
        <p:txBody>
          <a:bodyPr wrap="square" rtlCol="0">
            <a:spAutoFit/>
          </a:bodyPr>
          <a:lstStyle/>
          <a:p>
            <a:r>
              <a:rPr lang="en-US" sz="1100">
                <a:latin typeface="Helvetica Neue" panose="02000503000000020004" pitchFamily="2" charset="0"/>
                <a:ea typeface="Helvetica Neue" panose="02000503000000020004" pitchFamily="2" charset="0"/>
                <a:cs typeface="Helvetica Neue" panose="02000503000000020004" pitchFamily="2" charset="0"/>
              </a:rPr>
              <a:t>Adjusted R-Squared</a:t>
            </a:r>
          </a:p>
        </p:txBody>
      </p:sp>
      <p:sp>
        <p:nvSpPr>
          <p:cNvPr id="10" name="TextBox 9">
            <a:extLst>
              <a:ext uri="{FF2B5EF4-FFF2-40B4-BE49-F238E27FC236}">
                <a16:creationId xmlns:a16="http://schemas.microsoft.com/office/drawing/2014/main" id="{64C749D2-BEEE-F2E3-2E6D-624AAC7584BD}"/>
              </a:ext>
            </a:extLst>
          </p:cNvPr>
          <p:cNvSpPr txBox="1"/>
          <p:nvPr/>
        </p:nvSpPr>
        <p:spPr>
          <a:xfrm>
            <a:off x="2431905" y="1779513"/>
            <a:ext cx="1511559" cy="261610"/>
          </a:xfrm>
          <a:prstGeom prst="rect">
            <a:avLst/>
          </a:prstGeom>
          <a:noFill/>
        </p:spPr>
        <p:txBody>
          <a:bodyPr wrap="square" rtlCol="0">
            <a:spAutoFit/>
          </a:bodyPr>
          <a:lstStyle/>
          <a:p>
            <a:pPr algn="r"/>
            <a:r>
              <a:rPr lang="en-US" sz="1100" b="1">
                <a:latin typeface="Helvetica Neue" panose="02000503000000020004" pitchFamily="2" charset="0"/>
                <a:ea typeface="Helvetica Neue" panose="02000503000000020004" pitchFamily="2" charset="0"/>
                <a:cs typeface="Helvetica Neue" panose="02000503000000020004" pitchFamily="2" charset="0"/>
              </a:rPr>
              <a:t>0.876</a:t>
            </a:r>
          </a:p>
        </p:txBody>
      </p:sp>
      <p:sp>
        <p:nvSpPr>
          <p:cNvPr id="11" name="Rectangle 10">
            <a:extLst>
              <a:ext uri="{FF2B5EF4-FFF2-40B4-BE49-F238E27FC236}">
                <a16:creationId xmlns:a16="http://schemas.microsoft.com/office/drawing/2014/main" id="{30EC6B1C-149E-2C1F-AA0D-A2FEF45B437D}"/>
              </a:ext>
            </a:extLst>
          </p:cNvPr>
          <p:cNvSpPr/>
          <p:nvPr/>
        </p:nvSpPr>
        <p:spPr>
          <a:xfrm>
            <a:off x="540164" y="2809605"/>
            <a:ext cx="1511560" cy="270000"/>
          </a:xfrm>
          <a:prstGeom prst="rect">
            <a:avLst/>
          </a:prstGeom>
          <a:solidFill>
            <a:srgbClr val="4592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xxx]</a:t>
            </a:r>
          </a:p>
        </p:txBody>
      </p:sp>
      <p:sp>
        <p:nvSpPr>
          <p:cNvPr id="14" name="Rectangle 13">
            <a:extLst>
              <a:ext uri="{FF2B5EF4-FFF2-40B4-BE49-F238E27FC236}">
                <a16:creationId xmlns:a16="http://schemas.microsoft.com/office/drawing/2014/main" id="{62037554-F3F7-CB22-2EC6-CF4134B89942}"/>
              </a:ext>
            </a:extLst>
          </p:cNvPr>
          <p:cNvSpPr/>
          <p:nvPr/>
        </p:nvSpPr>
        <p:spPr>
          <a:xfrm>
            <a:off x="2173022" y="2809604"/>
            <a:ext cx="1511560" cy="270000"/>
          </a:xfrm>
          <a:prstGeom prst="rect">
            <a:avLst/>
          </a:prstGeom>
          <a:solidFill>
            <a:srgbClr val="4592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oefficients</a:t>
            </a:r>
          </a:p>
        </p:txBody>
      </p:sp>
      <p:sp>
        <p:nvSpPr>
          <p:cNvPr id="15" name="Rectangle 14">
            <a:extLst>
              <a:ext uri="{FF2B5EF4-FFF2-40B4-BE49-F238E27FC236}">
                <a16:creationId xmlns:a16="http://schemas.microsoft.com/office/drawing/2014/main" id="{93A5A49F-C31F-A7DC-6C87-7A7FDCD9E401}"/>
              </a:ext>
            </a:extLst>
          </p:cNvPr>
          <p:cNvSpPr/>
          <p:nvPr/>
        </p:nvSpPr>
        <p:spPr>
          <a:xfrm>
            <a:off x="3805880" y="2809603"/>
            <a:ext cx="1511560" cy="270000"/>
          </a:xfrm>
          <a:prstGeom prst="rect">
            <a:avLst/>
          </a:prstGeom>
          <a:solidFill>
            <a:srgbClr val="4592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Standard Error</a:t>
            </a:r>
          </a:p>
        </p:txBody>
      </p:sp>
      <p:sp>
        <p:nvSpPr>
          <p:cNvPr id="17" name="Rectangle 16">
            <a:extLst>
              <a:ext uri="{FF2B5EF4-FFF2-40B4-BE49-F238E27FC236}">
                <a16:creationId xmlns:a16="http://schemas.microsoft.com/office/drawing/2014/main" id="{626A2973-7D5E-5E20-F110-AF751EEB884E}"/>
              </a:ext>
            </a:extLst>
          </p:cNvPr>
          <p:cNvSpPr/>
          <p:nvPr/>
        </p:nvSpPr>
        <p:spPr>
          <a:xfrm>
            <a:off x="5438738" y="2809602"/>
            <a:ext cx="1511560" cy="270000"/>
          </a:xfrm>
          <a:prstGeom prst="rect">
            <a:avLst/>
          </a:prstGeom>
          <a:solidFill>
            <a:srgbClr val="4592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t State</a:t>
            </a:r>
          </a:p>
        </p:txBody>
      </p:sp>
      <p:sp>
        <p:nvSpPr>
          <p:cNvPr id="18" name="TextBox 17">
            <a:extLst>
              <a:ext uri="{FF2B5EF4-FFF2-40B4-BE49-F238E27FC236}">
                <a16:creationId xmlns:a16="http://schemas.microsoft.com/office/drawing/2014/main" id="{BFFFDAF7-38A9-1799-52B4-CCC78038A031}"/>
              </a:ext>
            </a:extLst>
          </p:cNvPr>
          <p:cNvSpPr txBox="1"/>
          <p:nvPr/>
        </p:nvSpPr>
        <p:spPr>
          <a:xfrm>
            <a:off x="540164" y="3114759"/>
            <a:ext cx="865374" cy="261610"/>
          </a:xfrm>
          <a:prstGeom prst="rect">
            <a:avLst/>
          </a:prstGeom>
          <a:noFill/>
        </p:spPr>
        <p:txBody>
          <a:bodyPr wrap="square" rtlCol="0">
            <a:spAutoFit/>
          </a:bodyPr>
          <a:lstStyle/>
          <a:p>
            <a:r>
              <a:rPr lang="en-US" sz="1100">
                <a:latin typeface="Helvetica Neue" panose="02000503000000020004" pitchFamily="2" charset="0"/>
                <a:ea typeface="Helvetica Neue" panose="02000503000000020004" pitchFamily="2" charset="0"/>
                <a:cs typeface="Helvetica Neue" panose="02000503000000020004" pitchFamily="2" charset="0"/>
              </a:rPr>
              <a:t>Const</a:t>
            </a:r>
          </a:p>
        </p:txBody>
      </p:sp>
      <p:sp>
        <p:nvSpPr>
          <p:cNvPr id="19" name="TextBox 18">
            <a:extLst>
              <a:ext uri="{FF2B5EF4-FFF2-40B4-BE49-F238E27FC236}">
                <a16:creationId xmlns:a16="http://schemas.microsoft.com/office/drawing/2014/main" id="{DDA003B5-484E-D41F-3F27-A87705A59862}"/>
              </a:ext>
            </a:extLst>
          </p:cNvPr>
          <p:cNvSpPr txBox="1"/>
          <p:nvPr/>
        </p:nvSpPr>
        <p:spPr>
          <a:xfrm>
            <a:off x="540164" y="3412553"/>
            <a:ext cx="1511559" cy="261610"/>
          </a:xfrm>
          <a:prstGeom prst="rect">
            <a:avLst/>
          </a:prstGeom>
          <a:noFill/>
        </p:spPr>
        <p:txBody>
          <a:bodyPr wrap="square" rtlCol="0">
            <a:spAutoFit/>
          </a:bodyPr>
          <a:lstStyle/>
          <a:p>
            <a:r>
              <a:rPr lang="en-US" sz="1100">
                <a:latin typeface="Helvetica Neue" panose="02000503000000020004" pitchFamily="2" charset="0"/>
                <a:ea typeface="Helvetica Neue" panose="02000503000000020004" pitchFamily="2" charset="0"/>
                <a:cs typeface="Helvetica Neue" panose="02000503000000020004" pitchFamily="2" charset="0"/>
              </a:rPr>
              <a:t>GDP</a:t>
            </a:r>
          </a:p>
        </p:txBody>
      </p:sp>
      <p:sp>
        <p:nvSpPr>
          <p:cNvPr id="25" name="TextBox 24">
            <a:extLst>
              <a:ext uri="{FF2B5EF4-FFF2-40B4-BE49-F238E27FC236}">
                <a16:creationId xmlns:a16="http://schemas.microsoft.com/office/drawing/2014/main" id="{E23D2EF1-D2F7-A736-7A12-DB1C38914C24}"/>
              </a:ext>
            </a:extLst>
          </p:cNvPr>
          <p:cNvSpPr txBox="1"/>
          <p:nvPr/>
        </p:nvSpPr>
        <p:spPr>
          <a:xfrm>
            <a:off x="2173023" y="3112233"/>
            <a:ext cx="1511560" cy="261610"/>
          </a:xfrm>
          <a:prstGeom prst="rect">
            <a:avLst/>
          </a:prstGeom>
          <a:noFill/>
        </p:spPr>
        <p:txBody>
          <a:bodyPr wrap="square" rtlCol="0">
            <a:spAutoFit/>
          </a:bodyPr>
          <a:lstStyle/>
          <a:p>
            <a:pPr algn="r"/>
            <a:r>
              <a:rPr lang="en-US" sz="1100" b="1">
                <a:latin typeface="Helvetica Neue" panose="02000503000000020004" pitchFamily="2" charset="0"/>
                <a:ea typeface="Helvetica Neue" panose="02000503000000020004" pitchFamily="2" charset="0"/>
                <a:cs typeface="Helvetica Neue" panose="02000503000000020004" pitchFamily="2" charset="0"/>
              </a:rPr>
              <a:t>0.1293</a:t>
            </a:r>
          </a:p>
        </p:txBody>
      </p:sp>
      <p:sp>
        <p:nvSpPr>
          <p:cNvPr id="26" name="TextBox 25">
            <a:extLst>
              <a:ext uri="{FF2B5EF4-FFF2-40B4-BE49-F238E27FC236}">
                <a16:creationId xmlns:a16="http://schemas.microsoft.com/office/drawing/2014/main" id="{CF787B95-1D18-8675-F83B-56185D6ACBCB}"/>
              </a:ext>
            </a:extLst>
          </p:cNvPr>
          <p:cNvSpPr txBox="1"/>
          <p:nvPr/>
        </p:nvSpPr>
        <p:spPr>
          <a:xfrm>
            <a:off x="2173022" y="3415214"/>
            <a:ext cx="1511560" cy="261610"/>
          </a:xfrm>
          <a:prstGeom prst="rect">
            <a:avLst/>
          </a:prstGeom>
          <a:noFill/>
        </p:spPr>
        <p:txBody>
          <a:bodyPr wrap="square" rtlCol="0">
            <a:spAutoFit/>
          </a:bodyPr>
          <a:lstStyle>
            <a:defPPr marR="0" lvl="0" algn="l" rtl="0">
              <a:lnSpc>
                <a:spcPct val="100000"/>
              </a:lnSpc>
              <a:spcBef>
                <a:spcPts val="0"/>
              </a:spcBef>
              <a:spcAft>
                <a:spcPts val="0"/>
              </a:spcAft>
            </a:defPPr>
            <a:lvl1pPr algn="r">
              <a:defRPr sz="1100" b="1">
                <a:latin typeface="Helvetica Neue" panose="02000503000000020004" pitchFamily="2" charset="0"/>
                <a:ea typeface="Helvetica Neue" panose="02000503000000020004" pitchFamily="2" charset="0"/>
                <a:cs typeface="Helvetica Neue" panose="02000503000000020004" pitchFamily="2" charset="0"/>
              </a:defRPr>
            </a:lvl1pPr>
          </a:lstStyle>
          <a:p>
            <a:r>
              <a:rPr lang="en-CA"/>
              <a:t>2.554e-09</a:t>
            </a:r>
            <a:endParaRPr lang="en-US"/>
          </a:p>
        </p:txBody>
      </p:sp>
      <p:sp>
        <p:nvSpPr>
          <p:cNvPr id="28" name="TextBox 27">
            <a:extLst>
              <a:ext uri="{FF2B5EF4-FFF2-40B4-BE49-F238E27FC236}">
                <a16:creationId xmlns:a16="http://schemas.microsoft.com/office/drawing/2014/main" id="{6E7D8FC0-F71A-8C5E-8FBE-E32B6D8D66A5}"/>
              </a:ext>
            </a:extLst>
          </p:cNvPr>
          <p:cNvSpPr txBox="1"/>
          <p:nvPr/>
        </p:nvSpPr>
        <p:spPr>
          <a:xfrm>
            <a:off x="3805880" y="3112233"/>
            <a:ext cx="1511560" cy="261610"/>
          </a:xfrm>
          <a:prstGeom prst="rect">
            <a:avLst/>
          </a:prstGeom>
          <a:noFill/>
        </p:spPr>
        <p:txBody>
          <a:bodyPr wrap="square" rtlCol="0">
            <a:spAutoFit/>
          </a:bodyPr>
          <a:lstStyle/>
          <a:p>
            <a:pPr algn="r"/>
            <a:r>
              <a:rPr lang="en-US" sz="1100">
                <a:latin typeface="Helvetica Neue" panose="02000503000000020004" pitchFamily="2" charset="0"/>
                <a:ea typeface="Helvetica Neue" panose="02000503000000020004" pitchFamily="2" charset="0"/>
                <a:cs typeface="Helvetica Neue" panose="02000503000000020004" pitchFamily="2" charset="0"/>
              </a:rPr>
              <a:t>1.572</a:t>
            </a:r>
          </a:p>
        </p:txBody>
      </p:sp>
      <p:sp>
        <p:nvSpPr>
          <p:cNvPr id="29" name="TextBox 28">
            <a:extLst>
              <a:ext uri="{FF2B5EF4-FFF2-40B4-BE49-F238E27FC236}">
                <a16:creationId xmlns:a16="http://schemas.microsoft.com/office/drawing/2014/main" id="{876FD8FB-8648-9C36-DDE9-234718360A21}"/>
              </a:ext>
            </a:extLst>
          </p:cNvPr>
          <p:cNvSpPr txBox="1"/>
          <p:nvPr/>
        </p:nvSpPr>
        <p:spPr>
          <a:xfrm>
            <a:off x="3805879" y="3415214"/>
            <a:ext cx="1511560" cy="261610"/>
          </a:xfrm>
          <a:prstGeom prst="rect">
            <a:avLst/>
          </a:prstGeom>
          <a:noFill/>
        </p:spPr>
        <p:txBody>
          <a:bodyPr wrap="square" rtlCol="0">
            <a:spAutoFit/>
          </a:bodyPr>
          <a:lstStyle>
            <a:defPPr marR="0" lvl="0" algn="l" rtl="0">
              <a:lnSpc>
                <a:spcPct val="100000"/>
              </a:lnSpc>
              <a:spcBef>
                <a:spcPts val="0"/>
              </a:spcBef>
              <a:spcAft>
                <a:spcPts val="0"/>
              </a:spcAft>
            </a:defPPr>
            <a:lvl1pPr algn="r">
              <a:defRPr sz="1100">
                <a:latin typeface="Helvetica Neue" panose="02000503000000020004" pitchFamily="2" charset="0"/>
                <a:ea typeface="Helvetica Neue" panose="02000503000000020004" pitchFamily="2" charset="0"/>
                <a:cs typeface="Helvetica Neue" panose="02000503000000020004" pitchFamily="2" charset="0"/>
              </a:defRPr>
            </a:lvl1pPr>
          </a:lstStyle>
          <a:p>
            <a:r>
              <a:rPr lang="en-CA"/>
              <a:t>9.46e-11</a:t>
            </a:r>
            <a:endParaRPr lang="en-US"/>
          </a:p>
        </p:txBody>
      </p:sp>
      <p:sp>
        <p:nvSpPr>
          <p:cNvPr id="30" name="TextBox 29">
            <a:extLst>
              <a:ext uri="{FF2B5EF4-FFF2-40B4-BE49-F238E27FC236}">
                <a16:creationId xmlns:a16="http://schemas.microsoft.com/office/drawing/2014/main" id="{519ABFD5-6DBD-587D-39C8-5B8C034FF53A}"/>
              </a:ext>
            </a:extLst>
          </p:cNvPr>
          <p:cNvSpPr txBox="1"/>
          <p:nvPr/>
        </p:nvSpPr>
        <p:spPr>
          <a:xfrm>
            <a:off x="5438737" y="3109572"/>
            <a:ext cx="1511560" cy="261610"/>
          </a:xfrm>
          <a:prstGeom prst="rect">
            <a:avLst/>
          </a:prstGeom>
          <a:noFill/>
        </p:spPr>
        <p:txBody>
          <a:bodyPr wrap="square" rtlCol="0">
            <a:spAutoFit/>
          </a:bodyPr>
          <a:lstStyle/>
          <a:p>
            <a:pPr algn="r"/>
            <a:r>
              <a:rPr lang="en-US" sz="1100">
                <a:latin typeface="Helvetica Neue" panose="02000503000000020004" pitchFamily="2" charset="0"/>
                <a:ea typeface="Helvetica Neue" panose="02000503000000020004" pitchFamily="2" charset="0"/>
                <a:cs typeface="Helvetica Neue" panose="02000503000000020004" pitchFamily="2" charset="0"/>
              </a:rPr>
              <a:t>0.082</a:t>
            </a:r>
          </a:p>
        </p:txBody>
      </p:sp>
      <p:sp>
        <p:nvSpPr>
          <p:cNvPr id="31" name="TextBox 30">
            <a:extLst>
              <a:ext uri="{FF2B5EF4-FFF2-40B4-BE49-F238E27FC236}">
                <a16:creationId xmlns:a16="http://schemas.microsoft.com/office/drawing/2014/main" id="{436AA46F-7166-CFE5-C3CB-76AA87BB68CF}"/>
              </a:ext>
            </a:extLst>
          </p:cNvPr>
          <p:cNvSpPr txBox="1"/>
          <p:nvPr/>
        </p:nvSpPr>
        <p:spPr>
          <a:xfrm>
            <a:off x="5438736" y="3412553"/>
            <a:ext cx="1511560" cy="261610"/>
          </a:xfrm>
          <a:prstGeom prst="rect">
            <a:avLst/>
          </a:prstGeom>
          <a:noFill/>
        </p:spPr>
        <p:txBody>
          <a:bodyPr wrap="square" rtlCol="0">
            <a:spAutoFit/>
          </a:bodyPr>
          <a:lstStyle/>
          <a:p>
            <a:pPr algn="r"/>
            <a:r>
              <a:rPr lang="en-US" sz="1100">
                <a:latin typeface="Helvetica Neue" panose="02000503000000020004" pitchFamily="2" charset="0"/>
                <a:ea typeface="Helvetica Neue" panose="02000503000000020004" pitchFamily="2" charset="0"/>
                <a:cs typeface="Helvetica Neue" panose="02000503000000020004" pitchFamily="2" charset="0"/>
              </a:rPr>
              <a:t>26.994</a:t>
            </a:r>
          </a:p>
        </p:txBody>
      </p:sp>
      <p:sp>
        <p:nvSpPr>
          <p:cNvPr id="33" name="Rectangle 32">
            <a:extLst>
              <a:ext uri="{FF2B5EF4-FFF2-40B4-BE49-F238E27FC236}">
                <a16:creationId xmlns:a16="http://schemas.microsoft.com/office/drawing/2014/main" id="{21223188-A0ED-B548-AACA-985632E8E870}"/>
              </a:ext>
            </a:extLst>
          </p:cNvPr>
          <p:cNvSpPr/>
          <p:nvPr/>
        </p:nvSpPr>
        <p:spPr>
          <a:xfrm>
            <a:off x="7071591" y="2809602"/>
            <a:ext cx="1511560" cy="270000"/>
          </a:xfrm>
          <a:prstGeom prst="rect">
            <a:avLst/>
          </a:prstGeom>
          <a:solidFill>
            <a:srgbClr val="4592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P-Value</a:t>
            </a:r>
          </a:p>
        </p:txBody>
      </p:sp>
      <p:sp>
        <p:nvSpPr>
          <p:cNvPr id="34" name="TextBox 33">
            <a:extLst>
              <a:ext uri="{FF2B5EF4-FFF2-40B4-BE49-F238E27FC236}">
                <a16:creationId xmlns:a16="http://schemas.microsoft.com/office/drawing/2014/main" id="{E4915280-91D1-85B6-3C74-F3DE0B64EE35}"/>
              </a:ext>
            </a:extLst>
          </p:cNvPr>
          <p:cNvSpPr txBox="1"/>
          <p:nvPr/>
        </p:nvSpPr>
        <p:spPr>
          <a:xfrm>
            <a:off x="7071592" y="3117664"/>
            <a:ext cx="1511560" cy="261610"/>
          </a:xfrm>
          <a:prstGeom prst="rect">
            <a:avLst/>
          </a:prstGeom>
          <a:noFill/>
        </p:spPr>
        <p:txBody>
          <a:bodyPr wrap="square" rtlCol="0">
            <a:spAutoFit/>
          </a:bodyPr>
          <a:lstStyle/>
          <a:p>
            <a:pPr algn="r"/>
            <a:r>
              <a:rPr lang="en-US" sz="1100" b="1">
                <a:latin typeface="Helvetica Neue" panose="02000503000000020004" pitchFamily="2" charset="0"/>
                <a:ea typeface="Helvetica Neue" panose="02000503000000020004" pitchFamily="2" charset="0"/>
                <a:cs typeface="Helvetica Neue" panose="02000503000000020004" pitchFamily="2" charset="0"/>
              </a:rPr>
              <a:t>0.935</a:t>
            </a:r>
          </a:p>
        </p:txBody>
      </p:sp>
      <p:sp>
        <p:nvSpPr>
          <p:cNvPr id="35" name="TextBox 34">
            <a:extLst>
              <a:ext uri="{FF2B5EF4-FFF2-40B4-BE49-F238E27FC236}">
                <a16:creationId xmlns:a16="http://schemas.microsoft.com/office/drawing/2014/main" id="{53750451-25D4-2EAD-00DA-C5217E39D1A4}"/>
              </a:ext>
            </a:extLst>
          </p:cNvPr>
          <p:cNvSpPr txBox="1"/>
          <p:nvPr/>
        </p:nvSpPr>
        <p:spPr>
          <a:xfrm>
            <a:off x="7071591" y="3420645"/>
            <a:ext cx="1511560" cy="261610"/>
          </a:xfrm>
          <a:prstGeom prst="rect">
            <a:avLst/>
          </a:prstGeom>
          <a:noFill/>
        </p:spPr>
        <p:txBody>
          <a:bodyPr wrap="square" rtlCol="0">
            <a:spAutoFit/>
          </a:bodyPr>
          <a:lstStyle/>
          <a:p>
            <a:pPr algn="r"/>
            <a:r>
              <a:rPr lang="en-US" sz="1100" b="1">
                <a:latin typeface="Helvetica Neue" panose="02000503000000020004" pitchFamily="2" charset="0"/>
                <a:ea typeface="Helvetica Neue" panose="02000503000000020004" pitchFamily="2" charset="0"/>
                <a:cs typeface="Helvetica Neue" panose="02000503000000020004" pitchFamily="2" charset="0"/>
              </a:rPr>
              <a:t>0.00</a:t>
            </a:r>
          </a:p>
        </p:txBody>
      </p:sp>
      <p:sp>
        <p:nvSpPr>
          <p:cNvPr id="36" name="Google Shape;325;p28">
            <a:extLst>
              <a:ext uri="{FF2B5EF4-FFF2-40B4-BE49-F238E27FC236}">
                <a16:creationId xmlns:a16="http://schemas.microsoft.com/office/drawing/2014/main" id="{4076C7A4-BEC9-E1C0-4DC1-17C4975F6723}"/>
              </a:ext>
            </a:extLst>
          </p:cNvPr>
          <p:cNvSpPr/>
          <p:nvPr/>
        </p:nvSpPr>
        <p:spPr>
          <a:xfrm>
            <a:off x="540164" y="3412552"/>
            <a:ext cx="8063670" cy="269703"/>
          </a:xfrm>
          <a:prstGeom prst="rect">
            <a:avLst/>
          </a:prstGeom>
          <a:noFill/>
          <a:ln w="19050" cap="flat" cmpd="sng">
            <a:solidFill>
              <a:srgbClr val="05B050"/>
            </a:solidFill>
            <a:prstDash val="dash"/>
            <a:miter lim="800000"/>
            <a:headEnd type="none" w="sm" len="sm"/>
            <a:tailEnd type="none" w="sm" len="sm"/>
          </a:ln>
        </p:spPr>
        <p:txBody>
          <a:bodyPr spcFirstLastPara="1" wrap="square" lIns="68575" tIns="34275" rIns="68575" bIns="34275" anchor="ctr" anchorCtr="0">
            <a:noAutofit/>
          </a:bodyPr>
          <a:lstStyle/>
          <a:p>
            <a:pPr algn="ctr"/>
            <a:endParaRPr lang="en-CA" sz="1800">
              <a:solidFill>
                <a:srgbClr val="FFFFFF"/>
              </a:solidFill>
              <a:latin typeface="Helvetica Neue" panose="02000503000000020004" pitchFamily="2" charset="0"/>
              <a:ea typeface="Helvetica Neue" panose="02000503000000020004" pitchFamily="2" charset="0"/>
              <a:cs typeface="Helvetica Neue" panose="02000503000000020004" pitchFamily="2" charset="0"/>
              <a:sym typeface="Quattrocento Sans"/>
            </a:endParaRPr>
          </a:p>
        </p:txBody>
      </p:sp>
      <p:sp>
        <p:nvSpPr>
          <p:cNvPr id="37" name="Rectangle 36">
            <a:extLst>
              <a:ext uri="{FF2B5EF4-FFF2-40B4-BE49-F238E27FC236}">
                <a16:creationId xmlns:a16="http://schemas.microsoft.com/office/drawing/2014/main" id="{C1D2984B-81B1-109B-742B-2A94C49A32F7}"/>
              </a:ext>
            </a:extLst>
          </p:cNvPr>
          <p:cNvSpPr/>
          <p:nvPr/>
        </p:nvSpPr>
        <p:spPr>
          <a:xfrm>
            <a:off x="540164" y="2257683"/>
            <a:ext cx="3403300" cy="269702"/>
          </a:xfrm>
          <a:prstGeom prst="rect">
            <a:avLst/>
          </a:prstGeom>
          <a:noFill/>
          <a:ln w="19050" cap="flat" cmpd="sng">
            <a:solidFill>
              <a:srgbClr val="05B050"/>
            </a:solidFill>
            <a:prstDash val="dash"/>
            <a:miter lim="800000"/>
            <a:headEnd type="none" w="sm" len="sm"/>
            <a:tailEnd type="none" w="sm" len="sm"/>
          </a:ln>
        </p:spPr>
        <p:txBody>
          <a:bodyPr spcFirstLastPara="1" wrap="square" lIns="68575" tIns="34275" rIns="68575" bIns="34275" anchor="ctr" anchorCtr="0">
            <a:noAutofit/>
          </a:bodyPr>
          <a:lstStyle/>
          <a:p>
            <a:pPr algn="ct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Reasonably high R-Squared</a:t>
            </a:r>
          </a:p>
        </p:txBody>
      </p:sp>
      <p:sp>
        <p:nvSpPr>
          <p:cNvPr id="38" name="Rectangle 37">
            <a:extLst>
              <a:ext uri="{FF2B5EF4-FFF2-40B4-BE49-F238E27FC236}">
                <a16:creationId xmlns:a16="http://schemas.microsoft.com/office/drawing/2014/main" id="{FB80A408-C634-6ECB-68D4-0D1C13C96447}"/>
              </a:ext>
            </a:extLst>
          </p:cNvPr>
          <p:cNvSpPr/>
          <p:nvPr/>
        </p:nvSpPr>
        <p:spPr>
          <a:xfrm>
            <a:off x="540164" y="3894914"/>
            <a:ext cx="8042988" cy="890105"/>
          </a:xfrm>
          <a:prstGeom prst="rect">
            <a:avLst/>
          </a:prstGeom>
          <a:noFill/>
          <a:ln w="19050" cap="flat" cmpd="sng">
            <a:solidFill>
              <a:srgbClr val="05B050"/>
            </a:solidFill>
            <a:prstDash val="solid"/>
            <a:miter lim="800000"/>
            <a:headEnd type="none" w="sm" len="sm"/>
            <a:tailEnd type="none" w="sm" len="sm"/>
          </a:ln>
        </p:spPr>
        <p:txBody>
          <a:bodyPr spcFirstLastPara="1" wrap="square" lIns="68575" tIns="34275" rIns="68575" bIns="34275" anchor="ctr" anchorCtr="0">
            <a:noAutofit/>
          </a:bodyPr>
          <a:lstStyle/>
          <a:p>
            <a:pPr algn="ctr"/>
            <a:r>
              <a:rPr lang="en-US"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Most simplistic model that has similar R-Squared values, low p-values, and scattered residual plot. This also aligns qualitatively with the idea that GDP is the highest predictor to identifying lucrative opportunities for new locations. Coefficients of other variables are generally low or not statistically significant.</a:t>
            </a:r>
          </a:p>
        </p:txBody>
      </p:sp>
      <p:graphicFrame>
        <p:nvGraphicFramePr>
          <p:cNvPr id="58" name="Chart 57">
            <a:extLst>
              <a:ext uri="{FF2B5EF4-FFF2-40B4-BE49-F238E27FC236}">
                <a16:creationId xmlns:a16="http://schemas.microsoft.com/office/drawing/2014/main" id="{D50F46DA-C8BB-24D1-DCC2-941F4A07CE65}"/>
              </a:ext>
            </a:extLst>
          </p:cNvPr>
          <p:cNvGraphicFramePr>
            <a:graphicFrameLocks/>
          </p:cNvGraphicFramePr>
          <p:nvPr>
            <p:extLst>
              <p:ext uri="{D42A27DB-BD31-4B8C-83A1-F6EECF244321}">
                <p14:modId xmlns:p14="http://schemas.microsoft.com/office/powerpoint/2010/main" val="4043411141"/>
              </p:ext>
            </p:extLst>
          </p:nvPr>
        </p:nvGraphicFramePr>
        <p:xfrm>
          <a:off x="4399950" y="894492"/>
          <a:ext cx="3657600" cy="18516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015414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F1F93A89-CD62-4189-1E3B-4E7463C3A87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95FEE34-490E-23AD-4C21-782C3CE4124B}"/>
              </a:ext>
            </a:extLst>
          </p:cNvPr>
          <p:cNvSpPr/>
          <p:nvPr/>
        </p:nvSpPr>
        <p:spPr>
          <a:xfrm>
            <a:off x="422250" y="4220306"/>
            <a:ext cx="8160902" cy="485272"/>
          </a:xfrm>
          <a:prstGeom prst="rect">
            <a:avLst/>
          </a:prstGeom>
          <a:noFill/>
          <a:ln w="19050" cap="flat" cmpd="sng">
            <a:solidFill>
              <a:srgbClr val="05B050"/>
            </a:solidFill>
            <a:prstDash val="solid"/>
            <a:miter lim="800000"/>
            <a:headEnd type="none" w="sm" len="sm"/>
            <a:tailEnd type="none" w="sm" len="sm"/>
          </a:ln>
        </p:spPr>
        <p:txBody>
          <a:bodyPr spcFirstLastPara="1" wrap="square" lIns="68575" tIns="34275" rIns="68575" bIns="34275" anchor="ctr" anchorCtr="0">
            <a:noAutofit/>
          </a:bodyPr>
          <a:lstStyle/>
          <a:p>
            <a:pPr algn="ctr"/>
            <a:r>
              <a:rPr lang="en-CA" sz="12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Howard Shultz wants to open 2000 stores by 2025, the calculated total stores seems reasonable</a:t>
            </a:r>
          </a:p>
        </p:txBody>
      </p:sp>
      <p:sp>
        <p:nvSpPr>
          <p:cNvPr id="4" name="Google Shape;95;p15">
            <a:extLst>
              <a:ext uri="{FF2B5EF4-FFF2-40B4-BE49-F238E27FC236}">
                <a16:creationId xmlns:a16="http://schemas.microsoft.com/office/drawing/2014/main" id="{97A744D8-9F4E-4773-603F-858222A2AFDF}"/>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Calculating New Stores</a:t>
            </a:r>
          </a:p>
        </p:txBody>
      </p:sp>
      <p:sp>
        <p:nvSpPr>
          <p:cNvPr id="9" name="Google Shape;98;p15">
            <a:extLst>
              <a:ext uri="{FF2B5EF4-FFF2-40B4-BE49-F238E27FC236}">
                <a16:creationId xmlns:a16="http://schemas.microsoft.com/office/drawing/2014/main" id="{B18FE26C-6143-E321-97C7-9EC2280DA382}"/>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Predicting number of stores for all cities</a:t>
            </a:r>
          </a:p>
        </p:txBody>
      </p:sp>
      <p:sp>
        <p:nvSpPr>
          <p:cNvPr id="16" name="Google Shape;99;p15">
            <a:extLst>
              <a:ext uri="{FF2B5EF4-FFF2-40B4-BE49-F238E27FC236}">
                <a16:creationId xmlns:a16="http://schemas.microsoft.com/office/drawing/2014/main" id="{B2EC1AE5-B7BA-4DAC-DDBE-343F9ABDB5FA}"/>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7" name="Picture 6">
            <a:extLst>
              <a:ext uri="{FF2B5EF4-FFF2-40B4-BE49-F238E27FC236}">
                <a16:creationId xmlns:a16="http://schemas.microsoft.com/office/drawing/2014/main" id="{89FD2EA5-93E3-C71E-40B4-BD5E5D786BF8}"/>
              </a:ext>
            </a:extLst>
          </p:cNvPr>
          <p:cNvPicPr>
            <a:picLocks noChangeAspect="1"/>
          </p:cNvPicPr>
          <p:nvPr/>
        </p:nvPicPr>
        <p:blipFill>
          <a:blip r:embed="rId3"/>
          <a:stretch>
            <a:fillRect/>
          </a:stretch>
        </p:blipFill>
        <p:spPr>
          <a:xfrm>
            <a:off x="422250" y="851418"/>
            <a:ext cx="4970205" cy="3090369"/>
          </a:xfrm>
          <a:prstGeom prst="rect">
            <a:avLst/>
          </a:prstGeom>
        </p:spPr>
      </p:pic>
      <p:sp>
        <p:nvSpPr>
          <p:cNvPr id="8" name="Google Shape;98;p15">
            <a:extLst>
              <a:ext uri="{FF2B5EF4-FFF2-40B4-BE49-F238E27FC236}">
                <a16:creationId xmlns:a16="http://schemas.microsoft.com/office/drawing/2014/main" id="{58A021CA-FFEC-BC83-521F-9C59111990E9}"/>
              </a:ext>
            </a:extLst>
          </p:cNvPr>
          <p:cNvSpPr txBox="1"/>
          <p:nvPr/>
        </p:nvSpPr>
        <p:spPr>
          <a:xfrm>
            <a:off x="2477315" y="3939897"/>
            <a:ext cx="2915140" cy="282300"/>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a:t>
            </a:r>
          </a:p>
        </p:txBody>
      </p:sp>
      <p:grpSp>
        <p:nvGrpSpPr>
          <p:cNvPr id="17" name="Group 16">
            <a:extLst>
              <a:ext uri="{FF2B5EF4-FFF2-40B4-BE49-F238E27FC236}">
                <a16:creationId xmlns:a16="http://schemas.microsoft.com/office/drawing/2014/main" id="{FCA44083-C9C0-F4CF-A39E-77ABD1362F83}"/>
              </a:ext>
            </a:extLst>
          </p:cNvPr>
          <p:cNvGrpSpPr/>
          <p:nvPr/>
        </p:nvGrpSpPr>
        <p:grpSpPr>
          <a:xfrm>
            <a:off x="5991152" y="1791874"/>
            <a:ext cx="2592000" cy="1209455"/>
            <a:chOff x="5829582" y="1363840"/>
            <a:chExt cx="2592000" cy="1209455"/>
          </a:xfrm>
        </p:grpSpPr>
        <p:sp>
          <p:nvSpPr>
            <p:cNvPr id="6" name="Google Shape;459;p36">
              <a:extLst>
                <a:ext uri="{FF2B5EF4-FFF2-40B4-BE49-F238E27FC236}">
                  <a16:creationId xmlns:a16="http://schemas.microsoft.com/office/drawing/2014/main" id="{89C3309C-3B9E-3736-DBF7-A63894BB0F13}"/>
                </a:ext>
              </a:extLst>
            </p:cNvPr>
            <p:cNvSpPr/>
            <p:nvPr/>
          </p:nvSpPr>
          <p:spPr>
            <a:xfrm>
              <a:off x="5829582" y="1363840"/>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6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alculated Total</a:t>
              </a:r>
            </a:p>
          </p:txBody>
        </p:sp>
        <p:sp>
          <p:nvSpPr>
            <p:cNvPr id="12" name="Google Shape;459;p36">
              <a:extLst>
                <a:ext uri="{FF2B5EF4-FFF2-40B4-BE49-F238E27FC236}">
                  <a16:creationId xmlns:a16="http://schemas.microsoft.com/office/drawing/2014/main" id="{A068164D-7734-915E-2B8E-322651E5CCA3}"/>
                </a:ext>
              </a:extLst>
            </p:cNvPr>
            <p:cNvSpPr/>
            <p:nvPr/>
          </p:nvSpPr>
          <p:spPr>
            <a:xfrm>
              <a:off x="5829582" y="1830461"/>
              <a:ext cx="2592000" cy="742834"/>
            </a:xfrm>
            <a:prstGeom prst="rect">
              <a:avLst/>
            </a:prstGeom>
            <a:noFill/>
            <a:ln w="19050">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2800" b="1">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7076</a:t>
              </a:r>
            </a:p>
          </p:txBody>
        </p:sp>
      </p:grpSp>
      <p:sp>
        <p:nvSpPr>
          <p:cNvPr id="14" name="TextBox 13">
            <a:extLst>
              <a:ext uri="{FF2B5EF4-FFF2-40B4-BE49-F238E27FC236}">
                <a16:creationId xmlns:a16="http://schemas.microsoft.com/office/drawing/2014/main" id="{BFCBC0D6-DCDE-E419-A00A-88DEE9F81665}"/>
              </a:ext>
            </a:extLst>
          </p:cNvPr>
          <p:cNvSpPr txBox="1"/>
          <p:nvPr/>
        </p:nvSpPr>
        <p:spPr>
          <a:xfrm>
            <a:off x="7430703" y="2974206"/>
            <a:ext cx="184731" cy="307777"/>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6254455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07EBCB2C-5BA3-5DD7-406C-2B83A49A5588}"/>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D32FA6C5-C223-BFFB-2B21-07B860466D3A}"/>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Visualizing Results </a:t>
            </a: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Light"/>
              </a:rPr>
              <a:t>by State</a:t>
            </a:r>
            <a:endPar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9" name="Google Shape;98;p15">
            <a:extLst>
              <a:ext uri="{FF2B5EF4-FFF2-40B4-BE49-F238E27FC236}">
                <a16:creationId xmlns:a16="http://schemas.microsoft.com/office/drawing/2014/main" id="{857B75FA-2ECC-2235-0406-7EE03996BDE7}"/>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Current vs. target store differential gradient: [-3/red] to [0/white] to [5/green]</a:t>
            </a:r>
            <a:endParaRPr lang="en-US" sz="1300" b="1">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D8C4130D-559C-FECF-1628-D063FAD3C7B7}"/>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7" name="Picture 6">
            <a:extLst>
              <a:ext uri="{FF2B5EF4-FFF2-40B4-BE49-F238E27FC236}">
                <a16:creationId xmlns:a16="http://schemas.microsoft.com/office/drawing/2014/main" id="{6FED47B8-C61B-EA40-9767-3DB44C50C0F4}"/>
              </a:ext>
            </a:extLst>
          </p:cNvPr>
          <p:cNvPicPr>
            <a:picLocks noChangeAspect="1"/>
          </p:cNvPicPr>
          <p:nvPr/>
        </p:nvPicPr>
        <p:blipFill rotWithShape="1">
          <a:blip r:embed="rId3"/>
          <a:srcRect l="29639" t="11302" r="12410" b="18395"/>
          <a:stretch/>
        </p:blipFill>
        <p:spPr>
          <a:xfrm>
            <a:off x="1873800" y="907650"/>
            <a:ext cx="5396400" cy="3786038"/>
          </a:xfrm>
          <a:prstGeom prst="rect">
            <a:avLst/>
          </a:prstGeom>
        </p:spPr>
      </p:pic>
    </p:spTree>
    <p:extLst>
      <p:ext uri="{BB962C8B-B14F-4D97-AF65-F5344CB8AC3E}">
        <p14:creationId xmlns:p14="http://schemas.microsoft.com/office/powerpoint/2010/main" val="30386799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C17077F6-C65D-3ECA-D128-F9328B9B9FD0}"/>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2DEC9154-4114-9A93-3C4F-4273034B35F6}"/>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Visualizing Results </a:t>
            </a: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Light"/>
              </a:rPr>
              <a:t>by Municipal Census Tract</a:t>
            </a:r>
            <a:endPar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9" name="Google Shape;98;p15">
            <a:extLst>
              <a:ext uri="{FF2B5EF4-FFF2-40B4-BE49-F238E27FC236}">
                <a16:creationId xmlns:a16="http://schemas.microsoft.com/office/drawing/2014/main" id="{A9A49762-EE20-EF2A-9DBB-52EC1777C57A}"/>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Current vs. target store differential gradient: [-3/red] to [0/white] to [5/green]</a:t>
            </a:r>
            <a:endParaRPr lang="en-US" sz="1300" b="1">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8EAAFEE9-492B-6F41-F250-3F382CD0B5E0}"/>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7" name="Picture 6">
            <a:extLst>
              <a:ext uri="{FF2B5EF4-FFF2-40B4-BE49-F238E27FC236}">
                <a16:creationId xmlns:a16="http://schemas.microsoft.com/office/drawing/2014/main" id="{E6575D08-A272-7A7D-D370-B5FA7A098287}"/>
              </a:ext>
            </a:extLst>
          </p:cNvPr>
          <p:cNvPicPr>
            <a:picLocks noChangeAspect="1"/>
          </p:cNvPicPr>
          <p:nvPr/>
        </p:nvPicPr>
        <p:blipFill rotWithShape="1">
          <a:blip r:embed="rId3"/>
          <a:srcRect l="25904" t="12177" r="16883" b="19063"/>
          <a:stretch/>
        </p:blipFill>
        <p:spPr>
          <a:xfrm>
            <a:off x="1874981" y="906281"/>
            <a:ext cx="5394037" cy="3748969"/>
          </a:xfrm>
          <a:prstGeom prst="rect">
            <a:avLst/>
          </a:prstGeom>
        </p:spPr>
      </p:pic>
    </p:spTree>
    <p:extLst>
      <p:ext uri="{BB962C8B-B14F-4D97-AF65-F5344CB8AC3E}">
        <p14:creationId xmlns:p14="http://schemas.microsoft.com/office/powerpoint/2010/main" val="11364275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4E0686D-9B09-D0B4-914B-D14B3B66C547}"/>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093E356A-0C6D-AF6D-C55B-3F21C04DDD28}"/>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Limitations of the Model &amp; Improvement Opportunities</a:t>
            </a:r>
          </a:p>
          <a:p>
            <a:pPr marL="0" lvl="0" indent="0" algn="l" rtl="0">
              <a:spcBef>
                <a:spcPts val="0"/>
              </a:spcBef>
              <a:spcAft>
                <a:spcPts val="0"/>
              </a:spcAft>
              <a:buNone/>
            </a:pPr>
            <a:endPar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9" name="Google Shape;98;p15">
            <a:extLst>
              <a:ext uri="{FF2B5EF4-FFF2-40B4-BE49-F238E27FC236}">
                <a16:creationId xmlns:a16="http://schemas.microsoft.com/office/drawing/2014/main" id="{C6519D75-0419-4724-4E02-69BF2837E782}"/>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CA"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Addressing model constraints and future strategies</a:t>
            </a:r>
          </a:p>
        </p:txBody>
      </p:sp>
      <p:sp>
        <p:nvSpPr>
          <p:cNvPr id="16" name="Google Shape;99;p15">
            <a:extLst>
              <a:ext uri="{FF2B5EF4-FFF2-40B4-BE49-F238E27FC236}">
                <a16:creationId xmlns:a16="http://schemas.microsoft.com/office/drawing/2014/main" id="{836AFD89-6167-C376-3711-6C7184451C0E}"/>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Oval 6">
            <a:extLst>
              <a:ext uri="{FF2B5EF4-FFF2-40B4-BE49-F238E27FC236}">
                <a16:creationId xmlns:a16="http://schemas.microsoft.com/office/drawing/2014/main" id="{027C3238-E524-C469-E183-90FB300C2F17}"/>
              </a:ext>
            </a:extLst>
          </p:cNvPr>
          <p:cNvSpPr/>
          <p:nvPr/>
        </p:nvSpPr>
        <p:spPr>
          <a:xfrm>
            <a:off x="-726222" y="5351019"/>
            <a:ext cx="469843" cy="469843"/>
          </a:xfrm>
          <a:prstGeom prst="ellipse">
            <a:avLst/>
          </a:prstGeom>
          <a:solidFill>
            <a:srgbClr val="469262"/>
          </a:solidFill>
          <a:ln>
            <a:noFill/>
          </a:ln>
          <a:effectLst>
            <a:outerShdw blurRad="50800" dist="50800" dir="5400000" algn="ctr" rotWithShape="0">
              <a:schemeClr val="tx1">
                <a:alpha val="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n>
                  <a:solidFill>
                    <a:schemeClr val="bg1"/>
                  </a:solidFill>
                </a:ln>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p>
        </p:txBody>
      </p:sp>
      <p:sp>
        <p:nvSpPr>
          <p:cNvPr id="8" name="Rectangle 7">
            <a:extLst>
              <a:ext uri="{FF2B5EF4-FFF2-40B4-BE49-F238E27FC236}">
                <a16:creationId xmlns:a16="http://schemas.microsoft.com/office/drawing/2014/main" id="{FA17724E-9A48-8951-C05C-DC09C70DD388}"/>
              </a:ext>
            </a:extLst>
          </p:cNvPr>
          <p:cNvSpPr/>
          <p:nvPr/>
        </p:nvSpPr>
        <p:spPr>
          <a:xfrm>
            <a:off x="-1708545" y="5477415"/>
            <a:ext cx="673100" cy="152309"/>
          </a:xfrm>
          <a:prstGeom prst="rect">
            <a:avLst/>
          </a:prstGeom>
          <a:solidFill>
            <a:srgbClr val="46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A4CF723-B4AA-54D2-9F82-48B802901681}"/>
              </a:ext>
            </a:extLst>
          </p:cNvPr>
          <p:cNvSpPr/>
          <p:nvPr/>
        </p:nvSpPr>
        <p:spPr>
          <a:xfrm>
            <a:off x="256100" y="5477415"/>
            <a:ext cx="673100" cy="152309"/>
          </a:xfrm>
          <a:prstGeom prst="rect">
            <a:avLst/>
          </a:prstGeom>
          <a:solidFill>
            <a:srgbClr val="46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oogle Shape;459;p36">
            <a:extLst>
              <a:ext uri="{FF2B5EF4-FFF2-40B4-BE49-F238E27FC236}">
                <a16:creationId xmlns:a16="http://schemas.microsoft.com/office/drawing/2014/main" id="{19694A9B-494C-F64E-DCF9-EB8A602CD7A5}"/>
              </a:ext>
            </a:extLst>
          </p:cNvPr>
          <p:cNvSpPr/>
          <p:nvPr/>
        </p:nvSpPr>
        <p:spPr>
          <a:xfrm>
            <a:off x="454705" y="847158"/>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Zoning Laws</a:t>
            </a:r>
          </a:p>
        </p:txBody>
      </p:sp>
      <p:sp>
        <p:nvSpPr>
          <p:cNvPr id="6" name="Google Shape;466;p36">
            <a:extLst>
              <a:ext uri="{FF2B5EF4-FFF2-40B4-BE49-F238E27FC236}">
                <a16:creationId xmlns:a16="http://schemas.microsoft.com/office/drawing/2014/main" id="{32B6ABBB-092C-D821-51C9-FFF39D86AC39}"/>
              </a:ext>
            </a:extLst>
          </p:cNvPr>
          <p:cNvSpPr/>
          <p:nvPr/>
        </p:nvSpPr>
        <p:spPr>
          <a:xfrm>
            <a:off x="454705" y="1439856"/>
            <a:ext cx="2592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In the US, zoning laws, which vary across counties, specify the percentage of land allocated for commercial use, potentially placing a cap on Starbucks’ expansion.</a:t>
            </a:r>
          </a:p>
        </p:txBody>
      </p:sp>
      <p:sp>
        <p:nvSpPr>
          <p:cNvPr id="11" name="Google Shape;466;p36">
            <a:extLst>
              <a:ext uri="{FF2B5EF4-FFF2-40B4-BE49-F238E27FC236}">
                <a16:creationId xmlns:a16="http://schemas.microsoft.com/office/drawing/2014/main" id="{1F7C1FC8-2858-1CA1-B629-DB422056234B}"/>
              </a:ext>
            </a:extLst>
          </p:cNvPr>
          <p:cNvSpPr/>
          <p:nvPr/>
        </p:nvSpPr>
        <p:spPr>
          <a:xfrm>
            <a:off x="454705" y="3247448"/>
            <a:ext cx="2592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crape data on the maximum land area for commercial use in each county. Cross-reference this with regression predictions, ensuring the number of additional stores doesn’t exceed the zoning cap.</a:t>
            </a:r>
          </a:p>
        </p:txBody>
      </p:sp>
      <p:sp>
        <p:nvSpPr>
          <p:cNvPr id="12" name="Google Shape;459;p36">
            <a:extLst>
              <a:ext uri="{FF2B5EF4-FFF2-40B4-BE49-F238E27FC236}">
                <a16:creationId xmlns:a16="http://schemas.microsoft.com/office/drawing/2014/main" id="{A5DB16FF-9507-76CB-B859-D19E75CC8BDB}"/>
              </a:ext>
            </a:extLst>
          </p:cNvPr>
          <p:cNvSpPr/>
          <p:nvPr/>
        </p:nvSpPr>
        <p:spPr>
          <a:xfrm>
            <a:off x="3276001" y="847158"/>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ore Formats</a:t>
            </a:r>
          </a:p>
        </p:txBody>
      </p:sp>
      <p:sp>
        <p:nvSpPr>
          <p:cNvPr id="13" name="Google Shape;466;p36">
            <a:extLst>
              <a:ext uri="{FF2B5EF4-FFF2-40B4-BE49-F238E27FC236}">
                <a16:creationId xmlns:a16="http://schemas.microsoft.com/office/drawing/2014/main" id="{7E3A4FBA-A339-7F4F-3BBF-D974D0A7E7EF}"/>
              </a:ext>
            </a:extLst>
          </p:cNvPr>
          <p:cNvSpPr/>
          <p:nvPr/>
        </p:nvSpPr>
        <p:spPr>
          <a:xfrm>
            <a:off x="3276001" y="1439856"/>
            <a:ext cx="2592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arbucks operates standalone and mall stores. The regression model relies on demand and may miss the dynamics within malls: they offer an environment where multiple Starbucks stores can thrive, offering greater accessibility for captured customers.</a:t>
            </a:r>
          </a:p>
        </p:txBody>
      </p:sp>
      <p:sp>
        <p:nvSpPr>
          <p:cNvPr id="14" name="Google Shape;466;p36">
            <a:extLst>
              <a:ext uri="{FF2B5EF4-FFF2-40B4-BE49-F238E27FC236}">
                <a16:creationId xmlns:a16="http://schemas.microsoft.com/office/drawing/2014/main" id="{CF703AFD-D896-7AA6-75F3-D0CED6922C1B}"/>
              </a:ext>
            </a:extLst>
          </p:cNvPr>
          <p:cNvSpPr/>
          <p:nvPr/>
        </p:nvSpPr>
        <p:spPr>
          <a:xfrm>
            <a:off x="3276001" y="3247448"/>
            <a:ext cx="2592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crape data on the quantity of malls and building complexes across the US, using this info to estimate the potential for additional Starbucks stores within these commercial spaces.</a:t>
            </a:r>
          </a:p>
        </p:txBody>
      </p:sp>
      <p:sp>
        <p:nvSpPr>
          <p:cNvPr id="15" name="Google Shape;459;p36">
            <a:extLst>
              <a:ext uri="{FF2B5EF4-FFF2-40B4-BE49-F238E27FC236}">
                <a16:creationId xmlns:a16="http://schemas.microsoft.com/office/drawing/2014/main" id="{2FE16B37-2BAA-C25E-F518-FC93B9E39DC9}"/>
              </a:ext>
            </a:extLst>
          </p:cNvPr>
          <p:cNvSpPr/>
          <p:nvPr/>
        </p:nvSpPr>
        <p:spPr>
          <a:xfrm>
            <a:off x="6097297" y="847158"/>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ise of Food Delivery</a:t>
            </a:r>
          </a:p>
        </p:txBody>
      </p:sp>
      <p:sp>
        <p:nvSpPr>
          <p:cNvPr id="17" name="Google Shape;466;p36">
            <a:extLst>
              <a:ext uri="{FF2B5EF4-FFF2-40B4-BE49-F238E27FC236}">
                <a16:creationId xmlns:a16="http://schemas.microsoft.com/office/drawing/2014/main" id="{EB5E8EAB-9C1B-FD8E-D1EB-4726C68F576C}"/>
              </a:ext>
            </a:extLst>
          </p:cNvPr>
          <p:cNvSpPr/>
          <p:nvPr/>
        </p:nvSpPr>
        <p:spPr>
          <a:xfrm>
            <a:off x="6097297" y="1439856"/>
            <a:ext cx="2592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ervices like Starbucks’ mobile app, presents a dual effect. While digital convenience may lessen the need for physical stores, it can also paradoxically stimulate demand for Starbucks, prompting more stores to be established. </a:t>
            </a:r>
          </a:p>
        </p:txBody>
      </p:sp>
      <p:sp>
        <p:nvSpPr>
          <p:cNvPr id="18" name="Google Shape;466;p36">
            <a:extLst>
              <a:ext uri="{FF2B5EF4-FFF2-40B4-BE49-F238E27FC236}">
                <a16:creationId xmlns:a16="http://schemas.microsoft.com/office/drawing/2014/main" id="{69659EEE-3284-4CDD-999D-4F0676278CD0}"/>
              </a:ext>
            </a:extLst>
          </p:cNvPr>
          <p:cNvSpPr/>
          <p:nvPr/>
        </p:nvSpPr>
        <p:spPr>
          <a:xfrm>
            <a:off x="6097297" y="3247448"/>
            <a:ext cx="2592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Monitor the increasing adoption of food delivery services and evaluate the potential surge in demand for Starbucks; assess the feasibility of opening additional stores to meet the growing demand.</a:t>
            </a:r>
          </a:p>
        </p:txBody>
      </p:sp>
      <p:sp>
        <p:nvSpPr>
          <p:cNvPr id="30" name="Chevron 29">
            <a:extLst>
              <a:ext uri="{FF2B5EF4-FFF2-40B4-BE49-F238E27FC236}">
                <a16:creationId xmlns:a16="http://schemas.microsoft.com/office/drawing/2014/main" id="{3BC39117-5C40-5B8A-5867-DE4CFDAC303F}"/>
              </a:ext>
            </a:extLst>
          </p:cNvPr>
          <p:cNvSpPr/>
          <p:nvPr/>
        </p:nvSpPr>
        <p:spPr>
          <a:xfrm rot="5400000">
            <a:off x="7344244" y="3014567"/>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 name="Chevron 31">
            <a:extLst>
              <a:ext uri="{FF2B5EF4-FFF2-40B4-BE49-F238E27FC236}">
                <a16:creationId xmlns:a16="http://schemas.microsoft.com/office/drawing/2014/main" id="{9133D5E2-C07C-252B-1D9E-0EB3792D6F02}"/>
              </a:ext>
            </a:extLst>
          </p:cNvPr>
          <p:cNvSpPr/>
          <p:nvPr/>
        </p:nvSpPr>
        <p:spPr>
          <a:xfrm rot="5400000">
            <a:off x="4522947" y="3014568"/>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3" name="Chevron 32">
            <a:extLst>
              <a:ext uri="{FF2B5EF4-FFF2-40B4-BE49-F238E27FC236}">
                <a16:creationId xmlns:a16="http://schemas.microsoft.com/office/drawing/2014/main" id="{F1CCCDB6-9CDA-69C1-80B4-391EDDB38168}"/>
              </a:ext>
            </a:extLst>
          </p:cNvPr>
          <p:cNvSpPr/>
          <p:nvPr/>
        </p:nvSpPr>
        <p:spPr>
          <a:xfrm rot="5400000">
            <a:off x="1701652" y="3013802"/>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3304984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4E0686D-9B09-D0B4-914B-D14B3B66C547}"/>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093E356A-0C6D-AF6D-C55B-3F21C04DDD28}"/>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Limitations of the Model &amp; Improvement Opportunities – Cont.</a:t>
            </a:r>
          </a:p>
          <a:p>
            <a:pPr marL="0" lvl="0" indent="0" algn="l" rtl="0">
              <a:spcBef>
                <a:spcPts val="0"/>
              </a:spcBef>
              <a:spcAft>
                <a:spcPts val="0"/>
              </a:spcAft>
              <a:buNone/>
            </a:pPr>
            <a:endPar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9" name="Google Shape;98;p15">
            <a:extLst>
              <a:ext uri="{FF2B5EF4-FFF2-40B4-BE49-F238E27FC236}">
                <a16:creationId xmlns:a16="http://schemas.microsoft.com/office/drawing/2014/main" id="{C6519D75-0419-4724-4E02-69BF2837E782}"/>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r>
              <a:rPr lang="en-CA"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Addressing model constraints and future strategies</a:t>
            </a:r>
          </a:p>
        </p:txBody>
      </p:sp>
      <p:sp>
        <p:nvSpPr>
          <p:cNvPr id="16" name="Google Shape;99;p15">
            <a:extLst>
              <a:ext uri="{FF2B5EF4-FFF2-40B4-BE49-F238E27FC236}">
                <a16:creationId xmlns:a16="http://schemas.microsoft.com/office/drawing/2014/main" id="{836AFD89-6167-C376-3711-6C7184451C0E}"/>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Oval 6">
            <a:extLst>
              <a:ext uri="{FF2B5EF4-FFF2-40B4-BE49-F238E27FC236}">
                <a16:creationId xmlns:a16="http://schemas.microsoft.com/office/drawing/2014/main" id="{027C3238-E524-C469-E183-90FB300C2F17}"/>
              </a:ext>
            </a:extLst>
          </p:cNvPr>
          <p:cNvSpPr/>
          <p:nvPr/>
        </p:nvSpPr>
        <p:spPr>
          <a:xfrm>
            <a:off x="-726222" y="5351019"/>
            <a:ext cx="469843" cy="469843"/>
          </a:xfrm>
          <a:prstGeom prst="ellipse">
            <a:avLst/>
          </a:prstGeom>
          <a:solidFill>
            <a:srgbClr val="469262"/>
          </a:solidFill>
          <a:ln>
            <a:noFill/>
          </a:ln>
          <a:effectLst>
            <a:outerShdw blurRad="50800" dist="50800" dir="5400000" algn="ctr" rotWithShape="0">
              <a:schemeClr val="tx1">
                <a:alpha val="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n>
                  <a:solidFill>
                    <a:schemeClr val="bg1"/>
                  </a:solidFill>
                </a:ln>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p>
        </p:txBody>
      </p:sp>
      <p:sp>
        <p:nvSpPr>
          <p:cNvPr id="8" name="Rectangle 7">
            <a:extLst>
              <a:ext uri="{FF2B5EF4-FFF2-40B4-BE49-F238E27FC236}">
                <a16:creationId xmlns:a16="http://schemas.microsoft.com/office/drawing/2014/main" id="{FA17724E-9A48-8951-C05C-DC09C70DD388}"/>
              </a:ext>
            </a:extLst>
          </p:cNvPr>
          <p:cNvSpPr/>
          <p:nvPr/>
        </p:nvSpPr>
        <p:spPr>
          <a:xfrm>
            <a:off x="-1708545" y="5477415"/>
            <a:ext cx="673100" cy="152309"/>
          </a:xfrm>
          <a:prstGeom prst="rect">
            <a:avLst/>
          </a:prstGeom>
          <a:solidFill>
            <a:srgbClr val="46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A4CF723-B4AA-54D2-9F82-48B802901681}"/>
              </a:ext>
            </a:extLst>
          </p:cNvPr>
          <p:cNvSpPr/>
          <p:nvPr/>
        </p:nvSpPr>
        <p:spPr>
          <a:xfrm>
            <a:off x="256100" y="5477415"/>
            <a:ext cx="673100" cy="152309"/>
          </a:xfrm>
          <a:prstGeom prst="rect">
            <a:avLst/>
          </a:prstGeom>
          <a:solidFill>
            <a:srgbClr val="46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oogle Shape;459;p36">
            <a:extLst>
              <a:ext uri="{FF2B5EF4-FFF2-40B4-BE49-F238E27FC236}">
                <a16:creationId xmlns:a16="http://schemas.microsoft.com/office/drawing/2014/main" id="{19694A9B-494C-F64E-DCF9-EB8A602CD7A5}"/>
              </a:ext>
            </a:extLst>
          </p:cNvPr>
          <p:cNvSpPr/>
          <p:nvPr/>
        </p:nvSpPr>
        <p:spPr>
          <a:xfrm>
            <a:off x="454705" y="847158"/>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Data Scrape</a:t>
            </a:r>
          </a:p>
        </p:txBody>
      </p:sp>
      <p:sp>
        <p:nvSpPr>
          <p:cNvPr id="6" name="Google Shape;466;p36">
            <a:extLst>
              <a:ext uri="{FF2B5EF4-FFF2-40B4-BE49-F238E27FC236}">
                <a16:creationId xmlns:a16="http://schemas.microsoft.com/office/drawing/2014/main" id="{32B6ABBB-092C-D821-51C9-FFF39D86AC39}"/>
              </a:ext>
            </a:extLst>
          </p:cNvPr>
          <p:cNvSpPr/>
          <p:nvPr/>
        </p:nvSpPr>
        <p:spPr>
          <a:xfrm>
            <a:off x="454705" y="1439856"/>
            <a:ext cx="2592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he regression model relies on the latest scraped data, but factors like seasonal variations, natural disasters, or other events, can distort Starbucks’ store count at the time of scraping, misrepresenting the actual capacity for Starbucks expansion.</a:t>
            </a:r>
          </a:p>
        </p:txBody>
      </p:sp>
      <p:sp>
        <p:nvSpPr>
          <p:cNvPr id="11" name="Google Shape;466;p36">
            <a:extLst>
              <a:ext uri="{FF2B5EF4-FFF2-40B4-BE49-F238E27FC236}">
                <a16:creationId xmlns:a16="http://schemas.microsoft.com/office/drawing/2014/main" id="{1F7C1FC8-2858-1CA1-B629-DB422056234B}"/>
              </a:ext>
            </a:extLst>
          </p:cNvPr>
          <p:cNvSpPr/>
          <p:nvPr/>
        </p:nvSpPr>
        <p:spPr>
          <a:xfrm>
            <a:off x="454705" y="3247448"/>
            <a:ext cx="2592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crape the latest store count data by location directly from Starbucks’ website and research for any ongoing external events that may have temporarily influenced and misrepresented the store count.</a:t>
            </a:r>
          </a:p>
        </p:txBody>
      </p:sp>
      <p:sp>
        <p:nvSpPr>
          <p:cNvPr id="12" name="Google Shape;459;p36">
            <a:extLst>
              <a:ext uri="{FF2B5EF4-FFF2-40B4-BE49-F238E27FC236}">
                <a16:creationId xmlns:a16="http://schemas.microsoft.com/office/drawing/2014/main" id="{A5DB16FF-9507-76CB-B859-D19E75CC8BDB}"/>
              </a:ext>
            </a:extLst>
          </p:cNvPr>
          <p:cNvSpPr/>
          <p:nvPr/>
        </p:nvSpPr>
        <p:spPr>
          <a:xfrm>
            <a:off x="3276001" y="847158"/>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eal Estate Trends</a:t>
            </a:r>
          </a:p>
        </p:txBody>
      </p:sp>
      <p:sp>
        <p:nvSpPr>
          <p:cNvPr id="13" name="Google Shape;466;p36">
            <a:extLst>
              <a:ext uri="{FF2B5EF4-FFF2-40B4-BE49-F238E27FC236}">
                <a16:creationId xmlns:a16="http://schemas.microsoft.com/office/drawing/2014/main" id="{7E3A4FBA-A339-7F4F-3BBF-D974D0A7E7EF}"/>
              </a:ext>
            </a:extLst>
          </p:cNvPr>
          <p:cNvSpPr/>
          <p:nvPr/>
        </p:nvSpPr>
        <p:spPr>
          <a:xfrm>
            <a:off x="3276001" y="1439856"/>
            <a:ext cx="2592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Besides zoning laws, there may be a potential shift away from opening standalone shops. Evolving preferences for mixed-use spaces or changes in consumer behavior may challenge the traditional model of Starbucks’ stores.</a:t>
            </a:r>
          </a:p>
        </p:txBody>
      </p:sp>
      <p:sp>
        <p:nvSpPr>
          <p:cNvPr id="14" name="Google Shape;466;p36">
            <a:extLst>
              <a:ext uri="{FF2B5EF4-FFF2-40B4-BE49-F238E27FC236}">
                <a16:creationId xmlns:a16="http://schemas.microsoft.com/office/drawing/2014/main" id="{CF703AFD-D896-7AA6-75F3-D0CED6922C1B}"/>
              </a:ext>
            </a:extLst>
          </p:cNvPr>
          <p:cNvSpPr/>
          <p:nvPr/>
        </p:nvSpPr>
        <p:spPr>
          <a:xfrm>
            <a:off x="3276001" y="3247448"/>
            <a:ext cx="2592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etching location-specific real estate prices and forward-looking trends would better help plan the cost associated with building a brick-and-mortar store. </a:t>
            </a:r>
          </a:p>
        </p:txBody>
      </p:sp>
      <p:sp>
        <p:nvSpPr>
          <p:cNvPr id="15" name="Google Shape;459;p36">
            <a:extLst>
              <a:ext uri="{FF2B5EF4-FFF2-40B4-BE49-F238E27FC236}">
                <a16:creationId xmlns:a16="http://schemas.microsoft.com/office/drawing/2014/main" id="{2FE16B37-2BAA-C25E-F518-FC93B9E39DC9}"/>
              </a:ext>
            </a:extLst>
          </p:cNvPr>
          <p:cNvSpPr/>
          <p:nvPr/>
        </p:nvSpPr>
        <p:spPr>
          <a:xfrm>
            <a:off x="6097297" y="847158"/>
            <a:ext cx="2592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ise of Home Appliance</a:t>
            </a:r>
          </a:p>
        </p:txBody>
      </p:sp>
      <p:sp>
        <p:nvSpPr>
          <p:cNvPr id="17" name="Google Shape;466;p36">
            <a:extLst>
              <a:ext uri="{FF2B5EF4-FFF2-40B4-BE49-F238E27FC236}">
                <a16:creationId xmlns:a16="http://schemas.microsoft.com/office/drawing/2014/main" id="{EB5E8EAB-9C1B-FD8E-D1EB-4726C68F576C}"/>
              </a:ext>
            </a:extLst>
          </p:cNvPr>
          <p:cNvSpPr/>
          <p:nvPr/>
        </p:nvSpPr>
        <p:spPr>
          <a:xfrm>
            <a:off x="6097297" y="1439856"/>
            <a:ext cx="2592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s remote work becomes more prevalent, the rising popularity of home appliances like coffee machines may reduce the demand for Starbucks stores. This growing trend is not accounted for in the regression, which relies on historical data.</a:t>
            </a:r>
          </a:p>
        </p:txBody>
      </p:sp>
      <p:sp>
        <p:nvSpPr>
          <p:cNvPr id="18" name="Google Shape;466;p36">
            <a:extLst>
              <a:ext uri="{FF2B5EF4-FFF2-40B4-BE49-F238E27FC236}">
                <a16:creationId xmlns:a16="http://schemas.microsoft.com/office/drawing/2014/main" id="{69659EEE-3284-4CDD-999D-4F0676278CD0}"/>
              </a:ext>
            </a:extLst>
          </p:cNvPr>
          <p:cNvSpPr/>
          <p:nvPr/>
        </p:nvSpPr>
        <p:spPr>
          <a:xfrm>
            <a:off x="6097297" y="3247448"/>
            <a:ext cx="2592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rack the increasing adoption of personal coffee machines and assess any potential impact on Starbucks’ demand, re-running the regression to consider this evolving trend.</a:t>
            </a:r>
          </a:p>
        </p:txBody>
      </p:sp>
      <p:sp>
        <p:nvSpPr>
          <p:cNvPr id="30" name="Chevron 29">
            <a:extLst>
              <a:ext uri="{FF2B5EF4-FFF2-40B4-BE49-F238E27FC236}">
                <a16:creationId xmlns:a16="http://schemas.microsoft.com/office/drawing/2014/main" id="{3BC39117-5C40-5B8A-5867-DE4CFDAC303F}"/>
              </a:ext>
            </a:extLst>
          </p:cNvPr>
          <p:cNvSpPr/>
          <p:nvPr/>
        </p:nvSpPr>
        <p:spPr>
          <a:xfrm rot="5400000">
            <a:off x="7344244" y="3014567"/>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 name="Chevron 31">
            <a:extLst>
              <a:ext uri="{FF2B5EF4-FFF2-40B4-BE49-F238E27FC236}">
                <a16:creationId xmlns:a16="http://schemas.microsoft.com/office/drawing/2014/main" id="{9133D5E2-C07C-252B-1D9E-0EB3792D6F02}"/>
              </a:ext>
            </a:extLst>
          </p:cNvPr>
          <p:cNvSpPr/>
          <p:nvPr/>
        </p:nvSpPr>
        <p:spPr>
          <a:xfrm rot="5400000">
            <a:off x="4522947" y="3014568"/>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3" name="Chevron 32">
            <a:extLst>
              <a:ext uri="{FF2B5EF4-FFF2-40B4-BE49-F238E27FC236}">
                <a16:creationId xmlns:a16="http://schemas.microsoft.com/office/drawing/2014/main" id="{F1CCCDB6-9CDA-69C1-80B4-391EDDB38168}"/>
              </a:ext>
            </a:extLst>
          </p:cNvPr>
          <p:cNvSpPr/>
          <p:nvPr/>
        </p:nvSpPr>
        <p:spPr>
          <a:xfrm rot="5400000">
            <a:off x="1701652" y="3013802"/>
            <a:ext cx="98104" cy="17635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20436963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4E0686D-9B09-D0B4-914B-D14B3B66C547}"/>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093E356A-0C6D-AF6D-C55B-3F21C04DDD28}"/>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Limitations of the Model &amp; Improvement Opportunities – Cont.</a:t>
            </a:r>
          </a:p>
          <a:p>
            <a:pPr marL="0" lvl="0" indent="0" algn="l" rtl="0">
              <a:spcBef>
                <a:spcPts val="0"/>
              </a:spcBef>
              <a:spcAft>
                <a:spcPts val="0"/>
              </a:spcAft>
              <a:buNone/>
            </a:pPr>
            <a:endPar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9" name="Google Shape;98;p15">
            <a:extLst>
              <a:ext uri="{FF2B5EF4-FFF2-40B4-BE49-F238E27FC236}">
                <a16:creationId xmlns:a16="http://schemas.microsoft.com/office/drawing/2014/main" id="{C6519D75-0419-4724-4E02-69BF2837E782}"/>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r>
              <a:rPr lang="en-CA"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Addressing model constraints and future strategies</a:t>
            </a:r>
          </a:p>
        </p:txBody>
      </p:sp>
      <p:sp>
        <p:nvSpPr>
          <p:cNvPr id="16" name="Google Shape;99;p15">
            <a:extLst>
              <a:ext uri="{FF2B5EF4-FFF2-40B4-BE49-F238E27FC236}">
                <a16:creationId xmlns:a16="http://schemas.microsoft.com/office/drawing/2014/main" id="{836AFD89-6167-C376-3711-6C7184451C0E}"/>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Oval 6">
            <a:extLst>
              <a:ext uri="{FF2B5EF4-FFF2-40B4-BE49-F238E27FC236}">
                <a16:creationId xmlns:a16="http://schemas.microsoft.com/office/drawing/2014/main" id="{027C3238-E524-C469-E183-90FB300C2F17}"/>
              </a:ext>
            </a:extLst>
          </p:cNvPr>
          <p:cNvSpPr/>
          <p:nvPr/>
        </p:nvSpPr>
        <p:spPr>
          <a:xfrm>
            <a:off x="-726222" y="5351019"/>
            <a:ext cx="469843" cy="469843"/>
          </a:xfrm>
          <a:prstGeom prst="ellipse">
            <a:avLst/>
          </a:prstGeom>
          <a:solidFill>
            <a:srgbClr val="469262"/>
          </a:solidFill>
          <a:ln>
            <a:noFill/>
          </a:ln>
          <a:effectLst>
            <a:outerShdw blurRad="50800" dist="50800" dir="5400000" algn="ctr" rotWithShape="0">
              <a:schemeClr val="tx1">
                <a:alpha val="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n>
                  <a:solidFill>
                    <a:schemeClr val="bg1"/>
                  </a:solidFill>
                </a:ln>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p>
        </p:txBody>
      </p:sp>
      <p:sp>
        <p:nvSpPr>
          <p:cNvPr id="8" name="Rectangle 7">
            <a:extLst>
              <a:ext uri="{FF2B5EF4-FFF2-40B4-BE49-F238E27FC236}">
                <a16:creationId xmlns:a16="http://schemas.microsoft.com/office/drawing/2014/main" id="{FA17724E-9A48-8951-C05C-DC09C70DD388}"/>
              </a:ext>
            </a:extLst>
          </p:cNvPr>
          <p:cNvSpPr/>
          <p:nvPr/>
        </p:nvSpPr>
        <p:spPr>
          <a:xfrm>
            <a:off x="-1708545" y="5477415"/>
            <a:ext cx="673100" cy="152309"/>
          </a:xfrm>
          <a:prstGeom prst="rect">
            <a:avLst/>
          </a:prstGeom>
          <a:solidFill>
            <a:srgbClr val="46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A4CF723-B4AA-54D2-9F82-48B802901681}"/>
              </a:ext>
            </a:extLst>
          </p:cNvPr>
          <p:cNvSpPr/>
          <p:nvPr/>
        </p:nvSpPr>
        <p:spPr>
          <a:xfrm>
            <a:off x="256100" y="5477415"/>
            <a:ext cx="673100" cy="152309"/>
          </a:xfrm>
          <a:prstGeom prst="rect">
            <a:avLst/>
          </a:prstGeom>
          <a:solidFill>
            <a:srgbClr val="469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Google Shape;459;p36">
            <a:extLst>
              <a:ext uri="{FF2B5EF4-FFF2-40B4-BE49-F238E27FC236}">
                <a16:creationId xmlns:a16="http://schemas.microsoft.com/office/drawing/2014/main" id="{A5DB16FF-9507-76CB-B859-D19E75CC8BDB}"/>
              </a:ext>
            </a:extLst>
          </p:cNvPr>
          <p:cNvSpPr/>
          <p:nvPr/>
        </p:nvSpPr>
        <p:spPr>
          <a:xfrm>
            <a:off x="4766720" y="847158"/>
            <a:ext cx="3096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Location</a:t>
            </a:r>
          </a:p>
        </p:txBody>
      </p:sp>
      <p:sp>
        <p:nvSpPr>
          <p:cNvPr id="13" name="Google Shape;466;p36">
            <a:extLst>
              <a:ext uri="{FF2B5EF4-FFF2-40B4-BE49-F238E27FC236}">
                <a16:creationId xmlns:a16="http://schemas.microsoft.com/office/drawing/2014/main" id="{7E3A4FBA-A339-7F4F-3BBF-D974D0A7E7EF}"/>
              </a:ext>
            </a:extLst>
          </p:cNvPr>
          <p:cNvSpPr/>
          <p:nvPr/>
        </p:nvSpPr>
        <p:spPr>
          <a:xfrm>
            <a:off x="4766720" y="1439856"/>
            <a:ext cx="3096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he regression analysis does not consider Starbucks’ historical preference for opening stores in high-traffic areas like street corners, next to parking lots, and near offices.</a:t>
            </a:r>
          </a:p>
        </p:txBody>
      </p:sp>
      <p:sp>
        <p:nvSpPr>
          <p:cNvPr id="14" name="Google Shape;466;p36">
            <a:extLst>
              <a:ext uri="{FF2B5EF4-FFF2-40B4-BE49-F238E27FC236}">
                <a16:creationId xmlns:a16="http://schemas.microsoft.com/office/drawing/2014/main" id="{CF703AFD-D896-7AA6-75F3-D0CED6922C1B}"/>
              </a:ext>
            </a:extLst>
          </p:cNvPr>
          <p:cNvSpPr/>
          <p:nvPr/>
        </p:nvSpPr>
        <p:spPr>
          <a:xfrm>
            <a:off x="4766720" y="3257073"/>
            <a:ext cx="3096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In addition to collecting zoning regulatory data, assess the availability of preferred high-traffic areas. If these fall short of the space required for predicted additional store openings, evaluate the feasibility of Starbucks opting for new stores in alternative areas.</a:t>
            </a:r>
          </a:p>
        </p:txBody>
      </p:sp>
      <p:sp>
        <p:nvSpPr>
          <p:cNvPr id="32" name="Chevron 31">
            <a:extLst>
              <a:ext uri="{FF2B5EF4-FFF2-40B4-BE49-F238E27FC236}">
                <a16:creationId xmlns:a16="http://schemas.microsoft.com/office/drawing/2014/main" id="{9133D5E2-C07C-252B-1D9E-0EB3792D6F02}"/>
              </a:ext>
            </a:extLst>
          </p:cNvPr>
          <p:cNvSpPr/>
          <p:nvPr/>
        </p:nvSpPr>
        <p:spPr>
          <a:xfrm rot="5400000">
            <a:off x="6265666" y="3007048"/>
            <a:ext cx="98104" cy="21064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Google Shape;459;p36">
            <a:extLst>
              <a:ext uri="{FF2B5EF4-FFF2-40B4-BE49-F238E27FC236}">
                <a16:creationId xmlns:a16="http://schemas.microsoft.com/office/drawing/2014/main" id="{19694A9B-494C-F64E-DCF9-EB8A602CD7A5}"/>
              </a:ext>
            </a:extLst>
          </p:cNvPr>
          <p:cNvSpPr/>
          <p:nvPr/>
        </p:nvSpPr>
        <p:spPr>
          <a:xfrm>
            <a:off x="1281280" y="847158"/>
            <a:ext cx="3096000" cy="457722"/>
          </a:xfrm>
          <a:prstGeom prst="rect">
            <a:avLst/>
          </a:prstGeom>
          <a:solidFill>
            <a:srgbClr val="05B050"/>
          </a:solidFill>
          <a:ln>
            <a:solidFill>
              <a:srgbClr val="05B050"/>
            </a:solidFill>
          </a:ln>
        </p:spPr>
        <p:txBody>
          <a:bodyPr spcFirstLastPara="1" wrap="square" lIns="91425" tIns="91425" rIns="91425" bIns="91425" anchor="ctr" anchorCtr="0">
            <a:noAutofit/>
          </a:bodyPr>
          <a:lstStyle/>
          <a:p>
            <a:pPr marL="0" lvl="0" indent="0" algn="ctr" rtl="0">
              <a:spcBef>
                <a:spcPts val="0"/>
              </a:spcBef>
              <a:spcAft>
                <a:spcPts val="0"/>
              </a:spcAft>
              <a:buNone/>
            </a:pPr>
            <a:r>
              <a:rPr lang="en-GB"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Economic Trends</a:t>
            </a:r>
          </a:p>
        </p:txBody>
      </p:sp>
      <p:sp>
        <p:nvSpPr>
          <p:cNvPr id="6" name="Google Shape;466;p36">
            <a:extLst>
              <a:ext uri="{FF2B5EF4-FFF2-40B4-BE49-F238E27FC236}">
                <a16:creationId xmlns:a16="http://schemas.microsoft.com/office/drawing/2014/main" id="{32B6ABBB-092C-D821-51C9-FFF39D86AC39}"/>
              </a:ext>
            </a:extLst>
          </p:cNvPr>
          <p:cNvSpPr/>
          <p:nvPr/>
        </p:nvSpPr>
        <p:spPr>
          <a:xfrm>
            <a:off x="1281280" y="1439856"/>
            <a:ext cx="3096000" cy="1512000"/>
          </a:xfrm>
          <a:prstGeom prst="rect">
            <a:avLst/>
          </a:prstGeom>
          <a:solidFill>
            <a:schemeClr val="bg1"/>
          </a:solidFill>
          <a:ln w="19050">
            <a:solidFill>
              <a:srgbClr val="05B050"/>
            </a:solid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Our predictions may become outdated as the regression model depends on demographic data, and changes in macroeconomic factors like minimum wage and tax policies can influence consumer demand for coffee and Starbucks stores.</a:t>
            </a:r>
          </a:p>
        </p:txBody>
      </p:sp>
      <p:sp>
        <p:nvSpPr>
          <p:cNvPr id="11" name="Google Shape;466;p36">
            <a:extLst>
              <a:ext uri="{FF2B5EF4-FFF2-40B4-BE49-F238E27FC236}">
                <a16:creationId xmlns:a16="http://schemas.microsoft.com/office/drawing/2014/main" id="{1F7C1FC8-2858-1CA1-B629-DB422056234B}"/>
              </a:ext>
            </a:extLst>
          </p:cNvPr>
          <p:cNvSpPr/>
          <p:nvPr/>
        </p:nvSpPr>
        <p:spPr>
          <a:xfrm>
            <a:off x="1281280" y="3257073"/>
            <a:ext cx="3096000" cy="1512000"/>
          </a:xfrm>
          <a:prstGeom prst="rect">
            <a:avLst/>
          </a:prstGeom>
          <a:solidFill>
            <a:srgbClr val="F5F2EC"/>
          </a:solidFill>
          <a:ln w="12700">
            <a:noFill/>
            <a:prstDash val="lgDash"/>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egularly monitor evolving federal-level and international policies and events to gauge their impact on demand and the potential for Starbucks to open additional stores.</a:t>
            </a:r>
          </a:p>
        </p:txBody>
      </p:sp>
      <p:sp>
        <p:nvSpPr>
          <p:cNvPr id="33" name="Chevron 32">
            <a:extLst>
              <a:ext uri="{FF2B5EF4-FFF2-40B4-BE49-F238E27FC236}">
                <a16:creationId xmlns:a16="http://schemas.microsoft.com/office/drawing/2014/main" id="{F1CCCDB6-9CDA-69C1-80B4-391EDDB38168}"/>
              </a:ext>
            </a:extLst>
          </p:cNvPr>
          <p:cNvSpPr/>
          <p:nvPr/>
        </p:nvSpPr>
        <p:spPr>
          <a:xfrm rot="5400000">
            <a:off x="2780227" y="3006282"/>
            <a:ext cx="98104" cy="210641"/>
          </a:xfrm>
          <a:prstGeom prst="chevron">
            <a:avLst/>
          </a:prstGeom>
          <a:solidFill>
            <a:srgbClr val="05B050"/>
          </a:solidFill>
          <a:ln>
            <a:solidFill>
              <a:srgbClr val="05B050"/>
            </a:solidFill>
          </a:ln>
          <a:effectLst>
            <a:outerShdw blurRad="50800" dist="50800" dir="5400000" algn="ctr" rotWithShape="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21814988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C4E59715-EF81-C33E-930F-D8B081D8E6B9}"/>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5E022F00-B499-CE84-B669-F91E6AB6B760}"/>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Risks &amp; Mitigations</a:t>
            </a:r>
          </a:p>
        </p:txBody>
      </p:sp>
      <p:sp>
        <p:nvSpPr>
          <p:cNvPr id="9" name="Google Shape;98;p15">
            <a:extLst>
              <a:ext uri="{FF2B5EF4-FFF2-40B4-BE49-F238E27FC236}">
                <a16:creationId xmlns:a16="http://schemas.microsoft.com/office/drawing/2014/main" id="{6AE846CA-7EBA-E9D5-B25E-E1168B540899}"/>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What are the risks of expanding so aggressively?</a:t>
            </a:r>
          </a:p>
        </p:txBody>
      </p:sp>
      <p:sp>
        <p:nvSpPr>
          <p:cNvPr id="16" name="Google Shape;99;p15">
            <a:extLst>
              <a:ext uri="{FF2B5EF4-FFF2-40B4-BE49-F238E27FC236}">
                <a16:creationId xmlns:a16="http://schemas.microsoft.com/office/drawing/2014/main" id="{F9709830-736D-4B95-FDDB-5242C83ED9CE}"/>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67" name="Google Shape;571;p40">
            <a:extLst>
              <a:ext uri="{FF2B5EF4-FFF2-40B4-BE49-F238E27FC236}">
                <a16:creationId xmlns:a16="http://schemas.microsoft.com/office/drawing/2014/main" id="{A7A5C5A1-9988-E5FF-54C5-CD59E7000467}"/>
              </a:ext>
            </a:extLst>
          </p:cNvPr>
          <p:cNvCxnSpPr>
            <a:cxnSpLocks/>
          </p:cNvCxnSpPr>
          <p:nvPr/>
        </p:nvCxnSpPr>
        <p:spPr>
          <a:xfrm>
            <a:off x="647751" y="1390269"/>
            <a:ext cx="0" cy="3204000"/>
          </a:xfrm>
          <a:prstGeom prst="straightConnector1">
            <a:avLst/>
          </a:prstGeom>
          <a:noFill/>
          <a:ln w="9525" cap="flat" cmpd="sng">
            <a:solidFill>
              <a:srgbClr val="000000"/>
            </a:solidFill>
            <a:prstDash val="solid"/>
            <a:round/>
            <a:headEnd type="stealth" w="med" len="med"/>
            <a:tailEnd type="none" w="med" len="med"/>
          </a:ln>
        </p:spPr>
      </p:cxnSp>
      <p:cxnSp>
        <p:nvCxnSpPr>
          <p:cNvPr id="68" name="Google Shape;572;p40">
            <a:extLst>
              <a:ext uri="{FF2B5EF4-FFF2-40B4-BE49-F238E27FC236}">
                <a16:creationId xmlns:a16="http://schemas.microsoft.com/office/drawing/2014/main" id="{4C7E6978-6C8F-5A06-E1CF-C122895CE365}"/>
              </a:ext>
            </a:extLst>
          </p:cNvPr>
          <p:cNvCxnSpPr>
            <a:cxnSpLocks/>
          </p:cNvCxnSpPr>
          <p:nvPr/>
        </p:nvCxnSpPr>
        <p:spPr>
          <a:xfrm>
            <a:off x="640937" y="4594269"/>
            <a:ext cx="3211200" cy="14700"/>
          </a:xfrm>
          <a:prstGeom prst="straightConnector1">
            <a:avLst/>
          </a:prstGeom>
          <a:noFill/>
          <a:ln w="9525" cap="flat" cmpd="sng">
            <a:solidFill>
              <a:srgbClr val="000000"/>
            </a:solidFill>
            <a:prstDash val="solid"/>
            <a:round/>
            <a:headEnd type="none" w="med" len="med"/>
            <a:tailEnd type="stealth" w="med" len="med"/>
          </a:ln>
        </p:spPr>
      </p:cxnSp>
      <p:cxnSp>
        <p:nvCxnSpPr>
          <p:cNvPr id="69" name="Google Shape;573;p40">
            <a:extLst>
              <a:ext uri="{FF2B5EF4-FFF2-40B4-BE49-F238E27FC236}">
                <a16:creationId xmlns:a16="http://schemas.microsoft.com/office/drawing/2014/main" id="{2FF5D69F-E742-7621-A761-304BADE55732}"/>
              </a:ext>
            </a:extLst>
          </p:cNvPr>
          <p:cNvCxnSpPr>
            <a:cxnSpLocks/>
          </p:cNvCxnSpPr>
          <p:nvPr/>
        </p:nvCxnSpPr>
        <p:spPr>
          <a:xfrm rot="10800000">
            <a:off x="666019" y="2992269"/>
            <a:ext cx="3079500" cy="0"/>
          </a:xfrm>
          <a:prstGeom prst="straightConnector1">
            <a:avLst/>
          </a:prstGeom>
          <a:noFill/>
          <a:ln w="9525" cap="flat" cmpd="sng">
            <a:solidFill>
              <a:srgbClr val="595959"/>
            </a:solidFill>
            <a:prstDash val="lgDash"/>
            <a:round/>
            <a:headEnd type="none" w="med" len="med"/>
            <a:tailEnd type="none" w="med" len="med"/>
          </a:ln>
        </p:spPr>
      </p:cxnSp>
      <p:sp>
        <p:nvSpPr>
          <p:cNvPr id="76" name="Google Shape;580;p40">
            <a:extLst>
              <a:ext uri="{FF2B5EF4-FFF2-40B4-BE49-F238E27FC236}">
                <a16:creationId xmlns:a16="http://schemas.microsoft.com/office/drawing/2014/main" id="{64C5BDE3-7B54-5FD9-9234-DE9EC1F1B742}"/>
              </a:ext>
            </a:extLst>
          </p:cNvPr>
          <p:cNvSpPr/>
          <p:nvPr/>
        </p:nvSpPr>
        <p:spPr>
          <a:xfrm>
            <a:off x="1434381" y="2716087"/>
            <a:ext cx="450600" cy="441900"/>
          </a:xfrm>
          <a:prstGeom prst="ellipse">
            <a:avLst/>
          </a:prstGeom>
          <a:solidFill>
            <a:srgbClr val="00B05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15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2</a:t>
            </a:r>
            <a:endPar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7" name="Google Shape;581;p40">
            <a:extLst>
              <a:ext uri="{FF2B5EF4-FFF2-40B4-BE49-F238E27FC236}">
                <a16:creationId xmlns:a16="http://schemas.microsoft.com/office/drawing/2014/main" id="{C9E8E6F6-00C4-B2F3-EFB4-354DA6CE284A}"/>
              </a:ext>
            </a:extLst>
          </p:cNvPr>
          <p:cNvSpPr/>
          <p:nvPr/>
        </p:nvSpPr>
        <p:spPr>
          <a:xfrm>
            <a:off x="945301" y="3474269"/>
            <a:ext cx="450600" cy="441900"/>
          </a:xfrm>
          <a:prstGeom prst="ellipse">
            <a:avLst/>
          </a:prstGeom>
          <a:solidFill>
            <a:srgbClr val="08CD65"/>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1</a:t>
            </a:r>
          </a:p>
        </p:txBody>
      </p:sp>
      <p:sp>
        <p:nvSpPr>
          <p:cNvPr id="78" name="Google Shape;582;p40">
            <a:extLst>
              <a:ext uri="{FF2B5EF4-FFF2-40B4-BE49-F238E27FC236}">
                <a16:creationId xmlns:a16="http://schemas.microsoft.com/office/drawing/2014/main" id="{5CE2D278-C877-F1CC-17EE-E6404E592E18}"/>
              </a:ext>
            </a:extLst>
          </p:cNvPr>
          <p:cNvSpPr/>
          <p:nvPr/>
        </p:nvSpPr>
        <p:spPr>
          <a:xfrm>
            <a:off x="2301738" y="3664905"/>
            <a:ext cx="450600" cy="441900"/>
          </a:xfrm>
          <a:prstGeom prst="ellipse">
            <a:avLst/>
          </a:prstGeom>
          <a:solidFill>
            <a:srgbClr val="47926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15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3</a:t>
            </a:r>
            <a:endParaRPr lang="en-GB" sz="1500" b="1" i="0" u="none" strike="noStrike" cap="none">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nvGrpSpPr>
          <p:cNvPr id="90" name="Group 89">
            <a:extLst>
              <a:ext uri="{FF2B5EF4-FFF2-40B4-BE49-F238E27FC236}">
                <a16:creationId xmlns:a16="http://schemas.microsoft.com/office/drawing/2014/main" id="{9EA978C8-DDB4-9B8E-594A-88FD3D4490C2}"/>
              </a:ext>
            </a:extLst>
          </p:cNvPr>
          <p:cNvGrpSpPr/>
          <p:nvPr/>
        </p:nvGrpSpPr>
        <p:grpSpPr>
          <a:xfrm>
            <a:off x="4210174" y="921647"/>
            <a:ext cx="4594387" cy="1044000"/>
            <a:chOff x="4149465" y="1099448"/>
            <a:chExt cx="4594387" cy="886000"/>
          </a:xfrm>
        </p:grpSpPr>
        <p:sp>
          <p:nvSpPr>
            <p:cNvPr id="70" name="Google Shape;574;p40">
              <a:extLst>
                <a:ext uri="{FF2B5EF4-FFF2-40B4-BE49-F238E27FC236}">
                  <a16:creationId xmlns:a16="http://schemas.microsoft.com/office/drawing/2014/main" id="{A81ED0F6-8451-2FCD-3D0D-9FB62C7A3CA9}"/>
                </a:ext>
              </a:extLst>
            </p:cNvPr>
            <p:cNvSpPr/>
            <p:nvPr/>
          </p:nvSpPr>
          <p:spPr>
            <a:xfrm>
              <a:off x="4674352" y="1099848"/>
              <a:ext cx="1899000" cy="885600"/>
            </a:xfrm>
            <a:prstGeom prst="rect">
              <a:avLst/>
            </a:prstGeom>
            <a:solidFill>
              <a:srgbClr val="E4E6EB"/>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100" b="1">
                  <a:latin typeface="Helvetica Neue" panose="02000503000000020004" pitchFamily="2" charset="0"/>
                  <a:ea typeface="Helvetica Neue" panose="02000503000000020004" pitchFamily="2" charset="0"/>
                  <a:cs typeface="Helvetica Neue" panose="02000503000000020004" pitchFamily="2" charset="0"/>
                  <a:sym typeface="Helvetica Neue"/>
                </a:rPr>
                <a:t>Brand dilution</a:t>
              </a:r>
              <a:endParaRPr sz="11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3" name="Google Shape;577;p40">
              <a:extLst>
                <a:ext uri="{FF2B5EF4-FFF2-40B4-BE49-F238E27FC236}">
                  <a16:creationId xmlns:a16="http://schemas.microsoft.com/office/drawing/2014/main" id="{EF2449FE-2D0A-1D06-1225-FE07FD618F90}"/>
                </a:ext>
              </a:extLst>
            </p:cNvPr>
            <p:cNvSpPr/>
            <p:nvPr/>
          </p:nvSpPr>
          <p:spPr>
            <a:xfrm>
              <a:off x="6573352" y="1099448"/>
              <a:ext cx="2170500" cy="885600"/>
            </a:xfrm>
            <a:prstGeom prst="rect">
              <a:avLst/>
            </a:prstGeom>
            <a:solidFill>
              <a:srgbClr val="FFFFFF"/>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269999" marR="0" lvl="0" indent="-153499" algn="l" rtl="0">
                <a:lnSpc>
                  <a:spcPct val="100000"/>
                </a:lnSpc>
                <a:spcBef>
                  <a:spcPts val="0"/>
                </a:spcBef>
                <a:spcAft>
                  <a:spcPts val="0"/>
                </a:spcAft>
                <a:buClr>
                  <a:srgbClr val="242729"/>
                </a:buClr>
                <a:buSzPct val="75000"/>
                <a:buFont typeface="Helvetica Neue"/>
                <a:buChar char="●"/>
              </a:pPr>
              <a:r>
                <a:rPr lang="en-US" sz="100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No capital or supplier constraints so quality should remain high</a:t>
              </a:r>
              <a:endParaRPr sz="100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269999" marR="0" lvl="0" indent="-153499" algn="l" rtl="0">
                <a:lnSpc>
                  <a:spcPct val="100000"/>
                </a:lnSpc>
                <a:spcBef>
                  <a:spcPts val="0"/>
                </a:spcBef>
                <a:spcAft>
                  <a:spcPts val="0"/>
                </a:spcAft>
                <a:buClr>
                  <a:srgbClr val="242729"/>
                </a:buClr>
                <a:buSzPct val="75000"/>
                <a:buFont typeface="Helvetica Neue"/>
                <a:buChar char="●"/>
              </a:pPr>
              <a:r>
                <a:rPr lang="en-GB" sz="100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rPr>
                <a:t>Strong corporate culture and experience</a:t>
              </a:r>
              <a:endParaRPr sz="1000">
                <a:solidFill>
                  <a:srgbClr val="242729"/>
                </a:solidFill>
                <a:highlight>
                  <a:srgbClr val="FFFFF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9" name="Google Shape;583;p40">
              <a:extLst>
                <a:ext uri="{FF2B5EF4-FFF2-40B4-BE49-F238E27FC236}">
                  <a16:creationId xmlns:a16="http://schemas.microsoft.com/office/drawing/2014/main" id="{4F0C11E1-56FE-067D-EEFD-93945F236AF9}"/>
                </a:ext>
              </a:extLst>
            </p:cNvPr>
            <p:cNvSpPr/>
            <p:nvPr/>
          </p:nvSpPr>
          <p:spPr>
            <a:xfrm>
              <a:off x="4149465" y="1099584"/>
              <a:ext cx="532800" cy="885600"/>
            </a:xfrm>
            <a:prstGeom prst="rect">
              <a:avLst/>
            </a:prstGeom>
            <a:solidFill>
              <a:srgbClr val="08CD65"/>
            </a:solidFill>
            <a:ln>
              <a:noFill/>
            </a:ln>
          </p:spPr>
          <p:txBody>
            <a:bodyPr spcFirstLastPara="1" wrap="square" lIns="68575" tIns="34275" rIns="68575" bIns="34275" anchor="ctr" anchorCtr="0">
              <a:noAutofit/>
            </a:bodyPr>
            <a:lstStyle/>
            <a:p>
              <a:pPr marL="0" lvl="0" indent="0" algn="ctr" rtl="0">
                <a:spcBef>
                  <a:spcPts val="0"/>
                </a:spcBef>
                <a:spcAft>
                  <a:spcPts val="0"/>
                </a:spcAft>
                <a:buClr>
                  <a:srgbClr val="000000"/>
                </a:buClr>
                <a:buSzPts val="2000"/>
                <a:buFont typeface="Arial"/>
                <a:buNone/>
              </a:pPr>
              <a:r>
                <a:rPr lang="en-GB" sz="15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1</a:t>
              </a:r>
              <a:endPar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grpSp>
        <p:nvGrpSpPr>
          <p:cNvPr id="89" name="Group 88">
            <a:extLst>
              <a:ext uri="{FF2B5EF4-FFF2-40B4-BE49-F238E27FC236}">
                <a16:creationId xmlns:a16="http://schemas.microsoft.com/office/drawing/2014/main" id="{13A1C2CA-ED60-1D1D-73D0-99D88C65B410}"/>
              </a:ext>
            </a:extLst>
          </p:cNvPr>
          <p:cNvGrpSpPr/>
          <p:nvPr/>
        </p:nvGrpSpPr>
        <p:grpSpPr>
          <a:xfrm>
            <a:off x="4210174" y="2120058"/>
            <a:ext cx="4594387" cy="1044000"/>
            <a:chOff x="4149465" y="2139173"/>
            <a:chExt cx="4594387" cy="886450"/>
          </a:xfrm>
        </p:grpSpPr>
        <p:sp>
          <p:nvSpPr>
            <p:cNvPr id="71" name="Google Shape;575;p40">
              <a:extLst>
                <a:ext uri="{FF2B5EF4-FFF2-40B4-BE49-F238E27FC236}">
                  <a16:creationId xmlns:a16="http://schemas.microsoft.com/office/drawing/2014/main" id="{F3B291B7-1EC0-E2E3-FDC8-E7DB9DF74327}"/>
                </a:ext>
              </a:extLst>
            </p:cNvPr>
            <p:cNvSpPr/>
            <p:nvPr/>
          </p:nvSpPr>
          <p:spPr>
            <a:xfrm>
              <a:off x="4674352" y="2139173"/>
              <a:ext cx="1899000" cy="885600"/>
            </a:xfrm>
            <a:prstGeom prst="rect">
              <a:avLst/>
            </a:prstGeom>
            <a:solidFill>
              <a:srgbClr val="E4E6EB"/>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100" b="1">
                  <a:latin typeface="Helvetica Neue" panose="02000503000000020004" pitchFamily="2" charset="0"/>
                  <a:ea typeface="Helvetica Neue" panose="02000503000000020004" pitchFamily="2" charset="0"/>
                  <a:cs typeface="Helvetica Neue" panose="02000503000000020004" pitchFamily="2" charset="0"/>
                  <a:sym typeface="Helvetica Neue"/>
                </a:rPr>
                <a:t>Consumer spending behaviour becomes recessionary</a:t>
              </a:r>
              <a:endParaRPr sz="11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4" name="Google Shape;578;p40">
              <a:extLst>
                <a:ext uri="{FF2B5EF4-FFF2-40B4-BE49-F238E27FC236}">
                  <a16:creationId xmlns:a16="http://schemas.microsoft.com/office/drawing/2014/main" id="{8A19256B-18E8-0251-DDA9-2658E025FEF5}"/>
                </a:ext>
              </a:extLst>
            </p:cNvPr>
            <p:cNvSpPr/>
            <p:nvPr/>
          </p:nvSpPr>
          <p:spPr>
            <a:xfrm>
              <a:off x="6573352" y="2140023"/>
              <a:ext cx="2170500" cy="885600"/>
            </a:xfrm>
            <a:prstGeom prst="rect">
              <a:avLst/>
            </a:prstGeom>
            <a:no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269999" marR="0" lvl="0" indent="-153499" algn="l" rtl="0">
                <a:lnSpc>
                  <a:spcPct val="100000"/>
                </a:lnSpc>
                <a:spcBef>
                  <a:spcPts val="0"/>
                </a:spcBef>
                <a:spcAft>
                  <a:spcPts val="0"/>
                </a:spcAft>
                <a:buSzPct val="75000"/>
                <a:buFont typeface="Helvetica Neue"/>
                <a:buChar char="●"/>
              </a:pPr>
              <a:r>
                <a:rPr lang="en-US" sz="1000">
                  <a:latin typeface="Helvetica Neue" panose="02000503000000020004" pitchFamily="2" charset="0"/>
                  <a:ea typeface="Helvetica Neue" panose="02000503000000020004" pitchFamily="2" charset="0"/>
                  <a:cs typeface="Helvetica Neue" panose="02000503000000020004" pitchFamily="2" charset="0"/>
                  <a:sym typeface="Helvetica Neue"/>
                </a:rPr>
                <a:t>“Soft landing” largely achieved in the USA</a:t>
              </a:r>
            </a:p>
            <a:p>
              <a:pPr marL="269999" marR="0" lvl="0" indent="-153499" algn="l" rtl="0">
                <a:lnSpc>
                  <a:spcPct val="100000"/>
                </a:lnSpc>
                <a:spcBef>
                  <a:spcPts val="0"/>
                </a:spcBef>
                <a:spcAft>
                  <a:spcPts val="0"/>
                </a:spcAft>
                <a:buSzPct val="75000"/>
                <a:buFont typeface="Helvetica Neue"/>
                <a:buChar char="●"/>
              </a:pPr>
              <a:r>
                <a:rPr lang="en-US" sz="1000">
                  <a:latin typeface="Helvetica Neue" panose="02000503000000020004" pitchFamily="2" charset="0"/>
                  <a:ea typeface="Helvetica Neue" panose="02000503000000020004" pitchFamily="2" charset="0"/>
                  <a:cs typeface="Helvetica Neue" panose="02000503000000020004" pitchFamily="2" charset="0"/>
                  <a:sym typeface="Helvetica Neue"/>
                </a:rPr>
                <a:t>Consumer spending expanded more than projected this year</a:t>
              </a:r>
              <a:endParaRPr sz="10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0" name="Google Shape;584;p40">
              <a:extLst>
                <a:ext uri="{FF2B5EF4-FFF2-40B4-BE49-F238E27FC236}">
                  <a16:creationId xmlns:a16="http://schemas.microsoft.com/office/drawing/2014/main" id="{38A619AC-A686-460D-CFF7-B1E9142AFC5E}"/>
                </a:ext>
              </a:extLst>
            </p:cNvPr>
            <p:cNvSpPr/>
            <p:nvPr/>
          </p:nvSpPr>
          <p:spPr>
            <a:xfrm>
              <a:off x="4149465" y="2139188"/>
              <a:ext cx="532800" cy="885600"/>
            </a:xfrm>
            <a:prstGeom prst="rect">
              <a:avLst/>
            </a:prstGeom>
            <a:solidFill>
              <a:srgbClr val="00B050"/>
            </a:solidFill>
            <a:ln>
              <a:noFill/>
            </a:ln>
          </p:spPr>
          <p:txBody>
            <a:bodyPr spcFirstLastPara="1" wrap="square" lIns="68575" tIns="34275" rIns="68575" bIns="34275" anchor="ctr" anchorCtr="0">
              <a:noAutofit/>
            </a:bodyPr>
            <a:lstStyle/>
            <a:p>
              <a:pPr marL="0" lvl="0" indent="0" algn="ctr" rtl="0">
                <a:spcBef>
                  <a:spcPts val="0"/>
                </a:spcBef>
                <a:spcAft>
                  <a:spcPts val="0"/>
                </a:spcAft>
                <a:buClr>
                  <a:srgbClr val="000000"/>
                </a:buClr>
                <a:buSzPts val="2000"/>
                <a:buFont typeface="Arial"/>
                <a:buNone/>
              </a:pPr>
              <a:r>
                <a:rPr lang="en-GB" sz="1500" b="1">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rPr>
                <a:t>2</a:t>
              </a:r>
              <a:endParaRPr lang="en-GB" sz="1500" b="1" i="0" u="none" strike="noStrike" cap="none">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grpSp>
        <p:nvGrpSpPr>
          <p:cNvPr id="88" name="Group 87">
            <a:extLst>
              <a:ext uri="{FF2B5EF4-FFF2-40B4-BE49-F238E27FC236}">
                <a16:creationId xmlns:a16="http://schemas.microsoft.com/office/drawing/2014/main" id="{D594CBC4-B8D8-7799-269A-0845074A6E39}"/>
              </a:ext>
            </a:extLst>
          </p:cNvPr>
          <p:cNvGrpSpPr/>
          <p:nvPr/>
        </p:nvGrpSpPr>
        <p:grpSpPr>
          <a:xfrm>
            <a:off x="4218186" y="3318469"/>
            <a:ext cx="4586375" cy="1290500"/>
            <a:chOff x="4157377" y="3180198"/>
            <a:chExt cx="4586375" cy="1290500"/>
          </a:xfrm>
        </p:grpSpPr>
        <p:sp>
          <p:nvSpPr>
            <p:cNvPr id="72" name="Google Shape;576;p40">
              <a:extLst>
                <a:ext uri="{FF2B5EF4-FFF2-40B4-BE49-F238E27FC236}">
                  <a16:creationId xmlns:a16="http://schemas.microsoft.com/office/drawing/2014/main" id="{B87F8CEE-0E71-CEAA-B76A-43B014019D9A}"/>
                </a:ext>
              </a:extLst>
            </p:cNvPr>
            <p:cNvSpPr/>
            <p:nvPr/>
          </p:nvSpPr>
          <p:spPr>
            <a:xfrm>
              <a:off x="4690452" y="3180198"/>
              <a:ext cx="1899000" cy="1290300"/>
            </a:xfrm>
            <a:prstGeom prst="rect">
              <a:avLst/>
            </a:prstGeom>
            <a:solidFill>
              <a:srgbClr val="E4E6EB"/>
            </a:solid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0" lvl="0" indent="0" algn="ctr" rtl="0">
                <a:spcBef>
                  <a:spcPts val="0"/>
                </a:spcBef>
                <a:spcAft>
                  <a:spcPts val="0"/>
                </a:spcAft>
                <a:buClr>
                  <a:schemeClr val="dk1"/>
                </a:buClr>
                <a:buSzPts val="1200"/>
                <a:buFont typeface="Arial"/>
                <a:buNone/>
              </a:pPr>
              <a:r>
                <a:rPr lang="en-US" sz="1100" b="1">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Market saturation / cannibalization due to mistaken store openings</a:t>
              </a:r>
              <a:endParaRPr lang="en-US" sz="1100" b="1">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75" name="Google Shape;579;p40">
              <a:extLst>
                <a:ext uri="{FF2B5EF4-FFF2-40B4-BE49-F238E27FC236}">
                  <a16:creationId xmlns:a16="http://schemas.microsoft.com/office/drawing/2014/main" id="{CA755F9C-71B8-D354-2214-BA607A06C3B2}"/>
                </a:ext>
              </a:extLst>
            </p:cNvPr>
            <p:cNvSpPr/>
            <p:nvPr/>
          </p:nvSpPr>
          <p:spPr>
            <a:xfrm>
              <a:off x="6589452" y="3180398"/>
              <a:ext cx="2154300" cy="1290300"/>
            </a:xfrm>
            <a:prstGeom prst="rect">
              <a:avLst/>
            </a:prstGeom>
            <a:noFill/>
            <a:ln w="9525" cap="flat" cmpd="sng">
              <a:solidFill>
                <a:srgbClr val="E4E6EB"/>
              </a:solidFill>
              <a:prstDash val="solid"/>
              <a:round/>
              <a:headEnd type="none" w="sm" len="sm"/>
              <a:tailEnd type="none" w="sm" len="sm"/>
            </a:ln>
          </p:spPr>
          <p:txBody>
            <a:bodyPr spcFirstLastPara="1" wrap="square" lIns="68575" tIns="34275" rIns="68575" bIns="34275" anchor="ctr" anchorCtr="0">
              <a:noAutofit/>
            </a:bodyPr>
            <a:lstStyle/>
            <a:p>
              <a:pPr marL="269999" marR="0" lvl="0" indent="-153499" algn="l" rtl="0">
                <a:lnSpc>
                  <a:spcPct val="100000"/>
                </a:lnSpc>
                <a:spcBef>
                  <a:spcPts val="0"/>
                </a:spcBef>
                <a:spcAft>
                  <a:spcPts val="0"/>
                </a:spcAft>
                <a:buSzPct val="75000"/>
                <a:buFont typeface="Helvetica Neue"/>
                <a:buChar char="●"/>
              </a:pPr>
              <a:r>
                <a:rPr lang="en-US" sz="1000">
                  <a:latin typeface="Helvetica Neue" panose="02000503000000020004" pitchFamily="2" charset="0"/>
                  <a:ea typeface="Helvetica Neue" panose="02000503000000020004" pitchFamily="2" charset="0"/>
                  <a:cs typeface="Helvetica Neue" panose="02000503000000020004" pitchFamily="2" charset="0"/>
                  <a:sym typeface="Helvetica Neue"/>
                </a:rPr>
                <a:t>Inevitably some stores will be opened that should not have been opened in those locations</a:t>
              </a:r>
            </a:p>
            <a:p>
              <a:pPr marL="269999" marR="0" lvl="0" indent="-153499" algn="l" rtl="0">
                <a:lnSpc>
                  <a:spcPct val="100000"/>
                </a:lnSpc>
                <a:spcBef>
                  <a:spcPts val="0"/>
                </a:spcBef>
                <a:spcAft>
                  <a:spcPts val="0"/>
                </a:spcAft>
                <a:buSzPct val="75000"/>
                <a:buFont typeface="Helvetica Neue"/>
                <a:buChar char="●"/>
              </a:pPr>
              <a:r>
                <a:rPr lang="en-US" sz="1000">
                  <a:latin typeface="Helvetica Neue" panose="02000503000000020004" pitchFamily="2" charset="0"/>
                  <a:ea typeface="Helvetica Neue" panose="02000503000000020004" pitchFamily="2" charset="0"/>
                  <a:cs typeface="Helvetica Neue" panose="02000503000000020004" pitchFamily="2" charset="0"/>
                  <a:sym typeface="Helvetica Neue"/>
                </a:rPr>
                <a:t>Undertake extensive research and lean into learning from mistakes/cutting losses</a:t>
              </a:r>
              <a:endParaRPr sz="100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1" name="Google Shape;585;p40">
              <a:extLst>
                <a:ext uri="{FF2B5EF4-FFF2-40B4-BE49-F238E27FC236}">
                  <a16:creationId xmlns:a16="http://schemas.microsoft.com/office/drawing/2014/main" id="{C28B8F6B-5690-282F-A968-BC207D5ECDAE}"/>
                </a:ext>
              </a:extLst>
            </p:cNvPr>
            <p:cNvSpPr/>
            <p:nvPr/>
          </p:nvSpPr>
          <p:spPr>
            <a:xfrm>
              <a:off x="4157377" y="3180215"/>
              <a:ext cx="532800" cy="1290300"/>
            </a:xfrm>
            <a:prstGeom prst="rect">
              <a:avLst/>
            </a:prstGeom>
            <a:solidFill>
              <a:srgbClr val="479262"/>
            </a:solidFill>
            <a:ln>
              <a:noFill/>
            </a:ln>
          </p:spPr>
          <p:txBody>
            <a:bodyPr spcFirstLastPara="1" wrap="square" lIns="68575" tIns="34275" rIns="68575" bIns="34275" anchor="ctr" anchorCtr="0">
              <a:noAutofit/>
            </a:bodyPr>
            <a:lstStyle/>
            <a:p>
              <a:pPr marL="0" lvl="0" indent="0" algn="ctr" rtl="0">
                <a:spcBef>
                  <a:spcPts val="0"/>
                </a:spcBef>
                <a:spcAft>
                  <a:spcPts val="0"/>
                </a:spcAft>
                <a:buClr>
                  <a:srgbClr val="000000"/>
                </a:buClr>
                <a:buSzPts val="2000"/>
                <a:buFont typeface="Arial"/>
                <a:buNone/>
              </a:pPr>
              <a:r>
                <a:rPr lang="en-GB" sz="15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rPr>
                <a:t>3</a:t>
              </a:r>
              <a:endParaRPr sz="1500" b="1">
                <a:solidFill>
                  <a:schemeClr val="lt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grpSp>
      <p:sp>
        <p:nvSpPr>
          <p:cNvPr id="82" name="Google Shape;586;p40">
            <a:extLst>
              <a:ext uri="{FF2B5EF4-FFF2-40B4-BE49-F238E27FC236}">
                <a16:creationId xmlns:a16="http://schemas.microsoft.com/office/drawing/2014/main" id="{18627825-02D8-C8DB-E3A3-EA4014AAC710}"/>
              </a:ext>
            </a:extLst>
          </p:cNvPr>
          <p:cNvSpPr txBox="1"/>
          <p:nvPr/>
        </p:nvSpPr>
        <p:spPr>
          <a:xfrm>
            <a:off x="617629" y="921647"/>
            <a:ext cx="3371931" cy="400200"/>
          </a:xfrm>
          <a:prstGeom prst="rect">
            <a:avLst/>
          </a:prstGeom>
          <a:solidFill>
            <a:srgbClr val="E4E6EB"/>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b="1">
                <a:solidFill>
                  <a:schemeClr val="dk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isk Matrix</a:t>
            </a:r>
            <a:endParaRPr lang="en-GB" b="1">
              <a:solidFill>
                <a:schemeClr val="dk1"/>
              </a:solidFill>
              <a:highlight>
                <a:srgbClr val="E6B8AF"/>
              </a:highlight>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
        <p:nvSpPr>
          <p:cNvPr id="84" name="TextBox 83">
            <a:extLst>
              <a:ext uri="{FF2B5EF4-FFF2-40B4-BE49-F238E27FC236}">
                <a16:creationId xmlns:a16="http://schemas.microsoft.com/office/drawing/2014/main" id="{064DBC03-57D7-8FEC-8EE1-6B1A881285AA}"/>
              </a:ext>
            </a:extLst>
          </p:cNvPr>
          <p:cNvSpPr txBox="1"/>
          <p:nvPr/>
        </p:nvSpPr>
        <p:spPr>
          <a:xfrm>
            <a:off x="1746689" y="4659067"/>
            <a:ext cx="999696" cy="307777"/>
          </a:xfrm>
          <a:prstGeom prst="rect">
            <a:avLst/>
          </a:prstGeom>
          <a:noFill/>
        </p:spPr>
        <p:txBody>
          <a:bodyPr wrap="square" rtlCol="0">
            <a:spAutoFit/>
          </a:bodyPr>
          <a:lstStyle/>
          <a:p>
            <a:r>
              <a:rPr lang="en-US">
                <a:latin typeface="Helvetica Neue" panose="02000503000000020004" pitchFamily="2" charset="0"/>
                <a:ea typeface="Helvetica Neue" panose="02000503000000020004" pitchFamily="2" charset="0"/>
                <a:cs typeface="Helvetica Neue" panose="02000503000000020004" pitchFamily="2" charset="0"/>
              </a:rPr>
              <a:t>Likelihood</a:t>
            </a:r>
          </a:p>
        </p:txBody>
      </p:sp>
      <p:sp>
        <p:nvSpPr>
          <p:cNvPr id="85" name="TextBox 84">
            <a:extLst>
              <a:ext uri="{FF2B5EF4-FFF2-40B4-BE49-F238E27FC236}">
                <a16:creationId xmlns:a16="http://schemas.microsoft.com/office/drawing/2014/main" id="{D81E361C-79EE-CC75-1F14-51E05C46AF5E}"/>
              </a:ext>
            </a:extLst>
          </p:cNvPr>
          <p:cNvSpPr txBox="1"/>
          <p:nvPr/>
        </p:nvSpPr>
        <p:spPr>
          <a:xfrm rot="10800000">
            <a:off x="217520" y="2600689"/>
            <a:ext cx="400110" cy="783161"/>
          </a:xfrm>
          <a:prstGeom prst="rect">
            <a:avLst/>
          </a:prstGeom>
          <a:noFill/>
        </p:spPr>
        <p:txBody>
          <a:bodyPr vert="eaVert" wrap="square" rtlCol="0">
            <a:spAutoFit/>
          </a:bodyPr>
          <a:lstStyle/>
          <a:p>
            <a:r>
              <a:rPr lang="en-US">
                <a:latin typeface="Helvetica Neue" panose="02000503000000020004" pitchFamily="2" charset="0"/>
                <a:ea typeface="Helvetica Neue" panose="02000503000000020004" pitchFamily="2" charset="0"/>
                <a:cs typeface="Helvetica Neue" panose="02000503000000020004" pitchFamily="2" charset="0"/>
              </a:rPr>
              <a:t>Severity</a:t>
            </a:r>
          </a:p>
        </p:txBody>
      </p:sp>
    </p:spTree>
    <p:extLst>
      <p:ext uri="{BB962C8B-B14F-4D97-AF65-F5344CB8AC3E}">
        <p14:creationId xmlns:p14="http://schemas.microsoft.com/office/powerpoint/2010/main" val="2977903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D33F8FAE-CFF8-0DCD-57F7-4AC64C95CEF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0AC730EB-6A75-1E0D-0B15-E2EDFE716E01}"/>
              </a:ext>
            </a:extLst>
          </p:cNvPr>
          <p:cNvSpPr/>
          <p:nvPr/>
        </p:nvSpPr>
        <p:spPr>
          <a:xfrm>
            <a:off x="1086019" y="2528968"/>
            <a:ext cx="2692804" cy="338978"/>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Economic</a:t>
            </a:r>
            <a:endParaRPr lang="en-US"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Google Shape;95;p15">
            <a:extLst>
              <a:ext uri="{FF2B5EF4-FFF2-40B4-BE49-F238E27FC236}">
                <a16:creationId xmlns:a16="http://schemas.microsoft.com/office/drawing/2014/main" id="{E0AE41FC-7F72-ADB4-9E74-144556384BEB}"/>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a:latin typeface="Helvetica Neue" panose="02000503000000020004" pitchFamily="2" charset="0"/>
                <a:ea typeface="Helvetica Neue" panose="02000503000000020004" pitchFamily="2" charset="0"/>
                <a:cs typeface="Helvetica Neue" panose="02000503000000020004" pitchFamily="2" charset="0"/>
                <a:sym typeface="Helvetica Neue"/>
              </a:rPr>
              <a:t>Alternative Methodologies and Future Opportunities</a:t>
            </a:r>
          </a:p>
        </p:txBody>
      </p:sp>
      <p:sp>
        <p:nvSpPr>
          <p:cNvPr id="9" name="Google Shape;98;p15">
            <a:extLst>
              <a:ext uri="{FF2B5EF4-FFF2-40B4-BE49-F238E27FC236}">
                <a16:creationId xmlns:a16="http://schemas.microsoft.com/office/drawing/2014/main" id="{09CDCF69-2B0A-3F7C-C14B-FECE71FFBF40}"/>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Further investigation of other possible approaches </a:t>
            </a:r>
          </a:p>
        </p:txBody>
      </p:sp>
      <p:sp>
        <p:nvSpPr>
          <p:cNvPr id="16" name="Google Shape;99;p15">
            <a:extLst>
              <a:ext uri="{FF2B5EF4-FFF2-40B4-BE49-F238E27FC236}">
                <a16:creationId xmlns:a16="http://schemas.microsoft.com/office/drawing/2014/main" id="{19EB5F70-C768-C39A-9D72-4CA30A07F8BF}"/>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6" name="Google Shape;194;p25">
            <a:extLst>
              <a:ext uri="{FF2B5EF4-FFF2-40B4-BE49-F238E27FC236}">
                <a16:creationId xmlns:a16="http://schemas.microsoft.com/office/drawing/2014/main" id="{D64FDE78-0C65-873A-1849-E1BCEDA99896}"/>
              </a:ext>
            </a:extLst>
          </p:cNvPr>
          <p:cNvSpPr/>
          <p:nvPr/>
        </p:nvSpPr>
        <p:spPr>
          <a:xfrm>
            <a:off x="5365610" y="2867946"/>
            <a:ext cx="2691076" cy="1999792"/>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180000" tIns="0" rIns="180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r>
              <a:rPr lang="en-US"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patial analysis: </a:t>
            </a: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compare current and proposed locations in terms of high foot traffic, nearby amenities, and safety</a:t>
            </a:r>
          </a:p>
          <a:p>
            <a:pPr marL="285750" indent="-285750">
              <a:spcAft>
                <a:spcPts val="600"/>
              </a:spcAft>
              <a:buSzPts val="1300"/>
              <a:buFont typeface="Arial" panose="020B0604020202020204" pitchFamily="34" charset="0"/>
              <a:buChar char="•"/>
            </a:pPr>
            <a:r>
              <a:rPr lang="en-US"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emographic decomposition: </a:t>
            </a: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understand human geographical factors with respect to specific consumer preferences</a:t>
            </a:r>
            <a:endParaRPr lang="en-US"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Rectangle 6">
            <a:extLst>
              <a:ext uri="{FF2B5EF4-FFF2-40B4-BE49-F238E27FC236}">
                <a16:creationId xmlns:a16="http://schemas.microsoft.com/office/drawing/2014/main" id="{36B388BE-431E-EDA2-F60F-030FE24175A8}"/>
              </a:ext>
            </a:extLst>
          </p:cNvPr>
          <p:cNvSpPr/>
          <p:nvPr/>
        </p:nvSpPr>
        <p:spPr>
          <a:xfrm>
            <a:off x="5364746" y="2528968"/>
            <a:ext cx="2692804" cy="338978"/>
          </a:xfrm>
          <a:prstGeom prst="rect">
            <a:avLst/>
          </a:prstGeom>
          <a:solidFill>
            <a:srgbClr val="05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24000" rtlCol="0" anchor="ctr"/>
          <a:lstStyle/>
          <a:p>
            <a:pPr algn="ctr" rtl="0" fontAlgn="base"/>
            <a:r>
              <a:rPr lang="en-US" b="1">
                <a:solidFill>
                  <a:schemeClr val="bg1"/>
                </a:solidFill>
                <a:latin typeface="Helvetica Neue" panose="02000503000000020004" pitchFamily="2" charset="0"/>
                <a:ea typeface="Helvetica Neue" panose="02000503000000020004" pitchFamily="2" charset="0"/>
                <a:cs typeface="Helvetica Neue" panose="02000503000000020004" pitchFamily="2" charset="0"/>
              </a:rPr>
              <a:t>Geographic (ArcGIS)</a:t>
            </a:r>
            <a:endParaRPr lang="en-US"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 name="Google Shape;194;p25">
            <a:extLst>
              <a:ext uri="{FF2B5EF4-FFF2-40B4-BE49-F238E27FC236}">
                <a16:creationId xmlns:a16="http://schemas.microsoft.com/office/drawing/2014/main" id="{D1B19BC4-D920-16D3-EC64-10693CD34764}"/>
              </a:ext>
            </a:extLst>
          </p:cNvPr>
          <p:cNvSpPr/>
          <p:nvPr/>
        </p:nvSpPr>
        <p:spPr>
          <a:xfrm>
            <a:off x="1086883" y="2867946"/>
            <a:ext cx="2691076" cy="1999792"/>
          </a:xfrm>
          <a:prstGeom prst="rect">
            <a:avLst/>
          </a:prstGeom>
          <a:solidFill>
            <a:srgbClr val="F2F2F2"/>
          </a:solidFill>
          <a:ln>
            <a:noFill/>
          </a:ln>
          <a:effectLst>
            <a:outerShdw blurRad="50800" dist="38100" dir="5400000" algn="t" rotWithShape="0">
              <a:schemeClr val="dk1">
                <a:alpha val="0"/>
              </a:schemeClr>
            </a:outerShdw>
          </a:effectLst>
        </p:spPr>
        <p:txBody>
          <a:bodyPr spcFirstLastPara="1" wrap="square" lIns="180000" tIns="0" rIns="180000"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600"/>
              </a:spcAft>
              <a:buSzPts val="1300"/>
              <a:buFont typeface="Arial" panose="020B0604020202020204" pitchFamily="34" charset="0"/>
              <a:buChar char="•"/>
            </a:pPr>
            <a:r>
              <a:rPr lang="en-US"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Econometric modelling: </a:t>
            </a: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factor detailed income, employment, spending, and macroeconomic factors into regression model. </a:t>
            </a:r>
          </a:p>
          <a:p>
            <a:pPr marL="285750" lvl="5" indent="-285750">
              <a:spcAft>
                <a:spcPts val="600"/>
              </a:spcAft>
              <a:buSzPts val="1300"/>
              <a:buFont typeface="Arial" panose="020B0604020202020204" pitchFamily="34" charset="0"/>
              <a:buChar char="•"/>
            </a:pPr>
            <a:r>
              <a:rPr lang="en-US" sz="11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nalyze 10k-filings to calculate marginal cost and find the equilibrium point</a:t>
            </a:r>
            <a:endParaRPr lang="en-US"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285750" indent="-285750">
              <a:spcAft>
                <a:spcPts val="600"/>
              </a:spcAft>
              <a:buSzPts val="1300"/>
              <a:buFont typeface="Arial" panose="020B0604020202020204" pitchFamily="34" charset="0"/>
              <a:buChar char="•"/>
            </a:pPr>
            <a:endParaRPr lang="en-US" sz="1100" b="1">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15" name="Picture 14" descr="A person sitting on a pile of coins next to a piggy bank&#10;&#10;Description automatically generated">
            <a:extLst>
              <a:ext uri="{FF2B5EF4-FFF2-40B4-BE49-F238E27FC236}">
                <a16:creationId xmlns:a16="http://schemas.microsoft.com/office/drawing/2014/main" id="{38E95654-0CAF-6B2C-F338-6FD8C35BC08E}"/>
              </a:ext>
            </a:extLst>
          </p:cNvPr>
          <p:cNvPicPr>
            <a:picLocks noChangeAspect="1"/>
          </p:cNvPicPr>
          <p:nvPr/>
        </p:nvPicPr>
        <p:blipFill>
          <a:blip r:embed="rId3"/>
          <a:stretch>
            <a:fillRect/>
          </a:stretch>
        </p:blipFill>
        <p:spPr>
          <a:xfrm>
            <a:off x="1495338" y="993780"/>
            <a:ext cx="1874166" cy="1874166"/>
          </a:xfrm>
          <a:prstGeom prst="rect">
            <a:avLst/>
          </a:prstGeom>
        </p:spPr>
      </p:pic>
      <p:pic>
        <p:nvPicPr>
          <p:cNvPr id="19" name="Picture 18" descr="A person and person looking at a map&#10;&#10;Description automatically generated">
            <a:extLst>
              <a:ext uri="{FF2B5EF4-FFF2-40B4-BE49-F238E27FC236}">
                <a16:creationId xmlns:a16="http://schemas.microsoft.com/office/drawing/2014/main" id="{5E0BDD9C-9B60-17FB-277D-9741D26BB0CF}"/>
              </a:ext>
            </a:extLst>
          </p:cNvPr>
          <p:cNvPicPr>
            <a:picLocks noChangeAspect="1"/>
          </p:cNvPicPr>
          <p:nvPr/>
        </p:nvPicPr>
        <p:blipFill>
          <a:blip r:embed="rId4"/>
          <a:stretch>
            <a:fillRect/>
          </a:stretch>
        </p:blipFill>
        <p:spPr>
          <a:xfrm>
            <a:off x="5773062" y="770550"/>
            <a:ext cx="1875600" cy="1875600"/>
          </a:xfrm>
          <a:prstGeom prst="rect">
            <a:avLst/>
          </a:prstGeom>
        </p:spPr>
      </p:pic>
    </p:spTree>
    <p:extLst>
      <p:ext uri="{BB962C8B-B14F-4D97-AF65-F5344CB8AC3E}">
        <p14:creationId xmlns:p14="http://schemas.microsoft.com/office/powerpoint/2010/main" val="536042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4">
          <a:extLst>
            <a:ext uri="{FF2B5EF4-FFF2-40B4-BE49-F238E27FC236}">
              <a16:creationId xmlns:a16="http://schemas.microsoft.com/office/drawing/2014/main" id="{F0D9F47C-79A0-0A4E-6844-1A69C25168B2}"/>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AAD0BF89-BEF6-9D91-8DE9-87609E9E9B21}"/>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800" b="1" dirty="0">
                <a:latin typeface="Helvetica Neue"/>
                <a:ea typeface="Helvetica Neue"/>
                <a:cs typeface="Helvetica Neue"/>
                <a:sym typeface="Helvetica Neue"/>
              </a:rPr>
              <a:t>Spring 2024 Student Survey on Meal Plan Donations</a:t>
            </a:r>
            <a:endParaRPr sz="1800" b="1" dirty="0">
              <a:latin typeface="Helvetica Neue"/>
              <a:ea typeface="Helvetica Neue"/>
              <a:cs typeface="Helvetica Neue"/>
              <a:sym typeface="Helvetica Neue"/>
            </a:endParaRPr>
          </a:p>
        </p:txBody>
      </p:sp>
      <p:sp>
        <p:nvSpPr>
          <p:cNvPr id="9" name="Google Shape;98;p15">
            <a:extLst>
              <a:ext uri="{FF2B5EF4-FFF2-40B4-BE49-F238E27FC236}">
                <a16:creationId xmlns:a16="http://schemas.microsoft.com/office/drawing/2014/main" id="{5F433FD3-A0C8-78CB-5CD1-6B2A1F912B7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Key results (n=942) and projected program impact</a:t>
            </a:r>
            <a:endParaRPr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94875446-B3B9-B917-6D3C-39B30FB8B6E4}"/>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Google Shape;78;p16">
            <a:extLst>
              <a:ext uri="{FF2B5EF4-FFF2-40B4-BE49-F238E27FC236}">
                <a16:creationId xmlns:a16="http://schemas.microsoft.com/office/drawing/2014/main" id="{96E1FC98-0CD9-AC3B-8ABD-BC9B64620C89}"/>
              </a:ext>
            </a:extLst>
          </p:cNvPr>
          <p:cNvSpPr txBox="1"/>
          <p:nvPr/>
        </p:nvSpPr>
        <p:spPr>
          <a:xfrm>
            <a:off x="1431375" y="2351825"/>
            <a:ext cx="12900" cy="90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solidFill>
                <a:schemeClr val="dk2"/>
              </a:solidFill>
            </a:endParaRPr>
          </a:p>
        </p:txBody>
      </p:sp>
      <p:pic>
        <p:nvPicPr>
          <p:cNvPr id="3" name="Google Shape;79;p16">
            <a:extLst>
              <a:ext uri="{FF2B5EF4-FFF2-40B4-BE49-F238E27FC236}">
                <a16:creationId xmlns:a16="http://schemas.microsoft.com/office/drawing/2014/main" id="{DC5B8DE4-4C06-31C3-96E1-545BDC77A025}"/>
              </a:ext>
            </a:extLst>
          </p:cNvPr>
          <p:cNvPicPr preferRelativeResize="0"/>
          <p:nvPr/>
        </p:nvPicPr>
        <p:blipFill rotWithShape="1">
          <a:blip r:embed="rId3">
            <a:alphaModFix/>
          </a:blip>
          <a:srcRect r="24958"/>
          <a:stretch/>
        </p:blipFill>
        <p:spPr>
          <a:xfrm>
            <a:off x="561127" y="802999"/>
            <a:ext cx="3763973" cy="2767599"/>
          </a:xfrm>
          <a:prstGeom prst="rect">
            <a:avLst/>
          </a:prstGeom>
          <a:noFill/>
          <a:ln>
            <a:noFill/>
          </a:ln>
        </p:spPr>
      </p:pic>
      <p:sp>
        <p:nvSpPr>
          <p:cNvPr id="5" name="Google Shape;81;p16">
            <a:extLst>
              <a:ext uri="{FF2B5EF4-FFF2-40B4-BE49-F238E27FC236}">
                <a16:creationId xmlns:a16="http://schemas.microsoft.com/office/drawing/2014/main" id="{F6DEE993-7DF9-94B7-9873-45A019282062}"/>
              </a:ext>
            </a:extLst>
          </p:cNvPr>
          <p:cNvSpPr txBox="1"/>
          <p:nvPr/>
        </p:nvSpPr>
        <p:spPr>
          <a:xfrm>
            <a:off x="1431375" y="2351825"/>
            <a:ext cx="12900" cy="90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solidFill>
                <a:srgbClr val="595959"/>
              </a:solidFill>
            </a:endParaRPr>
          </a:p>
        </p:txBody>
      </p:sp>
      <p:sp>
        <p:nvSpPr>
          <p:cNvPr id="6" name="Google Shape;83;p16">
            <a:extLst>
              <a:ext uri="{FF2B5EF4-FFF2-40B4-BE49-F238E27FC236}">
                <a16:creationId xmlns:a16="http://schemas.microsoft.com/office/drawing/2014/main" id="{CF851181-2D47-ABA7-A8E7-FAC1A83F449F}"/>
              </a:ext>
            </a:extLst>
          </p:cNvPr>
          <p:cNvSpPr txBox="1"/>
          <p:nvPr/>
        </p:nvSpPr>
        <p:spPr>
          <a:xfrm>
            <a:off x="4787379" y="1140249"/>
            <a:ext cx="3498000" cy="2093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900" b="1" dirty="0">
                <a:solidFill>
                  <a:srgbClr val="1C7738"/>
                </a:solidFill>
              </a:rPr>
              <a:t>31.4%</a:t>
            </a:r>
            <a:r>
              <a:rPr lang="en" dirty="0">
                <a:solidFill>
                  <a:srgbClr val="1C7738"/>
                </a:solidFill>
              </a:rPr>
              <a:t> </a:t>
            </a:r>
            <a:r>
              <a:rPr lang="en" dirty="0">
                <a:solidFill>
                  <a:srgbClr val="595959"/>
                </a:solidFill>
              </a:rPr>
              <a:t>of all first years would opt to Pay it Forward, donating approximately</a:t>
            </a:r>
            <a:endParaRPr dirty="0">
              <a:solidFill>
                <a:srgbClr val="595959"/>
              </a:solidFill>
            </a:endParaRPr>
          </a:p>
          <a:p>
            <a:pPr marL="0" lvl="0" indent="0" algn="l" rtl="0">
              <a:spcBef>
                <a:spcPts val="0"/>
              </a:spcBef>
              <a:spcAft>
                <a:spcPts val="0"/>
              </a:spcAft>
              <a:buNone/>
            </a:pPr>
            <a:endParaRPr dirty="0">
              <a:solidFill>
                <a:srgbClr val="595959"/>
              </a:solidFill>
            </a:endParaRPr>
          </a:p>
          <a:p>
            <a:pPr marL="0" lvl="0" indent="0" algn="l" rtl="0">
              <a:spcBef>
                <a:spcPts val="0"/>
              </a:spcBef>
              <a:spcAft>
                <a:spcPts val="0"/>
              </a:spcAft>
              <a:buNone/>
            </a:pPr>
            <a:r>
              <a:rPr lang="en" sz="2000" b="1" dirty="0">
                <a:solidFill>
                  <a:srgbClr val="1C7738"/>
                </a:solidFill>
              </a:rPr>
              <a:t>41%</a:t>
            </a:r>
            <a:r>
              <a:rPr lang="en" dirty="0">
                <a:solidFill>
                  <a:srgbClr val="595959"/>
                </a:solidFill>
              </a:rPr>
              <a:t> of their end-of-year account balances, averaging</a:t>
            </a:r>
            <a:br>
              <a:rPr lang="en" dirty="0">
                <a:solidFill>
                  <a:srgbClr val="595959"/>
                </a:solidFill>
              </a:rPr>
            </a:br>
            <a:endParaRPr dirty="0">
              <a:solidFill>
                <a:srgbClr val="595959"/>
              </a:solidFill>
            </a:endParaRPr>
          </a:p>
          <a:p>
            <a:pPr marL="0" lvl="0" indent="0" algn="l" rtl="0">
              <a:spcBef>
                <a:spcPts val="0"/>
              </a:spcBef>
              <a:spcAft>
                <a:spcPts val="0"/>
              </a:spcAft>
              <a:buNone/>
            </a:pPr>
            <a:r>
              <a:rPr lang="en" sz="1900" b="1" dirty="0">
                <a:solidFill>
                  <a:srgbClr val="1C7738"/>
                </a:solidFill>
              </a:rPr>
              <a:t>$64.75</a:t>
            </a:r>
            <a:r>
              <a:rPr lang="en" b="1" dirty="0">
                <a:solidFill>
                  <a:srgbClr val="1C7738"/>
                </a:solidFill>
              </a:rPr>
              <a:t> per person</a:t>
            </a:r>
            <a:endParaRPr lang="en-CA" b="1" dirty="0">
              <a:solidFill>
                <a:srgbClr val="1C7738"/>
              </a:solidFill>
            </a:endParaRPr>
          </a:p>
          <a:p>
            <a:pPr marL="0" lvl="0" indent="0" algn="l" rtl="0">
              <a:spcBef>
                <a:spcPts val="0"/>
              </a:spcBef>
              <a:spcAft>
                <a:spcPts val="0"/>
              </a:spcAft>
              <a:buNone/>
            </a:pPr>
            <a:endParaRPr lang="en-CA" b="1" dirty="0">
              <a:solidFill>
                <a:srgbClr val="595959"/>
              </a:solidFill>
            </a:endParaRPr>
          </a:p>
          <a:p>
            <a:pPr marL="0" lvl="0" indent="0" algn="l" rtl="0">
              <a:spcBef>
                <a:spcPts val="0"/>
              </a:spcBef>
              <a:spcAft>
                <a:spcPts val="0"/>
              </a:spcAft>
              <a:buNone/>
            </a:pPr>
            <a:endParaRPr b="1" dirty="0">
              <a:solidFill>
                <a:srgbClr val="595959"/>
              </a:solidFill>
            </a:endParaRPr>
          </a:p>
          <a:p>
            <a:pPr marL="0" lvl="0" indent="0" algn="l" rtl="0">
              <a:spcBef>
                <a:spcPts val="0"/>
              </a:spcBef>
              <a:spcAft>
                <a:spcPts val="0"/>
              </a:spcAft>
              <a:buNone/>
            </a:pPr>
            <a:endParaRPr b="1" dirty="0">
              <a:solidFill>
                <a:srgbClr val="595959"/>
              </a:solidFill>
            </a:endParaRPr>
          </a:p>
          <a:p>
            <a:pPr marL="0" lvl="0" indent="0" algn="l" rtl="0">
              <a:spcBef>
                <a:spcPts val="0"/>
              </a:spcBef>
              <a:spcAft>
                <a:spcPts val="0"/>
              </a:spcAft>
              <a:buNone/>
            </a:pPr>
            <a:endParaRPr dirty="0">
              <a:solidFill>
                <a:srgbClr val="595959"/>
              </a:solidFill>
            </a:endParaRPr>
          </a:p>
          <a:p>
            <a:pPr marL="0" lvl="0" indent="0" algn="l" rtl="0">
              <a:spcBef>
                <a:spcPts val="0"/>
              </a:spcBef>
              <a:spcAft>
                <a:spcPts val="0"/>
              </a:spcAft>
              <a:buNone/>
            </a:pPr>
            <a:endParaRPr dirty="0">
              <a:solidFill>
                <a:srgbClr val="595959"/>
              </a:solidFill>
            </a:endParaRPr>
          </a:p>
        </p:txBody>
      </p:sp>
      <p:pic>
        <p:nvPicPr>
          <p:cNvPr id="14" name="Google Shape;84;p16">
            <a:extLst>
              <a:ext uri="{FF2B5EF4-FFF2-40B4-BE49-F238E27FC236}">
                <a16:creationId xmlns:a16="http://schemas.microsoft.com/office/drawing/2014/main" id="{D8B2A788-450E-8426-B848-DFADDF255099}"/>
              </a:ext>
            </a:extLst>
          </p:cNvPr>
          <p:cNvPicPr preferRelativeResize="0"/>
          <p:nvPr/>
        </p:nvPicPr>
        <p:blipFill rotWithShape="1">
          <a:blip r:embed="rId3">
            <a:alphaModFix/>
          </a:blip>
          <a:srcRect l="73375" t="33875" b="23758"/>
          <a:stretch/>
        </p:blipFill>
        <p:spPr>
          <a:xfrm>
            <a:off x="3075271" y="3619321"/>
            <a:ext cx="1393136" cy="1223199"/>
          </a:xfrm>
          <a:prstGeom prst="rect">
            <a:avLst/>
          </a:prstGeom>
          <a:noFill/>
          <a:ln>
            <a:noFill/>
          </a:ln>
        </p:spPr>
      </p:pic>
      <p:sp>
        <p:nvSpPr>
          <p:cNvPr id="15" name="Google Shape;85;p16">
            <a:extLst>
              <a:ext uri="{FF2B5EF4-FFF2-40B4-BE49-F238E27FC236}">
                <a16:creationId xmlns:a16="http://schemas.microsoft.com/office/drawing/2014/main" id="{3DB37FF9-F7C8-CB4A-DB9D-D296B0532F5C}"/>
              </a:ext>
            </a:extLst>
          </p:cNvPr>
          <p:cNvSpPr txBox="1"/>
          <p:nvPr/>
        </p:nvSpPr>
        <p:spPr>
          <a:xfrm>
            <a:off x="4815577" y="3106974"/>
            <a:ext cx="4133693" cy="1369575"/>
          </a:xfrm>
          <a:prstGeom prst="rect">
            <a:avLst/>
          </a:prstGeom>
          <a:noFill/>
          <a:ln>
            <a:noFill/>
          </a:ln>
        </p:spPr>
        <p:txBody>
          <a:bodyPr spcFirstLastPara="1" wrap="square" lIns="91425" tIns="91425" rIns="91425" bIns="91425" anchor="t" anchorCtr="0">
            <a:spAutoFit/>
          </a:bodyPr>
          <a:lstStyle/>
          <a:p>
            <a:r>
              <a:rPr lang="en-CA" dirty="0">
                <a:solidFill>
                  <a:schemeClr val="dk2"/>
                </a:solidFill>
              </a:rPr>
              <a:t>With 31.4% of all 7,850 first-years opting-in,</a:t>
            </a:r>
            <a:br>
              <a:rPr lang="en-CA" dirty="0">
                <a:solidFill>
                  <a:schemeClr val="dk2"/>
                </a:solidFill>
              </a:rPr>
            </a:br>
            <a:r>
              <a:rPr lang="en-CA" dirty="0">
                <a:solidFill>
                  <a:schemeClr val="dk2"/>
                </a:solidFill>
              </a:rPr>
              <a:t>2,467 donors could Pay it Forward for a</a:t>
            </a:r>
            <a:br>
              <a:rPr lang="en-CA" dirty="0">
                <a:solidFill>
                  <a:schemeClr val="dk2"/>
                </a:solidFill>
              </a:rPr>
            </a:br>
            <a:endParaRPr lang="en-CA" dirty="0">
              <a:solidFill>
                <a:schemeClr val="dk2"/>
              </a:solidFill>
            </a:endParaRPr>
          </a:p>
          <a:p>
            <a:pPr marL="0" lvl="0" indent="0" algn="l" rtl="0">
              <a:spcBef>
                <a:spcPts val="0"/>
              </a:spcBef>
              <a:spcAft>
                <a:spcPts val="0"/>
              </a:spcAft>
              <a:buNone/>
            </a:pPr>
            <a:r>
              <a:rPr lang="en-CA" sz="2100" b="1" dirty="0">
                <a:solidFill>
                  <a:srgbClr val="893296"/>
                </a:solidFill>
              </a:rPr>
              <a:t>$159,720 donation pool</a:t>
            </a:r>
            <a:r>
              <a:rPr lang="en-CA" b="1" dirty="0">
                <a:solidFill>
                  <a:schemeClr val="dk2"/>
                </a:solidFill>
              </a:rPr>
              <a:t> </a:t>
            </a:r>
            <a:br>
              <a:rPr lang="en-CA" b="1" dirty="0">
                <a:solidFill>
                  <a:schemeClr val="dk2"/>
                </a:solidFill>
              </a:rPr>
            </a:br>
            <a:r>
              <a:rPr lang="en-CA" b="1" dirty="0">
                <a:solidFill>
                  <a:schemeClr val="dk2"/>
                </a:solidFill>
              </a:rPr>
              <a:t>or</a:t>
            </a:r>
            <a:r>
              <a:rPr lang="en-CA" dirty="0">
                <a:solidFill>
                  <a:schemeClr val="dk2"/>
                </a:solidFill>
              </a:rPr>
              <a:t> </a:t>
            </a:r>
            <a:r>
              <a:rPr lang="en-CA" b="1" dirty="0">
                <a:solidFill>
                  <a:schemeClr val="dk2"/>
                </a:solidFill>
              </a:rPr>
              <a:t>7,986 meals at $20/meal</a:t>
            </a:r>
            <a:endParaRPr lang="en-CA" dirty="0"/>
          </a:p>
        </p:txBody>
      </p:sp>
    </p:spTree>
    <p:extLst>
      <p:ext uri="{BB962C8B-B14F-4D97-AF65-F5344CB8AC3E}">
        <p14:creationId xmlns:p14="http://schemas.microsoft.com/office/powerpoint/2010/main" val="2623911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8CC2F035-B9EC-7542-01CD-FF5F4EC36EDB}"/>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3A78D307-2EAC-FE7F-B8DA-042F7C758DBA}"/>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800" b="1" dirty="0">
                <a:latin typeface="Helvetica Neue" panose="02000503000000020004" pitchFamily="2" charset="0"/>
                <a:ea typeface="Helvetica Neue" panose="02000503000000020004" pitchFamily="2" charset="0"/>
                <a:cs typeface="Helvetica Neue" panose="02000503000000020004" pitchFamily="2" charset="0"/>
                <a:sym typeface="Helvetica Neue"/>
              </a:rPr>
              <a:t>Introducing the Pay It Forward Project (PIF)</a:t>
            </a:r>
          </a:p>
        </p:txBody>
      </p:sp>
      <p:sp>
        <p:nvSpPr>
          <p:cNvPr id="9" name="Google Shape;98;p15">
            <a:extLst>
              <a:ext uri="{FF2B5EF4-FFF2-40B4-BE49-F238E27FC236}">
                <a16:creationId xmlns:a16="http://schemas.microsoft.com/office/drawing/2014/main" id="{3C781649-D80F-D1F9-89F2-7AAA7A2BC218}"/>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Students donating meal plan money for urgent</a:t>
            </a:r>
            <a:r>
              <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rPr>
              <a:t>, </a:t>
            </a: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short-term food security support</a:t>
            </a:r>
            <a:endParaRPr lang="en-GB" sz="130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EB6EC0B2-B99D-ECFB-E8CA-5468F9694636}"/>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CA">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4" name="Google Shape;62;p14">
            <a:extLst>
              <a:ext uri="{FF2B5EF4-FFF2-40B4-BE49-F238E27FC236}">
                <a16:creationId xmlns:a16="http://schemas.microsoft.com/office/drawing/2014/main" id="{432AA865-FBAB-B338-B2B8-48092CF4FA4C}"/>
              </a:ext>
            </a:extLst>
          </p:cNvPr>
          <p:cNvSpPr/>
          <p:nvPr/>
        </p:nvSpPr>
        <p:spPr>
          <a:xfrm>
            <a:off x="6025670" y="1900478"/>
            <a:ext cx="2710500" cy="550283"/>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dirty="0">
                <a:latin typeface="Helvetica Neue" panose="02000503000000020004" pitchFamily="2" charset="0"/>
                <a:ea typeface="Helvetica Neue" panose="02000503000000020004" pitchFamily="2" charset="0"/>
                <a:cs typeface="Helvetica Neue" panose="02000503000000020004" pitchFamily="2" charset="0"/>
              </a:rPr>
              <a:t>Effectiveness</a:t>
            </a:r>
            <a:r>
              <a:rPr lang="en-GB" sz="1000" dirty="0">
                <a:latin typeface="Helvetica Neue" panose="02000503000000020004" pitchFamily="2" charset="0"/>
                <a:ea typeface="Helvetica Neue" panose="02000503000000020004" pitchFamily="2" charset="0"/>
                <a:cs typeface="Helvetica Neue" panose="02000503000000020004" pitchFamily="2" charset="0"/>
              </a:rPr>
              <a:t>: Pair qualitative, all-party feedback (via survey/focus groups) with quantitative usage tracking to gauge impact.</a:t>
            </a:r>
          </a:p>
        </p:txBody>
      </p:sp>
      <p:sp>
        <p:nvSpPr>
          <p:cNvPr id="20" name="Google Shape;72;p14">
            <a:extLst>
              <a:ext uri="{FF2B5EF4-FFF2-40B4-BE49-F238E27FC236}">
                <a16:creationId xmlns:a16="http://schemas.microsoft.com/office/drawing/2014/main" id="{F472B79B-3933-B57C-9189-13C5FC796C0A}"/>
              </a:ext>
            </a:extLst>
          </p:cNvPr>
          <p:cNvSpPr/>
          <p:nvPr/>
        </p:nvSpPr>
        <p:spPr>
          <a:xfrm>
            <a:off x="1867625" y="967541"/>
            <a:ext cx="6867300" cy="369300"/>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dirty="0">
                <a:latin typeface="Helvetica Neue"/>
                <a:ea typeface="Helvetica Neue"/>
                <a:cs typeface="Helvetica Neue"/>
                <a:sym typeface="Helvetica Neue"/>
              </a:rPr>
              <a:t>How can Western harness unused meal credits to combat food insecurity on campus?</a:t>
            </a:r>
            <a:endParaRPr sz="1200" dirty="0">
              <a:latin typeface="Helvetica Neue"/>
              <a:ea typeface="Helvetica Neue"/>
              <a:cs typeface="Helvetica Neue"/>
              <a:sym typeface="Helvetica Neue"/>
            </a:endParaRPr>
          </a:p>
        </p:txBody>
      </p:sp>
      <p:sp>
        <p:nvSpPr>
          <p:cNvPr id="27" name="Google Shape;74;p14">
            <a:extLst>
              <a:ext uri="{FF2B5EF4-FFF2-40B4-BE49-F238E27FC236}">
                <a16:creationId xmlns:a16="http://schemas.microsoft.com/office/drawing/2014/main" id="{2D1EC11B-EF52-960D-9729-FC69C8B5A3E6}"/>
              </a:ext>
            </a:extLst>
          </p:cNvPr>
          <p:cNvSpPr txBox="1"/>
          <p:nvPr/>
        </p:nvSpPr>
        <p:spPr>
          <a:xfrm>
            <a:off x="440675" y="967541"/>
            <a:ext cx="1377300" cy="369300"/>
          </a:xfrm>
          <a:prstGeom prst="rect">
            <a:avLst/>
          </a:prstGeom>
          <a:solidFill>
            <a:srgbClr val="00B050"/>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200" b="1">
                <a:solidFill>
                  <a:schemeClr val="lt1"/>
                </a:solidFill>
                <a:latin typeface="Helvetica Neue"/>
                <a:ea typeface="Helvetica Neue"/>
                <a:cs typeface="Helvetica Neue"/>
                <a:sym typeface="Helvetica Neue"/>
              </a:rPr>
              <a:t>Question</a:t>
            </a:r>
            <a:endParaRPr sz="1200" b="1">
              <a:solidFill>
                <a:schemeClr val="lt1"/>
              </a:solidFill>
              <a:latin typeface="Helvetica Neue"/>
              <a:ea typeface="Helvetica Neue"/>
              <a:cs typeface="Helvetica Neue"/>
              <a:sym typeface="Helvetica Neue"/>
            </a:endParaRPr>
          </a:p>
        </p:txBody>
      </p:sp>
      <p:sp>
        <p:nvSpPr>
          <p:cNvPr id="28" name="Google Shape;75;p14">
            <a:extLst>
              <a:ext uri="{FF2B5EF4-FFF2-40B4-BE49-F238E27FC236}">
                <a16:creationId xmlns:a16="http://schemas.microsoft.com/office/drawing/2014/main" id="{888D1CAF-3590-2080-57D9-78D62528FBB0}"/>
              </a:ext>
            </a:extLst>
          </p:cNvPr>
          <p:cNvSpPr txBox="1"/>
          <p:nvPr/>
        </p:nvSpPr>
        <p:spPr>
          <a:xfrm>
            <a:off x="424800" y="2580282"/>
            <a:ext cx="8294400" cy="369300"/>
          </a:xfrm>
          <a:prstGeom prst="rect">
            <a:avLst/>
          </a:prstGeom>
          <a:solidFill>
            <a:srgbClr val="00B050"/>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200" b="1" dirty="0">
                <a:solidFill>
                  <a:schemeClr val="lt1"/>
                </a:solidFill>
                <a:latin typeface="Helvetica Neue"/>
                <a:ea typeface="Helvetica Neue"/>
                <a:cs typeface="Helvetica Neue"/>
                <a:sym typeface="Helvetica Neue"/>
              </a:rPr>
              <a:t>Methodology</a:t>
            </a:r>
            <a:endParaRPr sz="1200" b="1" dirty="0">
              <a:solidFill>
                <a:schemeClr val="lt1"/>
              </a:solidFill>
              <a:latin typeface="Helvetica Neue"/>
              <a:ea typeface="Helvetica Neue"/>
              <a:cs typeface="Helvetica Neue"/>
              <a:sym typeface="Helvetica Neue"/>
            </a:endParaRPr>
          </a:p>
        </p:txBody>
      </p:sp>
      <p:sp>
        <p:nvSpPr>
          <p:cNvPr id="29" name="Google Shape;77;p14">
            <a:extLst>
              <a:ext uri="{FF2B5EF4-FFF2-40B4-BE49-F238E27FC236}">
                <a16:creationId xmlns:a16="http://schemas.microsoft.com/office/drawing/2014/main" id="{17EC1A9F-4849-BCFB-618E-76F5682839EA}"/>
              </a:ext>
            </a:extLst>
          </p:cNvPr>
          <p:cNvSpPr/>
          <p:nvPr/>
        </p:nvSpPr>
        <p:spPr>
          <a:xfrm>
            <a:off x="1867263" y="4317552"/>
            <a:ext cx="6867300" cy="540587"/>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b="1" dirty="0">
                <a:latin typeface="Helvetica Neue"/>
                <a:ea typeface="Helvetica Neue"/>
                <a:cs typeface="Helvetica Neue"/>
                <a:sym typeface="Helvetica Neue"/>
              </a:rPr>
              <a:t>By the end of Fall/Winter 2024–2025, </a:t>
            </a:r>
            <a:r>
              <a:rPr lang="en-US" sz="1200" dirty="0">
                <a:latin typeface="Helvetica Neue"/>
                <a:ea typeface="Helvetica Neue"/>
                <a:cs typeface="Helvetica Neue"/>
                <a:sym typeface="Helvetica Neue"/>
              </a:rPr>
              <a:t>PIF combats on-campus food insecurity by </a:t>
            </a:r>
            <a:br>
              <a:rPr lang="en-US" sz="1200" dirty="0">
                <a:latin typeface="Helvetica Neue"/>
                <a:ea typeface="Helvetica Neue"/>
                <a:cs typeface="Helvetica Neue"/>
                <a:sym typeface="Helvetica Neue"/>
              </a:rPr>
            </a:br>
            <a:r>
              <a:rPr lang="en-US" sz="1200" dirty="0">
                <a:latin typeface="Helvetica Neue"/>
                <a:ea typeface="Helvetica Neue"/>
                <a:cs typeface="Helvetica Neue"/>
                <a:sym typeface="Helvetica Neue"/>
              </a:rPr>
              <a:t>equitably enabling the donation of thousands of meals directly to students in need.</a:t>
            </a:r>
            <a:endParaRPr sz="1200" dirty="0">
              <a:latin typeface="Helvetica Neue"/>
              <a:ea typeface="Helvetica Neue"/>
              <a:cs typeface="Helvetica Neue"/>
              <a:sym typeface="Helvetica Neue"/>
            </a:endParaRPr>
          </a:p>
        </p:txBody>
      </p:sp>
      <p:sp>
        <p:nvSpPr>
          <p:cNvPr id="30" name="Google Shape;78;p14">
            <a:extLst>
              <a:ext uri="{FF2B5EF4-FFF2-40B4-BE49-F238E27FC236}">
                <a16:creationId xmlns:a16="http://schemas.microsoft.com/office/drawing/2014/main" id="{4E4519E5-A0E0-3A54-44C9-D96E37E3881F}"/>
              </a:ext>
            </a:extLst>
          </p:cNvPr>
          <p:cNvSpPr txBox="1"/>
          <p:nvPr/>
        </p:nvSpPr>
        <p:spPr>
          <a:xfrm>
            <a:off x="440063" y="4322277"/>
            <a:ext cx="1377300" cy="553968"/>
          </a:xfrm>
          <a:prstGeom prst="rect">
            <a:avLst/>
          </a:prstGeom>
          <a:solidFill>
            <a:srgbClr val="00B050"/>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200" b="1" dirty="0">
                <a:solidFill>
                  <a:schemeClr val="lt1"/>
                </a:solidFill>
                <a:latin typeface="Helvetica Neue"/>
                <a:ea typeface="Helvetica Neue"/>
                <a:cs typeface="Helvetica Neue"/>
                <a:sym typeface="Helvetica Neue"/>
              </a:rPr>
              <a:t>End</a:t>
            </a:r>
            <a:br>
              <a:rPr lang="en-US" sz="1200" b="1" dirty="0">
                <a:solidFill>
                  <a:schemeClr val="lt1"/>
                </a:solidFill>
                <a:latin typeface="Helvetica Neue"/>
                <a:ea typeface="Helvetica Neue"/>
                <a:cs typeface="Helvetica Neue"/>
                <a:sym typeface="Helvetica Neue"/>
              </a:rPr>
            </a:br>
            <a:r>
              <a:rPr lang="en-US" sz="1200" b="1" dirty="0">
                <a:solidFill>
                  <a:schemeClr val="lt1"/>
                </a:solidFill>
                <a:latin typeface="Helvetica Neue"/>
                <a:ea typeface="Helvetica Neue"/>
                <a:cs typeface="Helvetica Neue"/>
                <a:sym typeface="Helvetica Neue"/>
              </a:rPr>
              <a:t>Result</a:t>
            </a:r>
            <a:endParaRPr sz="1200" b="1" dirty="0">
              <a:solidFill>
                <a:schemeClr val="lt1"/>
              </a:solidFill>
              <a:latin typeface="Helvetica Neue"/>
              <a:ea typeface="Helvetica Neue"/>
              <a:cs typeface="Helvetica Neue"/>
              <a:sym typeface="Helvetica Neue"/>
            </a:endParaRPr>
          </a:p>
        </p:txBody>
      </p:sp>
      <p:sp>
        <p:nvSpPr>
          <p:cNvPr id="31" name="Google Shape;79;p14">
            <a:extLst>
              <a:ext uri="{FF2B5EF4-FFF2-40B4-BE49-F238E27FC236}">
                <a16:creationId xmlns:a16="http://schemas.microsoft.com/office/drawing/2014/main" id="{5DD097CC-175F-920E-8FC1-D6AEA27C6B5E}"/>
              </a:ext>
            </a:extLst>
          </p:cNvPr>
          <p:cNvSpPr/>
          <p:nvPr/>
        </p:nvSpPr>
        <p:spPr>
          <a:xfrm>
            <a:off x="442282" y="1903028"/>
            <a:ext cx="2710500" cy="550283"/>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dirty="0">
                <a:latin typeface="Helvetica Neue"/>
                <a:ea typeface="Helvetica Neue"/>
                <a:cs typeface="Helvetica Neue"/>
                <a:sym typeface="Helvetica Neue"/>
              </a:rPr>
              <a:t>Convenience: </a:t>
            </a:r>
            <a:r>
              <a:rPr lang="en-GB" sz="1000" dirty="0">
                <a:latin typeface="Helvetica Neue"/>
                <a:ea typeface="Helvetica Neue"/>
                <a:cs typeface="Helvetica Neue"/>
                <a:sym typeface="Helvetica Neue"/>
              </a:rPr>
              <a:t>Maximize student contributions by minimizing friction in the donation process—implies familiar platform.</a:t>
            </a:r>
            <a:endParaRPr lang="en-GB" sz="1000" b="1" dirty="0">
              <a:latin typeface="Helvetica Neue"/>
              <a:ea typeface="Helvetica Neue"/>
              <a:cs typeface="Helvetica Neue"/>
              <a:sym typeface="Helvetica Neue"/>
            </a:endParaRPr>
          </a:p>
        </p:txBody>
      </p:sp>
      <p:sp>
        <p:nvSpPr>
          <p:cNvPr id="32" name="Google Shape;80;p14">
            <a:extLst>
              <a:ext uri="{FF2B5EF4-FFF2-40B4-BE49-F238E27FC236}">
                <a16:creationId xmlns:a16="http://schemas.microsoft.com/office/drawing/2014/main" id="{B6E83CFB-5322-B920-CF1E-99A4A72934B2}"/>
              </a:ext>
            </a:extLst>
          </p:cNvPr>
          <p:cNvSpPr/>
          <p:nvPr/>
        </p:nvSpPr>
        <p:spPr>
          <a:xfrm>
            <a:off x="3233982" y="1900478"/>
            <a:ext cx="2710500" cy="550283"/>
          </a:xfrm>
          <a:prstGeom prst="rect">
            <a:avLst/>
          </a:prstGeom>
          <a:noFill/>
          <a:ln w="19050" cap="flat" cmpd="sng">
            <a:solidFill>
              <a:srgbClr val="479262"/>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GB" sz="1000" b="1" dirty="0">
                <a:latin typeface="Helvetica Neue"/>
                <a:ea typeface="Helvetica Neue"/>
                <a:cs typeface="Helvetica Neue"/>
                <a:sym typeface="Helvetica Neue"/>
              </a:rPr>
              <a:t>Accessibility: </a:t>
            </a:r>
            <a:r>
              <a:rPr lang="en-GB" sz="1000" dirty="0">
                <a:latin typeface="Helvetica Neue"/>
                <a:ea typeface="Helvetica Neue"/>
                <a:cs typeface="Helvetica Neue"/>
                <a:sym typeface="Helvetica Neue"/>
              </a:rPr>
              <a:t>Ensure all students who need PIF can benefit from it, while preserving their privacy and complying with regulation.</a:t>
            </a:r>
          </a:p>
        </p:txBody>
      </p:sp>
      <p:sp>
        <p:nvSpPr>
          <p:cNvPr id="33" name="Google Shape;81;p14">
            <a:extLst>
              <a:ext uri="{FF2B5EF4-FFF2-40B4-BE49-F238E27FC236}">
                <a16:creationId xmlns:a16="http://schemas.microsoft.com/office/drawing/2014/main" id="{CACB11B6-81CF-57B4-C487-4CCEEAD208AB}"/>
              </a:ext>
            </a:extLst>
          </p:cNvPr>
          <p:cNvSpPr txBox="1"/>
          <p:nvPr/>
        </p:nvSpPr>
        <p:spPr>
          <a:xfrm>
            <a:off x="441090" y="1532004"/>
            <a:ext cx="8294400" cy="225900"/>
          </a:xfrm>
          <a:prstGeom prst="rect">
            <a:avLst/>
          </a:prstGeom>
          <a:solidFill>
            <a:srgbClr val="212A47"/>
          </a:solidFill>
          <a:ln>
            <a:noFill/>
          </a:ln>
        </p:spPr>
        <p:txBody>
          <a:bodyPr spcFirstLastPara="1" wrap="square" lIns="91425" tIns="91425" rIns="91425" bIns="91425" anchor="t" anchorCtr="0">
            <a:noAutofit/>
          </a:bodyPr>
          <a:lstStyle/>
          <a:p>
            <a:pPr marL="0" lvl="0" indent="0" algn="ctr" rtl="0">
              <a:spcBef>
                <a:spcPts val="0"/>
              </a:spcBef>
              <a:spcAft>
                <a:spcPts val="0"/>
              </a:spcAft>
              <a:buNone/>
            </a:pPr>
            <a:endParaRPr sz="1200">
              <a:solidFill>
                <a:schemeClr val="lt1"/>
              </a:solidFill>
              <a:latin typeface="Helvetica Neue"/>
              <a:ea typeface="Helvetica Neue"/>
              <a:cs typeface="Helvetica Neue"/>
              <a:sym typeface="Helvetica Neue"/>
            </a:endParaRPr>
          </a:p>
        </p:txBody>
      </p:sp>
      <p:sp>
        <p:nvSpPr>
          <p:cNvPr id="34" name="Google Shape;82;p14">
            <a:extLst>
              <a:ext uri="{FF2B5EF4-FFF2-40B4-BE49-F238E27FC236}">
                <a16:creationId xmlns:a16="http://schemas.microsoft.com/office/drawing/2014/main" id="{03BA5595-9E81-88B2-4896-90A9A0C99E88}"/>
              </a:ext>
            </a:extLst>
          </p:cNvPr>
          <p:cNvSpPr txBox="1"/>
          <p:nvPr/>
        </p:nvSpPr>
        <p:spPr>
          <a:xfrm>
            <a:off x="441090" y="1452096"/>
            <a:ext cx="8294400" cy="369300"/>
          </a:xfrm>
          <a:prstGeom prst="rect">
            <a:avLst/>
          </a:prstGeom>
          <a:solidFill>
            <a:srgbClr val="05B050"/>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200" b="1">
                <a:solidFill>
                  <a:schemeClr val="lt1"/>
                </a:solidFill>
                <a:latin typeface="Helvetica Neue"/>
                <a:ea typeface="Helvetica Neue"/>
                <a:cs typeface="Helvetica Neue"/>
                <a:sym typeface="Helvetica Neue"/>
              </a:rPr>
              <a:t>Considerations</a:t>
            </a:r>
            <a:endParaRPr sz="1200" b="1">
              <a:solidFill>
                <a:schemeClr val="lt1"/>
              </a:solidFill>
              <a:latin typeface="Helvetica Neue"/>
              <a:ea typeface="Helvetica Neue"/>
              <a:cs typeface="Helvetica Neue"/>
              <a:sym typeface="Helvetica Neue"/>
            </a:endParaRPr>
          </a:p>
        </p:txBody>
      </p:sp>
      <p:grpSp>
        <p:nvGrpSpPr>
          <p:cNvPr id="35" name="Group 34">
            <a:extLst>
              <a:ext uri="{FF2B5EF4-FFF2-40B4-BE49-F238E27FC236}">
                <a16:creationId xmlns:a16="http://schemas.microsoft.com/office/drawing/2014/main" id="{CD634B1D-099B-9C05-A276-AC0E3FFB6908}"/>
              </a:ext>
            </a:extLst>
          </p:cNvPr>
          <p:cNvGrpSpPr/>
          <p:nvPr/>
        </p:nvGrpSpPr>
        <p:grpSpPr>
          <a:xfrm>
            <a:off x="6025670" y="3028301"/>
            <a:ext cx="2710500" cy="1143300"/>
            <a:chOff x="6025670" y="2969032"/>
            <a:chExt cx="2710500" cy="1143300"/>
          </a:xfrm>
        </p:grpSpPr>
        <p:sp>
          <p:nvSpPr>
            <p:cNvPr id="36" name="Google Shape;83;p14">
              <a:extLst>
                <a:ext uri="{FF2B5EF4-FFF2-40B4-BE49-F238E27FC236}">
                  <a16:creationId xmlns:a16="http://schemas.microsoft.com/office/drawing/2014/main" id="{A6ECE059-73DA-A181-94A2-EEDDC16F3D9D}"/>
                </a:ext>
              </a:extLst>
            </p:cNvPr>
            <p:cNvSpPr/>
            <p:nvPr/>
          </p:nvSpPr>
          <p:spPr>
            <a:xfrm>
              <a:off x="6025670" y="2969032"/>
              <a:ext cx="2710500" cy="1143300"/>
            </a:xfrm>
            <a:prstGeom prst="rect">
              <a:avLst/>
            </a:prstGeom>
            <a:noFill/>
            <a:ln w="19050" cap="flat" cmpd="sng">
              <a:solidFill>
                <a:srgbClr val="05B0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84;p14">
              <a:extLst>
                <a:ext uri="{FF2B5EF4-FFF2-40B4-BE49-F238E27FC236}">
                  <a16:creationId xmlns:a16="http://schemas.microsoft.com/office/drawing/2014/main" id="{D6B90BFD-61B8-7429-8164-0BBEED2E7EF0}"/>
                </a:ext>
              </a:extLst>
            </p:cNvPr>
            <p:cNvSpPr txBox="1"/>
            <p:nvPr/>
          </p:nvSpPr>
          <p:spPr>
            <a:xfrm>
              <a:off x="6108175" y="2986435"/>
              <a:ext cx="2544600" cy="38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500" b="1" dirty="0">
                  <a:solidFill>
                    <a:srgbClr val="212A47"/>
                  </a:solidFill>
                  <a:latin typeface="Helvetica Neue"/>
                  <a:ea typeface="Helvetica Neue"/>
                  <a:cs typeface="Helvetica Neue"/>
                  <a:sym typeface="Helvetica Neue"/>
                </a:rPr>
                <a:t>Distribute</a:t>
              </a:r>
              <a:endParaRPr sz="1500" b="1" dirty="0">
                <a:solidFill>
                  <a:srgbClr val="212A47"/>
                </a:solidFill>
                <a:latin typeface="Helvetica Neue"/>
                <a:ea typeface="Helvetica Neue"/>
                <a:cs typeface="Helvetica Neue"/>
                <a:sym typeface="Helvetica Neue"/>
              </a:endParaRPr>
            </a:p>
          </p:txBody>
        </p:sp>
        <p:sp>
          <p:nvSpPr>
            <p:cNvPr id="38" name="Google Shape;85;p14">
              <a:extLst>
                <a:ext uri="{FF2B5EF4-FFF2-40B4-BE49-F238E27FC236}">
                  <a16:creationId xmlns:a16="http://schemas.microsoft.com/office/drawing/2014/main" id="{0A67D158-72FE-08F0-4E82-975C13C5213D}"/>
                </a:ext>
              </a:extLst>
            </p:cNvPr>
            <p:cNvSpPr txBox="1"/>
            <p:nvPr/>
          </p:nvSpPr>
          <p:spPr>
            <a:xfrm>
              <a:off x="6108775" y="3374818"/>
              <a:ext cx="2544000"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GB" sz="1100" dirty="0"/>
                <a:t>Allocate and </a:t>
              </a:r>
              <a:r>
                <a:rPr lang="en-GB" sz="1100" b="1" dirty="0"/>
                <a:t>distribute</a:t>
              </a:r>
              <a:r>
                <a:rPr lang="en-GB" sz="1100" dirty="0"/>
                <a:t> pooled funds to recipients’ meal plan accounts, with discreet access by ONECard.</a:t>
              </a:r>
            </a:p>
          </p:txBody>
        </p:sp>
      </p:grpSp>
      <p:grpSp>
        <p:nvGrpSpPr>
          <p:cNvPr id="39" name="Group 38">
            <a:extLst>
              <a:ext uri="{FF2B5EF4-FFF2-40B4-BE49-F238E27FC236}">
                <a16:creationId xmlns:a16="http://schemas.microsoft.com/office/drawing/2014/main" id="{E23EC5C2-3B8C-9847-9D77-FF011037413D}"/>
              </a:ext>
            </a:extLst>
          </p:cNvPr>
          <p:cNvGrpSpPr/>
          <p:nvPr/>
        </p:nvGrpSpPr>
        <p:grpSpPr>
          <a:xfrm>
            <a:off x="3233040" y="3028301"/>
            <a:ext cx="2710500" cy="1143300"/>
            <a:chOff x="3233040" y="2969032"/>
            <a:chExt cx="2710500" cy="1143300"/>
          </a:xfrm>
        </p:grpSpPr>
        <p:sp>
          <p:nvSpPr>
            <p:cNvPr id="40" name="Google Shape;76;p14">
              <a:extLst>
                <a:ext uri="{FF2B5EF4-FFF2-40B4-BE49-F238E27FC236}">
                  <a16:creationId xmlns:a16="http://schemas.microsoft.com/office/drawing/2014/main" id="{BE9BF8D9-C2E7-D2F0-7945-6C87DFFEC53D}"/>
                </a:ext>
              </a:extLst>
            </p:cNvPr>
            <p:cNvSpPr/>
            <p:nvPr/>
          </p:nvSpPr>
          <p:spPr>
            <a:xfrm>
              <a:off x="3233040" y="2969032"/>
              <a:ext cx="2710500" cy="1143300"/>
            </a:xfrm>
            <a:prstGeom prst="rect">
              <a:avLst/>
            </a:prstGeom>
            <a:noFill/>
            <a:ln w="19050" cap="flat" cmpd="sng">
              <a:solidFill>
                <a:srgbClr val="05B0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86;p14">
              <a:extLst>
                <a:ext uri="{FF2B5EF4-FFF2-40B4-BE49-F238E27FC236}">
                  <a16:creationId xmlns:a16="http://schemas.microsoft.com/office/drawing/2014/main" id="{47696741-21B3-1ACF-24A8-EB8B772C77C9}"/>
                </a:ext>
              </a:extLst>
            </p:cNvPr>
            <p:cNvSpPr txBox="1"/>
            <p:nvPr/>
          </p:nvSpPr>
          <p:spPr>
            <a:xfrm>
              <a:off x="3299700" y="2986435"/>
              <a:ext cx="2544600" cy="38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500" b="1" dirty="0">
                  <a:solidFill>
                    <a:srgbClr val="212A47"/>
                  </a:solidFill>
                  <a:latin typeface="Helvetica Neue"/>
                  <a:ea typeface="Helvetica Neue"/>
                  <a:cs typeface="Helvetica Neue"/>
                  <a:sym typeface="Helvetica Neue"/>
                </a:rPr>
                <a:t>Qualify</a:t>
              </a:r>
              <a:endParaRPr sz="1500" b="1" dirty="0">
                <a:solidFill>
                  <a:srgbClr val="212A47"/>
                </a:solidFill>
                <a:latin typeface="Helvetica Neue"/>
                <a:ea typeface="Helvetica Neue"/>
                <a:cs typeface="Helvetica Neue"/>
                <a:sym typeface="Helvetica Neue"/>
              </a:endParaRPr>
            </a:p>
          </p:txBody>
        </p:sp>
        <p:sp>
          <p:nvSpPr>
            <p:cNvPr id="42" name="Google Shape;87;p14">
              <a:extLst>
                <a:ext uri="{FF2B5EF4-FFF2-40B4-BE49-F238E27FC236}">
                  <a16:creationId xmlns:a16="http://schemas.microsoft.com/office/drawing/2014/main" id="{DCB78B86-B5F6-6B3A-DD7D-AA71CCF860A6}"/>
                </a:ext>
              </a:extLst>
            </p:cNvPr>
            <p:cNvSpPr txBox="1"/>
            <p:nvPr/>
          </p:nvSpPr>
          <p:spPr>
            <a:xfrm>
              <a:off x="3316300" y="3373443"/>
              <a:ext cx="2544000"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Helvetica Neue" panose="02000503000000020004" pitchFamily="2" charset="0"/>
                  <a:ea typeface="Helvetica Neue" panose="02000503000000020004" pitchFamily="2" charset="0"/>
                  <a:cs typeface="Helvetica Neue" panose="02000503000000020004" pitchFamily="2" charset="0"/>
                </a:rPr>
                <a:t>Collaborate with Western EDI, and the Registrar/Financial Aid Office to equitably </a:t>
              </a:r>
              <a:r>
                <a:rPr lang="en-US" sz="1100" b="1" dirty="0">
                  <a:latin typeface="Helvetica Neue" panose="02000503000000020004" pitchFamily="2" charset="0"/>
                  <a:ea typeface="Helvetica Neue" panose="02000503000000020004" pitchFamily="2" charset="0"/>
                  <a:cs typeface="Helvetica Neue" panose="02000503000000020004" pitchFamily="2" charset="0"/>
                </a:rPr>
                <a:t>qualify</a:t>
              </a:r>
              <a:r>
                <a:rPr lang="en-US" sz="1100" dirty="0">
                  <a:latin typeface="Helvetica Neue" panose="02000503000000020004" pitchFamily="2" charset="0"/>
                  <a:ea typeface="Helvetica Neue" panose="02000503000000020004" pitchFamily="2" charset="0"/>
                  <a:cs typeface="Helvetica Neue" panose="02000503000000020004" pitchFamily="2" charset="0"/>
                </a:rPr>
                <a:t> food aid recipients.</a:t>
              </a:r>
              <a:endParaRPr sz="1100" dirty="0">
                <a:latin typeface="Helvetica Neue" panose="02000503000000020004" pitchFamily="2" charset="0"/>
                <a:ea typeface="Helvetica Neue" panose="02000503000000020004" pitchFamily="2" charset="0"/>
                <a:cs typeface="Helvetica Neue" panose="02000503000000020004" pitchFamily="2" charset="0"/>
              </a:endParaRPr>
            </a:p>
          </p:txBody>
        </p:sp>
      </p:grpSp>
      <p:grpSp>
        <p:nvGrpSpPr>
          <p:cNvPr id="43" name="Group 42">
            <a:extLst>
              <a:ext uri="{FF2B5EF4-FFF2-40B4-BE49-F238E27FC236}">
                <a16:creationId xmlns:a16="http://schemas.microsoft.com/office/drawing/2014/main" id="{3FFAD90E-4211-3A03-C139-814DF2B12E77}"/>
              </a:ext>
            </a:extLst>
          </p:cNvPr>
          <p:cNvGrpSpPr/>
          <p:nvPr/>
        </p:nvGrpSpPr>
        <p:grpSpPr>
          <a:xfrm>
            <a:off x="440425" y="3025763"/>
            <a:ext cx="2710500" cy="1143300"/>
            <a:chOff x="440425" y="2966494"/>
            <a:chExt cx="2710500" cy="1143300"/>
          </a:xfrm>
        </p:grpSpPr>
        <p:sp>
          <p:nvSpPr>
            <p:cNvPr id="44" name="Google Shape;73;p14">
              <a:extLst>
                <a:ext uri="{FF2B5EF4-FFF2-40B4-BE49-F238E27FC236}">
                  <a16:creationId xmlns:a16="http://schemas.microsoft.com/office/drawing/2014/main" id="{256D556F-0EDC-0CCA-7C09-EA818B3EE70C}"/>
                </a:ext>
              </a:extLst>
            </p:cNvPr>
            <p:cNvSpPr/>
            <p:nvPr/>
          </p:nvSpPr>
          <p:spPr>
            <a:xfrm>
              <a:off x="440425" y="2966494"/>
              <a:ext cx="2710500" cy="1143300"/>
            </a:xfrm>
            <a:prstGeom prst="rect">
              <a:avLst/>
            </a:prstGeom>
            <a:noFill/>
            <a:ln w="19050" cap="flat" cmpd="sng">
              <a:solidFill>
                <a:srgbClr val="05B0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88;p14">
              <a:extLst>
                <a:ext uri="{FF2B5EF4-FFF2-40B4-BE49-F238E27FC236}">
                  <a16:creationId xmlns:a16="http://schemas.microsoft.com/office/drawing/2014/main" id="{79E84B55-9D92-A4D1-21D9-29B74C717AF9}"/>
                </a:ext>
              </a:extLst>
            </p:cNvPr>
            <p:cNvSpPr txBox="1"/>
            <p:nvPr/>
          </p:nvSpPr>
          <p:spPr>
            <a:xfrm>
              <a:off x="523233" y="2986435"/>
              <a:ext cx="2544600" cy="38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500" b="1" dirty="0">
                  <a:solidFill>
                    <a:srgbClr val="212A47"/>
                  </a:solidFill>
                  <a:latin typeface="Helvetica Neue"/>
                  <a:ea typeface="Helvetica Neue"/>
                  <a:cs typeface="Helvetica Neue"/>
                  <a:sym typeface="Helvetica Neue"/>
                </a:rPr>
                <a:t>Collect</a:t>
              </a:r>
              <a:endParaRPr sz="1500" b="1" dirty="0">
                <a:solidFill>
                  <a:srgbClr val="212A47"/>
                </a:solidFill>
                <a:latin typeface="Helvetica Neue"/>
                <a:ea typeface="Helvetica Neue"/>
                <a:cs typeface="Helvetica Neue"/>
                <a:sym typeface="Helvetica Neue"/>
              </a:endParaRPr>
            </a:p>
          </p:txBody>
        </p:sp>
        <p:sp>
          <p:nvSpPr>
            <p:cNvPr id="46" name="Google Shape;89;p14">
              <a:extLst>
                <a:ext uri="{FF2B5EF4-FFF2-40B4-BE49-F238E27FC236}">
                  <a16:creationId xmlns:a16="http://schemas.microsoft.com/office/drawing/2014/main" id="{DF98EF1F-7C80-EEE7-2DF2-4A26A2044C34}"/>
                </a:ext>
              </a:extLst>
            </p:cNvPr>
            <p:cNvSpPr txBox="1"/>
            <p:nvPr/>
          </p:nvSpPr>
          <p:spPr>
            <a:xfrm>
              <a:off x="523825" y="3373443"/>
              <a:ext cx="2544000"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t>Integrate with the Meal Plan Top-Up portal to </a:t>
              </a:r>
              <a:r>
                <a:rPr lang="en-US" sz="1100" b="1" dirty="0"/>
                <a:t>collect</a:t>
              </a:r>
              <a:r>
                <a:rPr lang="en-US" sz="1100" dirty="0"/>
                <a:t> donations, store funds, and issue tax receipts.</a:t>
              </a:r>
              <a:endParaRPr sz="1100" dirty="0"/>
            </a:p>
          </p:txBody>
        </p:sp>
      </p:grpSp>
    </p:spTree>
    <p:extLst>
      <p:ext uri="{BB962C8B-B14F-4D97-AF65-F5344CB8AC3E}">
        <p14:creationId xmlns:p14="http://schemas.microsoft.com/office/powerpoint/2010/main" val="2617118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4">
          <a:extLst>
            <a:ext uri="{FF2B5EF4-FFF2-40B4-BE49-F238E27FC236}">
              <a16:creationId xmlns:a16="http://schemas.microsoft.com/office/drawing/2014/main" id="{B79A05B3-AB25-2072-EFF6-0CEDA2DE2A6E}"/>
            </a:ext>
          </a:extLst>
        </p:cNvPr>
        <p:cNvGrpSpPr/>
        <p:nvPr/>
      </p:nvGrpSpPr>
      <p:grpSpPr>
        <a:xfrm>
          <a:off x="0" y="0"/>
          <a:ext cx="0" cy="0"/>
          <a:chOff x="0" y="0"/>
          <a:chExt cx="0" cy="0"/>
        </a:xfrm>
      </p:grpSpPr>
      <p:sp>
        <p:nvSpPr>
          <p:cNvPr id="25" name="Google Shape;147;p1">
            <a:extLst>
              <a:ext uri="{FF2B5EF4-FFF2-40B4-BE49-F238E27FC236}">
                <a16:creationId xmlns:a16="http://schemas.microsoft.com/office/drawing/2014/main" id="{635DDDB0-E513-23CE-AD3D-852E121558F5}"/>
              </a:ext>
            </a:extLst>
          </p:cNvPr>
          <p:cNvSpPr txBox="1"/>
          <p:nvPr/>
        </p:nvSpPr>
        <p:spPr>
          <a:xfrm>
            <a:off x="532853" y="4338736"/>
            <a:ext cx="8078296" cy="376400"/>
          </a:xfrm>
          <a:prstGeom prst="rect">
            <a:avLst/>
          </a:prstGeom>
          <a:noFill/>
          <a:ln>
            <a:noFill/>
          </a:ln>
        </p:spPr>
        <p:txBody>
          <a:bodyPr spcFirstLastPara="1" wrap="square" lIns="0" tIns="0" rIns="0" bIns="0" anchor="t" anchorCtr="0">
            <a:noAutofit/>
          </a:bodyPr>
          <a:lstStyle/>
          <a:p>
            <a:pPr algn="r"/>
            <a:r>
              <a:rPr lang="en-US" sz="1800" b="1" dirty="0">
                <a:latin typeface="Helvetica Neue"/>
              </a:rPr>
              <a:t>Section II: System Analysis</a:t>
            </a:r>
          </a:p>
        </p:txBody>
      </p:sp>
      <p:sp>
        <p:nvSpPr>
          <p:cNvPr id="26" name="Google Shape;148;p1">
            <a:extLst>
              <a:ext uri="{FF2B5EF4-FFF2-40B4-BE49-F238E27FC236}">
                <a16:creationId xmlns:a16="http://schemas.microsoft.com/office/drawing/2014/main" id="{B2D9B1AB-0579-88A3-04D6-3DD2F6BD7F8A}"/>
              </a:ext>
            </a:extLst>
          </p:cNvPr>
          <p:cNvSpPr/>
          <p:nvPr/>
        </p:nvSpPr>
        <p:spPr>
          <a:xfrm>
            <a:off x="8762080" y="4338736"/>
            <a:ext cx="94000" cy="604000"/>
          </a:xfrm>
          <a:prstGeom prst="rect">
            <a:avLst/>
          </a:prstGeom>
          <a:solidFill>
            <a:srgbClr val="479262"/>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 name="Google Shape;149;p1">
            <a:extLst>
              <a:ext uri="{FF2B5EF4-FFF2-40B4-BE49-F238E27FC236}">
                <a16:creationId xmlns:a16="http://schemas.microsoft.com/office/drawing/2014/main" id="{D20EDF0C-051A-03F5-EF72-E98173621B7E}"/>
              </a:ext>
            </a:extLst>
          </p:cNvPr>
          <p:cNvSpPr txBox="1"/>
          <p:nvPr/>
        </p:nvSpPr>
        <p:spPr>
          <a:xfrm>
            <a:off x="532852" y="4698102"/>
            <a:ext cx="8078295" cy="376400"/>
          </a:xfrm>
          <a:prstGeom prst="rect">
            <a:avLst/>
          </a:prstGeom>
          <a:noFill/>
          <a:ln>
            <a:noFill/>
          </a:ln>
        </p:spPr>
        <p:txBody>
          <a:bodyPr spcFirstLastPara="1" wrap="square" lIns="0" tIns="0" rIns="0" bIns="0" anchor="t" anchorCtr="0">
            <a:noAutofit/>
          </a:bodyPr>
          <a:lstStyle/>
          <a:p>
            <a:pPr algn="r"/>
            <a:r>
              <a:rPr lang="en-US" dirty="0">
                <a:latin typeface="Helvetica Neue Light"/>
                <a:ea typeface="+mn-lt"/>
                <a:cs typeface="+mn-lt"/>
                <a:sym typeface="Helvetica Neue Light"/>
              </a:rPr>
              <a:t>Click here to return to the Table of Contents</a:t>
            </a:r>
            <a:endParaRPr lang="en-US" dirty="0">
              <a:latin typeface="Helvetica Neue Light"/>
              <a:ea typeface="Helvetica Neue Light"/>
              <a:cs typeface="Helvetica Neue Light"/>
            </a:endParaRPr>
          </a:p>
        </p:txBody>
      </p:sp>
      <p:pic>
        <p:nvPicPr>
          <p:cNvPr id="3" name="Picture 2">
            <a:extLst>
              <a:ext uri="{FF2B5EF4-FFF2-40B4-BE49-F238E27FC236}">
                <a16:creationId xmlns:a16="http://schemas.microsoft.com/office/drawing/2014/main" id="{8217CE4E-C96C-132D-7C76-712A701B99E3}"/>
              </a:ext>
            </a:extLst>
          </p:cNvPr>
          <p:cNvPicPr>
            <a:picLocks noChangeAspect="1"/>
          </p:cNvPicPr>
          <p:nvPr/>
        </p:nvPicPr>
        <p:blipFill rotWithShape="1">
          <a:blip r:embed="rId3">
            <a:alphaModFix amt="55000"/>
          </a:blip>
          <a:srcRect b="18834"/>
          <a:stretch/>
        </p:blipFill>
        <p:spPr>
          <a:xfrm>
            <a:off x="-1" y="0"/>
            <a:ext cx="9144000" cy="4174761"/>
          </a:xfrm>
          <a:prstGeom prst="rect">
            <a:avLst/>
          </a:prstGeom>
        </p:spPr>
      </p:pic>
    </p:spTree>
    <p:extLst>
      <p:ext uri="{BB962C8B-B14F-4D97-AF65-F5344CB8AC3E}">
        <p14:creationId xmlns:p14="http://schemas.microsoft.com/office/powerpoint/2010/main" val="1064754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4">
          <a:extLst>
            <a:ext uri="{FF2B5EF4-FFF2-40B4-BE49-F238E27FC236}">
              <a16:creationId xmlns:a16="http://schemas.microsoft.com/office/drawing/2014/main" id="{F0D9F47C-79A0-0A4E-6844-1A69C25168B2}"/>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AAD0BF89-BEF6-9D91-8DE9-87609E9E9B21}"/>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800" b="1" dirty="0">
                <a:latin typeface="Helvetica Neue"/>
                <a:ea typeface="Helvetica Neue"/>
                <a:cs typeface="Helvetica Neue"/>
                <a:sym typeface="Helvetica Neue"/>
              </a:rPr>
              <a:t>Stakeholder Groups</a:t>
            </a:r>
            <a:endParaRPr sz="1800" b="1" dirty="0">
              <a:latin typeface="Helvetica Neue"/>
              <a:ea typeface="Helvetica Neue"/>
              <a:cs typeface="Helvetica Neue"/>
              <a:sym typeface="Helvetica Neue"/>
            </a:endParaRPr>
          </a:p>
        </p:txBody>
      </p:sp>
      <p:sp>
        <p:nvSpPr>
          <p:cNvPr id="9" name="Google Shape;98;p15">
            <a:extLst>
              <a:ext uri="{FF2B5EF4-FFF2-40B4-BE49-F238E27FC236}">
                <a16:creationId xmlns:a16="http://schemas.microsoft.com/office/drawing/2014/main" id="{5F433FD3-A0C8-78CB-5CD1-6B2A1F912B7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Roles, goals, and actions</a:t>
            </a:r>
            <a:endParaRPr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94875446-B3B9-B917-6D3C-39B30FB8B6E4}"/>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Rectangle 11">
            <a:extLst>
              <a:ext uri="{FF2B5EF4-FFF2-40B4-BE49-F238E27FC236}">
                <a16:creationId xmlns:a16="http://schemas.microsoft.com/office/drawing/2014/main" id="{0DF48D9C-D4EB-B5AA-F8B0-A2D91AB5D6D5}"/>
              </a:ext>
            </a:extLst>
          </p:cNvPr>
          <p:cNvSpPr/>
          <p:nvPr/>
        </p:nvSpPr>
        <p:spPr>
          <a:xfrm>
            <a:off x="592650" y="907311"/>
            <a:ext cx="3848986" cy="1850065"/>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Donors (Students with Meal Plan Funds)</a:t>
            </a:r>
            <a:endParaRPr lang="en-CA" dirty="0"/>
          </a:p>
          <a:p>
            <a:r>
              <a:rPr lang="en-CA" sz="1200" b="1" dirty="0"/>
              <a:t>Role: </a:t>
            </a:r>
            <a:r>
              <a:rPr lang="en-CA" sz="1200" dirty="0"/>
              <a:t>Contribute to the resource pool for distribution.</a:t>
            </a:r>
            <a:endParaRPr lang="en-CA" sz="1200" b="1" dirty="0"/>
          </a:p>
          <a:p>
            <a:r>
              <a:rPr lang="en-CA" sz="1200" b="1" dirty="0"/>
              <a:t>Goal: </a:t>
            </a:r>
            <a:r>
              <a:rPr lang="en-CA" sz="1200" dirty="0"/>
              <a:t>Easily donate extra credits to peers in need.</a:t>
            </a:r>
            <a:endParaRPr lang="en-CA" sz="1200" b="1" dirty="0"/>
          </a:p>
          <a:p>
            <a:br>
              <a:rPr lang="en-CA" sz="1200" b="1" dirty="0"/>
            </a:br>
            <a:r>
              <a:rPr lang="en-CA" sz="1200" b="1" dirty="0"/>
              <a:t>Actions: </a:t>
            </a:r>
          </a:p>
          <a:p>
            <a:pPr marL="228600" indent="-228600">
              <a:buFont typeface="+mj-lt"/>
              <a:buAutoNum type="arabicPeriod"/>
            </a:pPr>
            <a:r>
              <a:rPr lang="en-CA" sz="1200" dirty="0"/>
              <a:t>Verify remaining balance on meal plan account.</a:t>
            </a:r>
          </a:p>
          <a:p>
            <a:pPr marL="228600" indent="-228600">
              <a:buFont typeface="+mj-lt"/>
              <a:buAutoNum type="arabicPeriod"/>
            </a:pPr>
            <a:r>
              <a:rPr lang="en-CA" sz="1200" dirty="0"/>
              <a:t>Decide on what amount of funds to donate.</a:t>
            </a:r>
          </a:p>
          <a:p>
            <a:pPr marL="228600" indent="-228600">
              <a:buFont typeface="+mj-lt"/>
              <a:buAutoNum type="arabicPeriod"/>
            </a:pPr>
            <a:r>
              <a:rPr lang="en-CA" sz="1200" dirty="0"/>
              <a:t>Opt-in to the Pay It Forward program.</a:t>
            </a:r>
          </a:p>
          <a:p>
            <a:pPr marL="228600" indent="-228600">
              <a:buFont typeface="+mj-lt"/>
              <a:buAutoNum type="arabicPeriod"/>
            </a:pPr>
            <a:r>
              <a:rPr lang="en-CA" sz="1200" dirty="0"/>
              <a:t>Validate that funds were contributed.</a:t>
            </a:r>
          </a:p>
        </p:txBody>
      </p:sp>
      <p:sp>
        <p:nvSpPr>
          <p:cNvPr id="13" name="Rectangle 12">
            <a:extLst>
              <a:ext uri="{FF2B5EF4-FFF2-40B4-BE49-F238E27FC236}">
                <a16:creationId xmlns:a16="http://schemas.microsoft.com/office/drawing/2014/main" id="{BC7E756C-675F-620D-984D-A63CA213A7B8}"/>
              </a:ext>
            </a:extLst>
          </p:cNvPr>
          <p:cNvSpPr/>
          <p:nvPr/>
        </p:nvSpPr>
        <p:spPr>
          <a:xfrm>
            <a:off x="4702366" y="907311"/>
            <a:ext cx="3848986" cy="1850065"/>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Policy Administrators (Financial Aid Office)</a:t>
            </a:r>
            <a:endParaRPr lang="en-CA" dirty="0"/>
          </a:p>
          <a:p>
            <a:r>
              <a:rPr lang="en-CA" sz="1200" b="1" dirty="0"/>
              <a:t>Role: </a:t>
            </a:r>
            <a:r>
              <a:rPr lang="en-CA" sz="1200" dirty="0"/>
              <a:t>Manage logistics of donation and qualification.</a:t>
            </a:r>
            <a:endParaRPr lang="en-CA" sz="1200" b="1" dirty="0"/>
          </a:p>
          <a:p>
            <a:r>
              <a:rPr lang="en-CA" sz="1200" b="1" dirty="0"/>
              <a:t>Goal: </a:t>
            </a:r>
            <a:r>
              <a:rPr lang="en-CA" sz="1200" dirty="0"/>
              <a:t>Fairly allocate resources to recipients.</a:t>
            </a:r>
            <a:endParaRPr lang="en-CA" sz="1200" b="1" dirty="0"/>
          </a:p>
          <a:p>
            <a:br>
              <a:rPr lang="en-CA" sz="1200" b="1" dirty="0"/>
            </a:br>
            <a:r>
              <a:rPr lang="en-CA" sz="1200" b="1" dirty="0"/>
              <a:t>Actions: </a:t>
            </a:r>
          </a:p>
          <a:p>
            <a:pPr marL="228600" indent="-228600">
              <a:buFont typeface="+mj-lt"/>
              <a:buAutoNum type="arabicPeriod"/>
            </a:pPr>
            <a:r>
              <a:rPr lang="en-CA" sz="1200" dirty="0"/>
              <a:t>Finalize criteria for determining program eligibility.</a:t>
            </a:r>
          </a:p>
          <a:p>
            <a:pPr marL="228600" indent="-228600">
              <a:buFont typeface="+mj-lt"/>
              <a:buAutoNum type="arabicPeriod"/>
            </a:pPr>
            <a:r>
              <a:rPr lang="en-CA" sz="1200" dirty="0"/>
              <a:t>Identify list of eligible food-insecure recipients.</a:t>
            </a:r>
          </a:p>
          <a:p>
            <a:pPr marL="228600" indent="-228600">
              <a:buFont typeface="+mj-lt"/>
              <a:buAutoNum type="arabicPeriod"/>
            </a:pPr>
            <a:r>
              <a:rPr lang="en-CA" sz="1200" dirty="0"/>
              <a:t>Allocate funds to recipients.</a:t>
            </a:r>
          </a:p>
          <a:p>
            <a:pPr marL="228600" indent="-228600">
              <a:buFont typeface="+mj-lt"/>
              <a:buAutoNum type="arabicPeriod"/>
            </a:pPr>
            <a:r>
              <a:rPr lang="en-CA" sz="1200" dirty="0"/>
              <a:t>Validate that funds were allocated appropriately.</a:t>
            </a:r>
            <a:br>
              <a:rPr lang="en-CA" sz="1200" b="1" dirty="0"/>
            </a:br>
            <a:endParaRPr lang="en-CA" sz="1200" b="1" dirty="0"/>
          </a:p>
          <a:p>
            <a:endParaRPr lang="en-CA" sz="1200" b="1" dirty="0"/>
          </a:p>
        </p:txBody>
      </p:sp>
      <p:sp>
        <p:nvSpPr>
          <p:cNvPr id="18" name="Rectangle 17">
            <a:extLst>
              <a:ext uri="{FF2B5EF4-FFF2-40B4-BE49-F238E27FC236}">
                <a16:creationId xmlns:a16="http://schemas.microsoft.com/office/drawing/2014/main" id="{E48E573A-40A7-BC28-2345-81D04C98ED5C}"/>
              </a:ext>
            </a:extLst>
          </p:cNvPr>
          <p:cNvSpPr/>
          <p:nvPr/>
        </p:nvSpPr>
        <p:spPr>
          <a:xfrm>
            <a:off x="4702366" y="2989829"/>
            <a:ext cx="3848986" cy="1850065"/>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Food &amp; IT Service Providers (Hospitality)</a:t>
            </a:r>
            <a:endParaRPr lang="en-CA" dirty="0"/>
          </a:p>
          <a:p>
            <a:r>
              <a:rPr lang="en-CA" sz="1200" b="1" dirty="0"/>
              <a:t>Role: </a:t>
            </a:r>
            <a:r>
              <a:rPr lang="en-CA" sz="1200" dirty="0"/>
              <a:t>Enable distribution and redemption of credits.</a:t>
            </a:r>
            <a:endParaRPr lang="en-CA" sz="1200" b="1" dirty="0"/>
          </a:p>
          <a:p>
            <a:r>
              <a:rPr lang="en-CA" sz="1200" b="1" dirty="0"/>
              <a:t>Goal: </a:t>
            </a:r>
            <a:r>
              <a:rPr lang="en-CA" sz="1200" dirty="0"/>
              <a:t>Reliably offer healthy food and IT systems.</a:t>
            </a:r>
            <a:endParaRPr lang="en-CA" sz="1200" b="1" dirty="0"/>
          </a:p>
          <a:p>
            <a:br>
              <a:rPr lang="en-CA" sz="1200" b="1" dirty="0"/>
            </a:br>
            <a:r>
              <a:rPr lang="en-CA" sz="1200" b="1" dirty="0"/>
              <a:t>Actions: </a:t>
            </a:r>
          </a:p>
          <a:p>
            <a:pPr marL="228600" indent="-228600">
              <a:buFont typeface="+mj-lt"/>
              <a:buAutoNum type="arabicPeriod"/>
            </a:pPr>
            <a:r>
              <a:rPr lang="en-CA" sz="1200" dirty="0"/>
              <a:t>Implement and maintain PIF IT systems.</a:t>
            </a:r>
          </a:p>
          <a:p>
            <a:pPr marL="228600" indent="-228600">
              <a:buFont typeface="+mj-lt"/>
              <a:buAutoNum type="arabicPeriod"/>
            </a:pPr>
            <a:r>
              <a:rPr lang="en-CA" sz="1200" dirty="0"/>
              <a:t>Execute fund distribution demands from the FAO.</a:t>
            </a:r>
          </a:p>
          <a:p>
            <a:pPr marL="228600" indent="-228600">
              <a:buFont typeface="+mj-lt"/>
              <a:buAutoNum type="arabicPeriod"/>
            </a:pPr>
            <a:r>
              <a:rPr lang="en-CA" sz="1200" dirty="0"/>
              <a:t>Partner with other initiatives to drive food security.</a:t>
            </a:r>
          </a:p>
          <a:p>
            <a:pPr marL="228600" indent="-228600">
              <a:buFont typeface="+mj-lt"/>
              <a:buAutoNum type="arabicPeriod"/>
            </a:pPr>
            <a:r>
              <a:rPr lang="en-CA" sz="1200" dirty="0"/>
              <a:t>Validate that funds were correctly distributed.</a:t>
            </a:r>
          </a:p>
          <a:p>
            <a:pPr marL="228600" indent="-228600">
              <a:buFont typeface="+mj-lt"/>
              <a:buAutoNum type="arabicPeriod"/>
            </a:pPr>
            <a:endParaRPr lang="en-CA" sz="1200" dirty="0"/>
          </a:p>
        </p:txBody>
      </p:sp>
      <p:sp>
        <p:nvSpPr>
          <p:cNvPr id="19" name="Rectangle 18">
            <a:extLst>
              <a:ext uri="{FF2B5EF4-FFF2-40B4-BE49-F238E27FC236}">
                <a16:creationId xmlns:a16="http://schemas.microsoft.com/office/drawing/2014/main" id="{266BE406-4F2C-9033-39F4-DF8E5E2459A3}"/>
              </a:ext>
            </a:extLst>
          </p:cNvPr>
          <p:cNvSpPr/>
          <p:nvPr/>
        </p:nvSpPr>
        <p:spPr>
          <a:xfrm>
            <a:off x="592650" y="2989829"/>
            <a:ext cx="3848986" cy="1850065"/>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Recipients (Food Insecure Students)</a:t>
            </a:r>
            <a:endParaRPr lang="en-CA" dirty="0"/>
          </a:p>
          <a:p>
            <a:r>
              <a:rPr lang="en-CA" sz="1200" b="1" dirty="0"/>
              <a:t>Role: </a:t>
            </a:r>
            <a:r>
              <a:rPr lang="en-CA" sz="1200" dirty="0"/>
              <a:t>Access resources to alleviate food crises.</a:t>
            </a:r>
            <a:endParaRPr lang="en-CA" sz="1200" b="1" dirty="0"/>
          </a:p>
          <a:p>
            <a:r>
              <a:rPr lang="en-CA" sz="1200" b="1" dirty="0"/>
              <a:t>Goal: </a:t>
            </a:r>
            <a:r>
              <a:rPr lang="en-CA" sz="1200" dirty="0"/>
              <a:t>Utilize donated credits to secure nutrition.</a:t>
            </a:r>
            <a:endParaRPr lang="en-CA" sz="1200" b="1" dirty="0"/>
          </a:p>
          <a:p>
            <a:br>
              <a:rPr lang="en-CA" sz="1200" b="1" dirty="0"/>
            </a:br>
            <a:r>
              <a:rPr lang="en-CA" sz="1200" b="1" dirty="0"/>
              <a:t>Actions: </a:t>
            </a:r>
          </a:p>
          <a:p>
            <a:pPr marL="228600" indent="-228600">
              <a:buFont typeface="+mj-lt"/>
              <a:buAutoNum type="arabicPeriod"/>
            </a:pPr>
            <a:r>
              <a:rPr lang="en-CA" sz="1200" dirty="0"/>
              <a:t>Request food security assistance via FAO (PIF).</a:t>
            </a:r>
          </a:p>
          <a:p>
            <a:pPr marL="228600" indent="-228600">
              <a:buFont typeface="+mj-lt"/>
              <a:buAutoNum type="arabicPeriod"/>
            </a:pPr>
            <a:r>
              <a:rPr lang="en-CA" sz="1200" dirty="0"/>
              <a:t>Receive meal plan funds for use in eateries.</a:t>
            </a:r>
          </a:p>
          <a:p>
            <a:pPr marL="228600" indent="-228600">
              <a:buFont typeface="+mj-lt"/>
              <a:buAutoNum type="arabicPeriod"/>
            </a:pPr>
            <a:r>
              <a:rPr lang="en-CA" sz="1200" dirty="0"/>
              <a:t>Consume healthy, affordable meals on campus.</a:t>
            </a:r>
          </a:p>
          <a:p>
            <a:pPr marL="228600" indent="-228600">
              <a:buFont typeface="+mj-lt"/>
              <a:buAutoNum type="arabicPeriod"/>
            </a:pPr>
            <a:r>
              <a:rPr lang="en-CA" sz="1200" dirty="0"/>
              <a:t>Validate that funds are meeting emergency needs.</a:t>
            </a:r>
          </a:p>
        </p:txBody>
      </p:sp>
      <p:cxnSp>
        <p:nvCxnSpPr>
          <p:cNvPr id="22" name="Straight Arrow Connector 21">
            <a:extLst>
              <a:ext uri="{FF2B5EF4-FFF2-40B4-BE49-F238E27FC236}">
                <a16:creationId xmlns:a16="http://schemas.microsoft.com/office/drawing/2014/main" id="{E45C7CF6-6768-DB34-28CE-912065BC05E3}"/>
              </a:ext>
            </a:extLst>
          </p:cNvPr>
          <p:cNvCxnSpPr>
            <a:cxnSpLocks/>
          </p:cNvCxnSpPr>
          <p:nvPr/>
        </p:nvCxnSpPr>
        <p:spPr>
          <a:xfrm>
            <a:off x="6581887" y="2757376"/>
            <a:ext cx="0" cy="232453"/>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575F247E-4B3B-19F5-E6BF-776A9929D721}"/>
              </a:ext>
            </a:extLst>
          </p:cNvPr>
          <p:cNvCxnSpPr>
            <a:cxnSpLocks/>
            <a:stCxn id="18" idx="1"/>
            <a:endCxn id="19" idx="3"/>
          </p:cNvCxnSpPr>
          <p:nvPr/>
        </p:nvCxnSpPr>
        <p:spPr>
          <a:xfrm flipH="1">
            <a:off x="4441636" y="3914862"/>
            <a:ext cx="260730" cy="0"/>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2" name="Straight Arrow Connector 1">
            <a:extLst>
              <a:ext uri="{FF2B5EF4-FFF2-40B4-BE49-F238E27FC236}">
                <a16:creationId xmlns:a16="http://schemas.microsoft.com/office/drawing/2014/main" id="{81BA281B-2686-6371-7796-1D9901CEC344}"/>
              </a:ext>
            </a:extLst>
          </p:cNvPr>
          <p:cNvCxnSpPr>
            <a:cxnSpLocks/>
          </p:cNvCxnSpPr>
          <p:nvPr/>
        </p:nvCxnSpPr>
        <p:spPr>
          <a:xfrm>
            <a:off x="4441636" y="2757376"/>
            <a:ext cx="260730" cy="232453"/>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1377B99F-467A-6F1C-9F13-01A74EF1DC93}"/>
              </a:ext>
            </a:extLst>
          </p:cNvPr>
          <p:cNvCxnSpPr>
            <a:cxnSpLocks/>
          </p:cNvCxnSpPr>
          <p:nvPr/>
        </p:nvCxnSpPr>
        <p:spPr>
          <a:xfrm flipH="1">
            <a:off x="4441635" y="2757376"/>
            <a:ext cx="260731" cy="232453"/>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21E4F352-1BB7-0BC9-BDD0-8FEA16672854}"/>
              </a:ext>
            </a:extLst>
          </p:cNvPr>
          <p:cNvCxnSpPr>
            <a:cxnSpLocks/>
          </p:cNvCxnSpPr>
          <p:nvPr/>
        </p:nvCxnSpPr>
        <p:spPr>
          <a:xfrm flipV="1">
            <a:off x="6709305" y="2757376"/>
            <a:ext cx="0" cy="232453"/>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99159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4">
          <a:extLst>
            <a:ext uri="{FF2B5EF4-FFF2-40B4-BE49-F238E27FC236}">
              <a16:creationId xmlns:a16="http://schemas.microsoft.com/office/drawing/2014/main" id="{F0D9F47C-79A0-0A4E-6844-1A69C25168B2}"/>
            </a:ext>
          </a:extLst>
        </p:cNvPr>
        <p:cNvGrpSpPr/>
        <p:nvPr/>
      </p:nvGrpSpPr>
      <p:grpSpPr>
        <a:xfrm>
          <a:off x="0" y="0"/>
          <a:ext cx="0" cy="0"/>
          <a:chOff x="0" y="0"/>
          <a:chExt cx="0" cy="0"/>
        </a:xfrm>
      </p:grpSpPr>
      <p:sp>
        <p:nvSpPr>
          <p:cNvPr id="4" name="Google Shape;95;p15">
            <a:extLst>
              <a:ext uri="{FF2B5EF4-FFF2-40B4-BE49-F238E27FC236}">
                <a16:creationId xmlns:a16="http://schemas.microsoft.com/office/drawing/2014/main" id="{AAD0BF89-BEF6-9D91-8DE9-87609E9E9B21}"/>
              </a:ext>
            </a:extLst>
          </p:cNvPr>
          <p:cNvSpPr txBox="1"/>
          <p:nvPr/>
        </p:nvSpPr>
        <p:spPr>
          <a:xfrm>
            <a:off x="592650" y="1834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1800" b="1" dirty="0">
                <a:latin typeface="Helvetica Neue"/>
                <a:ea typeface="Helvetica Neue"/>
                <a:cs typeface="Helvetica Neue"/>
                <a:sym typeface="Helvetica Neue"/>
              </a:rPr>
              <a:t>System Components</a:t>
            </a:r>
            <a:endParaRPr sz="1800" b="1" dirty="0">
              <a:latin typeface="Helvetica Neue"/>
              <a:ea typeface="Helvetica Neue"/>
              <a:cs typeface="Helvetica Neue"/>
              <a:sym typeface="Helvetica Neue"/>
            </a:endParaRPr>
          </a:p>
        </p:txBody>
      </p:sp>
      <p:sp>
        <p:nvSpPr>
          <p:cNvPr id="9" name="Google Shape;98;p15">
            <a:extLst>
              <a:ext uri="{FF2B5EF4-FFF2-40B4-BE49-F238E27FC236}">
                <a16:creationId xmlns:a16="http://schemas.microsoft.com/office/drawing/2014/main" id="{5F433FD3-A0C8-78CB-5CD1-6B2A1F912B76}"/>
              </a:ext>
            </a:extLst>
          </p:cNvPr>
          <p:cNvSpPr txBox="1"/>
          <p:nvPr/>
        </p:nvSpPr>
        <p:spPr>
          <a:xfrm>
            <a:off x="592650" y="488250"/>
            <a:ext cx="7464900" cy="2823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GB"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rPr>
              <a:t>Current state and target state features required to implement Pay It Forward</a:t>
            </a:r>
            <a:endParaRPr sz="1300" dirty="0">
              <a:latin typeface="Helvetica Neue" panose="02000503000000020004" pitchFamily="2" charset="0"/>
              <a:ea typeface="Helvetica Neue" panose="02000503000000020004" pitchFamily="2" charset="0"/>
              <a:cs typeface="Helvetica Neue" panose="02000503000000020004" pitchFamily="2" charset="0"/>
              <a:sym typeface="Helvetica Neue Light"/>
            </a:endParaRPr>
          </a:p>
        </p:txBody>
      </p:sp>
      <p:sp>
        <p:nvSpPr>
          <p:cNvPr id="16" name="Google Shape;99;p15">
            <a:extLst>
              <a:ext uri="{FF2B5EF4-FFF2-40B4-BE49-F238E27FC236}">
                <a16:creationId xmlns:a16="http://schemas.microsoft.com/office/drawing/2014/main" id="{94875446-B3B9-B917-6D3C-39B30FB8B6E4}"/>
              </a:ext>
            </a:extLst>
          </p:cNvPr>
          <p:cNvSpPr/>
          <p:nvPr/>
        </p:nvSpPr>
        <p:spPr>
          <a:xfrm>
            <a:off x="422250" y="218725"/>
            <a:ext cx="70500" cy="453000"/>
          </a:xfrm>
          <a:prstGeom prst="rect">
            <a:avLst/>
          </a:prstGeom>
          <a:solidFill>
            <a:srgbClr val="308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Rectangle 11">
            <a:extLst>
              <a:ext uri="{FF2B5EF4-FFF2-40B4-BE49-F238E27FC236}">
                <a16:creationId xmlns:a16="http://schemas.microsoft.com/office/drawing/2014/main" id="{0DF48D9C-D4EB-B5AA-F8B0-A2D91AB5D6D5}"/>
              </a:ext>
            </a:extLst>
          </p:cNvPr>
          <p:cNvSpPr/>
          <p:nvPr/>
        </p:nvSpPr>
        <p:spPr>
          <a:xfrm>
            <a:off x="592650" y="907311"/>
            <a:ext cx="3848986" cy="3932583"/>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Hospitality Services Front-End </a:t>
            </a:r>
          </a:p>
          <a:p>
            <a:pPr marL="171450" indent="-171450">
              <a:buFont typeface="Arial" panose="020B0604020202020204" pitchFamily="34" charset="0"/>
              <a:buChar char="•"/>
            </a:pPr>
            <a:r>
              <a:rPr lang="en-CA" sz="1200" b="1" dirty="0"/>
              <a:t>Meal Plan Top-up Site </a:t>
            </a:r>
            <a:r>
              <a:rPr lang="en-CA" sz="1200" dirty="0"/>
              <a:t>(</a:t>
            </a:r>
            <a:r>
              <a:rPr lang="en-CA" sz="1200" dirty="0" err="1"/>
              <a:t>mealplan.uwo.ca</a:t>
            </a:r>
            <a:r>
              <a:rPr lang="en-CA" sz="1200" dirty="0"/>
              <a:t>)</a:t>
            </a:r>
          </a:p>
          <a:p>
            <a:pPr marL="171450" indent="-171450">
              <a:buFont typeface="Arial" panose="020B0604020202020204" pitchFamily="34" charset="0"/>
              <a:buChar char="•"/>
            </a:pPr>
            <a:r>
              <a:rPr lang="en-CA" sz="1200" b="1" dirty="0" err="1"/>
              <a:t>ONECard</a:t>
            </a:r>
            <a:r>
              <a:rPr lang="en-CA" sz="1200" b="1" dirty="0"/>
              <a:t> with Point-of-Sale Terminal</a:t>
            </a:r>
          </a:p>
          <a:p>
            <a:pPr marL="171450" indent="-171450">
              <a:buFont typeface="Arial" panose="020B0604020202020204" pitchFamily="34" charset="0"/>
              <a:buChar char="•"/>
            </a:pPr>
            <a:r>
              <a:rPr lang="en-CA" sz="1200" b="1" dirty="0" err="1"/>
              <a:t>myHousing</a:t>
            </a:r>
            <a:r>
              <a:rPr lang="en-CA" sz="1200" b="1" dirty="0"/>
              <a:t> portal </a:t>
            </a:r>
            <a:r>
              <a:rPr lang="en-CA" sz="1200" dirty="0"/>
              <a:t>(first-years only / refund)</a:t>
            </a:r>
            <a:endParaRPr lang="en-CA" sz="1200" b="1" dirty="0"/>
          </a:p>
          <a:p>
            <a:pPr marL="171450" indent="-171450">
              <a:buFont typeface="Arial" panose="020B0604020202020204" pitchFamily="34" charset="0"/>
              <a:buChar char="•"/>
            </a:pPr>
            <a:r>
              <a:rPr lang="en-CA" sz="1200" b="1" dirty="0"/>
              <a:t>Campus Meal Plan Office </a:t>
            </a:r>
            <a:r>
              <a:rPr lang="en-CA" sz="1200" dirty="0"/>
              <a:t>(upper-years / refund)</a:t>
            </a:r>
          </a:p>
          <a:p>
            <a:endParaRPr lang="en-CA" sz="1200" b="1" dirty="0"/>
          </a:p>
          <a:p>
            <a:r>
              <a:rPr lang="en-CA" sz="1200" b="1" dirty="0"/>
              <a:t>Current State:</a:t>
            </a:r>
          </a:p>
          <a:p>
            <a:pPr marL="171450" indent="-171450">
              <a:buFont typeface="Arial" panose="020B0604020202020204" pitchFamily="34" charset="0"/>
              <a:buChar char="•"/>
            </a:pPr>
            <a:r>
              <a:rPr lang="en-CA" sz="1200" dirty="0"/>
              <a:t>Reload card with flex dollars.</a:t>
            </a:r>
          </a:p>
          <a:p>
            <a:pPr marL="171450" indent="-171450">
              <a:buFont typeface="Arial" panose="020B0604020202020204" pitchFamily="34" charset="0"/>
              <a:buChar char="•"/>
            </a:pPr>
            <a:r>
              <a:rPr lang="en-CA" sz="1200" dirty="0"/>
              <a:t>Check balance.</a:t>
            </a:r>
          </a:p>
          <a:p>
            <a:pPr marL="171450" indent="-171450">
              <a:buFont typeface="Arial" panose="020B0604020202020204" pitchFamily="34" charset="0"/>
              <a:buChar char="•"/>
            </a:pPr>
            <a:r>
              <a:rPr lang="en-CA" sz="1200" dirty="0"/>
              <a:t>Pay for meals.</a:t>
            </a:r>
          </a:p>
          <a:p>
            <a:pPr marL="171450" indent="-171450">
              <a:buFont typeface="Arial" panose="020B0604020202020204" pitchFamily="34" charset="0"/>
              <a:buChar char="•"/>
            </a:pPr>
            <a:r>
              <a:rPr lang="en-CA" sz="1200" dirty="0"/>
              <a:t>Request refund of meal plan flex dollars.</a:t>
            </a:r>
            <a:br>
              <a:rPr lang="en-CA" sz="1200" dirty="0"/>
            </a:br>
            <a:r>
              <a:rPr lang="en-CA" sz="1200" dirty="0"/>
              <a:t>(April 1–30, fee of $40)</a:t>
            </a:r>
          </a:p>
          <a:p>
            <a:endParaRPr lang="en-CA" sz="1200" dirty="0"/>
          </a:p>
          <a:p>
            <a:r>
              <a:rPr lang="en-CA" sz="1200" b="1" dirty="0"/>
              <a:t>Need to implement:</a:t>
            </a:r>
          </a:p>
          <a:p>
            <a:pPr marL="171450" indent="-171450">
              <a:buFont typeface="Arial" panose="020B0604020202020204" pitchFamily="34" charset="0"/>
              <a:buChar char="•"/>
            </a:pPr>
            <a:r>
              <a:rPr lang="en-CA" sz="1200" dirty="0">
                <a:highlight>
                  <a:srgbClr val="FFFF00"/>
                </a:highlight>
              </a:rPr>
              <a:t>Opt-in to donate to Pay It Forward (yes/no, %/$).</a:t>
            </a:r>
          </a:p>
          <a:p>
            <a:pPr marL="171450" indent="-171450">
              <a:buFont typeface="Arial" panose="020B0604020202020204" pitchFamily="34" charset="0"/>
              <a:buChar char="•"/>
            </a:pPr>
            <a:r>
              <a:rPr lang="en-CA" sz="1200" dirty="0">
                <a:highlight>
                  <a:srgbClr val="FFFF00"/>
                </a:highlight>
              </a:rPr>
              <a:t>Inform stakeholders of program impact (public dashboard—Power BI, joint report, etc.)</a:t>
            </a:r>
            <a:endParaRPr lang="en-CA" sz="1200" dirty="0"/>
          </a:p>
        </p:txBody>
      </p:sp>
      <p:sp>
        <p:nvSpPr>
          <p:cNvPr id="13" name="Rectangle 12">
            <a:extLst>
              <a:ext uri="{FF2B5EF4-FFF2-40B4-BE49-F238E27FC236}">
                <a16:creationId xmlns:a16="http://schemas.microsoft.com/office/drawing/2014/main" id="{BC7E756C-675F-620D-984D-A63CA213A7B8}"/>
              </a:ext>
            </a:extLst>
          </p:cNvPr>
          <p:cNvSpPr/>
          <p:nvPr/>
        </p:nvSpPr>
        <p:spPr>
          <a:xfrm>
            <a:off x="4702366" y="907311"/>
            <a:ext cx="3848986" cy="1850065"/>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Financial Aid Office Operations</a:t>
            </a:r>
            <a:endParaRPr lang="en-CA" dirty="0"/>
          </a:p>
          <a:p>
            <a:pPr marL="171450" indent="-171450">
              <a:buFont typeface="Arial" panose="020B0604020202020204" pitchFamily="34" charset="0"/>
              <a:buChar char="•"/>
            </a:pPr>
            <a:r>
              <a:rPr lang="en-CA" sz="1200" b="1" dirty="0"/>
              <a:t>Student Services Site </a:t>
            </a:r>
            <a:r>
              <a:rPr lang="en-CA" sz="1200" dirty="0"/>
              <a:t>(</a:t>
            </a:r>
            <a:r>
              <a:rPr lang="en-CA" sz="1200" dirty="0" err="1"/>
              <a:t>studentservices.uwo.ca</a:t>
            </a:r>
            <a:r>
              <a:rPr lang="en-CA" sz="1200" dirty="0"/>
              <a:t>)</a:t>
            </a:r>
            <a:r>
              <a:rPr lang="en-CA" sz="1200" b="1" dirty="0"/>
              <a:t>,</a:t>
            </a:r>
          </a:p>
          <a:p>
            <a:pPr marL="171450" indent="-171450">
              <a:buFont typeface="Arial" panose="020B0604020202020204" pitchFamily="34" charset="0"/>
              <a:buChar char="•"/>
            </a:pPr>
            <a:r>
              <a:rPr lang="en-CA" sz="1200" b="1" dirty="0"/>
              <a:t>Internal Administrative Systems </a:t>
            </a:r>
            <a:r>
              <a:rPr lang="en-CA" sz="1200" dirty="0"/>
              <a:t>(to investigate)</a:t>
            </a:r>
          </a:p>
          <a:p>
            <a:br>
              <a:rPr lang="en-CA" sz="1200" b="1" dirty="0"/>
            </a:br>
            <a:r>
              <a:rPr lang="en-CA" sz="1200" b="1" dirty="0"/>
              <a:t>Current State: </a:t>
            </a:r>
          </a:p>
          <a:p>
            <a:pPr marL="228600" indent="-228600">
              <a:buFont typeface="+mj-lt"/>
              <a:buAutoNum type="arabicPeriod"/>
            </a:pPr>
            <a:r>
              <a:rPr lang="en-CA" sz="1200" dirty="0"/>
              <a:t>Determine need-based aid with student financials.</a:t>
            </a:r>
          </a:p>
          <a:p>
            <a:pPr marL="228600" indent="-228600">
              <a:buFont typeface="+mj-lt"/>
              <a:buAutoNum type="arabicPeriod"/>
            </a:pPr>
            <a:endParaRPr lang="en-CA" sz="1200" dirty="0"/>
          </a:p>
          <a:p>
            <a:r>
              <a:rPr lang="en-CA" sz="1200" b="1" dirty="0"/>
              <a:t>Need to implement:</a:t>
            </a:r>
            <a:endParaRPr lang="en-CA" sz="1200" dirty="0"/>
          </a:p>
          <a:p>
            <a:pPr marL="228600" indent="-228600">
              <a:buFont typeface="+mj-lt"/>
              <a:buAutoNum type="arabicPeriod"/>
            </a:pPr>
            <a:r>
              <a:rPr lang="en-CA" sz="1200" dirty="0">
                <a:highlight>
                  <a:srgbClr val="FFFF00"/>
                </a:highlight>
              </a:rPr>
              <a:t>Define which students qualify for PIF (underway).</a:t>
            </a:r>
          </a:p>
          <a:p>
            <a:pPr marL="228600" indent="-228600">
              <a:buFont typeface="+mj-lt"/>
              <a:buAutoNum type="arabicPeriod"/>
            </a:pPr>
            <a:endParaRPr lang="en-CA" sz="1200" dirty="0"/>
          </a:p>
          <a:p>
            <a:pPr marL="228600" indent="-228600">
              <a:buFont typeface="+mj-lt"/>
              <a:buAutoNum type="arabicPeriod"/>
            </a:pPr>
            <a:endParaRPr lang="en-CA" sz="1200" dirty="0"/>
          </a:p>
          <a:p>
            <a:pPr marL="228600" indent="-228600">
              <a:buFont typeface="+mj-lt"/>
              <a:buAutoNum type="arabicPeriod"/>
            </a:pPr>
            <a:endParaRPr lang="en-CA" sz="1200" b="1" dirty="0"/>
          </a:p>
        </p:txBody>
      </p:sp>
      <p:sp>
        <p:nvSpPr>
          <p:cNvPr id="18" name="Rectangle 17">
            <a:extLst>
              <a:ext uri="{FF2B5EF4-FFF2-40B4-BE49-F238E27FC236}">
                <a16:creationId xmlns:a16="http://schemas.microsoft.com/office/drawing/2014/main" id="{E48E573A-40A7-BC28-2345-81D04C98ED5C}"/>
              </a:ext>
            </a:extLst>
          </p:cNvPr>
          <p:cNvSpPr/>
          <p:nvPr/>
        </p:nvSpPr>
        <p:spPr>
          <a:xfrm>
            <a:off x="4702366" y="2989829"/>
            <a:ext cx="3848986" cy="1850065"/>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r>
              <a:rPr lang="en-CA" b="1" dirty="0"/>
              <a:t>Hospitality Services Back-End</a:t>
            </a:r>
            <a:endParaRPr lang="en-CA" dirty="0"/>
          </a:p>
          <a:p>
            <a:r>
              <a:rPr lang="en-CA" sz="1200" b="1" dirty="0"/>
              <a:t>Meal Plan Administrative Systems </a:t>
            </a:r>
            <a:r>
              <a:rPr lang="en-CA" sz="1200" dirty="0"/>
              <a:t>(to investigate)</a:t>
            </a:r>
            <a:r>
              <a:rPr lang="en-CA" sz="1200" b="1" dirty="0"/>
              <a:t> </a:t>
            </a:r>
          </a:p>
          <a:p>
            <a:br>
              <a:rPr lang="en-CA" sz="1200" b="1" dirty="0"/>
            </a:br>
            <a:r>
              <a:rPr lang="en-CA" sz="1200" b="1" dirty="0"/>
              <a:t>Current State: </a:t>
            </a:r>
          </a:p>
          <a:p>
            <a:pPr marL="228600" indent="-228600">
              <a:buFont typeface="+mj-lt"/>
              <a:buAutoNum type="arabicPeriod"/>
            </a:pPr>
            <a:r>
              <a:rPr lang="en-CA" sz="1200" dirty="0"/>
              <a:t>Enable present end-to-end meal plan functionality.</a:t>
            </a:r>
          </a:p>
          <a:p>
            <a:pPr marL="228600" indent="-228600">
              <a:buFont typeface="+mj-lt"/>
              <a:buAutoNum type="arabicPeriod"/>
            </a:pPr>
            <a:endParaRPr lang="en-CA" sz="1200" dirty="0"/>
          </a:p>
          <a:p>
            <a:r>
              <a:rPr lang="en-CA" sz="1200" b="1" dirty="0"/>
              <a:t>Need to implement:</a:t>
            </a:r>
            <a:endParaRPr lang="en-CA" sz="1200" dirty="0"/>
          </a:p>
          <a:p>
            <a:pPr marL="228600" indent="-228600">
              <a:buFont typeface="+mj-lt"/>
              <a:buAutoNum type="arabicPeriod"/>
            </a:pPr>
            <a:r>
              <a:rPr lang="en-CA" sz="1200" dirty="0">
                <a:highlight>
                  <a:srgbClr val="FFFF00"/>
                </a:highlight>
              </a:rPr>
              <a:t>Track donation preferences and share with FAO.</a:t>
            </a:r>
          </a:p>
          <a:p>
            <a:pPr marL="228600" indent="-228600">
              <a:buFont typeface="+mj-lt"/>
              <a:buAutoNum type="arabicPeriod"/>
            </a:pPr>
            <a:r>
              <a:rPr lang="en-CA" sz="1200" dirty="0">
                <a:highlight>
                  <a:srgbClr val="FFFF00"/>
                </a:highlight>
              </a:rPr>
              <a:t>Redistribute funds based on FAO calcs/criteria.</a:t>
            </a:r>
          </a:p>
          <a:p>
            <a:pPr marL="228600" indent="-228600">
              <a:buFont typeface="+mj-lt"/>
              <a:buAutoNum type="arabicPeriod"/>
            </a:pPr>
            <a:endParaRPr lang="en-CA" sz="1200" dirty="0"/>
          </a:p>
        </p:txBody>
      </p:sp>
      <p:cxnSp>
        <p:nvCxnSpPr>
          <p:cNvPr id="2" name="Straight Arrow Connector 1">
            <a:extLst>
              <a:ext uri="{FF2B5EF4-FFF2-40B4-BE49-F238E27FC236}">
                <a16:creationId xmlns:a16="http://schemas.microsoft.com/office/drawing/2014/main" id="{4BB429A0-262E-79D9-7016-C8B62652DD8E}"/>
              </a:ext>
            </a:extLst>
          </p:cNvPr>
          <p:cNvCxnSpPr>
            <a:cxnSpLocks/>
          </p:cNvCxnSpPr>
          <p:nvPr/>
        </p:nvCxnSpPr>
        <p:spPr>
          <a:xfrm>
            <a:off x="6581887" y="2757376"/>
            <a:ext cx="0" cy="232453"/>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3" name="Straight Arrow Connector 2">
            <a:extLst>
              <a:ext uri="{FF2B5EF4-FFF2-40B4-BE49-F238E27FC236}">
                <a16:creationId xmlns:a16="http://schemas.microsoft.com/office/drawing/2014/main" id="{27E9F007-EA5A-6D7F-C47B-968688B27D58}"/>
              </a:ext>
            </a:extLst>
          </p:cNvPr>
          <p:cNvCxnSpPr>
            <a:cxnSpLocks/>
          </p:cNvCxnSpPr>
          <p:nvPr/>
        </p:nvCxnSpPr>
        <p:spPr>
          <a:xfrm flipV="1">
            <a:off x="6709305" y="2757376"/>
            <a:ext cx="0" cy="232453"/>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5" name="Straight Arrow Connector 4">
            <a:extLst>
              <a:ext uri="{FF2B5EF4-FFF2-40B4-BE49-F238E27FC236}">
                <a16:creationId xmlns:a16="http://schemas.microsoft.com/office/drawing/2014/main" id="{962990B0-932E-B4B1-A95F-DF174DCB6AFB}"/>
              </a:ext>
            </a:extLst>
          </p:cNvPr>
          <p:cNvCxnSpPr>
            <a:cxnSpLocks/>
          </p:cNvCxnSpPr>
          <p:nvPr/>
        </p:nvCxnSpPr>
        <p:spPr>
          <a:xfrm flipH="1">
            <a:off x="4441636" y="3914862"/>
            <a:ext cx="260730" cy="0"/>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1E8D511F-D76B-C2A9-556C-A4C03EDAB3B3}"/>
              </a:ext>
            </a:extLst>
          </p:cNvPr>
          <p:cNvCxnSpPr>
            <a:cxnSpLocks/>
          </p:cNvCxnSpPr>
          <p:nvPr/>
        </p:nvCxnSpPr>
        <p:spPr>
          <a:xfrm>
            <a:off x="4441636" y="4067262"/>
            <a:ext cx="260730" cy="0"/>
          </a:xfrm>
          <a:prstGeom prst="straightConnector1">
            <a:avLst/>
          </a:prstGeom>
          <a:ln w="38100">
            <a:solidFill>
              <a:srgbClr val="7030A0"/>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61296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c337198a-afa3-47b8-8d3c-3f8c509eeaa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46B93844163A448C5F3C93AB78AA96" ma:contentTypeVersion="8" ma:contentTypeDescription="Create a new document." ma:contentTypeScope="" ma:versionID="521c0a6a5528d7090fded3356d233a20">
  <xsd:schema xmlns:xsd="http://www.w3.org/2001/XMLSchema" xmlns:xs="http://www.w3.org/2001/XMLSchema" xmlns:p="http://schemas.microsoft.com/office/2006/metadata/properties" xmlns:ns3="c337198a-afa3-47b8-8d3c-3f8c509eeaaf" xmlns:ns4="d8682c77-7f14-464b-ba85-1a76c82f57d7" targetNamespace="http://schemas.microsoft.com/office/2006/metadata/properties" ma:root="true" ma:fieldsID="771173f9c82975e5b2b981f92eae59f2" ns3:_="" ns4:_="">
    <xsd:import namespace="c337198a-afa3-47b8-8d3c-3f8c509eeaaf"/>
    <xsd:import namespace="d8682c77-7f14-464b-ba85-1a76c82f57d7"/>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37198a-afa3-47b8-8d3c-3f8c509eea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682c77-7f14-464b-ba85-1a76c82f57d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F82B8B-C49A-4DCD-B006-C3428C5282DF}">
  <ds:schemaRefs>
    <ds:schemaRef ds:uri="http://schemas.microsoft.com/sharepoint/v3/contenttype/forms"/>
  </ds:schemaRefs>
</ds:datastoreItem>
</file>

<file path=customXml/itemProps2.xml><?xml version="1.0" encoding="utf-8"?>
<ds:datastoreItem xmlns:ds="http://schemas.openxmlformats.org/officeDocument/2006/customXml" ds:itemID="{EE10363C-8FDA-4505-B2EF-0AB4BCCF1AB6}">
  <ds:schemaRefs>
    <ds:schemaRef ds:uri="http://schemas.microsoft.com/office/2006/documentManagement/types"/>
    <ds:schemaRef ds:uri="http://purl.org/dc/terms/"/>
    <ds:schemaRef ds:uri="http://schemas.microsoft.com/office/2006/metadata/properties"/>
    <ds:schemaRef ds:uri="http://schemas.openxmlformats.org/package/2006/metadata/core-properties"/>
    <ds:schemaRef ds:uri="http://purl.org/dc/dcmitype/"/>
    <ds:schemaRef ds:uri="c337198a-afa3-47b8-8d3c-3f8c509eeaaf"/>
    <ds:schemaRef ds:uri="http://purl.org/dc/elements/1.1/"/>
    <ds:schemaRef ds:uri="http://schemas.microsoft.com/office/infopath/2007/PartnerControls"/>
    <ds:schemaRef ds:uri="d8682c77-7f14-464b-ba85-1a76c82f57d7"/>
    <ds:schemaRef ds:uri="http://www.w3.org/XML/1998/namespace"/>
  </ds:schemaRefs>
</ds:datastoreItem>
</file>

<file path=customXml/itemProps3.xml><?xml version="1.0" encoding="utf-8"?>
<ds:datastoreItem xmlns:ds="http://schemas.openxmlformats.org/officeDocument/2006/customXml" ds:itemID="{F1585544-BB94-480D-837B-EF7634DAAAE5}">
  <ds:schemaRefs>
    <ds:schemaRef ds:uri="c337198a-afa3-47b8-8d3c-3f8c509eeaaf"/>
    <ds:schemaRef ds:uri="d8682c77-7f14-464b-ba85-1a76c82f57d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56</TotalTime>
  <Words>3836</Words>
  <Application>Microsoft Macintosh PowerPoint</Application>
  <PresentationFormat>On-screen Show (16:9)</PresentationFormat>
  <Paragraphs>512</Paragraphs>
  <Slides>48</Slides>
  <Notes>4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4" baseType="lpstr">
      <vt:lpstr>Helvetica Neue</vt:lpstr>
      <vt:lpstr>Libre Franklin</vt:lpstr>
      <vt:lpstr>Helvetica Neue Light</vt:lpstr>
      <vt:lpstr>Arial</vt:lpstr>
      <vt:lpstr>Simple Ligh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rbucks Hist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 Lu</dc:creator>
  <cp:lastModifiedBy>Raymond Wang</cp:lastModifiedBy>
  <cp:revision>4</cp:revision>
  <dcterms:modified xsi:type="dcterms:W3CDTF">2024-04-22T02:1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46B93844163A448C5F3C93AB78AA96</vt:lpwstr>
  </property>
  <property fmtid="{D5CDD505-2E9C-101B-9397-08002B2CF9AE}" pid="3" name="MSIP_Label_59f2a0b4-9696-4189-9e39-c4cda16ad870_ActionId">
    <vt:lpwstr>f82c3d21-484d-4d80-9ca1-4724a6a78193</vt:lpwstr>
  </property>
  <property fmtid="{D5CDD505-2E9C-101B-9397-08002B2CF9AE}" pid="4" name="MSIP_Label_59f2a0b4-9696-4189-9e39-c4cda16ad870_Name">
    <vt:lpwstr>Confidential</vt:lpwstr>
  </property>
  <property fmtid="{D5CDD505-2E9C-101B-9397-08002B2CF9AE}" pid="5" name="MSIP_Label_59f2a0b4-9696-4189-9e39-c4cda16ad870_SetDate">
    <vt:lpwstr>2024-02-16T17:26:27Z</vt:lpwstr>
  </property>
  <property fmtid="{D5CDD505-2E9C-101B-9397-08002B2CF9AE}" pid="6" name="MSIP_Label_59f2a0b4-9696-4189-9e39-c4cda16ad870_SiteId">
    <vt:lpwstr>547040db-1855-4320-9738-e6878f6271fc</vt:lpwstr>
  </property>
  <property fmtid="{D5CDD505-2E9C-101B-9397-08002B2CF9AE}" pid="7" name="MSIP_Label_59f2a0b4-9696-4189-9e39-c4cda16ad870_Enabled">
    <vt:lpwstr>True</vt:lpwstr>
  </property>
  <property fmtid="{D5CDD505-2E9C-101B-9397-08002B2CF9AE}" pid="8" name="MSIP_Label_59f2a0b4-9696-4189-9e39-c4cda16ad870_Removed">
    <vt:lpwstr>False</vt:lpwstr>
  </property>
  <property fmtid="{D5CDD505-2E9C-101B-9397-08002B2CF9AE}" pid="9" name="MSIP_Label_59f2a0b4-9696-4189-9e39-c4cda16ad870_Extended_MSFT_Method">
    <vt:lpwstr>Standard</vt:lpwstr>
  </property>
  <property fmtid="{D5CDD505-2E9C-101B-9397-08002B2CF9AE}" pid="10" name="Sensitivity">
    <vt:lpwstr>Confidential</vt:lpwstr>
  </property>
</Properties>
</file>